
<file path=[Content_Types].xml><?xml version="1.0" encoding="utf-8"?>
<Types xmlns="http://schemas.openxmlformats.org/package/2006/content-types"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3" r:id="rId4"/>
  </p:sldMasterIdLst>
  <p:notesMasterIdLst>
    <p:notesMasterId r:id="rId29"/>
  </p:notesMasterIdLst>
  <p:handoutMasterIdLst>
    <p:handoutMasterId r:id="rId30"/>
  </p:handoutMasterIdLst>
  <p:sldIdLst>
    <p:sldId id="2147470023" r:id="rId5"/>
    <p:sldId id="2147470015" r:id="rId6"/>
    <p:sldId id="295" r:id="rId7"/>
    <p:sldId id="2147470014" r:id="rId8"/>
    <p:sldId id="2147470024" r:id="rId9"/>
    <p:sldId id="2147470003" r:id="rId10"/>
    <p:sldId id="2147470004" r:id="rId11"/>
    <p:sldId id="2147470005" r:id="rId12"/>
    <p:sldId id="2147470006" r:id="rId13"/>
    <p:sldId id="2147470025" r:id="rId14"/>
    <p:sldId id="305" r:id="rId15"/>
    <p:sldId id="2147470020" r:id="rId16"/>
    <p:sldId id="2146847060" r:id="rId17"/>
    <p:sldId id="2146847061" r:id="rId18"/>
    <p:sldId id="2147469917" r:id="rId19"/>
    <p:sldId id="2147469925" r:id="rId20"/>
    <p:sldId id="2147469930" r:id="rId21"/>
    <p:sldId id="256" r:id="rId22"/>
    <p:sldId id="2147469824" r:id="rId23"/>
    <p:sldId id="296" r:id="rId24"/>
    <p:sldId id="2147470026" r:id="rId25"/>
    <p:sldId id="2147470031" r:id="rId26"/>
    <p:sldId id="285" r:id="rId27"/>
    <p:sldId id="2147470027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4CD"/>
    <a:srgbClr val="E3EEA4"/>
    <a:srgbClr val="F15D45"/>
    <a:srgbClr val="FFECB2"/>
    <a:srgbClr val="D7F3F7"/>
    <a:srgbClr val="E6E6E6"/>
    <a:srgbClr val="353631"/>
    <a:srgbClr val="3B3B3B"/>
    <a:srgbClr val="ABDBDD"/>
    <a:srgbClr val="0066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7B4B04-0B03-4012-AE5E-6DE221F31D29}" v="873" dt="2022-10-19T16:51:31.6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44" autoAdjust="0"/>
    <p:restoredTop sz="94660"/>
  </p:normalViewPr>
  <p:slideViewPr>
    <p:cSldViewPr snapToGrid="0">
      <p:cViewPr varScale="1">
        <p:scale>
          <a:sx n="62" d="100"/>
          <a:sy n="62" d="100"/>
        </p:scale>
        <p:origin x="1088" y="56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dan Sudarman" userId="80a28748-ca50-4d0f-a51c-1fb8c54caffe" providerId="ADAL" clId="{707B4B04-0B03-4012-AE5E-6DE221F31D29}"/>
    <pc:docChg chg="undo custSel addSld delSld modSld sldOrd modMainMaster">
      <pc:chgData name="Madan Sudarman" userId="80a28748-ca50-4d0f-a51c-1fb8c54caffe" providerId="ADAL" clId="{707B4B04-0B03-4012-AE5E-6DE221F31D29}" dt="2022-10-19T16:51:59.538" v="3420" actId="478"/>
      <pc:docMkLst>
        <pc:docMk/>
      </pc:docMkLst>
      <pc:sldChg chg="add">
        <pc:chgData name="Madan Sudarman" userId="80a28748-ca50-4d0f-a51c-1fb8c54caffe" providerId="ADAL" clId="{707B4B04-0B03-4012-AE5E-6DE221F31D29}" dt="2022-10-19T16:37:10.979" v="3343"/>
        <pc:sldMkLst>
          <pc:docMk/>
          <pc:sldMk cId="4058821607" sldId="256"/>
        </pc:sldMkLst>
      </pc:sldChg>
      <pc:sldChg chg="del">
        <pc:chgData name="Madan Sudarman" userId="80a28748-ca50-4d0f-a51c-1fb8c54caffe" providerId="ADAL" clId="{707B4B04-0B03-4012-AE5E-6DE221F31D29}" dt="2022-10-17T10:06:37.391" v="2466" actId="47"/>
        <pc:sldMkLst>
          <pc:docMk/>
          <pc:sldMk cId="2636364909" sldId="259"/>
        </pc:sldMkLst>
      </pc:sldChg>
      <pc:sldChg chg="del">
        <pc:chgData name="Madan Sudarman" userId="80a28748-ca50-4d0f-a51c-1fb8c54caffe" providerId="ADAL" clId="{707B4B04-0B03-4012-AE5E-6DE221F31D29}" dt="2022-10-17T10:06:40.777" v="2467" actId="47"/>
        <pc:sldMkLst>
          <pc:docMk/>
          <pc:sldMk cId="343358424" sldId="260"/>
        </pc:sldMkLst>
      </pc:sldChg>
      <pc:sldChg chg="del">
        <pc:chgData name="Madan Sudarman" userId="80a28748-ca50-4d0f-a51c-1fb8c54caffe" providerId="ADAL" clId="{707B4B04-0B03-4012-AE5E-6DE221F31D29}" dt="2022-10-17T10:06:43.308" v="2468" actId="47"/>
        <pc:sldMkLst>
          <pc:docMk/>
          <pc:sldMk cId="2205734644" sldId="261"/>
        </pc:sldMkLst>
      </pc:sldChg>
      <pc:sldChg chg="del">
        <pc:chgData name="Madan Sudarman" userId="80a28748-ca50-4d0f-a51c-1fb8c54caffe" providerId="ADAL" clId="{707B4B04-0B03-4012-AE5E-6DE221F31D29}" dt="2022-10-17T10:06:35.839" v="2465" actId="47"/>
        <pc:sldMkLst>
          <pc:docMk/>
          <pc:sldMk cId="2828124476" sldId="262"/>
        </pc:sldMkLst>
      </pc:sldChg>
      <pc:sldChg chg="del">
        <pc:chgData name="Madan Sudarman" userId="80a28748-ca50-4d0f-a51c-1fb8c54caffe" providerId="ADAL" clId="{707B4B04-0B03-4012-AE5E-6DE221F31D29}" dt="2022-10-17T10:06:45.200" v="2469" actId="47"/>
        <pc:sldMkLst>
          <pc:docMk/>
          <pc:sldMk cId="1056891032" sldId="263"/>
        </pc:sldMkLst>
      </pc:sldChg>
      <pc:sldChg chg="modSp add del mod">
        <pc:chgData name="Madan Sudarman" userId="80a28748-ca50-4d0f-a51c-1fb8c54caffe" providerId="ADAL" clId="{707B4B04-0B03-4012-AE5E-6DE221F31D29}" dt="2022-10-18T05:27:09.579" v="2915" actId="47"/>
        <pc:sldMkLst>
          <pc:docMk/>
          <pc:sldMk cId="3534900650" sldId="265"/>
        </pc:sldMkLst>
        <pc:spChg chg="mod">
          <ac:chgData name="Madan Sudarman" userId="80a28748-ca50-4d0f-a51c-1fb8c54caffe" providerId="ADAL" clId="{707B4B04-0B03-4012-AE5E-6DE221F31D29}" dt="2022-10-17T08:26:59.068" v="1838" actId="207"/>
          <ac:spMkLst>
            <pc:docMk/>
            <pc:sldMk cId="3534900650" sldId="265"/>
            <ac:spMk id="42" creationId="{3D89CB52-B1FD-F84D-B393-88A8622EA3D9}"/>
          </ac:spMkLst>
        </pc:spChg>
      </pc:sldChg>
      <pc:sldChg chg="del">
        <pc:chgData name="Madan Sudarman" userId="80a28748-ca50-4d0f-a51c-1fb8c54caffe" providerId="ADAL" clId="{707B4B04-0B03-4012-AE5E-6DE221F31D29}" dt="2022-10-17T10:06:27.542" v="2464" actId="47"/>
        <pc:sldMkLst>
          <pc:docMk/>
          <pc:sldMk cId="3815817287" sldId="266"/>
        </pc:sldMkLst>
      </pc:sldChg>
      <pc:sldChg chg="del">
        <pc:chgData name="Madan Sudarman" userId="80a28748-ca50-4d0f-a51c-1fb8c54caffe" providerId="ADAL" clId="{707B4B04-0B03-4012-AE5E-6DE221F31D29}" dt="2022-10-17T10:06:48.562" v="2472" actId="47"/>
        <pc:sldMkLst>
          <pc:docMk/>
          <pc:sldMk cId="232207751" sldId="268"/>
        </pc:sldMkLst>
      </pc:sldChg>
      <pc:sldChg chg="del">
        <pc:chgData name="Madan Sudarman" userId="80a28748-ca50-4d0f-a51c-1fb8c54caffe" providerId="ADAL" clId="{707B4B04-0B03-4012-AE5E-6DE221F31D29}" dt="2022-10-17T10:06:49.822" v="2473" actId="47"/>
        <pc:sldMkLst>
          <pc:docMk/>
          <pc:sldMk cId="1155625453" sldId="269"/>
        </pc:sldMkLst>
      </pc:sldChg>
      <pc:sldChg chg="del">
        <pc:chgData name="Madan Sudarman" userId="80a28748-ca50-4d0f-a51c-1fb8c54caffe" providerId="ADAL" clId="{707B4B04-0B03-4012-AE5E-6DE221F31D29}" dt="2022-10-17T10:06:50.364" v="2474" actId="47"/>
        <pc:sldMkLst>
          <pc:docMk/>
          <pc:sldMk cId="2986040175" sldId="270"/>
        </pc:sldMkLst>
      </pc:sldChg>
      <pc:sldChg chg="del">
        <pc:chgData name="Madan Sudarman" userId="80a28748-ca50-4d0f-a51c-1fb8c54caffe" providerId="ADAL" clId="{707B4B04-0B03-4012-AE5E-6DE221F31D29}" dt="2022-10-17T10:06:51.115" v="2475" actId="47"/>
        <pc:sldMkLst>
          <pc:docMk/>
          <pc:sldMk cId="529981856" sldId="271"/>
        </pc:sldMkLst>
      </pc:sldChg>
      <pc:sldChg chg="del">
        <pc:chgData name="Madan Sudarman" userId="80a28748-ca50-4d0f-a51c-1fb8c54caffe" providerId="ADAL" clId="{707B4B04-0B03-4012-AE5E-6DE221F31D29}" dt="2022-10-17T10:06:54.860" v="2476" actId="47"/>
        <pc:sldMkLst>
          <pc:docMk/>
          <pc:sldMk cId="3954098042" sldId="272"/>
        </pc:sldMkLst>
      </pc:sldChg>
      <pc:sldChg chg="del">
        <pc:chgData name="Madan Sudarman" userId="80a28748-ca50-4d0f-a51c-1fb8c54caffe" providerId="ADAL" clId="{707B4B04-0B03-4012-AE5E-6DE221F31D29}" dt="2022-10-17T10:07:00.741" v="2477" actId="47"/>
        <pc:sldMkLst>
          <pc:docMk/>
          <pc:sldMk cId="3185239385" sldId="273"/>
        </pc:sldMkLst>
      </pc:sldChg>
      <pc:sldChg chg="del">
        <pc:chgData name="Madan Sudarman" userId="80a28748-ca50-4d0f-a51c-1fb8c54caffe" providerId="ADAL" clId="{707B4B04-0B03-4012-AE5E-6DE221F31D29}" dt="2022-10-17T10:07:01.972" v="2478" actId="47"/>
        <pc:sldMkLst>
          <pc:docMk/>
          <pc:sldMk cId="381243916" sldId="274"/>
        </pc:sldMkLst>
      </pc:sldChg>
      <pc:sldChg chg="del">
        <pc:chgData name="Madan Sudarman" userId="80a28748-ca50-4d0f-a51c-1fb8c54caffe" providerId="ADAL" clId="{707B4B04-0B03-4012-AE5E-6DE221F31D29}" dt="2022-10-17T10:06:27.542" v="2464" actId="47"/>
        <pc:sldMkLst>
          <pc:docMk/>
          <pc:sldMk cId="2800888836" sldId="275"/>
        </pc:sldMkLst>
      </pc:sldChg>
      <pc:sldChg chg="del">
        <pc:chgData name="Madan Sudarman" userId="80a28748-ca50-4d0f-a51c-1fb8c54caffe" providerId="ADAL" clId="{707B4B04-0B03-4012-AE5E-6DE221F31D29}" dt="2022-10-17T10:07:04.375" v="2479" actId="47"/>
        <pc:sldMkLst>
          <pc:docMk/>
          <pc:sldMk cId="3437869886" sldId="277"/>
        </pc:sldMkLst>
      </pc:sldChg>
      <pc:sldChg chg="del">
        <pc:chgData name="Madan Sudarman" userId="80a28748-ca50-4d0f-a51c-1fb8c54caffe" providerId="ADAL" clId="{707B4B04-0B03-4012-AE5E-6DE221F31D29}" dt="2022-10-17T10:07:23.193" v="2483" actId="47"/>
        <pc:sldMkLst>
          <pc:docMk/>
          <pc:sldMk cId="1734857916" sldId="278"/>
        </pc:sldMkLst>
      </pc:sldChg>
      <pc:sldChg chg="del">
        <pc:chgData name="Madan Sudarman" userId="80a28748-ca50-4d0f-a51c-1fb8c54caffe" providerId="ADAL" clId="{707B4B04-0B03-4012-AE5E-6DE221F31D29}" dt="2022-10-17T10:07:29.811" v="2490" actId="47"/>
        <pc:sldMkLst>
          <pc:docMk/>
          <pc:sldMk cId="3040062783" sldId="279"/>
        </pc:sldMkLst>
      </pc:sldChg>
      <pc:sldChg chg="del">
        <pc:chgData name="Madan Sudarman" userId="80a28748-ca50-4d0f-a51c-1fb8c54caffe" providerId="ADAL" clId="{707B4B04-0B03-4012-AE5E-6DE221F31D29}" dt="2022-10-17T10:07:25.477" v="2486" actId="47"/>
        <pc:sldMkLst>
          <pc:docMk/>
          <pc:sldMk cId="294242565" sldId="280"/>
        </pc:sldMkLst>
      </pc:sldChg>
      <pc:sldChg chg="del">
        <pc:chgData name="Madan Sudarman" userId="80a28748-ca50-4d0f-a51c-1fb8c54caffe" providerId="ADAL" clId="{707B4B04-0B03-4012-AE5E-6DE221F31D29}" dt="2022-10-17T10:07:05.738" v="2480" actId="47"/>
        <pc:sldMkLst>
          <pc:docMk/>
          <pc:sldMk cId="2619157411" sldId="281"/>
        </pc:sldMkLst>
      </pc:sldChg>
      <pc:sldChg chg="del">
        <pc:chgData name="Madan Sudarman" userId="80a28748-ca50-4d0f-a51c-1fb8c54caffe" providerId="ADAL" clId="{707B4B04-0B03-4012-AE5E-6DE221F31D29}" dt="2022-10-17T10:07:26.304" v="2487" actId="47"/>
        <pc:sldMkLst>
          <pc:docMk/>
          <pc:sldMk cId="395078590" sldId="282"/>
        </pc:sldMkLst>
      </pc:sldChg>
      <pc:sldChg chg="delSp mod">
        <pc:chgData name="Madan Sudarman" userId="80a28748-ca50-4d0f-a51c-1fb8c54caffe" providerId="ADAL" clId="{707B4B04-0B03-4012-AE5E-6DE221F31D29}" dt="2022-10-17T10:08:12.503" v="2491" actId="478"/>
        <pc:sldMkLst>
          <pc:docMk/>
          <pc:sldMk cId="4164991168" sldId="285"/>
        </pc:sldMkLst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3" creationId="{C20DB733-A96F-402B-9FC2-8727F29509EB}"/>
          </ac:spMkLst>
        </pc:spChg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4" creationId="{B14AF79E-C6FD-4C37-B8AF-13EF2F30B0D7}"/>
          </ac:spMkLst>
        </pc:spChg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5" creationId="{82E22A52-8BB2-47DD-A61D-13EACB6DD433}"/>
          </ac:spMkLst>
        </pc:spChg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6" creationId="{28825BDA-BA32-4F1F-B6A3-85A38E19B993}"/>
          </ac:spMkLst>
        </pc:spChg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7" creationId="{105F5AE4-5C8E-4D71-9EA3-BC7E1479895D}"/>
          </ac:spMkLst>
        </pc:spChg>
        <pc:spChg chg="del">
          <ac:chgData name="Madan Sudarman" userId="80a28748-ca50-4d0f-a51c-1fb8c54caffe" providerId="ADAL" clId="{707B4B04-0B03-4012-AE5E-6DE221F31D29}" dt="2022-10-17T10:08:12.503" v="2491" actId="478"/>
          <ac:spMkLst>
            <pc:docMk/>
            <pc:sldMk cId="4164991168" sldId="285"/>
            <ac:spMk id="8" creationId="{1EF4CF28-52EB-435D-9F0F-363A7CD5F5C9}"/>
          </ac:spMkLst>
        </pc:spChg>
      </pc:sldChg>
      <pc:sldChg chg="delSp del mod">
        <pc:chgData name="Madan Sudarman" userId="80a28748-ca50-4d0f-a51c-1fb8c54caffe" providerId="ADAL" clId="{707B4B04-0B03-4012-AE5E-6DE221F31D29}" dt="2022-10-17T10:07:21.467" v="2482" actId="47"/>
        <pc:sldMkLst>
          <pc:docMk/>
          <pc:sldMk cId="2331324941" sldId="286"/>
        </pc:sldMkLst>
        <pc:spChg chg="del">
          <ac:chgData name="Madan Sudarman" userId="80a28748-ca50-4d0f-a51c-1fb8c54caffe" providerId="ADAL" clId="{707B4B04-0B03-4012-AE5E-6DE221F31D29}" dt="2022-10-17T10:07:18.442" v="2481" actId="478"/>
          <ac:spMkLst>
            <pc:docMk/>
            <pc:sldMk cId="2331324941" sldId="286"/>
            <ac:spMk id="27" creationId="{37B5E902-BC4E-441F-B357-15159BC13F49}"/>
          </ac:spMkLst>
        </pc:spChg>
      </pc:sldChg>
      <pc:sldChg chg="del">
        <pc:chgData name="Madan Sudarman" userId="80a28748-ca50-4d0f-a51c-1fb8c54caffe" providerId="ADAL" clId="{707B4B04-0B03-4012-AE5E-6DE221F31D29}" dt="2022-10-17T10:07:27.375" v="2488" actId="47"/>
        <pc:sldMkLst>
          <pc:docMk/>
          <pc:sldMk cId="4254539177" sldId="287"/>
        </pc:sldMkLst>
      </pc:sldChg>
      <pc:sldChg chg="del">
        <pc:chgData name="Madan Sudarman" userId="80a28748-ca50-4d0f-a51c-1fb8c54caffe" providerId="ADAL" clId="{707B4B04-0B03-4012-AE5E-6DE221F31D29}" dt="2022-10-17T10:07:23.959" v="2484" actId="47"/>
        <pc:sldMkLst>
          <pc:docMk/>
          <pc:sldMk cId="2976969547" sldId="288"/>
        </pc:sldMkLst>
      </pc:sldChg>
      <pc:sldChg chg="del">
        <pc:chgData name="Madan Sudarman" userId="80a28748-ca50-4d0f-a51c-1fb8c54caffe" providerId="ADAL" clId="{707B4B04-0B03-4012-AE5E-6DE221F31D29}" dt="2022-10-17T10:07:28.576" v="2489" actId="47"/>
        <pc:sldMkLst>
          <pc:docMk/>
          <pc:sldMk cId="1513228552" sldId="289"/>
        </pc:sldMkLst>
      </pc:sldChg>
      <pc:sldChg chg="del">
        <pc:chgData name="Madan Sudarman" userId="80a28748-ca50-4d0f-a51c-1fb8c54caffe" providerId="ADAL" clId="{707B4B04-0B03-4012-AE5E-6DE221F31D29}" dt="2022-10-17T10:07:24.787" v="2485" actId="47"/>
        <pc:sldMkLst>
          <pc:docMk/>
          <pc:sldMk cId="681354827" sldId="290"/>
        </pc:sldMkLst>
      </pc:sldChg>
      <pc:sldChg chg="del">
        <pc:chgData name="Madan Sudarman" userId="80a28748-ca50-4d0f-a51c-1fb8c54caffe" providerId="ADAL" clId="{707B4B04-0B03-4012-AE5E-6DE221F31D29}" dt="2022-10-17T10:06:46.908" v="2470" actId="47"/>
        <pc:sldMkLst>
          <pc:docMk/>
          <pc:sldMk cId="510755523" sldId="291"/>
        </pc:sldMkLst>
      </pc:sldChg>
      <pc:sldChg chg="del">
        <pc:chgData name="Madan Sudarman" userId="80a28748-ca50-4d0f-a51c-1fb8c54caffe" providerId="ADAL" clId="{707B4B04-0B03-4012-AE5E-6DE221F31D29}" dt="2022-10-17T10:06:47.971" v="2471" actId="47"/>
        <pc:sldMkLst>
          <pc:docMk/>
          <pc:sldMk cId="549971349" sldId="292"/>
        </pc:sldMkLst>
      </pc:sldChg>
      <pc:sldChg chg="addSp delSp modSp mod">
        <pc:chgData name="Madan Sudarman" userId="80a28748-ca50-4d0f-a51c-1fb8c54caffe" providerId="ADAL" clId="{707B4B04-0B03-4012-AE5E-6DE221F31D29}" dt="2022-10-19T16:41:17.082" v="3381" actId="1076"/>
        <pc:sldMkLst>
          <pc:docMk/>
          <pc:sldMk cId="2649247155" sldId="293"/>
        </pc:sldMkLst>
        <pc:spChg chg="mod">
          <ac:chgData name="Madan Sudarman" userId="80a28748-ca50-4d0f-a51c-1fb8c54caffe" providerId="ADAL" clId="{707B4B04-0B03-4012-AE5E-6DE221F31D29}" dt="2022-10-19T16:41:17.082" v="3381" actId="1076"/>
          <ac:spMkLst>
            <pc:docMk/>
            <pc:sldMk cId="2649247155" sldId="293"/>
            <ac:spMk id="2" creationId="{C18EF991-B4D8-4098-AE90-BB369B9CB8DE}"/>
          </ac:spMkLst>
        </pc:spChg>
        <pc:spChg chg="del mod">
          <ac:chgData name="Madan Sudarman" userId="80a28748-ca50-4d0f-a51c-1fb8c54caffe" providerId="ADAL" clId="{707B4B04-0B03-4012-AE5E-6DE221F31D29}" dt="2022-10-13T10:24:30.874" v="96" actId="478"/>
          <ac:spMkLst>
            <pc:docMk/>
            <pc:sldMk cId="2649247155" sldId="293"/>
            <ac:spMk id="3" creationId="{1BF95388-65FE-4B88-9467-7DE52DCE8793}"/>
          </ac:spMkLst>
        </pc:spChg>
        <pc:spChg chg="add del mod">
          <ac:chgData name="Madan Sudarman" userId="80a28748-ca50-4d0f-a51c-1fb8c54caffe" providerId="ADAL" clId="{707B4B04-0B03-4012-AE5E-6DE221F31D29}" dt="2022-10-13T10:24:32.348" v="97" actId="478"/>
          <ac:spMkLst>
            <pc:docMk/>
            <pc:sldMk cId="2649247155" sldId="293"/>
            <ac:spMk id="5" creationId="{7A846EE0-88A4-AE73-4417-15F32BDF6125}"/>
          </ac:spMkLst>
        </pc:spChg>
        <pc:picChg chg="add del">
          <ac:chgData name="Madan Sudarman" userId="80a28748-ca50-4d0f-a51c-1fb8c54caffe" providerId="ADAL" clId="{707B4B04-0B03-4012-AE5E-6DE221F31D29}" dt="2022-10-13T10:24:36.279" v="99" actId="478"/>
          <ac:picMkLst>
            <pc:docMk/>
            <pc:sldMk cId="2649247155" sldId="293"/>
            <ac:picMk id="6" creationId="{0FC71065-BBDC-52F3-AF08-CB3AEDDCD3FD}"/>
          </ac:picMkLst>
        </pc:picChg>
        <pc:picChg chg="add mod">
          <ac:chgData name="Madan Sudarman" userId="80a28748-ca50-4d0f-a51c-1fb8c54caffe" providerId="ADAL" clId="{707B4B04-0B03-4012-AE5E-6DE221F31D29}" dt="2022-10-13T10:24:55.562" v="103" actId="1076"/>
          <ac:picMkLst>
            <pc:docMk/>
            <pc:sldMk cId="2649247155" sldId="293"/>
            <ac:picMk id="7" creationId="{EDF1282A-A34C-FD46-CF30-CB9EC0E9FBAF}"/>
          </ac:picMkLst>
        </pc:picChg>
      </pc:sldChg>
      <pc:sldChg chg="del">
        <pc:chgData name="Madan Sudarman" userId="80a28748-ca50-4d0f-a51c-1fb8c54caffe" providerId="ADAL" clId="{707B4B04-0B03-4012-AE5E-6DE221F31D29}" dt="2022-10-13T10:29:50.768" v="194" actId="47"/>
        <pc:sldMkLst>
          <pc:docMk/>
          <pc:sldMk cId="2545090984" sldId="294"/>
        </pc:sldMkLst>
      </pc:sldChg>
      <pc:sldChg chg="addSp modSp mod modAnim">
        <pc:chgData name="Madan Sudarman" userId="80a28748-ca50-4d0f-a51c-1fb8c54caffe" providerId="ADAL" clId="{707B4B04-0B03-4012-AE5E-6DE221F31D29}" dt="2022-10-17T10:57:20.102" v="2682" actId="1076"/>
        <pc:sldMkLst>
          <pc:docMk/>
          <pc:sldMk cId="1259078684" sldId="295"/>
        </pc:sldMkLst>
        <pc:spChg chg="mod">
          <ac:chgData name="Madan Sudarman" userId="80a28748-ca50-4d0f-a51c-1fb8c54caffe" providerId="ADAL" clId="{707B4B04-0B03-4012-AE5E-6DE221F31D29}" dt="2022-10-15T12:16:01.462" v="1307" actId="20577"/>
          <ac:spMkLst>
            <pc:docMk/>
            <pc:sldMk cId="1259078684" sldId="295"/>
            <ac:spMk id="2" creationId="{7F465974-028B-0A33-049E-EC12CE87795E}"/>
          </ac:spMkLst>
        </pc:spChg>
        <pc:spChg chg="add mod">
          <ac:chgData name="Madan Sudarman" userId="80a28748-ca50-4d0f-a51c-1fb8c54caffe" providerId="ADAL" clId="{707B4B04-0B03-4012-AE5E-6DE221F31D29}" dt="2022-10-17T10:57:20.102" v="2682" actId="1076"/>
          <ac:spMkLst>
            <pc:docMk/>
            <pc:sldMk cId="1259078684" sldId="295"/>
            <ac:spMk id="4" creationId="{AB34ACB4-BFB1-2C3F-F713-3A278AB0AC30}"/>
          </ac:spMkLst>
        </pc:spChg>
        <pc:picChg chg="add mod modCrop">
          <ac:chgData name="Madan Sudarman" userId="80a28748-ca50-4d0f-a51c-1fb8c54caffe" providerId="ADAL" clId="{707B4B04-0B03-4012-AE5E-6DE221F31D29}" dt="2022-10-14T14:18:21.091" v="841"/>
          <ac:picMkLst>
            <pc:docMk/>
            <pc:sldMk cId="1259078684" sldId="295"/>
            <ac:picMk id="3" creationId="{DAF3192A-75AB-871C-85D1-09B52E94451A}"/>
          </ac:picMkLst>
        </pc:picChg>
      </pc:sldChg>
      <pc:sldChg chg="add">
        <pc:chgData name="Madan Sudarman" userId="80a28748-ca50-4d0f-a51c-1fb8c54caffe" providerId="ADAL" clId="{707B4B04-0B03-4012-AE5E-6DE221F31D29}" dt="2022-10-18T05:27:58.956" v="2918"/>
        <pc:sldMkLst>
          <pc:docMk/>
          <pc:sldMk cId="2006417925" sldId="296"/>
        </pc:sldMkLst>
      </pc:sldChg>
      <pc:sldChg chg="addSp delSp modSp del mod ord modClrScheme chgLayout">
        <pc:chgData name="Madan Sudarman" userId="80a28748-ca50-4d0f-a51c-1fb8c54caffe" providerId="ADAL" clId="{707B4B04-0B03-4012-AE5E-6DE221F31D29}" dt="2022-10-18T05:27:53.160" v="2917" actId="2696"/>
        <pc:sldMkLst>
          <pc:docMk/>
          <pc:sldMk cId="3855044518" sldId="296"/>
        </pc:sldMkLst>
        <pc:spChg chg="del">
          <ac:chgData name="Madan Sudarman" userId="80a28748-ca50-4d0f-a51c-1fb8c54caffe" providerId="ADAL" clId="{707B4B04-0B03-4012-AE5E-6DE221F31D29}" dt="2022-10-13T10:35:31.797" v="211" actId="478"/>
          <ac:spMkLst>
            <pc:docMk/>
            <pc:sldMk cId="3855044518" sldId="296"/>
            <ac:spMk id="2" creationId="{20E89BBE-55A4-3B90-DD57-26BA298F0EF5}"/>
          </ac:spMkLst>
        </pc:spChg>
        <pc:spChg chg="add del mod">
          <ac:chgData name="Madan Sudarman" userId="80a28748-ca50-4d0f-a51c-1fb8c54caffe" providerId="ADAL" clId="{707B4B04-0B03-4012-AE5E-6DE221F31D29}" dt="2022-10-13T10:35:35.491" v="212" actId="478"/>
          <ac:spMkLst>
            <pc:docMk/>
            <pc:sldMk cId="3855044518" sldId="296"/>
            <ac:spMk id="4" creationId="{56EEDB17-E46B-AD37-C37F-25688D2192A5}"/>
          </ac:spMkLst>
        </pc:spChg>
        <pc:spChg chg="add mod">
          <ac:chgData name="Madan Sudarman" userId="80a28748-ca50-4d0f-a51c-1fb8c54caffe" providerId="ADAL" clId="{707B4B04-0B03-4012-AE5E-6DE221F31D29}" dt="2022-10-13T10:36:18.398" v="223" actId="164"/>
          <ac:spMkLst>
            <pc:docMk/>
            <pc:sldMk cId="3855044518" sldId="296"/>
            <ac:spMk id="6" creationId="{31C6DEEB-2BC0-C3C9-EF80-D46FDFCD015C}"/>
          </ac:spMkLst>
        </pc:spChg>
        <pc:grpChg chg="add mod">
          <ac:chgData name="Madan Sudarman" userId="80a28748-ca50-4d0f-a51c-1fb8c54caffe" providerId="ADAL" clId="{707B4B04-0B03-4012-AE5E-6DE221F31D29}" dt="2022-10-13T10:36:33.154" v="227" actId="14100"/>
          <ac:grpSpMkLst>
            <pc:docMk/>
            <pc:sldMk cId="3855044518" sldId="296"/>
            <ac:grpSpMk id="7" creationId="{326C76FC-2E45-8950-E624-8A9EA9272481}"/>
          </ac:grpSpMkLst>
        </pc:grpChg>
        <pc:picChg chg="add mod">
          <ac:chgData name="Madan Sudarman" userId="80a28748-ca50-4d0f-a51c-1fb8c54caffe" providerId="ADAL" clId="{707B4B04-0B03-4012-AE5E-6DE221F31D29}" dt="2022-10-13T10:36:43.474" v="233" actId="1035"/>
          <ac:picMkLst>
            <pc:docMk/>
            <pc:sldMk cId="3855044518" sldId="296"/>
            <ac:picMk id="5" creationId="{BEBA64FF-0AFD-1018-E5CD-0DBE0610C1D0}"/>
          </ac:picMkLst>
        </pc:picChg>
      </pc:sldChg>
      <pc:sldChg chg="add del">
        <pc:chgData name="Madan Sudarman" userId="80a28748-ca50-4d0f-a51c-1fb8c54caffe" providerId="ADAL" clId="{707B4B04-0B03-4012-AE5E-6DE221F31D29}" dt="2022-10-17T10:41:22.154" v="2636" actId="47"/>
        <pc:sldMkLst>
          <pc:docMk/>
          <pc:sldMk cId="1888638099" sldId="297"/>
        </pc:sldMkLst>
      </pc:sldChg>
      <pc:sldChg chg="del">
        <pc:chgData name="Madan Sudarman" userId="80a28748-ca50-4d0f-a51c-1fb8c54caffe" providerId="ADAL" clId="{707B4B04-0B03-4012-AE5E-6DE221F31D29}" dt="2022-10-14T06:26:48.932" v="521" actId="2696"/>
        <pc:sldMkLst>
          <pc:docMk/>
          <pc:sldMk cId="2398641753" sldId="297"/>
        </pc:sldMkLst>
      </pc:sldChg>
      <pc:sldChg chg="del">
        <pc:chgData name="Madan Sudarman" userId="80a28748-ca50-4d0f-a51c-1fb8c54caffe" providerId="ADAL" clId="{707B4B04-0B03-4012-AE5E-6DE221F31D29}" dt="2022-10-14T06:26:48.932" v="521" actId="2696"/>
        <pc:sldMkLst>
          <pc:docMk/>
          <pc:sldMk cId="2329800286" sldId="298"/>
        </pc:sldMkLst>
      </pc:sldChg>
      <pc:sldChg chg="add del">
        <pc:chgData name="Madan Sudarman" userId="80a28748-ca50-4d0f-a51c-1fb8c54caffe" providerId="ADAL" clId="{707B4B04-0B03-4012-AE5E-6DE221F31D29}" dt="2022-10-17T10:41:23.478" v="2638" actId="47"/>
        <pc:sldMkLst>
          <pc:docMk/>
          <pc:sldMk cId="4287924552" sldId="298"/>
        </pc:sldMkLst>
      </pc:sldChg>
      <pc:sldChg chg="modSp del mod ord">
        <pc:chgData name="Madan Sudarman" userId="80a28748-ca50-4d0f-a51c-1fb8c54caffe" providerId="ADAL" clId="{707B4B04-0B03-4012-AE5E-6DE221F31D29}" dt="2022-10-17T10:41:22.820" v="2637" actId="47"/>
        <pc:sldMkLst>
          <pc:docMk/>
          <pc:sldMk cId="50091951" sldId="299"/>
        </pc:sldMkLst>
        <pc:spChg chg="mod">
          <ac:chgData name="Madan Sudarman" userId="80a28748-ca50-4d0f-a51c-1fb8c54caffe" providerId="ADAL" clId="{707B4B04-0B03-4012-AE5E-6DE221F31D29}" dt="2022-10-13T10:33:38.957" v="210" actId="20577"/>
          <ac:spMkLst>
            <pc:docMk/>
            <pc:sldMk cId="50091951" sldId="299"/>
            <ac:spMk id="20" creationId="{2A4514E3-7CA6-4C45-A094-E4F66A619BA6}"/>
          </ac:spMkLst>
        </pc:spChg>
      </pc:sldChg>
      <pc:sldChg chg="del">
        <pc:chgData name="Madan Sudarman" userId="80a28748-ca50-4d0f-a51c-1fb8c54caffe" providerId="ADAL" clId="{707B4B04-0B03-4012-AE5E-6DE221F31D29}" dt="2022-10-17T10:41:14.494" v="2632" actId="47"/>
        <pc:sldMkLst>
          <pc:docMk/>
          <pc:sldMk cId="2177582199" sldId="300"/>
        </pc:sldMkLst>
      </pc:sldChg>
      <pc:sldChg chg="del">
        <pc:chgData name="Madan Sudarman" userId="80a28748-ca50-4d0f-a51c-1fb8c54caffe" providerId="ADAL" clId="{707B4B04-0B03-4012-AE5E-6DE221F31D29}" dt="2022-10-17T10:41:15.708" v="2633" actId="47"/>
        <pc:sldMkLst>
          <pc:docMk/>
          <pc:sldMk cId="2169635881" sldId="301"/>
        </pc:sldMkLst>
      </pc:sldChg>
      <pc:sldChg chg="del">
        <pc:chgData name="Madan Sudarman" userId="80a28748-ca50-4d0f-a51c-1fb8c54caffe" providerId="ADAL" clId="{707B4B04-0B03-4012-AE5E-6DE221F31D29}" dt="2022-10-17T10:41:17.733" v="2634" actId="47"/>
        <pc:sldMkLst>
          <pc:docMk/>
          <pc:sldMk cId="1949863042" sldId="302"/>
        </pc:sldMkLst>
      </pc:sldChg>
      <pc:sldChg chg="del">
        <pc:chgData name="Madan Sudarman" userId="80a28748-ca50-4d0f-a51c-1fb8c54caffe" providerId="ADAL" clId="{707B4B04-0B03-4012-AE5E-6DE221F31D29}" dt="2022-10-17T10:41:20.819" v="2635" actId="47"/>
        <pc:sldMkLst>
          <pc:docMk/>
          <pc:sldMk cId="137379141" sldId="303"/>
        </pc:sldMkLst>
      </pc:sldChg>
      <pc:sldChg chg="addSp modSp new del mod">
        <pc:chgData name="Madan Sudarman" userId="80a28748-ca50-4d0f-a51c-1fb8c54caffe" providerId="ADAL" clId="{707B4B04-0B03-4012-AE5E-6DE221F31D29}" dt="2022-10-17T10:03:19.916" v="2444" actId="47"/>
        <pc:sldMkLst>
          <pc:docMk/>
          <pc:sldMk cId="3163160799" sldId="304"/>
        </pc:sldMkLst>
        <pc:picChg chg="add mod">
          <ac:chgData name="Madan Sudarman" userId="80a28748-ca50-4d0f-a51c-1fb8c54caffe" providerId="ADAL" clId="{707B4B04-0B03-4012-AE5E-6DE221F31D29}" dt="2022-10-12T16:03:50.193" v="7" actId="14100"/>
          <ac:picMkLst>
            <pc:docMk/>
            <pc:sldMk cId="3163160799" sldId="304"/>
            <ac:picMk id="4" creationId="{5D9D20EF-E20E-98D8-CDFD-5A03A9031F5A}"/>
          </ac:picMkLst>
        </pc:picChg>
        <pc:picChg chg="add mod">
          <ac:chgData name="Madan Sudarman" userId="80a28748-ca50-4d0f-a51c-1fb8c54caffe" providerId="ADAL" clId="{707B4B04-0B03-4012-AE5E-6DE221F31D29}" dt="2022-10-12T16:03:53.770" v="9" actId="1076"/>
          <ac:picMkLst>
            <pc:docMk/>
            <pc:sldMk cId="3163160799" sldId="304"/>
            <ac:picMk id="6" creationId="{91A0791C-7383-312A-B91F-BA71961C4B47}"/>
          </ac:picMkLst>
        </pc:picChg>
      </pc:sldChg>
      <pc:sldChg chg="addSp modSp new mod ord">
        <pc:chgData name="Madan Sudarman" userId="80a28748-ca50-4d0f-a51c-1fb8c54caffe" providerId="ADAL" clId="{707B4B04-0B03-4012-AE5E-6DE221F31D29}" dt="2022-10-17T11:00:14.957" v="2693"/>
        <pc:sldMkLst>
          <pc:docMk/>
          <pc:sldMk cId="798453060" sldId="305"/>
        </pc:sldMkLst>
        <pc:spChg chg="mod">
          <ac:chgData name="Madan Sudarman" userId="80a28748-ca50-4d0f-a51c-1fb8c54caffe" providerId="ADAL" clId="{707B4B04-0B03-4012-AE5E-6DE221F31D29}" dt="2022-10-17T10:02:27.832" v="2434" actId="20577"/>
          <ac:spMkLst>
            <pc:docMk/>
            <pc:sldMk cId="798453060" sldId="305"/>
            <ac:spMk id="2" creationId="{3F0B1745-D064-C467-B4D4-86218310B07F}"/>
          </ac:spMkLst>
        </pc:spChg>
        <pc:grpChg chg="add mod">
          <ac:chgData name="Madan Sudarman" userId="80a28748-ca50-4d0f-a51c-1fb8c54caffe" providerId="ADAL" clId="{707B4B04-0B03-4012-AE5E-6DE221F31D29}" dt="2022-10-17T10:03:12.313" v="2443" actId="1076"/>
          <ac:grpSpMkLst>
            <pc:docMk/>
            <pc:sldMk cId="798453060" sldId="305"/>
            <ac:grpSpMk id="3" creationId="{2CC97B2F-3C75-470B-824F-A5D9BC20D65E}"/>
          </ac:grpSpMkLst>
        </pc:grpChg>
        <pc:picChg chg="add mod">
          <ac:chgData name="Madan Sudarman" userId="80a28748-ca50-4d0f-a51c-1fb8c54caffe" providerId="ADAL" clId="{707B4B04-0B03-4012-AE5E-6DE221F31D29}" dt="2022-10-17T10:02:57.751" v="2440" actId="164"/>
          <ac:picMkLst>
            <pc:docMk/>
            <pc:sldMk cId="798453060" sldId="305"/>
            <ac:picMk id="4" creationId="{83F410BD-8E63-609E-56D8-164ECD72CE29}"/>
          </ac:picMkLst>
        </pc:picChg>
        <pc:picChg chg="add mod">
          <ac:chgData name="Madan Sudarman" userId="80a28748-ca50-4d0f-a51c-1fb8c54caffe" providerId="ADAL" clId="{707B4B04-0B03-4012-AE5E-6DE221F31D29}" dt="2022-10-17T10:02:57.751" v="2440" actId="164"/>
          <ac:picMkLst>
            <pc:docMk/>
            <pc:sldMk cId="798453060" sldId="305"/>
            <ac:picMk id="6" creationId="{FB0AF6DB-842C-3AD8-E7EF-7AF14F4539AB}"/>
          </ac:picMkLst>
        </pc:picChg>
      </pc:sldChg>
      <pc:sldChg chg="addSp delSp modSp new del mod modClrScheme chgLayout">
        <pc:chgData name="Madan Sudarman" userId="80a28748-ca50-4d0f-a51c-1fb8c54caffe" providerId="ADAL" clId="{707B4B04-0B03-4012-AE5E-6DE221F31D29}" dt="2022-10-17T10:40:55.768" v="2629" actId="47"/>
        <pc:sldMkLst>
          <pc:docMk/>
          <pc:sldMk cId="2231277762" sldId="306"/>
        </pc:sldMkLst>
        <pc:spChg chg="del">
          <ac:chgData name="Madan Sudarman" userId="80a28748-ca50-4d0f-a51c-1fb8c54caffe" providerId="ADAL" clId="{707B4B04-0B03-4012-AE5E-6DE221F31D29}" dt="2022-10-17T10:03:43.903" v="2445" actId="478"/>
          <ac:spMkLst>
            <pc:docMk/>
            <pc:sldMk cId="2231277762" sldId="306"/>
            <ac:spMk id="2" creationId="{1F69FABE-B025-3364-1AA8-45BF6037FD11}"/>
          </ac:spMkLst>
        </pc:spChg>
        <pc:picChg chg="add mod">
          <ac:chgData name="Madan Sudarman" userId="80a28748-ca50-4d0f-a51c-1fb8c54caffe" providerId="ADAL" clId="{707B4B04-0B03-4012-AE5E-6DE221F31D29}" dt="2022-10-17T10:03:57.375" v="2450" actId="26606"/>
          <ac:picMkLst>
            <pc:docMk/>
            <pc:sldMk cId="2231277762" sldId="306"/>
            <ac:picMk id="4" creationId="{20E6616B-F850-451B-756D-E49E20743B82}"/>
          </ac:picMkLst>
        </pc:picChg>
      </pc:sldChg>
      <pc:sldChg chg="addSp modSp new del mod">
        <pc:chgData name="Madan Sudarman" userId="80a28748-ca50-4d0f-a51c-1fb8c54caffe" providerId="ADAL" clId="{707B4B04-0B03-4012-AE5E-6DE221F31D29}" dt="2022-10-17T10:04:13.376" v="2451" actId="47"/>
        <pc:sldMkLst>
          <pc:docMk/>
          <pc:sldMk cId="2545568847" sldId="307"/>
        </pc:sldMkLst>
        <pc:spChg chg="add mod">
          <ac:chgData name="Madan Sudarman" userId="80a28748-ca50-4d0f-a51c-1fb8c54caffe" providerId="ADAL" clId="{707B4B04-0B03-4012-AE5E-6DE221F31D29}" dt="2022-10-12T16:29:30.932" v="27" actId="20577"/>
          <ac:spMkLst>
            <pc:docMk/>
            <pc:sldMk cId="2545568847" sldId="307"/>
            <ac:spMk id="9" creationId="{C6FA99DC-2744-7CC7-379F-7A67AFB7011B}"/>
          </ac:spMkLst>
        </pc:spChg>
        <pc:picChg chg="add mod">
          <ac:chgData name="Madan Sudarman" userId="80a28748-ca50-4d0f-a51c-1fb8c54caffe" providerId="ADAL" clId="{707B4B04-0B03-4012-AE5E-6DE221F31D29}" dt="2022-10-12T16:08:11.059" v="16" actId="1076"/>
          <ac:picMkLst>
            <pc:docMk/>
            <pc:sldMk cId="2545568847" sldId="307"/>
            <ac:picMk id="4" creationId="{AB671124-2AB8-9AC0-727C-872BF2A88E58}"/>
          </ac:picMkLst>
        </pc:picChg>
        <pc:picChg chg="add">
          <ac:chgData name="Madan Sudarman" userId="80a28748-ca50-4d0f-a51c-1fb8c54caffe" providerId="ADAL" clId="{707B4B04-0B03-4012-AE5E-6DE221F31D29}" dt="2022-10-12T16:14:19.974" v="17" actId="22"/>
          <ac:picMkLst>
            <pc:docMk/>
            <pc:sldMk cId="2545568847" sldId="307"/>
            <ac:picMk id="6" creationId="{E815D090-D638-9932-8EF6-F0DDDADB6376}"/>
          </ac:picMkLst>
        </pc:picChg>
        <pc:picChg chg="add mod">
          <ac:chgData name="Madan Sudarman" userId="80a28748-ca50-4d0f-a51c-1fb8c54caffe" providerId="ADAL" clId="{707B4B04-0B03-4012-AE5E-6DE221F31D29}" dt="2022-10-12T16:29:47.999" v="30" actId="1076"/>
          <ac:picMkLst>
            <pc:docMk/>
            <pc:sldMk cId="2545568847" sldId="307"/>
            <ac:picMk id="8" creationId="{7E8E5A23-F457-87E0-817D-59DC6FD58042}"/>
          </ac:picMkLst>
        </pc:picChg>
        <pc:picChg chg="add mod">
          <ac:chgData name="Madan Sudarman" userId="80a28748-ca50-4d0f-a51c-1fb8c54caffe" providerId="ADAL" clId="{707B4B04-0B03-4012-AE5E-6DE221F31D29}" dt="2022-10-12T16:29:48.993" v="31" actId="1076"/>
          <ac:picMkLst>
            <pc:docMk/>
            <pc:sldMk cId="2545568847" sldId="307"/>
            <ac:picMk id="11" creationId="{29EB60F6-7AF0-B79B-03A4-63F9E927FBF7}"/>
          </ac:picMkLst>
        </pc:picChg>
      </pc:sldChg>
      <pc:sldChg chg="addSp modSp new del mod">
        <pc:chgData name="Madan Sudarman" userId="80a28748-ca50-4d0f-a51c-1fb8c54caffe" providerId="ADAL" clId="{707B4B04-0B03-4012-AE5E-6DE221F31D29}" dt="2022-10-17T10:41:03.145" v="2630" actId="47"/>
        <pc:sldMkLst>
          <pc:docMk/>
          <pc:sldMk cId="3264779844" sldId="308"/>
        </pc:sldMkLst>
        <pc:picChg chg="add mod">
          <ac:chgData name="Madan Sudarman" userId="80a28748-ca50-4d0f-a51c-1fb8c54caffe" providerId="ADAL" clId="{707B4B04-0B03-4012-AE5E-6DE221F31D29}" dt="2022-10-12T16:30:47.558" v="33" actId="1076"/>
          <ac:picMkLst>
            <pc:docMk/>
            <pc:sldMk cId="3264779844" sldId="308"/>
            <ac:picMk id="4" creationId="{25527643-6221-A499-36AD-005C3F0C75FB}"/>
          </ac:picMkLst>
        </pc:picChg>
        <pc:picChg chg="add mod">
          <ac:chgData name="Madan Sudarman" userId="80a28748-ca50-4d0f-a51c-1fb8c54caffe" providerId="ADAL" clId="{707B4B04-0B03-4012-AE5E-6DE221F31D29}" dt="2022-10-12T16:32:06.646" v="38" actId="1076"/>
          <ac:picMkLst>
            <pc:docMk/>
            <pc:sldMk cId="3264779844" sldId="308"/>
            <ac:picMk id="6" creationId="{DFB27A02-D195-DCCD-53A5-9930609C57EB}"/>
          </ac:picMkLst>
        </pc:picChg>
        <pc:picChg chg="add mod">
          <ac:chgData name="Madan Sudarman" userId="80a28748-ca50-4d0f-a51c-1fb8c54caffe" providerId="ADAL" clId="{707B4B04-0B03-4012-AE5E-6DE221F31D29}" dt="2022-10-12T16:32:12.159" v="40" actId="14100"/>
          <ac:picMkLst>
            <pc:docMk/>
            <pc:sldMk cId="3264779844" sldId="308"/>
            <ac:picMk id="8" creationId="{B7503EC8-1DE5-AB9B-422C-90DB9034B935}"/>
          </ac:picMkLst>
        </pc:picChg>
      </pc:sldChg>
      <pc:sldChg chg="addSp delSp modSp add mod ord modClrScheme chgLayout">
        <pc:chgData name="Madan Sudarman" userId="80a28748-ca50-4d0f-a51c-1fb8c54caffe" providerId="ADAL" clId="{707B4B04-0B03-4012-AE5E-6DE221F31D29}" dt="2022-10-15T11:45:42.776" v="1234"/>
        <pc:sldMkLst>
          <pc:docMk/>
          <pc:sldMk cId="969355588" sldId="309"/>
        </pc:sldMkLst>
        <pc:spChg chg="mod ord">
          <ac:chgData name="Madan Sudarman" userId="80a28748-ca50-4d0f-a51c-1fb8c54caffe" providerId="ADAL" clId="{707B4B04-0B03-4012-AE5E-6DE221F31D29}" dt="2022-10-13T12:23:41.158" v="293" actId="1076"/>
          <ac:spMkLst>
            <pc:docMk/>
            <pc:sldMk cId="969355588" sldId="309"/>
            <ac:spMk id="2" creationId="{C18EF991-B4D8-4098-AE90-BB369B9CB8DE}"/>
          </ac:spMkLst>
        </pc:spChg>
        <pc:spChg chg="del mod">
          <ac:chgData name="Madan Sudarman" userId="80a28748-ca50-4d0f-a51c-1fb8c54caffe" providerId="ADAL" clId="{707B4B04-0B03-4012-AE5E-6DE221F31D29}" dt="2022-10-13T10:29:25.431" v="187" actId="478"/>
          <ac:spMkLst>
            <pc:docMk/>
            <pc:sldMk cId="969355588" sldId="309"/>
            <ac:spMk id="3" creationId="{1BF95388-65FE-4B88-9467-7DE52DCE8793}"/>
          </ac:spMkLst>
        </pc:spChg>
        <pc:spChg chg="add del mod">
          <ac:chgData name="Madan Sudarman" userId="80a28748-ca50-4d0f-a51c-1fb8c54caffe" providerId="ADAL" clId="{707B4B04-0B03-4012-AE5E-6DE221F31D29}" dt="2022-10-13T10:29:29.437" v="188" actId="478"/>
          <ac:spMkLst>
            <pc:docMk/>
            <pc:sldMk cId="969355588" sldId="309"/>
            <ac:spMk id="5" creationId="{F6BD56DA-9932-56B6-93B8-55AA817CD3B6}"/>
          </ac:spMkLst>
        </pc:spChg>
        <pc:spChg chg="add del mod">
          <ac:chgData name="Madan Sudarman" userId="80a28748-ca50-4d0f-a51c-1fb8c54caffe" providerId="ADAL" clId="{707B4B04-0B03-4012-AE5E-6DE221F31D29}" dt="2022-10-13T12:23:01.261" v="284" actId="478"/>
          <ac:spMkLst>
            <pc:docMk/>
            <pc:sldMk cId="969355588" sldId="309"/>
            <ac:spMk id="11" creationId="{7A56D261-D507-2955-0388-4BB3F70B38F0}"/>
          </ac:spMkLst>
        </pc:spChg>
        <pc:picChg chg="add del mod">
          <ac:chgData name="Madan Sudarman" userId="80a28748-ca50-4d0f-a51c-1fb8c54caffe" providerId="ADAL" clId="{707B4B04-0B03-4012-AE5E-6DE221F31D29}" dt="2022-10-13T12:22:56.923" v="283" actId="478"/>
          <ac:picMkLst>
            <pc:docMk/>
            <pc:sldMk cId="969355588" sldId="309"/>
            <ac:picMk id="6" creationId="{2AD335DE-8A04-DF14-DB09-A3E4DC051F90}"/>
          </ac:picMkLst>
        </pc:picChg>
      </pc:sldChg>
      <pc:sldChg chg="addSp delSp modSp new mod ord">
        <pc:chgData name="Madan Sudarman" userId="80a28748-ca50-4d0f-a51c-1fb8c54caffe" providerId="ADAL" clId="{707B4B04-0B03-4012-AE5E-6DE221F31D29}" dt="2022-10-19T08:03:51.447" v="3270" actId="207"/>
        <pc:sldMkLst>
          <pc:docMk/>
          <pc:sldMk cId="164017441" sldId="310"/>
        </pc:sldMkLst>
        <pc:spChg chg="mod">
          <ac:chgData name="Madan Sudarman" userId="80a28748-ca50-4d0f-a51c-1fb8c54caffe" providerId="ADAL" clId="{707B4B04-0B03-4012-AE5E-6DE221F31D29}" dt="2022-10-19T08:03:51.447" v="3270" actId="207"/>
          <ac:spMkLst>
            <pc:docMk/>
            <pc:sldMk cId="164017441" sldId="310"/>
            <ac:spMk id="2" creationId="{C99C1302-4457-5D26-6A60-20CB2CC0514D}"/>
          </ac:spMkLst>
        </pc:spChg>
        <pc:spChg chg="del">
          <ac:chgData name="Madan Sudarman" userId="80a28748-ca50-4d0f-a51c-1fb8c54caffe" providerId="ADAL" clId="{707B4B04-0B03-4012-AE5E-6DE221F31D29}" dt="2022-10-13T10:27:15.446" v="130" actId="478"/>
          <ac:spMkLst>
            <pc:docMk/>
            <pc:sldMk cId="164017441" sldId="310"/>
            <ac:spMk id="3" creationId="{EC187D47-6983-71D3-1C3C-C7F5F01787D8}"/>
          </ac:spMkLst>
        </pc:spChg>
        <pc:spChg chg="mod">
          <ac:chgData name="Madan Sudarman" userId="80a28748-ca50-4d0f-a51c-1fb8c54caffe" providerId="ADAL" clId="{707B4B04-0B03-4012-AE5E-6DE221F31D29}" dt="2022-10-19T08:03:35.605" v="3269" actId="14100"/>
          <ac:spMkLst>
            <pc:docMk/>
            <pc:sldMk cId="164017441" sldId="310"/>
            <ac:spMk id="4" creationId="{ACFA2B5B-5D60-C97E-118A-D875DFFF4CC9}"/>
          </ac:spMkLst>
        </pc:spChg>
        <pc:spChg chg="del">
          <ac:chgData name="Madan Sudarman" userId="80a28748-ca50-4d0f-a51c-1fb8c54caffe" providerId="ADAL" clId="{707B4B04-0B03-4012-AE5E-6DE221F31D29}" dt="2022-10-13T10:27:33.621" v="163" actId="478"/>
          <ac:spMkLst>
            <pc:docMk/>
            <pc:sldMk cId="164017441" sldId="310"/>
            <ac:spMk id="5" creationId="{58765A0A-57EB-96BF-EB89-DC516B34E72E}"/>
          </ac:spMkLst>
        </pc:spChg>
        <pc:spChg chg="del">
          <ac:chgData name="Madan Sudarman" userId="80a28748-ca50-4d0f-a51c-1fb8c54caffe" providerId="ADAL" clId="{707B4B04-0B03-4012-AE5E-6DE221F31D29}" dt="2022-10-13T10:27:36.420" v="164" actId="478"/>
          <ac:spMkLst>
            <pc:docMk/>
            <pc:sldMk cId="164017441" sldId="310"/>
            <ac:spMk id="6" creationId="{170095A3-1C4F-D188-1272-54052F02008C}"/>
          </ac:spMkLst>
        </pc:spChg>
        <pc:spChg chg="del">
          <ac:chgData name="Madan Sudarman" userId="80a28748-ca50-4d0f-a51c-1fb8c54caffe" providerId="ADAL" clId="{707B4B04-0B03-4012-AE5E-6DE221F31D29}" dt="2022-10-13T10:27:36.420" v="164" actId="478"/>
          <ac:spMkLst>
            <pc:docMk/>
            <pc:sldMk cId="164017441" sldId="310"/>
            <ac:spMk id="7" creationId="{61476520-8738-D1E6-7049-D5CD57E1A5E0}"/>
          </ac:spMkLst>
        </pc:spChg>
        <pc:spChg chg="del">
          <ac:chgData name="Madan Sudarman" userId="80a28748-ca50-4d0f-a51c-1fb8c54caffe" providerId="ADAL" clId="{707B4B04-0B03-4012-AE5E-6DE221F31D29}" dt="2022-10-13T10:27:36.420" v="164" actId="478"/>
          <ac:spMkLst>
            <pc:docMk/>
            <pc:sldMk cId="164017441" sldId="310"/>
            <ac:spMk id="8" creationId="{6480A0F3-9F48-4F6E-9892-25FF6A5EAB62}"/>
          </ac:spMkLst>
        </pc:spChg>
        <pc:spChg chg="del mod">
          <ac:chgData name="Madan Sudarman" userId="80a28748-ca50-4d0f-a51c-1fb8c54caffe" providerId="ADAL" clId="{707B4B04-0B03-4012-AE5E-6DE221F31D29}" dt="2022-10-13T10:26:43.738" v="125" actId="931"/>
          <ac:spMkLst>
            <pc:docMk/>
            <pc:sldMk cId="164017441" sldId="310"/>
            <ac:spMk id="9" creationId="{47E2E99D-A8E4-2110-BB11-520EC9BF60A5}"/>
          </ac:spMkLst>
        </pc:spChg>
        <pc:spChg chg="add del mod">
          <ac:chgData name="Madan Sudarman" userId="80a28748-ca50-4d0f-a51c-1fb8c54caffe" providerId="ADAL" clId="{707B4B04-0B03-4012-AE5E-6DE221F31D29}" dt="2022-10-17T07:33:42.684" v="1642" actId="931"/>
          <ac:spMkLst>
            <pc:docMk/>
            <pc:sldMk cId="164017441" sldId="310"/>
            <ac:spMk id="14" creationId="{98CC40FB-7578-1B98-7817-B48CDF3B23BF}"/>
          </ac:spMkLst>
        </pc:spChg>
        <pc:picChg chg="add del mod">
          <ac:chgData name="Madan Sudarman" userId="80a28748-ca50-4d0f-a51c-1fb8c54caffe" providerId="ADAL" clId="{707B4B04-0B03-4012-AE5E-6DE221F31D29}" dt="2022-10-17T07:33:32.256" v="1641" actId="478"/>
          <ac:picMkLst>
            <pc:docMk/>
            <pc:sldMk cId="164017441" sldId="310"/>
            <ac:picMk id="11" creationId="{BCAA7230-14C3-BFB3-41D5-1D739375862D}"/>
          </ac:picMkLst>
        </pc:picChg>
        <pc:picChg chg="add mod modCrop">
          <ac:chgData name="Madan Sudarman" userId="80a28748-ca50-4d0f-a51c-1fb8c54caffe" providerId="ADAL" clId="{707B4B04-0B03-4012-AE5E-6DE221F31D29}" dt="2022-10-13T12:24:37.908" v="295" actId="14100"/>
          <ac:picMkLst>
            <pc:docMk/>
            <pc:sldMk cId="164017441" sldId="310"/>
            <ac:picMk id="12" creationId="{827E6AAE-D625-1B6E-A4EA-E966FA0AD2AF}"/>
          </ac:picMkLst>
        </pc:picChg>
        <pc:picChg chg="add mod modCrop">
          <ac:chgData name="Madan Sudarman" userId="80a28748-ca50-4d0f-a51c-1fb8c54caffe" providerId="ADAL" clId="{707B4B04-0B03-4012-AE5E-6DE221F31D29}" dt="2022-10-17T07:34:25.864" v="1649" actId="1076"/>
          <ac:picMkLst>
            <pc:docMk/>
            <pc:sldMk cId="164017441" sldId="310"/>
            <ac:picMk id="16" creationId="{ABD42E62-29A1-BA53-526A-34A6D3C0AAF5}"/>
          </ac:picMkLst>
        </pc:picChg>
      </pc:sldChg>
      <pc:sldChg chg="addSp delSp modSp add mod ord modAnim">
        <pc:chgData name="Madan Sudarman" userId="80a28748-ca50-4d0f-a51c-1fb8c54caffe" providerId="ADAL" clId="{707B4B04-0B03-4012-AE5E-6DE221F31D29}" dt="2022-10-18T11:18:02.939" v="3039" actId="207"/>
        <pc:sldMkLst>
          <pc:docMk/>
          <pc:sldMk cId="1176215592" sldId="3881"/>
        </pc:sldMkLst>
        <pc:spChg chg="del mod">
          <ac:chgData name="Madan Sudarman" userId="80a28748-ca50-4d0f-a51c-1fb8c54caffe" providerId="ADAL" clId="{707B4B04-0B03-4012-AE5E-6DE221F31D29}" dt="2022-10-15T10:32:32.791" v="1106" actId="478"/>
          <ac:spMkLst>
            <pc:docMk/>
            <pc:sldMk cId="1176215592" sldId="3881"/>
            <ac:spMk id="2" creationId="{00000000-0000-0000-0000-000000000000}"/>
          </ac:spMkLst>
        </pc:spChg>
        <pc:spChg chg="add del mod">
          <ac:chgData name="Madan Sudarman" userId="80a28748-ca50-4d0f-a51c-1fb8c54caffe" providerId="ADAL" clId="{707B4B04-0B03-4012-AE5E-6DE221F31D29}" dt="2022-10-13T10:45:02.732" v="236" actId="478"/>
          <ac:spMkLst>
            <pc:docMk/>
            <pc:sldMk cId="1176215592" sldId="3881"/>
            <ac:spMk id="6" creationId="{F57C53DF-27E8-021C-FE3A-1E3A675DE94F}"/>
          </ac:spMkLst>
        </pc:spChg>
        <pc:spChg chg="del">
          <ac:chgData name="Madan Sudarman" userId="80a28748-ca50-4d0f-a51c-1fb8c54caffe" providerId="ADAL" clId="{707B4B04-0B03-4012-AE5E-6DE221F31D29}" dt="2022-10-13T10:44:58.483" v="235" actId="478"/>
          <ac:spMkLst>
            <pc:docMk/>
            <pc:sldMk cId="1176215592" sldId="3881"/>
            <ac:spMk id="7" creationId="{00000000-0000-0000-0000-000000000000}"/>
          </ac:spMkLst>
        </pc:spChg>
        <pc:spChg chg="add del mod">
          <ac:chgData name="Madan Sudarman" userId="80a28748-ca50-4d0f-a51c-1fb8c54caffe" providerId="ADAL" clId="{707B4B04-0B03-4012-AE5E-6DE221F31D29}" dt="2022-10-15T10:32:35.034" v="1107" actId="478"/>
          <ac:spMkLst>
            <pc:docMk/>
            <pc:sldMk cId="1176215592" sldId="3881"/>
            <ac:spMk id="9" creationId="{D81F4FBF-5872-B91D-AA64-A72D4DA33AE7}"/>
          </ac:spMkLst>
        </pc:spChg>
        <pc:spChg chg="del">
          <ac:chgData name="Madan Sudarman" userId="80a28748-ca50-4d0f-a51c-1fb8c54caffe" providerId="ADAL" clId="{707B4B04-0B03-4012-AE5E-6DE221F31D29}" dt="2022-10-13T10:45:32.646" v="239" actId="478"/>
          <ac:spMkLst>
            <pc:docMk/>
            <pc:sldMk cId="1176215592" sldId="3881"/>
            <ac:spMk id="12" creationId="{35F2EDA8-0357-0B4A-B1DB-B492454FFF91}"/>
          </ac:spMkLst>
        </pc:spChg>
        <pc:spChg chg="mod topLvl">
          <ac:chgData name="Madan Sudarman" userId="80a28748-ca50-4d0f-a51c-1fb8c54caffe" providerId="ADAL" clId="{707B4B04-0B03-4012-AE5E-6DE221F31D29}" dt="2022-10-17T10:20:09.233" v="2553" actId="165"/>
          <ac:spMkLst>
            <pc:docMk/>
            <pc:sldMk cId="1176215592" sldId="3881"/>
            <ac:spMk id="15" creationId="{00000000-0000-0000-0000-000000000000}"/>
          </ac:spMkLst>
        </pc:spChg>
        <pc:spChg chg="mod topLvl">
          <ac:chgData name="Madan Sudarman" userId="80a28748-ca50-4d0f-a51c-1fb8c54caffe" providerId="ADAL" clId="{707B4B04-0B03-4012-AE5E-6DE221F31D29}" dt="2022-10-17T10:20:16.859" v="2554" actId="164"/>
          <ac:spMkLst>
            <pc:docMk/>
            <pc:sldMk cId="1176215592" sldId="3881"/>
            <ac:spMk id="16" creationId="{00000000-0000-0000-0000-000000000000}"/>
          </ac:spMkLst>
        </pc:spChg>
        <pc:spChg chg="mod topLvl">
          <ac:chgData name="Madan Sudarman" userId="80a28748-ca50-4d0f-a51c-1fb8c54caffe" providerId="ADAL" clId="{707B4B04-0B03-4012-AE5E-6DE221F31D29}" dt="2022-10-18T11:18:02.939" v="3039" actId="207"/>
          <ac:spMkLst>
            <pc:docMk/>
            <pc:sldMk cId="1176215592" sldId="3881"/>
            <ac:spMk id="17" creationId="{00000000-0000-0000-0000-000000000000}"/>
          </ac:spMkLst>
        </pc:spChg>
        <pc:spChg chg="mod topLvl">
          <ac:chgData name="Madan Sudarman" userId="80a28748-ca50-4d0f-a51c-1fb8c54caffe" providerId="ADAL" clId="{707B4B04-0B03-4012-AE5E-6DE221F31D29}" dt="2022-10-17T10:20:16.859" v="2554" actId="164"/>
          <ac:spMkLst>
            <pc:docMk/>
            <pc:sldMk cId="1176215592" sldId="3881"/>
            <ac:spMk id="18" creationId="{00000000-0000-0000-0000-000000000000}"/>
          </ac:spMkLst>
        </pc:spChg>
        <pc:spChg chg="mod">
          <ac:chgData name="Madan Sudarman" userId="80a28748-ca50-4d0f-a51c-1fb8c54caffe" providerId="ADAL" clId="{707B4B04-0B03-4012-AE5E-6DE221F31D29}" dt="2022-10-18T10:51:29.483" v="2954" actId="207"/>
          <ac:spMkLst>
            <pc:docMk/>
            <pc:sldMk cId="1176215592" sldId="3881"/>
            <ac:spMk id="19" creationId="{00000000-0000-0000-0000-000000000000}"/>
          </ac:spMkLst>
        </pc:spChg>
        <pc:grpChg chg="del mod">
          <ac:chgData name="Madan Sudarman" userId="80a28748-ca50-4d0f-a51c-1fb8c54caffe" providerId="ADAL" clId="{707B4B04-0B03-4012-AE5E-6DE221F31D29}" dt="2022-10-17T10:20:09.233" v="2553" actId="165"/>
          <ac:grpSpMkLst>
            <pc:docMk/>
            <pc:sldMk cId="1176215592" sldId="3881"/>
            <ac:grpSpMk id="5" creationId="{00000000-0000-0000-0000-000000000000}"/>
          </ac:grpSpMkLst>
        </pc:grpChg>
        <pc:grpChg chg="add mod">
          <ac:chgData name="Madan Sudarman" userId="80a28748-ca50-4d0f-a51c-1fb8c54caffe" providerId="ADAL" clId="{707B4B04-0B03-4012-AE5E-6DE221F31D29}" dt="2022-10-17T10:20:16.859" v="2554" actId="164"/>
          <ac:grpSpMkLst>
            <pc:docMk/>
            <pc:sldMk cId="1176215592" sldId="3881"/>
            <ac:grpSpMk id="10" creationId="{4B5D9B4E-5647-C7A1-9BA8-B4968F84084F}"/>
          </ac:grpSpMkLst>
        </pc:grpChg>
      </pc:sldChg>
      <pc:sldChg chg="delSp add del mod">
        <pc:chgData name="Madan Sudarman" userId="80a28748-ca50-4d0f-a51c-1fb8c54caffe" providerId="ADAL" clId="{707B4B04-0B03-4012-AE5E-6DE221F31D29}" dt="2022-10-13T10:53:12.881" v="249" actId="47"/>
        <pc:sldMkLst>
          <pc:docMk/>
          <pc:sldMk cId="3722033697" sldId="10656"/>
        </pc:sldMkLst>
        <pc:spChg chg="del">
          <ac:chgData name="Madan Sudarman" userId="80a28748-ca50-4d0f-a51c-1fb8c54caffe" providerId="ADAL" clId="{707B4B04-0B03-4012-AE5E-6DE221F31D29}" dt="2022-10-13T10:53:00.824" v="247" actId="478"/>
          <ac:spMkLst>
            <pc:docMk/>
            <pc:sldMk cId="3722033697" sldId="10656"/>
            <ac:spMk id="134" creationId="{85AF0EA1-B07D-48EE-B5C2-3E1D2465AF83}"/>
          </ac:spMkLst>
        </pc:spChg>
        <pc:spChg chg="del">
          <ac:chgData name="Madan Sudarman" userId="80a28748-ca50-4d0f-a51c-1fb8c54caffe" providerId="ADAL" clId="{707B4B04-0B03-4012-AE5E-6DE221F31D29}" dt="2022-10-13T10:53:05.139" v="248" actId="478"/>
          <ac:spMkLst>
            <pc:docMk/>
            <pc:sldMk cId="3722033697" sldId="10656"/>
            <ac:spMk id="137" creationId="{0BA7EB29-DE72-4CC0-8EDB-0FBE4CAC6990}"/>
          </ac:spMkLst>
        </pc:spChg>
      </pc:sldChg>
      <pc:sldChg chg="del">
        <pc:chgData name="Madan Sudarman" userId="80a28748-ca50-4d0f-a51c-1fb8c54caffe" providerId="ADAL" clId="{707B4B04-0B03-4012-AE5E-6DE221F31D29}" dt="2022-10-13T10:32:30.957" v="195" actId="47"/>
        <pc:sldMkLst>
          <pc:docMk/>
          <pc:sldMk cId="1775313498" sldId="2076136309"/>
        </pc:sldMkLst>
      </pc:sldChg>
      <pc:sldChg chg="addSp modSp add modAnim">
        <pc:chgData name="Madan Sudarman" userId="80a28748-ca50-4d0f-a51c-1fb8c54caffe" providerId="ADAL" clId="{707B4B04-0B03-4012-AE5E-6DE221F31D29}" dt="2022-10-19T16:49:57.709" v="3405"/>
        <pc:sldMkLst>
          <pc:docMk/>
          <pc:sldMk cId="1303871568" sldId="2146847060"/>
        </pc:sldMkLst>
        <pc:spChg chg="mod">
          <ac:chgData name="Madan Sudarman" userId="80a28748-ca50-4d0f-a51c-1fb8c54caffe" providerId="ADAL" clId="{707B4B04-0B03-4012-AE5E-6DE221F31D29}" dt="2022-10-19T16:49:36.447" v="3402" actId="164"/>
          <ac:spMkLst>
            <pc:docMk/>
            <pc:sldMk cId="1303871568" sldId="2146847060"/>
            <ac:spMk id="62" creationId="{E84204BC-090D-456D-96F5-EC3FA4571359}"/>
          </ac:spMkLst>
        </pc:spChg>
        <pc:spChg chg="mod">
          <ac:chgData name="Madan Sudarman" userId="80a28748-ca50-4d0f-a51c-1fb8c54caffe" providerId="ADAL" clId="{707B4B04-0B03-4012-AE5E-6DE221F31D29}" dt="2022-10-19T16:49:56.312" v="3404" actId="164"/>
          <ac:spMkLst>
            <pc:docMk/>
            <pc:sldMk cId="1303871568" sldId="2146847060"/>
            <ac:spMk id="77" creationId="{6A4E8BEC-8BDF-4146-B708-43D1FFBCFDB3}"/>
          </ac:spMkLst>
        </pc:spChg>
        <pc:spChg chg="mod">
          <ac:chgData name="Madan Sudarman" userId="80a28748-ca50-4d0f-a51c-1fb8c54caffe" providerId="ADAL" clId="{707B4B04-0B03-4012-AE5E-6DE221F31D29}" dt="2022-10-19T16:49:36.447" v="3402" actId="164"/>
          <ac:spMkLst>
            <pc:docMk/>
            <pc:sldMk cId="1303871568" sldId="2146847060"/>
            <ac:spMk id="130" creationId="{E7DBFA41-06D9-4F03-A434-AAFBD0DF690C}"/>
          </ac:spMkLst>
        </pc:spChg>
        <pc:spChg chg="mod">
          <ac:chgData name="Madan Sudarman" userId="80a28748-ca50-4d0f-a51c-1fb8c54caffe" providerId="ADAL" clId="{707B4B04-0B03-4012-AE5E-6DE221F31D29}" dt="2022-10-19T16:49:56.312" v="3404" actId="164"/>
          <ac:spMkLst>
            <pc:docMk/>
            <pc:sldMk cId="1303871568" sldId="2146847060"/>
            <ac:spMk id="142" creationId="{2F59886C-8B84-41BE-AEAC-0E53CF4C3685}"/>
          </ac:spMkLst>
        </pc:spChg>
        <pc:spChg chg="mod">
          <ac:chgData name="Madan Sudarman" userId="80a28748-ca50-4d0f-a51c-1fb8c54caffe" providerId="ADAL" clId="{707B4B04-0B03-4012-AE5E-6DE221F31D29}" dt="2022-10-19T16:49:56.312" v="3404" actId="164"/>
          <ac:spMkLst>
            <pc:docMk/>
            <pc:sldMk cId="1303871568" sldId="2146847060"/>
            <ac:spMk id="148" creationId="{296169F8-52C9-40FA-AD47-D26E4866898B}"/>
          </ac:spMkLst>
        </pc:spChg>
        <pc:spChg chg="mod">
          <ac:chgData name="Madan Sudarman" userId="80a28748-ca50-4d0f-a51c-1fb8c54caffe" providerId="ADAL" clId="{707B4B04-0B03-4012-AE5E-6DE221F31D29}" dt="2022-10-19T16:49:36.447" v="3402" actId="164"/>
          <ac:spMkLst>
            <pc:docMk/>
            <pc:sldMk cId="1303871568" sldId="2146847060"/>
            <ac:spMk id="164" creationId="{7B1A908A-EBA3-4625-9979-EF588E10CB25}"/>
          </ac:spMkLst>
        </pc:s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2" creationId="{71AD1FF2-B13B-4E5F-A9FA-245CD1F1200E}"/>
          </ac:grpSpMkLst>
        </pc:gr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5" creationId="{69C0443D-4222-49B7-B056-D6BE5D1ABC43}"/>
          </ac:grpSpMkLst>
        </pc:gr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6" creationId="{2C920219-ACCD-42BD-B0FD-5E648823BB4A}"/>
          </ac:grpSpMkLst>
        </pc:grpChg>
        <pc:grpChg chg="add mod">
          <ac:chgData name="Madan Sudarman" userId="80a28748-ca50-4d0f-a51c-1fb8c54caffe" providerId="ADAL" clId="{707B4B04-0B03-4012-AE5E-6DE221F31D29}" dt="2022-10-19T16:49:36.447" v="3402" actId="164"/>
          <ac:grpSpMkLst>
            <pc:docMk/>
            <pc:sldMk cId="1303871568" sldId="2146847060"/>
            <ac:grpSpMk id="7" creationId="{FC231B9F-46EA-6FFB-7873-B6AC45560F46}"/>
          </ac:grpSpMkLst>
        </pc:grpChg>
        <pc:grpChg chg="mod">
          <ac:chgData name="Madan Sudarman" userId="80a28748-ca50-4d0f-a51c-1fb8c54caffe" providerId="ADAL" clId="{707B4B04-0B03-4012-AE5E-6DE221F31D29}" dt="2022-10-19T16:49:36.447" v="3402" actId="164"/>
          <ac:grpSpMkLst>
            <pc:docMk/>
            <pc:sldMk cId="1303871568" sldId="2146847060"/>
            <ac:grpSpMk id="8" creationId="{45606D2D-2C45-460D-AE99-D073D1EC1438}"/>
          </ac:grpSpMkLst>
        </pc:gr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9" creationId="{F37DF6BA-BAB1-4EF3-BAD6-96991472ED30}"/>
          </ac:grpSpMkLst>
        </pc:gr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10" creationId="{01ED2BEC-C42C-413D-BE73-6A305C449851}"/>
          </ac:grpSpMkLst>
        </pc:grpChg>
        <pc:grpChg chg="add 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11" creationId="{FB05790B-7FE0-418F-A34C-312CB2B13502}"/>
          </ac:grpSpMkLst>
        </pc:grpChg>
        <pc:grpChg chg="mod">
          <ac:chgData name="Madan Sudarman" userId="80a28748-ca50-4d0f-a51c-1fb8c54caffe" providerId="ADAL" clId="{707B4B04-0B03-4012-AE5E-6DE221F31D29}" dt="2022-10-19T16:49:36.447" v="3402" actId="164"/>
          <ac:grpSpMkLst>
            <pc:docMk/>
            <pc:sldMk cId="1303871568" sldId="2146847060"/>
            <ac:grpSpMk id="132" creationId="{B35CBD29-A4F0-432C-9240-02EF16FD5833}"/>
          </ac:grpSpMkLst>
        </pc:grpChg>
        <pc:grpChg chg="mod">
          <ac:chgData name="Madan Sudarman" userId="80a28748-ca50-4d0f-a51c-1fb8c54caffe" providerId="ADAL" clId="{707B4B04-0B03-4012-AE5E-6DE221F31D29}" dt="2022-10-19T16:49:36.447" v="3402" actId="164"/>
          <ac:grpSpMkLst>
            <pc:docMk/>
            <pc:sldMk cId="1303871568" sldId="2146847060"/>
            <ac:grpSpMk id="137" creationId="{DFE356B5-1FB3-4173-92EC-387448061352}"/>
          </ac:grpSpMkLst>
        </pc:grpChg>
        <pc:grpChg chg="mod">
          <ac:chgData name="Madan Sudarman" userId="80a28748-ca50-4d0f-a51c-1fb8c54caffe" providerId="ADAL" clId="{707B4B04-0B03-4012-AE5E-6DE221F31D29}" dt="2022-10-19T16:49:56.312" v="3404" actId="164"/>
          <ac:grpSpMkLst>
            <pc:docMk/>
            <pc:sldMk cId="1303871568" sldId="2146847060"/>
            <ac:grpSpMk id="156" creationId="{0E2B34D1-407A-440F-B87E-E89F7952F3F3}"/>
          </ac:grpSpMkLst>
        </pc:grpChg>
        <pc:graphicFrameChg chg="mod">
          <ac:chgData name="Madan Sudarman" userId="80a28748-ca50-4d0f-a51c-1fb8c54caffe" providerId="ADAL" clId="{707B4B04-0B03-4012-AE5E-6DE221F31D29}" dt="2022-10-19T16:49:36.447" v="3402" actId="164"/>
          <ac:graphicFrameMkLst>
            <pc:docMk/>
            <pc:sldMk cId="1303871568" sldId="2146847060"/>
            <ac:graphicFrameMk id="121" creationId="{24F9418B-560E-4F32-B36B-2A9B9A76F909}"/>
          </ac:graphicFrameMkLst>
        </pc:graphicFrameChg>
        <pc:cxnChg chg="mod">
          <ac:chgData name="Madan Sudarman" userId="80a28748-ca50-4d0f-a51c-1fb8c54caffe" providerId="ADAL" clId="{707B4B04-0B03-4012-AE5E-6DE221F31D29}" dt="2022-10-19T16:49:56.312" v="3404" actId="164"/>
          <ac:cxnSpMkLst>
            <pc:docMk/>
            <pc:sldMk cId="1303871568" sldId="2146847060"/>
            <ac:cxnSpMk id="85" creationId="{66E6FF36-E593-48FE-84D7-2B6BBA89E103}"/>
          </ac:cxnSpMkLst>
        </pc:cxnChg>
        <pc:cxnChg chg="mod">
          <ac:chgData name="Madan Sudarman" userId="80a28748-ca50-4d0f-a51c-1fb8c54caffe" providerId="ADAL" clId="{707B4B04-0B03-4012-AE5E-6DE221F31D29}" dt="2022-10-19T16:49:36.447" v="3402" actId="164"/>
          <ac:cxnSpMkLst>
            <pc:docMk/>
            <pc:sldMk cId="1303871568" sldId="2146847060"/>
            <ac:cxnSpMk id="136" creationId="{439513BA-7593-42A2-9800-EC46DAA4849E}"/>
          </ac:cxnSpMkLst>
        </pc:cxnChg>
        <pc:cxnChg chg="mod">
          <ac:chgData name="Madan Sudarman" userId="80a28748-ca50-4d0f-a51c-1fb8c54caffe" providerId="ADAL" clId="{707B4B04-0B03-4012-AE5E-6DE221F31D29}" dt="2022-10-19T16:49:56.312" v="3404" actId="164"/>
          <ac:cxnSpMkLst>
            <pc:docMk/>
            <pc:sldMk cId="1303871568" sldId="2146847060"/>
            <ac:cxnSpMk id="157" creationId="{455A980D-16EC-4647-885E-DD0B5D85F947}"/>
          </ac:cxnSpMkLst>
        </pc:cxnChg>
      </pc:sldChg>
      <pc:sldChg chg="add">
        <pc:chgData name="Madan Sudarman" userId="80a28748-ca50-4d0f-a51c-1fb8c54caffe" providerId="ADAL" clId="{707B4B04-0B03-4012-AE5E-6DE221F31D29}" dt="2022-10-19T16:38:25.053" v="3345"/>
        <pc:sldMkLst>
          <pc:docMk/>
          <pc:sldMk cId="3631362538" sldId="2146847061"/>
        </pc:sldMkLst>
      </pc:sldChg>
      <pc:sldChg chg="modSp add del mod ord">
        <pc:chgData name="Madan Sudarman" userId="80a28748-ca50-4d0f-a51c-1fb8c54caffe" providerId="ADAL" clId="{707B4B04-0B03-4012-AE5E-6DE221F31D29}" dt="2022-10-17T10:06:05.730" v="2461" actId="47"/>
        <pc:sldMkLst>
          <pc:docMk/>
          <pc:sldMk cId="2515196548" sldId="2146848136"/>
        </pc:sldMkLst>
        <pc:spChg chg="mod">
          <ac:chgData name="Madan Sudarman" userId="80a28748-ca50-4d0f-a51c-1fb8c54caffe" providerId="ADAL" clId="{707B4B04-0B03-4012-AE5E-6DE221F31D29}" dt="2022-10-13T12:17:24.112" v="259" actId="20577"/>
          <ac:spMkLst>
            <pc:docMk/>
            <pc:sldMk cId="2515196548" sldId="2146848136"/>
            <ac:spMk id="2" creationId="{6A166CB0-4F27-C244-B387-C95786FFEF41}"/>
          </ac:spMkLst>
        </pc:spChg>
      </pc:sldChg>
      <pc:sldChg chg="addSp delSp modSp add del mod">
        <pc:chgData name="Madan Sudarman" userId="80a28748-ca50-4d0f-a51c-1fb8c54caffe" providerId="ADAL" clId="{707B4B04-0B03-4012-AE5E-6DE221F31D29}" dt="2022-10-18T05:27:53.160" v="2917" actId="2696"/>
        <pc:sldMkLst>
          <pc:docMk/>
          <pc:sldMk cId="2043985326" sldId="2147469824"/>
        </pc:sldMkLst>
        <pc:spChg chg="del">
          <ac:chgData name="Madan Sudarman" userId="80a28748-ca50-4d0f-a51c-1fb8c54caffe" providerId="ADAL" clId="{707B4B04-0B03-4012-AE5E-6DE221F31D29}" dt="2022-10-13T10:47:59.129" v="243" actId="478"/>
          <ac:spMkLst>
            <pc:docMk/>
            <pc:sldMk cId="2043985326" sldId="2147469824"/>
            <ac:spMk id="7" creationId="{310D2D40-563D-4914-8B53-BAA5E73D58AE}"/>
          </ac:spMkLst>
        </pc:spChg>
        <pc:spChg chg="add del mod">
          <ac:chgData name="Madan Sudarman" userId="80a28748-ca50-4d0f-a51c-1fb8c54caffe" providerId="ADAL" clId="{707B4B04-0B03-4012-AE5E-6DE221F31D29}" dt="2022-10-13T10:48:03.741" v="244" actId="478"/>
          <ac:spMkLst>
            <pc:docMk/>
            <pc:sldMk cId="2043985326" sldId="2147469824"/>
            <ac:spMk id="33" creationId="{67721C33-CA2C-9245-F37E-5E99EE3C20BB}"/>
          </ac:spMkLst>
        </pc:spChg>
      </pc:sldChg>
      <pc:sldChg chg="delSp add mod">
        <pc:chgData name="Madan Sudarman" userId="80a28748-ca50-4d0f-a51c-1fb8c54caffe" providerId="ADAL" clId="{707B4B04-0B03-4012-AE5E-6DE221F31D29}" dt="2022-10-19T16:51:59.538" v="3420" actId="478"/>
        <pc:sldMkLst>
          <pc:docMk/>
          <pc:sldMk cId="4210101239" sldId="2147469824"/>
        </pc:sldMkLst>
        <pc:spChg chg="del">
          <ac:chgData name="Madan Sudarman" userId="80a28748-ca50-4d0f-a51c-1fb8c54caffe" providerId="ADAL" clId="{707B4B04-0B03-4012-AE5E-6DE221F31D29}" dt="2022-10-19T16:51:59.538" v="3420" actId="478"/>
          <ac:spMkLst>
            <pc:docMk/>
            <pc:sldMk cId="4210101239" sldId="2147469824"/>
            <ac:spMk id="30" creationId="{EFA4917E-4E5E-45BF-A50A-43B8C7130014}"/>
          </ac:spMkLst>
        </pc:spChg>
      </pc:sldChg>
      <pc:sldChg chg="delSp add mod">
        <pc:chgData name="Madan Sudarman" userId="80a28748-ca50-4d0f-a51c-1fb8c54caffe" providerId="ADAL" clId="{707B4B04-0B03-4012-AE5E-6DE221F31D29}" dt="2022-10-19T16:50:16.346" v="3410" actId="478"/>
        <pc:sldMkLst>
          <pc:docMk/>
          <pc:sldMk cId="1335201891" sldId="2147469917"/>
        </pc:sldMkLst>
        <pc:graphicFrameChg chg="del">
          <ac:chgData name="Madan Sudarman" userId="80a28748-ca50-4d0f-a51c-1fb8c54caffe" providerId="ADAL" clId="{707B4B04-0B03-4012-AE5E-6DE221F31D29}" dt="2022-10-19T16:50:12.628" v="3408" actId="478"/>
          <ac:graphicFrameMkLst>
            <pc:docMk/>
            <pc:sldMk cId="1335201891" sldId="2147469917"/>
            <ac:graphicFrameMk id="5" creationId="{F58D1738-CCA4-440D-9623-04589A131917}"/>
          </ac:graphicFrameMkLst>
        </pc:graphicFrameChg>
        <pc:graphicFrameChg chg="del">
          <ac:chgData name="Madan Sudarman" userId="80a28748-ca50-4d0f-a51c-1fb8c54caffe" providerId="ADAL" clId="{707B4B04-0B03-4012-AE5E-6DE221F31D29}" dt="2022-10-19T16:50:14.564" v="3409" actId="478"/>
          <ac:graphicFrameMkLst>
            <pc:docMk/>
            <pc:sldMk cId="1335201891" sldId="2147469917"/>
            <ac:graphicFrameMk id="9" creationId="{75FCADFB-D6B7-4E1C-8784-8B971C9080DC}"/>
          </ac:graphicFrameMkLst>
        </pc:graphicFrameChg>
        <pc:graphicFrameChg chg="del">
          <ac:chgData name="Madan Sudarman" userId="80a28748-ca50-4d0f-a51c-1fb8c54caffe" providerId="ADAL" clId="{707B4B04-0B03-4012-AE5E-6DE221F31D29}" dt="2022-10-19T16:50:08.336" v="3406" actId="478"/>
          <ac:graphicFrameMkLst>
            <pc:docMk/>
            <pc:sldMk cId="1335201891" sldId="2147469917"/>
            <ac:graphicFrameMk id="24" creationId="{95081CBD-11FB-41F1-BBD2-80214F832ED9}"/>
          </ac:graphicFrameMkLst>
        </pc:graphicFrameChg>
        <pc:graphicFrameChg chg="del">
          <ac:chgData name="Madan Sudarman" userId="80a28748-ca50-4d0f-a51c-1fb8c54caffe" providerId="ADAL" clId="{707B4B04-0B03-4012-AE5E-6DE221F31D29}" dt="2022-10-19T16:50:10.582" v="3407" actId="478"/>
          <ac:graphicFrameMkLst>
            <pc:docMk/>
            <pc:sldMk cId="1335201891" sldId="2147469917"/>
            <ac:graphicFrameMk id="280" creationId="{F99569BF-C37D-4769-99A9-2F788ADE341E}"/>
          </ac:graphicFrameMkLst>
        </pc:graphicFrameChg>
        <pc:graphicFrameChg chg="del">
          <ac:chgData name="Madan Sudarman" userId="80a28748-ca50-4d0f-a51c-1fb8c54caffe" providerId="ADAL" clId="{707B4B04-0B03-4012-AE5E-6DE221F31D29}" dt="2022-10-19T16:50:16.346" v="3410" actId="478"/>
          <ac:graphicFrameMkLst>
            <pc:docMk/>
            <pc:sldMk cId="1335201891" sldId="2147469917"/>
            <ac:graphicFrameMk id="281" creationId="{0E48CC12-2700-48A8-A50C-69A4C9011D25}"/>
          </ac:graphicFrameMkLst>
        </pc:graphicFrameChg>
      </pc:sldChg>
      <pc:sldChg chg="add">
        <pc:chgData name="Madan Sudarman" userId="80a28748-ca50-4d0f-a51c-1fb8c54caffe" providerId="ADAL" clId="{707B4B04-0B03-4012-AE5E-6DE221F31D29}" dt="2022-10-18T05:27:27.373" v="2916"/>
        <pc:sldMkLst>
          <pc:docMk/>
          <pc:sldMk cId="3701592038" sldId="2147469925"/>
        </pc:sldMkLst>
      </pc:sldChg>
      <pc:sldChg chg="addSp modSp add mod modAnim">
        <pc:chgData name="Madan Sudarman" userId="80a28748-ca50-4d0f-a51c-1fb8c54caffe" providerId="ADAL" clId="{707B4B04-0B03-4012-AE5E-6DE221F31D29}" dt="2022-10-19T16:51:31.673" v="3419"/>
        <pc:sldMkLst>
          <pc:docMk/>
          <pc:sldMk cId="638583412" sldId="2147469930"/>
        </pc:sldMkLst>
        <pc:spChg chg="mod">
          <ac:chgData name="Madan Sudarman" userId="80a28748-ca50-4d0f-a51c-1fb8c54caffe" providerId="ADAL" clId="{707B4B04-0B03-4012-AE5E-6DE221F31D29}" dt="2022-10-19T16:50:54.631" v="3412" actId="164"/>
          <ac:spMkLst>
            <pc:docMk/>
            <pc:sldMk cId="638583412" sldId="2147469930"/>
            <ac:spMk id="17" creationId="{305BD8A8-19AA-4E68-B0B4-3894E43B5CB2}"/>
          </ac:spMkLst>
        </pc:spChg>
        <pc:spChg chg="mod">
          <ac:chgData name="Madan Sudarman" userId="80a28748-ca50-4d0f-a51c-1fb8c54caffe" providerId="ADAL" clId="{707B4B04-0B03-4012-AE5E-6DE221F31D29}" dt="2022-10-19T16:50:54.631" v="3412" actId="164"/>
          <ac:spMkLst>
            <pc:docMk/>
            <pc:sldMk cId="638583412" sldId="2147469930"/>
            <ac:spMk id="19" creationId="{05025048-180D-42F2-B552-3765A95EAC8E}"/>
          </ac:spMkLst>
        </pc:spChg>
        <pc:spChg chg="mod">
          <ac:chgData name="Madan Sudarman" userId="80a28748-ca50-4d0f-a51c-1fb8c54caffe" providerId="ADAL" clId="{707B4B04-0B03-4012-AE5E-6DE221F31D29}" dt="2022-10-19T16:51:07.545" v="3414" actId="164"/>
          <ac:spMkLst>
            <pc:docMk/>
            <pc:sldMk cId="638583412" sldId="2147469930"/>
            <ac:spMk id="25" creationId="{4D48D571-6474-45A9-B052-02DD4CD47E7F}"/>
          </ac:spMkLst>
        </pc:spChg>
        <pc:spChg chg="mod">
          <ac:chgData name="Madan Sudarman" userId="80a28748-ca50-4d0f-a51c-1fb8c54caffe" providerId="ADAL" clId="{707B4B04-0B03-4012-AE5E-6DE221F31D29}" dt="2022-10-19T16:51:07.545" v="3414" actId="164"/>
          <ac:spMkLst>
            <pc:docMk/>
            <pc:sldMk cId="638583412" sldId="2147469930"/>
            <ac:spMk id="27" creationId="{202020AB-C4E7-407D-9F54-FEBA44D69E99}"/>
          </ac:spMkLst>
        </pc:spChg>
        <pc:spChg chg="mod">
          <ac:chgData name="Madan Sudarman" userId="80a28748-ca50-4d0f-a51c-1fb8c54caffe" providerId="ADAL" clId="{707B4B04-0B03-4012-AE5E-6DE221F31D29}" dt="2022-10-19T16:51:15.072" v="3415" actId="164"/>
          <ac:spMkLst>
            <pc:docMk/>
            <pc:sldMk cId="638583412" sldId="2147469930"/>
            <ac:spMk id="30" creationId="{E1A0D593-C352-478D-9ABB-98AFB0A7C039}"/>
          </ac:spMkLst>
        </pc:spChg>
        <pc:spChg chg="mod">
          <ac:chgData name="Madan Sudarman" userId="80a28748-ca50-4d0f-a51c-1fb8c54caffe" providerId="ADAL" clId="{707B4B04-0B03-4012-AE5E-6DE221F31D29}" dt="2022-10-19T16:51:15.072" v="3415" actId="164"/>
          <ac:spMkLst>
            <pc:docMk/>
            <pc:sldMk cId="638583412" sldId="2147469930"/>
            <ac:spMk id="33" creationId="{9A1C9BD6-82BE-453B-93F9-A0182A27DFEA}"/>
          </ac:spMkLst>
        </pc:spChg>
        <pc:grpChg chg="add mod">
          <ac:chgData name="Madan Sudarman" userId="80a28748-ca50-4d0f-a51c-1fb8c54caffe" providerId="ADAL" clId="{707B4B04-0B03-4012-AE5E-6DE221F31D29}" dt="2022-10-19T16:50:40.779" v="3411" actId="164"/>
          <ac:grpSpMkLst>
            <pc:docMk/>
            <pc:sldMk cId="638583412" sldId="2147469930"/>
            <ac:grpSpMk id="2" creationId="{9A5D88E4-5C0B-8C05-2D35-4470144C6CE9}"/>
          </ac:grpSpMkLst>
        </pc:grpChg>
        <pc:grpChg chg="mod">
          <ac:chgData name="Madan Sudarman" userId="80a28748-ca50-4d0f-a51c-1fb8c54caffe" providerId="ADAL" clId="{707B4B04-0B03-4012-AE5E-6DE221F31D29}" dt="2022-10-19T16:50:40.779" v="3411" actId="164"/>
          <ac:grpSpMkLst>
            <pc:docMk/>
            <pc:sldMk cId="638583412" sldId="2147469930"/>
            <ac:grpSpMk id="5" creationId="{2B4D06B6-34AA-4441-B5D0-5D99A4E0DAC3}"/>
          </ac:grpSpMkLst>
        </pc:grpChg>
        <pc:grpChg chg="add mod">
          <ac:chgData name="Madan Sudarman" userId="80a28748-ca50-4d0f-a51c-1fb8c54caffe" providerId="ADAL" clId="{707B4B04-0B03-4012-AE5E-6DE221F31D29}" dt="2022-10-19T16:50:54.631" v="3412" actId="164"/>
          <ac:grpSpMkLst>
            <pc:docMk/>
            <pc:sldMk cId="638583412" sldId="2147469930"/>
            <ac:grpSpMk id="6" creationId="{1736052B-EC0D-3E01-B189-C1C354DA1D7E}"/>
          </ac:grpSpMkLst>
        </pc:grpChg>
        <pc:grpChg chg="mod">
          <ac:chgData name="Madan Sudarman" userId="80a28748-ca50-4d0f-a51c-1fb8c54caffe" providerId="ADAL" clId="{707B4B04-0B03-4012-AE5E-6DE221F31D29}" dt="2022-10-19T16:50:40.779" v="3411" actId="164"/>
          <ac:grpSpMkLst>
            <pc:docMk/>
            <pc:sldMk cId="638583412" sldId="2147469930"/>
            <ac:grpSpMk id="8" creationId="{A3676430-36F5-4315-9E28-12C8FA6F8E9E}"/>
          </ac:grpSpMkLst>
        </pc:grpChg>
        <pc:grpChg chg="add mod">
          <ac:chgData name="Madan Sudarman" userId="80a28748-ca50-4d0f-a51c-1fb8c54caffe" providerId="ADAL" clId="{707B4B04-0B03-4012-AE5E-6DE221F31D29}" dt="2022-10-19T16:51:07.545" v="3414" actId="164"/>
          <ac:grpSpMkLst>
            <pc:docMk/>
            <pc:sldMk cId="638583412" sldId="2147469930"/>
            <ac:grpSpMk id="9" creationId="{32FB3423-2DE9-1738-F74C-A82D97C42844}"/>
          </ac:grpSpMkLst>
        </pc:grpChg>
        <pc:grpChg chg="add mod">
          <ac:chgData name="Madan Sudarman" userId="80a28748-ca50-4d0f-a51c-1fb8c54caffe" providerId="ADAL" clId="{707B4B04-0B03-4012-AE5E-6DE221F31D29}" dt="2022-10-19T16:51:15.072" v="3415" actId="164"/>
          <ac:grpSpMkLst>
            <pc:docMk/>
            <pc:sldMk cId="638583412" sldId="2147469930"/>
            <ac:grpSpMk id="13" creationId="{4783017F-DB37-5F74-1E7C-9B62A0D62433}"/>
          </ac:grpSpMkLst>
        </pc:grpChg>
        <pc:grpChg chg="mod">
          <ac:chgData name="Madan Sudarman" userId="80a28748-ca50-4d0f-a51c-1fb8c54caffe" providerId="ADAL" clId="{707B4B04-0B03-4012-AE5E-6DE221F31D29}" dt="2022-10-19T16:50:40.779" v="3411" actId="164"/>
          <ac:grpSpMkLst>
            <pc:docMk/>
            <pc:sldMk cId="638583412" sldId="2147469930"/>
            <ac:grpSpMk id="20" creationId="{960BC9CC-88CE-D65A-D539-970F65C72DF0}"/>
          </ac:grpSpMkLst>
        </pc:grpChg>
        <pc:grpChg chg="mod">
          <ac:chgData name="Madan Sudarman" userId="80a28748-ca50-4d0f-a51c-1fb8c54caffe" providerId="ADAL" clId="{707B4B04-0B03-4012-AE5E-6DE221F31D29}" dt="2022-10-19T16:50:40.779" v="3411" actId="164"/>
          <ac:grpSpMkLst>
            <pc:docMk/>
            <pc:sldMk cId="638583412" sldId="2147469930"/>
            <ac:grpSpMk id="47" creationId="{2365C9EF-635B-4A62-8E02-34DD2D2F31B6}"/>
          </ac:grpSpMkLst>
        </pc:grpChg>
        <pc:picChg chg="mod">
          <ac:chgData name="Madan Sudarman" userId="80a28748-ca50-4d0f-a51c-1fb8c54caffe" providerId="ADAL" clId="{707B4B04-0B03-4012-AE5E-6DE221F31D29}" dt="2022-10-19T16:50:40.779" v="3411" actId="164"/>
          <ac:picMkLst>
            <pc:docMk/>
            <pc:sldMk cId="638583412" sldId="2147469930"/>
            <ac:picMk id="7" creationId="{0886FE44-EBB8-4E4F-BD49-F1FA522F2A6C}"/>
          </ac:picMkLst>
        </pc:picChg>
        <pc:picChg chg="mod">
          <ac:chgData name="Madan Sudarman" userId="80a28748-ca50-4d0f-a51c-1fb8c54caffe" providerId="ADAL" clId="{707B4B04-0B03-4012-AE5E-6DE221F31D29}" dt="2022-10-19T16:50:40.779" v="3411" actId="164"/>
          <ac:picMkLst>
            <pc:docMk/>
            <pc:sldMk cId="638583412" sldId="2147469930"/>
            <ac:picMk id="59" creationId="{48D0BA1C-974C-4FFF-A673-5F899740D4B6}"/>
          </ac:picMkLst>
        </pc:picChg>
        <pc:picChg chg="mod">
          <ac:chgData name="Madan Sudarman" userId="80a28748-ca50-4d0f-a51c-1fb8c54caffe" providerId="ADAL" clId="{707B4B04-0B03-4012-AE5E-6DE221F31D29}" dt="2022-10-19T16:50:40.779" v="3411" actId="164"/>
          <ac:picMkLst>
            <pc:docMk/>
            <pc:sldMk cId="638583412" sldId="2147469930"/>
            <ac:picMk id="60" creationId="{75276FC4-39CC-4F1C-B6BC-3AFA80923A7A}"/>
          </ac:picMkLst>
        </pc:picChg>
        <pc:cxnChg chg="mod">
          <ac:chgData name="Madan Sudarman" userId="80a28748-ca50-4d0f-a51c-1fb8c54caffe" providerId="ADAL" clId="{707B4B04-0B03-4012-AE5E-6DE221F31D29}" dt="2022-10-19T16:50:54.631" v="3412" actId="164"/>
          <ac:cxnSpMkLst>
            <pc:docMk/>
            <pc:sldMk cId="638583412" sldId="2147469930"/>
            <ac:cxnSpMk id="23" creationId="{40F29848-5B58-4862-B8C5-170BE12EA1B5}"/>
          </ac:cxnSpMkLst>
        </pc:cxnChg>
        <pc:cxnChg chg="mod">
          <ac:chgData name="Madan Sudarman" userId="80a28748-ca50-4d0f-a51c-1fb8c54caffe" providerId="ADAL" clId="{707B4B04-0B03-4012-AE5E-6DE221F31D29}" dt="2022-10-19T16:51:07.545" v="3414" actId="164"/>
          <ac:cxnSpMkLst>
            <pc:docMk/>
            <pc:sldMk cId="638583412" sldId="2147469930"/>
            <ac:cxnSpMk id="28" creationId="{2280EB7F-C9B2-4469-BA5A-3342D8AEE8C2}"/>
          </ac:cxnSpMkLst>
        </pc:cxnChg>
        <pc:cxnChg chg="mod">
          <ac:chgData name="Madan Sudarman" userId="80a28748-ca50-4d0f-a51c-1fb8c54caffe" providerId="ADAL" clId="{707B4B04-0B03-4012-AE5E-6DE221F31D29}" dt="2022-10-19T16:51:15.072" v="3415" actId="164"/>
          <ac:cxnSpMkLst>
            <pc:docMk/>
            <pc:sldMk cId="638583412" sldId="2147469930"/>
            <ac:cxnSpMk id="36" creationId="{EAAAC3AC-6EF0-4E45-8B01-DCC085653EBA}"/>
          </ac:cxnSpMkLst>
        </pc:cxnChg>
        <pc:cxnChg chg="mod">
          <ac:chgData name="Madan Sudarman" userId="80a28748-ca50-4d0f-a51c-1fb8c54caffe" providerId="ADAL" clId="{707B4B04-0B03-4012-AE5E-6DE221F31D29}" dt="2022-10-19T16:50:40.779" v="3411" actId="164"/>
          <ac:cxnSpMkLst>
            <pc:docMk/>
            <pc:sldMk cId="638583412" sldId="2147469930"/>
            <ac:cxnSpMk id="42" creationId="{3C3CDF7B-2322-4EFF-85B0-E459DEA949AC}"/>
          </ac:cxnSpMkLst>
        </pc:cxnChg>
        <pc:cxnChg chg="mod">
          <ac:chgData name="Madan Sudarman" userId="80a28748-ca50-4d0f-a51c-1fb8c54caffe" providerId="ADAL" clId="{707B4B04-0B03-4012-AE5E-6DE221F31D29}" dt="2022-10-19T16:50:40.779" v="3411" actId="164"/>
          <ac:cxnSpMkLst>
            <pc:docMk/>
            <pc:sldMk cId="638583412" sldId="2147469930"/>
            <ac:cxnSpMk id="45" creationId="{4B32987B-3988-440A-A43B-6B66C3D7ECC4}"/>
          </ac:cxnSpMkLst>
        </pc:cxnChg>
        <pc:cxnChg chg="mod">
          <ac:chgData name="Madan Sudarman" userId="80a28748-ca50-4d0f-a51c-1fb8c54caffe" providerId="ADAL" clId="{707B4B04-0B03-4012-AE5E-6DE221F31D29}" dt="2022-10-19T16:50:40.779" v="3411" actId="164"/>
          <ac:cxnSpMkLst>
            <pc:docMk/>
            <pc:sldMk cId="638583412" sldId="2147469930"/>
            <ac:cxnSpMk id="54" creationId="{CFFC7DF2-9175-4C86-8F79-015E0C5563A0}"/>
          </ac:cxnSpMkLst>
        </pc:cxnChg>
        <pc:cxnChg chg="mod">
          <ac:chgData name="Madan Sudarman" userId="80a28748-ca50-4d0f-a51c-1fb8c54caffe" providerId="ADAL" clId="{707B4B04-0B03-4012-AE5E-6DE221F31D29}" dt="2022-10-19T16:50:40.779" v="3411" actId="164"/>
          <ac:cxnSpMkLst>
            <pc:docMk/>
            <pc:sldMk cId="638583412" sldId="2147469930"/>
            <ac:cxnSpMk id="57" creationId="{E0F9F0D9-A373-4432-9329-7EBE1FE45D9D}"/>
          </ac:cxnSpMkLst>
        </pc:cxnChg>
      </pc:sldChg>
      <pc:sldChg chg="modSp add mod">
        <pc:chgData name="Madan Sudarman" userId="80a28748-ca50-4d0f-a51c-1fb8c54caffe" providerId="ADAL" clId="{707B4B04-0B03-4012-AE5E-6DE221F31D29}" dt="2022-10-18T05:18:29.801" v="2851" actId="20577"/>
        <pc:sldMkLst>
          <pc:docMk/>
          <pc:sldMk cId="1291787404" sldId="2147469949"/>
        </pc:sldMkLst>
        <pc:spChg chg="mod">
          <ac:chgData name="Madan Sudarman" userId="80a28748-ca50-4d0f-a51c-1fb8c54caffe" providerId="ADAL" clId="{707B4B04-0B03-4012-AE5E-6DE221F31D29}" dt="2022-10-18T05:18:29.801" v="2851" actId="20577"/>
          <ac:spMkLst>
            <pc:docMk/>
            <pc:sldMk cId="1291787404" sldId="2147469949"/>
            <ac:spMk id="2" creationId="{6A166CB0-4F27-C244-B387-C95786FFEF41}"/>
          </ac:spMkLst>
        </pc:spChg>
      </pc:sldChg>
      <pc:sldChg chg="addSp delSp modSp add mod ord modAnim">
        <pc:chgData name="Madan Sudarman" userId="80a28748-ca50-4d0f-a51c-1fb8c54caffe" providerId="ADAL" clId="{707B4B04-0B03-4012-AE5E-6DE221F31D29}" dt="2022-10-19T16:42:29.504" v="3386" actId="1076"/>
        <pc:sldMkLst>
          <pc:docMk/>
          <pc:sldMk cId="2840545614" sldId="2147469991"/>
        </pc:sldMkLst>
        <pc:spChg chg="add mod">
          <ac:chgData name="Madan Sudarman" userId="80a28748-ca50-4d0f-a51c-1fb8c54caffe" providerId="ADAL" clId="{707B4B04-0B03-4012-AE5E-6DE221F31D29}" dt="2022-10-19T16:42:29.504" v="3386" actId="1076"/>
          <ac:spMkLst>
            <pc:docMk/>
            <pc:sldMk cId="2840545614" sldId="2147469991"/>
            <ac:spMk id="7" creationId="{B69D479D-A626-79CF-2465-040C24DD2B11}"/>
          </ac:spMkLst>
        </pc:spChg>
        <pc:spChg chg="add mod">
          <ac:chgData name="Madan Sudarman" userId="80a28748-ca50-4d0f-a51c-1fb8c54caffe" providerId="ADAL" clId="{707B4B04-0B03-4012-AE5E-6DE221F31D29}" dt="2022-10-19T12:47:57.088" v="3300" actId="164"/>
          <ac:spMkLst>
            <pc:docMk/>
            <pc:sldMk cId="2840545614" sldId="2147469991"/>
            <ac:spMk id="8" creationId="{183CFAFB-DC21-CE22-7605-7A93F7C857DF}"/>
          </ac:spMkLst>
        </pc:spChg>
        <pc:spChg chg="mod">
          <ac:chgData name="Madan Sudarman" userId="80a28748-ca50-4d0f-a51c-1fb8c54caffe" providerId="ADAL" clId="{707B4B04-0B03-4012-AE5E-6DE221F31D29}" dt="2022-10-17T08:04:15.591" v="1833" actId="20577"/>
          <ac:spMkLst>
            <pc:docMk/>
            <pc:sldMk cId="2840545614" sldId="2147469991"/>
            <ac:spMk id="16" creationId="{308A73BA-E454-5BC0-B2FE-CE58E8345639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19" creationId="{DDCC84A0-BA97-EEA8-D9AE-D1E5D5C91D51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20" creationId="{ADEDB8EE-1E93-B41B-9D3D-C998B3786617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21" creationId="{93F574C7-2A43-F295-9D53-43A1B2939B4D}"/>
          </ac:spMkLst>
        </pc:spChg>
        <pc:spChg chg="mod">
          <ac:chgData name="Madan Sudarman" userId="80a28748-ca50-4d0f-a51c-1fb8c54caffe" providerId="ADAL" clId="{707B4B04-0B03-4012-AE5E-6DE221F31D29}" dt="2022-10-13T12:19:35.247" v="274" actId="1035"/>
          <ac:spMkLst>
            <pc:docMk/>
            <pc:sldMk cId="2840545614" sldId="2147469991"/>
            <ac:spMk id="22" creationId="{AECB5BAC-7C51-A46E-46FC-34092BA13807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23" creationId="{70D995D4-C1FC-EE4F-729D-7076AC96872F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24" creationId="{35D8D54C-BAD4-FE4C-E2D8-DF98DA0D862E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25" creationId="{C9036BEB-AD2D-1704-DBEA-AF7302877924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26" creationId="{29390DD8-0F90-2887-B3B0-42673963C3A7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27" creationId="{46B7A495-AE2E-9C30-3998-F690930F0355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28" creationId="{B0D158BD-A6FE-BC68-510A-3B302321EEA5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29" creationId="{BD8B237C-616A-FDC2-4C5D-5A5222BC0ABB}"/>
          </ac:spMkLst>
        </pc:spChg>
        <pc:spChg chg="mod">
          <ac:chgData name="Madan Sudarman" userId="80a28748-ca50-4d0f-a51c-1fb8c54caffe" providerId="ADAL" clId="{707B4B04-0B03-4012-AE5E-6DE221F31D29}" dt="2022-10-13T12:18:53.269" v="266" actId="242"/>
          <ac:spMkLst>
            <pc:docMk/>
            <pc:sldMk cId="2840545614" sldId="2147469991"/>
            <ac:spMk id="30" creationId="{89C3AE6F-4399-C244-713F-65A094EF32B8}"/>
          </ac:spMkLst>
        </pc:spChg>
        <pc:spChg chg="del">
          <ac:chgData name="Madan Sudarman" userId="80a28748-ca50-4d0f-a51c-1fb8c54caffe" providerId="ADAL" clId="{707B4B04-0B03-4012-AE5E-6DE221F31D29}" dt="2022-10-13T13:10:09.243" v="412" actId="478"/>
          <ac:spMkLst>
            <pc:docMk/>
            <pc:sldMk cId="2840545614" sldId="2147469991"/>
            <ac:spMk id="35" creationId="{02EB8C9B-340B-0A6C-2AF5-A3ACA67921D5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36" creationId="{DC7712B9-4D8A-E001-D579-AB7DBAA9993B}"/>
          </ac:spMkLst>
        </pc:spChg>
        <pc:spChg chg="del mod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37" creationId="{305C285F-CDEB-1018-FDEB-D7E22F10DB52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38" creationId="{EF8A8EAC-67C0-B18D-E40F-BCBC4C00DD16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39" creationId="{307609FA-3EA0-54FA-83EE-781CA8C8605B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40" creationId="{2450C127-1C11-1E65-8D7C-4609B061FF87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41" creationId="{475C73FC-906A-469E-80CF-39FA5A918C73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42" creationId="{5E76B136-2B1D-E1D0-FA5A-9535B0BB481D}"/>
          </ac:spMkLst>
        </pc:spChg>
        <pc:spChg chg="del">
          <ac:chgData name="Madan Sudarman" userId="80a28748-ca50-4d0f-a51c-1fb8c54caffe" providerId="ADAL" clId="{707B4B04-0B03-4012-AE5E-6DE221F31D29}" dt="2022-10-13T13:10:17.038" v="414" actId="478"/>
          <ac:spMkLst>
            <pc:docMk/>
            <pc:sldMk cId="2840545614" sldId="2147469991"/>
            <ac:spMk id="43" creationId="{A565E4A9-10FA-5B90-EE81-04836287D843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4" creationId="{F05F13B9-CA67-9A06-698E-F71EA2E33211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5" creationId="{9984B81C-C5FD-2073-5FA1-BB579DA0E8BF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6" creationId="{D5DD4173-6FC1-B6DA-3A8E-9DB4724C756A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7" creationId="{6B75F0E5-66C4-199E-0006-DCAD2008EC92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8" creationId="{DBA18EC5-4204-3970-4263-FA10D7D3FEA9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49" creationId="{E081FD42-E473-860E-F253-80114221FD1E}"/>
          </ac:spMkLst>
        </pc:spChg>
        <pc:spChg chg="del">
          <ac:chgData name="Madan Sudarman" userId="80a28748-ca50-4d0f-a51c-1fb8c54caffe" providerId="ADAL" clId="{707B4B04-0B03-4012-AE5E-6DE221F31D29}" dt="2022-10-13T12:18:28.142" v="262" actId="478"/>
          <ac:spMkLst>
            <pc:docMk/>
            <pc:sldMk cId="2840545614" sldId="2147469991"/>
            <ac:spMk id="50" creationId="{8E1B5057-E0A6-105A-DB83-41EAEDD6147E}"/>
          </ac:spMkLst>
        </pc:spChg>
        <pc:spChg chg="del">
          <ac:chgData name="Madan Sudarman" userId="80a28748-ca50-4d0f-a51c-1fb8c54caffe" providerId="ADAL" clId="{707B4B04-0B03-4012-AE5E-6DE221F31D29}" dt="2022-10-13T12:18:16.948" v="261" actId="478"/>
          <ac:spMkLst>
            <pc:docMk/>
            <pc:sldMk cId="2840545614" sldId="2147469991"/>
            <ac:spMk id="53" creationId="{3FEAFC14-B422-D275-E64A-C3C186F9A742}"/>
          </ac:spMkLst>
        </pc:spChg>
        <pc:grpChg chg="add mod">
          <ac:chgData name="Madan Sudarman" userId="80a28748-ca50-4d0f-a51c-1fb8c54caffe" providerId="ADAL" clId="{707B4B04-0B03-4012-AE5E-6DE221F31D29}" dt="2022-10-19T12:47:57.088" v="3300" actId="164"/>
          <ac:grpSpMkLst>
            <pc:docMk/>
            <pc:sldMk cId="2840545614" sldId="2147469991"/>
            <ac:grpSpMk id="2" creationId="{2039FCC4-6391-0D3E-3DEA-E486A041E746}"/>
          </ac:grpSpMkLst>
        </pc:grpChg>
        <pc:grpChg chg="add del mod">
          <ac:chgData name="Madan Sudarman" userId="80a28748-ca50-4d0f-a51c-1fb8c54caffe" providerId="ADAL" clId="{707B4B04-0B03-4012-AE5E-6DE221F31D29}" dt="2022-10-13T13:10:12.565" v="413" actId="478"/>
          <ac:grpSpMkLst>
            <pc:docMk/>
            <pc:sldMk cId="2840545614" sldId="2147469991"/>
            <ac:grpSpMk id="2" creationId="{EE210FBE-A3F0-3815-AEF4-C1A6716747F0}"/>
          </ac:grpSpMkLst>
        </pc:grpChg>
        <pc:graphicFrameChg chg="add del mod modGraphic">
          <ac:chgData name="Madan Sudarman" userId="80a28748-ca50-4d0f-a51c-1fb8c54caffe" providerId="ADAL" clId="{707B4B04-0B03-4012-AE5E-6DE221F31D29}" dt="2022-10-13T13:11:04.087" v="424" actId="478"/>
          <ac:graphicFrameMkLst>
            <pc:docMk/>
            <pc:sldMk cId="2840545614" sldId="2147469991"/>
            <ac:graphicFrameMk id="3" creationId="{AE82B567-9C40-A5C8-74A4-F42250481191}"/>
          </ac:graphicFrameMkLst>
        </pc:graphicFrameChg>
        <pc:graphicFrameChg chg="add del mod modGraphic">
          <ac:chgData name="Madan Sudarman" userId="80a28748-ca50-4d0f-a51c-1fb8c54caffe" providerId="ADAL" clId="{707B4B04-0B03-4012-AE5E-6DE221F31D29}" dt="2022-10-13T13:17:10.126" v="448" actId="478"/>
          <ac:graphicFrameMkLst>
            <pc:docMk/>
            <pc:sldMk cId="2840545614" sldId="2147469991"/>
            <ac:graphicFrameMk id="4" creationId="{187F190D-34DF-2645-A5D1-428880C0C727}"/>
          </ac:graphicFrameMkLst>
        </pc:graphicFrameChg>
        <pc:graphicFrameChg chg="add mod modGraphic">
          <ac:chgData name="Madan Sudarman" userId="80a28748-ca50-4d0f-a51c-1fb8c54caffe" providerId="ADAL" clId="{707B4B04-0B03-4012-AE5E-6DE221F31D29}" dt="2022-10-19T16:42:24.400" v="3385" actId="14100"/>
          <ac:graphicFrameMkLst>
            <pc:docMk/>
            <pc:sldMk cId="2840545614" sldId="2147469991"/>
            <ac:graphicFrameMk id="5" creationId="{AFF3EF99-8310-E345-3BC0-8FF1092867A5}"/>
          </ac:graphicFrameMkLst>
        </pc:graphicFrameChg>
        <pc:picChg chg="del">
          <ac:chgData name="Madan Sudarman" userId="80a28748-ca50-4d0f-a51c-1fb8c54caffe" providerId="ADAL" clId="{707B4B04-0B03-4012-AE5E-6DE221F31D29}" dt="2022-10-13T13:10:46.581" v="417" actId="478"/>
          <ac:picMkLst>
            <pc:docMk/>
            <pc:sldMk cId="2840545614" sldId="2147469991"/>
            <ac:picMk id="54" creationId="{96D82BF7-3521-5384-6498-6485E124CB71}"/>
          </ac:picMkLst>
        </pc:picChg>
        <pc:picChg chg="del">
          <ac:chgData name="Madan Sudarman" userId="80a28748-ca50-4d0f-a51c-1fb8c54caffe" providerId="ADAL" clId="{707B4B04-0B03-4012-AE5E-6DE221F31D29}" dt="2022-10-13T13:10:46.581" v="417" actId="478"/>
          <ac:picMkLst>
            <pc:docMk/>
            <pc:sldMk cId="2840545614" sldId="2147469991"/>
            <ac:picMk id="2054" creationId="{EEA0FC64-E69B-DC3B-591F-6217192B1631}"/>
          </ac:picMkLst>
        </pc:picChg>
        <pc:picChg chg="del">
          <ac:chgData name="Madan Sudarman" userId="80a28748-ca50-4d0f-a51c-1fb8c54caffe" providerId="ADAL" clId="{707B4B04-0B03-4012-AE5E-6DE221F31D29}" dt="2022-10-13T13:10:46.581" v="417" actId="478"/>
          <ac:picMkLst>
            <pc:docMk/>
            <pc:sldMk cId="2840545614" sldId="2147469991"/>
            <ac:picMk id="2056" creationId="{4DF097AE-1A3D-60A1-FDD0-AE067FB8BC53}"/>
          </ac:picMkLst>
        </pc:picChg>
        <pc:picChg chg="del">
          <ac:chgData name="Madan Sudarman" userId="80a28748-ca50-4d0f-a51c-1fb8c54caffe" providerId="ADAL" clId="{707B4B04-0B03-4012-AE5E-6DE221F31D29}" dt="2022-10-13T13:10:46.581" v="417" actId="478"/>
          <ac:picMkLst>
            <pc:docMk/>
            <pc:sldMk cId="2840545614" sldId="2147469991"/>
            <ac:picMk id="2058" creationId="{B4E8C8B4-84E7-3844-9A19-858ED857186A}"/>
          </ac:picMkLst>
        </pc:picChg>
      </pc:sldChg>
      <pc:sldChg chg="new del">
        <pc:chgData name="Madan Sudarman" userId="80a28748-ca50-4d0f-a51c-1fb8c54caffe" providerId="ADAL" clId="{707B4B04-0B03-4012-AE5E-6DE221F31D29}" dt="2022-10-13T12:27:35.326" v="297" actId="47"/>
        <pc:sldMkLst>
          <pc:docMk/>
          <pc:sldMk cId="613021028" sldId="2147469992"/>
        </pc:sldMkLst>
      </pc:sldChg>
      <pc:sldChg chg="addSp delSp modSp new mod ord setBg modClrScheme chgLayout">
        <pc:chgData name="Madan Sudarman" userId="80a28748-ca50-4d0f-a51c-1fb8c54caffe" providerId="ADAL" clId="{707B4B04-0B03-4012-AE5E-6DE221F31D29}" dt="2022-10-19T16:41:35.370" v="3382" actId="1076"/>
        <pc:sldMkLst>
          <pc:docMk/>
          <pc:sldMk cId="3368188749" sldId="2147469992"/>
        </pc:sldMkLst>
        <pc:picChg chg="add del mod modCrop">
          <ac:chgData name="Madan Sudarman" userId="80a28748-ca50-4d0f-a51c-1fb8c54caffe" providerId="ADAL" clId="{707B4B04-0B03-4012-AE5E-6DE221F31D29}" dt="2022-10-13T12:29:22.743" v="304" actId="21"/>
          <ac:picMkLst>
            <pc:docMk/>
            <pc:sldMk cId="3368188749" sldId="2147469992"/>
            <ac:picMk id="2" creationId="{A26F17E9-0CEB-91E7-0FC3-8DE4F4DEB7F0}"/>
          </ac:picMkLst>
        </pc:picChg>
        <pc:picChg chg="add mod">
          <ac:chgData name="Madan Sudarman" userId="80a28748-ca50-4d0f-a51c-1fb8c54caffe" providerId="ADAL" clId="{707B4B04-0B03-4012-AE5E-6DE221F31D29}" dt="2022-10-19T16:41:35.370" v="3382" actId="1076"/>
          <ac:picMkLst>
            <pc:docMk/>
            <pc:sldMk cId="3368188749" sldId="2147469992"/>
            <ac:picMk id="3" creationId="{BF83E4B0-32FD-2857-B302-9FF2D3F8F6D8}"/>
          </ac:picMkLst>
        </pc:picChg>
      </pc:sldChg>
      <pc:sldChg chg="addSp delSp modSp new del mod">
        <pc:chgData name="Madan Sudarman" userId="80a28748-ca50-4d0f-a51c-1fb8c54caffe" providerId="ADAL" clId="{707B4B04-0B03-4012-AE5E-6DE221F31D29}" dt="2022-10-17T10:41:13.049" v="2631" actId="47"/>
        <pc:sldMkLst>
          <pc:docMk/>
          <pc:sldMk cId="2128240161" sldId="2147469993"/>
        </pc:sldMkLst>
        <pc:spChg chg="mod">
          <ac:chgData name="Madan Sudarman" userId="80a28748-ca50-4d0f-a51c-1fb8c54caffe" providerId="ADAL" clId="{707B4B04-0B03-4012-AE5E-6DE221F31D29}" dt="2022-10-14T06:32:24.793" v="544" actId="20577"/>
          <ac:spMkLst>
            <pc:docMk/>
            <pc:sldMk cId="2128240161" sldId="2147469993"/>
            <ac:spMk id="2" creationId="{8448BFAC-CB62-B242-4AF0-CA3251BCE4B1}"/>
          </ac:spMkLst>
        </pc:spChg>
        <pc:spChg chg="del">
          <ac:chgData name="Madan Sudarman" userId="80a28748-ca50-4d0f-a51c-1fb8c54caffe" providerId="ADAL" clId="{707B4B04-0B03-4012-AE5E-6DE221F31D29}" dt="2022-10-14T06:32:27.681" v="545" actId="478"/>
          <ac:spMkLst>
            <pc:docMk/>
            <pc:sldMk cId="2128240161" sldId="2147469993"/>
            <ac:spMk id="3" creationId="{F866C1DA-6369-4BBF-5A71-70F89F662A3D}"/>
          </ac:spMkLst>
        </pc:spChg>
        <pc:picChg chg="add mod">
          <ac:chgData name="Madan Sudarman" userId="80a28748-ca50-4d0f-a51c-1fb8c54caffe" providerId="ADAL" clId="{707B4B04-0B03-4012-AE5E-6DE221F31D29}" dt="2022-10-14T06:33:49.749" v="548" actId="1076"/>
          <ac:picMkLst>
            <pc:docMk/>
            <pc:sldMk cId="2128240161" sldId="2147469993"/>
            <ac:picMk id="5" creationId="{57707C7C-7567-03A0-019E-0350F714D02E}"/>
          </ac:picMkLst>
        </pc:picChg>
      </pc:sldChg>
      <pc:sldChg chg="addSp delSp modSp new del mod">
        <pc:chgData name="Madan Sudarman" userId="80a28748-ca50-4d0f-a51c-1fb8c54caffe" providerId="ADAL" clId="{707B4B04-0B03-4012-AE5E-6DE221F31D29}" dt="2022-10-17T11:00:06.007" v="2691" actId="47"/>
        <pc:sldMkLst>
          <pc:docMk/>
          <pc:sldMk cId="2196868795" sldId="2147469994"/>
        </pc:sldMkLst>
        <pc:spChg chg="mod">
          <ac:chgData name="Madan Sudarman" userId="80a28748-ca50-4d0f-a51c-1fb8c54caffe" providerId="ADAL" clId="{707B4B04-0B03-4012-AE5E-6DE221F31D29}" dt="2022-10-14T06:42:01.985" v="580" actId="20577"/>
          <ac:spMkLst>
            <pc:docMk/>
            <pc:sldMk cId="2196868795" sldId="2147469994"/>
            <ac:spMk id="2" creationId="{750ABEBD-C13F-422A-BE94-F64AF5C9B26C}"/>
          </ac:spMkLst>
        </pc:spChg>
        <pc:spChg chg="del">
          <ac:chgData name="Madan Sudarman" userId="80a28748-ca50-4d0f-a51c-1fb8c54caffe" providerId="ADAL" clId="{707B4B04-0B03-4012-AE5E-6DE221F31D29}" dt="2022-10-14T06:42:09.530" v="581" actId="478"/>
          <ac:spMkLst>
            <pc:docMk/>
            <pc:sldMk cId="2196868795" sldId="2147469994"/>
            <ac:spMk id="3" creationId="{9F7AD187-C49C-DE9F-0306-9B673AF2D243}"/>
          </ac:spMkLst>
        </pc:spChg>
        <pc:picChg chg="add mod">
          <ac:chgData name="Madan Sudarman" userId="80a28748-ca50-4d0f-a51c-1fb8c54caffe" providerId="ADAL" clId="{707B4B04-0B03-4012-AE5E-6DE221F31D29}" dt="2022-10-14T06:41:45.988" v="556" actId="1076"/>
          <ac:picMkLst>
            <pc:docMk/>
            <pc:sldMk cId="2196868795" sldId="2147469994"/>
            <ac:picMk id="5" creationId="{B6EE1C69-6978-A7A8-255E-318020D11B80}"/>
          </ac:picMkLst>
        </pc:picChg>
      </pc:sldChg>
      <pc:sldChg chg="addSp delSp modSp add mod modAnim">
        <pc:chgData name="Madan Sudarman" userId="80a28748-ca50-4d0f-a51c-1fb8c54caffe" providerId="ADAL" clId="{707B4B04-0B03-4012-AE5E-6DE221F31D29}" dt="2022-10-19T13:05:13.621" v="3330" actId="1036"/>
        <pc:sldMkLst>
          <pc:docMk/>
          <pc:sldMk cId="2340227661" sldId="2147469995"/>
        </pc:sldMkLst>
        <pc:spChg chg="del">
          <ac:chgData name="Madan Sudarman" userId="80a28748-ca50-4d0f-a51c-1fb8c54caffe" providerId="ADAL" clId="{707B4B04-0B03-4012-AE5E-6DE221F31D29}" dt="2022-10-17T05:32:15.123" v="1416" actId="478"/>
          <ac:spMkLst>
            <pc:docMk/>
            <pc:sldMk cId="2340227661" sldId="2147469995"/>
            <ac:spMk id="3" creationId="{4A2E0970-DA5C-E190-623F-5BD3EFD72F0B}"/>
          </ac:spMkLst>
        </pc:spChg>
        <pc:spChg chg="mod">
          <ac:chgData name="Madan Sudarman" userId="80a28748-ca50-4d0f-a51c-1fb8c54caffe" providerId="ADAL" clId="{707B4B04-0B03-4012-AE5E-6DE221F31D29}" dt="2022-10-17T05:32:59.952" v="1420" actId="164"/>
          <ac:spMkLst>
            <pc:docMk/>
            <pc:sldMk cId="2340227661" sldId="2147469995"/>
            <ac:spMk id="6" creationId="{650C2CD9-086C-9CDA-6C38-BD3846625007}"/>
          </ac:spMkLst>
        </pc:spChg>
        <pc:grpChg chg="add mod">
          <ac:chgData name="Madan Sudarman" userId="80a28748-ca50-4d0f-a51c-1fb8c54caffe" providerId="ADAL" clId="{707B4B04-0B03-4012-AE5E-6DE221F31D29}" dt="2022-10-17T05:33:30.735" v="1426" actId="1076"/>
          <ac:grpSpMkLst>
            <pc:docMk/>
            <pc:sldMk cId="2340227661" sldId="2147469995"/>
            <ac:grpSpMk id="7" creationId="{49F09CE1-254C-C392-5154-3DCE6A948218}"/>
          </ac:grpSpMkLst>
        </pc:grpChg>
        <pc:grpChg chg="add mod">
          <ac:chgData name="Madan Sudarman" userId="80a28748-ca50-4d0f-a51c-1fb8c54caffe" providerId="ADAL" clId="{707B4B04-0B03-4012-AE5E-6DE221F31D29}" dt="2022-10-19T08:09:50.323" v="3297" actId="164"/>
          <ac:grpSpMkLst>
            <pc:docMk/>
            <pc:sldMk cId="2340227661" sldId="2147469995"/>
            <ac:grpSpMk id="13" creationId="{5A0EA028-DD8A-D117-D468-40D526573657}"/>
          </ac:grpSpMkLst>
        </pc:grpChg>
        <pc:picChg chg="add del mod">
          <ac:chgData name="Madan Sudarman" userId="80a28748-ca50-4d0f-a51c-1fb8c54caffe" providerId="ADAL" clId="{707B4B04-0B03-4012-AE5E-6DE221F31D29}" dt="2022-10-19T08:07:41.560" v="3274" actId="478"/>
          <ac:picMkLst>
            <pc:docMk/>
            <pc:sldMk cId="2340227661" sldId="2147469995"/>
            <ac:picMk id="3" creationId="{1F999957-678E-CB81-1CB4-D7E5CEF16F82}"/>
          </ac:picMkLst>
        </pc:picChg>
        <pc:picChg chg="mod">
          <ac:chgData name="Madan Sudarman" userId="80a28748-ca50-4d0f-a51c-1fb8c54caffe" providerId="ADAL" clId="{707B4B04-0B03-4012-AE5E-6DE221F31D29}" dt="2022-10-17T05:32:59.952" v="1420" actId="164"/>
          <ac:picMkLst>
            <pc:docMk/>
            <pc:sldMk cId="2340227661" sldId="2147469995"/>
            <ac:picMk id="5" creationId="{6D8862CA-AEF8-B043-6429-6EC889FBCF39}"/>
          </ac:picMkLst>
        </pc:picChg>
        <pc:picChg chg="add mod modCrop">
          <ac:chgData name="Madan Sudarman" userId="80a28748-ca50-4d0f-a51c-1fb8c54caffe" providerId="ADAL" clId="{707B4B04-0B03-4012-AE5E-6DE221F31D29}" dt="2022-10-19T13:05:13.621" v="3330" actId="1036"/>
          <ac:picMkLst>
            <pc:docMk/>
            <pc:sldMk cId="2340227661" sldId="2147469995"/>
            <ac:picMk id="8" creationId="{1FB6E844-1D7D-5EDA-3ACF-EEB474C9229F}"/>
          </ac:picMkLst>
        </pc:picChg>
        <pc:picChg chg="add mod">
          <ac:chgData name="Madan Sudarman" userId="80a28748-ca50-4d0f-a51c-1fb8c54caffe" providerId="ADAL" clId="{707B4B04-0B03-4012-AE5E-6DE221F31D29}" dt="2022-10-19T08:09:50.323" v="3297" actId="164"/>
          <ac:picMkLst>
            <pc:docMk/>
            <pc:sldMk cId="2340227661" sldId="2147469995"/>
            <ac:picMk id="9" creationId="{18324445-F29E-BEB1-1132-DF4CBE28B971}"/>
          </ac:picMkLst>
        </pc:picChg>
        <pc:picChg chg="add mod modCrop">
          <ac:chgData name="Madan Sudarman" userId="80a28748-ca50-4d0f-a51c-1fb8c54caffe" providerId="ADAL" clId="{707B4B04-0B03-4012-AE5E-6DE221F31D29}" dt="2022-10-19T08:09:50.323" v="3297" actId="164"/>
          <ac:picMkLst>
            <pc:docMk/>
            <pc:sldMk cId="2340227661" sldId="2147469995"/>
            <ac:picMk id="10" creationId="{A8A6B7E0-EE48-7BA6-F26F-EE63DA22E7D8}"/>
          </ac:picMkLst>
        </pc:picChg>
        <pc:picChg chg="add mod">
          <ac:chgData name="Madan Sudarman" userId="80a28748-ca50-4d0f-a51c-1fb8c54caffe" providerId="ADAL" clId="{707B4B04-0B03-4012-AE5E-6DE221F31D29}" dt="2022-10-19T08:09:45.548" v="3296" actId="571"/>
          <ac:picMkLst>
            <pc:docMk/>
            <pc:sldMk cId="2340227661" sldId="2147469995"/>
            <ac:picMk id="11" creationId="{DFE04C6F-1208-6E25-7CEC-C246F48C3C86}"/>
          </ac:picMkLst>
        </pc:picChg>
        <pc:picChg chg="add mod">
          <ac:chgData name="Madan Sudarman" userId="80a28748-ca50-4d0f-a51c-1fb8c54caffe" providerId="ADAL" clId="{707B4B04-0B03-4012-AE5E-6DE221F31D29}" dt="2022-10-19T08:09:45.548" v="3296" actId="571"/>
          <ac:picMkLst>
            <pc:docMk/>
            <pc:sldMk cId="2340227661" sldId="2147469995"/>
            <ac:picMk id="12" creationId="{391A8702-E988-8F72-BBF0-9394BB9F39A3}"/>
          </ac:picMkLst>
        </pc:picChg>
      </pc:sldChg>
      <pc:sldChg chg="addSp delSp modSp new del mod">
        <pc:chgData name="Madan Sudarman" userId="80a28748-ca50-4d0f-a51c-1fb8c54caffe" providerId="ADAL" clId="{707B4B04-0B03-4012-AE5E-6DE221F31D29}" dt="2022-10-17T05:32:03.938" v="1414" actId="2696"/>
        <pc:sldMkLst>
          <pc:docMk/>
          <pc:sldMk cId="2582128555" sldId="2147469995"/>
        </pc:sldMkLst>
        <pc:spChg chg="mod">
          <ac:chgData name="Madan Sudarman" userId="80a28748-ca50-4d0f-a51c-1fb8c54caffe" providerId="ADAL" clId="{707B4B04-0B03-4012-AE5E-6DE221F31D29}" dt="2022-10-14T06:52:54.040" v="606" actId="6549"/>
          <ac:spMkLst>
            <pc:docMk/>
            <pc:sldMk cId="2582128555" sldId="2147469995"/>
            <ac:spMk id="2" creationId="{A21ECA99-C4C5-F1D6-B2CA-3390E34E30CA}"/>
          </ac:spMkLst>
        </pc:spChg>
        <pc:spChg chg="add mod">
          <ac:chgData name="Madan Sudarman" userId="80a28748-ca50-4d0f-a51c-1fb8c54caffe" providerId="ADAL" clId="{707B4B04-0B03-4012-AE5E-6DE221F31D29}" dt="2022-10-14T06:56:39.063" v="630" actId="1076"/>
          <ac:spMkLst>
            <pc:docMk/>
            <pc:sldMk cId="2582128555" sldId="2147469995"/>
            <ac:spMk id="6" creationId="{650C2CD9-086C-9CDA-6C38-BD3846625007}"/>
          </ac:spMkLst>
        </pc:spChg>
        <pc:picChg chg="add mod modCrop">
          <ac:chgData name="Madan Sudarman" userId="80a28748-ca50-4d0f-a51c-1fb8c54caffe" providerId="ADAL" clId="{707B4B04-0B03-4012-AE5E-6DE221F31D29}" dt="2022-10-14T06:56:32.043" v="629" actId="1076"/>
          <ac:picMkLst>
            <pc:docMk/>
            <pc:sldMk cId="2582128555" sldId="2147469995"/>
            <ac:picMk id="4" creationId="{F804380E-AFB3-B064-80AB-7897A940E6B7}"/>
          </ac:picMkLst>
        </pc:picChg>
        <pc:picChg chg="add mod">
          <ac:chgData name="Madan Sudarman" userId="80a28748-ca50-4d0f-a51c-1fb8c54caffe" providerId="ADAL" clId="{707B4B04-0B03-4012-AE5E-6DE221F31D29}" dt="2022-10-14T06:56:39.063" v="630" actId="1076"/>
          <ac:picMkLst>
            <pc:docMk/>
            <pc:sldMk cId="2582128555" sldId="2147469995"/>
            <ac:picMk id="5" creationId="{6D8862CA-AEF8-B043-6429-6EC889FBCF39}"/>
          </ac:picMkLst>
        </pc:picChg>
        <pc:picChg chg="add del mod">
          <ac:chgData name="Madan Sudarman" userId="80a28748-ca50-4d0f-a51c-1fb8c54caffe" providerId="ADAL" clId="{707B4B04-0B03-4012-AE5E-6DE221F31D29}" dt="2022-10-14T06:55:29.735" v="617" actId="21"/>
          <ac:picMkLst>
            <pc:docMk/>
            <pc:sldMk cId="2582128555" sldId="2147469995"/>
            <ac:picMk id="7" creationId="{53432906-78AB-CBDE-D065-F5F59DA9D61E}"/>
          </ac:picMkLst>
        </pc:picChg>
      </pc:sldChg>
      <pc:sldChg chg="addSp delSp modSp add mod addAnim delAnim modAnim">
        <pc:chgData name="Madan Sudarman" userId="80a28748-ca50-4d0f-a51c-1fb8c54caffe" providerId="ADAL" clId="{707B4B04-0B03-4012-AE5E-6DE221F31D29}" dt="2022-10-19T16:46:08.960" v="3400" actId="113"/>
        <pc:sldMkLst>
          <pc:docMk/>
          <pc:sldMk cId="986506809" sldId="2147469996"/>
        </pc:sldMkLst>
        <pc:spChg chg="mod">
          <ac:chgData name="Madan Sudarman" userId="80a28748-ca50-4d0f-a51c-1fb8c54caffe" providerId="ADAL" clId="{707B4B04-0B03-4012-AE5E-6DE221F31D29}" dt="2022-10-19T16:46:08.960" v="3400" actId="113"/>
          <ac:spMkLst>
            <pc:docMk/>
            <pc:sldMk cId="986506809" sldId="2147469996"/>
            <ac:spMk id="2" creationId="{8DC4B4D9-0299-44F2-A4D1-A972C799962A}"/>
          </ac:spMkLst>
        </pc:spChg>
        <pc:spChg chg="add mod">
          <ac:chgData name="Madan Sudarman" userId="80a28748-ca50-4d0f-a51c-1fb8c54caffe" providerId="ADAL" clId="{707B4B04-0B03-4012-AE5E-6DE221F31D29}" dt="2022-10-19T13:08:00.110" v="3335" actId="1582"/>
          <ac:spMkLst>
            <pc:docMk/>
            <pc:sldMk cId="986506809" sldId="2147469996"/>
            <ac:spMk id="4" creationId="{234C63E1-15CA-C191-0912-6F11BE8030F1}"/>
          </ac:spMkLst>
        </pc:spChg>
        <pc:spChg chg="add del mod">
          <ac:chgData name="Madan Sudarman" userId="80a28748-ca50-4d0f-a51c-1fb8c54caffe" providerId="ADAL" clId="{707B4B04-0B03-4012-AE5E-6DE221F31D29}" dt="2022-10-17T05:41:23.301" v="1536" actId="478"/>
          <ac:spMkLst>
            <pc:docMk/>
            <pc:sldMk cId="986506809" sldId="2147469996"/>
            <ac:spMk id="4" creationId="{2A65C17A-5F8E-630C-58A1-D3D4EE2ED8DF}"/>
          </ac:spMkLst>
        </pc:spChg>
        <pc:graphicFrameChg chg="mod modGraphic">
          <ac:chgData name="Madan Sudarman" userId="80a28748-ca50-4d0f-a51c-1fb8c54caffe" providerId="ADAL" clId="{707B4B04-0B03-4012-AE5E-6DE221F31D29}" dt="2022-10-18T11:38:20.850" v="3167" actId="6549"/>
          <ac:graphicFrameMkLst>
            <pc:docMk/>
            <pc:sldMk cId="986506809" sldId="2147469996"/>
            <ac:graphicFrameMk id="3" creationId="{E2EC9D21-739E-4B88-A7E5-17C52F233FC7}"/>
          </ac:graphicFrameMkLst>
        </pc:graphicFrameChg>
      </pc:sldChg>
      <pc:sldChg chg="add del">
        <pc:chgData name="Madan Sudarman" userId="80a28748-ca50-4d0f-a51c-1fb8c54caffe" providerId="ADAL" clId="{707B4B04-0B03-4012-AE5E-6DE221F31D29}" dt="2022-10-17T05:32:03.938" v="1414" actId="2696"/>
        <pc:sldMkLst>
          <pc:docMk/>
          <pc:sldMk cId="3793602989" sldId="2147469996"/>
        </pc:sldMkLst>
      </pc:sldChg>
      <pc:sldChg chg="addSp modSp new del mod">
        <pc:chgData name="Madan Sudarman" userId="80a28748-ca50-4d0f-a51c-1fb8c54caffe" providerId="ADAL" clId="{707B4B04-0B03-4012-AE5E-6DE221F31D29}" dt="2022-10-17T05:32:03.938" v="1414" actId="2696"/>
        <pc:sldMkLst>
          <pc:docMk/>
          <pc:sldMk cId="1182085220" sldId="2147469997"/>
        </pc:sldMkLst>
        <pc:picChg chg="add mod">
          <ac:chgData name="Madan Sudarman" userId="80a28748-ca50-4d0f-a51c-1fb8c54caffe" providerId="ADAL" clId="{707B4B04-0B03-4012-AE5E-6DE221F31D29}" dt="2022-10-14T06:55:53.476" v="624" actId="14100"/>
          <ac:picMkLst>
            <pc:docMk/>
            <pc:sldMk cId="1182085220" sldId="2147469997"/>
            <ac:picMk id="4" creationId="{E9F776E8-BB22-99A4-0527-78BE27AA6CB6}"/>
          </ac:picMkLst>
        </pc:picChg>
      </pc:sldChg>
      <pc:sldChg chg="add del ord">
        <pc:chgData name="Madan Sudarman" userId="80a28748-ca50-4d0f-a51c-1fb8c54caffe" providerId="ADAL" clId="{707B4B04-0B03-4012-AE5E-6DE221F31D29}" dt="2022-10-17T09:41:01.643" v="2282" actId="47"/>
        <pc:sldMkLst>
          <pc:docMk/>
          <pc:sldMk cId="4290523628" sldId="2147469997"/>
        </pc:sldMkLst>
      </pc:sldChg>
      <pc:sldChg chg="addSp delSp modSp add del mod">
        <pc:chgData name="Madan Sudarman" userId="80a28748-ca50-4d0f-a51c-1fb8c54caffe" providerId="ADAL" clId="{707B4B04-0B03-4012-AE5E-6DE221F31D29}" dt="2022-10-15T12:12:03.707" v="1283" actId="47"/>
        <pc:sldMkLst>
          <pc:docMk/>
          <pc:sldMk cId="2761405671" sldId="2147469998"/>
        </pc:sldMkLst>
        <pc:spChg chg="del">
          <ac:chgData name="Madan Sudarman" userId="80a28748-ca50-4d0f-a51c-1fb8c54caffe" providerId="ADAL" clId="{707B4B04-0B03-4012-AE5E-6DE221F31D29}" dt="2022-10-14T13:28:08.436" v="632" actId="478"/>
          <ac:spMkLst>
            <pc:docMk/>
            <pc:sldMk cId="2761405671" sldId="2147469998"/>
            <ac:spMk id="3" creationId="{1F461714-1F91-4570-8C73-AACA9013E0B4}"/>
          </ac:spMkLst>
        </pc:spChg>
        <pc:spChg chg="add del mod">
          <ac:chgData name="Madan Sudarman" userId="80a28748-ca50-4d0f-a51c-1fb8c54caffe" providerId="ADAL" clId="{707B4B04-0B03-4012-AE5E-6DE221F31D29}" dt="2022-10-14T13:28:11.858" v="633" actId="478"/>
          <ac:spMkLst>
            <pc:docMk/>
            <pc:sldMk cId="2761405671" sldId="2147469998"/>
            <ac:spMk id="5" creationId="{BD6CBF91-2939-F822-EF26-76680D826FC7}"/>
          </ac:spMkLst>
        </pc:spChg>
      </pc:sldChg>
      <pc:sldChg chg="new del">
        <pc:chgData name="Madan Sudarman" userId="80a28748-ca50-4d0f-a51c-1fb8c54caffe" providerId="ADAL" clId="{707B4B04-0B03-4012-AE5E-6DE221F31D29}" dt="2022-10-14T13:28:42.192" v="635" actId="47"/>
        <pc:sldMkLst>
          <pc:docMk/>
          <pc:sldMk cId="3524558104" sldId="2147469999"/>
        </pc:sldMkLst>
      </pc:sldChg>
      <pc:sldChg chg="addSp delSp modSp add del mod">
        <pc:chgData name="Madan Sudarman" userId="80a28748-ca50-4d0f-a51c-1fb8c54caffe" providerId="ADAL" clId="{707B4B04-0B03-4012-AE5E-6DE221F31D29}" dt="2022-10-14T13:31:34.802" v="655" actId="47"/>
        <pc:sldMkLst>
          <pc:docMk/>
          <pc:sldMk cId="3550501097" sldId="2147469999"/>
        </pc:sldMkLst>
        <pc:picChg chg="add del mod">
          <ac:chgData name="Madan Sudarman" userId="80a28748-ca50-4d0f-a51c-1fb8c54caffe" providerId="ADAL" clId="{707B4B04-0B03-4012-AE5E-6DE221F31D29}" dt="2022-10-14T13:30:19.631" v="642" actId="478"/>
          <ac:picMkLst>
            <pc:docMk/>
            <pc:sldMk cId="3550501097" sldId="2147469999"/>
            <ac:picMk id="3" creationId="{353E08A0-4C02-EDBB-4379-D9D46986AA71}"/>
          </ac:picMkLst>
        </pc:picChg>
        <pc:picChg chg="add del mod">
          <ac:chgData name="Madan Sudarman" userId="80a28748-ca50-4d0f-a51c-1fb8c54caffe" providerId="ADAL" clId="{707B4B04-0B03-4012-AE5E-6DE221F31D29}" dt="2022-10-14T13:30:45.325" v="646" actId="478"/>
          <ac:picMkLst>
            <pc:docMk/>
            <pc:sldMk cId="3550501097" sldId="2147469999"/>
            <ac:picMk id="4" creationId="{0259F43E-1BC2-DE1C-5907-09B52E034D27}"/>
          </ac:picMkLst>
        </pc:picChg>
        <pc:picChg chg="del">
          <ac:chgData name="Madan Sudarman" userId="80a28748-ca50-4d0f-a51c-1fb8c54caffe" providerId="ADAL" clId="{707B4B04-0B03-4012-AE5E-6DE221F31D29}" dt="2022-10-14T13:28:51.810" v="637" actId="478"/>
          <ac:picMkLst>
            <pc:docMk/>
            <pc:sldMk cId="3550501097" sldId="2147469999"/>
            <ac:picMk id="5" creationId="{B6EE1C69-6978-A7A8-255E-318020D11B80}"/>
          </ac:picMkLst>
        </pc:picChg>
        <pc:picChg chg="add del mod">
          <ac:chgData name="Madan Sudarman" userId="80a28748-ca50-4d0f-a51c-1fb8c54caffe" providerId="ADAL" clId="{707B4B04-0B03-4012-AE5E-6DE221F31D29}" dt="2022-10-14T13:31:30.218" v="653" actId="21"/>
          <ac:picMkLst>
            <pc:docMk/>
            <pc:sldMk cId="3550501097" sldId="2147469999"/>
            <ac:picMk id="6" creationId="{0292833B-0A07-9775-9007-CF081C5BB9D2}"/>
          </ac:picMkLst>
        </pc:picChg>
      </pc:sldChg>
      <pc:sldChg chg="add del ord">
        <pc:chgData name="Madan Sudarman" userId="80a28748-ca50-4d0f-a51c-1fb8c54caffe" providerId="ADAL" clId="{707B4B04-0B03-4012-AE5E-6DE221F31D29}" dt="2022-10-17T11:01:21.955" v="2694" actId="47"/>
        <pc:sldMkLst>
          <pc:docMk/>
          <pc:sldMk cId="437869221" sldId="2147470000"/>
        </pc:sldMkLst>
      </pc:sldChg>
      <pc:sldChg chg="add del">
        <pc:chgData name="Madan Sudarman" userId="80a28748-ca50-4d0f-a51c-1fb8c54caffe" providerId="ADAL" clId="{707B4B04-0B03-4012-AE5E-6DE221F31D29}" dt="2022-10-17T10:06:07.876" v="2462" actId="2696"/>
        <pc:sldMkLst>
          <pc:docMk/>
          <pc:sldMk cId="3432402583" sldId="2147470000"/>
        </pc:sldMkLst>
      </pc:sldChg>
      <pc:sldChg chg="addSp delSp modSp new del mod">
        <pc:chgData name="Madan Sudarman" userId="80a28748-ca50-4d0f-a51c-1fb8c54caffe" providerId="ADAL" clId="{707B4B04-0B03-4012-AE5E-6DE221F31D29}" dt="2022-10-17T09:59:12.886" v="2396" actId="2696"/>
        <pc:sldMkLst>
          <pc:docMk/>
          <pc:sldMk cId="3498797186" sldId="2147470000"/>
        </pc:sldMkLst>
        <pc:spChg chg="mod">
          <ac:chgData name="Madan Sudarman" userId="80a28748-ca50-4d0f-a51c-1fb8c54caffe" providerId="ADAL" clId="{707B4B04-0B03-4012-AE5E-6DE221F31D29}" dt="2022-10-14T14:22:45.866" v="913" actId="20577"/>
          <ac:spMkLst>
            <pc:docMk/>
            <pc:sldMk cId="3498797186" sldId="2147470000"/>
            <ac:spMk id="2" creationId="{2D686F7B-16D1-2ABF-FB1E-63C26394A87B}"/>
          </ac:spMkLst>
        </pc:spChg>
        <pc:spChg chg="del">
          <ac:chgData name="Madan Sudarman" userId="80a28748-ca50-4d0f-a51c-1fb8c54caffe" providerId="ADAL" clId="{707B4B04-0B03-4012-AE5E-6DE221F31D29}" dt="2022-10-14T13:39:03.710" v="671" actId="478"/>
          <ac:spMkLst>
            <pc:docMk/>
            <pc:sldMk cId="3498797186" sldId="2147470000"/>
            <ac:spMk id="3" creationId="{DD9FCA69-C3B1-A819-8B09-71B779380838}"/>
          </ac:spMkLst>
        </pc:spChg>
        <pc:spChg chg="add mod">
          <ac:chgData name="Madan Sudarman" userId="80a28748-ca50-4d0f-a51c-1fb8c54caffe" providerId="ADAL" clId="{707B4B04-0B03-4012-AE5E-6DE221F31D29}" dt="2022-10-17T08:04:40.744" v="1837" actId="1076"/>
          <ac:spMkLst>
            <pc:docMk/>
            <pc:sldMk cId="3498797186" sldId="2147470000"/>
            <ac:spMk id="9" creationId="{D30AB5C2-EE7F-7FBE-1EFD-41ABC942E5A0}"/>
          </ac:spMkLst>
        </pc:spChg>
        <pc:spChg chg="add mod">
          <ac:chgData name="Madan Sudarman" userId="80a28748-ca50-4d0f-a51c-1fb8c54caffe" providerId="ADAL" clId="{707B4B04-0B03-4012-AE5E-6DE221F31D29}" dt="2022-10-17T06:05:39.063" v="1623" actId="1076"/>
          <ac:spMkLst>
            <pc:docMk/>
            <pc:sldMk cId="3498797186" sldId="2147470000"/>
            <ac:spMk id="10" creationId="{A7D72A7A-5085-77C3-71B1-769ED37B19BA}"/>
          </ac:spMkLst>
        </pc:spChg>
        <pc:picChg chg="add del mod">
          <ac:chgData name="Madan Sudarman" userId="80a28748-ca50-4d0f-a51c-1fb8c54caffe" providerId="ADAL" clId="{707B4B04-0B03-4012-AE5E-6DE221F31D29}" dt="2022-10-14T14:07:36.811" v="683" actId="478"/>
          <ac:picMkLst>
            <pc:docMk/>
            <pc:sldMk cId="3498797186" sldId="2147470000"/>
            <ac:picMk id="4" creationId="{09C6712F-0B93-D86C-1187-B9B96872E2C6}"/>
          </ac:picMkLst>
        </pc:picChg>
        <pc:picChg chg="add del">
          <ac:chgData name="Madan Sudarman" userId="80a28748-ca50-4d0f-a51c-1fb8c54caffe" providerId="ADAL" clId="{707B4B04-0B03-4012-AE5E-6DE221F31D29}" dt="2022-10-14T13:36:41.036" v="657" actId="478"/>
          <ac:picMkLst>
            <pc:docMk/>
            <pc:sldMk cId="3498797186" sldId="2147470000"/>
            <ac:picMk id="5" creationId="{6646AF8C-0F56-C61E-215B-55F072B90B62}"/>
          </ac:picMkLst>
        </pc:picChg>
        <pc:picChg chg="add mod">
          <ac:chgData name="Madan Sudarman" userId="80a28748-ca50-4d0f-a51c-1fb8c54caffe" providerId="ADAL" clId="{707B4B04-0B03-4012-AE5E-6DE221F31D29}" dt="2022-10-17T08:04:33.196" v="1834" actId="1076"/>
          <ac:picMkLst>
            <pc:docMk/>
            <pc:sldMk cId="3498797186" sldId="2147470000"/>
            <ac:picMk id="6" creationId="{7AE0E6CE-7A1B-27C8-65B0-446BBAE2C9FD}"/>
          </ac:picMkLst>
        </pc:picChg>
        <pc:picChg chg="add mod">
          <ac:chgData name="Madan Sudarman" userId="80a28748-ca50-4d0f-a51c-1fb8c54caffe" providerId="ADAL" clId="{707B4B04-0B03-4012-AE5E-6DE221F31D29}" dt="2022-10-17T08:04:37.740" v="1836" actId="1076"/>
          <ac:picMkLst>
            <pc:docMk/>
            <pc:sldMk cId="3498797186" sldId="2147470000"/>
            <ac:picMk id="7" creationId="{0BBBE612-78E4-F9A2-F3C8-18E4C7A65E3A}"/>
          </ac:picMkLst>
        </pc:picChg>
        <pc:picChg chg="add mod">
          <ac:chgData name="Madan Sudarman" userId="80a28748-ca50-4d0f-a51c-1fb8c54caffe" providerId="ADAL" clId="{707B4B04-0B03-4012-AE5E-6DE221F31D29}" dt="2022-10-17T08:04:35.507" v="1835" actId="1076"/>
          <ac:picMkLst>
            <pc:docMk/>
            <pc:sldMk cId="3498797186" sldId="2147470000"/>
            <ac:picMk id="8" creationId="{E1C2B2D0-D90C-ABED-1DC7-5817BDA302DD}"/>
          </ac:picMkLst>
        </pc:picChg>
      </pc:sldChg>
      <pc:sldChg chg="new del">
        <pc:chgData name="Madan Sudarman" userId="80a28748-ca50-4d0f-a51c-1fb8c54caffe" providerId="ADAL" clId="{707B4B04-0B03-4012-AE5E-6DE221F31D29}" dt="2022-10-14T13:45:16.078" v="673" actId="47"/>
        <pc:sldMkLst>
          <pc:docMk/>
          <pc:sldMk cId="1186546281" sldId="2147470001"/>
        </pc:sldMkLst>
      </pc:sldChg>
      <pc:sldChg chg="addSp modSp new mod ord modClrScheme chgLayout">
        <pc:chgData name="Madan Sudarman" userId="80a28748-ca50-4d0f-a51c-1fb8c54caffe" providerId="ADAL" clId="{707B4B04-0B03-4012-AE5E-6DE221F31D29}" dt="2022-10-17T10:41:59.529" v="2642"/>
        <pc:sldMkLst>
          <pc:docMk/>
          <pc:sldMk cId="1512899174" sldId="2147470001"/>
        </pc:sldMkLst>
        <pc:spChg chg="add mod">
          <ac:chgData name="Madan Sudarman" userId="80a28748-ca50-4d0f-a51c-1fb8c54caffe" providerId="ADAL" clId="{707B4B04-0B03-4012-AE5E-6DE221F31D29}" dt="2022-10-17T07:39:39.947" v="1691" actId="1076"/>
          <ac:spMkLst>
            <pc:docMk/>
            <pc:sldMk cId="1512899174" sldId="2147470001"/>
            <ac:spMk id="3" creationId="{EFE5D883-9E27-DED2-E033-8BB21E9D14B0}"/>
          </ac:spMkLst>
        </pc:spChg>
        <pc:picChg chg="add mod">
          <ac:chgData name="Madan Sudarman" userId="80a28748-ca50-4d0f-a51c-1fb8c54caffe" providerId="ADAL" clId="{707B4B04-0B03-4012-AE5E-6DE221F31D29}" dt="2022-10-14T13:45:32.752" v="679" actId="962"/>
          <ac:picMkLst>
            <pc:docMk/>
            <pc:sldMk cId="1512899174" sldId="2147470001"/>
            <ac:picMk id="2" creationId="{979CFC54-6716-D82C-3ED8-C0447E0B6F90}"/>
          </ac:picMkLst>
        </pc:picChg>
      </pc:sldChg>
      <pc:sldChg chg="addSp delSp modSp new mod ord modAnim">
        <pc:chgData name="Madan Sudarman" userId="80a28748-ca50-4d0f-a51c-1fb8c54caffe" providerId="ADAL" clId="{707B4B04-0B03-4012-AE5E-6DE221F31D29}" dt="2022-10-19T12:51:52.354" v="3303"/>
        <pc:sldMkLst>
          <pc:docMk/>
          <pc:sldMk cId="1162478052" sldId="2147470002"/>
        </pc:sldMkLst>
        <pc:spChg chg="mod">
          <ac:chgData name="Madan Sudarman" userId="80a28748-ca50-4d0f-a51c-1fb8c54caffe" providerId="ADAL" clId="{707B4B04-0B03-4012-AE5E-6DE221F31D29}" dt="2022-10-17T07:56:27.633" v="1803" actId="20577"/>
          <ac:spMkLst>
            <pc:docMk/>
            <pc:sldMk cId="1162478052" sldId="2147470002"/>
            <ac:spMk id="2" creationId="{F7207AA5-983F-57B3-D3B4-6BE444305C05}"/>
          </ac:spMkLst>
        </pc:spChg>
        <pc:spChg chg="del">
          <ac:chgData name="Madan Sudarman" userId="80a28748-ca50-4d0f-a51c-1fb8c54caffe" providerId="ADAL" clId="{707B4B04-0B03-4012-AE5E-6DE221F31D29}" dt="2022-10-14T14:34:38.454" v="939" actId="478"/>
          <ac:spMkLst>
            <pc:docMk/>
            <pc:sldMk cId="1162478052" sldId="2147470002"/>
            <ac:spMk id="3" creationId="{4478BF15-87BF-F44D-EA02-251776A12D0E}"/>
          </ac:spMkLst>
        </pc:spChg>
        <pc:spChg chg="add mod ord">
          <ac:chgData name="Madan Sudarman" userId="80a28748-ca50-4d0f-a51c-1fb8c54caffe" providerId="ADAL" clId="{707B4B04-0B03-4012-AE5E-6DE221F31D29}" dt="2022-10-17T07:57:36.329" v="1807" actId="14100"/>
          <ac:spMkLst>
            <pc:docMk/>
            <pc:sldMk cId="1162478052" sldId="2147470002"/>
            <ac:spMk id="5" creationId="{D5CEA5CF-5CFA-7B89-BE6E-37F825B02D80}"/>
          </ac:spMkLst>
        </pc:spChg>
        <pc:spChg chg="mod">
          <ac:chgData name="Madan Sudarman" userId="80a28748-ca50-4d0f-a51c-1fb8c54caffe" providerId="ADAL" clId="{707B4B04-0B03-4012-AE5E-6DE221F31D29}" dt="2022-10-17T07:52:52.050" v="1769" actId="207"/>
          <ac:spMkLst>
            <pc:docMk/>
            <pc:sldMk cId="1162478052" sldId="2147470002"/>
            <ac:spMk id="7" creationId="{8C6463C2-25AE-6E67-8656-6B3DA8474923}"/>
          </ac:spMkLst>
        </pc:spChg>
        <pc:spChg chg="mod">
          <ac:chgData name="Madan Sudarman" userId="80a28748-ca50-4d0f-a51c-1fb8c54caffe" providerId="ADAL" clId="{707B4B04-0B03-4012-AE5E-6DE221F31D29}" dt="2022-10-17T07:52:52.050" v="1769" actId="207"/>
          <ac:spMkLst>
            <pc:docMk/>
            <pc:sldMk cId="1162478052" sldId="2147470002"/>
            <ac:spMk id="8" creationId="{FACCD821-F03D-1715-D0D3-C55FA771AB74}"/>
          </ac:spMkLst>
        </pc:spChg>
        <pc:spChg chg="add mod">
          <ac:chgData name="Madan Sudarman" userId="80a28748-ca50-4d0f-a51c-1fb8c54caffe" providerId="ADAL" clId="{707B4B04-0B03-4012-AE5E-6DE221F31D29}" dt="2022-10-17T10:18:13.702" v="2543" actId="403"/>
          <ac:spMkLst>
            <pc:docMk/>
            <pc:sldMk cId="1162478052" sldId="2147470002"/>
            <ac:spMk id="10" creationId="{20383127-87CD-905F-3B3F-8DD04D78546A}"/>
          </ac:spMkLst>
        </pc:spChg>
        <pc:spChg chg="add mod">
          <ac:chgData name="Madan Sudarman" userId="80a28748-ca50-4d0f-a51c-1fb8c54caffe" providerId="ADAL" clId="{707B4B04-0B03-4012-AE5E-6DE221F31D29}" dt="2022-10-17T10:18:21.223" v="2545" actId="207"/>
          <ac:spMkLst>
            <pc:docMk/>
            <pc:sldMk cId="1162478052" sldId="2147470002"/>
            <ac:spMk id="11" creationId="{8C3B47C8-2A59-BBCD-829A-7884AC5CAD58}"/>
          </ac:spMkLst>
        </pc:spChg>
        <pc:spChg chg="add mod">
          <ac:chgData name="Madan Sudarman" userId="80a28748-ca50-4d0f-a51c-1fb8c54caffe" providerId="ADAL" clId="{707B4B04-0B03-4012-AE5E-6DE221F31D29}" dt="2022-10-17T10:18:13.702" v="2543" actId="403"/>
          <ac:spMkLst>
            <pc:docMk/>
            <pc:sldMk cId="1162478052" sldId="2147470002"/>
            <ac:spMk id="12" creationId="{A8AB0BE8-6997-2399-DF3A-797A4EA03583}"/>
          </ac:spMkLst>
        </pc:spChg>
        <pc:spChg chg="add mod">
          <ac:chgData name="Madan Sudarman" userId="80a28748-ca50-4d0f-a51c-1fb8c54caffe" providerId="ADAL" clId="{707B4B04-0B03-4012-AE5E-6DE221F31D29}" dt="2022-10-17T10:18:34.322" v="2548" actId="1076"/>
          <ac:spMkLst>
            <pc:docMk/>
            <pc:sldMk cId="1162478052" sldId="2147470002"/>
            <ac:spMk id="14" creationId="{5E2B4690-664B-FE21-9CB9-1E382EF30D70}"/>
          </ac:spMkLst>
        </pc:spChg>
        <pc:spChg chg="add mod">
          <ac:chgData name="Madan Sudarman" userId="80a28748-ca50-4d0f-a51c-1fb8c54caffe" providerId="ADAL" clId="{707B4B04-0B03-4012-AE5E-6DE221F31D29}" dt="2022-10-17T07:54:58.366" v="1774" actId="1076"/>
          <ac:spMkLst>
            <pc:docMk/>
            <pc:sldMk cId="1162478052" sldId="2147470002"/>
            <ac:spMk id="16" creationId="{4755FB3F-8FF2-7AF1-A2E8-EF25B46B1C16}"/>
          </ac:spMkLst>
        </pc:spChg>
        <pc:spChg chg="add mod">
          <ac:chgData name="Madan Sudarman" userId="80a28748-ca50-4d0f-a51c-1fb8c54caffe" providerId="ADAL" clId="{707B4B04-0B03-4012-AE5E-6DE221F31D29}" dt="2022-10-17T07:56:38.355" v="1804" actId="164"/>
          <ac:spMkLst>
            <pc:docMk/>
            <pc:sldMk cId="1162478052" sldId="2147470002"/>
            <ac:spMk id="17" creationId="{96EDE8B5-FE47-8897-30B5-68550B6254DF}"/>
          </ac:spMkLst>
        </pc:spChg>
        <pc:grpChg chg="add mod ord">
          <ac:chgData name="Madan Sudarman" userId="80a28748-ca50-4d0f-a51c-1fb8c54caffe" providerId="ADAL" clId="{707B4B04-0B03-4012-AE5E-6DE221F31D29}" dt="2022-10-17T07:52:52.050" v="1769" actId="207"/>
          <ac:grpSpMkLst>
            <pc:docMk/>
            <pc:sldMk cId="1162478052" sldId="2147470002"/>
            <ac:grpSpMk id="6" creationId="{393B774D-160B-5DCD-7030-DBEDA3CA119E}"/>
          </ac:grpSpMkLst>
        </pc:grpChg>
        <pc:grpChg chg="add mod ord">
          <ac:chgData name="Madan Sudarman" userId="80a28748-ca50-4d0f-a51c-1fb8c54caffe" providerId="ADAL" clId="{707B4B04-0B03-4012-AE5E-6DE221F31D29}" dt="2022-10-17T10:18:13.702" v="2543" actId="403"/>
          <ac:grpSpMkLst>
            <pc:docMk/>
            <pc:sldMk cId="1162478052" sldId="2147470002"/>
            <ac:grpSpMk id="15" creationId="{1A2B61A5-D6B2-1E22-3C54-17149DB6053D}"/>
          </ac:grpSpMkLst>
        </pc:grpChg>
        <pc:grpChg chg="add mod">
          <ac:chgData name="Madan Sudarman" userId="80a28748-ca50-4d0f-a51c-1fb8c54caffe" providerId="ADAL" clId="{707B4B04-0B03-4012-AE5E-6DE221F31D29}" dt="2022-10-17T07:56:38.355" v="1804" actId="164"/>
          <ac:grpSpMkLst>
            <pc:docMk/>
            <pc:sldMk cId="1162478052" sldId="2147470002"/>
            <ac:grpSpMk id="18" creationId="{2476E707-EAEE-7B62-A408-949B7E3335F0}"/>
          </ac:grpSpMkLst>
        </pc:grpChg>
        <pc:picChg chg="add mod ord">
          <ac:chgData name="Madan Sudarman" userId="80a28748-ca50-4d0f-a51c-1fb8c54caffe" providerId="ADAL" clId="{707B4B04-0B03-4012-AE5E-6DE221F31D29}" dt="2022-10-17T10:18:13.702" v="2543" actId="403"/>
          <ac:picMkLst>
            <pc:docMk/>
            <pc:sldMk cId="1162478052" sldId="2147470002"/>
            <ac:picMk id="4" creationId="{C22ADD8E-0E68-BD91-807C-AC80089CF10C}"/>
          </ac:picMkLst>
        </pc:picChg>
        <pc:picChg chg="add mod ord">
          <ac:chgData name="Madan Sudarman" userId="80a28748-ca50-4d0f-a51c-1fb8c54caffe" providerId="ADAL" clId="{707B4B04-0B03-4012-AE5E-6DE221F31D29}" dt="2022-10-17T10:18:13.702" v="2543" actId="403"/>
          <ac:picMkLst>
            <pc:docMk/>
            <pc:sldMk cId="1162478052" sldId="2147470002"/>
            <ac:picMk id="9" creationId="{348BBEC4-A1D2-0DC9-7781-269B20B56823}"/>
          </ac:picMkLst>
        </pc:picChg>
        <pc:picChg chg="add mod modCrop">
          <ac:chgData name="Madan Sudarman" userId="80a28748-ca50-4d0f-a51c-1fb8c54caffe" providerId="ADAL" clId="{707B4B04-0B03-4012-AE5E-6DE221F31D29}" dt="2022-10-17T10:18:13.702" v="2543" actId="403"/>
          <ac:picMkLst>
            <pc:docMk/>
            <pc:sldMk cId="1162478052" sldId="2147470002"/>
            <ac:picMk id="13" creationId="{BF39ED43-F830-8D9D-5E61-8835A2E6F036}"/>
          </ac:picMkLst>
        </pc:picChg>
      </pc:sldChg>
      <pc:sldChg chg="add">
        <pc:chgData name="Madan Sudarman" userId="80a28748-ca50-4d0f-a51c-1fb8c54caffe" providerId="ADAL" clId="{707B4B04-0B03-4012-AE5E-6DE221F31D29}" dt="2022-10-17T10:29:58.916" v="2604"/>
        <pc:sldMkLst>
          <pc:docMk/>
          <pc:sldMk cId="704974479" sldId="2147470003"/>
        </pc:sldMkLst>
      </pc:sldChg>
      <pc:sldChg chg="addSp delSp modSp new del mod modAnim">
        <pc:chgData name="Madan Sudarman" userId="80a28748-ca50-4d0f-a51c-1fb8c54caffe" providerId="ADAL" clId="{707B4B04-0B03-4012-AE5E-6DE221F31D29}" dt="2022-10-17T10:29:03.093" v="2599" actId="2696"/>
        <pc:sldMkLst>
          <pc:docMk/>
          <pc:sldMk cId="2219467464" sldId="2147470003"/>
        </pc:sldMkLst>
        <pc:spChg chg="del">
          <ac:chgData name="Madan Sudarman" userId="80a28748-ca50-4d0f-a51c-1fb8c54caffe" providerId="ADAL" clId="{707B4B04-0B03-4012-AE5E-6DE221F31D29}" dt="2022-10-15T08:19:50.221" v="941" actId="478"/>
          <ac:spMkLst>
            <pc:docMk/>
            <pc:sldMk cId="2219467464" sldId="2147470003"/>
            <ac:spMk id="2" creationId="{3DD7F767-91D8-BD24-B332-7193689916C7}"/>
          </ac:spMkLst>
        </pc:spChg>
        <pc:grpChg chg="add mod">
          <ac:chgData name="Madan Sudarman" userId="80a28748-ca50-4d0f-a51c-1fb8c54caffe" providerId="ADAL" clId="{707B4B04-0B03-4012-AE5E-6DE221F31D29}" dt="2022-10-15T08:47:22.426" v="995" actId="14100"/>
          <ac:grpSpMkLst>
            <pc:docMk/>
            <pc:sldMk cId="2219467464" sldId="2147470003"/>
            <ac:grpSpMk id="5" creationId="{AD932205-12B2-D080-8678-A50C325E4BB8}"/>
          </ac:grpSpMkLst>
        </pc:grpChg>
        <pc:picChg chg="add mod">
          <ac:chgData name="Madan Sudarman" userId="80a28748-ca50-4d0f-a51c-1fb8c54caffe" providerId="ADAL" clId="{707B4B04-0B03-4012-AE5E-6DE221F31D29}" dt="2022-10-15T08:47:22.426" v="995" actId="14100"/>
          <ac:picMkLst>
            <pc:docMk/>
            <pc:sldMk cId="2219467464" sldId="2147470003"/>
            <ac:picMk id="3" creationId="{72FCBCBA-F57D-044E-8F7A-D9A27DE635A8}"/>
          </ac:picMkLst>
        </pc:picChg>
        <pc:picChg chg="add mod">
          <ac:chgData name="Madan Sudarman" userId="80a28748-ca50-4d0f-a51c-1fb8c54caffe" providerId="ADAL" clId="{707B4B04-0B03-4012-AE5E-6DE221F31D29}" dt="2022-10-15T08:47:22.426" v="995" actId="14100"/>
          <ac:picMkLst>
            <pc:docMk/>
            <pc:sldMk cId="2219467464" sldId="2147470003"/>
            <ac:picMk id="4" creationId="{94AB09A4-2D7D-CF42-A65F-AF66987B0F70}"/>
          </ac:picMkLst>
        </pc:picChg>
        <pc:picChg chg="add mod">
          <ac:chgData name="Madan Sudarman" userId="80a28748-ca50-4d0f-a51c-1fb8c54caffe" providerId="ADAL" clId="{707B4B04-0B03-4012-AE5E-6DE221F31D29}" dt="2022-10-15T08:24:06.756" v="965" actId="1076"/>
          <ac:picMkLst>
            <pc:docMk/>
            <pc:sldMk cId="2219467464" sldId="2147470003"/>
            <ac:picMk id="6" creationId="{EAA87252-C1CD-9A8A-501E-EE26CFFF6CFA}"/>
          </ac:picMkLst>
        </pc:picChg>
        <pc:picChg chg="add mod">
          <ac:chgData name="Madan Sudarman" userId="80a28748-ca50-4d0f-a51c-1fb8c54caffe" providerId="ADAL" clId="{707B4B04-0B03-4012-AE5E-6DE221F31D29}" dt="2022-10-15T08:22:25.729" v="952" actId="1076"/>
          <ac:picMkLst>
            <pc:docMk/>
            <pc:sldMk cId="2219467464" sldId="2147470003"/>
            <ac:picMk id="1026" creationId="{5D363FB4-D9B0-54DC-BA35-979775411168}"/>
          </ac:picMkLst>
        </pc:picChg>
      </pc:sldChg>
      <pc:sldChg chg="add">
        <pc:chgData name="Madan Sudarman" userId="80a28748-ca50-4d0f-a51c-1fb8c54caffe" providerId="ADAL" clId="{707B4B04-0B03-4012-AE5E-6DE221F31D29}" dt="2022-10-17T10:29:58.916" v="2604"/>
        <pc:sldMkLst>
          <pc:docMk/>
          <pc:sldMk cId="245666123" sldId="2147470004"/>
        </pc:sldMkLst>
      </pc:sldChg>
      <pc:sldChg chg="addSp delSp modSp new del mod">
        <pc:chgData name="Madan Sudarman" userId="80a28748-ca50-4d0f-a51c-1fb8c54caffe" providerId="ADAL" clId="{707B4B04-0B03-4012-AE5E-6DE221F31D29}" dt="2022-10-17T10:29:03.093" v="2599" actId="2696"/>
        <pc:sldMkLst>
          <pc:docMk/>
          <pc:sldMk cId="2531453627" sldId="2147470004"/>
        </pc:sldMkLst>
        <pc:spChg chg="del">
          <ac:chgData name="Madan Sudarman" userId="80a28748-ca50-4d0f-a51c-1fb8c54caffe" providerId="ADAL" clId="{707B4B04-0B03-4012-AE5E-6DE221F31D29}" dt="2022-10-15T08:25:37.437" v="968" actId="478"/>
          <ac:spMkLst>
            <pc:docMk/>
            <pc:sldMk cId="2531453627" sldId="2147470004"/>
            <ac:spMk id="2" creationId="{D228AAF7-6438-D627-64C4-41D132900A12}"/>
          </ac:spMkLst>
        </pc:spChg>
        <pc:picChg chg="add mod">
          <ac:chgData name="Madan Sudarman" userId="80a28748-ca50-4d0f-a51c-1fb8c54caffe" providerId="ADAL" clId="{707B4B04-0B03-4012-AE5E-6DE221F31D29}" dt="2022-10-15T08:28:20.867" v="974" actId="1076"/>
          <ac:picMkLst>
            <pc:docMk/>
            <pc:sldMk cId="2531453627" sldId="2147470004"/>
            <ac:picMk id="4" creationId="{3273AC56-D69A-4D5E-BECD-B643064B1DA6}"/>
          </ac:picMkLst>
        </pc:picChg>
        <pc:picChg chg="add mod">
          <ac:chgData name="Madan Sudarman" userId="80a28748-ca50-4d0f-a51c-1fb8c54caffe" providerId="ADAL" clId="{707B4B04-0B03-4012-AE5E-6DE221F31D29}" dt="2022-10-15T08:27:17.432" v="973" actId="1076"/>
          <ac:picMkLst>
            <pc:docMk/>
            <pc:sldMk cId="2531453627" sldId="2147470004"/>
            <ac:picMk id="5" creationId="{CA57FD90-5D74-3BEA-8773-ACBD4AAD1EDF}"/>
          </ac:picMkLst>
        </pc:picChg>
        <pc:picChg chg="add del">
          <ac:chgData name="Madan Sudarman" userId="80a28748-ca50-4d0f-a51c-1fb8c54caffe" providerId="ADAL" clId="{707B4B04-0B03-4012-AE5E-6DE221F31D29}" dt="2022-10-15T08:28:31.864" v="976" actId="478"/>
          <ac:picMkLst>
            <pc:docMk/>
            <pc:sldMk cId="2531453627" sldId="2147470004"/>
            <ac:picMk id="7" creationId="{148B5145-AA6A-1AED-F57B-F980B0EED221}"/>
          </ac:picMkLst>
        </pc:picChg>
      </pc:sldChg>
      <pc:sldChg chg="addSp delSp modSp add mod delAnim modAnim">
        <pc:chgData name="Madan Sudarman" userId="80a28748-ca50-4d0f-a51c-1fb8c54caffe" providerId="ADAL" clId="{707B4B04-0B03-4012-AE5E-6DE221F31D29}" dt="2022-10-17T10:59:14.545" v="2690"/>
        <pc:sldMkLst>
          <pc:docMk/>
          <pc:sldMk cId="1797726298" sldId="2147470005"/>
        </pc:sldMkLst>
        <pc:spChg chg="del mod">
          <ac:chgData name="Madan Sudarman" userId="80a28748-ca50-4d0f-a51c-1fb8c54caffe" providerId="ADAL" clId="{707B4B04-0B03-4012-AE5E-6DE221F31D29}" dt="2022-10-17T10:58:28.076" v="2683" actId="478"/>
          <ac:spMkLst>
            <pc:docMk/>
            <pc:sldMk cId="1797726298" sldId="2147470005"/>
            <ac:spMk id="6" creationId="{6AFCAD9B-FB28-50A0-D3BD-3F98CCA042C1}"/>
          </ac:spMkLst>
        </pc:spChg>
        <pc:spChg chg="del mod">
          <ac:chgData name="Madan Sudarman" userId="80a28748-ca50-4d0f-a51c-1fb8c54caffe" providerId="ADAL" clId="{707B4B04-0B03-4012-AE5E-6DE221F31D29}" dt="2022-10-17T10:58:30.044" v="2684" actId="478"/>
          <ac:spMkLst>
            <pc:docMk/>
            <pc:sldMk cId="1797726298" sldId="2147470005"/>
            <ac:spMk id="7" creationId="{811E537A-B8A4-A526-0854-99B54713E520}"/>
          </ac:spMkLst>
        </pc:spChg>
        <pc:picChg chg="add mod">
          <ac:chgData name="Madan Sudarman" userId="80a28748-ca50-4d0f-a51c-1fb8c54caffe" providerId="ADAL" clId="{707B4B04-0B03-4012-AE5E-6DE221F31D29}" dt="2022-10-17T10:58:45.465" v="2686" actId="1076"/>
          <ac:picMkLst>
            <pc:docMk/>
            <pc:sldMk cId="1797726298" sldId="2147470005"/>
            <ac:picMk id="4" creationId="{EC858937-D59F-A681-B14C-22863D5838B0}"/>
          </ac:picMkLst>
        </pc:picChg>
        <pc:picChg chg="add mod">
          <ac:chgData name="Madan Sudarman" userId="80a28748-ca50-4d0f-a51c-1fb8c54caffe" providerId="ADAL" clId="{707B4B04-0B03-4012-AE5E-6DE221F31D29}" dt="2022-10-17T10:58:59.762" v="2688" actId="1076"/>
          <ac:picMkLst>
            <pc:docMk/>
            <pc:sldMk cId="1797726298" sldId="2147470005"/>
            <ac:picMk id="9" creationId="{6A09B6C7-779B-C552-D5B4-1EB13AB5ECBD}"/>
          </ac:picMkLst>
        </pc:picChg>
      </pc:sldChg>
      <pc:sldChg chg="addSp delSp modSp add del mod modAnim">
        <pc:chgData name="Madan Sudarman" userId="80a28748-ca50-4d0f-a51c-1fb8c54caffe" providerId="ADAL" clId="{707B4B04-0B03-4012-AE5E-6DE221F31D29}" dt="2022-10-17T10:29:03.093" v="2599" actId="2696"/>
        <pc:sldMkLst>
          <pc:docMk/>
          <pc:sldMk cId="2497500602" sldId="2147470005"/>
        </pc:sldMkLst>
        <pc:spChg chg="add mod">
          <ac:chgData name="Madan Sudarman" userId="80a28748-ca50-4d0f-a51c-1fb8c54caffe" providerId="ADAL" clId="{707B4B04-0B03-4012-AE5E-6DE221F31D29}" dt="2022-10-15T08:38:20.157" v="989" actId="14100"/>
          <ac:spMkLst>
            <pc:docMk/>
            <pc:sldMk cId="2497500602" sldId="2147470005"/>
            <ac:spMk id="6" creationId="{6AFCAD9B-FB28-50A0-D3BD-3F98CCA042C1}"/>
          </ac:spMkLst>
        </pc:spChg>
        <pc:spChg chg="add mod">
          <ac:chgData name="Madan Sudarman" userId="80a28748-ca50-4d0f-a51c-1fb8c54caffe" providerId="ADAL" clId="{707B4B04-0B03-4012-AE5E-6DE221F31D29}" dt="2022-10-15T08:50:25.969" v="998" actId="1076"/>
          <ac:spMkLst>
            <pc:docMk/>
            <pc:sldMk cId="2497500602" sldId="2147470005"/>
            <ac:spMk id="7" creationId="{811E537A-B8A4-A526-0854-99B54713E520}"/>
          </ac:spMkLst>
        </pc:spChg>
        <pc:picChg chg="add mod">
          <ac:chgData name="Madan Sudarman" userId="80a28748-ca50-4d0f-a51c-1fb8c54caffe" providerId="ADAL" clId="{707B4B04-0B03-4012-AE5E-6DE221F31D29}" dt="2022-10-15T08:28:50.011" v="980" actId="1076"/>
          <ac:picMkLst>
            <pc:docMk/>
            <pc:sldMk cId="2497500602" sldId="2147470005"/>
            <ac:picMk id="3" creationId="{3A6FD7BA-C28F-1E41-74DD-20AF3769AB04}"/>
          </ac:picMkLst>
        </pc:picChg>
        <pc:picChg chg="del">
          <ac:chgData name="Madan Sudarman" userId="80a28748-ca50-4d0f-a51c-1fb8c54caffe" providerId="ADAL" clId="{707B4B04-0B03-4012-AE5E-6DE221F31D29}" dt="2022-10-15T08:28:37.132" v="978" actId="478"/>
          <ac:picMkLst>
            <pc:docMk/>
            <pc:sldMk cId="2497500602" sldId="2147470005"/>
            <ac:picMk id="4" creationId="{3273AC56-D69A-4D5E-BECD-B643064B1DA6}"/>
          </ac:picMkLst>
        </pc:picChg>
      </pc:sldChg>
      <pc:sldChg chg="addSp delSp modSp new del mod modAnim">
        <pc:chgData name="Madan Sudarman" userId="80a28748-ca50-4d0f-a51c-1fb8c54caffe" providerId="ADAL" clId="{707B4B04-0B03-4012-AE5E-6DE221F31D29}" dt="2022-10-17T10:29:03.093" v="2599" actId="2696"/>
        <pc:sldMkLst>
          <pc:docMk/>
          <pc:sldMk cId="1599406933" sldId="2147470006"/>
        </pc:sldMkLst>
        <pc:spChg chg="del">
          <ac:chgData name="Madan Sudarman" userId="80a28748-ca50-4d0f-a51c-1fb8c54caffe" providerId="ADAL" clId="{707B4B04-0B03-4012-AE5E-6DE221F31D29}" dt="2022-10-15T08:53:57.817" v="1000" actId="478"/>
          <ac:spMkLst>
            <pc:docMk/>
            <pc:sldMk cId="1599406933" sldId="2147470006"/>
            <ac:spMk id="2" creationId="{D4F159E9-3E52-5669-F9F6-7BF30C400AEB}"/>
          </ac:spMkLst>
        </pc:spChg>
        <pc:picChg chg="add del mod">
          <ac:chgData name="Madan Sudarman" userId="80a28748-ca50-4d0f-a51c-1fb8c54caffe" providerId="ADAL" clId="{707B4B04-0B03-4012-AE5E-6DE221F31D29}" dt="2022-10-15T08:58:39.219" v="1009" actId="478"/>
          <ac:picMkLst>
            <pc:docMk/>
            <pc:sldMk cId="1599406933" sldId="2147470006"/>
            <ac:picMk id="3" creationId="{27DE2B41-D050-744D-CD38-0F86BA2924E0}"/>
          </ac:picMkLst>
        </pc:picChg>
        <pc:picChg chg="add mod">
          <ac:chgData name="Madan Sudarman" userId="80a28748-ca50-4d0f-a51c-1fb8c54caffe" providerId="ADAL" clId="{707B4B04-0B03-4012-AE5E-6DE221F31D29}" dt="2022-10-15T08:59:01.139" v="1016" actId="1076"/>
          <ac:picMkLst>
            <pc:docMk/>
            <pc:sldMk cId="1599406933" sldId="2147470006"/>
            <ac:picMk id="5" creationId="{20DEB0FD-55FE-4A51-5D5C-04C6D5795483}"/>
          </ac:picMkLst>
        </pc:picChg>
        <pc:picChg chg="add mod">
          <ac:chgData name="Madan Sudarman" userId="80a28748-ca50-4d0f-a51c-1fb8c54caffe" providerId="ADAL" clId="{707B4B04-0B03-4012-AE5E-6DE221F31D29}" dt="2022-10-15T09:00:08.295" v="1032" actId="14100"/>
          <ac:picMkLst>
            <pc:docMk/>
            <pc:sldMk cId="1599406933" sldId="2147470006"/>
            <ac:picMk id="8" creationId="{1CC4BE60-8B6B-2C12-1B14-A676E50163AA}"/>
          </ac:picMkLst>
        </pc:picChg>
        <pc:cxnChg chg="add mod">
          <ac:chgData name="Madan Sudarman" userId="80a28748-ca50-4d0f-a51c-1fb8c54caffe" providerId="ADAL" clId="{707B4B04-0B03-4012-AE5E-6DE221F31D29}" dt="2022-10-15T08:59:20.400" v="1023" actId="1038"/>
          <ac:cxnSpMkLst>
            <pc:docMk/>
            <pc:sldMk cId="1599406933" sldId="2147470006"/>
            <ac:cxnSpMk id="7" creationId="{F4B2F390-A826-2EC7-39A2-84DE0F6F5D90}"/>
          </ac:cxnSpMkLst>
        </pc:cxnChg>
      </pc:sldChg>
      <pc:sldChg chg="add">
        <pc:chgData name="Madan Sudarman" userId="80a28748-ca50-4d0f-a51c-1fb8c54caffe" providerId="ADAL" clId="{707B4B04-0B03-4012-AE5E-6DE221F31D29}" dt="2022-10-17T10:29:58.916" v="2604"/>
        <pc:sldMkLst>
          <pc:docMk/>
          <pc:sldMk cId="2570578825" sldId="2147470006"/>
        </pc:sldMkLst>
      </pc:sldChg>
      <pc:sldChg chg="addSp delSp new del mod">
        <pc:chgData name="Madan Sudarman" userId="80a28748-ca50-4d0f-a51c-1fb8c54caffe" providerId="ADAL" clId="{707B4B04-0B03-4012-AE5E-6DE221F31D29}" dt="2022-10-17T09:59:09.933" v="2395" actId="47"/>
        <pc:sldMkLst>
          <pc:docMk/>
          <pc:sldMk cId="3405337554" sldId="2147470007"/>
        </pc:sldMkLst>
        <pc:spChg chg="del">
          <ac:chgData name="Madan Sudarman" userId="80a28748-ca50-4d0f-a51c-1fb8c54caffe" providerId="ADAL" clId="{707B4B04-0B03-4012-AE5E-6DE221F31D29}" dt="2022-10-15T09:18:43.357" v="1034" actId="478"/>
          <ac:spMkLst>
            <pc:docMk/>
            <pc:sldMk cId="3405337554" sldId="2147470007"/>
            <ac:spMk id="2" creationId="{E49C1A21-4838-7803-2D10-5A17971DD366}"/>
          </ac:spMkLst>
        </pc:spChg>
        <pc:spChg chg="del">
          <ac:chgData name="Madan Sudarman" userId="80a28748-ca50-4d0f-a51c-1fb8c54caffe" providerId="ADAL" clId="{707B4B04-0B03-4012-AE5E-6DE221F31D29}" dt="2022-10-15T09:18:43.357" v="1034" actId="478"/>
          <ac:spMkLst>
            <pc:docMk/>
            <pc:sldMk cId="3405337554" sldId="2147470007"/>
            <ac:spMk id="3" creationId="{E7EB392E-B397-717C-9B76-A9605C0CB98B}"/>
          </ac:spMkLst>
        </pc:spChg>
        <pc:picChg chg="add">
          <ac:chgData name="Madan Sudarman" userId="80a28748-ca50-4d0f-a51c-1fb8c54caffe" providerId="ADAL" clId="{707B4B04-0B03-4012-AE5E-6DE221F31D29}" dt="2022-10-15T09:18:45.049" v="1035"/>
          <ac:picMkLst>
            <pc:docMk/>
            <pc:sldMk cId="3405337554" sldId="2147470007"/>
            <ac:picMk id="4" creationId="{1FF29A26-0BBE-E37A-7880-F01C946BD258}"/>
          </ac:picMkLst>
        </pc:picChg>
      </pc:sldChg>
      <pc:sldChg chg="addSp modSp new mod ord modClrScheme chgLayout">
        <pc:chgData name="Madan Sudarman" userId="80a28748-ca50-4d0f-a51c-1fb8c54caffe" providerId="ADAL" clId="{707B4B04-0B03-4012-AE5E-6DE221F31D29}" dt="2022-10-15T10:24:24.758" v="1046"/>
        <pc:sldMkLst>
          <pc:docMk/>
          <pc:sldMk cId="287813137" sldId="2147470008"/>
        </pc:sldMkLst>
        <pc:picChg chg="add mod">
          <ac:chgData name="Madan Sudarman" userId="80a28748-ca50-4d0f-a51c-1fb8c54caffe" providerId="ADAL" clId="{707B4B04-0B03-4012-AE5E-6DE221F31D29}" dt="2022-10-15T09:45:50.137" v="1042" actId="962"/>
          <ac:picMkLst>
            <pc:docMk/>
            <pc:sldMk cId="287813137" sldId="2147470008"/>
            <ac:picMk id="2" creationId="{2C0A2D3A-F51A-6227-0061-937A4AB597EC}"/>
          </ac:picMkLst>
        </pc:picChg>
      </pc:sldChg>
      <pc:sldChg chg="new del">
        <pc:chgData name="Madan Sudarman" userId="80a28748-ca50-4d0f-a51c-1fb8c54caffe" providerId="ADAL" clId="{707B4B04-0B03-4012-AE5E-6DE221F31D29}" dt="2022-10-15T09:45:34.805" v="1037" actId="47"/>
        <pc:sldMkLst>
          <pc:docMk/>
          <pc:sldMk cId="1437352342" sldId="2147470008"/>
        </pc:sldMkLst>
      </pc:sldChg>
      <pc:sldChg chg="addSp delSp modSp new mod modClrScheme modAnim chgLayout">
        <pc:chgData name="Madan Sudarman" userId="80a28748-ca50-4d0f-a51c-1fb8c54caffe" providerId="ADAL" clId="{707B4B04-0B03-4012-AE5E-6DE221F31D29}" dt="2022-10-18T05:28:57.519" v="2920" actId="207"/>
        <pc:sldMkLst>
          <pc:docMk/>
          <pc:sldMk cId="1381774284" sldId="2147470009"/>
        </pc:sldMkLst>
        <pc:spChg chg="add mod">
          <ac:chgData name="Madan Sudarman" userId="80a28748-ca50-4d0f-a51c-1fb8c54caffe" providerId="ADAL" clId="{707B4B04-0B03-4012-AE5E-6DE221F31D29}" dt="2022-10-15T10:31:56.393" v="1104" actId="207"/>
          <ac:spMkLst>
            <pc:docMk/>
            <pc:sldMk cId="1381774284" sldId="2147470009"/>
            <ac:spMk id="4" creationId="{14155044-E51E-4671-BCAB-38ACA72F00F1}"/>
          </ac:spMkLst>
        </pc:spChg>
        <pc:spChg chg="add mod">
          <ac:chgData name="Madan Sudarman" userId="80a28748-ca50-4d0f-a51c-1fb8c54caffe" providerId="ADAL" clId="{707B4B04-0B03-4012-AE5E-6DE221F31D29}" dt="2022-10-17T05:30:38.544" v="1410" actId="164"/>
          <ac:spMkLst>
            <pc:docMk/>
            <pc:sldMk cId="1381774284" sldId="2147470009"/>
            <ac:spMk id="5" creationId="{67AAA554-D9BF-6492-5551-40B315D97888}"/>
          </ac:spMkLst>
        </pc:spChg>
        <pc:spChg chg="add mod">
          <ac:chgData name="Madan Sudarman" userId="80a28748-ca50-4d0f-a51c-1fb8c54caffe" providerId="ADAL" clId="{707B4B04-0B03-4012-AE5E-6DE221F31D29}" dt="2022-10-17T05:30:38.544" v="1410" actId="164"/>
          <ac:spMkLst>
            <pc:docMk/>
            <pc:sldMk cId="1381774284" sldId="2147470009"/>
            <ac:spMk id="6" creationId="{19050F29-DCFA-210A-B4E7-480D8E377D82}"/>
          </ac:spMkLst>
        </pc:spChg>
        <pc:spChg chg="add del mod">
          <ac:chgData name="Madan Sudarman" userId="80a28748-ca50-4d0f-a51c-1fb8c54caffe" providerId="ADAL" clId="{707B4B04-0B03-4012-AE5E-6DE221F31D29}" dt="2022-10-17T05:29:12.022" v="1343" actId="478"/>
          <ac:spMkLst>
            <pc:docMk/>
            <pc:sldMk cId="1381774284" sldId="2147470009"/>
            <ac:spMk id="7" creationId="{B4C82840-406A-DED7-E051-19BF6F5E9512}"/>
          </ac:spMkLst>
        </pc:spChg>
        <pc:spChg chg="add mod">
          <ac:chgData name="Madan Sudarman" userId="80a28748-ca50-4d0f-a51c-1fb8c54caffe" providerId="ADAL" clId="{707B4B04-0B03-4012-AE5E-6DE221F31D29}" dt="2022-10-18T05:28:57.519" v="2920" actId="207"/>
          <ac:spMkLst>
            <pc:docMk/>
            <pc:sldMk cId="1381774284" sldId="2147470009"/>
            <ac:spMk id="8" creationId="{DF5A336D-54F7-CE0B-367B-D30A7D236DF3}"/>
          </ac:spMkLst>
        </pc:spChg>
        <pc:grpChg chg="add mod">
          <ac:chgData name="Madan Sudarman" userId="80a28748-ca50-4d0f-a51c-1fb8c54caffe" providerId="ADAL" clId="{707B4B04-0B03-4012-AE5E-6DE221F31D29}" dt="2022-10-17T05:30:38.544" v="1410" actId="164"/>
          <ac:grpSpMkLst>
            <pc:docMk/>
            <pc:sldMk cId="1381774284" sldId="2147470009"/>
            <ac:grpSpMk id="9" creationId="{66512399-C969-E6DF-7F53-A1DD92D74528}"/>
          </ac:grpSpMkLst>
        </pc:grpChg>
        <pc:picChg chg="add mod">
          <ac:chgData name="Madan Sudarman" userId="80a28748-ca50-4d0f-a51c-1fb8c54caffe" providerId="ADAL" clId="{707B4B04-0B03-4012-AE5E-6DE221F31D29}" dt="2022-10-15T10:27:58.972" v="1051" actId="26606"/>
          <ac:picMkLst>
            <pc:docMk/>
            <pc:sldMk cId="1381774284" sldId="2147470009"/>
            <ac:picMk id="2" creationId="{EB2D49FE-CD91-5500-74A6-F12AAC73A6B2}"/>
          </ac:picMkLst>
        </pc:picChg>
        <pc:picChg chg="add mod">
          <ac:chgData name="Madan Sudarman" userId="80a28748-ca50-4d0f-a51c-1fb8c54caffe" providerId="ADAL" clId="{707B4B04-0B03-4012-AE5E-6DE221F31D29}" dt="2022-10-15T10:29:56.459" v="1064" actId="1038"/>
          <ac:picMkLst>
            <pc:docMk/>
            <pc:sldMk cId="1381774284" sldId="2147470009"/>
            <ac:picMk id="3" creationId="{F6F0491D-3EBF-CA13-B087-9D43ED11D394}"/>
          </ac:picMkLst>
        </pc:picChg>
      </pc:sldChg>
      <pc:sldChg chg="new del">
        <pc:chgData name="Madan Sudarman" userId="80a28748-ca50-4d0f-a51c-1fb8c54caffe" providerId="ADAL" clId="{707B4B04-0B03-4012-AE5E-6DE221F31D29}" dt="2022-10-15T10:27:47.645" v="1048" actId="47"/>
        <pc:sldMkLst>
          <pc:docMk/>
          <pc:sldMk cId="2276258312" sldId="2147470009"/>
        </pc:sldMkLst>
      </pc:sldChg>
      <pc:sldChg chg="addSp delSp modSp new mod modClrScheme modAnim chgLayout">
        <pc:chgData name="Madan Sudarman" userId="80a28748-ca50-4d0f-a51c-1fb8c54caffe" providerId="ADAL" clId="{707B4B04-0B03-4012-AE5E-6DE221F31D29}" dt="2022-10-19T07:28:18.902" v="3264" actId="113"/>
        <pc:sldMkLst>
          <pc:docMk/>
          <pc:sldMk cId="721137918" sldId="2147470010"/>
        </pc:sldMkLst>
        <pc:spChg chg="add mod">
          <ac:chgData name="Madan Sudarman" userId="80a28748-ca50-4d0f-a51c-1fb8c54caffe" providerId="ADAL" clId="{707B4B04-0B03-4012-AE5E-6DE221F31D29}" dt="2022-10-19T07:22:07.142" v="3179" actId="122"/>
          <ac:spMkLst>
            <pc:docMk/>
            <pc:sldMk cId="721137918" sldId="2147470010"/>
            <ac:spMk id="3" creationId="{232116C2-6665-0722-2ACB-7874E947F2CA}"/>
          </ac:spMkLst>
        </pc:spChg>
        <pc:spChg chg="add del">
          <ac:chgData name="Madan Sudarman" userId="80a28748-ca50-4d0f-a51c-1fb8c54caffe" providerId="ADAL" clId="{707B4B04-0B03-4012-AE5E-6DE221F31D29}" dt="2022-10-19T07:20:33.421" v="3170" actId="478"/>
          <ac:spMkLst>
            <pc:docMk/>
            <pc:sldMk cId="721137918" sldId="2147470010"/>
            <ac:spMk id="5" creationId="{669340C3-FF5D-0C6A-174C-4282DE9070FB}"/>
          </ac:spMkLst>
        </pc:spChg>
        <pc:spChg chg="add del mod ord">
          <ac:chgData name="Madan Sudarman" userId="80a28748-ca50-4d0f-a51c-1fb8c54caffe" providerId="ADAL" clId="{707B4B04-0B03-4012-AE5E-6DE221F31D29}" dt="2022-10-19T07:22:43.259" v="3189" actId="700"/>
          <ac:spMkLst>
            <pc:docMk/>
            <pc:sldMk cId="721137918" sldId="2147470010"/>
            <ac:spMk id="6" creationId="{E5250CBC-EDDB-62AC-9833-48FBE0A91FCD}"/>
          </ac:spMkLst>
        </pc:spChg>
        <pc:spChg chg="add del mod ord">
          <ac:chgData name="Madan Sudarman" userId="80a28748-ca50-4d0f-a51c-1fb8c54caffe" providerId="ADAL" clId="{707B4B04-0B03-4012-AE5E-6DE221F31D29}" dt="2022-10-19T07:22:43.259" v="3189" actId="700"/>
          <ac:spMkLst>
            <pc:docMk/>
            <pc:sldMk cId="721137918" sldId="2147470010"/>
            <ac:spMk id="7" creationId="{C5C1C6F9-AB00-A1FB-4931-815C466F8651}"/>
          </ac:spMkLst>
        </pc:spChg>
        <pc:spChg chg="add del">
          <ac:chgData name="Madan Sudarman" userId="80a28748-ca50-4d0f-a51c-1fb8c54caffe" providerId="ADAL" clId="{707B4B04-0B03-4012-AE5E-6DE221F31D29}" dt="2022-10-19T07:22:42.457" v="3187" actId="22"/>
          <ac:spMkLst>
            <pc:docMk/>
            <pc:sldMk cId="721137918" sldId="2147470010"/>
            <ac:spMk id="9" creationId="{D53F9F73-4720-4653-79C1-00EC589A7973}"/>
          </ac:spMkLst>
        </pc:spChg>
        <pc:spChg chg="add mod">
          <ac:chgData name="Madan Sudarman" userId="80a28748-ca50-4d0f-a51c-1fb8c54caffe" providerId="ADAL" clId="{707B4B04-0B03-4012-AE5E-6DE221F31D29}" dt="2022-10-19T07:28:03.210" v="3260" actId="164"/>
          <ac:spMkLst>
            <pc:docMk/>
            <pc:sldMk cId="721137918" sldId="2147470010"/>
            <ac:spMk id="14" creationId="{E2DAC74B-6601-45FC-2361-BFD420686985}"/>
          </ac:spMkLst>
        </pc:spChg>
        <pc:spChg chg="add mod">
          <ac:chgData name="Madan Sudarman" userId="80a28748-ca50-4d0f-a51c-1fb8c54caffe" providerId="ADAL" clId="{707B4B04-0B03-4012-AE5E-6DE221F31D29}" dt="2022-10-19T07:28:18.902" v="3264" actId="113"/>
          <ac:spMkLst>
            <pc:docMk/>
            <pc:sldMk cId="721137918" sldId="2147470010"/>
            <ac:spMk id="16" creationId="{16E02D7C-3236-2B40-5986-004BC5E4F1B7}"/>
          </ac:spMkLst>
        </pc:spChg>
        <pc:grpChg chg="add mod">
          <ac:chgData name="Madan Sudarman" userId="80a28748-ca50-4d0f-a51c-1fb8c54caffe" providerId="ADAL" clId="{707B4B04-0B03-4012-AE5E-6DE221F31D29}" dt="2022-10-19T07:27:55.379" v="3258" actId="164"/>
          <ac:grpSpMkLst>
            <pc:docMk/>
            <pc:sldMk cId="721137918" sldId="2147470010"/>
            <ac:grpSpMk id="19" creationId="{B6615942-BB08-ED8D-9F5C-63D2F9B1B864}"/>
          </ac:grpSpMkLst>
        </pc:grpChg>
        <pc:grpChg chg="add mod">
          <ac:chgData name="Madan Sudarman" userId="80a28748-ca50-4d0f-a51c-1fb8c54caffe" providerId="ADAL" clId="{707B4B04-0B03-4012-AE5E-6DE221F31D29}" dt="2022-10-19T07:28:03.210" v="3260" actId="164"/>
          <ac:grpSpMkLst>
            <pc:docMk/>
            <pc:sldMk cId="721137918" sldId="2147470010"/>
            <ac:grpSpMk id="20" creationId="{D76BFB02-E1CA-BD50-E40B-695AA56E9125}"/>
          </ac:grpSpMkLst>
        </pc:grpChg>
        <pc:picChg chg="add mod">
          <ac:chgData name="Madan Sudarman" userId="80a28748-ca50-4d0f-a51c-1fb8c54caffe" providerId="ADAL" clId="{707B4B04-0B03-4012-AE5E-6DE221F31D29}" dt="2022-10-19T07:22:40.238" v="3183" actId="14100"/>
          <ac:picMkLst>
            <pc:docMk/>
            <pc:sldMk cId="721137918" sldId="2147470010"/>
            <ac:picMk id="2" creationId="{341F1C1E-FD21-91ED-3295-9EB1F653329E}"/>
          </ac:picMkLst>
        </pc:picChg>
        <pc:picChg chg="add del mod">
          <ac:chgData name="Madan Sudarman" userId="80a28748-ca50-4d0f-a51c-1fb8c54caffe" providerId="ADAL" clId="{707B4B04-0B03-4012-AE5E-6DE221F31D29}" dt="2022-10-19T07:22:41.348" v="3185" actId="22"/>
          <ac:picMkLst>
            <pc:docMk/>
            <pc:sldMk cId="721137918" sldId="2147470010"/>
            <ac:picMk id="11" creationId="{BC5B7FBD-E998-C65E-390F-83072109A53C}"/>
          </ac:picMkLst>
        </pc:picChg>
        <pc:picChg chg="add mod">
          <ac:chgData name="Madan Sudarman" userId="80a28748-ca50-4d0f-a51c-1fb8c54caffe" providerId="ADAL" clId="{707B4B04-0B03-4012-AE5E-6DE221F31D29}" dt="2022-10-19T07:28:03.210" v="3260" actId="164"/>
          <ac:picMkLst>
            <pc:docMk/>
            <pc:sldMk cId="721137918" sldId="2147470010"/>
            <ac:picMk id="13" creationId="{AE21ABAB-02C5-2C50-8145-330B11869522}"/>
          </ac:picMkLst>
        </pc:picChg>
        <pc:picChg chg="add mod">
          <ac:chgData name="Madan Sudarman" userId="80a28748-ca50-4d0f-a51c-1fb8c54caffe" providerId="ADAL" clId="{707B4B04-0B03-4012-AE5E-6DE221F31D29}" dt="2022-10-19T07:27:55.379" v="3258" actId="164"/>
          <ac:picMkLst>
            <pc:docMk/>
            <pc:sldMk cId="721137918" sldId="2147470010"/>
            <ac:picMk id="18" creationId="{09EB73A7-BF46-6964-DA86-9CC4D931D7F8}"/>
          </ac:picMkLst>
        </pc:picChg>
      </pc:sldChg>
      <pc:sldChg chg="new del">
        <pc:chgData name="Madan Sudarman" userId="80a28748-ca50-4d0f-a51c-1fb8c54caffe" providerId="ADAL" clId="{707B4B04-0B03-4012-AE5E-6DE221F31D29}" dt="2022-10-15T10:33:17.066" v="1115" actId="47"/>
        <pc:sldMkLst>
          <pc:docMk/>
          <pc:sldMk cId="771558385" sldId="2147470010"/>
        </pc:sldMkLst>
      </pc:sldChg>
      <pc:sldChg chg="addSp delSp modSp add mod">
        <pc:chgData name="Madan Sudarman" userId="80a28748-ca50-4d0f-a51c-1fb8c54caffe" providerId="ADAL" clId="{707B4B04-0B03-4012-AE5E-6DE221F31D29}" dt="2022-10-18T04:56:33.115" v="2816" actId="20577"/>
        <pc:sldMkLst>
          <pc:docMk/>
          <pc:sldMk cId="2435139140" sldId="2147470011"/>
        </pc:sldMkLst>
        <pc:spChg chg="add mod">
          <ac:chgData name="Madan Sudarman" userId="80a28748-ca50-4d0f-a51c-1fb8c54caffe" providerId="ADAL" clId="{707B4B04-0B03-4012-AE5E-6DE221F31D29}" dt="2022-10-18T04:56:33.115" v="2816" actId="20577"/>
          <ac:spMkLst>
            <pc:docMk/>
            <pc:sldMk cId="2435139140" sldId="2147470011"/>
            <ac:spMk id="2" creationId="{FA46CD92-9480-6E17-405A-A97563CB6509}"/>
          </ac:spMkLst>
        </pc:spChg>
        <pc:spChg chg="mod topLvl">
          <ac:chgData name="Madan Sudarman" userId="80a28748-ca50-4d0f-a51c-1fb8c54caffe" providerId="ADAL" clId="{707B4B04-0B03-4012-AE5E-6DE221F31D29}" dt="2022-10-17T07:39:56.269" v="1698" actId="403"/>
          <ac:spMkLst>
            <pc:docMk/>
            <pc:sldMk cId="2435139140" sldId="2147470011"/>
            <ac:spMk id="15" creationId="{00000000-0000-0000-0000-000000000000}"/>
          </ac:spMkLst>
        </pc:spChg>
        <pc:spChg chg="del topLvl">
          <ac:chgData name="Madan Sudarman" userId="80a28748-ca50-4d0f-a51c-1fb8c54caffe" providerId="ADAL" clId="{707B4B04-0B03-4012-AE5E-6DE221F31D29}" dt="2022-10-15T11:12:15.448" v="1137" actId="478"/>
          <ac:spMkLst>
            <pc:docMk/>
            <pc:sldMk cId="2435139140" sldId="2147470011"/>
            <ac:spMk id="16" creationId="{00000000-0000-0000-0000-000000000000}"/>
          </ac:spMkLst>
        </pc:spChg>
        <pc:spChg chg="del">
          <ac:chgData name="Madan Sudarman" userId="80a28748-ca50-4d0f-a51c-1fb8c54caffe" providerId="ADAL" clId="{707B4B04-0B03-4012-AE5E-6DE221F31D29}" dt="2022-10-15T11:12:09.203" v="1135" actId="478"/>
          <ac:spMkLst>
            <pc:docMk/>
            <pc:sldMk cId="2435139140" sldId="2147470011"/>
            <ac:spMk id="17" creationId="{00000000-0000-0000-0000-000000000000}"/>
          </ac:spMkLst>
        </pc:spChg>
        <pc:spChg chg="del">
          <ac:chgData name="Madan Sudarman" userId="80a28748-ca50-4d0f-a51c-1fb8c54caffe" providerId="ADAL" clId="{707B4B04-0B03-4012-AE5E-6DE221F31D29}" dt="2022-10-15T11:12:12.246" v="1136" actId="478"/>
          <ac:spMkLst>
            <pc:docMk/>
            <pc:sldMk cId="2435139140" sldId="2147470011"/>
            <ac:spMk id="18" creationId="{00000000-0000-0000-0000-000000000000}"/>
          </ac:spMkLst>
        </pc:spChg>
        <pc:spChg chg="mod">
          <ac:chgData name="Madan Sudarman" userId="80a28748-ca50-4d0f-a51c-1fb8c54caffe" providerId="ADAL" clId="{707B4B04-0B03-4012-AE5E-6DE221F31D29}" dt="2022-10-17T07:40:08.396" v="1703" actId="1076"/>
          <ac:spMkLst>
            <pc:docMk/>
            <pc:sldMk cId="2435139140" sldId="2147470011"/>
            <ac:spMk id="19" creationId="{00000000-0000-0000-0000-000000000000}"/>
          </ac:spMkLst>
        </pc:spChg>
        <pc:grpChg chg="del">
          <ac:chgData name="Madan Sudarman" userId="80a28748-ca50-4d0f-a51c-1fb8c54caffe" providerId="ADAL" clId="{707B4B04-0B03-4012-AE5E-6DE221F31D29}" dt="2022-10-15T11:12:15.448" v="1137" actId="478"/>
          <ac:grpSpMkLst>
            <pc:docMk/>
            <pc:sldMk cId="2435139140" sldId="2147470011"/>
            <ac:grpSpMk id="5" creationId="{00000000-0000-0000-0000-000000000000}"/>
          </ac:grpSpMkLst>
        </pc:grpChg>
      </pc:sldChg>
      <pc:sldChg chg="addSp modSp add del mod modAnim">
        <pc:chgData name="Madan Sudarman" userId="80a28748-ca50-4d0f-a51c-1fb8c54caffe" providerId="ADAL" clId="{707B4B04-0B03-4012-AE5E-6DE221F31D29}" dt="2022-10-17T09:58:36.757" v="2393" actId="2696"/>
        <pc:sldMkLst>
          <pc:docMk/>
          <pc:sldMk cId="392129294" sldId="2147470012"/>
        </pc:sldMkLst>
        <pc:spChg chg="add mod">
          <ac:chgData name="Madan Sudarman" userId="80a28748-ca50-4d0f-a51c-1fb8c54caffe" providerId="ADAL" clId="{707B4B04-0B03-4012-AE5E-6DE221F31D29}" dt="2022-10-15T11:43:36.061" v="1224" actId="207"/>
          <ac:spMkLst>
            <pc:docMk/>
            <pc:sldMk cId="392129294" sldId="2147470012"/>
            <ac:spMk id="6" creationId="{466D8456-3C4E-C4C9-E5CE-908E6A27F9A8}"/>
          </ac:spMkLst>
        </pc:spChg>
        <pc:picChg chg="add mod ord">
          <ac:chgData name="Madan Sudarman" userId="80a28748-ca50-4d0f-a51c-1fb8c54caffe" providerId="ADAL" clId="{707B4B04-0B03-4012-AE5E-6DE221F31D29}" dt="2022-10-15T11:43:59.961" v="1227" actId="166"/>
          <ac:picMkLst>
            <pc:docMk/>
            <pc:sldMk cId="392129294" sldId="2147470012"/>
            <ac:picMk id="4" creationId="{C2B89654-6ECA-5619-9288-89FE5AD13C95}"/>
          </ac:picMkLst>
        </pc:picChg>
        <pc:picChg chg="mod">
          <ac:chgData name="Madan Sudarman" userId="80a28748-ca50-4d0f-a51c-1fb8c54caffe" providerId="ADAL" clId="{707B4B04-0B03-4012-AE5E-6DE221F31D29}" dt="2022-10-15T11:40:50.183" v="1213" actId="1076"/>
          <ac:picMkLst>
            <pc:docMk/>
            <pc:sldMk cId="392129294" sldId="2147470012"/>
            <ac:picMk id="5" creationId="{57707C7C-7567-03A0-019E-0350F714D02E}"/>
          </ac:picMkLst>
        </pc:picChg>
      </pc:sldChg>
      <pc:sldChg chg="modSp add mod">
        <pc:chgData name="Madan Sudarman" userId="80a28748-ca50-4d0f-a51c-1fb8c54caffe" providerId="ADAL" clId="{707B4B04-0B03-4012-AE5E-6DE221F31D29}" dt="2022-10-19T16:43:30.496" v="3389" actId="1076"/>
        <pc:sldMkLst>
          <pc:docMk/>
          <pc:sldMk cId="1542596147" sldId="2147470012"/>
        </pc:sldMkLst>
        <pc:spChg chg="mod">
          <ac:chgData name="Madan Sudarman" userId="80a28748-ca50-4d0f-a51c-1fb8c54caffe" providerId="ADAL" clId="{707B4B04-0B03-4012-AE5E-6DE221F31D29}" dt="2022-10-19T16:43:30.496" v="3389" actId="1076"/>
          <ac:spMkLst>
            <pc:docMk/>
            <pc:sldMk cId="1542596147" sldId="2147470012"/>
            <ac:spMk id="6" creationId="{466D8456-3C4E-C4C9-E5CE-908E6A27F9A8}"/>
          </ac:spMkLst>
        </pc:spChg>
        <pc:picChg chg="mod">
          <ac:chgData name="Madan Sudarman" userId="80a28748-ca50-4d0f-a51c-1fb8c54caffe" providerId="ADAL" clId="{707B4B04-0B03-4012-AE5E-6DE221F31D29}" dt="2022-10-19T16:43:30.496" v="3389" actId="1076"/>
          <ac:picMkLst>
            <pc:docMk/>
            <pc:sldMk cId="1542596147" sldId="2147470012"/>
            <ac:picMk id="4" creationId="{C2B89654-6ECA-5619-9288-89FE5AD13C95}"/>
          </ac:picMkLst>
        </pc:picChg>
        <pc:picChg chg="mod">
          <ac:chgData name="Madan Sudarman" userId="80a28748-ca50-4d0f-a51c-1fb8c54caffe" providerId="ADAL" clId="{707B4B04-0B03-4012-AE5E-6DE221F31D29}" dt="2022-10-19T16:43:30.496" v="3389" actId="1076"/>
          <ac:picMkLst>
            <pc:docMk/>
            <pc:sldMk cId="1542596147" sldId="2147470012"/>
            <ac:picMk id="5" creationId="{57707C7C-7567-03A0-019E-0350F714D02E}"/>
          </ac:picMkLst>
        </pc:picChg>
      </pc:sldChg>
      <pc:sldChg chg="new del">
        <pc:chgData name="Madan Sudarman" userId="80a28748-ca50-4d0f-a51c-1fb8c54caffe" providerId="ADAL" clId="{707B4B04-0B03-4012-AE5E-6DE221F31D29}" dt="2022-10-15T11:16:50.510" v="1139" actId="47"/>
        <pc:sldMkLst>
          <pc:docMk/>
          <pc:sldMk cId="1709120902" sldId="2147470012"/>
        </pc:sldMkLst>
      </pc:sldChg>
      <pc:sldChg chg="addSp delSp modSp new mod ord delAnim modAnim">
        <pc:chgData name="Madan Sudarman" userId="80a28748-ca50-4d0f-a51c-1fb8c54caffe" providerId="ADAL" clId="{707B4B04-0B03-4012-AE5E-6DE221F31D29}" dt="2022-10-19T16:43:48.364" v="3392" actId="1076"/>
        <pc:sldMkLst>
          <pc:docMk/>
          <pc:sldMk cId="3940397568" sldId="2147470013"/>
        </pc:sldMkLst>
        <pc:spChg chg="add mod">
          <ac:chgData name="Madan Sudarman" userId="80a28748-ca50-4d0f-a51c-1fb8c54caffe" providerId="ADAL" clId="{707B4B04-0B03-4012-AE5E-6DE221F31D29}" dt="2022-10-18T05:29:37.291" v="2921" actId="1076"/>
          <ac:spMkLst>
            <pc:docMk/>
            <pc:sldMk cId="3940397568" sldId="2147470013"/>
            <ac:spMk id="6" creationId="{7E09C4BE-3BBA-2D0D-0505-3871206EF914}"/>
          </ac:spMkLst>
        </pc:spChg>
        <pc:picChg chg="add del mod">
          <ac:chgData name="Madan Sudarman" userId="80a28748-ca50-4d0f-a51c-1fb8c54caffe" providerId="ADAL" clId="{707B4B04-0B03-4012-AE5E-6DE221F31D29}" dt="2022-10-15T11:27:40.606" v="1205" actId="478"/>
          <ac:picMkLst>
            <pc:docMk/>
            <pc:sldMk cId="3940397568" sldId="2147470013"/>
            <ac:picMk id="2" creationId="{6721E1B0-CA96-28B4-D3E6-1F1D66FEC42C}"/>
          </ac:picMkLst>
        </pc:picChg>
        <pc:picChg chg="add del mod">
          <ac:chgData name="Madan Sudarman" userId="80a28748-ca50-4d0f-a51c-1fb8c54caffe" providerId="ADAL" clId="{707B4B04-0B03-4012-AE5E-6DE221F31D29}" dt="2022-10-15T11:30:48.497" v="1207" actId="478"/>
          <ac:picMkLst>
            <pc:docMk/>
            <pc:sldMk cId="3940397568" sldId="2147470013"/>
            <ac:picMk id="3" creationId="{013D5254-A15A-0477-D859-B5395F662A6D}"/>
          </ac:picMkLst>
        </pc:picChg>
        <pc:picChg chg="add mod">
          <ac:chgData name="Madan Sudarman" userId="80a28748-ca50-4d0f-a51c-1fb8c54caffe" providerId="ADAL" clId="{707B4B04-0B03-4012-AE5E-6DE221F31D29}" dt="2022-10-19T16:43:48.364" v="3392" actId="1076"/>
          <ac:picMkLst>
            <pc:docMk/>
            <pc:sldMk cId="3940397568" sldId="2147470013"/>
            <ac:picMk id="4" creationId="{E49FCBFB-1BFD-B15E-49B2-E6F2D1AF8287}"/>
          </ac:picMkLst>
        </pc:picChg>
        <pc:picChg chg="add mod">
          <ac:chgData name="Madan Sudarman" userId="80a28748-ca50-4d0f-a51c-1fb8c54caffe" providerId="ADAL" clId="{707B4B04-0B03-4012-AE5E-6DE221F31D29}" dt="2022-10-19T16:43:38.861" v="3390" actId="1076"/>
          <ac:picMkLst>
            <pc:docMk/>
            <pc:sldMk cId="3940397568" sldId="2147470013"/>
            <ac:picMk id="5" creationId="{B56F7CE2-2ADB-76E7-A6FD-B56382DF9AC9}"/>
          </ac:picMkLst>
        </pc:picChg>
        <pc:picChg chg="add del mod modCrop">
          <ac:chgData name="Madan Sudarman" userId="80a28748-ca50-4d0f-a51c-1fb8c54caffe" providerId="ADAL" clId="{707B4B04-0B03-4012-AE5E-6DE221F31D29}" dt="2022-10-17T06:01:49.377" v="1616" actId="478"/>
          <ac:picMkLst>
            <pc:docMk/>
            <pc:sldMk cId="3940397568" sldId="2147470013"/>
            <ac:picMk id="7" creationId="{79CADF9F-383D-AB70-5D18-0422BEA5F723}"/>
          </ac:picMkLst>
        </pc:picChg>
        <pc:picChg chg="add del mod">
          <ac:chgData name="Madan Sudarman" userId="80a28748-ca50-4d0f-a51c-1fb8c54caffe" providerId="ADAL" clId="{707B4B04-0B03-4012-AE5E-6DE221F31D29}" dt="2022-10-17T06:01:27.657" v="1611" actId="478"/>
          <ac:picMkLst>
            <pc:docMk/>
            <pc:sldMk cId="3940397568" sldId="2147470013"/>
            <ac:picMk id="8" creationId="{F51BBEF2-04E6-DD59-D683-BD8FE7046921}"/>
          </ac:picMkLst>
        </pc:picChg>
        <pc:picChg chg="add mod modCrop">
          <ac:chgData name="Madan Sudarman" userId="80a28748-ca50-4d0f-a51c-1fb8c54caffe" providerId="ADAL" clId="{707B4B04-0B03-4012-AE5E-6DE221F31D29}" dt="2022-10-17T10:25:35.714" v="2594" actId="1076"/>
          <ac:picMkLst>
            <pc:docMk/>
            <pc:sldMk cId="3940397568" sldId="2147470013"/>
            <ac:picMk id="9" creationId="{99B33DA9-05B2-2C23-C60A-C0890E98D528}"/>
          </ac:picMkLst>
        </pc:picChg>
        <pc:picChg chg="add mod">
          <ac:chgData name="Madan Sudarman" userId="80a28748-ca50-4d0f-a51c-1fb8c54caffe" providerId="ADAL" clId="{707B4B04-0B03-4012-AE5E-6DE221F31D29}" dt="2022-10-17T09:05:58.807" v="1867" actId="1076"/>
          <ac:picMkLst>
            <pc:docMk/>
            <pc:sldMk cId="3940397568" sldId="2147470013"/>
            <ac:picMk id="10" creationId="{D7DB5CFD-4D78-CD3E-C3E3-026872249893}"/>
          </ac:picMkLst>
        </pc:picChg>
        <pc:picChg chg="add mod">
          <ac:chgData name="Madan Sudarman" userId="80a28748-ca50-4d0f-a51c-1fb8c54caffe" providerId="ADAL" clId="{707B4B04-0B03-4012-AE5E-6DE221F31D29}" dt="2022-10-19T16:43:42.953" v="3391" actId="1076"/>
          <ac:picMkLst>
            <pc:docMk/>
            <pc:sldMk cId="3940397568" sldId="2147470013"/>
            <ac:picMk id="2050" creationId="{65335A3A-6688-A968-9410-13EDF2AF7249}"/>
          </ac:picMkLst>
        </pc:picChg>
      </pc:sldChg>
      <pc:sldChg chg="addSp delSp modSp new mod">
        <pc:chgData name="Madan Sudarman" userId="80a28748-ca50-4d0f-a51c-1fb8c54caffe" providerId="ADAL" clId="{707B4B04-0B03-4012-AE5E-6DE221F31D29}" dt="2022-10-17T09:54:30.370" v="2363" actId="1076"/>
        <pc:sldMkLst>
          <pc:docMk/>
          <pc:sldMk cId="1473490057" sldId="2147470014"/>
        </pc:sldMkLst>
        <pc:spChg chg="del">
          <ac:chgData name="Madan Sudarman" userId="80a28748-ca50-4d0f-a51c-1fb8c54caffe" providerId="ADAL" clId="{707B4B04-0B03-4012-AE5E-6DE221F31D29}" dt="2022-10-15T11:48:37.519" v="1238" actId="478"/>
          <ac:spMkLst>
            <pc:docMk/>
            <pc:sldMk cId="1473490057" sldId="2147470014"/>
            <ac:spMk id="2" creationId="{80B26755-618F-5756-B466-1EE380A39FC1}"/>
          </ac:spMkLst>
        </pc:spChg>
        <pc:spChg chg="add mod">
          <ac:chgData name="Madan Sudarman" userId="80a28748-ca50-4d0f-a51c-1fb8c54caffe" providerId="ADAL" clId="{707B4B04-0B03-4012-AE5E-6DE221F31D29}" dt="2022-10-17T09:54:27.091" v="2362" actId="14100"/>
          <ac:spMkLst>
            <pc:docMk/>
            <pc:sldMk cId="1473490057" sldId="2147470014"/>
            <ac:spMk id="4" creationId="{C7579C05-4B0C-C7C5-24BC-64411A33C9A5}"/>
          </ac:spMkLst>
        </pc:spChg>
        <pc:picChg chg="add mod">
          <ac:chgData name="Madan Sudarman" userId="80a28748-ca50-4d0f-a51c-1fb8c54caffe" providerId="ADAL" clId="{707B4B04-0B03-4012-AE5E-6DE221F31D29}" dt="2022-10-17T09:54:30.370" v="2363" actId="1076"/>
          <ac:picMkLst>
            <pc:docMk/>
            <pc:sldMk cId="1473490057" sldId="2147470014"/>
            <ac:picMk id="3" creationId="{204B64EE-1CB0-2A6E-5FFC-99190E338DD4}"/>
          </ac:picMkLst>
        </pc:picChg>
      </pc:sldChg>
      <pc:sldChg chg="addSp delSp modSp add mod modAnim">
        <pc:chgData name="Madan Sudarman" userId="80a28748-ca50-4d0f-a51c-1fb8c54caffe" providerId="ADAL" clId="{707B4B04-0B03-4012-AE5E-6DE221F31D29}" dt="2022-10-17T10:56:12.127" v="2680"/>
        <pc:sldMkLst>
          <pc:docMk/>
          <pc:sldMk cId="2867165066" sldId="2147470015"/>
        </pc:sldMkLst>
        <pc:spChg chg="mod">
          <ac:chgData name="Madan Sudarman" userId="80a28748-ca50-4d0f-a51c-1fb8c54caffe" providerId="ADAL" clId="{707B4B04-0B03-4012-AE5E-6DE221F31D29}" dt="2022-10-17T10:55:36.087" v="2670" actId="14100"/>
          <ac:spMkLst>
            <pc:docMk/>
            <pc:sldMk cId="2867165066" sldId="2147470015"/>
            <ac:spMk id="2" creationId="{7F465974-028B-0A33-049E-EC12CE87795E}"/>
          </ac:spMkLst>
        </pc:spChg>
        <pc:spChg chg="add mod">
          <ac:chgData name="Madan Sudarman" userId="80a28748-ca50-4d0f-a51c-1fb8c54caffe" providerId="ADAL" clId="{707B4B04-0B03-4012-AE5E-6DE221F31D29}" dt="2022-10-17T10:55:56.626" v="2676" actId="1076"/>
          <ac:spMkLst>
            <pc:docMk/>
            <pc:sldMk cId="2867165066" sldId="2147470015"/>
            <ac:spMk id="5" creationId="{EFCD2B76-D508-97E7-CE28-9DE97CB4CAC1}"/>
          </ac:spMkLst>
        </pc:spChg>
        <pc:spChg chg="add del mod">
          <ac:chgData name="Madan Sudarman" userId="80a28748-ca50-4d0f-a51c-1fb8c54caffe" providerId="ADAL" clId="{707B4B04-0B03-4012-AE5E-6DE221F31D29}" dt="2022-10-17T09:41:19.528" v="2285" actId="478"/>
          <ac:spMkLst>
            <pc:docMk/>
            <pc:sldMk cId="2867165066" sldId="2147470015"/>
            <ac:spMk id="6" creationId="{B6102C4D-1859-76FF-3D02-6E8A008C4D6B}"/>
          </ac:spMkLst>
        </pc:spChg>
        <pc:spChg chg="add del mod">
          <ac:chgData name="Madan Sudarman" userId="80a28748-ca50-4d0f-a51c-1fb8c54caffe" providerId="ADAL" clId="{707B4B04-0B03-4012-AE5E-6DE221F31D29}" dt="2022-10-17T09:24:40.317" v="2103"/>
          <ac:spMkLst>
            <pc:docMk/>
            <pc:sldMk cId="2867165066" sldId="2147470015"/>
            <ac:spMk id="7" creationId="{0E21E4A0-3CA2-F248-F1AB-CCFBA344781E}"/>
          </ac:spMkLst>
        </pc:spChg>
        <pc:graphicFrameChg chg="add mod modGraphic">
          <ac:chgData name="Madan Sudarman" userId="80a28748-ca50-4d0f-a51c-1fb8c54caffe" providerId="ADAL" clId="{707B4B04-0B03-4012-AE5E-6DE221F31D29}" dt="2022-10-17T10:55:37.801" v="2671"/>
          <ac:graphicFrameMkLst>
            <pc:docMk/>
            <pc:sldMk cId="2867165066" sldId="2147470015"/>
            <ac:graphicFrameMk id="8" creationId="{25454CE1-21A0-DBDA-F9B4-22392803C333}"/>
          </ac:graphicFrameMkLst>
        </pc:graphicFrameChg>
        <pc:picChg chg="add mod">
          <ac:chgData name="Madan Sudarman" userId="80a28748-ca50-4d0f-a51c-1fb8c54caffe" providerId="ADAL" clId="{707B4B04-0B03-4012-AE5E-6DE221F31D29}" dt="2022-10-17T10:54:35.210" v="2664"/>
          <ac:picMkLst>
            <pc:docMk/>
            <pc:sldMk cId="2867165066" sldId="2147470015"/>
            <ac:picMk id="3" creationId="{9DE45978-64D8-7847-BDF9-69FCB450C029}"/>
          </ac:picMkLst>
        </pc:picChg>
        <pc:picChg chg="del">
          <ac:chgData name="Madan Sudarman" userId="80a28748-ca50-4d0f-a51c-1fb8c54caffe" providerId="ADAL" clId="{707B4B04-0B03-4012-AE5E-6DE221F31D29}" dt="2022-10-15T12:17:51.234" v="1324" actId="478"/>
          <ac:picMkLst>
            <pc:docMk/>
            <pc:sldMk cId="2867165066" sldId="2147470015"/>
            <ac:picMk id="3" creationId="{DAF3192A-75AB-871C-85D1-09B52E94451A}"/>
          </ac:picMkLst>
        </pc:picChg>
        <pc:picChg chg="add del mod">
          <ac:chgData name="Madan Sudarman" userId="80a28748-ca50-4d0f-a51c-1fb8c54caffe" providerId="ADAL" clId="{707B4B04-0B03-4012-AE5E-6DE221F31D29}" dt="2022-10-17T09:45:18.820" v="2286" actId="478"/>
          <ac:picMkLst>
            <pc:docMk/>
            <pc:sldMk cId="2867165066" sldId="2147470015"/>
            <ac:picMk id="4" creationId="{54A462AA-7CAB-51B0-11F9-33145E5E0C72}"/>
          </ac:picMkLst>
        </pc:picChg>
        <pc:picChg chg="add del mod">
          <ac:chgData name="Madan Sudarman" userId="80a28748-ca50-4d0f-a51c-1fb8c54caffe" providerId="ADAL" clId="{707B4B04-0B03-4012-AE5E-6DE221F31D29}" dt="2022-10-17T09:41:17.370" v="2284" actId="478"/>
          <ac:picMkLst>
            <pc:docMk/>
            <pc:sldMk cId="2867165066" sldId="2147470015"/>
            <ac:picMk id="5" creationId="{23683C0D-F4ED-1BAA-829A-676E13753B2F}"/>
          </ac:picMkLst>
        </pc:picChg>
      </pc:sldChg>
      <pc:sldChg chg="addSp delSp modSp new del mod modClrScheme chgLayout">
        <pc:chgData name="Madan Sudarman" userId="80a28748-ca50-4d0f-a51c-1fb8c54caffe" providerId="ADAL" clId="{707B4B04-0B03-4012-AE5E-6DE221F31D29}" dt="2022-10-19T16:48:53.447" v="3401" actId="47"/>
        <pc:sldMkLst>
          <pc:docMk/>
          <pc:sldMk cId="1622676138" sldId="2147470016"/>
        </pc:sldMkLst>
        <pc:picChg chg="add del mod">
          <ac:chgData name="Madan Sudarman" userId="80a28748-ca50-4d0f-a51c-1fb8c54caffe" providerId="ADAL" clId="{707B4B04-0B03-4012-AE5E-6DE221F31D29}" dt="2022-10-17T06:49:00.786" v="1628" actId="478"/>
          <ac:picMkLst>
            <pc:docMk/>
            <pc:sldMk cId="1622676138" sldId="2147470016"/>
            <ac:picMk id="2" creationId="{F9F956E1-8654-D1B0-556F-6E95514F4ADC}"/>
          </ac:picMkLst>
        </pc:picChg>
        <pc:picChg chg="add del mod">
          <ac:chgData name="Madan Sudarman" userId="80a28748-ca50-4d0f-a51c-1fb8c54caffe" providerId="ADAL" clId="{707B4B04-0B03-4012-AE5E-6DE221F31D29}" dt="2022-10-17T06:50:18.894" v="1635" actId="478"/>
          <ac:picMkLst>
            <pc:docMk/>
            <pc:sldMk cId="1622676138" sldId="2147470016"/>
            <ac:picMk id="4" creationId="{393A5A2F-B979-67BA-20D4-E393E2CD260B}"/>
          </ac:picMkLst>
        </pc:picChg>
        <pc:picChg chg="add mod">
          <ac:chgData name="Madan Sudarman" userId="80a28748-ca50-4d0f-a51c-1fb8c54caffe" providerId="ADAL" clId="{707B4B04-0B03-4012-AE5E-6DE221F31D29}" dt="2022-10-17T06:50:29.993" v="1638" actId="962"/>
          <ac:picMkLst>
            <pc:docMk/>
            <pc:sldMk cId="1622676138" sldId="2147470016"/>
            <ac:picMk id="6" creationId="{7586B0F7-4B65-4F3E-2076-7D37AF5E228A}"/>
          </ac:picMkLst>
        </pc:picChg>
      </pc:sldChg>
      <pc:sldChg chg="addSp delSp modSp new mod modAnim">
        <pc:chgData name="Madan Sudarman" userId="80a28748-ca50-4d0f-a51c-1fb8c54caffe" providerId="ADAL" clId="{707B4B04-0B03-4012-AE5E-6DE221F31D29}" dt="2022-10-17T09:26:48.526" v="2197" actId="20577"/>
        <pc:sldMkLst>
          <pc:docMk/>
          <pc:sldMk cId="1040694465" sldId="2147470017"/>
        </pc:sldMkLst>
        <pc:spChg chg="add del mod">
          <ac:chgData name="Madan Sudarman" userId="80a28748-ca50-4d0f-a51c-1fb8c54caffe" providerId="ADAL" clId="{707B4B04-0B03-4012-AE5E-6DE221F31D29}" dt="2022-10-17T09:12:04.166" v="2007" actId="478"/>
          <ac:spMkLst>
            <pc:docMk/>
            <pc:sldMk cId="1040694465" sldId="2147470017"/>
            <ac:spMk id="2" creationId="{4ECBBB0F-8DE5-C873-982A-6F117244C245}"/>
          </ac:spMkLst>
        </pc:spChg>
        <pc:graphicFrameChg chg="add mod modGraphic">
          <ac:chgData name="Madan Sudarman" userId="80a28748-ca50-4d0f-a51c-1fb8c54caffe" providerId="ADAL" clId="{707B4B04-0B03-4012-AE5E-6DE221F31D29}" dt="2022-10-17T09:26:48.526" v="2197" actId="20577"/>
          <ac:graphicFrameMkLst>
            <pc:docMk/>
            <pc:sldMk cId="1040694465" sldId="2147470017"/>
            <ac:graphicFrameMk id="3" creationId="{F7628C4D-E696-079F-8E10-A9A9908F8932}"/>
          </ac:graphicFrameMkLst>
        </pc:graphicFrameChg>
      </pc:sldChg>
      <pc:sldChg chg="addSp delSp modSp new mod modAnim">
        <pc:chgData name="Madan Sudarman" userId="80a28748-ca50-4d0f-a51c-1fb8c54caffe" providerId="ADAL" clId="{707B4B04-0B03-4012-AE5E-6DE221F31D29}" dt="2022-10-18T05:31:43.096" v="2922" actId="207"/>
        <pc:sldMkLst>
          <pc:docMk/>
          <pc:sldMk cId="2343012233" sldId="2147470018"/>
        </pc:sldMkLst>
        <pc:spChg chg="add mod">
          <ac:chgData name="Madan Sudarman" userId="80a28748-ca50-4d0f-a51c-1fb8c54caffe" providerId="ADAL" clId="{707B4B04-0B03-4012-AE5E-6DE221F31D29}" dt="2022-10-18T05:31:43.096" v="2922" actId="207"/>
          <ac:spMkLst>
            <pc:docMk/>
            <pc:sldMk cId="2343012233" sldId="2147470018"/>
            <ac:spMk id="8" creationId="{EB4E9258-EFA4-C1F1-A478-E89793A8C08F}"/>
          </ac:spMkLst>
        </pc:spChg>
        <pc:picChg chg="add del mod">
          <ac:chgData name="Madan Sudarman" userId="80a28748-ca50-4d0f-a51c-1fb8c54caffe" providerId="ADAL" clId="{707B4B04-0B03-4012-AE5E-6DE221F31D29}" dt="2022-10-17T09:17:55.571" v="2028" actId="478"/>
          <ac:picMkLst>
            <pc:docMk/>
            <pc:sldMk cId="2343012233" sldId="2147470018"/>
            <ac:picMk id="3" creationId="{A31C2092-7EDE-C6A6-E0B0-12A6BE8DB792}"/>
          </ac:picMkLst>
        </pc:picChg>
        <pc:picChg chg="add mod ord">
          <ac:chgData name="Madan Sudarman" userId="80a28748-ca50-4d0f-a51c-1fb8c54caffe" providerId="ADAL" clId="{707B4B04-0B03-4012-AE5E-6DE221F31D29}" dt="2022-10-17T09:32:21.846" v="2277" actId="1076"/>
          <ac:picMkLst>
            <pc:docMk/>
            <pc:sldMk cId="2343012233" sldId="2147470018"/>
            <ac:picMk id="5" creationId="{C6131411-63C2-A9A3-ADDB-ACADB4517983}"/>
          </ac:picMkLst>
        </pc:picChg>
        <pc:picChg chg="add mod">
          <ac:chgData name="Madan Sudarman" userId="80a28748-ca50-4d0f-a51c-1fb8c54caffe" providerId="ADAL" clId="{707B4B04-0B03-4012-AE5E-6DE221F31D29}" dt="2022-10-17T09:18:57.289" v="2030" actId="1076"/>
          <ac:picMkLst>
            <pc:docMk/>
            <pc:sldMk cId="2343012233" sldId="2147470018"/>
            <ac:picMk id="7" creationId="{326A485F-9A43-EA97-763F-0A5C76A2CC43}"/>
          </ac:picMkLst>
        </pc:picChg>
      </pc:sldChg>
      <pc:sldChg chg="addSp delSp modSp add mod delAnim modAnim">
        <pc:chgData name="Madan Sudarman" userId="80a28748-ca50-4d0f-a51c-1fb8c54caffe" providerId="ADAL" clId="{707B4B04-0B03-4012-AE5E-6DE221F31D29}" dt="2022-10-19T16:43:19.059" v="3388" actId="478"/>
        <pc:sldMkLst>
          <pc:docMk/>
          <pc:sldMk cId="247718840" sldId="2147470019"/>
        </pc:sldMkLst>
        <pc:spChg chg="add mod">
          <ac:chgData name="Madan Sudarman" userId="80a28748-ca50-4d0f-a51c-1fb8c54caffe" providerId="ADAL" clId="{707B4B04-0B03-4012-AE5E-6DE221F31D29}" dt="2022-10-18T10:52:39.452" v="2956" actId="1076"/>
          <ac:spMkLst>
            <pc:docMk/>
            <pc:sldMk cId="247718840" sldId="2147470019"/>
            <ac:spMk id="2" creationId="{36C74213-D927-0E30-4D3E-1D0C0AA1D7B8}"/>
          </ac:spMkLst>
        </pc:spChg>
        <pc:spChg chg="add del mod">
          <ac:chgData name="Madan Sudarman" userId="80a28748-ca50-4d0f-a51c-1fb8c54caffe" providerId="ADAL" clId="{707B4B04-0B03-4012-AE5E-6DE221F31D29}" dt="2022-10-17T10:24:25.395" v="2593" actId="478"/>
          <ac:spMkLst>
            <pc:docMk/>
            <pc:sldMk cId="247718840" sldId="2147470019"/>
            <ac:spMk id="2" creationId="{57E933A1-B58A-0741-3C50-3CAAF18A8171}"/>
          </ac:spMkLst>
        </pc:spChg>
        <pc:picChg chg="add del mod modCrop">
          <ac:chgData name="Madan Sudarman" userId="80a28748-ca50-4d0f-a51c-1fb8c54caffe" providerId="ADAL" clId="{707B4B04-0B03-4012-AE5E-6DE221F31D29}" dt="2022-10-19T16:43:19.059" v="3388" actId="478"/>
          <ac:picMkLst>
            <pc:docMk/>
            <pc:sldMk cId="247718840" sldId="2147470019"/>
            <ac:picMk id="3" creationId="{B3485E55-391F-3DB0-FF9F-1D3D8F87BA59}"/>
          </ac:picMkLst>
        </pc:picChg>
        <pc:picChg chg="add del mod ord modCrop">
          <ac:chgData name="Madan Sudarman" userId="80a28748-ca50-4d0f-a51c-1fb8c54caffe" providerId="ADAL" clId="{707B4B04-0B03-4012-AE5E-6DE221F31D29}" dt="2022-10-19T12:56:11.407" v="3321" actId="478"/>
          <ac:picMkLst>
            <pc:docMk/>
            <pc:sldMk cId="247718840" sldId="2147470019"/>
            <ac:picMk id="5" creationId="{929F3CD9-0F70-7BEE-5F3A-0D813C8A30FD}"/>
          </ac:picMkLst>
        </pc:picChg>
      </pc:sldChg>
      <pc:sldChg chg="addSp modSp new mod">
        <pc:chgData name="Madan Sudarman" userId="80a28748-ca50-4d0f-a51c-1fb8c54caffe" providerId="ADAL" clId="{707B4B04-0B03-4012-AE5E-6DE221F31D29}" dt="2022-10-17T10:05:36.443" v="2460" actId="1076"/>
        <pc:sldMkLst>
          <pc:docMk/>
          <pc:sldMk cId="1976599389" sldId="2147470020"/>
        </pc:sldMkLst>
        <pc:picChg chg="add mod">
          <ac:chgData name="Madan Sudarman" userId="80a28748-ca50-4d0f-a51c-1fb8c54caffe" providerId="ADAL" clId="{707B4B04-0B03-4012-AE5E-6DE221F31D29}" dt="2022-10-17T10:05:36.443" v="2460" actId="1076"/>
          <ac:picMkLst>
            <pc:docMk/>
            <pc:sldMk cId="1976599389" sldId="2147470020"/>
            <ac:picMk id="3" creationId="{62817089-9B6F-2F68-36FF-B57DCC99563F}"/>
          </ac:picMkLst>
        </pc:picChg>
      </pc:sldChg>
      <pc:sldChg chg="addSp delSp modSp new mod delAnim modAnim">
        <pc:chgData name="Madan Sudarman" userId="80a28748-ca50-4d0f-a51c-1fb8c54caffe" providerId="ADAL" clId="{707B4B04-0B03-4012-AE5E-6DE221F31D29}" dt="2022-10-19T16:42:37.583" v="3387" actId="1076"/>
        <pc:sldMkLst>
          <pc:docMk/>
          <pc:sldMk cId="3873305173" sldId="2147470021"/>
        </pc:sldMkLst>
        <pc:spChg chg="mod">
          <ac:chgData name="Madan Sudarman" userId="80a28748-ca50-4d0f-a51c-1fb8c54caffe" providerId="ADAL" clId="{707B4B04-0B03-4012-AE5E-6DE221F31D29}" dt="2022-10-17T10:42:51.815" v="2656" actId="20577"/>
          <ac:spMkLst>
            <pc:docMk/>
            <pc:sldMk cId="3873305173" sldId="2147470021"/>
            <ac:spMk id="2" creationId="{7F2CAFB9-E5E5-6F53-C8AE-8A2073A1EBAD}"/>
          </ac:spMkLst>
        </pc:spChg>
        <pc:spChg chg="del">
          <ac:chgData name="Madan Sudarman" userId="80a28748-ca50-4d0f-a51c-1fb8c54caffe" providerId="ADAL" clId="{707B4B04-0B03-4012-AE5E-6DE221F31D29}" dt="2022-10-17T10:10:55.094" v="2513" actId="478"/>
          <ac:spMkLst>
            <pc:docMk/>
            <pc:sldMk cId="3873305173" sldId="2147470021"/>
            <ac:spMk id="3" creationId="{3A02D083-A2E9-5C06-54D0-F7CD9CB4A27E}"/>
          </ac:spMkLst>
        </pc:spChg>
        <pc:spChg chg="add del mod">
          <ac:chgData name="Madan Sudarman" userId="80a28748-ca50-4d0f-a51c-1fb8c54caffe" providerId="ADAL" clId="{707B4B04-0B03-4012-AE5E-6DE221F31D29}" dt="2022-10-17T10:10:48.879" v="2510" actId="478"/>
          <ac:spMkLst>
            <pc:docMk/>
            <pc:sldMk cId="3873305173" sldId="2147470021"/>
            <ac:spMk id="4" creationId="{989BE1D1-9B65-77EB-10A6-8E7E51529968}"/>
          </ac:spMkLst>
        </pc:spChg>
        <pc:spChg chg="mod">
          <ac:chgData name="Madan Sudarman" userId="80a28748-ca50-4d0f-a51c-1fb8c54caffe" providerId="ADAL" clId="{707B4B04-0B03-4012-AE5E-6DE221F31D29}" dt="2022-10-17T10:10:35.481" v="2505"/>
          <ac:spMkLst>
            <pc:docMk/>
            <pc:sldMk cId="3873305173" sldId="2147470021"/>
            <ac:spMk id="7" creationId="{24154A77-8BF9-946D-37E8-0DF1D733F816}"/>
          </ac:spMkLst>
        </pc:spChg>
        <pc:spChg chg="add del mod">
          <ac:chgData name="Madan Sudarman" userId="80a28748-ca50-4d0f-a51c-1fb8c54caffe" providerId="ADAL" clId="{707B4B04-0B03-4012-AE5E-6DE221F31D29}" dt="2022-10-17T10:14:17.615" v="2525" actId="478"/>
          <ac:spMkLst>
            <pc:docMk/>
            <pc:sldMk cId="3873305173" sldId="2147470021"/>
            <ac:spMk id="8" creationId="{96285F49-D62B-7315-109F-741F6BB385E0}"/>
          </ac:spMkLst>
        </pc:spChg>
        <pc:grpChg chg="add del mod">
          <ac:chgData name="Madan Sudarman" userId="80a28748-ca50-4d0f-a51c-1fb8c54caffe" providerId="ADAL" clId="{707B4B04-0B03-4012-AE5E-6DE221F31D29}" dt="2022-10-17T10:14:15.243" v="2524" actId="478"/>
          <ac:grpSpMkLst>
            <pc:docMk/>
            <pc:sldMk cId="3873305173" sldId="2147470021"/>
            <ac:grpSpMk id="5" creationId="{D1F31C2D-7E28-71CB-5127-C627E119388B}"/>
          </ac:grpSpMkLst>
        </pc:grpChg>
        <pc:picChg chg="mod">
          <ac:chgData name="Madan Sudarman" userId="80a28748-ca50-4d0f-a51c-1fb8c54caffe" providerId="ADAL" clId="{707B4B04-0B03-4012-AE5E-6DE221F31D29}" dt="2022-10-17T10:10:35.481" v="2505"/>
          <ac:picMkLst>
            <pc:docMk/>
            <pc:sldMk cId="3873305173" sldId="2147470021"/>
            <ac:picMk id="6" creationId="{4C266FCA-D7F0-B625-F34E-12B96F3E52FE}"/>
          </ac:picMkLst>
        </pc:picChg>
        <pc:picChg chg="add mod">
          <ac:chgData name="Madan Sudarman" userId="80a28748-ca50-4d0f-a51c-1fb8c54caffe" providerId="ADAL" clId="{707B4B04-0B03-4012-AE5E-6DE221F31D29}" dt="2022-10-19T16:42:37.583" v="3387" actId="1076"/>
          <ac:picMkLst>
            <pc:docMk/>
            <pc:sldMk cId="3873305173" sldId="2147470021"/>
            <ac:picMk id="9" creationId="{7D7FEDDB-8B0C-0AE9-3B97-3F64A91AFE82}"/>
          </ac:picMkLst>
        </pc:picChg>
        <pc:picChg chg="add mod">
          <ac:chgData name="Madan Sudarman" userId="80a28748-ca50-4d0f-a51c-1fb8c54caffe" providerId="ADAL" clId="{707B4B04-0B03-4012-AE5E-6DE221F31D29}" dt="2022-10-17T10:17:05.404" v="2535" actId="1076"/>
          <ac:picMkLst>
            <pc:docMk/>
            <pc:sldMk cId="3873305173" sldId="2147470021"/>
            <ac:picMk id="10" creationId="{5599277F-6F71-EF25-3AD8-C3C31B316C2C}"/>
          </ac:picMkLst>
        </pc:picChg>
      </pc:sldChg>
      <pc:sldChg chg="addSp delSp modSp add mod modAnim">
        <pc:chgData name="Madan Sudarman" userId="80a28748-ca50-4d0f-a51c-1fb8c54caffe" providerId="ADAL" clId="{707B4B04-0B03-4012-AE5E-6DE221F31D29}" dt="2022-10-17T10:35:26.160" v="2617"/>
        <pc:sldMkLst>
          <pc:docMk/>
          <pc:sldMk cId="2024956797" sldId="2147470022"/>
        </pc:sldMkLst>
        <pc:spChg chg="add mod">
          <ac:chgData name="Madan Sudarman" userId="80a28748-ca50-4d0f-a51c-1fb8c54caffe" providerId="ADAL" clId="{707B4B04-0B03-4012-AE5E-6DE221F31D29}" dt="2022-10-17T10:34:02.395" v="2608" actId="1076"/>
          <ac:spMkLst>
            <pc:docMk/>
            <pc:sldMk cId="2024956797" sldId="2147470022"/>
            <ac:spMk id="3" creationId="{580457D9-6050-B22C-635A-F715C65E2BE9}"/>
          </ac:spMkLst>
        </pc:spChg>
        <pc:spChg chg="mod">
          <ac:chgData name="Madan Sudarman" userId="80a28748-ca50-4d0f-a51c-1fb8c54caffe" providerId="ADAL" clId="{707B4B04-0B03-4012-AE5E-6DE221F31D29}" dt="2022-10-17T10:29:52.317" v="2603" actId="207"/>
          <ac:spMkLst>
            <pc:docMk/>
            <pc:sldMk cId="2024956797" sldId="2147470022"/>
            <ac:spMk id="18" creationId="{00000000-0000-0000-0000-000000000000}"/>
          </ac:spMkLst>
        </pc:spChg>
        <pc:picChg chg="add del">
          <ac:chgData name="Madan Sudarman" userId="80a28748-ca50-4d0f-a51c-1fb8c54caffe" providerId="ADAL" clId="{707B4B04-0B03-4012-AE5E-6DE221F31D29}" dt="2022-10-17T10:33:27.666" v="2606" actId="478"/>
          <ac:picMkLst>
            <pc:docMk/>
            <pc:sldMk cId="2024956797" sldId="2147470022"/>
            <ac:picMk id="2" creationId="{371AEC8F-CC87-2D36-7EA6-796DF3B5210A}"/>
          </ac:picMkLst>
        </pc:picChg>
      </pc:sldChg>
      <pc:sldChg chg="modSp add mod modAnim">
        <pc:chgData name="Madan Sudarman" userId="80a28748-ca50-4d0f-a51c-1fb8c54caffe" providerId="ADAL" clId="{707B4B04-0B03-4012-AE5E-6DE221F31D29}" dt="2022-10-17T10:35:36.126" v="2618"/>
        <pc:sldMkLst>
          <pc:docMk/>
          <pc:sldMk cId="3019592045" sldId="2147470023"/>
        </pc:sldMkLst>
        <pc:spChg chg="mod">
          <ac:chgData name="Madan Sudarman" userId="80a28748-ca50-4d0f-a51c-1fb8c54caffe" providerId="ADAL" clId="{707B4B04-0B03-4012-AE5E-6DE221F31D29}" dt="2022-10-17T10:34:19.211" v="2610" actId="1076"/>
          <ac:spMkLst>
            <pc:docMk/>
            <pc:sldMk cId="3019592045" sldId="2147470023"/>
            <ac:spMk id="3" creationId="{580457D9-6050-B22C-635A-F715C65E2BE9}"/>
          </ac:spMkLst>
        </pc:spChg>
        <pc:spChg chg="mod">
          <ac:chgData name="Madan Sudarman" userId="80a28748-ca50-4d0f-a51c-1fb8c54caffe" providerId="ADAL" clId="{707B4B04-0B03-4012-AE5E-6DE221F31D29}" dt="2022-10-17T10:34:27.510" v="2611" actId="207"/>
          <ac:spMkLst>
            <pc:docMk/>
            <pc:sldMk cId="3019592045" sldId="2147470023"/>
            <ac:spMk id="17" creationId="{00000000-0000-0000-0000-000000000000}"/>
          </ac:spMkLst>
        </pc:spChg>
        <pc:spChg chg="mod">
          <ac:chgData name="Madan Sudarman" userId="80a28748-ca50-4d0f-a51c-1fb8c54caffe" providerId="ADAL" clId="{707B4B04-0B03-4012-AE5E-6DE221F31D29}" dt="2022-10-17T10:34:34.035" v="2612" actId="207"/>
          <ac:spMkLst>
            <pc:docMk/>
            <pc:sldMk cId="3019592045" sldId="2147470023"/>
            <ac:spMk id="18" creationId="{00000000-0000-0000-0000-000000000000}"/>
          </ac:spMkLst>
        </pc:spChg>
      </pc:sldChg>
      <pc:sldChg chg="modSp add mod modAnim">
        <pc:chgData name="Madan Sudarman" userId="80a28748-ca50-4d0f-a51c-1fb8c54caffe" providerId="ADAL" clId="{707B4B04-0B03-4012-AE5E-6DE221F31D29}" dt="2022-10-17T10:35:49.630" v="2620"/>
        <pc:sldMkLst>
          <pc:docMk/>
          <pc:sldMk cId="3657989930" sldId="2147470024"/>
        </pc:sldMkLst>
        <pc:spChg chg="mod">
          <ac:chgData name="Madan Sudarman" userId="80a28748-ca50-4d0f-a51c-1fb8c54caffe" providerId="ADAL" clId="{707B4B04-0B03-4012-AE5E-6DE221F31D29}" dt="2022-10-17T10:35:04.490" v="2616" actId="1076"/>
          <ac:spMkLst>
            <pc:docMk/>
            <pc:sldMk cId="3657989930" sldId="2147470024"/>
            <ac:spMk id="3" creationId="{580457D9-6050-B22C-635A-F715C65E2BE9}"/>
          </ac:spMkLst>
        </pc:spChg>
        <pc:spChg chg="mod">
          <ac:chgData name="Madan Sudarman" userId="80a28748-ca50-4d0f-a51c-1fb8c54caffe" providerId="ADAL" clId="{707B4B04-0B03-4012-AE5E-6DE221F31D29}" dt="2022-10-17T10:34:51.210" v="2614" actId="207"/>
          <ac:spMkLst>
            <pc:docMk/>
            <pc:sldMk cId="3657989930" sldId="2147470024"/>
            <ac:spMk id="16" creationId="{00000000-0000-0000-0000-000000000000}"/>
          </ac:spMkLst>
        </pc:spChg>
        <pc:spChg chg="mod">
          <ac:chgData name="Madan Sudarman" userId="80a28748-ca50-4d0f-a51c-1fb8c54caffe" providerId="ADAL" clId="{707B4B04-0B03-4012-AE5E-6DE221F31D29}" dt="2022-10-17T10:34:57.307" v="2615" actId="207"/>
          <ac:spMkLst>
            <pc:docMk/>
            <pc:sldMk cId="3657989930" sldId="2147470024"/>
            <ac:spMk id="17" creationId="{00000000-0000-0000-0000-000000000000}"/>
          </ac:spMkLst>
        </pc:spChg>
      </pc:sldChg>
      <pc:sldChg chg="modSp add mod">
        <pc:chgData name="Madan Sudarman" userId="80a28748-ca50-4d0f-a51c-1fb8c54caffe" providerId="ADAL" clId="{707B4B04-0B03-4012-AE5E-6DE221F31D29}" dt="2022-10-17T10:53:07.945" v="2660" actId="404"/>
        <pc:sldMkLst>
          <pc:docMk/>
          <pc:sldMk cId="1947078649" sldId="2147470025"/>
        </pc:sldMkLst>
        <pc:spChg chg="mod">
          <ac:chgData name="Madan Sudarman" userId="80a28748-ca50-4d0f-a51c-1fb8c54caffe" providerId="ADAL" clId="{707B4B04-0B03-4012-AE5E-6DE221F31D29}" dt="2022-10-17T10:53:07.945" v="2660" actId="404"/>
          <ac:spMkLst>
            <pc:docMk/>
            <pc:sldMk cId="1947078649" sldId="2147470025"/>
            <ac:spMk id="2" creationId="{FA46CD92-9480-6E17-405A-A97563CB6509}"/>
          </ac:spMkLst>
        </pc:spChg>
      </pc:sldChg>
      <pc:sldChg chg="modSp add mod">
        <pc:chgData name="Madan Sudarman" userId="80a28748-ca50-4d0f-a51c-1fb8c54caffe" providerId="ADAL" clId="{707B4B04-0B03-4012-AE5E-6DE221F31D29}" dt="2022-10-19T16:38:46.760" v="3347" actId="1076"/>
        <pc:sldMkLst>
          <pc:docMk/>
          <pc:sldMk cId="1801970618" sldId="2147470026"/>
        </pc:sldMkLst>
        <pc:spChg chg="mod">
          <ac:chgData name="Madan Sudarman" userId="80a28748-ca50-4d0f-a51c-1fb8c54caffe" providerId="ADAL" clId="{707B4B04-0B03-4012-AE5E-6DE221F31D29}" dt="2022-10-19T16:38:46.760" v="3347" actId="1076"/>
          <ac:spMkLst>
            <pc:docMk/>
            <pc:sldMk cId="1801970618" sldId="2147470026"/>
            <ac:spMk id="7" creationId="{19F4D0B8-8FD4-546D-35B5-89E86397FA5E}"/>
          </ac:spMkLst>
        </pc:spChg>
        <pc:spChg chg="mod">
          <ac:chgData name="Madan Sudarman" userId="80a28748-ca50-4d0f-a51c-1fb8c54caffe" providerId="ADAL" clId="{707B4B04-0B03-4012-AE5E-6DE221F31D29}" dt="2022-10-19T16:38:44.307" v="3346" actId="1076"/>
          <ac:spMkLst>
            <pc:docMk/>
            <pc:sldMk cId="1801970618" sldId="2147470026"/>
            <ac:spMk id="8" creationId="{09DFDED6-4E06-2E65-B355-9C686C0CE243}"/>
          </ac:spMkLst>
        </pc:spChg>
      </pc:sldChg>
      <pc:sldChg chg="addSp delSp modSp new del mod">
        <pc:chgData name="Madan Sudarman" userId="80a28748-ca50-4d0f-a51c-1fb8c54caffe" providerId="ADAL" clId="{707B4B04-0B03-4012-AE5E-6DE221F31D29}" dt="2022-10-18T05:27:53.160" v="2917" actId="2696"/>
        <pc:sldMkLst>
          <pc:docMk/>
          <pc:sldMk cId="3262364264" sldId="2147470026"/>
        </pc:sldMkLst>
        <pc:spChg chg="add del mod">
          <ac:chgData name="Madan Sudarman" userId="80a28748-ca50-4d0f-a51c-1fb8c54caffe" providerId="ADAL" clId="{707B4B04-0B03-4012-AE5E-6DE221F31D29}" dt="2022-10-17T11:07:34.769" v="2750" actId="478"/>
          <ac:spMkLst>
            <pc:docMk/>
            <pc:sldMk cId="3262364264" sldId="2147470026"/>
            <ac:spMk id="4" creationId="{F050C561-337F-5E95-FB3D-EAE9D48F3067}"/>
          </ac:spMkLst>
        </pc:spChg>
        <pc:spChg chg="add del mod">
          <ac:chgData name="Madan Sudarman" userId="80a28748-ca50-4d0f-a51c-1fb8c54caffe" providerId="ADAL" clId="{707B4B04-0B03-4012-AE5E-6DE221F31D29}" dt="2022-10-17T11:07:34.769" v="2750" actId="478"/>
          <ac:spMkLst>
            <pc:docMk/>
            <pc:sldMk cId="3262364264" sldId="2147470026"/>
            <ac:spMk id="5" creationId="{56D123DF-8B1F-8B87-684E-4C44AFA416A9}"/>
          </ac:spMkLst>
        </pc:spChg>
        <pc:spChg chg="add mod">
          <ac:chgData name="Madan Sudarman" userId="80a28748-ca50-4d0f-a51c-1fb8c54caffe" providerId="ADAL" clId="{707B4B04-0B03-4012-AE5E-6DE221F31D29}" dt="2022-10-17T11:10:02.115" v="2784" actId="207"/>
          <ac:spMkLst>
            <pc:docMk/>
            <pc:sldMk cId="3262364264" sldId="2147470026"/>
            <ac:spMk id="7" creationId="{19F4D0B8-8FD4-546D-35B5-89E86397FA5E}"/>
          </ac:spMkLst>
        </pc:spChg>
        <pc:spChg chg="add mod">
          <ac:chgData name="Madan Sudarman" userId="80a28748-ca50-4d0f-a51c-1fb8c54caffe" providerId="ADAL" clId="{707B4B04-0B03-4012-AE5E-6DE221F31D29}" dt="2022-10-17T11:09:59.006" v="2783" actId="207"/>
          <ac:spMkLst>
            <pc:docMk/>
            <pc:sldMk cId="3262364264" sldId="2147470026"/>
            <ac:spMk id="8" creationId="{09DFDED6-4E06-2E65-B355-9C686C0CE243}"/>
          </ac:spMkLst>
        </pc:spChg>
        <pc:picChg chg="add del">
          <ac:chgData name="Madan Sudarman" userId="80a28748-ca50-4d0f-a51c-1fb8c54caffe" providerId="ADAL" clId="{707B4B04-0B03-4012-AE5E-6DE221F31D29}" dt="2022-10-17T11:07:29.223" v="2749" actId="478"/>
          <ac:picMkLst>
            <pc:docMk/>
            <pc:sldMk cId="3262364264" sldId="2147470026"/>
            <ac:picMk id="3" creationId="{47ABFAA8-EC87-8B44-BD83-CF31899621EB}"/>
          </ac:picMkLst>
        </pc:picChg>
        <pc:picChg chg="add mod">
          <ac:chgData name="Madan Sudarman" userId="80a28748-ca50-4d0f-a51c-1fb8c54caffe" providerId="ADAL" clId="{707B4B04-0B03-4012-AE5E-6DE221F31D29}" dt="2022-10-17T11:09:42.810" v="2782" actId="1076"/>
          <ac:picMkLst>
            <pc:docMk/>
            <pc:sldMk cId="3262364264" sldId="2147470026"/>
            <ac:picMk id="10" creationId="{AEE41333-9B0A-C27A-C752-7F89C9F36453}"/>
          </ac:picMkLst>
        </pc:picChg>
      </pc:sldChg>
      <pc:sldChg chg="addSp delSp modSp new mod ord modClrScheme chgLayout">
        <pc:chgData name="Madan Sudarman" userId="80a28748-ca50-4d0f-a51c-1fb8c54caffe" providerId="ADAL" clId="{707B4B04-0B03-4012-AE5E-6DE221F31D29}" dt="2022-10-19T16:39:40.203" v="3349"/>
        <pc:sldMkLst>
          <pc:docMk/>
          <pc:sldMk cId="2312952384" sldId="2147470027"/>
        </pc:sldMkLst>
        <pc:picChg chg="add mod ord modCrop">
          <ac:chgData name="Madan Sudarman" userId="80a28748-ca50-4d0f-a51c-1fb8c54caffe" providerId="ADAL" clId="{707B4B04-0B03-4012-AE5E-6DE221F31D29}" dt="2022-10-17T11:15:21.620" v="2799" actId="26606"/>
          <ac:picMkLst>
            <pc:docMk/>
            <pc:sldMk cId="2312952384" sldId="2147470027"/>
            <ac:picMk id="2" creationId="{1EAD4514-ED7E-DB2E-5116-B2D37898BD96}"/>
          </ac:picMkLst>
        </pc:picChg>
        <pc:picChg chg="add del mod">
          <ac:chgData name="Madan Sudarman" userId="80a28748-ca50-4d0f-a51c-1fb8c54caffe" providerId="ADAL" clId="{707B4B04-0B03-4012-AE5E-6DE221F31D29}" dt="2022-10-17T11:15:16.894" v="2797" actId="478"/>
          <ac:picMkLst>
            <pc:docMk/>
            <pc:sldMk cId="2312952384" sldId="2147470027"/>
            <ac:picMk id="4" creationId="{91539794-9AEA-BD83-BB9C-1BBDB48E5FD6}"/>
          </ac:picMkLst>
        </pc:picChg>
      </pc:sldChg>
      <pc:sldChg chg="addSp delSp modSp new mod modAnim">
        <pc:chgData name="Madan Sudarman" userId="80a28748-ca50-4d0f-a51c-1fb8c54caffe" providerId="ADAL" clId="{707B4B04-0B03-4012-AE5E-6DE221F31D29}" dt="2022-10-18T05:24:10.106" v="2914"/>
        <pc:sldMkLst>
          <pc:docMk/>
          <pc:sldMk cId="3038985395" sldId="2147470028"/>
        </pc:sldMkLst>
        <pc:spChg chg="del">
          <ac:chgData name="Madan Sudarman" userId="80a28748-ca50-4d0f-a51c-1fb8c54caffe" providerId="ADAL" clId="{707B4B04-0B03-4012-AE5E-6DE221F31D29}" dt="2022-10-18T05:16:26.598" v="2826" actId="478"/>
          <ac:spMkLst>
            <pc:docMk/>
            <pc:sldMk cId="3038985395" sldId="2147470028"/>
            <ac:spMk id="2" creationId="{5103BC76-6738-8725-D1CC-B2FF96A75F0F}"/>
          </ac:spMkLst>
        </pc:spChg>
        <pc:spChg chg="del">
          <ac:chgData name="Madan Sudarman" userId="80a28748-ca50-4d0f-a51c-1fb8c54caffe" providerId="ADAL" clId="{707B4B04-0B03-4012-AE5E-6DE221F31D29}" dt="2022-10-18T05:15:43.214" v="2825" actId="478"/>
          <ac:spMkLst>
            <pc:docMk/>
            <pc:sldMk cId="3038985395" sldId="2147470028"/>
            <ac:spMk id="3" creationId="{5BB11C35-4878-E365-9BBA-C8366CBD57F5}"/>
          </ac:spMkLst>
        </pc:spChg>
        <pc:spChg chg="add mod">
          <ac:chgData name="Madan Sudarman" userId="80a28748-ca50-4d0f-a51c-1fb8c54caffe" providerId="ADAL" clId="{707B4B04-0B03-4012-AE5E-6DE221F31D29}" dt="2022-10-18T05:24:05.194" v="2913" actId="208"/>
          <ac:spMkLst>
            <pc:docMk/>
            <pc:sldMk cId="3038985395" sldId="2147470028"/>
            <ac:spMk id="5" creationId="{D45161B0-9716-9CC4-D16B-8BF6CA57B9BB}"/>
          </ac:spMkLst>
        </pc:spChg>
        <pc:picChg chg="add">
          <ac:chgData name="Madan Sudarman" userId="80a28748-ca50-4d0f-a51c-1fb8c54caffe" providerId="ADAL" clId="{707B4B04-0B03-4012-AE5E-6DE221F31D29}" dt="2022-10-18T05:15:31.154" v="2824"/>
          <ac:picMkLst>
            <pc:docMk/>
            <pc:sldMk cId="3038985395" sldId="2147470028"/>
            <ac:picMk id="4" creationId="{81C8CBD4-8ED7-37A4-4A68-DE4F9E352358}"/>
          </ac:picMkLst>
        </pc:picChg>
      </pc:sldChg>
      <pc:sldChg chg="addSp modSp new mod modClrScheme chgLayout">
        <pc:chgData name="Madan Sudarman" userId="80a28748-ca50-4d0f-a51c-1fb8c54caffe" providerId="ADAL" clId="{707B4B04-0B03-4012-AE5E-6DE221F31D29}" dt="2022-10-18T10:50:53.259" v="2953" actId="403"/>
        <pc:sldMkLst>
          <pc:docMk/>
          <pc:sldMk cId="2682659853" sldId="2147470029"/>
        </pc:sldMkLst>
        <pc:spChg chg="add mod">
          <ac:chgData name="Madan Sudarman" userId="80a28748-ca50-4d0f-a51c-1fb8c54caffe" providerId="ADAL" clId="{707B4B04-0B03-4012-AE5E-6DE221F31D29}" dt="2022-10-18T10:50:53.259" v="2953" actId="403"/>
          <ac:spMkLst>
            <pc:docMk/>
            <pc:sldMk cId="2682659853" sldId="2147470029"/>
            <ac:spMk id="2" creationId="{F93A18D0-1D88-961E-E83E-DB8F05CED276}"/>
          </ac:spMkLst>
        </pc:spChg>
        <pc:picChg chg="add mod">
          <ac:chgData name="Madan Sudarman" userId="80a28748-ca50-4d0f-a51c-1fb8c54caffe" providerId="ADAL" clId="{707B4B04-0B03-4012-AE5E-6DE221F31D29}" dt="2022-10-18T05:20:18.949" v="2856" actId="26606"/>
          <ac:picMkLst>
            <pc:docMk/>
            <pc:sldMk cId="2682659853" sldId="2147470029"/>
            <ac:picMk id="1026" creationId="{6B04A3EE-D1E9-DCD4-AFF9-D28F6D70A3FC}"/>
          </ac:picMkLst>
        </pc:picChg>
      </pc:sldChg>
      <pc:sldChg chg="new del">
        <pc:chgData name="Madan Sudarman" userId="80a28748-ca50-4d0f-a51c-1fb8c54caffe" providerId="ADAL" clId="{707B4B04-0B03-4012-AE5E-6DE221F31D29}" dt="2022-10-18T05:20:07.616" v="2853" actId="47"/>
        <pc:sldMkLst>
          <pc:docMk/>
          <pc:sldMk cId="4052336652" sldId="2147470029"/>
        </pc:sldMkLst>
      </pc:sldChg>
      <pc:sldChg chg="addSp delSp modSp new mod modClrScheme chgLayout">
        <pc:chgData name="Madan Sudarman" userId="80a28748-ca50-4d0f-a51c-1fb8c54caffe" providerId="ADAL" clId="{707B4B04-0B03-4012-AE5E-6DE221F31D29}" dt="2022-10-18T11:17:15.719" v="3036" actId="1037"/>
        <pc:sldMkLst>
          <pc:docMk/>
          <pc:sldMk cId="3035655917" sldId="2147470030"/>
        </pc:sldMkLst>
        <pc:spChg chg="del">
          <ac:chgData name="Madan Sudarman" userId="80a28748-ca50-4d0f-a51c-1fb8c54caffe" providerId="ADAL" clId="{707B4B04-0B03-4012-AE5E-6DE221F31D29}" dt="2022-10-18T10:56:41.818" v="2961" actId="478"/>
          <ac:spMkLst>
            <pc:docMk/>
            <pc:sldMk cId="3035655917" sldId="2147470030"/>
            <ac:spMk id="2" creationId="{B45F79A1-24C4-6B31-66BC-555EA756A7D6}"/>
          </ac:spMkLst>
        </pc:spChg>
        <pc:picChg chg="add del mod">
          <ac:chgData name="Madan Sudarman" userId="80a28748-ca50-4d0f-a51c-1fb8c54caffe" providerId="ADAL" clId="{707B4B04-0B03-4012-AE5E-6DE221F31D29}" dt="2022-10-18T10:57:35.303" v="2970" actId="478"/>
          <ac:picMkLst>
            <pc:docMk/>
            <pc:sldMk cId="3035655917" sldId="2147470030"/>
            <ac:picMk id="4" creationId="{9C9D6CB5-5559-10AE-E3DB-CB507285149C}"/>
          </ac:picMkLst>
        </pc:picChg>
        <pc:picChg chg="add mod">
          <ac:chgData name="Madan Sudarman" userId="80a28748-ca50-4d0f-a51c-1fb8c54caffe" providerId="ADAL" clId="{707B4B04-0B03-4012-AE5E-6DE221F31D29}" dt="2022-10-18T11:17:15.719" v="3036" actId="1037"/>
          <ac:picMkLst>
            <pc:docMk/>
            <pc:sldMk cId="3035655917" sldId="2147470030"/>
            <ac:picMk id="6" creationId="{EA257431-C2A1-40CC-FCCA-5ACE1186F790}"/>
          </ac:picMkLst>
        </pc:picChg>
      </pc:sldChg>
      <pc:sldChg chg="addSp delSp modSp new mod modAnim">
        <pc:chgData name="Madan Sudarman" userId="80a28748-ca50-4d0f-a51c-1fb8c54caffe" providerId="ADAL" clId="{707B4B04-0B03-4012-AE5E-6DE221F31D29}" dt="2022-10-19T16:40:55.659" v="3380"/>
        <pc:sldMkLst>
          <pc:docMk/>
          <pc:sldMk cId="735520211" sldId="2147470031"/>
        </pc:sldMkLst>
        <pc:spChg chg="add mod">
          <ac:chgData name="Madan Sudarman" userId="80a28748-ca50-4d0f-a51c-1fb8c54caffe" providerId="ADAL" clId="{707B4B04-0B03-4012-AE5E-6DE221F31D29}" dt="2022-10-19T16:40:07.361" v="3359" actId="403"/>
          <ac:spMkLst>
            <pc:docMk/>
            <pc:sldMk cId="735520211" sldId="2147470031"/>
            <ac:spMk id="2" creationId="{626AEB2B-39E6-85A6-1A1A-52263DD0EA57}"/>
          </ac:spMkLst>
        </pc:spChg>
        <pc:spChg chg="add del mod">
          <ac:chgData name="Madan Sudarman" userId="80a28748-ca50-4d0f-a51c-1fb8c54caffe" providerId="ADAL" clId="{707B4B04-0B03-4012-AE5E-6DE221F31D29}" dt="2022-10-19T16:40:10.019" v="3360" actId="478"/>
          <ac:spMkLst>
            <pc:docMk/>
            <pc:sldMk cId="735520211" sldId="2147470031"/>
            <ac:spMk id="3" creationId="{F345B72D-EDD6-4C20-D0E2-F44CD3561D29}"/>
          </ac:spMkLst>
        </pc:spChg>
        <pc:spChg chg="mod">
          <ac:chgData name="Madan Sudarman" userId="80a28748-ca50-4d0f-a51c-1fb8c54caffe" providerId="ADAL" clId="{707B4B04-0B03-4012-AE5E-6DE221F31D29}" dt="2022-10-19T16:39:54.672" v="3351"/>
          <ac:spMkLst>
            <pc:docMk/>
            <pc:sldMk cId="735520211" sldId="2147470031"/>
            <ac:spMk id="6" creationId="{8EC9A510-9189-4706-5293-33F141AD0431}"/>
          </ac:spMkLst>
        </pc:spChg>
        <pc:spChg chg="mod">
          <ac:chgData name="Madan Sudarman" userId="80a28748-ca50-4d0f-a51c-1fb8c54caffe" providerId="ADAL" clId="{707B4B04-0B03-4012-AE5E-6DE221F31D29}" dt="2022-10-19T16:39:54.672" v="3351"/>
          <ac:spMkLst>
            <pc:docMk/>
            <pc:sldMk cId="735520211" sldId="2147470031"/>
            <ac:spMk id="9" creationId="{A1FFF614-0171-0ABB-217C-4A5E82EC67EE}"/>
          </ac:spMkLst>
        </pc:spChg>
        <pc:spChg chg="mod">
          <ac:chgData name="Madan Sudarman" userId="80a28748-ca50-4d0f-a51c-1fb8c54caffe" providerId="ADAL" clId="{707B4B04-0B03-4012-AE5E-6DE221F31D29}" dt="2022-10-19T16:40:22.835" v="3377" actId="20577"/>
          <ac:spMkLst>
            <pc:docMk/>
            <pc:sldMk cId="735520211" sldId="2147470031"/>
            <ac:spMk id="12" creationId="{9F4179A1-079E-C3C3-5AD9-AA027290CB2B}"/>
          </ac:spMkLst>
        </pc:spChg>
        <pc:spChg chg="mod">
          <ac:chgData name="Madan Sudarman" userId="80a28748-ca50-4d0f-a51c-1fb8c54caffe" providerId="ADAL" clId="{707B4B04-0B03-4012-AE5E-6DE221F31D29}" dt="2022-10-19T16:39:54.672" v="3351"/>
          <ac:spMkLst>
            <pc:docMk/>
            <pc:sldMk cId="735520211" sldId="2147470031"/>
            <ac:spMk id="15" creationId="{2F9D67AA-F3BA-8772-870F-5DBA78EA4F6D}"/>
          </ac:spMkLst>
        </pc:spChg>
        <pc:grpChg chg="add mod">
          <ac:chgData name="Madan Sudarman" userId="80a28748-ca50-4d0f-a51c-1fb8c54caffe" providerId="ADAL" clId="{707B4B04-0B03-4012-AE5E-6DE221F31D29}" dt="2022-10-19T16:40:45.873" v="3378" actId="1076"/>
          <ac:grpSpMkLst>
            <pc:docMk/>
            <pc:sldMk cId="735520211" sldId="2147470031"/>
            <ac:grpSpMk id="4" creationId="{4B46E736-AADF-8681-FE74-44F46D7512F4}"/>
          </ac:grpSpMkLst>
        </pc:grpChg>
        <pc:grpChg chg="add mod">
          <ac:chgData name="Madan Sudarman" userId="80a28748-ca50-4d0f-a51c-1fb8c54caffe" providerId="ADAL" clId="{707B4B04-0B03-4012-AE5E-6DE221F31D29}" dt="2022-10-19T16:39:59.173" v="3352" actId="1076"/>
          <ac:grpSpMkLst>
            <pc:docMk/>
            <pc:sldMk cId="735520211" sldId="2147470031"/>
            <ac:grpSpMk id="7" creationId="{A0627C7C-25D7-0654-F107-ED8E88A2446E}"/>
          </ac:grpSpMkLst>
        </pc:grpChg>
        <pc:grpChg chg="add mod">
          <ac:chgData name="Madan Sudarman" userId="80a28748-ca50-4d0f-a51c-1fb8c54caffe" providerId="ADAL" clId="{707B4B04-0B03-4012-AE5E-6DE221F31D29}" dt="2022-10-19T16:39:59.173" v="3352" actId="1076"/>
          <ac:grpSpMkLst>
            <pc:docMk/>
            <pc:sldMk cId="735520211" sldId="2147470031"/>
            <ac:grpSpMk id="10" creationId="{B6890DE3-5D60-236E-6C1F-47F623BC97F6}"/>
          </ac:grpSpMkLst>
        </pc:grpChg>
        <pc:grpChg chg="add mod">
          <ac:chgData name="Madan Sudarman" userId="80a28748-ca50-4d0f-a51c-1fb8c54caffe" providerId="ADAL" clId="{707B4B04-0B03-4012-AE5E-6DE221F31D29}" dt="2022-10-19T16:39:59.173" v="3352" actId="1076"/>
          <ac:grpSpMkLst>
            <pc:docMk/>
            <pc:sldMk cId="735520211" sldId="2147470031"/>
            <ac:grpSpMk id="13" creationId="{77D40D5A-C77D-14F7-D7BA-04E792DE66D5}"/>
          </ac:grpSpMkLst>
        </pc:grpChg>
        <pc:picChg chg="mod">
          <ac:chgData name="Madan Sudarman" userId="80a28748-ca50-4d0f-a51c-1fb8c54caffe" providerId="ADAL" clId="{707B4B04-0B03-4012-AE5E-6DE221F31D29}" dt="2022-10-19T16:39:54.672" v="3351"/>
          <ac:picMkLst>
            <pc:docMk/>
            <pc:sldMk cId="735520211" sldId="2147470031"/>
            <ac:picMk id="5" creationId="{13780A43-48B0-1A26-4A2E-5E9427A4009C}"/>
          </ac:picMkLst>
        </pc:picChg>
        <pc:picChg chg="mod">
          <ac:chgData name="Madan Sudarman" userId="80a28748-ca50-4d0f-a51c-1fb8c54caffe" providerId="ADAL" clId="{707B4B04-0B03-4012-AE5E-6DE221F31D29}" dt="2022-10-19T16:39:54.672" v="3351"/>
          <ac:picMkLst>
            <pc:docMk/>
            <pc:sldMk cId="735520211" sldId="2147470031"/>
            <ac:picMk id="8" creationId="{A2CE98E7-33E5-C795-7BF3-F00B8BA36C94}"/>
          </ac:picMkLst>
        </pc:picChg>
        <pc:picChg chg="mod">
          <ac:chgData name="Madan Sudarman" userId="80a28748-ca50-4d0f-a51c-1fb8c54caffe" providerId="ADAL" clId="{707B4B04-0B03-4012-AE5E-6DE221F31D29}" dt="2022-10-19T16:39:54.672" v="3351"/>
          <ac:picMkLst>
            <pc:docMk/>
            <pc:sldMk cId="735520211" sldId="2147470031"/>
            <ac:picMk id="11" creationId="{F10DBE82-C03D-B4B0-239B-138C5E750096}"/>
          </ac:picMkLst>
        </pc:picChg>
        <pc:picChg chg="mod">
          <ac:chgData name="Madan Sudarman" userId="80a28748-ca50-4d0f-a51c-1fb8c54caffe" providerId="ADAL" clId="{707B4B04-0B03-4012-AE5E-6DE221F31D29}" dt="2022-10-19T16:39:54.672" v="3351"/>
          <ac:picMkLst>
            <pc:docMk/>
            <pc:sldMk cId="735520211" sldId="2147470031"/>
            <ac:picMk id="14" creationId="{6860A524-F525-2227-5FCA-30E8F46B2AF2}"/>
          </ac:picMkLst>
        </pc:picChg>
      </pc:sldChg>
      <pc:sldMasterChg chg="delSp mod delSldLayout modSldLayout">
        <pc:chgData name="Madan Sudarman" userId="80a28748-ca50-4d0f-a51c-1fb8c54caffe" providerId="ADAL" clId="{707B4B04-0B03-4012-AE5E-6DE221F31D29}" dt="2022-10-19T16:41:56.541" v="3383" actId="478"/>
        <pc:sldMasterMkLst>
          <pc:docMk/>
          <pc:sldMasterMk cId="164811613" sldId="2147483943"/>
        </pc:sldMasterMkLst>
        <pc:spChg chg="del">
          <ac:chgData name="Madan Sudarman" userId="80a28748-ca50-4d0f-a51c-1fb8c54caffe" providerId="ADAL" clId="{707B4B04-0B03-4012-AE5E-6DE221F31D29}" dt="2022-10-18T10:53:39.799" v="2957" actId="478"/>
          <ac:spMkLst>
            <pc:docMk/>
            <pc:sldMasterMk cId="164811613" sldId="2147483943"/>
            <ac:spMk id="11" creationId="{3F641FF6-5DCC-D34B-9DD7-29931472CBC7}"/>
          </ac:spMkLst>
        </pc:spChg>
        <pc:sldLayoutChg chg="delSp mod">
          <pc:chgData name="Madan Sudarman" userId="80a28748-ca50-4d0f-a51c-1fb8c54caffe" providerId="ADAL" clId="{707B4B04-0B03-4012-AE5E-6DE221F31D29}" dt="2022-10-18T10:53:49.850" v="2958" actId="478"/>
          <pc:sldLayoutMkLst>
            <pc:docMk/>
            <pc:sldMasterMk cId="164811613" sldId="2147483943"/>
            <pc:sldLayoutMk cId="2503353202" sldId="2147483948"/>
          </pc:sldLayoutMkLst>
          <pc:spChg chg="del">
            <ac:chgData name="Madan Sudarman" userId="80a28748-ca50-4d0f-a51c-1fb8c54caffe" providerId="ADAL" clId="{707B4B04-0B03-4012-AE5E-6DE221F31D29}" dt="2022-10-18T10:53:49.850" v="2958" actId="478"/>
            <ac:spMkLst>
              <pc:docMk/>
              <pc:sldMasterMk cId="164811613" sldId="2147483943"/>
              <pc:sldLayoutMk cId="2503353202" sldId="2147483948"/>
              <ac:spMk id="23" creationId="{05DCFC83-97AB-BE40-9059-9CE8B2021737}"/>
            </ac:spMkLst>
          </pc:spChg>
        </pc:sldLayoutChg>
        <pc:sldLayoutChg chg="delSp mod">
          <pc:chgData name="Madan Sudarman" userId="80a28748-ca50-4d0f-a51c-1fb8c54caffe" providerId="ADAL" clId="{707B4B04-0B03-4012-AE5E-6DE221F31D29}" dt="2022-10-18T10:53:55.720" v="2959" actId="478"/>
          <pc:sldLayoutMkLst>
            <pc:docMk/>
            <pc:sldMasterMk cId="164811613" sldId="2147483943"/>
            <pc:sldLayoutMk cId="3736849919" sldId="2147483949"/>
          </pc:sldLayoutMkLst>
          <pc:spChg chg="del">
            <ac:chgData name="Madan Sudarman" userId="80a28748-ca50-4d0f-a51c-1fb8c54caffe" providerId="ADAL" clId="{707B4B04-0B03-4012-AE5E-6DE221F31D29}" dt="2022-10-18T10:53:55.720" v="2959" actId="478"/>
            <ac:spMkLst>
              <pc:docMk/>
              <pc:sldMasterMk cId="164811613" sldId="2147483943"/>
              <pc:sldLayoutMk cId="3736849919" sldId="2147483949"/>
              <ac:spMk id="24" creationId="{074065B5-82CF-0942-A54C-2DA21F896678}"/>
            </ac:spMkLst>
          </pc:spChg>
        </pc:sldLayoutChg>
        <pc:sldLayoutChg chg="delSp mod">
          <pc:chgData name="Madan Sudarman" userId="80a28748-ca50-4d0f-a51c-1fb8c54caffe" providerId="ADAL" clId="{707B4B04-0B03-4012-AE5E-6DE221F31D29}" dt="2022-10-18T04:57:04.488" v="2817" actId="478"/>
          <pc:sldLayoutMkLst>
            <pc:docMk/>
            <pc:sldMasterMk cId="164811613" sldId="2147483943"/>
            <pc:sldLayoutMk cId="39864956" sldId="2147483951"/>
          </pc:sldLayoutMkLst>
          <pc:spChg chg="del">
            <ac:chgData name="Madan Sudarman" userId="80a28748-ca50-4d0f-a51c-1fb8c54caffe" providerId="ADAL" clId="{707B4B04-0B03-4012-AE5E-6DE221F31D29}" dt="2022-10-18T04:57:04.488" v="2817" actId="478"/>
            <ac:spMkLst>
              <pc:docMk/>
              <pc:sldMasterMk cId="164811613" sldId="2147483943"/>
              <pc:sldLayoutMk cId="39864956" sldId="2147483951"/>
              <ac:spMk id="9" creationId="{581E7284-C854-184C-A06D-CACC02F73E92}"/>
            </ac:spMkLst>
          </pc:spChg>
        </pc:sldLayoutChg>
        <pc:sldLayoutChg chg="delSp mod">
          <pc:chgData name="Madan Sudarman" userId="80a28748-ca50-4d0f-a51c-1fb8c54caffe" providerId="ADAL" clId="{707B4B04-0B03-4012-AE5E-6DE221F31D29}" dt="2022-10-18T04:57:44.434" v="2819" actId="478"/>
          <pc:sldLayoutMkLst>
            <pc:docMk/>
            <pc:sldMasterMk cId="164811613" sldId="2147483943"/>
            <pc:sldLayoutMk cId="4228822708" sldId="2147483952"/>
          </pc:sldLayoutMkLst>
          <pc:spChg chg="del">
            <ac:chgData name="Madan Sudarman" userId="80a28748-ca50-4d0f-a51c-1fb8c54caffe" providerId="ADAL" clId="{707B4B04-0B03-4012-AE5E-6DE221F31D29}" dt="2022-10-18T04:57:44.434" v="2819" actId="478"/>
            <ac:spMkLst>
              <pc:docMk/>
              <pc:sldMasterMk cId="164811613" sldId="2147483943"/>
              <pc:sldLayoutMk cId="4228822708" sldId="2147483952"/>
              <ac:spMk id="8" creationId="{F10D9AC8-F415-4F41-81BB-33EEA9AD7083}"/>
            </ac:spMkLst>
          </pc:spChg>
        </pc:sldLayoutChg>
        <pc:sldLayoutChg chg="delSp mod">
          <pc:chgData name="Madan Sudarman" userId="80a28748-ca50-4d0f-a51c-1fb8c54caffe" providerId="ADAL" clId="{707B4B04-0B03-4012-AE5E-6DE221F31D29}" dt="2022-10-18T04:57:37.016" v="2818" actId="478"/>
          <pc:sldLayoutMkLst>
            <pc:docMk/>
            <pc:sldMasterMk cId="164811613" sldId="2147483943"/>
            <pc:sldLayoutMk cId="2411575931" sldId="2147483957"/>
          </pc:sldLayoutMkLst>
          <pc:spChg chg="del">
            <ac:chgData name="Madan Sudarman" userId="80a28748-ca50-4d0f-a51c-1fb8c54caffe" providerId="ADAL" clId="{707B4B04-0B03-4012-AE5E-6DE221F31D29}" dt="2022-10-18T04:57:37.016" v="2818" actId="478"/>
            <ac:spMkLst>
              <pc:docMk/>
              <pc:sldMasterMk cId="164811613" sldId="2147483943"/>
              <pc:sldLayoutMk cId="2411575931" sldId="2147483957"/>
              <ac:spMk id="10" creationId="{3F83E1B4-D017-3E4B-8268-79DFC41DB4DB}"/>
            </ac:spMkLst>
          </pc:spChg>
        </pc:sldLayoutChg>
        <pc:sldLayoutChg chg="delSp mod">
          <pc:chgData name="Madan Sudarman" userId="80a28748-ca50-4d0f-a51c-1fb8c54caffe" providerId="ADAL" clId="{707B4B04-0B03-4012-AE5E-6DE221F31D29}" dt="2022-10-19T16:41:56.541" v="3383" actId="478"/>
          <pc:sldLayoutMkLst>
            <pc:docMk/>
            <pc:sldMasterMk cId="164811613" sldId="2147483943"/>
            <pc:sldLayoutMk cId="831815957" sldId="2147483974"/>
          </pc:sldLayoutMkLst>
          <pc:spChg chg="del">
            <ac:chgData name="Madan Sudarman" userId="80a28748-ca50-4d0f-a51c-1fb8c54caffe" providerId="ADAL" clId="{707B4B04-0B03-4012-AE5E-6DE221F31D29}" dt="2022-10-19T16:41:56.541" v="3383" actId="478"/>
            <ac:spMkLst>
              <pc:docMk/>
              <pc:sldMasterMk cId="164811613" sldId="2147483943"/>
              <pc:sldLayoutMk cId="831815957" sldId="2147483974"/>
              <ac:spMk id="7" creationId="{39B55E40-4D84-A94C-A4CB-F465F24AE156}"/>
            </ac:spMkLst>
          </pc:spChg>
        </pc:sldLayoutChg>
        <pc:sldLayoutChg chg="del">
          <pc:chgData name="Madan Sudarman" userId="80a28748-ca50-4d0f-a51c-1fb8c54caffe" providerId="ADAL" clId="{707B4B04-0B03-4012-AE5E-6DE221F31D29}" dt="2022-10-13T10:32:30.957" v="195" actId="47"/>
          <pc:sldLayoutMkLst>
            <pc:docMk/>
            <pc:sldMasterMk cId="164811613" sldId="2147483943"/>
            <pc:sldLayoutMk cId="2114754617" sldId="214748398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Q2 2022 REVENUE BY INDUSTRY VERTIC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54-40B8-9BBB-2B8817C7BF24}"/>
              </c:ext>
            </c:extLst>
          </c:dPt>
          <c:dPt>
            <c:idx val="1"/>
            <c:bubble3D val="0"/>
            <c:spPr>
              <a:solidFill>
                <a:srgbClr val="80CDD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B54-40B8-9BBB-2B8817C7BF24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B54-40B8-9BBB-2B8817C7BF24}"/>
              </c:ext>
            </c:extLst>
          </c:dPt>
          <c:dPt>
            <c:idx val="3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B54-40B8-9BBB-2B8817C7BF24}"/>
              </c:ext>
            </c:extLst>
          </c:dPt>
          <c:dPt>
            <c:idx val="4"/>
            <c:bubble3D val="0"/>
            <c:spPr>
              <a:solidFill>
                <a:srgbClr val="F15D4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B54-40B8-9BBB-2B8817C7BF24}"/>
              </c:ext>
            </c:extLst>
          </c:dPt>
          <c:dPt>
            <c:idx val="5"/>
            <c:bubble3D val="0"/>
            <c:spPr>
              <a:solidFill>
                <a:srgbClr val="A3C64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B54-40B8-9BBB-2B8817C7BF24}"/>
              </c:ext>
            </c:extLst>
          </c:dPt>
          <c:cat>
            <c:strRef>
              <c:f>Sheet1!$A$2:$A$7</c:f>
              <c:strCache>
                <c:ptCount val="6"/>
                <c:pt idx="0">
                  <c:v>Financial Services</c:v>
                </c:pt>
                <c:pt idx="1">
                  <c:v>Software &amp; Hi-tech</c:v>
                </c:pt>
                <c:pt idx="2">
                  <c:v>Emerging</c:v>
                </c:pt>
                <c:pt idx="3">
                  <c:v>Business Information &amp; Media</c:v>
                </c:pt>
                <c:pt idx="4">
                  <c:v>Life Sciences &amp; Healthcare</c:v>
                </c:pt>
                <c:pt idx="5">
                  <c:v>Travel &amp; Consum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51</c:v>
                </c:pt>
                <c:pt idx="1">
                  <c:v>195</c:v>
                </c:pt>
                <c:pt idx="2">
                  <c:v>146</c:v>
                </c:pt>
                <c:pt idx="3">
                  <c:v>198</c:v>
                </c:pt>
                <c:pt idx="4">
                  <c:v>129</c:v>
                </c:pt>
                <c:pt idx="5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B54-40B8-9BBB-2B8817C7BF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80CDD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85-40A5-ADD0-F68D0FED8559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85-40A5-ADD0-F68D0FED855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B85-40A5-ADD0-F68D0FED8559}"/>
              </c:ext>
            </c:extLst>
          </c:dPt>
          <c:dPt>
            <c:idx val="3"/>
            <c:bubble3D val="0"/>
            <c:spPr>
              <a:solidFill>
                <a:srgbClr val="26385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B85-40A5-ADD0-F68D0FED8559}"/>
              </c:ext>
            </c:extLst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AMERICAS</c:v>
                </c:pt>
                <c:pt idx="1">
                  <c:v>APAC</c:v>
                </c:pt>
                <c:pt idx="2">
                  <c:v>CEE</c:v>
                </c:pt>
                <c:pt idx="3">
                  <c:v>EME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22</c:v>
                </c:pt>
                <c:pt idx="1">
                  <c:v>30</c:v>
                </c:pt>
                <c:pt idx="2">
                  <c:v>20</c:v>
                </c:pt>
                <c:pt idx="3">
                  <c:v>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85-40A5-ADD0-F68D0FED855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CACD08-C815-4939-A2BD-D9B89D5BCF13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BF6508F-59A3-42BA-995F-949DDE690DA6}">
      <dgm:prSet phldrT="[Text]"/>
      <dgm:spPr/>
      <dgm:t>
        <a:bodyPr/>
        <a:lstStyle/>
        <a:p>
          <a:r>
            <a:rPr lang="en-US" dirty="0"/>
            <a:t>Speed</a:t>
          </a:r>
        </a:p>
      </dgm:t>
    </dgm:pt>
    <dgm:pt modelId="{915124BF-DBE8-49CD-BEB0-8D4F4CEC005C}" type="parTrans" cxnId="{396B6DED-5C49-4F18-9338-F1DE886D147F}">
      <dgm:prSet/>
      <dgm:spPr/>
      <dgm:t>
        <a:bodyPr/>
        <a:lstStyle/>
        <a:p>
          <a:endParaRPr lang="en-US"/>
        </a:p>
      </dgm:t>
    </dgm:pt>
    <dgm:pt modelId="{81688FD2-205A-44B9-B268-3439DB4EEF37}" type="sibTrans" cxnId="{396B6DED-5C49-4F18-9338-F1DE886D147F}">
      <dgm:prSet/>
      <dgm:spPr/>
      <dgm:t>
        <a:bodyPr/>
        <a:lstStyle/>
        <a:p>
          <a:endParaRPr lang="en-US"/>
        </a:p>
      </dgm:t>
    </dgm:pt>
    <dgm:pt modelId="{D40C2A76-7C73-473A-B1D0-7725CF7E1556}">
      <dgm:prSet phldrT="[Text]"/>
      <dgm:spPr/>
      <dgm:t>
        <a:bodyPr/>
        <a:lstStyle/>
        <a:p>
          <a:pPr>
            <a:lnSpc>
              <a:spcPct val="200000"/>
            </a:lnSpc>
            <a:buFont typeface="+mj-lt"/>
            <a:buNone/>
          </a:pPr>
          <a:r>
            <a:rPr lang="en-US" b="1" i="0" dirty="0"/>
            <a:t>1. Lead Time for Changes</a:t>
          </a:r>
          <a:r>
            <a:rPr lang="en-US" b="0" i="0" dirty="0"/>
            <a:t> </a:t>
          </a:r>
          <a:endParaRPr lang="en-US" dirty="0"/>
        </a:p>
      </dgm:t>
    </dgm:pt>
    <dgm:pt modelId="{246D9A52-A8F0-4B0C-A33C-AF02D71C4248}" type="parTrans" cxnId="{57D9019F-BA3F-4965-A1CB-A28D999CCB91}">
      <dgm:prSet/>
      <dgm:spPr/>
      <dgm:t>
        <a:bodyPr/>
        <a:lstStyle/>
        <a:p>
          <a:endParaRPr lang="en-US"/>
        </a:p>
      </dgm:t>
    </dgm:pt>
    <dgm:pt modelId="{84608F4A-254F-402A-84A8-A1208420AC8D}" type="sibTrans" cxnId="{57D9019F-BA3F-4965-A1CB-A28D999CCB91}">
      <dgm:prSet/>
      <dgm:spPr/>
      <dgm:t>
        <a:bodyPr/>
        <a:lstStyle/>
        <a:p>
          <a:endParaRPr lang="en-US"/>
        </a:p>
      </dgm:t>
    </dgm:pt>
    <dgm:pt modelId="{662925A5-7761-4354-9A5A-FCCA35C19ADE}">
      <dgm:prSet phldrT="[Text]"/>
      <dgm:spPr/>
      <dgm:t>
        <a:bodyPr/>
        <a:lstStyle/>
        <a:p>
          <a:r>
            <a:rPr lang="en-US" dirty="0"/>
            <a:t>Stability</a:t>
          </a:r>
        </a:p>
      </dgm:t>
    </dgm:pt>
    <dgm:pt modelId="{CA7178B1-F3CD-4FF6-BFE1-2DCA8C0BCE16}" type="parTrans" cxnId="{383D0650-255F-43C9-BD4B-26466006A486}">
      <dgm:prSet/>
      <dgm:spPr/>
      <dgm:t>
        <a:bodyPr/>
        <a:lstStyle/>
        <a:p>
          <a:endParaRPr lang="en-US"/>
        </a:p>
      </dgm:t>
    </dgm:pt>
    <dgm:pt modelId="{C58717BE-1509-4B61-ADFF-421B1BC361D0}" type="sibTrans" cxnId="{383D0650-255F-43C9-BD4B-26466006A486}">
      <dgm:prSet/>
      <dgm:spPr/>
      <dgm:t>
        <a:bodyPr/>
        <a:lstStyle/>
        <a:p>
          <a:endParaRPr lang="en-US"/>
        </a:p>
      </dgm:t>
    </dgm:pt>
    <dgm:pt modelId="{2CC8795C-CF0B-4EF3-84EE-68D9A680AD49}">
      <dgm:prSet phldrT="[Text]"/>
      <dgm:spPr/>
      <dgm:t>
        <a:bodyPr/>
        <a:lstStyle/>
        <a:p>
          <a:pPr>
            <a:lnSpc>
              <a:spcPct val="200000"/>
            </a:lnSpc>
          </a:pPr>
          <a:r>
            <a:rPr lang="en-US" b="1" i="0" dirty="0"/>
            <a:t>3. Change Failure Rate</a:t>
          </a:r>
          <a:endParaRPr lang="en-US" dirty="0"/>
        </a:p>
      </dgm:t>
    </dgm:pt>
    <dgm:pt modelId="{7F1BE22B-C555-4C58-A775-AF5E289BA2E6}" type="parTrans" cxnId="{50523BAF-0583-4980-8A9A-B4A1204C5E59}">
      <dgm:prSet/>
      <dgm:spPr/>
      <dgm:t>
        <a:bodyPr/>
        <a:lstStyle/>
        <a:p>
          <a:endParaRPr lang="en-US"/>
        </a:p>
      </dgm:t>
    </dgm:pt>
    <dgm:pt modelId="{178F339F-9727-4D1D-92E4-4D465ED681B4}" type="sibTrans" cxnId="{50523BAF-0583-4980-8A9A-B4A1204C5E59}">
      <dgm:prSet/>
      <dgm:spPr/>
      <dgm:t>
        <a:bodyPr/>
        <a:lstStyle/>
        <a:p>
          <a:endParaRPr lang="en-US"/>
        </a:p>
      </dgm:t>
    </dgm:pt>
    <dgm:pt modelId="{35981ED9-AEFE-48C3-9F7A-CFF6798E8183}">
      <dgm:prSet phldrT="[Text]"/>
      <dgm:spPr/>
      <dgm:t>
        <a:bodyPr/>
        <a:lstStyle/>
        <a:p>
          <a:pPr>
            <a:lnSpc>
              <a:spcPct val="200000"/>
            </a:lnSpc>
            <a:buFont typeface="+mj-lt"/>
            <a:buNone/>
          </a:pPr>
          <a:r>
            <a:rPr lang="en-US" b="1" i="0" dirty="0"/>
            <a:t>2. Deployment Frequency</a:t>
          </a:r>
          <a:endParaRPr lang="en-US" dirty="0"/>
        </a:p>
      </dgm:t>
    </dgm:pt>
    <dgm:pt modelId="{8380EDD6-086A-4BA0-BB73-41FDE2D76207}" type="parTrans" cxnId="{AE93B140-10A6-406E-B925-7B20A5FD8194}">
      <dgm:prSet/>
      <dgm:spPr/>
      <dgm:t>
        <a:bodyPr/>
        <a:lstStyle/>
        <a:p>
          <a:endParaRPr lang="en-US"/>
        </a:p>
      </dgm:t>
    </dgm:pt>
    <dgm:pt modelId="{B228D50E-EC17-42FD-9851-B5E06017DF61}" type="sibTrans" cxnId="{AE93B140-10A6-406E-B925-7B20A5FD8194}">
      <dgm:prSet/>
      <dgm:spPr/>
      <dgm:t>
        <a:bodyPr/>
        <a:lstStyle/>
        <a:p>
          <a:endParaRPr lang="en-US"/>
        </a:p>
      </dgm:t>
    </dgm:pt>
    <dgm:pt modelId="{DDD1FBAA-80B4-4F85-961F-5C8FF49A14D4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US" b="1" i="0" dirty="0"/>
            <a:t>4. Time to Restore Service (MTTR)</a:t>
          </a:r>
          <a:r>
            <a:rPr lang="en-US" b="0" i="0" dirty="0"/>
            <a:t> </a:t>
          </a:r>
          <a:endParaRPr lang="en-US" dirty="0"/>
        </a:p>
      </dgm:t>
    </dgm:pt>
    <dgm:pt modelId="{7A19100C-74C8-46B4-A6C8-CD0E518F499B}" type="parTrans" cxnId="{EFFB5F37-442D-45C0-8E9A-0AA68F12BCC9}">
      <dgm:prSet/>
      <dgm:spPr/>
      <dgm:t>
        <a:bodyPr/>
        <a:lstStyle/>
        <a:p>
          <a:endParaRPr lang="en-US"/>
        </a:p>
      </dgm:t>
    </dgm:pt>
    <dgm:pt modelId="{25485592-9CCD-4D1C-A6B9-7D186D83CDAB}" type="sibTrans" cxnId="{EFFB5F37-442D-45C0-8E9A-0AA68F12BCC9}">
      <dgm:prSet/>
      <dgm:spPr/>
      <dgm:t>
        <a:bodyPr/>
        <a:lstStyle/>
        <a:p>
          <a:endParaRPr lang="en-US"/>
        </a:p>
      </dgm:t>
    </dgm:pt>
    <dgm:pt modelId="{684A5FBA-E013-426E-AFC7-CB1F4383FFEB}" type="pres">
      <dgm:prSet presAssocID="{2CCACD08-C815-4939-A2BD-D9B89D5BCF13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D7E02070-49CC-4604-8065-B33B20D372DC}" type="pres">
      <dgm:prSet presAssocID="{CBF6508F-59A3-42BA-995F-949DDE690DA6}" presName="parentText1" presStyleLbl="node1" presStyleIdx="0" presStyleCnt="2">
        <dgm:presLayoutVars>
          <dgm:chMax/>
          <dgm:chPref val="3"/>
          <dgm:bulletEnabled val="1"/>
        </dgm:presLayoutVars>
      </dgm:prSet>
      <dgm:spPr/>
    </dgm:pt>
    <dgm:pt modelId="{87D38B44-2F29-4DE5-93DD-20C11B3439E4}" type="pres">
      <dgm:prSet presAssocID="{CBF6508F-59A3-42BA-995F-949DDE690DA6}" presName="childText1" presStyleLbl="solidAlignAcc1" presStyleIdx="0" presStyleCnt="2">
        <dgm:presLayoutVars>
          <dgm:chMax val="0"/>
          <dgm:chPref val="0"/>
          <dgm:bulletEnabled val="1"/>
        </dgm:presLayoutVars>
      </dgm:prSet>
      <dgm:spPr/>
    </dgm:pt>
    <dgm:pt modelId="{6D7CE385-14D1-4C5F-8B7A-DEAEA5C39901}" type="pres">
      <dgm:prSet presAssocID="{662925A5-7761-4354-9A5A-FCCA35C19ADE}" presName="parentText2" presStyleLbl="node1" presStyleIdx="1" presStyleCnt="2">
        <dgm:presLayoutVars>
          <dgm:chMax/>
          <dgm:chPref val="3"/>
          <dgm:bulletEnabled val="1"/>
        </dgm:presLayoutVars>
      </dgm:prSet>
      <dgm:spPr/>
    </dgm:pt>
    <dgm:pt modelId="{57C776D2-8974-47A8-A50B-EA2B8B65A065}" type="pres">
      <dgm:prSet presAssocID="{662925A5-7761-4354-9A5A-FCCA35C19ADE}" presName="childText2" presStyleLbl="solidAlignAcc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A1EE490B-6ABE-4CBF-B009-6AFB083972EC}" type="presOf" srcId="{2CC8795C-CF0B-4EF3-84EE-68D9A680AD49}" destId="{57C776D2-8974-47A8-A50B-EA2B8B65A065}" srcOrd="0" destOrd="0" presId="urn:microsoft.com/office/officeart/2009/3/layout/IncreasingArrowsProcess"/>
    <dgm:cxn modelId="{EFFB5F37-442D-45C0-8E9A-0AA68F12BCC9}" srcId="{662925A5-7761-4354-9A5A-FCCA35C19ADE}" destId="{DDD1FBAA-80B4-4F85-961F-5C8FF49A14D4}" srcOrd="1" destOrd="0" parTransId="{7A19100C-74C8-46B4-A6C8-CD0E518F499B}" sibTransId="{25485592-9CCD-4D1C-A6B9-7D186D83CDAB}"/>
    <dgm:cxn modelId="{AE93B140-10A6-406E-B925-7B20A5FD8194}" srcId="{CBF6508F-59A3-42BA-995F-949DDE690DA6}" destId="{35981ED9-AEFE-48C3-9F7A-CFF6798E8183}" srcOrd="1" destOrd="0" parTransId="{8380EDD6-086A-4BA0-BB73-41FDE2D76207}" sibTransId="{B228D50E-EC17-42FD-9851-B5E06017DF61}"/>
    <dgm:cxn modelId="{9246886D-2A0B-4F1B-A478-CC6BAD94C392}" type="presOf" srcId="{2CCACD08-C815-4939-A2BD-D9B89D5BCF13}" destId="{684A5FBA-E013-426E-AFC7-CB1F4383FFEB}" srcOrd="0" destOrd="0" presId="urn:microsoft.com/office/officeart/2009/3/layout/IncreasingArrowsProcess"/>
    <dgm:cxn modelId="{383D0650-255F-43C9-BD4B-26466006A486}" srcId="{2CCACD08-C815-4939-A2BD-D9B89D5BCF13}" destId="{662925A5-7761-4354-9A5A-FCCA35C19ADE}" srcOrd="1" destOrd="0" parTransId="{CA7178B1-F3CD-4FF6-BFE1-2DCA8C0BCE16}" sibTransId="{C58717BE-1509-4B61-ADFF-421B1BC361D0}"/>
    <dgm:cxn modelId="{74B54484-2DAB-4263-98CC-0B0BDC6BAE44}" type="presOf" srcId="{CBF6508F-59A3-42BA-995F-949DDE690DA6}" destId="{D7E02070-49CC-4604-8065-B33B20D372DC}" srcOrd="0" destOrd="0" presId="urn:microsoft.com/office/officeart/2009/3/layout/IncreasingArrowsProcess"/>
    <dgm:cxn modelId="{57D9019F-BA3F-4965-A1CB-A28D999CCB91}" srcId="{CBF6508F-59A3-42BA-995F-949DDE690DA6}" destId="{D40C2A76-7C73-473A-B1D0-7725CF7E1556}" srcOrd="0" destOrd="0" parTransId="{246D9A52-A8F0-4B0C-A33C-AF02D71C4248}" sibTransId="{84608F4A-254F-402A-84A8-A1208420AC8D}"/>
    <dgm:cxn modelId="{5D18DFA2-2F6C-4CF2-9402-56F132AE3A7F}" type="presOf" srcId="{DDD1FBAA-80B4-4F85-961F-5C8FF49A14D4}" destId="{57C776D2-8974-47A8-A50B-EA2B8B65A065}" srcOrd="0" destOrd="1" presId="urn:microsoft.com/office/officeart/2009/3/layout/IncreasingArrowsProcess"/>
    <dgm:cxn modelId="{50523BAF-0583-4980-8A9A-B4A1204C5E59}" srcId="{662925A5-7761-4354-9A5A-FCCA35C19ADE}" destId="{2CC8795C-CF0B-4EF3-84EE-68D9A680AD49}" srcOrd="0" destOrd="0" parTransId="{7F1BE22B-C555-4C58-A775-AF5E289BA2E6}" sibTransId="{178F339F-9727-4D1D-92E4-4D465ED681B4}"/>
    <dgm:cxn modelId="{30C42CDE-8CB2-4EDE-B67B-385FF330E34B}" type="presOf" srcId="{D40C2A76-7C73-473A-B1D0-7725CF7E1556}" destId="{87D38B44-2F29-4DE5-93DD-20C11B3439E4}" srcOrd="0" destOrd="0" presId="urn:microsoft.com/office/officeart/2009/3/layout/IncreasingArrowsProcess"/>
    <dgm:cxn modelId="{0451F6E5-ECBD-4F79-A03D-7705AAE1D466}" type="presOf" srcId="{35981ED9-AEFE-48C3-9F7A-CFF6798E8183}" destId="{87D38B44-2F29-4DE5-93DD-20C11B3439E4}" srcOrd="0" destOrd="1" presId="urn:microsoft.com/office/officeart/2009/3/layout/IncreasingArrowsProcess"/>
    <dgm:cxn modelId="{396B6DED-5C49-4F18-9338-F1DE886D147F}" srcId="{2CCACD08-C815-4939-A2BD-D9B89D5BCF13}" destId="{CBF6508F-59A3-42BA-995F-949DDE690DA6}" srcOrd="0" destOrd="0" parTransId="{915124BF-DBE8-49CD-BEB0-8D4F4CEC005C}" sibTransId="{81688FD2-205A-44B9-B268-3439DB4EEF37}"/>
    <dgm:cxn modelId="{5BFB0FF3-32B8-45BD-A4DE-F47F6882BC27}" type="presOf" srcId="{662925A5-7761-4354-9A5A-FCCA35C19ADE}" destId="{6D7CE385-14D1-4C5F-8B7A-DEAEA5C39901}" srcOrd="0" destOrd="0" presId="urn:microsoft.com/office/officeart/2009/3/layout/IncreasingArrowsProcess"/>
    <dgm:cxn modelId="{3FA83CC1-D707-47A8-AFD0-00B6DEFE9423}" type="presParOf" srcId="{684A5FBA-E013-426E-AFC7-CB1F4383FFEB}" destId="{D7E02070-49CC-4604-8065-B33B20D372DC}" srcOrd="0" destOrd="0" presId="urn:microsoft.com/office/officeart/2009/3/layout/IncreasingArrowsProcess"/>
    <dgm:cxn modelId="{7898E56F-87F3-4DA1-B34B-ADA8DEDFAB32}" type="presParOf" srcId="{684A5FBA-E013-426E-AFC7-CB1F4383FFEB}" destId="{87D38B44-2F29-4DE5-93DD-20C11B3439E4}" srcOrd="1" destOrd="0" presId="urn:microsoft.com/office/officeart/2009/3/layout/IncreasingArrowsProcess"/>
    <dgm:cxn modelId="{6904DF8D-EDF6-4CCE-A3CA-0D35362478CB}" type="presParOf" srcId="{684A5FBA-E013-426E-AFC7-CB1F4383FFEB}" destId="{6D7CE385-14D1-4C5F-8B7A-DEAEA5C39901}" srcOrd="2" destOrd="0" presId="urn:microsoft.com/office/officeart/2009/3/layout/IncreasingArrowsProcess"/>
    <dgm:cxn modelId="{BF65F929-18FF-4E3A-B684-886B7A91D466}" type="presParOf" srcId="{684A5FBA-E013-426E-AFC7-CB1F4383FFEB}" destId="{57C776D2-8974-47A8-A50B-EA2B8B65A065}" srcOrd="3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E02070-49CC-4604-8065-B33B20D372DC}">
      <dsp:nvSpPr>
        <dsp:cNvPr id="0" name=""/>
        <dsp:cNvSpPr/>
      </dsp:nvSpPr>
      <dsp:spPr>
        <a:xfrm>
          <a:off x="0" y="147952"/>
          <a:ext cx="11458280" cy="166889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254000" bIns="264938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Speed</a:t>
          </a:r>
        </a:p>
      </dsp:txBody>
      <dsp:txXfrm>
        <a:off x="0" y="565176"/>
        <a:ext cx="11041056" cy="834449"/>
      </dsp:txXfrm>
    </dsp:sp>
    <dsp:sp modelId="{87D38B44-2F29-4DE5-93DD-20C11B3439E4}">
      <dsp:nvSpPr>
        <dsp:cNvPr id="0" name=""/>
        <dsp:cNvSpPr/>
      </dsp:nvSpPr>
      <dsp:spPr>
        <a:xfrm>
          <a:off x="0" y="1439050"/>
          <a:ext cx="5293725" cy="372506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20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3200" b="1" i="0" kern="1200" dirty="0"/>
            <a:t>1. Lead Time for Changes</a:t>
          </a:r>
          <a:r>
            <a:rPr lang="en-US" sz="3200" b="0" i="0" kern="1200" dirty="0"/>
            <a:t> </a:t>
          </a:r>
          <a:endParaRPr lang="en-US" sz="3200" kern="1200" dirty="0"/>
        </a:p>
        <a:p>
          <a:pPr marL="0" lvl="0" indent="0" algn="l" defTabSz="1422400">
            <a:lnSpc>
              <a:spcPct val="20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3200" b="1" i="0" kern="1200" dirty="0"/>
            <a:t>2. Deployment Frequency</a:t>
          </a:r>
          <a:endParaRPr lang="en-US" sz="3200" kern="1200" dirty="0"/>
        </a:p>
      </dsp:txBody>
      <dsp:txXfrm>
        <a:off x="0" y="1439050"/>
        <a:ext cx="5293725" cy="3725069"/>
      </dsp:txXfrm>
    </dsp:sp>
    <dsp:sp modelId="{6D7CE385-14D1-4C5F-8B7A-DEAEA5C39901}">
      <dsp:nvSpPr>
        <dsp:cNvPr id="0" name=""/>
        <dsp:cNvSpPr/>
      </dsp:nvSpPr>
      <dsp:spPr>
        <a:xfrm>
          <a:off x="5293725" y="704066"/>
          <a:ext cx="6164554" cy="166889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-8493474"/>
            <a:satOff val="44317"/>
            <a:lumOff val="-1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254000" bIns="264938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Stability</a:t>
          </a:r>
        </a:p>
      </dsp:txBody>
      <dsp:txXfrm>
        <a:off x="5293725" y="1121290"/>
        <a:ext cx="5747330" cy="834449"/>
      </dsp:txXfrm>
    </dsp:sp>
    <dsp:sp modelId="{57C776D2-8974-47A8-A50B-EA2B8B65A065}">
      <dsp:nvSpPr>
        <dsp:cNvPr id="0" name=""/>
        <dsp:cNvSpPr/>
      </dsp:nvSpPr>
      <dsp:spPr>
        <a:xfrm>
          <a:off x="5293725" y="1995163"/>
          <a:ext cx="5293725" cy="372506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8493474"/>
              <a:satOff val="44317"/>
              <a:lumOff val="-15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2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/>
            <a:t>3. Change Failure Rate</a:t>
          </a:r>
          <a:endParaRPr lang="en-US" sz="3200" kern="1200" dirty="0"/>
        </a:p>
        <a:p>
          <a:pPr marL="0" lvl="0" indent="0" algn="l" defTabSz="1422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/>
            <a:t>4. Time to Restore Service (MTTR)</a:t>
          </a:r>
          <a:r>
            <a:rPr lang="en-US" sz="3200" b="0" i="0" kern="1200" dirty="0"/>
            <a:t> </a:t>
          </a:r>
          <a:endParaRPr lang="en-US" sz="3200" kern="1200" dirty="0"/>
        </a:p>
      </dsp:txBody>
      <dsp:txXfrm>
        <a:off x="5293725" y="1995163"/>
        <a:ext cx="5293725" cy="37250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0AE391-5090-4A20-BB83-AE7944D757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E0C791-4472-47EB-A5D1-40410E8609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83E989-3A32-4871-848D-A577D002F4D8}" type="datetimeFigureOut">
              <a:rPr lang="en-US" smtClean="0"/>
              <a:t>10/2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289C3D-9323-4256-B98A-37D9853EA9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71EE58-95EA-4121-8D8F-D9BF9D78CF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AC666C-E93D-47E9-A306-F95DA55A0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80DEF-0AD7-4BDB-840C-61DE4010FC3D}" type="datetimeFigureOut">
              <a:rPr lang="en-US" smtClean="0"/>
              <a:t>10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68A001-691D-41D9-91DC-B9507CB04C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41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/>
              <a:t>Software Engine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Language agnostic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Full-stack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olution Architect:</a:t>
            </a:r>
            <a:r>
              <a:rPr lang="en-US" sz="800" baseline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Provider specific Cloud Servic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Deployment Models: Private, Public, Multi, Hybrid cloud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ecurity Engineer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Security on Application, Infrastructure, UI, and Data level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ompliance risks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Authentication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800"/>
              <a:t>DevOps Engine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Containers and orche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Release Engin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endParaRPr lang="en-US" sz="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74FABB-6DBE-47C4-B626-20167906F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202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/>
              <a:t>Software Engine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Language agnostic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Full-stack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olution Architect:</a:t>
            </a:r>
            <a:r>
              <a:rPr lang="en-US" sz="800" baseline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Provider specific Cloud Servic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Deployment Models: Private, Public, Multi, Hybrid cloud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ecurity Engineer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Security on Application, Infrastructure, UI, and Data level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ompliance risks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Authentication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800"/>
              <a:t>DevOps Engine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Containers and orche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Release Engin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endParaRPr lang="en-US" sz="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74FABB-6DBE-47C4-B626-20167906F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769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/>
              <a:t>Software Engine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Language agnostic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Full-stack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olution Architect:</a:t>
            </a:r>
            <a:r>
              <a:rPr lang="en-US" sz="800" baseline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Provider specific Cloud Servic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Deployment Models: Private, Public, Multi, Hybrid cloud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Security Engineer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Security on Application, Infrastructure, UI, and Data level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ompliance risks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Cloud Authentication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800"/>
              <a:t>DevOps Engine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Containers and orche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Release Engin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/>
              <a:t>…</a:t>
            </a: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800">
              <a:solidFill>
                <a:schemeClr val="bg2">
                  <a:lumMod val="25000"/>
                </a:schemeClr>
              </a:solidFill>
            </a:endParaRPr>
          </a:p>
          <a:p>
            <a:endParaRPr lang="en-US" sz="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74FABB-6DBE-47C4-B626-20167906F4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969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E96F99-6EC4-4297-9182-0C55216820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811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A5C3A5-A464-4897-B884-BB9B35180A5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154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imated slide – Click on a city to see a slide with more detail about the 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90029-A909-AD4E-9775-A0D64990AD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314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epa.ms/stories" TargetMode="Externa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209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251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6724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2185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398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57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80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0581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558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14131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461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3566160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486400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4632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596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33283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032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553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68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466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537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62236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5487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124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55248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4346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96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31815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912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21738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42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390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825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81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5706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 Descri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4046861-98EF-8743-9C12-267EC1D8E7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57200" y="2730381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A666C02-EA3A-C441-B424-21DB595FE3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7200" y="4238918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</p:spTree>
    <p:extLst>
      <p:ext uri="{BB962C8B-B14F-4D97-AF65-F5344CB8AC3E}">
        <p14:creationId xmlns:p14="http://schemas.microsoft.com/office/powerpoint/2010/main" val="1784897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20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4572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2499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1138750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 userDrawn="1"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726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181100"/>
            <a:ext cx="4426771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63" y="2717434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4663" y="3178108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663" y="3470825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63" y="409250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63" y="437943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" y="5003434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26DCF78-A14C-7743-94BB-7E13C2AD86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088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D1A62F-CC97-827A-36A4-4C99DD6B6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852939-1AC5-1211-0A5B-7206D4329B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A51A27-46C8-96C9-3B83-8727F1813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E6A43-56F2-564F-B8D6-09576EA4421C}" type="datetimeFigureOut">
              <a:rPr lang="en-US" smtClean="0"/>
              <a:t>10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DC12F-2433-448B-5CAF-CBB89FA0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BB1A08-162B-E8B8-2C4F-59A737A12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E18ACD-A621-5D42-8451-01BE0C096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47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353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49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4666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822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6481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  <p:sldLayoutId id="2147483963" r:id="rId20"/>
    <p:sldLayoutId id="2147483964" r:id="rId21"/>
    <p:sldLayoutId id="2147483965" r:id="rId22"/>
    <p:sldLayoutId id="2147483966" r:id="rId23"/>
    <p:sldLayoutId id="2147483967" r:id="rId24"/>
    <p:sldLayoutId id="2147483968" r:id="rId25"/>
    <p:sldLayoutId id="2147483969" r:id="rId26"/>
    <p:sldLayoutId id="2147483970" r:id="rId27"/>
    <p:sldLayoutId id="2147483971" r:id="rId28"/>
    <p:sldLayoutId id="2147483972" r:id="rId29"/>
    <p:sldLayoutId id="2147483973" r:id="rId30"/>
    <p:sldLayoutId id="2147483974" r:id="rId31"/>
    <p:sldLayoutId id="2147483975" r:id="rId32"/>
    <p:sldLayoutId id="2147483976" r:id="rId33"/>
    <p:sldLayoutId id="2147483977" r:id="rId34"/>
    <p:sldLayoutId id="2147483978" r:id="rId35"/>
    <p:sldLayoutId id="2147483979" r:id="rId36"/>
    <p:sldLayoutId id="2147483980" r:id="rId37"/>
    <p:sldLayoutId id="2147483981" r:id="rId38"/>
    <p:sldLayoutId id="2147483982" r:id="rId39"/>
    <p:sldLayoutId id="2147483983" r:id="rId40"/>
    <p:sldLayoutId id="2147483984" r:id="rId41"/>
    <p:sldLayoutId id="2147483985" r:id="rId42"/>
    <p:sldLayoutId id="2147483986" r:id="rId43"/>
    <p:sldLayoutId id="2147483987" r:id="rId44"/>
    <p:sldLayoutId id="2147483988" r:id="rId4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312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fif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5" Type="http://schemas.openxmlformats.org/officeDocument/2006/relationships/hyperlink" Target="https://www.google.com/imgres?imgurl=https%3A%2F%2Fwww.telescopeai.com%2Fetc%2Fdesigns%2Ftelescopeai%2Fimages%2Fcommon%2Flogo.png&amp;imgrefurl=https%3A%2F%2Fwww.telescopeai.com%2Fabout&amp;docid=VfB23Jt9-kZDFM&amp;tbnid=VFQivGeDi6ebzM%3A&amp;vet=10ahUKEwi499vaopnkAhUImuAKHYHNDO8QMwhSKAwwDA..i&amp;w=1200&amp;h=627&amp;bih=607&amp;biw=1280&amp;q=epam%20telescopeai&amp;ved=0ahUKEwi499vaopnkAhUImuAKHYHNDO8QMwhSKAwwDA&amp;iact=mrc&amp;uact=8" TargetMode="Externa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tiff"/><Relationship Id="rId13" Type="http://schemas.openxmlformats.org/officeDocument/2006/relationships/image" Target="../media/image57.png"/><Relationship Id="rId3" Type="http://schemas.openxmlformats.org/officeDocument/2006/relationships/image" Target="../media/image47.tiff"/><Relationship Id="rId7" Type="http://schemas.openxmlformats.org/officeDocument/2006/relationships/image" Target="../media/image51.tiff"/><Relationship Id="rId12" Type="http://schemas.openxmlformats.org/officeDocument/2006/relationships/image" Target="../media/image56.png"/><Relationship Id="rId2" Type="http://schemas.openxmlformats.org/officeDocument/2006/relationships/image" Target="../media/image46.tiff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tiff"/><Relationship Id="rId11" Type="http://schemas.openxmlformats.org/officeDocument/2006/relationships/image" Target="../media/image55.png"/><Relationship Id="rId5" Type="http://schemas.openxmlformats.org/officeDocument/2006/relationships/image" Target="../media/image49.tiff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4" Type="http://schemas.openxmlformats.org/officeDocument/2006/relationships/image" Target="../media/image48.tiff"/><Relationship Id="rId9" Type="http://schemas.openxmlformats.org/officeDocument/2006/relationships/image" Target="../media/image53.png"/><Relationship Id="rId1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microsoft.com/office/2007/relationships/hdphoto" Target="../media/hdphoto6.wdp"/><Relationship Id="rId18" Type="http://schemas.openxmlformats.org/officeDocument/2006/relationships/image" Target="../media/image72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67.png"/><Relationship Id="rId17" Type="http://schemas.openxmlformats.org/officeDocument/2006/relationships/image" Target="../media/image71.jpeg"/><Relationship Id="rId2" Type="http://schemas.openxmlformats.org/officeDocument/2006/relationships/image" Target="../media/image62.png"/><Relationship Id="rId16" Type="http://schemas.openxmlformats.org/officeDocument/2006/relationships/image" Target="../media/image7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5" Type="http://schemas.openxmlformats.org/officeDocument/2006/relationships/image" Target="../media/image69.jpeg"/><Relationship Id="rId10" Type="http://schemas.openxmlformats.org/officeDocument/2006/relationships/image" Target="../media/image66.png"/><Relationship Id="rId19" Type="http://schemas.openxmlformats.org/officeDocument/2006/relationships/image" Target="../media/image73.jpeg"/><Relationship Id="rId4" Type="http://schemas.openxmlformats.org/officeDocument/2006/relationships/image" Target="../media/image63.png"/><Relationship Id="rId9" Type="http://schemas.microsoft.com/office/2007/relationships/hdphoto" Target="../media/hdphoto4.wdp"/><Relationship Id="rId14" Type="http://schemas.openxmlformats.org/officeDocument/2006/relationships/image" Target="../media/image6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33C5FB5-B0EE-6745-B14C-5FD3639BA68E}"/>
              </a:ext>
            </a:extLst>
          </p:cNvPr>
          <p:cNvSpPr/>
          <p:nvPr/>
        </p:nvSpPr>
        <p:spPr>
          <a:xfrm>
            <a:off x="1720979" y="755971"/>
            <a:ext cx="3916421" cy="3269044"/>
          </a:xfrm>
          <a:custGeom>
            <a:avLst/>
            <a:gdLst>
              <a:gd name="connsiteX0" fmla="*/ 110226 w 2937316"/>
              <a:gd name="connsiteY0" fmla="*/ 1635853 h 2451783"/>
              <a:gd name="connsiteX1" fmla="*/ 93448 w 2937316"/>
              <a:gd name="connsiteY1" fmla="*/ 1577131 h 2451783"/>
              <a:gd name="connsiteX2" fmla="*/ 85059 w 2937316"/>
              <a:gd name="connsiteY2" fmla="*/ 1518408 h 2451783"/>
              <a:gd name="connsiteX3" fmla="*/ 76671 w 2937316"/>
              <a:gd name="connsiteY3" fmla="*/ 1468074 h 2451783"/>
              <a:gd name="connsiteX4" fmla="*/ 59893 w 2937316"/>
              <a:gd name="connsiteY4" fmla="*/ 1367406 h 2451783"/>
              <a:gd name="connsiteX5" fmla="*/ 43115 w 2937316"/>
              <a:gd name="connsiteY5" fmla="*/ 1216404 h 2451783"/>
              <a:gd name="connsiteX6" fmla="*/ 34726 w 2937316"/>
              <a:gd name="connsiteY6" fmla="*/ 1149292 h 2451783"/>
              <a:gd name="connsiteX7" fmla="*/ 26337 w 2937316"/>
              <a:gd name="connsiteY7" fmla="*/ 1107347 h 2451783"/>
              <a:gd name="connsiteX8" fmla="*/ 17948 w 2937316"/>
              <a:gd name="connsiteY8" fmla="*/ 1006679 h 2451783"/>
              <a:gd name="connsiteX9" fmla="*/ 1170 w 2937316"/>
              <a:gd name="connsiteY9" fmla="*/ 855677 h 2451783"/>
              <a:gd name="connsiteX10" fmla="*/ 17948 w 2937316"/>
              <a:gd name="connsiteY10" fmla="*/ 528507 h 2451783"/>
              <a:gd name="connsiteX11" fmla="*/ 34726 w 2937316"/>
              <a:gd name="connsiteY11" fmla="*/ 478173 h 2451783"/>
              <a:gd name="connsiteX12" fmla="*/ 85059 w 2937316"/>
              <a:gd name="connsiteY12" fmla="*/ 402672 h 2451783"/>
              <a:gd name="connsiteX13" fmla="*/ 101837 w 2937316"/>
              <a:gd name="connsiteY13" fmla="*/ 377505 h 2451783"/>
              <a:gd name="connsiteX14" fmla="*/ 118615 w 2937316"/>
              <a:gd name="connsiteY14" fmla="*/ 352338 h 2451783"/>
              <a:gd name="connsiteX15" fmla="*/ 143782 w 2937316"/>
              <a:gd name="connsiteY15" fmla="*/ 327171 h 2451783"/>
              <a:gd name="connsiteX16" fmla="*/ 177338 w 2937316"/>
              <a:gd name="connsiteY16" fmla="*/ 276837 h 2451783"/>
              <a:gd name="connsiteX17" fmla="*/ 202505 w 2937316"/>
              <a:gd name="connsiteY17" fmla="*/ 251670 h 2451783"/>
              <a:gd name="connsiteX18" fmla="*/ 236061 w 2937316"/>
              <a:gd name="connsiteY18" fmla="*/ 201336 h 2451783"/>
              <a:gd name="connsiteX19" fmla="*/ 311562 w 2937316"/>
              <a:gd name="connsiteY19" fmla="*/ 159391 h 2451783"/>
              <a:gd name="connsiteX20" fmla="*/ 370285 w 2937316"/>
              <a:gd name="connsiteY20" fmla="*/ 134224 h 2451783"/>
              <a:gd name="connsiteX21" fmla="*/ 429008 w 2937316"/>
              <a:gd name="connsiteY21" fmla="*/ 109057 h 2451783"/>
              <a:gd name="connsiteX22" fmla="*/ 454175 w 2937316"/>
              <a:gd name="connsiteY22" fmla="*/ 92279 h 2451783"/>
              <a:gd name="connsiteX23" fmla="*/ 504509 w 2937316"/>
              <a:gd name="connsiteY23" fmla="*/ 75501 h 2451783"/>
              <a:gd name="connsiteX24" fmla="*/ 529676 w 2937316"/>
              <a:gd name="connsiteY24" fmla="*/ 67112 h 2451783"/>
              <a:gd name="connsiteX25" fmla="*/ 554843 w 2937316"/>
              <a:gd name="connsiteY25" fmla="*/ 58723 h 2451783"/>
              <a:gd name="connsiteX26" fmla="*/ 588399 w 2937316"/>
              <a:gd name="connsiteY26" fmla="*/ 50334 h 2451783"/>
              <a:gd name="connsiteX27" fmla="*/ 613566 w 2937316"/>
              <a:gd name="connsiteY27" fmla="*/ 41945 h 2451783"/>
              <a:gd name="connsiteX28" fmla="*/ 647122 w 2937316"/>
              <a:gd name="connsiteY28" fmla="*/ 33556 h 2451783"/>
              <a:gd name="connsiteX29" fmla="*/ 697456 w 2937316"/>
              <a:gd name="connsiteY29" fmla="*/ 16778 h 2451783"/>
              <a:gd name="connsiteX30" fmla="*/ 789735 w 2937316"/>
              <a:gd name="connsiteY30" fmla="*/ 0 h 2451783"/>
              <a:gd name="connsiteX31" fmla="*/ 1234351 w 2937316"/>
              <a:gd name="connsiteY31" fmla="*/ 8389 h 2451783"/>
              <a:gd name="connsiteX32" fmla="*/ 1343408 w 2937316"/>
              <a:gd name="connsiteY32" fmla="*/ 25167 h 2451783"/>
              <a:gd name="connsiteX33" fmla="*/ 1418909 w 2937316"/>
              <a:gd name="connsiteY33" fmla="*/ 33556 h 2451783"/>
              <a:gd name="connsiteX34" fmla="*/ 1544744 w 2937316"/>
              <a:gd name="connsiteY34" fmla="*/ 50334 h 2451783"/>
              <a:gd name="connsiteX35" fmla="*/ 1628634 w 2937316"/>
              <a:gd name="connsiteY35" fmla="*/ 58723 h 2451783"/>
              <a:gd name="connsiteX36" fmla="*/ 1704135 w 2937316"/>
              <a:gd name="connsiteY36" fmla="*/ 83890 h 2451783"/>
              <a:gd name="connsiteX37" fmla="*/ 1729302 w 2937316"/>
              <a:gd name="connsiteY37" fmla="*/ 92279 h 2451783"/>
              <a:gd name="connsiteX38" fmla="*/ 1754469 w 2937316"/>
              <a:gd name="connsiteY38" fmla="*/ 109057 h 2451783"/>
              <a:gd name="connsiteX39" fmla="*/ 1779636 w 2937316"/>
              <a:gd name="connsiteY39" fmla="*/ 117446 h 2451783"/>
              <a:gd name="connsiteX40" fmla="*/ 1829970 w 2937316"/>
              <a:gd name="connsiteY40" fmla="*/ 151002 h 2451783"/>
              <a:gd name="connsiteX41" fmla="*/ 1846748 w 2937316"/>
              <a:gd name="connsiteY41" fmla="*/ 176169 h 2451783"/>
              <a:gd name="connsiteX42" fmla="*/ 1888693 w 2937316"/>
              <a:gd name="connsiteY42" fmla="*/ 218114 h 2451783"/>
              <a:gd name="connsiteX43" fmla="*/ 1905471 w 2937316"/>
              <a:gd name="connsiteY43" fmla="*/ 293615 h 2451783"/>
              <a:gd name="connsiteX44" fmla="*/ 1913859 w 2937316"/>
              <a:gd name="connsiteY44" fmla="*/ 318782 h 2451783"/>
              <a:gd name="connsiteX45" fmla="*/ 1922248 w 2937316"/>
              <a:gd name="connsiteY45" fmla="*/ 360727 h 2451783"/>
              <a:gd name="connsiteX46" fmla="*/ 1939026 w 2937316"/>
              <a:gd name="connsiteY46" fmla="*/ 453006 h 2451783"/>
              <a:gd name="connsiteX47" fmla="*/ 1955804 w 2937316"/>
              <a:gd name="connsiteY47" fmla="*/ 520118 h 2451783"/>
              <a:gd name="connsiteX48" fmla="*/ 1964193 w 2937316"/>
              <a:gd name="connsiteY48" fmla="*/ 553674 h 2451783"/>
              <a:gd name="connsiteX49" fmla="*/ 1972582 w 2937316"/>
              <a:gd name="connsiteY49" fmla="*/ 595619 h 2451783"/>
              <a:gd name="connsiteX50" fmla="*/ 1980971 w 2937316"/>
              <a:gd name="connsiteY50" fmla="*/ 704675 h 2451783"/>
              <a:gd name="connsiteX51" fmla="*/ 1997749 w 2937316"/>
              <a:gd name="connsiteY51" fmla="*/ 796954 h 2451783"/>
              <a:gd name="connsiteX52" fmla="*/ 2014527 w 2937316"/>
              <a:gd name="connsiteY52" fmla="*/ 897622 h 2451783"/>
              <a:gd name="connsiteX53" fmla="*/ 2031305 w 2937316"/>
              <a:gd name="connsiteY53" fmla="*/ 973123 h 2451783"/>
              <a:gd name="connsiteX54" fmla="*/ 2022916 w 2937316"/>
              <a:gd name="connsiteY54" fmla="*/ 1082180 h 2451783"/>
              <a:gd name="connsiteX55" fmla="*/ 2006138 w 2937316"/>
              <a:gd name="connsiteY55" fmla="*/ 1140903 h 2451783"/>
              <a:gd name="connsiteX56" fmla="*/ 1980971 w 2937316"/>
              <a:gd name="connsiteY56" fmla="*/ 1199626 h 2451783"/>
              <a:gd name="connsiteX57" fmla="*/ 1964193 w 2937316"/>
              <a:gd name="connsiteY57" fmla="*/ 1266738 h 2451783"/>
              <a:gd name="connsiteX58" fmla="*/ 1897082 w 2937316"/>
              <a:gd name="connsiteY58" fmla="*/ 1275127 h 2451783"/>
              <a:gd name="connsiteX59" fmla="*/ 1880304 w 2937316"/>
              <a:gd name="connsiteY59" fmla="*/ 1300294 h 2451783"/>
              <a:gd name="connsiteX60" fmla="*/ 1863526 w 2937316"/>
              <a:gd name="connsiteY60" fmla="*/ 1350628 h 2451783"/>
              <a:gd name="connsiteX61" fmla="*/ 1855137 w 2937316"/>
              <a:gd name="connsiteY61" fmla="*/ 1375795 h 2451783"/>
              <a:gd name="connsiteX62" fmla="*/ 1846748 w 2937316"/>
              <a:gd name="connsiteY62" fmla="*/ 1400962 h 2451783"/>
              <a:gd name="connsiteX63" fmla="*/ 1838359 w 2937316"/>
              <a:gd name="connsiteY63" fmla="*/ 1426129 h 2451783"/>
              <a:gd name="connsiteX64" fmla="*/ 1829970 w 2937316"/>
              <a:gd name="connsiteY64" fmla="*/ 1493241 h 2451783"/>
              <a:gd name="connsiteX65" fmla="*/ 1871915 w 2937316"/>
              <a:gd name="connsiteY65" fmla="*/ 1484852 h 2451783"/>
              <a:gd name="connsiteX66" fmla="*/ 1913859 w 2937316"/>
              <a:gd name="connsiteY66" fmla="*/ 1510019 h 2451783"/>
              <a:gd name="connsiteX67" fmla="*/ 2031305 w 2937316"/>
              <a:gd name="connsiteY67" fmla="*/ 1568742 h 2451783"/>
              <a:gd name="connsiteX68" fmla="*/ 2165529 w 2937316"/>
              <a:gd name="connsiteY68" fmla="*/ 1652631 h 2451783"/>
              <a:gd name="connsiteX69" fmla="*/ 2341698 w 2937316"/>
              <a:gd name="connsiteY69" fmla="*/ 1778466 h 2451783"/>
              <a:gd name="connsiteX70" fmla="*/ 2450755 w 2937316"/>
              <a:gd name="connsiteY70" fmla="*/ 1887523 h 2451783"/>
              <a:gd name="connsiteX71" fmla="*/ 2492700 w 2937316"/>
              <a:gd name="connsiteY71" fmla="*/ 1929468 h 2451783"/>
              <a:gd name="connsiteX72" fmla="*/ 2526256 w 2937316"/>
              <a:gd name="connsiteY72" fmla="*/ 1971413 h 2451783"/>
              <a:gd name="connsiteX73" fmla="*/ 2559812 w 2937316"/>
              <a:gd name="connsiteY73" fmla="*/ 2004969 h 2451783"/>
              <a:gd name="connsiteX74" fmla="*/ 2610146 w 2937316"/>
              <a:gd name="connsiteY74" fmla="*/ 2072081 h 2451783"/>
              <a:gd name="connsiteX75" fmla="*/ 2643702 w 2937316"/>
              <a:gd name="connsiteY75" fmla="*/ 2105637 h 2451783"/>
              <a:gd name="connsiteX76" fmla="*/ 2694036 w 2937316"/>
              <a:gd name="connsiteY76" fmla="*/ 2181138 h 2451783"/>
              <a:gd name="connsiteX77" fmla="*/ 2719203 w 2937316"/>
              <a:gd name="connsiteY77" fmla="*/ 2206305 h 2451783"/>
              <a:gd name="connsiteX78" fmla="*/ 2735981 w 2937316"/>
              <a:gd name="connsiteY78" fmla="*/ 2239861 h 2451783"/>
              <a:gd name="connsiteX79" fmla="*/ 2769537 w 2937316"/>
              <a:gd name="connsiteY79" fmla="*/ 2290195 h 2451783"/>
              <a:gd name="connsiteX80" fmla="*/ 2803093 w 2937316"/>
              <a:gd name="connsiteY80" fmla="*/ 2357307 h 2451783"/>
              <a:gd name="connsiteX81" fmla="*/ 2811482 w 2937316"/>
              <a:gd name="connsiteY81" fmla="*/ 2399252 h 2451783"/>
              <a:gd name="connsiteX82" fmla="*/ 2819871 w 2937316"/>
              <a:gd name="connsiteY82" fmla="*/ 2449586 h 2451783"/>
              <a:gd name="connsiteX83" fmla="*/ 2870204 w 2937316"/>
              <a:gd name="connsiteY83" fmla="*/ 2432808 h 2451783"/>
              <a:gd name="connsiteX84" fmla="*/ 2937316 w 2937316"/>
              <a:gd name="connsiteY84" fmla="*/ 2424419 h 245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937316" h="2451783">
                <a:moveTo>
                  <a:pt x="110226" y="1635853"/>
                </a:moveTo>
                <a:cubicBezTo>
                  <a:pt x="104633" y="1616279"/>
                  <a:pt x="97713" y="1597036"/>
                  <a:pt x="93448" y="1577131"/>
                </a:cubicBezTo>
                <a:cubicBezTo>
                  <a:pt x="89305" y="1557797"/>
                  <a:pt x="88065" y="1537951"/>
                  <a:pt x="85059" y="1518408"/>
                </a:cubicBezTo>
                <a:cubicBezTo>
                  <a:pt x="82473" y="1501596"/>
                  <a:pt x="79714" y="1484809"/>
                  <a:pt x="76671" y="1468074"/>
                </a:cubicBezTo>
                <a:cubicBezTo>
                  <a:pt x="65769" y="1408111"/>
                  <a:pt x="68405" y="1438343"/>
                  <a:pt x="59893" y="1367406"/>
                </a:cubicBezTo>
                <a:cubicBezTo>
                  <a:pt x="53859" y="1317123"/>
                  <a:pt x="49397" y="1266657"/>
                  <a:pt x="43115" y="1216404"/>
                </a:cubicBezTo>
                <a:cubicBezTo>
                  <a:pt x="40319" y="1194033"/>
                  <a:pt x="38154" y="1171575"/>
                  <a:pt x="34726" y="1149292"/>
                </a:cubicBezTo>
                <a:cubicBezTo>
                  <a:pt x="32558" y="1135199"/>
                  <a:pt x="29133" y="1121329"/>
                  <a:pt x="26337" y="1107347"/>
                </a:cubicBezTo>
                <a:cubicBezTo>
                  <a:pt x="23541" y="1073791"/>
                  <a:pt x="21299" y="1040184"/>
                  <a:pt x="17948" y="1006679"/>
                </a:cubicBezTo>
                <a:cubicBezTo>
                  <a:pt x="12909" y="956287"/>
                  <a:pt x="1170" y="855677"/>
                  <a:pt x="1170" y="855677"/>
                </a:cubicBezTo>
                <a:cubicBezTo>
                  <a:pt x="2049" y="825805"/>
                  <a:pt x="-7906" y="623305"/>
                  <a:pt x="17948" y="528507"/>
                </a:cubicBezTo>
                <a:cubicBezTo>
                  <a:pt x="22601" y="511445"/>
                  <a:pt x="24916" y="492888"/>
                  <a:pt x="34726" y="478173"/>
                </a:cubicBezTo>
                <a:lnTo>
                  <a:pt x="85059" y="402672"/>
                </a:lnTo>
                <a:lnTo>
                  <a:pt x="101837" y="377505"/>
                </a:lnTo>
                <a:cubicBezTo>
                  <a:pt x="107430" y="369116"/>
                  <a:pt x="111486" y="359467"/>
                  <a:pt x="118615" y="352338"/>
                </a:cubicBezTo>
                <a:cubicBezTo>
                  <a:pt x="127004" y="343949"/>
                  <a:pt x="136498" y="336536"/>
                  <a:pt x="143782" y="327171"/>
                </a:cubicBezTo>
                <a:cubicBezTo>
                  <a:pt x="156162" y="311254"/>
                  <a:pt x="163079" y="291096"/>
                  <a:pt x="177338" y="276837"/>
                </a:cubicBezTo>
                <a:cubicBezTo>
                  <a:pt x="185727" y="268448"/>
                  <a:pt x="195221" y="261035"/>
                  <a:pt x="202505" y="251670"/>
                </a:cubicBezTo>
                <a:cubicBezTo>
                  <a:pt x="214885" y="235753"/>
                  <a:pt x="219283" y="212521"/>
                  <a:pt x="236061" y="201336"/>
                </a:cubicBezTo>
                <a:cubicBezTo>
                  <a:pt x="394765" y="95533"/>
                  <a:pt x="222968" y="203688"/>
                  <a:pt x="311562" y="159391"/>
                </a:cubicBezTo>
                <a:cubicBezTo>
                  <a:pt x="369496" y="130424"/>
                  <a:pt x="300448" y="151683"/>
                  <a:pt x="370285" y="134224"/>
                </a:cubicBezTo>
                <a:cubicBezTo>
                  <a:pt x="433468" y="92102"/>
                  <a:pt x="353168" y="141560"/>
                  <a:pt x="429008" y="109057"/>
                </a:cubicBezTo>
                <a:cubicBezTo>
                  <a:pt x="438275" y="105085"/>
                  <a:pt x="444962" y="96374"/>
                  <a:pt x="454175" y="92279"/>
                </a:cubicBezTo>
                <a:cubicBezTo>
                  <a:pt x="470336" y="85096"/>
                  <a:pt x="487731" y="81094"/>
                  <a:pt x="504509" y="75501"/>
                </a:cubicBezTo>
                <a:lnTo>
                  <a:pt x="529676" y="67112"/>
                </a:lnTo>
                <a:cubicBezTo>
                  <a:pt x="538065" y="64316"/>
                  <a:pt x="546264" y="60868"/>
                  <a:pt x="554843" y="58723"/>
                </a:cubicBezTo>
                <a:cubicBezTo>
                  <a:pt x="566028" y="55927"/>
                  <a:pt x="577313" y="53501"/>
                  <a:pt x="588399" y="50334"/>
                </a:cubicBezTo>
                <a:cubicBezTo>
                  <a:pt x="596902" y="47905"/>
                  <a:pt x="605063" y="44374"/>
                  <a:pt x="613566" y="41945"/>
                </a:cubicBezTo>
                <a:cubicBezTo>
                  <a:pt x="624652" y="38778"/>
                  <a:pt x="636079" y="36869"/>
                  <a:pt x="647122" y="33556"/>
                </a:cubicBezTo>
                <a:cubicBezTo>
                  <a:pt x="664062" y="28474"/>
                  <a:pt x="680114" y="20246"/>
                  <a:pt x="697456" y="16778"/>
                </a:cubicBezTo>
                <a:cubicBezTo>
                  <a:pt x="756080" y="5053"/>
                  <a:pt x="725336" y="10733"/>
                  <a:pt x="789735" y="0"/>
                </a:cubicBezTo>
                <a:lnTo>
                  <a:pt x="1234351" y="8389"/>
                </a:lnTo>
                <a:cubicBezTo>
                  <a:pt x="1300111" y="10545"/>
                  <a:pt x="1289159" y="17417"/>
                  <a:pt x="1343408" y="25167"/>
                </a:cubicBezTo>
                <a:cubicBezTo>
                  <a:pt x="1368475" y="28748"/>
                  <a:pt x="1393783" y="30415"/>
                  <a:pt x="1418909" y="33556"/>
                </a:cubicBezTo>
                <a:cubicBezTo>
                  <a:pt x="1528077" y="47202"/>
                  <a:pt x="1425943" y="37134"/>
                  <a:pt x="1544744" y="50334"/>
                </a:cubicBezTo>
                <a:cubicBezTo>
                  <a:pt x="1572675" y="53437"/>
                  <a:pt x="1600671" y="55927"/>
                  <a:pt x="1628634" y="58723"/>
                </a:cubicBezTo>
                <a:lnTo>
                  <a:pt x="1704135" y="83890"/>
                </a:lnTo>
                <a:cubicBezTo>
                  <a:pt x="1712524" y="86686"/>
                  <a:pt x="1721944" y="87374"/>
                  <a:pt x="1729302" y="92279"/>
                </a:cubicBezTo>
                <a:cubicBezTo>
                  <a:pt x="1737691" y="97872"/>
                  <a:pt x="1745451" y="104548"/>
                  <a:pt x="1754469" y="109057"/>
                </a:cubicBezTo>
                <a:cubicBezTo>
                  <a:pt x="1762378" y="113012"/>
                  <a:pt x="1771906" y="113152"/>
                  <a:pt x="1779636" y="117446"/>
                </a:cubicBezTo>
                <a:cubicBezTo>
                  <a:pt x="1797263" y="127239"/>
                  <a:pt x="1829970" y="151002"/>
                  <a:pt x="1829970" y="151002"/>
                </a:cubicBezTo>
                <a:cubicBezTo>
                  <a:pt x="1835563" y="159391"/>
                  <a:pt x="1839619" y="169040"/>
                  <a:pt x="1846748" y="176169"/>
                </a:cubicBezTo>
                <a:cubicBezTo>
                  <a:pt x="1902675" y="232096"/>
                  <a:pt x="1843952" y="151002"/>
                  <a:pt x="1888693" y="218114"/>
                </a:cubicBezTo>
                <a:cubicBezTo>
                  <a:pt x="1894461" y="246953"/>
                  <a:pt x="1897572" y="265966"/>
                  <a:pt x="1905471" y="293615"/>
                </a:cubicBezTo>
                <a:cubicBezTo>
                  <a:pt x="1907900" y="302117"/>
                  <a:pt x="1911714" y="310203"/>
                  <a:pt x="1913859" y="318782"/>
                </a:cubicBezTo>
                <a:cubicBezTo>
                  <a:pt x="1917317" y="332615"/>
                  <a:pt x="1919697" y="346698"/>
                  <a:pt x="1922248" y="360727"/>
                </a:cubicBezTo>
                <a:cubicBezTo>
                  <a:pt x="1929588" y="401100"/>
                  <a:pt x="1930145" y="414522"/>
                  <a:pt x="1939026" y="453006"/>
                </a:cubicBezTo>
                <a:cubicBezTo>
                  <a:pt x="1944211" y="475475"/>
                  <a:pt x="1950211" y="497747"/>
                  <a:pt x="1955804" y="520118"/>
                </a:cubicBezTo>
                <a:cubicBezTo>
                  <a:pt x="1958600" y="531303"/>
                  <a:pt x="1961932" y="542368"/>
                  <a:pt x="1964193" y="553674"/>
                </a:cubicBezTo>
                <a:lnTo>
                  <a:pt x="1972582" y="595619"/>
                </a:lnTo>
                <a:cubicBezTo>
                  <a:pt x="1975378" y="631971"/>
                  <a:pt x="1977154" y="668416"/>
                  <a:pt x="1980971" y="704675"/>
                </a:cubicBezTo>
                <a:cubicBezTo>
                  <a:pt x="1984337" y="736651"/>
                  <a:pt x="1992200" y="765509"/>
                  <a:pt x="1997749" y="796954"/>
                </a:cubicBezTo>
                <a:cubicBezTo>
                  <a:pt x="2003661" y="830455"/>
                  <a:pt x="2006276" y="864619"/>
                  <a:pt x="2014527" y="897622"/>
                </a:cubicBezTo>
                <a:cubicBezTo>
                  <a:pt x="2026374" y="945011"/>
                  <a:pt x="2020655" y="919872"/>
                  <a:pt x="2031305" y="973123"/>
                </a:cubicBezTo>
                <a:cubicBezTo>
                  <a:pt x="2028509" y="1009475"/>
                  <a:pt x="2027176" y="1045970"/>
                  <a:pt x="2022916" y="1082180"/>
                </a:cubicBezTo>
                <a:cubicBezTo>
                  <a:pt x="2021765" y="1091960"/>
                  <a:pt x="2010976" y="1129613"/>
                  <a:pt x="2006138" y="1140903"/>
                </a:cubicBezTo>
                <a:cubicBezTo>
                  <a:pt x="1988950" y="1181007"/>
                  <a:pt x="1990808" y="1163558"/>
                  <a:pt x="1980971" y="1199626"/>
                </a:cubicBezTo>
                <a:cubicBezTo>
                  <a:pt x="1974904" y="1221873"/>
                  <a:pt x="1987074" y="1263878"/>
                  <a:pt x="1964193" y="1266738"/>
                </a:cubicBezTo>
                <a:lnTo>
                  <a:pt x="1897082" y="1275127"/>
                </a:lnTo>
                <a:cubicBezTo>
                  <a:pt x="1891489" y="1283516"/>
                  <a:pt x="1884399" y="1291081"/>
                  <a:pt x="1880304" y="1300294"/>
                </a:cubicBezTo>
                <a:cubicBezTo>
                  <a:pt x="1873121" y="1316455"/>
                  <a:pt x="1869119" y="1333850"/>
                  <a:pt x="1863526" y="1350628"/>
                </a:cubicBezTo>
                <a:lnTo>
                  <a:pt x="1855137" y="1375795"/>
                </a:lnTo>
                <a:lnTo>
                  <a:pt x="1846748" y="1400962"/>
                </a:lnTo>
                <a:lnTo>
                  <a:pt x="1838359" y="1426129"/>
                </a:lnTo>
                <a:cubicBezTo>
                  <a:pt x="1835563" y="1448500"/>
                  <a:pt x="1818785" y="1473667"/>
                  <a:pt x="1829970" y="1493241"/>
                </a:cubicBezTo>
                <a:cubicBezTo>
                  <a:pt x="1837044" y="1505621"/>
                  <a:pt x="1857933" y="1482056"/>
                  <a:pt x="1871915" y="1484852"/>
                </a:cubicBezTo>
                <a:cubicBezTo>
                  <a:pt x="1887903" y="1488050"/>
                  <a:pt x="1899430" y="1502425"/>
                  <a:pt x="1913859" y="1510019"/>
                </a:cubicBezTo>
                <a:cubicBezTo>
                  <a:pt x="1952591" y="1530405"/>
                  <a:pt x="1995688" y="1543302"/>
                  <a:pt x="2031305" y="1568742"/>
                </a:cubicBezTo>
                <a:cubicBezTo>
                  <a:pt x="2156891" y="1658444"/>
                  <a:pt x="2017015" y="1561872"/>
                  <a:pt x="2165529" y="1652631"/>
                </a:cubicBezTo>
                <a:cubicBezTo>
                  <a:pt x="2202275" y="1675087"/>
                  <a:pt x="2318974" y="1755742"/>
                  <a:pt x="2341698" y="1778466"/>
                </a:cubicBezTo>
                <a:lnTo>
                  <a:pt x="2450755" y="1887523"/>
                </a:lnTo>
                <a:cubicBezTo>
                  <a:pt x="2464737" y="1901505"/>
                  <a:pt x="2480348" y="1914028"/>
                  <a:pt x="2492700" y="1929468"/>
                </a:cubicBezTo>
                <a:cubicBezTo>
                  <a:pt x="2503885" y="1943450"/>
                  <a:pt x="2514360" y="1958030"/>
                  <a:pt x="2526256" y="1971413"/>
                </a:cubicBezTo>
                <a:cubicBezTo>
                  <a:pt x="2536765" y="1983236"/>
                  <a:pt x="2549685" y="1992817"/>
                  <a:pt x="2559812" y="2004969"/>
                </a:cubicBezTo>
                <a:cubicBezTo>
                  <a:pt x="2577714" y="2026451"/>
                  <a:pt x="2590373" y="2052308"/>
                  <a:pt x="2610146" y="2072081"/>
                </a:cubicBezTo>
                <a:cubicBezTo>
                  <a:pt x="2621331" y="2083266"/>
                  <a:pt x="2633990" y="2093151"/>
                  <a:pt x="2643702" y="2105637"/>
                </a:cubicBezTo>
                <a:cubicBezTo>
                  <a:pt x="2722554" y="2207018"/>
                  <a:pt x="2619220" y="2093852"/>
                  <a:pt x="2694036" y="2181138"/>
                </a:cubicBezTo>
                <a:cubicBezTo>
                  <a:pt x="2701757" y="2190146"/>
                  <a:pt x="2712307" y="2196651"/>
                  <a:pt x="2719203" y="2206305"/>
                </a:cubicBezTo>
                <a:cubicBezTo>
                  <a:pt x="2726472" y="2216481"/>
                  <a:pt x="2729547" y="2229138"/>
                  <a:pt x="2735981" y="2239861"/>
                </a:cubicBezTo>
                <a:cubicBezTo>
                  <a:pt x="2746356" y="2257152"/>
                  <a:pt x="2759881" y="2272493"/>
                  <a:pt x="2769537" y="2290195"/>
                </a:cubicBezTo>
                <a:cubicBezTo>
                  <a:pt x="2831104" y="2403069"/>
                  <a:pt x="2750481" y="2278389"/>
                  <a:pt x="2803093" y="2357307"/>
                </a:cubicBezTo>
                <a:cubicBezTo>
                  <a:pt x="2805889" y="2371289"/>
                  <a:pt x="2808931" y="2385223"/>
                  <a:pt x="2811482" y="2399252"/>
                </a:cubicBezTo>
                <a:cubicBezTo>
                  <a:pt x="2814525" y="2415987"/>
                  <a:pt x="2805103" y="2441147"/>
                  <a:pt x="2819871" y="2449586"/>
                </a:cubicBezTo>
                <a:cubicBezTo>
                  <a:pt x="2835226" y="2458360"/>
                  <a:pt x="2853426" y="2438401"/>
                  <a:pt x="2870204" y="2432808"/>
                </a:cubicBezTo>
                <a:cubicBezTo>
                  <a:pt x="2908635" y="2419998"/>
                  <a:pt x="2886529" y="2424419"/>
                  <a:pt x="2937316" y="2424419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674526" y="1696398"/>
            <a:ext cx="4631941" cy="4234712"/>
          </a:xfrm>
          <a:custGeom>
            <a:avLst/>
            <a:gdLst>
              <a:gd name="connsiteX0" fmla="*/ 0 w 2035436"/>
              <a:gd name="connsiteY0" fmla="*/ 1017718 h 2035436"/>
              <a:gd name="connsiteX1" fmla="*/ 1017718 w 2035436"/>
              <a:gd name="connsiteY1" fmla="*/ 0 h 2035436"/>
              <a:gd name="connsiteX2" fmla="*/ 2035436 w 2035436"/>
              <a:gd name="connsiteY2" fmla="*/ 1017718 h 2035436"/>
              <a:gd name="connsiteX3" fmla="*/ 1017718 w 2035436"/>
              <a:gd name="connsiteY3" fmla="*/ 2035436 h 2035436"/>
              <a:gd name="connsiteX4" fmla="*/ 0 w 2035436"/>
              <a:gd name="connsiteY4" fmla="*/ 1017718 h 20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5436" h="2035436">
                <a:moveTo>
                  <a:pt x="0" y="1017718"/>
                </a:moveTo>
                <a:cubicBezTo>
                  <a:pt x="0" y="455648"/>
                  <a:pt x="455648" y="0"/>
                  <a:pt x="1017718" y="0"/>
                </a:cubicBezTo>
                <a:cubicBezTo>
                  <a:pt x="1579788" y="0"/>
                  <a:pt x="2035436" y="455648"/>
                  <a:pt x="2035436" y="1017718"/>
                </a:cubicBezTo>
                <a:cubicBezTo>
                  <a:pt x="2035436" y="1579788"/>
                  <a:pt x="1579788" y="2035436"/>
                  <a:pt x="1017718" y="2035436"/>
                </a:cubicBezTo>
                <a:cubicBezTo>
                  <a:pt x="455648" y="2035436"/>
                  <a:pt x="0" y="1579788"/>
                  <a:pt x="0" y="1017718"/>
                </a:cubicBezTo>
                <a:close/>
              </a:path>
            </a:pathLst>
          </a:custGeom>
          <a:solidFill>
            <a:srgbClr val="80CDD8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438084" tIns="438084" rIns="438084" bIns="438084" numCol="1" spcCol="1270" anchor="ctr" anchorCtr="0">
            <a:noAutofit/>
          </a:bodyPr>
          <a:lstStyle/>
          <a:p>
            <a:pPr marL="0" marR="0" lvl="0" indent="0" algn="ctr" defTabSz="1422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ftware</a:t>
            </a:r>
            <a:b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5D9B4E-5647-C7A1-9BA8-B4968F84084F}"/>
              </a:ext>
            </a:extLst>
          </p:cNvPr>
          <p:cNvGrpSpPr/>
          <p:nvPr/>
        </p:nvGrpSpPr>
        <p:grpSpPr>
          <a:xfrm>
            <a:off x="222737" y="0"/>
            <a:ext cx="7535524" cy="6249971"/>
            <a:chOff x="222737" y="0"/>
            <a:chExt cx="7535524" cy="6249971"/>
          </a:xfrm>
        </p:grpSpPr>
        <p:sp>
          <p:nvSpPr>
            <p:cNvPr id="16" name="Freeform 15"/>
            <p:cNvSpPr/>
            <p:nvPr/>
          </p:nvSpPr>
          <p:spPr>
            <a:xfrm>
              <a:off x="2832512" y="0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C8DE49">
                <a:alpha val="5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te Reliability</a:t>
              </a:r>
            </a:p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Engineer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5442290" y="4132615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FFECB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Ops</a:t>
              </a:r>
              <a:b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222737" y="4132615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E3EEA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  <a:b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8180634" y="969955"/>
            <a:ext cx="367550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oud Native Engine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ines Expertise in a Wide Range of Adjunct Disciplines</a:t>
            </a: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580457D9-6050-B22C-635A-F715C65E2BE9}"/>
              </a:ext>
            </a:extLst>
          </p:cNvPr>
          <p:cNvSpPr/>
          <p:nvPr/>
        </p:nvSpPr>
        <p:spPr bwMode="auto">
          <a:xfrm>
            <a:off x="5959252" y="3705559"/>
            <a:ext cx="1282046" cy="1065229"/>
          </a:xfrm>
          <a:prstGeom prst="star5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59204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33C5FB5-B0EE-6745-B14C-5FD3639BA68E}"/>
              </a:ext>
            </a:extLst>
          </p:cNvPr>
          <p:cNvSpPr/>
          <p:nvPr/>
        </p:nvSpPr>
        <p:spPr>
          <a:xfrm>
            <a:off x="1720979" y="755971"/>
            <a:ext cx="3916421" cy="3269044"/>
          </a:xfrm>
          <a:custGeom>
            <a:avLst/>
            <a:gdLst>
              <a:gd name="connsiteX0" fmla="*/ 110226 w 2937316"/>
              <a:gd name="connsiteY0" fmla="*/ 1635853 h 2451783"/>
              <a:gd name="connsiteX1" fmla="*/ 93448 w 2937316"/>
              <a:gd name="connsiteY1" fmla="*/ 1577131 h 2451783"/>
              <a:gd name="connsiteX2" fmla="*/ 85059 w 2937316"/>
              <a:gd name="connsiteY2" fmla="*/ 1518408 h 2451783"/>
              <a:gd name="connsiteX3" fmla="*/ 76671 w 2937316"/>
              <a:gd name="connsiteY3" fmla="*/ 1468074 h 2451783"/>
              <a:gd name="connsiteX4" fmla="*/ 59893 w 2937316"/>
              <a:gd name="connsiteY4" fmla="*/ 1367406 h 2451783"/>
              <a:gd name="connsiteX5" fmla="*/ 43115 w 2937316"/>
              <a:gd name="connsiteY5" fmla="*/ 1216404 h 2451783"/>
              <a:gd name="connsiteX6" fmla="*/ 34726 w 2937316"/>
              <a:gd name="connsiteY6" fmla="*/ 1149292 h 2451783"/>
              <a:gd name="connsiteX7" fmla="*/ 26337 w 2937316"/>
              <a:gd name="connsiteY7" fmla="*/ 1107347 h 2451783"/>
              <a:gd name="connsiteX8" fmla="*/ 17948 w 2937316"/>
              <a:gd name="connsiteY8" fmla="*/ 1006679 h 2451783"/>
              <a:gd name="connsiteX9" fmla="*/ 1170 w 2937316"/>
              <a:gd name="connsiteY9" fmla="*/ 855677 h 2451783"/>
              <a:gd name="connsiteX10" fmla="*/ 17948 w 2937316"/>
              <a:gd name="connsiteY10" fmla="*/ 528507 h 2451783"/>
              <a:gd name="connsiteX11" fmla="*/ 34726 w 2937316"/>
              <a:gd name="connsiteY11" fmla="*/ 478173 h 2451783"/>
              <a:gd name="connsiteX12" fmla="*/ 85059 w 2937316"/>
              <a:gd name="connsiteY12" fmla="*/ 402672 h 2451783"/>
              <a:gd name="connsiteX13" fmla="*/ 101837 w 2937316"/>
              <a:gd name="connsiteY13" fmla="*/ 377505 h 2451783"/>
              <a:gd name="connsiteX14" fmla="*/ 118615 w 2937316"/>
              <a:gd name="connsiteY14" fmla="*/ 352338 h 2451783"/>
              <a:gd name="connsiteX15" fmla="*/ 143782 w 2937316"/>
              <a:gd name="connsiteY15" fmla="*/ 327171 h 2451783"/>
              <a:gd name="connsiteX16" fmla="*/ 177338 w 2937316"/>
              <a:gd name="connsiteY16" fmla="*/ 276837 h 2451783"/>
              <a:gd name="connsiteX17" fmla="*/ 202505 w 2937316"/>
              <a:gd name="connsiteY17" fmla="*/ 251670 h 2451783"/>
              <a:gd name="connsiteX18" fmla="*/ 236061 w 2937316"/>
              <a:gd name="connsiteY18" fmla="*/ 201336 h 2451783"/>
              <a:gd name="connsiteX19" fmla="*/ 311562 w 2937316"/>
              <a:gd name="connsiteY19" fmla="*/ 159391 h 2451783"/>
              <a:gd name="connsiteX20" fmla="*/ 370285 w 2937316"/>
              <a:gd name="connsiteY20" fmla="*/ 134224 h 2451783"/>
              <a:gd name="connsiteX21" fmla="*/ 429008 w 2937316"/>
              <a:gd name="connsiteY21" fmla="*/ 109057 h 2451783"/>
              <a:gd name="connsiteX22" fmla="*/ 454175 w 2937316"/>
              <a:gd name="connsiteY22" fmla="*/ 92279 h 2451783"/>
              <a:gd name="connsiteX23" fmla="*/ 504509 w 2937316"/>
              <a:gd name="connsiteY23" fmla="*/ 75501 h 2451783"/>
              <a:gd name="connsiteX24" fmla="*/ 529676 w 2937316"/>
              <a:gd name="connsiteY24" fmla="*/ 67112 h 2451783"/>
              <a:gd name="connsiteX25" fmla="*/ 554843 w 2937316"/>
              <a:gd name="connsiteY25" fmla="*/ 58723 h 2451783"/>
              <a:gd name="connsiteX26" fmla="*/ 588399 w 2937316"/>
              <a:gd name="connsiteY26" fmla="*/ 50334 h 2451783"/>
              <a:gd name="connsiteX27" fmla="*/ 613566 w 2937316"/>
              <a:gd name="connsiteY27" fmla="*/ 41945 h 2451783"/>
              <a:gd name="connsiteX28" fmla="*/ 647122 w 2937316"/>
              <a:gd name="connsiteY28" fmla="*/ 33556 h 2451783"/>
              <a:gd name="connsiteX29" fmla="*/ 697456 w 2937316"/>
              <a:gd name="connsiteY29" fmla="*/ 16778 h 2451783"/>
              <a:gd name="connsiteX30" fmla="*/ 789735 w 2937316"/>
              <a:gd name="connsiteY30" fmla="*/ 0 h 2451783"/>
              <a:gd name="connsiteX31" fmla="*/ 1234351 w 2937316"/>
              <a:gd name="connsiteY31" fmla="*/ 8389 h 2451783"/>
              <a:gd name="connsiteX32" fmla="*/ 1343408 w 2937316"/>
              <a:gd name="connsiteY32" fmla="*/ 25167 h 2451783"/>
              <a:gd name="connsiteX33" fmla="*/ 1418909 w 2937316"/>
              <a:gd name="connsiteY33" fmla="*/ 33556 h 2451783"/>
              <a:gd name="connsiteX34" fmla="*/ 1544744 w 2937316"/>
              <a:gd name="connsiteY34" fmla="*/ 50334 h 2451783"/>
              <a:gd name="connsiteX35" fmla="*/ 1628634 w 2937316"/>
              <a:gd name="connsiteY35" fmla="*/ 58723 h 2451783"/>
              <a:gd name="connsiteX36" fmla="*/ 1704135 w 2937316"/>
              <a:gd name="connsiteY36" fmla="*/ 83890 h 2451783"/>
              <a:gd name="connsiteX37" fmla="*/ 1729302 w 2937316"/>
              <a:gd name="connsiteY37" fmla="*/ 92279 h 2451783"/>
              <a:gd name="connsiteX38" fmla="*/ 1754469 w 2937316"/>
              <a:gd name="connsiteY38" fmla="*/ 109057 h 2451783"/>
              <a:gd name="connsiteX39" fmla="*/ 1779636 w 2937316"/>
              <a:gd name="connsiteY39" fmla="*/ 117446 h 2451783"/>
              <a:gd name="connsiteX40" fmla="*/ 1829970 w 2937316"/>
              <a:gd name="connsiteY40" fmla="*/ 151002 h 2451783"/>
              <a:gd name="connsiteX41" fmla="*/ 1846748 w 2937316"/>
              <a:gd name="connsiteY41" fmla="*/ 176169 h 2451783"/>
              <a:gd name="connsiteX42" fmla="*/ 1888693 w 2937316"/>
              <a:gd name="connsiteY42" fmla="*/ 218114 h 2451783"/>
              <a:gd name="connsiteX43" fmla="*/ 1905471 w 2937316"/>
              <a:gd name="connsiteY43" fmla="*/ 293615 h 2451783"/>
              <a:gd name="connsiteX44" fmla="*/ 1913859 w 2937316"/>
              <a:gd name="connsiteY44" fmla="*/ 318782 h 2451783"/>
              <a:gd name="connsiteX45" fmla="*/ 1922248 w 2937316"/>
              <a:gd name="connsiteY45" fmla="*/ 360727 h 2451783"/>
              <a:gd name="connsiteX46" fmla="*/ 1939026 w 2937316"/>
              <a:gd name="connsiteY46" fmla="*/ 453006 h 2451783"/>
              <a:gd name="connsiteX47" fmla="*/ 1955804 w 2937316"/>
              <a:gd name="connsiteY47" fmla="*/ 520118 h 2451783"/>
              <a:gd name="connsiteX48" fmla="*/ 1964193 w 2937316"/>
              <a:gd name="connsiteY48" fmla="*/ 553674 h 2451783"/>
              <a:gd name="connsiteX49" fmla="*/ 1972582 w 2937316"/>
              <a:gd name="connsiteY49" fmla="*/ 595619 h 2451783"/>
              <a:gd name="connsiteX50" fmla="*/ 1980971 w 2937316"/>
              <a:gd name="connsiteY50" fmla="*/ 704675 h 2451783"/>
              <a:gd name="connsiteX51" fmla="*/ 1997749 w 2937316"/>
              <a:gd name="connsiteY51" fmla="*/ 796954 h 2451783"/>
              <a:gd name="connsiteX52" fmla="*/ 2014527 w 2937316"/>
              <a:gd name="connsiteY52" fmla="*/ 897622 h 2451783"/>
              <a:gd name="connsiteX53" fmla="*/ 2031305 w 2937316"/>
              <a:gd name="connsiteY53" fmla="*/ 973123 h 2451783"/>
              <a:gd name="connsiteX54" fmla="*/ 2022916 w 2937316"/>
              <a:gd name="connsiteY54" fmla="*/ 1082180 h 2451783"/>
              <a:gd name="connsiteX55" fmla="*/ 2006138 w 2937316"/>
              <a:gd name="connsiteY55" fmla="*/ 1140903 h 2451783"/>
              <a:gd name="connsiteX56" fmla="*/ 1980971 w 2937316"/>
              <a:gd name="connsiteY56" fmla="*/ 1199626 h 2451783"/>
              <a:gd name="connsiteX57" fmla="*/ 1964193 w 2937316"/>
              <a:gd name="connsiteY57" fmla="*/ 1266738 h 2451783"/>
              <a:gd name="connsiteX58" fmla="*/ 1897082 w 2937316"/>
              <a:gd name="connsiteY58" fmla="*/ 1275127 h 2451783"/>
              <a:gd name="connsiteX59" fmla="*/ 1880304 w 2937316"/>
              <a:gd name="connsiteY59" fmla="*/ 1300294 h 2451783"/>
              <a:gd name="connsiteX60" fmla="*/ 1863526 w 2937316"/>
              <a:gd name="connsiteY60" fmla="*/ 1350628 h 2451783"/>
              <a:gd name="connsiteX61" fmla="*/ 1855137 w 2937316"/>
              <a:gd name="connsiteY61" fmla="*/ 1375795 h 2451783"/>
              <a:gd name="connsiteX62" fmla="*/ 1846748 w 2937316"/>
              <a:gd name="connsiteY62" fmla="*/ 1400962 h 2451783"/>
              <a:gd name="connsiteX63" fmla="*/ 1838359 w 2937316"/>
              <a:gd name="connsiteY63" fmla="*/ 1426129 h 2451783"/>
              <a:gd name="connsiteX64" fmla="*/ 1829970 w 2937316"/>
              <a:gd name="connsiteY64" fmla="*/ 1493241 h 2451783"/>
              <a:gd name="connsiteX65" fmla="*/ 1871915 w 2937316"/>
              <a:gd name="connsiteY65" fmla="*/ 1484852 h 2451783"/>
              <a:gd name="connsiteX66" fmla="*/ 1913859 w 2937316"/>
              <a:gd name="connsiteY66" fmla="*/ 1510019 h 2451783"/>
              <a:gd name="connsiteX67" fmla="*/ 2031305 w 2937316"/>
              <a:gd name="connsiteY67" fmla="*/ 1568742 h 2451783"/>
              <a:gd name="connsiteX68" fmla="*/ 2165529 w 2937316"/>
              <a:gd name="connsiteY68" fmla="*/ 1652631 h 2451783"/>
              <a:gd name="connsiteX69" fmla="*/ 2341698 w 2937316"/>
              <a:gd name="connsiteY69" fmla="*/ 1778466 h 2451783"/>
              <a:gd name="connsiteX70" fmla="*/ 2450755 w 2937316"/>
              <a:gd name="connsiteY70" fmla="*/ 1887523 h 2451783"/>
              <a:gd name="connsiteX71" fmla="*/ 2492700 w 2937316"/>
              <a:gd name="connsiteY71" fmla="*/ 1929468 h 2451783"/>
              <a:gd name="connsiteX72" fmla="*/ 2526256 w 2937316"/>
              <a:gd name="connsiteY72" fmla="*/ 1971413 h 2451783"/>
              <a:gd name="connsiteX73" fmla="*/ 2559812 w 2937316"/>
              <a:gd name="connsiteY73" fmla="*/ 2004969 h 2451783"/>
              <a:gd name="connsiteX74" fmla="*/ 2610146 w 2937316"/>
              <a:gd name="connsiteY74" fmla="*/ 2072081 h 2451783"/>
              <a:gd name="connsiteX75" fmla="*/ 2643702 w 2937316"/>
              <a:gd name="connsiteY75" fmla="*/ 2105637 h 2451783"/>
              <a:gd name="connsiteX76" fmla="*/ 2694036 w 2937316"/>
              <a:gd name="connsiteY76" fmla="*/ 2181138 h 2451783"/>
              <a:gd name="connsiteX77" fmla="*/ 2719203 w 2937316"/>
              <a:gd name="connsiteY77" fmla="*/ 2206305 h 2451783"/>
              <a:gd name="connsiteX78" fmla="*/ 2735981 w 2937316"/>
              <a:gd name="connsiteY78" fmla="*/ 2239861 h 2451783"/>
              <a:gd name="connsiteX79" fmla="*/ 2769537 w 2937316"/>
              <a:gd name="connsiteY79" fmla="*/ 2290195 h 2451783"/>
              <a:gd name="connsiteX80" fmla="*/ 2803093 w 2937316"/>
              <a:gd name="connsiteY80" fmla="*/ 2357307 h 2451783"/>
              <a:gd name="connsiteX81" fmla="*/ 2811482 w 2937316"/>
              <a:gd name="connsiteY81" fmla="*/ 2399252 h 2451783"/>
              <a:gd name="connsiteX82" fmla="*/ 2819871 w 2937316"/>
              <a:gd name="connsiteY82" fmla="*/ 2449586 h 2451783"/>
              <a:gd name="connsiteX83" fmla="*/ 2870204 w 2937316"/>
              <a:gd name="connsiteY83" fmla="*/ 2432808 h 2451783"/>
              <a:gd name="connsiteX84" fmla="*/ 2937316 w 2937316"/>
              <a:gd name="connsiteY84" fmla="*/ 2424419 h 245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937316" h="2451783">
                <a:moveTo>
                  <a:pt x="110226" y="1635853"/>
                </a:moveTo>
                <a:cubicBezTo>
                  <a:pt x="104633" y="1616279"/>
                  <a:pt x="97713" y="1597036"/>
                  <a:pt x="93448" y="1577131"/>
                </a:cubicBezTo>
                <a:cubicBezTo>
                  <a:pt x="89305" y="1557797"/>
                  <a:pt x="88065" y="1537951"/>
                  <a:pt x="85059" y="1518408"/>
                </a:cubicBezTo>
                <a:cubicBezTo>
                  <a:pt x="82473" y="1501596"/>
                  <a:pt x="79714" y="1484809"/>
                  <a:pt x="76671" y="1468074"/>
                </a:cubicBezTo>
                <a:cubicBezTo>
                  <a:pt x="65769" y="1408111"/>
                  <a:pt x="68405" y="1438343"/>
                  <a:pt x="59893" y="1367406"/>
                </a:cubicBezTo>
                <a:cubicBezTo>
                  <a:pt x="53859" y="1317123"/>
                  <a:pt x="49397" y="1266657"/>
                  <a:pt x="43115" y="1216404"/>
                </a:cubicBezTo>
                <a:cubicBezTo>
                  <a:pt x="40319" y="1194033"/>
                  <a:pt x="38154" y="1171575"/>
                  <a:pt x="34726" y="1149292"/>
                </a:cubicBezTo>
                <a:cubicBezTo>
                  <a:pt x="32558" y="1135199"/>
                  <a:pt x="29133" y="1121329"/>
                  <a:pt x="26337" y="1107347"/>
                </a:cubicBezTo>
                <a:cubicBezTo>
                  <a:pt x="23541" y="1073791"/>
                  <a:pt x="21299" y="1040184"/>
                  <a:pt x="17948" y="1006679"/>
                </a:cubicBezTo>
                <a:cubicBezTo>
                  <a:pt x="12909" y="956287"/>
                  <a:pt x="1170" y="855677"/>
                  <a:pt x="1170" y="855677"/>
                </a:cubicBezTo>
                <a:cubicBezTo>
                  <a:pt x="2049" y="825805"/>
                  <a:pt x="-7906" y="623305"/>
                  <a:pt x="17948" y="528507"/>
                </a:cubicBezTo>
                <a:cubicBezTo>
                  <a:pt x="22601" y="511445"/>
                  <a:pt x="24916" y="492888"/>
                  <a:pt x="34726" y="478173"/>
                </a:cubicBezTo>
                <a:lnTo>
                  <a:pt x="85059" y="402672"/>
                </a:lnTo>
                <a:lnTo>
                  <a:pt x="101837" y="377505"/>
                </a:lnTo>
                <a:cubicBezTo>
                  <a:pt x="107430" y="369116"/>
                  <a:pt x="111486" y="359467"/>
                  <a:pt x="118615" y="352338"/>
                </a:cubicBezTo>
                <a:cubicBezTo>
                  <a:pt x="127004" y="343949"/>
                  <a:pt x="136498" y="336536"/>
                  <a:pt x="143782" y="327171"/>
                </a:cubicBezTo>
                <a:cubicBezTo>
                  <a:pt x="156162" y="311254"/>
                  <a:pt x="163079" y="291096"/>
                  <a:pt x="177338" y="276837"/>
                </a:cubicBezTo>
                <a:cubicBezTo>
                  <a:pt x="185727" y="268448"/>
                  <a:pt x="195221" y="261035"/>
                  <a:pt x="202505" y="251670"/>
                </a:cubicBezTo>
                <a:cubicBezTo>
                  <a:pt x="214885" y="235753"/>
                  <a:pt x="219283" y="212521"/>
                  <a:pt x="236061" y="201336"/>
                </a:cubicBezTo>
                <a:cubicBezTo>
                  <a:pt x="394765" y="95533"/>
                  <a:pt x="222968" y="203688"/>
                  <a:pt x="311562" y="159391"/>
                </a:cubicBezTo>
                <a:cubicBezTo>
                  <a:pt x="369496" y="130424"/>
                  <a:pt x="300448" y="151683"/>
                  <a:pt x="370285" y="134224"/>
                </a:cubicBezTo>
                <a:cubicBezTo>
                  <a:pt x="433468" y="92102"/>
                  <a:pt x="353168" y="141560"/>
                  <a:pt x="429008" y="109057"/>
                </a:cubicBezTo>
                <a:cubicBezTo>
                  <a:pt x="438275" y="105085"/>
                  <a:pt x="444962" y="96374"/>
                  <a:pt x="454175" y="92279"/>
                </a:cubicBezTo>
                <a:cubicBezTo>
                  <a:pt x="470336" y="85096"/>
                  <a:pt x="487731" y="81094"/>
                  <a:pt x="504509" y="75501"/>
                </a:cubicBezTo>
                <a:lnTo>
                  <a:pt x="529676" y="67112"/>
                </a:lnTo>
                <a:cubicBezTo>
                  <a:pt x="538065" y="64316"/>
                  <a:pt x="546264" y="60868"/>
                  <a:pt x="554843" y="58723"/>
                </a:cubicBezTo>
                <a:cubicBezTo>
                  <a:pt x="566028" y="55927"/>
                  <a:pt x="577313" y="53501"/>
                  <a:pt x="588399" y="50334"/>
                </a:cubicBezTo>
                <a:cubicBezTo>
                  <a:pt x="596902" y="47905"/>
                  <a:pt x="605063" y="44374"/>
                  <a:pt x="613566" y="41945"/>
                </a:cubicBezTo>
                <a:cubicBezTo>
                  <a:pt x="624652" y="38778"/>
                  <a:pt x="636079" y="36869"/>
                  <a:pt x="647122" y="33556"/>
                </a:cubicBezTo>
                <a:cubicBezTo>
                  <a:pt x="664062" y="28474"/>
                  <a:pt x="680114" y="20246"/>
                  <a:pt x="697456" y="16778"/>
                </a:cubicBezTo>
                <a:cubicBezTo>
                  <a:pt x="756080" y="5053"/>
                  <a:pt x="725336" y="10733"/>
                  <a:pt x="789735" y="0"/>
                </a:cubicBezTo>
                <a:lnTo>
                  <a:pt x="1234351" y="8389"/>
                </a:lnTo>
                <a:cubicBezTo>
                  <a:pt x="1300111" y="10545"/>
                  <a:pt x="1289159" y="17417"/>
                  <a:pt x="1343408" y="25167"/>
                </a:cubicBezTo>
                <a:cubicBezTo>
                  <a:pt x="1368475" y="28748"/>
                  <a:pt x="1393783" y="30415"/>
                  <a:pt x="1418909" y="33556"/>
                </a:cubicBezTo>
                <a:cubicBezTo>
                  <a:pt x="1528077" y="47202"/>
                  <a:pt x="1425943" y="37134"/>
                  <a:pt x="1544744" y="50334"/>
                </a:cubicBezTo>
                <a:cubicBezTo>
                  <a:pt x="1572675" y="53437"/>
                  <a:pt x="1600671" y="55927"/>
                  <a:pt x="1628634" y="58723"/>
                </a:cubicBezTo>
                <a:lnTo>
                  <a:pt x="1704135" y="83890"/>
                </a:lnTo>
                <a:cubicBezTo>
                  <a:pt x="1712524" y="86686"/>
                  <a:pt x="1721944" y="87374"/>
                  <a:pt x="1729302" y="92279"/>
                </a:cubicBezTo>
                <a:cubicBezTo>
                  <a:pt x="1737691" y="97872"/>
                  <a:pt x="1745451" y="104548"/>
                  <a:pt x="1754469" y="109057"/>
                </a:cubicBezTo>
                <a:cubicBezTo>
                  <a:pt x="1762378" y="113012"/>
                  <a:pt x="1771906" y="113152"/>
                  <a:pt x="1779636" y="117446"/>
                </a:cubicBezTo>
                <a:cubicBezTo>
                  <a:pt x="1797263" y="127239"/>
                  <a:pt x="1829970" y="151002"/>
                  <a:pt x="1829970" y="151002"/>
                </a:cubicBezTo>
                <a:cubicBezTo>
                  <a:pt x="1835563" y="159391"/>
                  <a:pt x="1839619" y="169040"/>
                  <a:pt x="1846748" y="176169"/>
                </a:cubicBezTo>
                <a:cubicBezTo>
                  <a:pt x="1902675" y="232096"/>
                  <a:pt x="1843952" y="151002"/>
                  <a:pt x="1888693" y="218114"/>
                </a:cubicBezTo>
                <a:cubicBezTo>
                  <a:pt x="1894461" y="246953"/>
                  <a:pt x="1897572" y="265966"/>
                  <a:pt x="1905471" y="293615"/>
                </a:cubicBezTo>
                <a:cubicBezTo>
                  <a:pt x="1907900" y="302117"/>
                  <a:pt x="1911714" y="310203"/>
                  <a:pt x="1913859" y="318782"/>
                </a:cubicBezTo>
                <a:cubicBezTo>
                  <a:pt x="1917317" y="332615"/>
                  <a:pt x="1919697" y="346698"/>
                  <a:pt x="1922248" y="360727"/>
                </a:cubicBezTo>
                <a:cubicBezTo>
                  <a:pt x="1929588" y="401100"/>
                  <a:pt x="1930145" y="414522"/>
                  <a:pt x="1939026" y="453006"/>
                </a:cubicBezTo>
                <a:cubicBezTo>
                  <a:pt x="1944211" y="475475"/>
                  <a:pt x="1950211" y="497747"/>
                  <a:pt x="1955804" y="520118"/>
                </a:cubicBezTo>
                <a:cubicBezTo>
                  <a:pt x="1958600" y="531303"/>
                  <a:pt x="1961932" y="542368"/>
                  <a:pt x="1964193" y="553674"/>
                </a:cubicBezTo>
                <a:lnTo>
                  <a:pt x="1972582" y="595619"/>
                </a:lnTo>
                <a:cubicBezTo>
                  <a:pt x="1975378" y="631971"/>
                  <a:pt x="1977154" y="668416"/>
                  <a:pt x="1980971" y="704675"/>
                </a:cubicBezTo>
                <a:cubicBezTo>
                  <a:pt x="1984337" y="736651"/>
                  <a:pt x="1992200" y="765509"/>
                  <a:pt x="1997749" y="796954"/>
                </a:cubicBezTo>
                <a:cubicBezTo>
                  <a:pt x="2003661" y="830455"/>
                  <a:pt x="2006276" y="864619"/>
                  <a:pt x="2014527" y="897622"/>
                </a:cubicBezTo>
                <a:cubicBezTo>
                  <a:pt x="2026374" y="945011"/>
                  <a:pt x="2020655" y="919872"/>
                  <a:pt x="2031305" y="973123"/>
                </a:cubicBezTo>
                <a:cubicBezTo>
                  <a:pt x="2028509" y="1009475"/>
                  <a:pt x="2027176" y="1045970"/>
                  <a:pt x="2022916" y="1082180"/>
                </a:cubicBezTo>
                <a:cubicBezTo>
                  <a:pt x="2021765" y="1091960"/>
                  <a:pt x="2010976" y="1129613"/>
                  <a:pt x="2006138" y="1140903"/>
                </a:cubicBezTo>
                <a:cubicBezTo>
                  <a:pt x="1988950" y="1181007"/>
                  <a:pt x="1990808" y="1163558"/>
                  <a:pt x="1980971" y="1199626"/>
                </a:cubicBezTo>
                <a:cubicBezTo>
                  <a:pt x="1974904" y="1221873"/>
                  <a:pt x="1987074" y="1263878"/>
                  <a:pt x="1964193" y="1266738"/>
                </a:cubicBezTo>
                <a:lnTo>
                  <a:pt x="1897082" y="1275127"/>
                </a:lnTo>
                <a:cubicBezTo>
                  <a:pt x="1891489" y="1283516"/>
                  <a:pt x="1884399" y="1291081"/>
                  <a:pt x="1880304" y="1300294"/>
                </a:cubicBezTo>
                <a:cubicBezTo>
                  <a:pt x="1873121" y="1316455"/>
                  <a:pt x="1869119" y="1333850"/>
                  <a:pt x="1863526" y="1350628"/>
                </a:cubicBezTo>
                <a:lnTo>
                  <a:pt x="1855137" y="1375795"/>
                </a:lnTo>
                <a:lnTo>
                  <a:pt x="1846748" y="1400962"/>
                </a:lnTo>
                <a:lnTo>
                  <a:pt x="1838359" y="1426129"/>
                </a:lnTo>
                <a:cubicBezTo>
                  <a:pt x="1835563" y="1448500"/>
                  <a:pt x="1818785" y="1473667"/>
                  <a:pt x="1829970" y="1493241"/>
                </a:cubicBezTo>
                <a:cubicBezTo>
                  <a:pt x="1837044" y="1505621"/>
                  <a:pt x="1857933" y="1482056"/>
                  <a:pt x="1871915" y="1484852"/>
                </a:cubicBezTo>
                <a:cubicBezTo>
                  <a:pt x="1887903" y="1488050"/>
                  <a:pt x="1899430" y="1502425"/>
                  <a:pt x="1913859" y="1510019"/>
                </a:cubicBezTo>
                <a:cubicBezTo>
                  <a:pt x="1952591" y="1530405"/>
                  <a:pt x="1995688" y="1543302"/>
                  <a:pt x="2031305" y="1568742"/>
                </a:cubicBezTo>
                <a:cubicBezTo>
                  <a:pt x="2156891" y="1658444"/>
                  <a:pt x="2017015" y="1561872"/>
                  <a:pt x="2165529" y="1652631"/>
                </a:cubicBezTo>
                <a:cubicBezTo>
                  <a:pt x="2202275" y="1675087"/>
                  <a:pt x="2318974" y="1755742"/>
                  <a:pt x="2341698" y="1778466"/>
                </a:cubicBezTo>
                <a:lnTo>
                  <a:pt x="2450755" y="1887523"/>
                </a:lnTo>
                <a:cubicBezTo>
                  <a:pt x="2464737" y="1901505"/>
                  <a:pt x="2480348" y="1914028"/>
                  <a:pt x="2492700" y="1929468"/>
                </a:cubicBezTo>
                <a:cubicBezTo>
                  <a:pt x="2503885" y="1943450"/>
                  <a:pt x="2514360" y="1958030"/>
                  <a:pt x="2526256" y="1971413"/>
                </a:cubicBezTo>
                <a:cubicBezTo>
                  <a:pt x="2536765" y="1983236"/>
                  <a:pt x="2549685" y="1992817"/>
                  <a:pt x="2559812" y="2004969"/>
                </a:cubicBezTo>
                <a:cubicBezTo>
                  <a:pt x="2577714" y="2026451"/>
                  <a:pt x="2590373" y="2052308"/>
                  <a:pt x="2610146" y="2072081"/>
                </a:cubicBezTo>
                <a:cubicBezTo>
                  <a:pt x="2621331" y="2083266"/>
                  <a:pt x="2633990" y="2093151"/>
                  <a:pt x="2643702" y="2105637"/>
                </a:cubicBezTo>
                <a:cubicBezTo>
                  <a:pt x="2722554" y="2207018"/>
                  <a:pt x="2619220" y="2093852"/>
                  <a:pt x="2694036" y="2181138"/>
                </a:cubicBezTo>
                <a:cubicBezTo>
                  <a:pt x="2701757" y="2190146"/>
                  <a:pt x="2712307" y="2196651"/>
                  <a:pt x="2719203" y="2206305"/>
                </a:cubicBezTo>
                <a:cubicBezTo>
                  <a:pt x="2726472" y="2216481"/>
                  <a:pt x="2729547" y="2229138"/>
                  <a:pt x="2735981" y="2239861"/>
                </a:cubicBezTo>
                <a:cubicBezTo>
                  <a:pt x="2746356" y="2257152"/>
                  <a:pt x="2759881" y="2272493"/>
                  <a:pt x="2769537" y="2290195"/>
                </a:cubicBezTo>
                <a:cubicBezTo>
                  <a:pt x="2831104" y="2403069"/>
                  <a:pt x="2750481" y="2278389"/>
                  <a:pt x="2803093" y="2357307"/>
                </a:cubicBezTo>
                <a:cubicBezTo>
                  <a:pt x="2805889" y="2371289"/>
                  <a:pt x="2808931" y="2385223"/>
                  <a:pt x="2811482" y="2399252"/>
                </a:cubicBezTo>
                <a:cubicBezTo>
                  <a:pt x="2814525" y="2415987"/>
                  <a:pt x="2805103" y="2441147"/>
                  <a:pt x="2819871" y="2449586"/>
                </a:cubicBezTo>
                <a:cubicBezTo>
                  <a:pt x="2835226" y="2458360"/>
                  <a:pt x="2853426" y="2438401"/>
                  <a:pt x="2870204" y="2432808"/>
                </a:cubicBezTo>
                <a:cubicBezTo>
                  <a:pt x="2908635" y="2419998"/>
                  <a:pt x="2886529" y="2424419"/>
                  <a:pt x="2937316" y="2424419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464059" y="1243912"/>
            <a:ext cx="4631941" cy="4234712"/>
          </a:xfrm>
          <a:custGeom>
            <a:avLst/>
            <a:gdLst>
              <a:gd name="connsiteX0" fmla="*/ 0 w 2035436"/>
              <a:gd name="connsiteY0" fmla="*/ 1017718 h 2035436"/>
              <a:gd name="connsiteX1" fmla="*/ 1017718 w 2035436"/>
              <a:gd name="connsiteY1" fmla="*/ 0 h 2035436"/>
              <a:gd name="connsiteX2" fmla="*/ 2035436 w 2035436"/>
              <a:gd name="connsiteY2" fmla="*/ 1017718 h 2035436"/>
              <a:gd name="connsiteX3" fmla="*/ 1017718 w 2035436"/>
              <a:gd name="connsiteY3" fmla="*/ 2035436 h 2035436"/>
              <a:gd name="connsiteX4" fmla="*/ 0 w 2035436"/>
              <a:gd name="connsiteY4" fmla="*/ 1017718 h 20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5436" h="2035436">
                <a:moveTo>
                  <a:pt x="0" y="1017718"/>
                </a:moveTo>
                <a:cubicBezTo>
                  <a:pt x="0" y="455648"/>
                  <a:pt x="455648" y="0"/>
                  <a:pt x="1017718" y="0"/>
                </a:cubicBezTo>
                <a:cubicBezTo>
                  <a:pt x="1579788" y="0"/>
                  <a:pt x="2035436" y="455648"/>
                  <a:pt x="2035436" y="1017718"/>
                </a:cubicBezTo>
                <a:cubicBezTo>
                  <a:pt x="2035436" y="1579788"/>
                  <a:pt x="1579788" y="2035436"/>
                  <a:pt x="1017718" y="2035436"/>
                </a:cubicBezTo>
                <a:cubicBezTo>
                  <a:pt x="455648" y="2035436"/>
                  <a:pt x="0" y="1579788"/>
                  <a:pt x="0" y="1017718"/>
                </a:cubicBezTo>
                <a:close/>
              </a:path>
            </a:pathLst>
          </a:custGeom>
          <a:solidFill>
            <a:srgbClr val="80CDD8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438084" tIns="438084" rIns="438084" bIns="438084" numCol="1" spcCol="1270" anchor="ctr" anchorCtr="0">
            <a:noAutofit/>
          </a:bodyPr>
          <a:lstStyle/>
          <a:p>
            <a:pPr marL="0" marR="0" lvl="0" indent="0" algn="ctr" defTabSz="1422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ftware</a:t>
            </a:r>
            <a:b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091949" y="2465602"/>
            <a:ext cx="397026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oud Native Engineer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FA46CD92-9480-6E17-405A-A97563CB6509}"/>
              </a:ext>
            </a:extLst>
          </p:cNvPr>
          <p:cNvSpPr/>
          <p:nvPr/>
        </p:nvSpPr>
        <p:spPr bwMode="auto">
          <a:xfrm>
            <a:off x="6096000" y="2677212"/>
            <a:ext cx="1831942" cy="1347803"/>
          </a:xfrm>
          <a:prstGeom prst="rightArrow">
            <a:avLst/>
          </a:prstGeom>
          <a:solidFill>
            <a:srgbClr val="E3EEA4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sz="3200" dirty="0">
                <a:solidFill>
                  <a:srgbClr val="0070C0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rPr>
              <a:t>Modern</a:t>
            </a:r>
          </a:p>
        </p:txBody>
      </p:sp>
    </p:spTree>
    <p:extLst>
      <p:ext uri="{BB962C8B-B14F-4D97-AF65-F5344CB8AC3E}">
        <p14:creationId xmlns:p14="http://schemas.microsoft.com/office/powerpoint/2010/main" val="1947078649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B1745-D064-C467-B4D4-86218310B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Message – Ignite 2022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C97B2F-3C75-470B-824F-A5D9BC20D65E}"/>
              </a:ext>
            </a:extLst>
          </p:cNvPr>
          <p:cNvGrpSpPr/>
          <p:nvPr/>
        </p:nvGrpSpPr>
        <p:grpSpPr>
          <a:xfrm>
            <a:off x="0" y="989814"/>
            <a:ext cx="12192000" cy="5637229"/>
            <a:chOff x="616277" y="1063608"/>
            <a:chExt cx="11204543" cy="495038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3F410BD-8E63-609E-56D8-164ECD72C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6277" y="1063608"/>
              <a:ext cx="6728264" cy="4950384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B0AF6DB-842C-3AD8-E7EF-7AF14F453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1174" y="1063608"/>
              <a:ext cx="4939646" cy="49503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8453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62817089-9B6F-2F68-36FF-B57DCC9956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5793"/>
            <a:ext cx="12416680" cy="310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5993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75E27-C88B-40C1-A7EF-4CBDAD2B8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AM Fast Facts – Q2 2022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685DC7F-6DC0-44A2-92D8-071250AB60E7}"/>
              </a:ext>
            </a:extLst>
          </p:cNvPr>
          <p:cNvCxnSpPr>
            <a:cxnSpLocks/>
          </p:cNvCxnSpPr>
          <p:nvPr/>
        </p:nvCxnSpPr>
        <p:spPr>
          <a:xfrm>
            <a:off x="480487" y="3260131"/>
            <a:ext cx="11234383" cy="0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6E87141A-F0A3-4E8C-B13D-A9104537703E}"/>
              </a:ext>
            </a:extLst>
          </p:cNvPr>
          <p:cNvSpPr txBox="1"/>
          <p:nvPr/>
        </p:nvSpPr>
        <p:spPr>
          <a:xfrm>
            <a:off x="368931" y="1305542"/>
            <a:ext cx="2226304" cy="677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FOUNDED IN 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1993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FCBB8D8-C166-4102-9A37-9802FA17E239}"/>
              </a:ext>
            </a:extLst>
          </p:cNvPr>
          <p:cNvSpPr txBox="1"/>
          <p:nvPr/>
        </p:nvSpPr>
        <p:spPr>
          <a:xfrm>
            <a:off x="2628662" y="1305542"/>
            <a:ext cx="2143713" cy="738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U.S. HEADQUARTERED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PUBLIC COMPANY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1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(NYSE:EPAM)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A982F37-F286-470D-B356-66FF77C6D283}"/>
              </a:ext>
            </a:extLst>
          </p:cNvPr>
          <p:cNvSpPr txBox="1"/>
          <p:nvPr/>
        </p:nvSpPr>
        <p:spPr>
          <a:xfrm>
            <a:off x="5126906" y="1305540"/>
            <a:ext cx="1872505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Q2 2022 REVENUE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800" cap="none" spc="133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$1.195B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096E619-BA75-4074-AB3A-85E2DDBD0ABC}"/>
              </a:ext>
            </a:extLst>
          </p:cNvPr>
          <p:cNvSpPr txBox="1"/>
          <p:nvPr/>
        </p:nvSpPr>
        <p:spPr>
          <a:xfrm>
            <a:off x="7361132" y="1305540"/>
            <a:ext cx="2207829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2021 REVENUE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1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$3.758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0D3958B-A3A9-4EA8-AE68-E64E858A29C2}"/>
              </a:ext>
            </a:extLst>
          </p:cNvPr>
          <p:cNvSpPr txBox="1"/>
          <p:nvPr/>
        </p:nvSpPr>
        <p:spPr>
          <a:xfrm>
            <a:off x="9694096" y="1305542"/>
            <a:ext cx="2081744" cy="857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800" cap="none" spc="133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rPr>
              <a:t>REVENUE GROWTH</a:t>
            </a:r>
            <a:endParaRPr kumimoji="0" lang="en-US" sz="1067" b="0" i="0" u="none" strike="noStrike" kern="800" cap="none" spc="133" normalizeH="0" baseline="0" noProof="0">
              <a:ln>
                <a:noFill/>
              </a:ln>
              <a:solidFill>
                <a:srgbClr val="222222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5 Year Revenue 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AGR of 27%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7" b="0" i="0" u="none" strike="noStrike" kern="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2016-2021)</a:t>
            </a:r>
            <a:endParaRPr kumimoji="0" lang="en-US" sz="707" b="0" i="0" u="none" strike="noStrike" kern="800" cap="none" spc="133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170FD751-DAD1-416F-8C4E-A4E67464D823}"/>
              </a:ext>
            </a:extLst>
          </p:cNvPr>
          <p:cNvCxnSpPr>
            <a:cxnSpLocks/>
          </p:cNvCxnSpPr>
          <p:nvPr/>
        </p:nvCxnSpPr>
        <p:spPr>
          <a:xfrm>
            <a:off x="2432029" y="1345386"/>
            <a:ext cx="0" cy="702583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F955E07-0D09-46AB-B950-40E0A52753C8}"/>
              </a:ext>
            </a:extLst>
          </p:cNvPr>
          <p:cNvCxnSpPr>
            <a:cxnSpLocks/>
          </p:cNvCxnSpPr>
          <p:nvPr/>
        </p:nvCxnSpPr>
        <p:spPr>
          <a:xfrm>
            <a:off x="4981605" y="1345386"/>
            <a:ext cx="0" cy="707887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E486E868-F96A-448E-86CA-C30DDEB2DB07}"/>
              </a:ext>
            </a:extLst>
          </p:cNvPr>
          <p:cNvCxnSpPr>
            <a:cxnSpLocks/>
          </p:cNvCxnSpPr>
          <p:nvPr/>
        </p:nvCxnSpPr>
        <p:spPr>
          <a:xfrm>
            <a:off x="7208641" y="1345386"/>
            <a:ext cx="0" cy="702583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00E51C9-E1EE-4292-A4B2-760F8F0DC490}"/>
              </a:ext>
            </a:extLst>
          </p:cNvPr>
          <p:cNvCxnSpPr>
            <a:cxnSpLocks/>
          </p:cNvCxnSpPr>
          <p:nvPr/>
        </p:nvCxnSpPr>
        <p:spPr>
          <a:xfrm>
            <a:off x="9581581" y="1345386"/>
            <a:ext cx="0" cy="702583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98A6709-0B11-4DBB-A049-5316BD118214}"/>
              </a:ext>
            </a:extLst>
          </p:cNvPr>
          <p:cNvCxnSpPr>
            <a:cxnSpLocks/>
          </p:cNvCxnSpPr>
          <p:nvPr/>
        </p:nvCxnSpPr>
        <p:spPr>
          <a:xfrm>
            <a:off x="480487" y="2290452"/>
            <a:ext cx="11234383" cy="0"/>
          </a:xfrm>
          <a:prstGeom prst="line">
            <a:avLst/>
          </a:prstGeom>
          <a:noFill/>
          <a:ln w="6350" cap="flat" cmpd="sng" algn="ctr">
            <a:solidFill>
              <a:srgbClr val="CCCCCC"/>
            </a:solidFill>
            <a:prstDash val="solid"/>
            <a:miter lim="800000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B3D02A05-BBE6-4D1A-B0D9-0AC83ADA867D}"/>
              </a:ext>
            </a:extLst>
          </p:cNvPr>
          <p:cNvGrpSpPr/>
          <p:nvPr/>
        </p:nvGrpSpPr>
        <p:grpSpPr>
          <a:xfrm>
            <a:off x="457200" y="2539137"/>
            <a:ext cx="11254029" cy="497698"/>
            <a:chOff x="457200" y="2539137"/>
            <a:chExt cx="11254029" cy="497698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94E157E6-4D68-4D48-9069-DD44B8079CA1}"/>
                </a:ext>
              </a:extLst>
            </p:cNvPr>
            <p:cNvSpPr txBox="1"/>
            <p:nvPr/>
          </p:nvSpPr>
          <p:spPr>
            <a:xfrm>
              <a:off x="3226535" y="2562284"/>
              <a:ext cx="5089895" cy="420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54,850+ </a:t>
              </a:r>
              <a:r>
                <a:rPr kumimoji="0" lang="en-US" sz="1733" b="0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Engineers, Designers &amp; Consultants 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0EFD8ACD-DBCA-4A24-849C-652FBAE72F92}"/>
                </a:ext>
              </a:extLst>
            </p:cNvPr>
            <p:cNvSpPr/>
            <p:nvPr/>
          </p:nvSpPr>
          <p:spPr>
            <a:xfrm>
              <a:off x="457200" y="2562284"/>
              <a:ext cx="2362961" cy="4205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61,300+ </a:t>
              </a:r>
              <a:r>
                <a:rPr kumimoji="0" lang="en-US" sz="1733" b="0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EPAMers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9D9C1ABD-4C54-4057-89FF-D36CEFEBCA71}"/>
                </a:ext>
              </a:extLst>
            </p:cNvPr>
            <p:cNvCxnSpPr>
              <a:cxnSpLocks/>
            </p:cNvCxnSpPr>
            <p:nvPr/>
          </p:nvCxnSpPr>
          <p:spPr>
            <a:xfrm>
              <a:off x="3023348" y="2539137"/>
              <a:ext cx="0" cy="497698"/>
            </a:xfrm>
            <a:prstGeom prst="line">
              <a:avLst/>
            </a:prstGeom>
            <a:noFill/>
            <a:ln w="6350" cap="flat" cmpd="sng" algn="ctr">
              <a:solidFill>
                <a:srgbClr val="CCCCCC"/>
              </a:solidFill>
              <a:prstDash val="solid"/>
              <a:miter lim="800000"/>
            </a:ln>
            <a:effectLst/>
          </p:spPr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508C783-33CC-4E90-B777-B750786B14FD}"/>
                </a:ext>
              </a:extLst>
            </p:cNvPr>
            <p:cNvCxnSpPr>
              <a:cxnSpLocks/>
            </p:cNvCxnSpPr>
            <p:nvPr/>
          </p:nvCxnSpPr>
          <p:spPr>
            <a:xfrm>
              <a:off x="8519617" y="2539137"/>
              <a:ext cx="0" cy="497698"/>
            </a:xfrm>
            <a:prstGeom prst="line">
              <a:avLst/>
            </a:prstGeom>
            <a:noFill/>
            <a:ln w="6350" cap="flat" cmpd="sng" algn="ctr">
              <a:solidFill>
                <a:srgbClr val="CCCCCC"/>
              </a:solidFill>
              <a:prstDash val="solid"/>
              <a:miter lim="800000"/>
            </a:ln>
            <a:effectLst/>
          </p:spPr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C0541078-654E-4261-A8CF-846E62E40645}"/>
                </a:ext>
              </a:extLst>
            </p:cNvPr>
            <p:cNvSpPr txBox="1"/>
            <p:nvPr/>
          </p:nvSpPr>
          <p:spPr>
            <a:xfrm>
              <a:off x="8722803" y="2562284"/>
              <a:ext cx="2988426" cy="420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50+ </a:t>
              </a:r>
              <a:r>
                <a:rPr kumimoji="0" lang="en-US" sz="1733" b="0" i="0" u="none" strike="noStrike" kern="800" cap="none" spc="133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 Light"/>
                  <a:ea typeface="+mn-ea"/>
                  <a:cs typeface="Calibri Light"/>
                </a:rPr>
                <a:t>Countries &amp; Region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B05790B-7FE0-418F-A34C-312CB2B13502}"/>
              </a:ext>
            </a:extLst>
          </p:cNvPr>
          <p:cNvGrpSpPr/>
          <p:nvPr/>
        </p:nvGrpSpPr>
        <p:grpSpPr>
          <a:xfrm>
            <a:off x="478367" y="3397900"/>
            <a:ext cx="5610852" cy="2806240"/>
            <a:chOff x="478367" y="3397900"/>
            <a:chExt cx="5610852" cy="280624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A4E8BEC-8BDF-4146-B708-43D1FFBCFDB3}"/>
                </a:ext>
              </a:extLst>
            </p:cNvPr>
            <p:cNvSpPr txBox="1"/>
            <p:nvPr/>
          </p:nvSpPr>
          <p:spPr>
            <a:xfrm>
              <a:off x="1360289" y="3397900"/>
              <a:ext cx="3549024" cy="482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REVENUE BY INDUSTRY VERTICAL</a:t>
              </a: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(Reported $ and % of Total Revenues)</a:t>
              </a:r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66E6FF36-E593-48FE-84D7-2B6BBA89E1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8826" y="3595177"/>
              <a:ext cx="393" cy="2373825"/>
            </a:xfrm>
            <a:prstGeom prst="line">
              <a:avLst/>
            </a:prstGeom>
            <a:noFill/>
            <a:ln w="6350" cap="flat" cmpd="sng" algn="ctr">
              <a:solidFill>
                <a:srgbClr val="CCCCCC"/>
              </a:solidFill>
              <a:prstDash val="solid"/>
              <a:miter lim="800000"/>
            </a:ln>
            <a:effectLst/>
          </p:spPr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F59886C-8B84-41BE-AEAC-0E53CF4C3685}"/>
                </a:ext>
              </a:extLst>
            </p:cNvPr>
            <p:cNvSpPr txBox="1"/>
            <p:nvPr/>
          </p:nvSpPr>
          <p:spPr>
            <a:xfrm>
              <a:off x="4109511" y="5880684"/>
              <a:ext cx="1682899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800" cap="none" spc="67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$146M    12.2%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296169F8-52C9-40FA-AD47-D26E4866898B}"/>
                </a:ext>
              </a:extLst>
            </p:cNvPr>
            <p:cNvSpPr txBox="1"/>
            <p:nvPr/>
          </p:nvSpPr>
          <p:spPr>
            <a:xfrm>
              <a:off x="5002766" y="5615131"/>
              <a:ext cx="788435" cy="25654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erging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9C0443D-4222-49B7-B056-D6BE5D1ABC43}"/>
                </a:ext>
              </a:extLst>
            </p:cNvPr>
            <p:cNvGrpSpPr/>
            <p:nvPr/>
          </p:nvGrpSpPr>
          <p:grpSpPr>
            <a:xfrm>
              <a:off x="478367" y="4713855"/>
              <a:ext cx="2149784" cy="618000"/>
              <a:chOff x="478367" y="4415169"/>
              <a:chExt cx="2149784" cy="618000"/>
            </a:xfrm>
          </p:grpSpPr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671C66EC-F6CB-4D6B-8802-553D7B1324A4}"/>
                  </a:ext>
                </a:extLst>
              </p:cNvPr>
              <p:cNvSpPr txBox="1"/>
              <p:nvPr/>
            </p:nvSpPr>
            <p:spPr>
              <a:xfrm>
                <a:off x="478367" y="4817725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129M    10.8%</a:t>
                </a: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2C204439-12D8-45A2-8FE5-5A4B8EF1C8B8}"/>
                  </a:ext>
                </a:extLst>
              </p:cNvPr>
              <p:cNvSpPr txBox="1"/>
              <p:nvPr/>
            </p:nvSpPr>
            <p:spPr>
              <a:xfrm>
                <a:off x="478367" y="4415169"/>
                <a:ext cx="2149784" cy="42075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D35D47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Life Sciences </a:t>
                </a:r>
                <a:b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D35D47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</a:br>
                <a: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D35D47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&amp; Healthcare</a:t>
                </a:r>
              </a:p>
            </p:txBody>
          </p: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74A0D4C0-87DB-46F4-80F9-E98DED461159}"/>
                  </a:ext>
                </a:extLst>
              </p:cNvPr>
              <p:cNvCxnSpPr/>
              <p:nvPr/>
            </p:nvCxnSpPr>
            <p:spPr>
              <a:xfrm>
                <a:off x="478367" y="4847084"/>
                <a:ext cx="1743551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15D43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C920219-ACCD-42BD-B0FD-5E648823BB4A}"/>
                </a:ext>
              </a:extLst>
            </p:cNvPr>
            <p:cNvGrpSpPr/>
            <p:nvPr/>
          </p:nvGrpSpPr>
          <p:grpSpPr>
            <a:xfrm>
              <a:off x="478367" y="4034484"/>
              <a:ext cx="2149784" cy="459589"/>
              <a:chOff x="478367" y="3985665"/>
              <a:chExt cx="2149784" cy="459589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2551D71C-BBB2-4D4A-AC55-C0B96EC87F42}"/>
                  </a:ext>
                </a:extLst>
              </p:cNvPr>
              <p:cNvSpPr txBox="1"/>
              <p:nvPr/>
            </p:nvSpPr>
            <p:spPr>
              <a:xfrm>
                <a:off x="478367" y="4229810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276M    23.1%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6877FC0A-FC3F-45D9-80FA-DF9ECF17E626}"/>
                  </a:ext>
                </a:extLst>
              </p:cNvPr>
              <p:cNvSpPr txBox="1"/>
              <p:nvPr/>
            </p:nvSpPr>
            <p:spPr>
              <a:xfrm>
                <a:off x="478367" y="3985665"/>
                <a:ext cx="1682899" cy="25654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9BC838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Travel &amp; Consumer</a:t>
                </a:r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9585C5F0-82FE-4FA6-86FC-1A3845E685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8367" y="4262918"/>
                <a:ext cx="2149784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9BC838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1ED2BEC-C42C-413D-BE73-6A305C449851}"/>
                </a:ext>
              </a:extLst>
            </p:cNvPr>
            <p:cNvGrpSpPr/>
            <p:nvPr/>
          </p:nvGrpSpPr>
          <p:grpSpPr>
            <a:xfrm>
              <a:off x="4076108" y="4846035"/>
              <a:ext cx="1744760" cy="463533"/>
              <a:chOff x="4047650" y="4846035"/>
              <a:chExt cx="1744760" cy="463533"/>
            </a:xfrm>
          </p:grpSpPr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D53A6BB4-92E9-40B4-BDCC-EDE99FD69586}"/>
                  </a:ext>
                </a:extLst>
              </p:cNvPr>
              <p:cNvSpPr txBox="1"/>
              <p:nvPr/>
            </p:nvSpPr>
            <p:spPr>
              <a:xfrm>
                <a:off x="4109511" y="5094124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195M    16.3%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86E680EF-F6F0-463F-8EB5-05055B1EC548}"/>
                  </a:ext>
                </a:extLst>
              </p:cNvPr>
              <p:cNvSpPr txBox="1"/>
              <p:nvPr/>
            </p:nvSpPr>
            <p:spPr>
              <a:xfrm>
                <a:off x="4549087" y="4846035"/>
                <a:ext cx="1242115" cy="25654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0" cap="none" spc="0" normalizeH="0" baseline="0" noProof="0">
                    <a:ln>
                      <a:noFill/>
                    </a:ln>
                    <a:solidFill>
                      <a:srgbClr val="76CDD8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oftware &amp; Hi-Tech</a:t>
                </a:r>
              </a:p>
            </p:txBody>
          </p: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80093838-DDD0-4240-90A7-7707498EB7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47650" y="5126592"/>
                <a:ext cx="1743551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2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0E2B34D1-407A-440F-B87E-E89F7952F3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871010" y="3765740"/>
              <a:ext cx="2566757" cy="2438400"/>
              <a:chOff x="264644" y="3914222"/>
              <a:chExt cx="2193336" cy="2083652"/>
            </a:xfrm>
          </p:grpSpPr>
          <p:graphicFrame>
            <p:nvGraphicFramePr>
              <p:cNvPr id="161" name="Chart 160">
                <a:extLst>
                  <a:ext uri="{FF2B5EF4-FFF2-40B4-BE49-F238E27FC236}">
                    <a16:creationId xmlns:a16="http://schemas.microsoft.com/office/drawing/2014/main" id="{D3A6C79C-8BED-462C-9C5F-CDFC6379808F}"/>
                  </a:ext>
                </a:extLst>
              </p:cNvPr>
              <p:cNvGraphicFramePr/>
              <p:nvPr/>
            </p:nvGraphicFramePr>
            <p:xfrm>
              <a:off x="264644" y="3914222"/>
              <a:ext cx="2193336" cy="208365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B6175AF1-A770-4D04-9E9F-1AF40CBA17DE}"/>
                  </a:ext>
                </a:extLst>
              </p:cNvPr>
              <p:cNvSpPr/>
              <p:nvPr/>
            </p:nvSpPr>
            <p:spPr bwMode="auto">
              <a:xfrm>
                <a:off x="777402" y="4383834"/>
                <a:ext cx="1150530" cy="1150530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33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Human Sans ExtraLight" charset="0"/>
                  <a:cs typeface="Human Sans ExtraLight" charset="0"/>
                </a:endParaRPr>
              </a:p>
            </p:txBody>
          </p:sp>
        </p:grp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455A980D-16EC-4647-885E-DD0B5D85F947}"/>
                </a:ext>
              </a:extLst>
            </p:cNvPr>
            <p:cNvCxnSpPr>
              <a:cxnSpLocks/>
            </p:cNvCxnSpPr>
            <p:nvPr/>
          </p:nvCxnSpPr>
          <p:spPr>
            <a:xfrm>
              <a:off x="3300999" y="5907876"/>
              <a:ext cx="2490201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37DF6BA-BAB1-4EF3-BAD6-96991472ED30}"/>
                </a:ext>
              </a:extLst>
            </p:cNvPr>
            <p:cNvGrpSpPr/>
            <p:nvPr/>
          </p:nvGrpSpPr>
          <p:grpSpPr>
            <a:xfrm>
              <a:off x="3909509" y="4032360"/>
              <a:ext cx="1882901" cy="476986"/>
              <a:chOff x="3909509" y="4048585"/>
              <a:chExt cx="1882901" cy="476986"/>
            </a:xfrm>
          </p:grpSpPr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D5CC7844-66AD-4954-A7FD-67B477B5F98C}"/>
                  </a:ext>
                </a:extLst>
              </p:cNvPr>
              <p:cNvSpPr txBox="1"/>
              <p:nvPr/>
            </p:nvSpPr>
            <p:spPr>
              <a:xfrm>
                <a:off x="4109511" y="4310127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251M    21.0%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A0B43D63-8070-4C01-9E4F-B6699E7AFF17}"/>
                  </a:ext>
                </a:extLst>
              </p:cNvPr>
              <p:cNvSpPr txBox="1"/>
              <p:nvPr/>
            </p:nvSpPr>
            <p:spPr>
              <a:xfrm>
                <a:off x="4574618" y="4048585"/>
                <a:ext cx="1216583" cy="25654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0" cap="none" spc="0" normalizeH="0" baseline="0" noProof="0">
                    <a:ln>
                      <a:noFill/>
                    </a:ln>
                    <a:solidFill>
                      <a:srgbClr val="008AC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inancial Services</a:t>
                </a:r>
              </a:p>
            </p:txBody>
          </p: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8CDF7C61-BC09-4B54-ABE1-8BEFFB037F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09509" y="4337180"/>
                <a:ext cx="1881692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008ACF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1AD1FF2-B13B-4E5F-A9FA-245CD1F1200E}"/>
                </a:ext>
              </a:extLst>
            </p:cNvPr>
            <p:cNvGrpSpPr/>
            <p:nvPr/>
          </p:nvGrpSpPr>
          <p:grpSpPr>
            <a:xfrm>
              <a:off x="478367" y="5473565"/>
              <a:ext cx="2228850" cy="615118"/>
              <a:chOff x="478367" y="5112145"/>
              <a:chExt cx="2228850" cy="615118"/>
            </a:xfrm>
          </p:grpSpPr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E4C10BD6-05BF-438C-B35E-62FE5AD61944}"/>
                  </a:ext>
                </a:extLst>
              </p:cNvPr>
              <p:cNvSpPr txBox="1"/>
              <p:nvPr/>
            </p:nvSpPr>
            <p:spPr>
              <a:xfrm>
                <a:off x="478367" y="5112145"/>
                <a:ext cx="1622452" cy="42075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26385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Business</a:t>
                </a:r>
              </a:p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67" normalizeH="0" baseline="0" noProof="0">
                    <a:ln>
                      <a:noFill/>
                    </a:ln>
                    <a:solidFill>
                      <a:srgbClr val="26385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Information &amp; Media</a:t>
                </a: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4AA50097-EB2C-406D-816C-6DB70BC404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8367" y="5542764"/>
                <a:ext cx="222885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008ACF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EEDD6A14-E7C6-460E-B1C4-87E831B31E82}"/>
                  </a:ext>
                </a:extLst>
              </p:cNvPr>
              <p:cNvSpPr txBox="1"/>
              <p:nvPr/>
            </p:nvSpPr>
            <p:spPr>
              <a:xfrm>
                <a:off x="478367" y="5511819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198M    16.6%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C231B9F-46EA-6FFB-7873-B6AC45560F46}"/>
              </a:ext>
            </a:extLst>
          </p:cNvPr>
          <p:cNvGrpSpPr/>
          <p:nvPr/>
        </p:nvGrpSpPr>
        <p:grpSpPr>
          <a:xfrm>
            <a:off x="6400804" y="3397899"/>
            <a:ext cx="5314952" cy="2871461"/>
            <a:chOff x="6400804" y="3397899"/>
            <a:chExt cx="5314952" cy="2871461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84204BC-090D-456D-96F5-EC3FA4571359}"/>
                </a:ext>
              </a:extLst>
            </p:cNvPr>
            <p:cNvSpPr txBox="1"/>
            <p:nvPr/>
          </p:nvSpPr>
          <p:spPr>
            <a:xfrm>
              <a:off x="7040580" y="3397899"/>
              <a:ext cx="3941597" cy="482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REVENUE BY GEOGRAPHY</a:t>
              </a: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(Reported $ and % of Total Revenues)</a:t>
              </a:r>
            </a:p>
          </p:txBody>
        </p:sp>
        <p:graphicFrame>
          <p:nvGraphicFramePr>
            <p:cNvPr id="121" name="Chart 120">
              <a:extLst>
                <a:ext uri="{FF2B5EF4-FFF2-40B4-BE49-F238E27FC236}">
                  <a16:creationId xmlns:a16="http://schemas.microsoft.com/office/drawing/2014/main" id="{24F9418B-560E-4F32-B36B-2A9B9A76F90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14095126"/>
                </p:ext>
              </p:extLst>
            </p:nvPr>
          </p:nvGraphicFramePr>
          <p:xfrm>
            <a:off x="7850549" y="3763115"/>
            <a:ext cx="2462899" cy="250624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E7DBFA41-06D9-4F03-A434-AAFBD0DF690C}"/>
                </a:ext>
              </a:extLst>
            </p:cNvPr>
            <p:cNvSpPr txBox="1"/>
            <p:nvPr/>
          </p:nvSpPr>
          <p:spPr>
            <a:xfrm>
              <a:off x="6408559" y="4096987"/>
              <a:ext cx="1113464" cy="25654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en-US"/>
              </a:defPPr>
              <a:lvl1pPr marR="0" lvl="0" indent="0" defTabSz="685783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b="1" i="0" u="none" strike="noStrike" kern="800" cap="none" spc="50" normalizeH="0" baseline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cs typeface="Arial Black"/>
                </a:defRPr>
              </a:lvl1pPr>
            </a:lstStyle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800" cap="none" spc="50" normalizeH="0" baseline="0" noProof="0">
                  <a:ln>
                    <a:noFill/>
                  </a:ln>
                  <a:solidFill>
                    <a:srgbClr val="263852"/>
                  </a:solidFill>
                  <a:effectLst/>
                  <a:uLnTx/>
                  <a:uFillTx/>
                  <a:latin typeface="Calibri"/>
                  <a:ea typeface="+mn-ea"/>
                </a:rPr>
                <a:t>EMEA</a:t>
              </a: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B35CBD29-A4F0-432C-9240-02EF16FD5833}"/>
                </a:ext>
              </a:extLst>
            </p:cNvPr>
            <p:cNvGrpSpPr/>
            <p:nvPr/>
          </p:nvGrpSpPr>
          <p:grpSpPr>
            <a:xfrm>
              <a:off x="6400806" y="5602630"/>
              <a:ext cx="2016755" cy="445902"/>
              <a:chOff x="4800603" y="4190781"/>
              <a:chExt cx="1512566" cy="334427"/>
            </a:xfrm>
          </p:grpSpPr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B9D6373-E4E2-411C-AB42-017B5EA7207D}"/>
                  </a:ext>
                </a:extLst>
              </p:cNvPr>
              <p:cNvSpPr txBox="1"/>
              <p:nvPr/>
            </p:nvSpPr>
            <p:spPr>
              <a:xfrm>
                <a:off x="4801273" y="4363625"/>
                <a:ext cx="1262174" cy="16158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30M    2.5%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BC3F984D-A1C9-4242-BAB7-83270D97C852}"/>
                  </a:ext>
                </a:extLst>
              </p:cNvPr>
              <p:cNvSpPr txBox="1"/>
              <p:nvPr/>
            </p:nvSpPr>
            <p:spPr>
              <a:xfrm>
                <a:off x="4806419" y="4190781"/>
                <a:ext cx="835098" cy="192409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en-US"/>
                </a:defPPr>
                <a:lvl1pPr marR="0" lvl="0" indent="0" defTabSz="685783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" b="1" i="0" u="none" strike="noStrike" kern="800" cap="none" spc="50" normalizeH="0" baseline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cs typeface="Arial Black"/>
                  </a:defRPr>
                </a:lvl1pPr>
              </a:lstStyle>
              <a:p>
                <a:pPr marL="0" marR="0" lvl="0" indent="0" algn="l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50" normalizeH="0" baseline="0" noProof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APAC</a:t>
                </a:r>
              </a:p>
            </p:txBody>
          </p: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EDB851F5-D6B2-4223-9332-9220411000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00603" y="4390605"/>
                <a:ext cx="1512566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39513BA-7593-42A2-9800-EC46DAA48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4" y="4359051"/>
              <a:ext cx="2016757" cy="0"/>
            </a:xfrm>
            <a:prstGeom prst="line">
              <a:avLst/>
            </a:prstGeom>
            <a:noFill/>
            <a:ln w="6350" cap="flat" cmpd="sng" algn="ctr">
              <a:solidFill>
                <a:srgbClr val="263852"/>
              </a:solidFill>
              <a:prstDash val="solid"/>
              <a:miter lim="800000"/>
            </a:ln>
            <a:effectLst/>
          </p:spPr>
        </p:cxn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DFE356B5-1FB3-4173-92EC-387448061352}"/>
                </a:ext>
              </a:extLst>
            </p:cNvPr>
            <p:cNvGrpSpPr/>
            <p:nvPr/>
          </p:nvGrpSpPr>
          <p:grpSpPr>
            <a:xfrm>
              <a:off x="6400804" y="5237527"/>
              <a:ext cx="2064241" cy="446818"/>
              <a:chOff x="4800603" y="3903560"/>
              <a:chExt cx="1548181" cy="335114"/>
            </a:xfrm>
          </p:grpSpPr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A6FB2236-3F1F-4985-A7EA-9162212F0ADF}"/>
                  </a:ext>
                </a:extLst>
              </p:cNvPr>
              <p:cNvSpPr txBox="1"/>
              <p:nvPr/>
            </p:nvSpPr>
            <p:spPr>
              <a:xfrm>
                <a:off x="4801273" y="4077091"/>
                <a:ext cx="1262174" cy="16158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20M    1.7%</a:t>
                </a:r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C0004AC5-78DB-4463-B9D0-E70F222A4EFD}"/>
                  </a:ext>
                </a:extLst>
              </p:cNvPr>
              <p:cNvSpPr txBox="1"/>
              <p:nvPr/>
            </p:nvSpPr>
            <p:spPr>
              <a:xfrm>
                <a:off x="4806419" y="3903560"/>
                <a:ext cx="835098" cy="192409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en-US"/>
                </a:defPPr>
                <a:lvl1pPr marR="0" lvl="0" indent="0" defTabSz="685783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" b="1" i="0" u="none" strike="noStrike" kern="800" cap="none" spc="50" normalizeH="0" baseline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cs typeface="Arial Black"/>
                  </a:defRPr>
                </a:lvl1pPr>
              </a:lstStyle>
              <a:p>
                <a:pPr marL="0" marR="0" lvl="0" indent="0" algn="l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800" cap="none" spc="50" normalizeH="0" baseline="0" noProof="0">
                    <a:ln>
                      <a:noFill/>
                    </a:ln>
                    <a:solidFill>
                      <a:srgbClr val="008ACF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CEE</a:t>
                </a:r>
              </a:p>
            </p:txBody>
          </p: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B4C39CAB-F7B8-49B0-8D19-3AF166ED82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00603" y="4103384"/>
                <a:ext cx="1548181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008ACF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5606D2D-2C45-460D-AE99-D073D1EC1438}"/>
                </a:ext>
              </a:extLst>
            </p:cNvPr>
            <p:cNvGrpSpPr/>
            <p:nvPr/>
          </p:nvGrpSpPr>
          <p:grpSpPr>
            <a:xfrm>
              <a:off x="9972205" y="4703625"/>
              <a:ext cx="1743551" cy="443644"/>
              <a:chOff x="9972205" y="5063503"/>
              <a:chExt cx="1743551" cy="443644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D566F968-2892-4CE3-9017-C0853B7C67A4}"/>
                  </a:ext>
                </a:extLst>
              </p:cNvPr>
              <p:cNvSpPr txBox="1"/>
              <p:nvPr/>
            </p:nvSpPr>
            <p:spPr>
              <a:xfrm>
                <a:off x="10064136" y="5063503"/>
                <a:ext cx="1650737" cy="25654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en-US"/>
                </a:defPPr>
                <a:lvl1pPr marR="0" lvl="0" indent="0" algn="r" defTabSz="685783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" b="1" i="0" u="none" strike="noStrike" cap="none" spc="0" normalizeH="0" baseline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pPr marL="0" marR="0" lvl="0" indent="0" algn="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1" i="0" u="none" strike="noStrike" kern="0" cap="none" spc="0" normalizeH="0" baseline="0" noProof="0">
                    <a:ln>
                      <a:noFill/>
                    </a:ln>
                    <a:solidFill>
                      <a:srgbClr val="80CDD8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MERICAS</a:t>
                </a:r>
              </a:p>
            </p:txBody>
          </p: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BE1A10F7-F6CE-44FD-AA9C-ACEC61DC28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72205" y="5321807"/>
                <a:ext cx="1743551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80CDD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FCC7CBB4-3E7A-4260-A8C9-44EC24C0E091}"/>
                  </a:ext>
                </a:extLst>
              </p:cNvPr>
              <p:cNvSpPr txBox="1"/>
              <p:nvPr/>
            </p:nvSpPr>
            <p:spPr>
              <a:xfrm>
                <a:off x="10028332" y="5291703"/>
                <a:ext cx="1682899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800" cap="none" spc="67" normalizeH="0" baseline="0" noProof="0" dirty="0">
                    <a:ln>
                      <a:noFill/>
                    </a:ln>
                    <a:solidFill>
                      <a:srgbClr val="222222"/>
                    </a:solidFill>
                    <a:effectLst/>
                    <a:uLnTx/>
                    <a:uFillTx/>
                    <a:latin typeface="Calibri"/>
                    <a:ea typeface="+mn-ea"/>
                    <a:cs typeface="Arial Black"/>
                  </a:rPr>
                  <a:t>$722M    60.4%</a:t>
                </a:r>
              </a:p>
            </p:txBody>
          </p:sp>
        </p:grp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7B1A908A-EBA3-4625-9979-EF588E10CB25}"/>
                </a:ext>
              </a:extLst>
            </p:cNvPr>
            <p:cNvSpPr txBox="1"/>
            <p:nvPr/>
          </p:nvSpPr>
          <p:spPr>
            <a:xfrm>
              <a:off x="6401697" y="4326268"/>
              <a:ext cx="1682899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800" cap="none" spc="67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$423M    35.4%</a:t>
              </a:r>
            </a:p>
          </p:txBody>
        </p:sp>
      </p:grpSp>
      <p:sp>
        <p:nvSpPr>
          <p:cNvPr id="63" name="Rectangle 62">
            <a:extLst>
              <a:ext uri="{FF2B5EF4-FFF2-40B4-BE49-F238E27FC236}">
                <a16:creationId xmlns:a16="http://schemas.microsoft.com/office/drawing/2014/main" id="{DCDB6DB8-7FE9-4CFE-AB1D-F9302195823D}"/>
              </a:ext>
            </a:extLst>
          </p:cNvPr>
          <p:cNvSpPr/>
          <p:nvPr/>
        </p:nvSpPr>
        <p:spPr>
          <a:xfrm>
            <a:off x="1123951" y="6423922"/>
            <a:ext cx="5704416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10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gures are as of Q2 2022, percentages are presented on a YoY basis unless otherwise noted.</a:t>
            </a:r>
          </a:p>
        </p:txBody>
      </p:sp>
    </p:spTree>
    <p:extLst>
      <p:ext uri="{BB962C8B-B14F-4D97-AF65-F5344CB8AC3E}">
        <p14:creationId xmlns:p14="http://schemas.microsoft.com/office/powerpoint/2010/main" val="130387156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390D2-F6EA-E44E-9408-66CBC63B8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ing, Global Presence in more than 50 Countries &amp; Regions</a:t>
            </a:r>
            <a:br>
              <a:rPr lang="en-US" dirty="0"/>
            </a:br>
            <a:endParaRPr lang="en-US" dirty="0"/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3127B172-6125-4B30-8136-3F05BD0200F8}"/>
              </a:ext>
            </a:extLst>
          </p:cNvPr>
          <p:cNvSpPr/>
          <p:nvPr/>
        </p:nvSpPr>
        <p:spPr>
          <a:xfrm>
            <a:off x="1123951" y="6420792"/>
            <a:ext cx="5341104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10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ries and regions listed are as of July 2022. Russia removed per April 7, 2022 SEC filing.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7C9DB16-7D26-B247-8E50-6494307FBA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9148" y="1267337"/>
            <a:ext cx="10133704" cy="5066852"/>
          </a:xfrm>
          <a:prstGeom prst="rect">
            <a:avLst/>
          </a:prstGeom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id="{3B0D9C0B-50F1-976B-CB97-983424EE0D1F}"/>
              </a:ext>
            </a:extLst>
          </p:cNvPr>
          <p:cNvGrpSpPr/>
          <p:nvPr/>
        </p:nvGrpSpPr>
        <p:grpSpPr>
          <a:xfrm>
            <a:off x="3257257" y="2680283"/>
            <a:ext cx="1159345" cy="524549"/>
            <a:chOff x="2915322" y="2656622"/>
            <a:chExt cx="1159345" cy="524549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62E3DE3-8E9E-98B3-2ECF-245C30254100}"/>
                </a:ext>
              </a:extLst>
            </p:cNvPr>
            <p:cNvSpPr txBox="1"/>
            <p:nvPr/>
          </p:nvSpPr>
          <p:spPr>
            <a:xfrm>
              <a:off x="2915322" y="2656622"/>
              <a:ext cx="1159345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United States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F617E54-6F8F-E038-623A-014F0F6BCE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41288"/>
              <a:ext cx="0" cy="339883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053E7C48-3BBB-CFED-8C3B-42CB5FBBE8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71231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7198C64-027D-3788-62DB-D968D681113E}"/>
              </a:ext>
            </a:extLst>
          </p:cNvPr>
          <p:cNvGrpSpPr/>
          <p:nvPr/>
        </p:nvGrpSpPr>
        <p:grpSpPr>
          <a:xfrm>
            <a:off x="2542813" y="2212297"/>
            <a:ext cx="661677" cy="481968"/>
            <a:chOff x="2915322" y="2650646"/>
            <a:chExt cx="661677" cy="481968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BCE8198-B236-A19F-31C7-0CB1250EADF6}"/>
                </a:ext>
              </a:extLst>
            </p:cNvPr>
            <p:cNvSpPr txBox="1"/>
            <p:nvPr/>
          </p:nvSpPr>
          <p:spPr>
            <a:xfrm>
              <a:off x="2915323" y="2650646"/>
              <a:ext cx="661676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anada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1BB39A9-3706-D6AD-1B22-C72694BDD3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25480"/>
              <a:ext cx="0" cy="307134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729E6C37-9AE9-6893-4C92-92916F604B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65255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B1F4E2D-3312-B582-F7E5-8F9ABC05B29D}"/>
              </a:ext>
            </a:extLst>
          </p:cNvPr>
          <p:cNvGrpSpPr/>
          <p:nvPr/>
        </p:nvGrpSpPr>
        <p:grpSpPr>
          <a:xfrm>
            <a:off x="3028526" y="3524936"/>
            <a:ext cx="1159345" cy="393297"/>
            <a:chOff x="2915322" y="2650504"/>
            <a:chExt cx="1159345" cy="393297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C639580-E169-0139-58A9-D64E78472010}"/>
                </a:ext>
              </a:extLst>
            </p:cNvPr>
            <p:cNvSpPr txBox="1"/>
            <p:nvPr/>
          </p:nvSpPr>
          <p:spPr>
            <a:xfrm>
              <a:off x="2915322" y="2650504"/>
              <a:ext cx="1159345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Mexico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66EA9A94-5FAC-9A17-0D0C-64EA8C451C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43408"/>
              <a:ext cx="0" cy="200393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02724C38-03BC-5A2C-A3F2-4B116A51F4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69829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CD5496E-1E5D-BB03-D5AF-D37B94EE8094}"/>
              </a:ext>
            </a:extLst>
          </p:cNvPr>
          <p:cNvGrpSpPr/>
          <p:nvPr/>
        </p:nvGrpSpPr>
        <p:grpSpPr>
          <a:xfrm>
            <a:off x="9817373" y="4928961"/>
            <a:ext cx="1159345" cy="528480"/>
            <a:chOff x="2915322" y="2652784"/>
            <a:chExt cx="1159345" cy="528480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433E9C4-5487-D4E3-CA44-94E04DB28C35}"/>
                </a:ext>
              </a:extLst>
            </p:cNvPr>
            <p:cNvSpPr txBox="1"/>
            <p:nvPr/>
          </p:nvSpPr>
          <p:spPr>
            <a:xfrm>
              <a:off x="2915322" y="2652784"/>
              <a:ext cx="1159345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ustralia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021D59B-EBFE-D1C4-E591-2A04E4FF9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34309"/>
              <a:ext cx="0" cy="346955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DAFA7EC-94AC-219B-A291-E292F51B87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67393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7BA2827-63C5-445F-EDA2-9B417372DDC4}"/>
              </a:ext>
            </a:extLst>
          </p:cNvPr>
          <p:cNvGrpSpPr/>
          <p:nvPr/>
        </p:nvGrpSpPr>
        <p:grpSpPr>
          <a:xfrm>
            <a:off x="8894704" y="2625395"/>
            <a:ext cx="1273676" cy="920027"/>
            <a:chOff x="2915322" y="2652549"/>
            <a:chExt cx="1273676" cy="92002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C24E076-3C1A-F087-990F-4ACEB08BACCF}"/>
                </a:ext>
              </a:extLst>
            </p:cNvPr>
            <p:cNvSpPr txBox="1"/>
            <p:nvPr/>
          </p:nvSpPr>
          <p:spPr>
            <a:xfrm>
              <a:off x="2915322" y="2652549"/>
              <a:ext cx="1273676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hin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Hong Kong SAR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BB264B7-9D9F-C8C6-CF16-55236AC89B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38796"/>
              <a:ext cx="0" cy="733780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53BE6987-0123-7094-DF8E-730F5C83B5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75098"/>
              <a:ext cx="0" cy="31900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AFCD43E-19C5-50C5-C39D-60F21B272198}"/>
              </a:ext>
            </a:extLst>
          </p:cNvPr>
          <p:cNvGrpSpPr/>
          <p:nvPr/>
        </p:nvGrpSpPr>
        <p:grpSpPr>
          <a:xfrm>
            <a:off x="8008838" y="2236537"/>
            <a:ext cx="828321" cy="941248"/>
            <a:chOff x="2915322" y="2470327"/>
            <a:chExt cx="828321" cy="941248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53955AF-0D1A-9C06-4F29-B03DD22F80D9}"/>
                </a:ext>
              </a:extLst>
            </p:cNvPr>
            <p:cNvSpPr txBox="1"/>
            <p:nvPr/>
          </p:nvSpPr>
          <p:spPr>
            <a:xfrm>
              <a:off x="2915323" y="2470327"/>
              <a:ext cx="828320" cy="5078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Kazakhsta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Kyrgyzsta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Uzbekistan</a:t>
              </a:r>
              <a:endParaRPr kumimoji="0" lang="en-US" sz="1200" b="1" i="0" u="none" strike="noStrike" kern="8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endParaRPr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491F73D5-5069-DFF9-8927-FA69453F82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30909"/>
              <a:ext cx="0" cy="580666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C78B5E7-7D7A-B5CC-2EC8-BB4291F045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499918"/>
              <a:ext cx="0" cy="502920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65212C5-5D9E-6977-9DEB-2EE705288662}"/>
              </a:ext>
            </a:extLst>
          </p:cNvPr>
          <p:cNvGrpSpPr/>
          <p:nvPr/>
        </p:nvGrpSpPr>
        <p:grpSpPr>
          <a:xfrm flipV="1">
            <a:off x="6741561" y="3049825"/>
            <a:ext cx="1054054" cy="2510901"/>
            <a:chOff x="2915322" y="1386210"/>
            <a:chExt cx="1054054" cy="2510901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9BFBEF42-1B41-78ED-AB29-18B0DD52CF2E}"/>
                </a:ext>
              </a:extLst>
            </p:cNvPr>
            <p:cNvSpPr txBox="1"/>
            <p:nvPr/>
          </p:nvSpPr>
          <p:spPr>
            <a:xfrm flipV="1">
              <a:off x="2915324" y="1386210"/>
              <a:ext cx="1054052" cy="23698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8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Belarus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Bulgar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roat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zech Republic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Hungary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Latv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Lithuan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Montenegro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Poland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Roman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erb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lovak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kraine</a:t>
              </a: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10C46-881B-9A0F-2120-B24A209A7A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792075"/>
              <a:ext cx="0" cy="1105036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5F8E294-8040-F3C1-2309-04FB8C1FA8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1415340"/>
              <a:ext cx="0" cy="2146974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B8F80BE8-6907-910D-584C-BB04C81BE4D0}"/>
              </a:ext>
            </a:extLst>
          </p:cNvPr>
          <p:cNvGrpSpPr/>
          <p:nvPr/>
        </p:nvGrpSpPr>
        <p:grpSpPr>
          <a:xfrm>
            <a:off x="9588708" y="3076943"/>
            <a:ext cx="1159345" cy="384231"/>
            <a:chOff x="2915322" y="2659570"/>
            <a:chExt cx="1159345" cy="384231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737F2299-AA97-FA69-56FE-37A5C0C02DA2}"/>
                </a:ext>
              </a:extLst>
            </p:cNvPr>
            <p:cNvSpPr txBox="1"/>
            <p:nvPr/>
          </p:nvSpPr>
          <p:spPr>
            <a:xfrm>
              <a:off x="2915322" y="2659570"/>
              <a:ext cx="1159345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Japan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2357036D-257C-FEB3-4DEC-5CF361DC48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34309"/>
              <a:ext cx="0" cy="209492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F940740-1068-24A3-9D63-DF1DE23A53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74179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718EB537-7B8B-0DFF-BEE0-0756D567CBDF}"/>
              </a:ext>
            </a:extLst>
          </p:cNvPr>
          <p:cNvGrpSpPr/>
          <p:nvPr/>
        </p:nvGrpSpPr>
        <p:grpSpPr>
          <a:xfrm flipV="1">
            <a:off x="7910983" y="4067604"/>
            <a:ext cx="554245" cy="365996"/>
            <a:chOff x="2915322" y="2652197"/>
            <a:chExt cx="554245" cy="365996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99943AAD-AE69-E305-BAAB-6A569B9B754B}"/>
                </a:ext>
              </a:extLst>
            </p:cNvPr>
            <p:cNvSpPr txBox="1"/>
            <p:nvPr/>
          </p:nvSpPr>
          <p:spPr>
            <a:xfrm flipV="1">
              <a:off x="2915323" y="2652977"/>
              <a:ext cx="554244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India</a:t>
              </a: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AD206A2F-A3B9-D97E-3C36-16C111BE94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22254"/>
              <a:ext cx="0" cy="195939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8F15805F-3B9F-3633-76A7-5DC19F0516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652197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4092DA0-07FF-B267-A220-137068831D7F}"/>
              </a:ext>
            </a:extLst>
          </p:cNvPr>
          <p:cNvGrpSpPr/>
          <p:nvPr/>
        </p:nvGrpSpPr>
        <p:grpSpPr>
          <a:xfrm flipV="1">
            <a:off x="8720274" y="4157597"/>
            <a:ext cx="1159345" cy="811724"/>
            <a:chOff x="2915322" y="2282854"/>
            <a:chExt cx="1159345" cy="811724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4ED18E1-259E-E9DB-DD59-85AC6B4576E1}"/>
                </a:ext>
              </a:extLst>
            </p:cNvPr>
            <p:cNvSpPr txBox="1"/>
            <p:nvPr/>
          </p:nvSpPr>
          <p:spPr>
            <a:xfrm flipV="1">
              <a:off x="2915322" y="2302685"/>
              <a:ext cx="1159345" cy="5078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Malays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ingapore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Vietnam</a:t>
              </a:r>
              <a:endParaRPr kumimoji="0" lang="en-US" sz="1200" b="0" i="0" u="none" strike="noStrike" kern="8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endParaRP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CB0A734-46AB-DCB7-8CA8-55A783B02A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794066"/>
              <a:ext cx="0" cy="300512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19E0C09-D78F-1FE0-D5D1-7B4674F460D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282854"/>
              <a:ext cx="0" cy="501326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32A7114-7221-E284-EE4C-FA7303A19365}"/>
              </a:ext>
            </a:extLst>
          </p:cNvPr>
          <p:cNvGrpSpPr/>
          <p:nvPr/>
        </p:nvGrpSpPr>
        <p:grpSpPr>
          <a:xfrm>
            <a:off x="5610412" y="932624"/>
            <a:ext cx="1288265" cy="2435379"/>
            <a:chOff x="2915322" y="756406"/>
            <a:chExt cx="1288265" cy="2435379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2EAA446E-DC51-71E8-7475-1C9E163DCDE3}"/>
                </a:ext>
              </a:extLst>
            </p:cNvPr>
            <p:cNvSpPr txBox="1"/>
            <p:nvPr/>
          </p:nvSpPr>
          <p:spPr>
            <a:xfrm>
              <a:off x="2929908" y="756406"/>
              <a:ext cx="1273679" cy="22006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ustr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Belgium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Fran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Germany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Ireland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Italy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Malt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Netherlands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pai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Portugal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wede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witzerland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nited Kingdom</a:t>
              </a:r>
              <a:endParaRPr kumimoji="0" lang="en-US" sz="1200" b="0" i="0" u="none" strike="noStrike" kern="8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Arial Black"/>
              </a:endParaRPr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764A1DEE-4BF9-7BA8-0778-85F7160D50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762059"/>
              <a:ext cx="0" cy="429726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52C18D8-82D2-A0EF-3C0A-8F8FA4CC79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792279"/>
              <a:ext cx="0" cy="2123055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5F7629E9-2FA6-5692-B691-60778220B757}"/>
              </a:ext>
            </a:extLst>
          </p:cNvPr>
          <p:cNvGrpSpPr/>
          <p:nvPr/>
        </p:nvGrpSpPr>
        <p:grpSpPr>
          <a:xfrm>
            <a:off x="6948961" y="1850804"/>
            <a:ext cx="1159345" cy="1302336"/>
            <a:chOff x="2915322" y="2703708"/>
            <a:chExt cx="1159345" cy="1302336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EB4B391-1002-F5AF-C95D-D6171A68E8C5}"/>
                </a:ext>
              </a:extLst>
            </p:cNvPr>
            <p:cNvSpPr txBox="1"/>
            <p:nvPr/>
          </p:nvSpPr>
          <p:spPr>
            <a:xfrm>
              <a:off x="2915322" y="2703708"/>
              <a:ext cx="1159345" cy="101566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rmeni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Georg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Israel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Lebano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urke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AE</a:t>
              </a: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765A004C-AAEC-2665-2F27-5CD20D9769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858095"/>
              <a:ext cx="0" cy="1147949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1301E96A-3C12-FB79-D31B-F776E082F3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729216"/>
              <a:ext cx="0" cy="972733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DAB1B7-B51F-4C8A-8C30-E73E05B54C99}"/>
              </a:ext>
            </a:extLst>
          </p:cNvPr>
          <p:cNvGrpSpPr/>
          <p:nvPr/>
        </p:nvGrpSpPr>
        <p:grpSpPr>
          <a:xfrm>
            <a:off x="3811566" y="3623720"/>
            <a:ext cx="1388523" cy="1009663"/>
            <a:chOff x="3811566" y="3790934"/>
            <a:chExt cx="1388523" cy="10096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3922D19-2123-0C6E-D330-8F1755C4E3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11566" y="4324586"/>
              <a:ext cx="0" cy="476011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686F80BB-8733-FF1A-2C7C-97F1E76C59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11566" y="3821666"/>
              <a:ext cx="0" cy="683656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D9F8927-54C1-4719-BCD9-0F493F38186E}"/>
                </a:ext>
              </a:extLst>
            </p:cNvPr>
            <p:cNvSpPr txBox="1"/>
            <p:nvPr/>
          </p:nvSpPr>
          <p:spPr>
            <a:xfrm>
              <a:off x="3811569" y="3790934"/>
              <a:ext cx="1388520" cy="6771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rgentina 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Brazil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olombia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Dominican Republic 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C46C9EA-80F0-395E-AA3D-DE1FF69B4658}"/>
              </a:ext>
            </a:extLst>
          </p:cNvPr>
          <p:cNvGrpSpPr/>
          <p:nvPr/>
        </p:nvGrpSpPr>
        <p:grpSpPr>
          <a:xfrm flipV="1">
            <a:off x="6395450" y="5376333"/>
            <a:ext cx="963493" cy="730293"/>
            <a:chOff x="2915322" y="2285880"/>
            <a:chExt cx="963493" cy="730293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A4CADA2-4FEC-BCA6-E94D-AF2797639BDB}"/>
                </a:ext>
              </a:extLst>
            </p:cNvPr>
            <p:cNvSpPr txBox="1"/>
            <p:nvPr/>
          </p:nvSpPr>
          <p:spPr>
            <a:xfrm flipV="1">
              <a:off x="2915322" y="2285880"/>
              <a:ext cx="963493" cy="16927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8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outh Africa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11BB910A-D3D4-0EDE-4B13-F2CF25702BFC}"/>
                </a:ext>
              </a:extLst>
            </p:cNvPr>
            <p:cNvCxnSpPr>
              <a:cxnSpLocks/>
              <a:endCxn id="69" idx="1"/>
            </p:cNvCxnSpPr>
            <p:nvPr/>
          </p:nvCxnSpPr>
          <p:spPr>
            <a:xfrm flipV="1">
              <a:off x="2915322" y="2370518"/>
              <a:ext cx="0" cy="645655"/>
            </a:xfrm>
            <a:prstGeom prst="line">
              <a:avLst/>
            </a:prstGeom>
            <a:ln w="9525" cap="rnd">
              <a:solidFill>
                <a:schemeClr val="accent6"/>
              </a:solidFill>
              <a:prstDash val="sysDot"/>
              <a:round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3A1355E6-CD35-B667-A4D7-3A81B0C1F1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322" y="2285880"/>
              <a:ext cx="0" cy="155448"/>
            </a:xfrm>
            <a:prstGeom prst="line">
              <a:avLst/>
            </a:prstGeom>
            <a:ln w="19050">
              <a:solidFill>
                <a:schemeClr val="accent6"/>
              </a:solidFill>
              <a:prstDash val="solid"/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31362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>
            <a:extLst>
              <a:ext uri="{FF2B5EF4-FFF2-40B4-BE49-F238E27FC236}">
                <a16:creationId xmlns:a16="http://schemas.microsoft.com/office/drawing/2014/main" id="{3959766F-766B-48F2-AF1C-D2DEBD3BBA29}"/>
              </a:ext>
            </a:extLst>
          </p:cNvPr>
          <p:cNvGrpSpPr/>
          <p:nvPr/>
        </p:nvGrpSpPr>
        <p:grpSpPr>
          <a:xfrm>
            <a:off x="8209043" y="4664751"/>
            <a:ext cx="3503780" cy="1717092"/>
            <a:chOff x="3" y="1050943"/>
            <a:chExt cx="11076683" cy="5428118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EA983A-95ED-44B6-A1AC-A50F6AFECB0E}"/>
                </a:ext>
              </a:extLst>
            </p:cNvPr>
            <p:cNvSpPr/>
            <p:nvPr/>
          </p:nvSpPr>
          <p:spPr>
            <a:xfrm>
              <a:off x="5980554" y="1166208"/>
              <a:ext cx="4468979" cy="2231052"/>
            </a:xfrm>
            <a:custGeom>
              <a:avLst/>
              <a:gdLst>
                <a:gd name="connsiteX0" fmla="*/ 1357075 w 4919004"/>
                <a:gd name="connsiteY0" fmla="*/ 2271827 h 2455817"/>
                <a:gd name="connsiteX1" fmla="*/ 1367486 w 4919004"/>
                <a:gd name="connsiteY1" fmla="*/ 2276761 h 2455817"/>
                <a:gd name="connsiteX2" fmla="*/ 1315482 w 4919004"/>
                <a:gd name="connsiteY2" fmla="*/ 2278291 h 2455817"/>
                <a:gd name="connsiteX3" fmla="*/ 649189 w 4919004"/>
                <a:gd name="connsiteY3" fmla="*/ 2218836 h 2455817"/>
                <a:gd name="connsiteX4" fmla="*/ 649410 w 4919004"/>
                <a:gd name="connsiteY4" fmla="*/ 2218880 h 2455817"/>
                <a:gd name="connsiteX5" fmla="*/ 649189 w 4919004"/>
                <a:gd name="connsiteY5" fmla="*/ 2220464 h 2455817"/>
                <a:gd name="connsiteX6" fmla="*/ 4394911 w 4919004"/>
                <a:gd name="connsiteY6" fmla="*/ 2139644 h 2455817"/>
                <a:gd name="connsiteX7" fmla="*/ 4394911 w 4919004"/>
                <a:gd name="connsiteY7" fmla="*/ 2144578 h 2455817"/>
                <a:gd name="connsiteX8" fmla="*/ 4386622 w 4919004"/>
                <a:gd name="connsiteY8" fmla="*/ 2147785 h 2455817"/>
                <a:gd name="connsiteX9" fmla="*/ 4384501 w 4919004"/>
                <a:gd name="connsiteY9" fmla="*/ 2146157 h 2455817"/>
                <a:gd name="connsiteX10" fmla="*/ 4390767 w 4919004"/>
                <a:gd name="connsiteY10" fmla="*/ 2141273 h 2455817"/>
                <a:gd name="connsiteX11" fmla="*/ 4355242 w 4919004"/>
                <a:gd name="connsiteY11" fmla="*/ 2113987 h 2455817"/>
                <a:gd name="connsiteX12" fmla="*/ 4359386 w 4919004"/>
                <a:gd name="connsiteY12" fmla="*/ 2117195 h 2455817"/>
                <a:gd name="connsiteX13" fmla="*/ 4369798 w 4919004"/>
                <a:gd name="connsiteY13" fmla="*/ 2117195 h 2455817"/>
                <a:gd name="connsiteX14" fmla="*/ 4367725 w 4919004"/>
                <a:gd name="connsiteY14" fmla="*/ 2123658 h 2455817"/>
                <a:gd name="connsiteX15" fmla="*/ 4359386 w 4919004"/>
                <a:gd name="connsiteY15" fmla="*/ 2130122 h 2455817"/>
                <a:gd name="connsiteX16" fmla="*/ 4357364 w 4919004"/>
                <a:gd name="connsiteY16" fmla="*/ 2131701 h 2455817"/>
                <a:gd name="connsiteX17" fmla="*/ 4353169 w 4919004"/>
                <a:gd name="connsiteY17" fmla="*/ 2146207 h 2455817"/>
                <a:gd name="connsiteX18" fmla="*/ 4353169 w 4919004"/>
                <a:gd name="connsiteY18" fmla="*/ 2154298 h 2455817"/>
                <a:gd name="connsiteX19" fmla="*/ 4346952 w 4919004"/>
                <a:gd name="connsiteY19" fmla="*/ 2147835 h 2455817"/>
                <a:gd name="connsiteX20" fmla="*/ 4344831 w 4919004"/>
                <a:gd name="connsiteY20" fmla="*/ 2144628 h 2455817"/>
                <a:gd name="connsiteX21" fmla="*/ 4349025 w 4919004"/>
                <a:gd name="connsiteY21" fmla="*/ 2138164 h 2455817"/>
                <a:gd name="connsiteX22" fmla="*/ 4351097 w 4919004"/>
                <a:gd name="connsiteY22" fmla="*/ 2130122 h 2455817"/>
                <a:gd name="connsiteX23" fmla="*/ 4353169 w 4919004"/>
                <a:gd name="connsiteY23" fmla="*/ 2123658 h 2455817"/>
                <a:gd name="connsiteX24" fmla="*/ 4353169 w 4919004"/>
                <a:gd name="connsiteY24" fmla="*/ 2115566 h 2455817"/>
                <a:gd name="connsiteX25" fmla="*/ 4382330 w 4919004"/>
                <a:gd name="connsiteY25" fmla="*/ 2113968 h 2455817"/>
                <a:gd name="connsiteX26" fmla="*/ 4382330 w 4919004"/>
                <a:gd name="connsiteY26" fmla="*/ 2113987 h 2455817"/>
                <a:gd name="connsiteX27" fmla="*/ 4382281 w 4919004"/>
                <a:gd name="connsiteY27" fmla="*/ 2113987 h 2455817"/>
                <a:gd name="connsiteX28" fmla="*/ 4432163 w 4919004"/>
                <a:gd name="connsiteY28" fmla="*/ 2050733 h 2455817"/>
                <a:gd name="connsiteX29" fmla="*/ 4434285 w 4919004"/>
                <a:gd name="connsiteY29" fmla="*/ 2057197 h 2455817"/>
                <a:gd name="connsiteX30" fmla="*/ 4434285 w 4919004"/>
                <a:gd name="connsiteY30" fmla="*/ 2063611 h 2455817"/>
                <a:gd name="connsiteX31" fmla="*/ 4428019 w 4919004"/>
                <a:gd name="connsiteY31" fmla="*/ 2065288 h 2455817"/>
                <a:gd name="connsiteX32" fmla="*/ 4421803 w 4919004"/>
                <a:gd name="connsiteY32" fmla="*/ 2066867 h 2455817"/>
                <a:gd name="connsiteX33" fmla="*/ 4413463 w 4919004"/>
                <a:gd name="connsiteY33" fmla="*/ 2073331 h 2455817"/>
                <a:gd name="connsiteX34" fmla="*/ 4409319 w 4919004"/>
                <a:gd name="connsiteY34" fmla="*/ 2083199 h 2455817"/>
                <a:gd name="connsiteX35" fmla="*/ 4403053 w 4919004"/>
                <a:gd name="connsiteY35" fmla="*/ 2088133 h 2455817"/>
                <a:gd name="connsiteX36" fmla="*/ 4398908 w 4919004"/>
                <a:gd name="connsiteY36" fmla="*/ 2086554 h 2455817"/>
                <a:gd name="connsiteX37" fmla="*/ 4396836 w 4919004"/>
                <a:gd name="connsiteY37" fmla="*/ 2088133 h 2455817"/>
                <a:gd name="connsiteX38" fmla="*/ 4396836 w 4919004"/>
                <a:gd name="connsiteY38" fmla="*/ 2091389 h 2455817"/>
                <a:gd name="connsiteX39" fmla="*/ 4392691 w 4919004"/>
                <a:gd name="connsiteY39" fmla="*/ 2094597 h 2455817"/>
                <a:gd name="connsiteX40" fmla="*/ 4394763 w 4919004"/>
                <a:gd name="connsiteY40" fmla="*/ 2102688 h 2455817"/>
                <a:gd name="connsiteX41" fmla="*/ 4388498 w 4919004"/>
                <a:gd name="connsiteY41" fmla="*/ 2105896 h 2455817"/>
                <a:gd name="connsiteX42" fmla="*/ 4386474 w 4919004"/>
                <a:gd name="connsiteY42" fmla="*/ 2112359 h 2455817"/>
                <a:gd name="connsiteX43" fmla="*/ 4382330 w 4919004"/>
                <a:gd name="connsiteY43" fmla="*/ 2113968 h 2455817"/>
                <a:gd name="connsiteX44" fmla="*/ 4382330 w 4919004"/>
                <a:gd name="connsiteY44" fmla="*/ 2102688 h 2455817"/>
                <a:gd name="connsiteX45" fmla="*/ 4386523 w 4919004"/>
                <a:gd name="connsiteY45" fmla="*/ 2099481 h 2455817"/>
                <a:gd name="connsiteX46" fmla="*/ 4382330 w 4919004"/>
                <a:gd name="connsiteY46" fmla="*/ 2097853 h 2455817"/>
                <a:gd name="connsiteX47" fmla="*/ 4382330 w 4919004"/>
                <a:gd name="connsiteY47" fmla="*/ 2092919 h 2455817"/>
                <a:gd name="connsiteX48" fmla="*/ 4388547 w 4919004"/>
                <a:gd name="connsiteY48" fmla="*/ 2091291 h 2455817"/>
                <a:gd name="connsiteX49" fmla="*/ 4390668 w 4919004"/>
                <a:gd name="connsiteY49" fmla="*/ 2084827 h 2455817"/>
                <a:gd name="connsiteX50" fmla="*/ 4390668 w 4919004"/>
                <a:gd name="connsiteY50" fmla="*/ 2081620 h 2455817"/>
                <a:gd name="connsiteX51" fmla="*/ 4392740 w 4919004"/>
                <a:gd name="connsiteY51" fmla="*/ 2081620 h 2455817"/>
                <a:gd name="connsiteX52" fmla="*/ 4396885 w 4919004"/>
                <a:gd name="connsiteY52" fmla="*/ 2075156 h 2455817"/>
                <a:gd name="connsiteX53" fmla="*/ 4401079 w 4919004"/>
                <a:gd name="connsiteY53" fmla="*/ 2070222 h 2455817"/>
                <a:gd name="connsiteX54" fmla="*/ 4398957 w 4919004"/>
                <a:gd name="connsiteY54" fmla="*/ 2067015 h 2455817"/>
                <a:gd name="connsiteX55" fmla="*/ 4401079 w 4919004"/>
                <a:gd name="connsiteY55" fmla="*/ 2062081 h 2455817"/>
                <a:gd name="connsiteX56" fmla="*/ 4403102 w 4919004"/>
                <a:gd name="connsiteY56" fmla="*/ 2062081 h 2455817"/>
                <a:gd name="connsiteX57" fmla="*/ 4405224 w 4919004"/>
                <a:gd name="connsiteY57" fmla="*/ 2067015 h 2455817"/>
                <a:gd name="connsiteX58" fmla="*/ 4409319 w 4919004"/>
                <a:gd name="connsiteY58" fmla="*/ 2067015 h 2455817"/>
                <a:gd name="connsiteX59" fmla="*/ 4413463 w 4919004"/>
                <a:gd name="connsiteY59" fmla="*/ 2063759 h 2455817"/>
                <a:gd name="connsiteX60" fmla="*/ 4417608 w 4919004"/>
                <a:gd name="connsiteY60" fmla="*/ 2063759 h 2455817"/>
                <a:gd name="connsiteX61" fmla="*/ 4419729 w 4919004"/>
                <a:gd name="connsiteY61" fmla="*/ 2058825 h 2455817"/>
                <a:gd name="connsiteX62" fmla="*/ 4428019 w 4919004"/>
                <a:gd name="connsiteY62" fmla="*/ 2052361 h 2455817"/>
                <a:gd name="connsiteX63" fmla="*/ 4482096 w 4919004"/>
                <a:gd name="connsiteY63" fmla="*/ 2009139 h 2455817"/>
                <a:gd name="connsiteX64" fmla="*/ 4473806 w 4919004"/>
                <a:gd name="connsiteY64" fmla="*/ 2017231 h 2455817"/>
                <a:gd name="connsiteX65" fmla="*/ 4471685 w 4919004"/>
                <a:gd name="connsiteY65" fmla="*/ 2023645 h 2455817"/>
                <a:gd name="connsiteX66" fmla="*/ 4471685 w 4919004"/>
                <a:gd name="connsiteY66" fmla="*/ 2030109 h 2455817"/>
                <a:gd name="connsiteX67" fmla="*/ 4467540 w 4919004"/>
                <a:gd name="connsiteY67" fmla="*/ 2033365 h 2455817"/>
                <a:gd name="connsiteX68" fmla="*/ 4461275 w 4919004"/>
                <a:gd name="connsiteY68" fmla="*/ 2039779 h 2455817"/>
                <a:gd name="connsiteX69" fmla="*/ 4455058 w 4919004"/>
                <a:gd name="connsiteY69" fmla="*/ 2047871 h 2455817"/>
                <a:gd name="connsiteX70" fmla="*/ 4450913 w 4919004"/>
                <a:gd name="connsiteY70" fmla="*/ 2046243 h 2455817"/>
                <a:gd name="connsiteX71" fmla="*/ 4452985 w 4919004"/>
                <a:gd name="connsiteY71" fmla="*/ 2036868 h 2455817"/>
                <a:gd name="connsiteX72" fmla="*/ 4459251 w 4919004"/>
                <a:gd name="connsiteY72" fmla="*/ 2031934 h 2455817"/>
                <a:gd name="connsiteX73" fmla="*/ 4459251 w 4919004"/>
                <a:gd name="connsiteY73" fmla="*/ 2028727 h 2455817"/>
                <a:gd name="connsiteX74" fmla="*/ 4461275 w 4919004"/>
                <a:gd name="connsiteY74" fmla="*/ 2025471 h 2455817"/>
                <a:gd name="connsiteX75" fmla="*/ 4463396 w 4919004"/>
                <a:gd name="connsiteY75" fmla="*/ 2020537 h 2455817"/>
                <a:gd name="connsiteX76" fmla="*/ 4467540 w 4919004"/>
                <a:gd name="connsiteY76" fmla="*/ 2017330 h 2455817"/>
                <a:gd name="connsiteX77" fmla="*/ 4471685 w 4919004"/>
                <a:gd name="connsiteY77" fmla="*/ 2012395 h 2455817"/>
                <a:gd name="connsiteX78" fmla="*/ 4477951 w 4919004"/>
                <a:gd name="connsiteY78" fmla="*/ 2010767 h 2455817"/>
                <a:gd name="connsiteX79" fmla="*/ 4513279 w 4919004"/>
                <a:gd name="connsiteY79" fmla="*/ 1962216 h 2455817"/>
                <a:gd name="connsiteX80" fmla="*/ 4517473 w 4919004"/>
                <a:gd name="connsiteY80" fmla="*/ 1962216 h 2455817"/>
                <a:gd name="connsiteX81" fmla="*/ 4515352 w 4919004"/>
                <a:gd name="connsiteY81" fmla="*/ 1972084 h 2455817"/>
                <a:gd name="connsiteX82" fmla="*/ 4513279 w 4919004"/>
                <a:gd name="connsiteY82" fmla="*/ 1975292 h 2455817"/>
                <a:gd name="connsiteX83" fmla="*/ 4511207 w 4919004"/>
                <a:gd name="connsiteY83" fmla="*/ 1975193 h 2455817"/>
                <a:gd name="connsiteX84" fmla="*/ 4513279 w 4919004"/>
                <a:gd name="connsiteY84" fmla="*/ 1967150 h 2455817"/>
                <a:gd name="connsiteX85" fmla="*/ 4519495 w 4919004"/>
                <a:gd name="connsiteY85" fmla="*/ 1947908 h 2455817"/>
                <a:gd name="connsiteX86" fmla="*/ 4523690 w 4919004"/>
                <a:gd name="connsiteY86" fmla="*/ 1949536 h 2455817"/>
                <a:gd name="connsiteX87" fmla="*/ 4523690 w 4919004"/>
                <a:gd name="connsiteY87" fmla="*/ 1952743 h 2455817"/>
                <a:gd name="connsiteX88" fmla="*/ 4519495 w 4919004"/>
                <a:gd name="connsiteY88" fmla="*/ 1951115 h 2455817"/>
                <a:gd name="connsiteX89" fmla="*/ 4519495 w 4919004"/>
                <a:gd name="connsiteY89" fmla="*/ 1949536 h 2455817"/>
                <a:gd name="connsiteX90" fmla="*/ 4525762 w 4919004"/>
                <a:gd name="connsiteY90" fmla="*/ 1938188 h 2455817"/>
                <a:gd name="connsiteX91" fmla="*/ 4529907 w 4919004"/>
                <a:gd name="connsiteY91" fmla="*/ 1939915 h 2455817"/>
                <a:gd name="connsiteX92" fmla="*/ 4525762 w 4919004"/>
                <a:gd name="connsiteY92" fmla="*/ 1943122 h 2455817"/>
                <a:gd name="connsiteX93" fmla="*/ 4527835 w 4919004"/>
                <a:gd name="connsiteY93" fmla="*/ 1926839 h 2455817"/>
                <a:gd name="connsiteX94" fmla="*/ 4529907 w 4919004"/>
                <a:gd name="connsiteY94" fmla="*/ 1930047 h 2455817"/>
                <a:gd name="connsiteX95" fmla="*/ 4527835 w 4919004"/>
                <a:gd name="connsiteY95" fmla="*/ 1934981 h 2455817"/>
                <a:gd name="connsiteX96" fmla="*/ 4525762 w 4919004"/>
                <a:gd name="connsiteY96" fmla="*/ 1928418 h 2455817"/>
                <a:gd name="connsiteX97" fmla="*/ 4525762 w 4919004"/>
                <a:gd name="connsiteY97" fmla="*/ 1909225 h 2455817"/>
                <a:gd name="connsiteX98" fmla="*/ 4527835 w 4919004"/>
                <a:gd name="connsiteY98" fmla="*/ 1909225 h 2455817"/>
                <a:gd name="connsiteX99" fmla="*/ 4532028 w 4919004"/>
                <a:gd name="connsiteY99" fmla="*/ 1910804 h 2455817"/>
                <a:gd name="connsiteX100" fmla="*/ 4529907 w 4919004"/>
                <a:gd name="connsiteY100" fmla="*/ 1912432 h 2455817"/>
                <a:gd name="connsiteX101" fmla="*/ 48872 w 4919004"/>
                <a:gd name="connsiteY101" fmla="*/ 1880413 h 2455817"/>
                <a:gd name="connsiteX102" fmla="*/ 59161 w 4919004"/>
                <a:gd name="connsiteY102" fmla="*/ 1893921 h 2455817"/>
                <a:gd name="connsiteX103" fmla="*/ 69450 w 4919004"/>
                <a:gd name="connsiteY103" fmla="*/ 1899772 h 2455817"/>
                <a:gd name="connsiteX104" fmla="*/ 83802 w 4919004"/>
                <a:gd name="connsiteY104" fmla="*/ 1895851 h 2455817"/>
                <a:gd name="connsiteX105" fmla="*/ 87866 w 4919004"/>
                <a:gd name="connsiteY105" fmla="*/ 1897780 h 2455817"/>
                <a:gd name="connsiteX106" fmla="*/ 89924 w 4919004"/>
                <a:gd name="connsiteY106" fmla="*/ 1905561 h 2455817"/>
                <a:gd name="connsiteX107" fmla="*/ 94091 w 4919004"/>
                <a:gd name="connsiteY107" fmla="*/ 1909421 h 2455817"/>
                <a:gd name="connsiteX108" fmla="*/ 98155 w 4919004"/>
                <a:gd name="connsiteY108" fmla="*/ 1913280 h 2455817"/>
                <a:gd name="connsiteX109" fmla="*/ 94091 w 4919004"/>
                <a:gd name="connsiteY109" fmla="*/ 1919131 h 2455817"/>
                <a:gd name="connsiteX110" fmla="*/ 94091 w 4919004"/>
                <a:gd name="connsiteY110" fmla="*/ 1930709 h 2455817"/>
                <a:gd name="connsiteX111" fmla="*/ 87587 w 4919004"/>
                <a:gd name="connsiteY111" fmla="*/ 1932323 h 2455817"/>
                <a:gd name="connsiteX112" fmla="*/ 55920 w 4919004"/>
                <a:gd name="connsiteY112" fmla="*/ 1936685 h 2455817"/>
                <a:gd name="connsiteX113" fmla="*/ 8437 w 4919004"/>
                <a:gd name="connsiteY113" fmla="*/ 1932639 h 2455817"/>
                <a:gd name="connsiteX114" fmla="*/ 6842 w 4919004"/>
                <a:gd name="connsiteY114" fmla="*/ 1933386 h 2455817"/>
                <a:gd name="connsiteX115" fmla="*/ 8283 w 4919004"/>
                <a:gd name="connsiteY115" fmla="*/ 1929526 h 2455817"/>
                <a:gd name="connsiteX116" fmla="*/ 14456 w 4919004"/>
                <a:gd name="connsiteY116" fmla="*/ 1925294 h 2455817"/>
                <a:gd name="connsiteX117" fmla="*/ 20578 w 4919004"/>
                <a:gd name="connsiteY117" fmla="*/ 1919069 h 2455817"/>
                <a:gd name="connsiteX118" fmla="*/ 13118 w 4919004"/>
                <a:gd name="connsiteY118" fmla="*/ 1918509 h 2455817"/>
                <a:gd name="connsiteX119" fmla="*/ 8745 w 4919004"/>
                <a:gd name="connsiteY119" fmla="*/ 1917451 h 2455817"/>
                <a:gd name="connsiteX120" fmla="*/ 1286 w 4919004"/>
                <a:gd name="connsiteY120" fmla="*/ 1925916 h 2455817"/>
                <a:gd name="connsiteX121" fmla="*/ 3498 w 4919004"/>
                <a:gd name="connsiteY121" fmla="*/ 1916392 h 2455817"/>
                <a:gd name="connsiteX122" fmla="*/ 0 w 4919004"/>
                <a:gd name="connsiteY122" fmla="*/ 1906308 h 2455817"/>
                <a:gd name="connsiteX123" fmla="*/ 7872 w 4919004"/>
                <a:gd name="connsiteY123" fmla="*/ 1905250 h 2455817"/>
                <a:gd name="connsiteX124" fmla="*/ 18828 w 4919004"/>
                <a:gd name="connsiteY124" fmla="*/ 1903133 h 2455817"/>
                <a:gd name="connsiteX125" fmla="*/ 24950 w 4919004"/>
                <a:gd name="connsiteY125" fmla="*/ 1903133 h 2455817"/>
                <a:gd name="connsiteX126" fmla="*/ 30764 w 4919004"/>
                <a:gd name="connsiteY126" fmla="*/ 1905810 h 2455817"/>
                <a:gd name="connsiteX127" fmla="*/ 31947 w 4919004"/>
                <a:gd name="connsiteY127" fmla="*/ 1905810 h 2455817"/>
                <a:gd name="connsiteX128" fmla="*/ 36319 w 4919004"/>
                <a:gd name="connsiteY128" fmla="*/ 1903133 h 2455817"/>
                <a:gd name="connsiteX129" fmla="*/ 41155 w 4919004"/>
                <a:gd name="connsiteY129" fmla="*/ 1902075 h 2455817"/>
                <a:gd name="connsiteX130" fmla="*/ 38532 w 4919004"/>
                <a:gd name="connsiteY130" fmla="*/ 1895851 h 2455817"/>
                <a:gd name="connsiteX131" fmla="*/ 34159 w 4919004"/>
                <a:gd name="connsiteY131" fmla="*/ 1890062 h 2455817"/>
                <a:gd name="connsiteX132" fmla="*/ 35033 w 4919004"/>
                <a:gd name="connsiteY132" fmla="*/ 1882343 h 2455817"/>
                <a:gd name="connsiteX133" fmla="*/ 36577 w 4919004"/>
                <a:gd name="connsiteY133" fmla="*/ 1882343 h 2455817"/>
                <a:gd name="connsiteX134" fmla="*/ 4542390 w 4919004"/>
                <a:gd name="connsiteY134" fmla="*/ 1862401 h 2455817"/>
                <a:gd name="connsiteX135" fmla="*/ 4544462 w 4919004"/>
                <a:gd name="connsiteY135" fmla="*/ 1863980 h 2455817"/>
                <a:gd name="connsiteX136" fmla="*/ 4544462 w 4919004"/>
                <a:gd name="connsiteY136" fmla="*/ 1870493 h 2455817"/>
                <a:gd name="connsiteX137" fmla="*/ 4542390 w 4919004"/>
                <a:gd name="connsiteY137" fmla="*/ 1873700 h 2455817"/>
                <a:gd name="connsiteX138" fmla="*/ 4538245 w 4919004"/>
                <a:gd name="connsiteY138" fmla="*/ 1875328 h 2455817"/>
                <a:gd name="connsiteX139" fmla="*/ 4540317 w 4919004"/>
                <a:gd name="connsiteY139" fmla="*/ 1867335 h 2455817"/>
                <a:gd name="connsiteX140" fmla="*/ 4532028 w 4919004"/>
                <a:gd name="connsiteY140" fmla="*/ 1855987 h 2455817"/>
                <a:gd name="connsiteX141" fmla="*/ 4534101 w 4919004"/>
                <a:gd name="connsiteY141" fmla="*/ 1857615 h 2455817"/>
                <a:gd name="connsiteX142" fmla="*/ 4536173 w 4919004"/>
                <a:gd name="connsiteY142" fmla="*/ 1859194 h 2455817"/>
                <a:gd name="connsiteX143" fmla="*/ 4534101 w 4919004"/>
                <a:gd name="connsiteY143" fmla="*/ 1860822 h 2455817"/>
                <a:gd name="connsiteX144" fmla="*/ 4529907 w 4919004"/>
                <a:gd name="connsiteY144" fmla="*/ 1859194 h 2455817"/>
                <a:gd name="connsiteX145" fmla="*/ 4544462 w 4919004"/>
                <a:gd name="connsiteY145" fmla="*/ 1844540 h 2455817"/>
                <a:gd name="connsiteX146" fmla="*/ 4548656 w 4919004"/>
                <a:gd name="connsiteY146" fmla="*/ 1846119 h 2455817"/>
                <a:gd name="connsiteX147" fmla="*/ 4550728 w 4919004"/>
                <a:gd name="connsiteY147" fmla="*/ 1849326 h 2455817"/>
                <a:gd name="connsiteX148" fmla="*/ 4546583 w 4919004"/>
                <a:gd name="connsiteY148" fmla="*/ 1850954 h 2455817"/>
                <a:gd name="connsiteX149" fmla="*/ 4542390 w 4919004"/>
                <a:gd name="connsiteY149" fmla="*/ 1847747 h 2455817"/>
                <a:gd name="connsiteX150" fmla="*/ 4542390 w 4919004"/>
                <a:gd name="connsiteY150" fmla="*/ 1846119 h 2455817"/>
                <a:gd name="connsiteX151" fmla="*/ 4542390 w 4919004"/>
                <a:gd name="connsiteY151" fmla="*/ 1823373 h 2455817"/>
                <a:gd name="connsiteX152" fmla="*/ 4544462 w 4919004"/>
                <a:gd name="connsiteY152" fmla="*/ 1823373 h 2455817"/>
                <a:gd name="connsiteX153" fmla="*/ 4544462 w 4919004"/>
                <a:gd name="connsiteY153" fmla="*/ 1829787 h 2455817"/>
                <a:gd name="connsiteX154" fmla="*/ 4548656 w 4919004"/>
                <a:gd name="connsiteY154" fmla="*/ 1834721 h 2455817"/>
                <a:gd name="connsiteX155" fmla="*/ 4544462 w 4919004"/>
                <a:gd name="connsiteY155" fmla="*/ 1839655 h 2455817"/>
                <a:gd name="connsiteX156" fmla="*/ 4540317 w 4919004"/>
                <a:gd name="connsiteY156" fmla="*/ 1834721 h 2455817"/>
                <a:gd name="connsiteX157" fmla="*/ 4542390 w 4919004"/>
                <a:gd name="connsiteY157" fmla="*/ 1828307 h 2455817"/>
                <a:gd name="connsiteX158" fmla="*/ 4556945 w 4919004"/>
                <a:gd name="connsiteY158" fmla="*/ 1752520 h 2455817"/>
                <a:gd name="connsiteX159" fmla="*/ 4567357 w 4919004"/>
                <a:gd name="connsiteY159" fmla="*/ 1760562 h 2455817"/>
                <a:gd name="connsiteX160" fmla="*/ 4569428 w 4919004"/>
                <a:gd name="connsiteY160" fmla="*/ 1767026 h 2455817"/>
                <a:gd name="connsiteX161" fmla="*/ 4565283 w 4919004"/>
                <a:gd name="connsiteY161" fmla="*/ 1770233 h 2455817"/>
                <a:gd name="connsiteX162" fmla="*/ 4565283 w 4919004"/>
                <a:gd name="connsiteY162" fmla="*/ 1781532 h 2455817"/>
                <a:gd name="connsiteX163" fmla="*/ 4561140 w 4919004"/>
                <a:gd name="connsiteY163" fmla="*/ 1786466 h 2455817"/>
                <a:gd name="connsiteX164" fmla="*/ 4554873 w 4919004"/>
                <a:gd name="connsiteY164" fmla="*/ 1789723 h 2455817"/>
                <a:gd name="connsiteX165" fmla="*/ 4554873 w 4919004"/>
                <a:gd name="connsiteY165" fmla="*/ 1800972 h 2455817"/>
                <a:gd name="connsiteX166" fmla="*/ 4552800 w 4919004"/>
                <a:gd name="connsiteY166" fmla="*/ 1800972 h 2455817"/>
                <a:gd name="connsiteX167" fmla="*/ 4548656 w 4919004"/>
                <a:gd name="connsiteY167" fmla="*/ 1798061 h 2455817"/>
                <a:gd name="connsiteX168" fmla="*/ 4542390 w 4919004"/>
                <a:gd name="connsiteY168" fmla="*/ 1798061 h 2455817"/>
                <a:gd name="connsiteX169" fmla="*/ 4540317 w 4919004"/>
                <a:gd name="connsiteY169" fmla="*/ 1796433 h 2455817"/>
                <a:gd name="connsiteX170" fmla="*/ 4544462 w 4919004"/>
                <a:gd name="connsiteY170" fmla="*/ 1794805 h 2455817"/>
                <a:gd name="connsiteX171" fmla="*/ 4544462 w 4919004"/>
                <a:gd name="connsiteY171" fmla="*/ 1789871 h 2455817"/>
                <a:gd name="connsiteX172" fmla="*/ 4540317 w 4919004"/>
                <a:gd name="connsiteY172" fmla="*/ 1784937 h 2455817"/>
                <a:gd name="connsiteX173" fmla="*/ 4540317 w 4919004"/>
                <a:gd name="connsiteY173" fmla="*/ 1783358 h 2455817"/>
                <a:gd name="connsiteX174" fmla="*/ 4544462 w 4919004"/>
                <a:gd name="connsiteY174" fmla="*/ 1781729 h 2455817"/>
                <a:gd name="connsiteX175" fmla="*/ 4548656 w 4919004"/>
                <a:gd name="connsiteY175" fmla="*/ 1776795 h 2455817"/>
                <a:gd name="connsiteX176" fmla="*/ 4554873 w 4919004"/>
                <a:gd name="connsiteY176" fmla="*/ 1775167 h 2455817"/>
                <a:gd name="connsiteX177" fmla="*/ 4556945 w 4919004"/>
                <a:gd name="connsiteY177" fmla="*/ 1768704 h 2455817"/>
                <a:gd name="connsiteX178" fmla="*/ 4554873 w 4919004"/>
                <a:gd name="connsiteY178" fmla="*/ 1757454 h 2455817"/>
                <a:gd name="connsiteX179" fmla="*/ 4536173 w 4919004"/>
                <a:gd name="connsiteY179" fmla="*/ 1748030 h 2455817"/>
                <a:gd name="connsiteX180" fmla="*/ 4542390 w 4919004"/>
                <a:gd name="connsiteY180" fmla="*/ 1752964 h 2455817"/>
                <a:gd name="connsiteX181" fmla="*/ 4542390 w 4919004"/>
                <a:gd name="connsiteY181" fmla="*/ 1755974 h 2455817"/>
                <a:gd name="connsiteX182" fmla="*/ 4534101 w 4919004"/>
                <a:gd name="connsiteY182" fmla="*/ 1757602 h 2455817"/>
                <a:gd name="connsiteX183" fmla="*/ 4532028 w 4919004"/>
                <a:gd name="connsiteY183" fmla="*/ 1754346 h 2455817"/>
                <a:gd name="connsiteX184" fmla="*/ 4532028 w 4919004"/>
                <a:gd name="connsiteY184" fmla="*/ 1749411 h 2455817"/>
                <a:gd name="connsiteX185" fmla="*/ 4569428 w 4919004"/>
                <a:gd name="connsiteY185" fmla="*/ 1746007 h 2455817"/>
                <a:gd name="connsiteX186" fmla="*/ 4573573 w 4919004"/>
                <a:gd name="connsiteY186" fmla="*/ 1749263 h 2455817"/>
                <a:gd name="connsiteX187" fmla="*/ 4575695 w 4919004"/>
                <a:gd name="connsiteY187" fmla="*/ 1754198 h 2455817"/>
                <a:gd name="connsiteX188" fmla="*/ 4573573 w 4919004"/>
                <a:gd name="connsiteY188" fmla="*/ 1757454 h 2455817"/>
                <a:gd name="connsiteX189" fmla="*/ 4569428 w 4919004"/>
                <a:gd name="connsiteY189" fmla="*/ 1757454 h 2455817"/>
                <a:gd name="connsiteX190" fmla="*/ 4565283 w 4919004"/>
                <a:gd name="connsiteY190" fmla="*/ 1752964 h 2455817"/>
                <a:gd name="connsiteX191" fmla="*/ 4565283 w 4919004"/>
                <a:gd name="connsiteY191" fmla="*/ 1749263 h 2455817"/>
                <a:gd name="connsiteX192" fmla="*/ 244599 w 4919004"/>
                <a:gd name="connsiteY192" fmla="*/ 1659217 h 2455817"/>
                <a:gd name="connsiteX193" fmla="*/ 252888 w 4919004"/>
                <a:gd name="connsiteY193" fmla="*/ 1664151 h 2455817"/>
                <a:gd name="connsiteX194" fmla="*/ 250815 w 4919004"/>
                <a:gd name="connsiteY194" fmla="*/ 1667358 h 2455817"/>
                <a:gd name="connsiteX195" fmla="*/ 242477 w 4919004"/>
                <a:gd name="connsiteY195" fmla="*/ 1664151 h 2455817"/>
                <a:gd name="connsiteX196" fmla="*/ 3856213 w 4919004"/>
                <a:gd name="connsiteY196" fmla="*/ 1641109 h 2455817"/>
                <a:gd name="connsiteX197" fmla="*/ 3854141 w 4919004"/>
                <a:gd name="connsiteY197" fmla="*/ 1646043 h 2455817"/>
                <a:gd name="connsiteX198" fmla="*/ 3856213 w 4919004"/>
                <a:gd name="connsiteY198" fmla="*/ 1647672 h 2455817"/>
                <a:gd name="connsiteX199" fmla="*/ 3854141 w 4919004"/>
                <a:gd name="connsiteY199" fmla="*/ 1652606 h 2455817"/>
                <a:gd name="connsiteX200" fmla="*/ 3849996 w 4919004"/>
                <a:gd name="connsiteY200" fmla="*/ 1652606 h 2455817"/>
                <a:gd name="connsiteX201" fmla="*/ 3845803 w 4919004"/>
                <a:gd name="connsiteY201" fmla="*/ 1659069 h 2455817"/>
                <a:gd name="connsiteX202" fmla="*/ 3841658 w 4919004"/>
                <a:gd name="connsiteY202" fmla="*/ 1655714 h 2455817"/>
                <a:gd name="connsiteX203" fmla="*/ 3839586 w 4919004"/>
                <a:gd name="connsiteY203" fmla="*/ 1650780 h 2455817"/>
                <a:gd name="connsiteX204" fmla="*/ 3845803 w 4919004"/>
                <a:gd name="connsiteY204" fmla="*/ 1644317 h 2455817"/>
                <a:gd name="connsiteX205" fmla="*/ 3843780 w 4919004"/>
                <a:gd name="connsiteY205" fmla="*/ 1630156 h 2455817"/>
                <a:gd name="connsiteX206" fmla="*/ 3847925 w 4919004"/>
                <a:gd name="connsiteY206" fmla="*/ 1630156 h 2455817"/>
                <a:gd name="connsiteX207" fmla="*/ 3847925 w 4919004"/>
                <a:gd name="connsiteY207" fmla="*/ 1638198 h 2455817"/>
                <a:gd name="connsiteX208" fmla="*/ 3843780 w 4919004"/>
                <a:gd name="connsiteY208" fmla="*/ 1634991 h 2455817"/>
                <a:gd name="connsiteX209" fmla="*/ 3854141 w 4919004"/>
                <a:gd name="connsiteY209" fmla="*/ 1630057 h 2455817"/>
                <a:gd name="connsiteX210" fmla="*/ 3858335 w 4919004"/>
                <a:gd name="connsiteY210" fmla="*/ 1633314 h 2455817"/>
                <a:gd name="connsiteX211" fmla="*/ 3858335 w 4919004"/>
                <a:gd name="connsiteY211" fmla="*/ 1636521 h 2455817"/>
                <a:gd name="connsiteX212" fmla="*/ 3854141 w 4919004"/>
                <a:gd name="connsiteY212" fmla="*/ 1639728 h 2455817"/>
                <a:gd name="connsiteX213" fmla="*/ 3852068 w 4919004"/>
                <a:gd name="connsiteY213" fmla="*/ 1638100 h 2455817"/>
                <a:gd name="connsiteX214" fmla="*/ 3854141 w 4919004"/>
                <a:gd name="connsiteY214" fmla="*/ 1633314 h 2455817"/>
                <a:gd name="connsiteX215" fmla="*/ 4015830 w 4919004"/>
                <a:gd name="connsiteY215" fmla="*/ 1609877 h 2455817"/>
                <a:gd name="connsiteX216" fmla="*/ 4017902 w 4919004"/>
                <a:gd name="connsiteY216" fmla="*/ 1613084 h 2455817"/>
                <a:gd name="connsiteX217" fmla="*/ 4022047 w 4919004"/>
                <a:gd name="connsiteY217" fmla="*/ 1621176 h 2455817"/>
                <a:gd name="connsiteX218" fmla="*/ 4034578 w 4919004"/>
                <a:gd name="connsiteY218" fmla="*/ 1624383 h 2455817"/>
                <a:gd name="connsiteX219" fmla="*/ 4038723 w 4919004"/>
                <a:gd name="connsiteY219" fmla="*/ 1629317 h 2455817"/>
                <a:gd name="connsiteX220" fmla="*/ 4036602 w 4919004"/>
                <a:gd name="connsiteY220" fmla="*/ 1639185 h 2455817"/>
                <a:gd name="connsiteX221" fmla="*/ 4042868 w 4919004"/>
                <a:gd name="connsiteY221" fmla="*/ 1647228 h 2455817"/>
                <a:gd name="connsiteX222" fmla="*/ 4057670 w 4919004"/>
                <a:gd name="connsiteY222" fmla="*/ 1657096 h 2455817"/>
                <a:gd name="connsiteX223" fmla="*/ 4059742 w 4919004"/>
                <a:gd name="connsiteY223" fmla="*/ 1662030 h 2455817"/>
                <a:gd name="connsiteX224" fmla="*/ 4061814 w 4919004"/>
                <a:gd name="connsiteY224" fmla="*/ 1662030 h 2455817"/>
                <a:gd name="connsiteX225" fmla="*/ 4070154 w 4919004"/>
                <a:gd name="connsiteY225" fmla="*/ 1670072 h 2455817"/>
                <a:gd name="connsiteX226" fmla="*/ 4078492 w 4919004"/>
                <a:gd name="connsiteY226" fmla="*/ 1679940 h 2455817"/>
                <a:gd name="connsiteX227" fmla="*/ 4082637 w 4919004"/>
                <a:gd name="connsiteY227" fmla="*/ 1687983 h 2455817"/>
                <a:gd name="connsiteX228" fmla="*/ 4076371 w 4919004"/>
                <a:gd name="connsiteY228" fmla="*/ 1679940 h 2455817"/>
                <a:gd name="connsiteX229" fmla="*/ 4068081 w 4919004"/>
                <a:gd name="connsiteY229" fmla="*/ 1673477 h 2455817"/>
                <a:gd name="connsiteX230" fmla="*/ 4065959 w 4919004"/>
                <a:gd name="connsiteY230" fmla="*/ 1675105 h 2455817"/>
                <a:gd name="connsiteX231" fmla="*/ 4065959 w 4919004"/>
                <a:gd name="connsiteY231" fmla="*/ 1678312 h 2455817"/>
                <a:gd name="connsiteX232" fmla="*/ 4070154 w 4919004"/>
                <a:gd name="connsiteY232" fmla="*/ 1681519 h 2455817"/>
                <a:gd name="connsiteX233" fmla="*/ 4070154 w 4919004"/>
                <a:gd name="connsiteY233" fmla="*/ 1684776 h 2455817"/>
                <a:gd name="connsiteX234" fmla="*/ 4078492 w 4919004"/>
                <a:gd name="connsiteY234" fmla="*/ 1692867 h 2455817"/>
                <a:gd name="connsiteX235" fmla="*/ 4084709 w 4919004"/>
                <a:gd name="connsiteY235" fmla="*/ 1694446 h 2455817"/>
                <a:gd name="connsiteX236" fmla="*/ 4086781 w 4919004"/>
                <a:gd name="connsiteY236" fmla="*/ 1702489 h 2455817"/>
                <a:gd name="connsiteX237" fmla="*/ 4088853 w 4919004"/>
                <a:gd name="connsiteY237" fmla="*/ 1712357 h 2455817"/>
                <a:gd name="connsiteX238" fmla="*/ 4090926 w 4919004"/>
                <a:gd name="connsiteY238" fmla="*/ 1720449 h 2455817"/>
                <a:gd name="connsiteX239" fmla="*/ 4088853 w 4919004"/>
                <a:gd name="connsiteY239" fmla="*/ 1720449 h 2455817"/>
                <a:gd name="connsiteX240" fmla="*/ 4086781 w 4919004"/>
                <a:gd name="connsiteY240" fmla="*/ 1725383 h 2455817"/>
                <a:gd name="connsiteX241" fmla="*/ 4086781 w 4919004"/>
                <a:gd name="connsiteY241" fmla="*/ 1731846 h 2455817"/>
                <a:gd name="connsiteX242" fmla="*/ 4090926 w 4919004"/>
                <a:gd name="connsiteY242" fmla="*/ 1736780 h 2455817"/>
                <a:gd name="connsiteX243" fmla="*/ 4095070 w 4919004"/>
                <a:gd name="connsiteY243" fmla="*/ 1744872 h 2455817"/>
                <a:gd name="connsiteX244" fmla="*/ 4101336 w 4919004"/>
                <a:gd name="connsiteY244" fmla="*/ 1751336 h 2455817"/>
                <a:gd name="connsiteX245" fmla="*/ 4107602 w 4919004"/>
                <a:gd name="connsiteY245" fmla="*/ 1754543 h 2455817"/>
                <a:gd name="connsiteX246" fmla="*/ 4109626 w 4919004"/>
                <a:gd name="connsiteY246" fmla="*/ 1759477 h 2455817"/>
                <a:gd name="connsiteX247" fmla="*/ 4109626 w 4919004"/>
                <a:gd name="connsiteY247" fmla="*/ 1767519 h 2455817"/>
                <a:gd name="connsiteX248" fmla="*/ 4113819 w 4919004"/>
                <a:gd name="connsiteY248" fmla="*/ 1767519 h 2455817"/>
                <a:gd name="connsiteX249" fmla="*/ 4115892 w 4919004"/>
                <a:gd name="connsiteY249" fmla="*/ 1765941 h 2455817"/>
                <a:gd name="connsiteX250" fmla="*/ 4120036 w 4919004"/>
                <a:gd name="connsiteY250" fmla="*/ 1765941 h 2455817"/>
                <a:gd name="connsiteX251" fmla="*/ 4124181 w 4919004"/>
                <a:gd name="connsiteY251" fmla="*/ 1772404 h 2455817"/>
                <a:gd name="connsiteX252" fmla="*/ 4124181 w 4919004"/>
                <a:gd name="connsiteY252" fmla="*/ 1778818 h 2455817"/>
                <a:gd name="connsiteX253" fmla="*/ 4128374 w 4919004"/>
                <a:gd name="connsiteY253" fmla="*/ 1782075 h 2455817"/>
                <a:gd name="connsiteX254" fmla="*/ 4134591 w 4919004"/>
                <a:gd name="connsiteY254" fmla="*/ 1793324 h 2455817"/>
                <a:gd name="connsiteX255" fmla="*/ 4149393 w 4919004"/>
                <a:gd name="connsiteY255" fmla="*/ 1807830 h 2455817"/>
                <a:gd name="connsiteX256" fmla="*/ 4151516 w 4919004"/>
                <a:gd name="connsiteY256" fmla="*/ 1814294 h 2455817"/>
                <a:gd name="connsiteX257" fmla="*/ 4159805 w 4919004"/>
                <a:gd name="connsiteY257" fmla="*/ 1830428 h 2455817"/>
                <a:gd name="connsiteX258" fmla="*/ 4172288 w 4919004"/>
                <a:gd name="connsiteY258" fmla="*/ 1840296 h 2455817"/>
                <a:gd name="connsiteX259" fmla="*/ 4172288 w 4919004"/>
                <a:gd name="connsiteY259" fmla="*/ 1846760 h 2455817"/>
                <a:gd name="connsiteX260" fmla="*/ 4176432 w 4919004"/>
                <a:gd name="connsiteY260" fmla="*/ 1849967 h 2455817"/>
                <a:gd name="connsiteX261" fmla="*/ 4180626 w 4919004"/>
                <a:gd name="connsiteY261" fmla="*/ 1856431 h 2455817"/>
                <a:gd name="connsiteX262" fmla="*/ 4186843 w 4919004"/>
                <a:gd name="connsiteY262" fmla="*/ 1867730 h 2455817"/>
                <a:gd name="connsiteX263" fmla="*/ 4190988 w 4919004"/>
                <a:gd name="connsiteY263" fmla="*/ 1870937 h 2455817"/>
                <a:gd name="connsiteX264" fmla="*/ 4190988 w 4919004"/>
                <a:gd name="connsiteY264" fmla="*/ 1874144 h 2455817"/>
                <a:gd name="connsiteX265" fmla="*/ 4197254 w 4919004"/>
                <a:gd name="connsiteY265" fmla="*/ 1882236 h 2455817"/>
                <a:gd name="connsiteX266" fmla="*/ 4203471 w 4919004"/>
                <a:gd name="connsiteY266" fmla="*/ 1890278 h 2455817"/>
                <a:gd name="connsiteX267" fmla="*/ 4213882 w 4919004"/>
                <a:gd name="connsiteY267" fmla="*/ 1896692 h 2455817"/>
                <a:gd name="connsiteX268" fmla="*/ 4220098 w 4919004"/>
                <a:gd name="connsiteY268" fmla="*/ 1904784 h 2455817"/>
                <a:gd name="connsiteX269" fmla="*/ 4224293 w 4919004"/>
                <a:gd name="connsiteY269" fmla="*/ 1912827 h 2455817"/>
                <a:gd name="connsiteX270" fmla="*/ 4220098 w 4919004"/>
                <a:gd name="connsiteY270" fmla="*/ 1911248 h 2455817"/>
                <a:gd name="connsiteX271" fmla="*/ 4213882 w 4919004"/>
                <a:gd name="connsiteY271" fmla="*/ 1903156 h 2455817"/>
                <a:gd name="connsiteX272" fmla="*/ 4207615 w 4919004"/>
                <a:gd name="connsiteY272" fmla="*/ 1898222 h 2455817"/>
                <a:gd name="connsiteX273" fmla="*/ 4199326 w 4919004"/>
                <a:gd name="connsiteY273" fmla="*/ 1896544 h 2455817"/>
                <a:gd name="connsiteX274" fmla="*/ 4195181 w 4919004"/>
                <a:gd name="connsiteY274" fmla="*/ 1886923 h 2455817"/>
                <a:gd name="connsiteX275" fmla="*/ 4186843 w 4919004"/>
                <a:gd name="connsiteY275" fmla="*/ 1883716 h 2455817"/>
                <a:gd name="connsiteX276" fmla="*/ 4178505 w 4919004"/>
                <a:gd name="connsiteY276" fmla="*/ 1882088 h 2455817"/>
                <a:gd name="connsiteX277" fmla="*/ 4170216 w 4919004"/>
                <a:gd name="connsiteY277" fmla="*/ 1883716 h 2455817"/>
                <a:gd name="connsiteX278" fmla="*/ 4161877 w 4919004"/>
                <a:gd name="connsiteY278" fmla="*/ 1883716 h 2455817"/>
                <a:gd name="connsiteX279" fmla="*/ 4161877 w 4919004"/>
                <a:gd name="connsiteY279" fmla="*/ 1891758 h 2455817"/>
                <a:gd name="connsiteX280" fmla="*/ 4157733 w 4919004"/>
                <a:gd name="connsiteY280" fmla="*/ 1894966 h 2455817"/>
                <a:gd name="connsiteX281" fmla="*/ 4163950 w 4919004"/>
                <a:gd name="connsiteY281" fmla="*/ 1903008 h 2455817"/>
                <a:gd name="connsiteX282" fmla="*/ 4163950 w 4919004"/>
                <a:gd name="connsiteY282" fmla="*/ 1909472 h 2455817"/>
                <a:gd name="connsiteX283" fmla="*/ 4161877 w 4919004"/>
                <a:gd name="connsiteY283" fmla="*/ 1920771 h 2455817"/>
                <a:gd name="connsiteX284" fmla="*/ 4166071 w 4919004"/>
                <a:gd name="connsiteY284" fmla="*/ 1925705 h 2455817"/>
                <a:gd name="connsiteX285" fmla="*/ 4168094 w 4919004"/>
                <a:gd name="connsiteY285" fmla="*/ 1938632 h 2455817"/>
                <a:gd name="connsiteX286" fmla="*/ 4168094 w 4919004"/>
                <a:gd name="connsiteY286" fmla="*/ 1948500 h 2455817"/>
                <a:gd name="connsiteX287" fmla="*/ 4170216 w 4919004"/>
                <a:gd name="connsiteY287" fmla="*/ 1956542 h 2455817"/>
                <a:gd name="connsiteX288" fmla="*/ 4176432 w 4919004"/>
                <a:gd name="connsiteY288" fmla="*/ 1964585 h 2455817"/>
                <a:gd name="connsiteX289" fmla="*/ 4178505 w 4919004"/>
                <a:gd name="connsiteY289" fmla="*/ 1974453 h 2455817"/>
                <a:gd name="connsiteX290" fmla="*/ 4184771 w 4919004"/>
                <a:gd name="connsiteY290" fmla="*/ 1980916 h 2455817"/>
                <a:gd name="connsiteX291" fmla="*/ 4190988 w 4919004"/>
                <a:gd name="connsiteY291" fmla="*/ 1982545 h 2455817"/>
                <a:gd name="connsiteX292" fmla="*/ 4199326 w 4919004"/>
                <a:gd name="connsiteY292" fmla="*/ 1988959 h 2455817"/>
                <a:gd name="connsiteX293" fmla="*/ 4203471 w 4919004"/>
                <a:gd name="connsiteY293" fmla="*/ 1995423 h 2455817"/>
                <a:gd name="connsiteX294" fmla="*/ 4205543 w 4919004"/>
                <a:gd name="connsiteY294" fmla="*/ 2005291 h 2455817"/>
                <a:gd name="connsiteX295" fmla="*/ 4215953 w 4919004"/>
                <a:gd name="connsiteY295" fmla="*/ 2010225 h 2455817"/>
                <a:gd name="connsiteX296" fmla="*/ 4220098 w 4919004"/>
                <a:gd name="connsiteY296" fmla="*/ 2010225 h 2455817"/>
                <a:gd name="connsiteX297" fmla="*/ 4224293 w 4919004"/>
                <a:gd name="connsiteY297" fmla="*/ 2008596 h 2455817"/>
                <a:gd name="connsiteX298" fmla="*/ 4226365 w 4919004"/>
                <a:gd name="connsiteY298" fmla="*/ 2013530 h 2455817"/>
                <a:gd name="connsiteX299" fmla="*/ 4228437 w 4919004"/>
                <a:gd name="connsiteY299" fmla="*/ 2021573 h 2455817"/>
                <a:gd name="connsiteX300" fmla="*/ 4236727 w 4919004"/>
                <a:gd name="connsiteY300" fmla="*/ 2026507 h 2455817"/>
                <a:gd name="connsiteX301" fmla="*/ 4236727 w 4919004"/>
                <a:gd name="connsiteY301" fmla="*/ 2034599 h 2455817"/>
                <a:gd name="connsiteX302" fmla="*/ 4234654 w 4919004"/>
                <a:gd name="connsiteY302" fmla="*/ 2041013 h 2455817"/>
                <a:gd name="connsiteX303" fmla="*/ 4236727 w 4919004"/>
                <a:gd name="connsiteY303" fmla="*/ 2044269 h 2455817"/>
                <a:gd name="connsiteX304" fmla="*/ 4236727 w 4919004"/>
                <a:gd name="connsiteY304" fmla="*/ 2047477 h 2455817"/>
                <a:gd name="connsiteX305" fmla="*/ 4232582 w 4919004"/>
                <a:gd name="connsiteY305" fmla="*/ 2044269 h 2455817"/>
                <a:gd name="connsiteX306" fmla="*/ 4230510 w 4919004"/>
                <a:gd name="connsiteY306" fmla="*/ 2039335 h 2455817"/>
                <a:gd name="connsiteX307" fmla="*/ 4224293 w 4919004"/>
                <a:gd name="connsiteY307" fmla="*/ 2031293 h 2455817"/>
                <a:gd name="connsiteX308" fmla="*/ 4224293 w 4919004"/>
                <a:gd name="connsiteY308" fmla="*/ 2024829 h 2455817"/>
                <a:gd name="connsiteX309" fmla="*/ 4222170 w 4919004"/>
                <a:gd name="connsiteY309" fmla="*/ 2021622 h 2455817"/>
                <a:gd name="connsiteX310" fmla="*/ 4220098 w 4919004"/>
                <a:gd name="connsiteY310" fmla="*/ 2023201 h 2455817"/>
                <a:gd name="connsiteX311" fmla="*/ 4218027 w 4919004"/>
                <a:gd name="connsiteY311" fmla="*/ 2024829 h 2455817"/>
                <a:gd name="connsiteX312" fmla="*/ 4203471 w 4919004"/>
                <a:gd name="connsiteY312" fmla="*/ 2026458 h 2455817"/>
                <a:gd name="connsiteX313" fmla="*/ 4199326 w 4919004"/>
                <a:gd name="connsiteY313" fmla="*/ 2023201 h 2455817"/>
                <a:gd name="connsiteX314" fmla="*/ 4199326 w 4919004"/>
                <a:gd name="connsiteY314" fmla="*/ 2019994 h 2455817"/>
                <a:gd name="connsiteX315" fmla="*/ 4197254 w 4919004"/>
                <a:gd name="connsiteY315" fmla="*/ 2018415 h 2455817"/>
                <a:gd name="connsiteX316" fmla="*/ 4190988 w 4919004"/>
                <a:gd name="connsiteY316" fmla="*/ 2023349 h 2455817"/>
                <a:gd name="connsiteX317" fmla="*/ 4188915 w 4919004"/>
                <a:gd name="connsiteY317" fmla="*/ 2033217 h 2455817"/>
                <a:gd name="connsiteX318" fmla="*/ 4190988 w 4919004"/>
                <a:gd name="connsiteY318" fmla="*/ 2041260 h 2455817"/>
                <a:gd name="connsiteX319" fmla="*/ 4193060 w 4919004"/>
                <a:gd name="connsiteY319" fmla="*/ 2046194 h 2455817"/>
                <a:gd name="connsiteX320" fmla="*/ 4193060 w 4919004"/>
                <a:gd name="connsiteY320" fmla="*/ 2060700 h 2455817"/>
                <a:gd name="connsiteX321" fmla="*/ 4184870 w 4919004"/>
                <a:gd name="connsiteY321" fmla="*/ 2057789 h 2455817"/>
                <a:gd name="connsiteX322" fmla="*/ 4178604 w 4919004"/>
                <a:gd name="connsiteY322" fmla="*/ 2047921 h 2455817"/>
                <a:gd name="connsiteX323" fmla="*/ 4172387 w 4919004"/>
                <a:gd name="connsiteY323" fmla="*/ 2042987 h 2455817"/>
                <a:gd name="connsiteX324" fmla="*/ 4168192 w 4919004"/>
                <a:gd name="connsiteY324" fmla="*/ 2034944 h 2455817"/>
                <a:gd name="connsiteX325" fmla="*/ 4170314 w 4919004"/>
                <a:gd name="connsiteY325" fmla="*/ 2022017 h 2455817"/>
                <a:gd name="connsiteX326" fmla="*/ 4172387 w 4919004"/>
                <a:gd name="connsiteY326" fmla="*/ 2012149 h 2455817"/>
                <a:gd name="connsiteX327" fmla="*/ 4170314 w 4919004"/>
                <a:gd name="connsiteY327" fmla="*/ 2007215 h 2455817"/>
                <a:gd name="connsiteX328" fmla="*/ 4161975 w 4919004"/>
                <a:gd name="connsiteY328" fmla="*/ 1997347 h 2455817"/>
                <a:gd name="connsiteX329" fmla="*/ 4159903 w 4919004"/>
                <a:gd name="connsiteY329" fmla="*/ 1990883 h 2455817"/>
                <a:gd name="connsiteX330" fmla="*/ 4153637 w 4919004"/>
                <a:gd name="connsiteY330" fmla="*/ 1981262 h 2455817"/>
                <a:gd name="connsiteX331" fmla="*/ 4151615 w 4919004"/>
                <a:gd name="connsiteY331" fmla="*/ 1969914 h 2455817"/>
                <a:gd name="connsiteX332" fmla="*/ 4153637 w 4919004"/>
                <a:gd name="connsiteY332" fmla="*/ 1957036 h 2455817"/>
                <a:gd name="connsiteX333" fmla="*/ 4147420 w 4919004"/>
                <a:gd name="connsiteY333" fmla="*/ 1948993 h 2455817"/>
                <a:gd name="connsiteX334" fmla="*/ 4147420 w 4919004"/>
                <a:gd name="connsiteY334" fmla="*/ 1942530 h 2455817"/>
                <a:gd name="connsiteX335" fmla="*/ 4134937 w 4919004"/>
                <a:gd name="connsiteY335" fmla="*/ 1928024 h 2455817"/>
                <a:gd name="connsiteX336" fmla="*/ 4126648 w 4919004"/>
                <a:gd name="connsiteY336" fmla="*/ 1923090 h 2455817"/>
                <a:gd name="connsiteX337" fmla="*/ 4126648 w 4919004"/>
                <a:gd name="connsiteY337" fmla="*/ 1914998 h 2455817"/>
                <a:gd name="connsiteX338" fmla="*/ 4128720 w 4919004"/>
                <a:gd name="connsiteY338" fmla="*/ 1910064 h 2455817"/>
                <a:gd name="connsiteX339" fmla="*/ 4122503 w 4919004"/>
                <a:gd name="connsiteY339" fmla="*/ 1898715 h 2455817"/>
                <a:gd name="connsiteX340" fmla="*/ 4120382 w 4919004"/>
                <a:gd name="connsiteY340" fmla="*/ 1887466 h 2455817"/>
                <a:gd name="connsiteX341" fmla="*/ 4122503 w 4919004"/>
                <a:gd name="connsiteY341" fmla="*/ 1882532 h 2455817"/>
                <a:gd name="connsiteX342" fmla="*/ 4118310 w 4919004"/>
                <a:gd name="connsiteY342" fmla="*/ 1877598 h 2455817"/>
                <a:gd name="connsiteX343" fmla="*/ 4118310 w 4919004"/>
                <a:gd name="connsiteY343" fmla="*/ 1866299 h 2455817"/>
                <a:gd name="connsiteX344" fmla="*/ 4114165 w 4919004"/>
                <a:gd name="connsiteY344" fmla="*/ 1858256 h 2455817"/>
                <a:gd name="connsiteX345" fmla="*/ 4112093 w 4919004"/>
                <a:gd name="connsiteY345" fmla="*/ 1851793 h 2455817"/>
                <a:gd name="connsiteX346" fmla="*/ 4103754 w 4919004"/>
                <a:gd name="connsiteY346" fmla="*/ 1840494 h 2455817"/>
                <a:gd name="connsiteX347" fmla="*/ 4103754 w 4919004"/>
                <a:gd name="connsiteY347" fmla="*/ 1835560 h 2455817"/>
                <a:gd name="connsiteX348" fmla="*/ 4105827 w 4919004"/>
                <a:gd name="connsiteY348" fmla="*/ 1833932 h 2455817"/>
                <a:gd name="connsiteX349" fmla="*/ 4099610 w 4919004"/>
                <a:gd name="connsiteY349" fmla="*/ 1827517 h 2455817"/>
                <a:gd name="connsiteX350" fmla="*/ 4093393 w 4919004"/>
                <a:gd name="connsiteY350" fmla="*/ 1824310 h 2455817"/>
                <a:gd name="connsiteX351" fmla="*/ 4093393 w 4919004"/>
                <a:gd name="connsiteY351" fmla="*/ 1817847 h 2455817"/>
                <a:gd name="connsiteX352" fmla="*/ 4087126 w 4919004"/>
                <a:gd name="connsiteY352" fmla="*/ 1809755 h 2455817"/>
                <a:gd name="connsiteX353" fmla="*/ 4087126 w 4919004"/>
                <a:gd name="connsiteY353" fmla="*/ 1801712 h 2455817"/>
                <a:gd name="connsiteX354" fmla="*/ 4085055 w 4919004"/>
                <a:gd name="connsiteY354" fmla="*/ 1790463 h 2455817"/>
                <a:gd name="connsiteX355" fmla="*/ 4076715 w 4919004"/>
                <a:gd name="connsiteY355" fmla="*/ 1780595 h 2455817"/>
                <a:gd name="connsiteX356" fmla="*/ 4070498 w 4919004"/>
                <a:gd name="connsiteY356" fmla="*/ 1778966 h 2455817"/>
                <a:gd name="connsiteX357" fmla="*/ 4053871 w 4919004"/>
                <a:gd name="connsiteY357" fmla="*/ 1762881 h 2455817"/>
                <a:gd name="connsiteX358" fmla="*/ 4058015 w 4919004"/>
                <a:gd name="connsiteY358" fmla="*/ 1761253 h 2455817"/>
                <a:gd name="connsiteX359" fmla="*/ 4055943 w 4919004"/>
                <a:gd name="connsiteY359" fmla="*/ 1758046 h 2455817"/>
                <a:gd name="connsiteX360" fmla="*/ 4049726 w 4919004"/>
                <a:gd name="connsiteY360" fmla="*/ 1754790 h 2455817"/>
                <a:gd name="connsiteX361" fmla="*/ 4043460 w 4919004"/>
                <a:gd name="connsiteY361" fmla="*/ 1744921 h 2455817"/>
                <a:gd name="connsiteX362" fmla="*/ 4039316 w 4919004"/>
                <a:gd name="connsiteY362" fmla="*/ 1730415 h 2455817"/>
                <a:gd name="connsiteX363" fmla="*/ 4037193 w 4919004"/>
                <a:gd name="connsiteY363" fmla="*/ 1720547 h 2455817"/>
                <a:gd name="connsiteX364" fmla="*/ 4035171 w 4919004"/>
                <a:gd name="connsiteY364" fmla="*/ 1717291 h 2455817"/>
                <a:gd name="connsiteX365" fmla="*/ 4033050 w 4919004"/>
                <a:gd name="connsiteY365" fmla="*/ 1704413 h 2455817"/>
                <a:gd name="connsiteX366" fmla="*/ 4026833 w 4919004"/>
                <a:gd name="connsiteY366" fmla="*/ 1694792 h 2455817"/>
                <a:gd name="connsiteX367" fmla="*/ 4020616 w 4919004"/>
                <a:gd name="connsiteY367" fmla="*/ 1686700 h 2455817"/>
                <a:gd name="connsiteX368" fmla="*/ 4018494 w 4919004"/>
                <a:gd name="connsiteY368" fmla="*/ 1680236 h 2455817"/>
                <a:gd name="connsiteX369" fmla="*/ 4012278 w 4919004"/>
                <a:gd name="connsiteY369" fmla="*/ 1673773 h 2455817"/>
                <a:gd name="connsiteX370" fmla="*/ 4014349 w 4919004"/>
                <a:gd name="connsiteY370" fmla="*/ 1665730 h 2455817"/>
                <a:gd name="connsiteX371" fmla="*/ 4020616 w 4919004"/>
                <a:gd name="connsiteY371" fmla="*/ 1660796 h 2455817"/>
                <a:gd name="connsiteX372" fmla="*/ 4024760 w 4919004"/>
                <a:gd name="connsiteY372" fmla="*/ 1665730 h 2455817"/>
                <a:gd name="connsiteX373" fmla="*/ 4028905 w 4919004"/>
                <a:gd name="connsiteY373" fmla="*/ 1667358 h 2455817"/>
                <a:gd name="connsiteX374" fmla="*/ 4035171 w 4919004"/>
                <a:gd name="connsiteY374" fmla="*/ 1664151 h 2455817"/>
                <a:gd name="connsiteX375" fmla="*/ 4032457 w 4919004"/>
                <a:gd name="connsiteY375" fmla="*/ 1655270 h 2455817"/>
                <a:gd name="connsiteX376" fmla="*/ 4028313 w 4919004"/>
                <a:gd name="connsiteY376" fmla="*/ 1655270 h 2455817"/>
                <a:gd name="connsiteX377" fmla="*/ 4026240 w 4919004"/>
                <a:gd name="connsiteY377" fmla="*/ 1652063 h 2455817"/>
                <a:gd name="connsiteX378" fmla="*/ 4030385 w 4919004"/>
                <a:gd name="connsiteY378" fmla="*/ 1650385 h 2455817"/>
                <a:gd name="connsiteX379" fmla="*/ 4034578 w 4919004"/>
                <a:gd name="connsiteY379" fmla="*/ 1647178 h 2455817"/>
                <a:gd name="connsiteX380" fmla="*/ 4032457 w 4919004"/>
                <a:gd name="connsiteY380" fmla="*/ 1642244 h 2455817"/>
                <a:gd name="connsiteX381" fmla="*/ 4028313 w 4919004"/>
                <a:gd name="connsiteY381" fmla="*/ 1643873 h 2455817"/>
                <a:gd name="connsiteX382" fmla="*/ 4024168 w 4919004"/>
                <a:gd name="connsiteY382" fmla="*/ 1645501 h 2455817"/>
                <a:gd name="connsiteX383" fmla="*/ 4026240 w 4919004"/>
                <a:gd name="connsiteY383" fmla="*/ 1639037 h 2455817"/>
                <a:gd name="connsiteX384" fmla="*/ 4022047 w 4919004"/>
                <a:gd name="connsiteY384" fmla="*/ 1634103 h 2455817"/>
                <a:gd name="connsiteX385" fmla="*/ 4009613 w 4919004"/>
                <a:gd name="connsiteY385" fmla="*/ 1627640 h 2455817"/>
                <a:gd name="connsiteX386" fmla="*/ 4001274 w 4919004"/>
                <a:gd name="connsiteY386" fmla="*/ 1619548 h 2455817"/>
                <a:gd name="connsiteX387" fmla="*/ 4005468 w 4919004"/>
                <a:gd name="connsiteY387" fmla="*/ 1617969 h 2455817"/>
                <a:gd name="connsiteX388" fmla="*/ 4011685 w 4919004"/>
                <a:gd name="connsiteY388" fmla="*/ 1621225 h 2455817"/>
                <a:gd name="connsiteX389" fmla="*/ 4015830 w 4919004"/>
                <a:gd name="connsiteY389" fmla="*/ 1621225 h 2455817"/>
                <a:gd name="connsiteX390" fmla="*/ 4015830 w 4919004"/>
                <a:gd name="connsiteY390" fmla="*/ 1616291 h 2455817"/>
                <a:gd name="connsiteX391" fmla="*/ 4013757 w 4919004"/>
                <a:gd name="connsiteY391" fmla="*/ 1613084 h 2455817"/>
                <a:gd name="connsiteX392" fmla="*/ 3812547 w 4919004"/>
                <a:gd name="connsiteY392" fmla="*/ 1600848 h 2455817"/>
                <a:gd name="connsiteX393" fmla="*/ 3814669 w 4919004"/>
                <a:gd name="connsiteY393" fmla="*/ 1605782 h 2455817"/>
                <a:gd name="connsiteX394" fmla="*/ 3812547 w 4919004"/>
                <a:gd name="connsiteY394" fmla="*/ 1608989 h 2455817"/>
                <a:gd name="connsiteX395" fmla="*/ 3814669 w 4919004"/>
                <a:gd name="connsiteY395" fmla="*/ 1613923 h 2455817"/>
                <a:gd name="connsiteX396" fmla="*/ 3812547 w 4919004"/>
                <a:gd name="connsiteY396" fmla="*/ 1615551 h 2455817"/>
                <a:gd name="connsiteX397" fmla="*/ 3808403 w 4919004"/>
                <a:gd name="connsiteY397" fmla="*/ 1612344 h 2455817"/>
                <a:gd name="connsiteX398" fmla="*/ 3804258 w 4919004"/>
                <a:gd name="connsiteY398" fmla="*/ 1615551 h 2455817"/>
                <a:gd name="connsiteX399" fmla="*/ 3804258 w 4919004"/>
                <a:gd name="connsiteY399" fmla="*/ 1617179 h 2455817"/>
                <a:gd name="connsiteX400" fmla="*/ 3802137 w 4919004"/>
                <a:gd name="connsiteY400" fmla="*/ 1617179 h 2455817"/>
                <a:gd name="connsiteX401" fmla="*/ 3800114 w 4919004"/>
                <a:gd name="connsiteY401" fmla="*/ 1613824 h 2455817"/>
                <a:gd name="connsiteX402" fmla="*/ 3800114 w 4919004"/>
                <a:gd name="connsiteY402" fmla="*/ 1608890 h 2455817"/>
                <a:gd name="connsiteX403" fmla="*/ 3806331 w 4919004"/>
                <a:gd name="connsiteY403" fmla="*/ 1605683 h 2455817"/>
                <a:gd name="connsiteX404" fmla="*/ 3810475 w 4919004"/>
                <a:gd name="connsiteY404" fmla="*/ 1602476 h 2455817"/>
                <a:gd name="connsiteX405" fmla="*/ 3831247 w 4919004"/>
                <a:gd name="connsiteY405" fmla="*/ 1597986 h 2455817"/>
                <a:gd name="connsiteX406" fmla="*/ 3835441 w 4919004"/>
                <a:gd name="connsiteY406" fmla="*/ 1599664 h 2455817"/>
                <a:gd name="connsiteX407" fmla="*/ 3843780 w 4919004"/>
                <a:gd name="connsiteY407" fmla="*/ 1597986 h 2455817"/>
                <a:gd name="connsiteX408" fmla="*/ 3845803 w 4919004"/>
                <a:gd name="connsiteY408" fmla="*/ 1599664 h 2455817"/>
                <a:gd name="connsiteX409" fmla="*/ 3845803 w 4919004"/>
                <a:gd name="connsiteY409" fmla="*/ 1602871 h 2455817"/>
                <a:gd name="connsiteX410" fmla="*/ 3841658 w 4919004"/>
                <a:gd name="connsiteY410" fmla="*/ 1606078 h 2455817"/>
                <a:gd name="connsiteX411" fmla="*/ 3843780 w 4919004"/>
                <a:gd name="connsiteY411" fmla="*/ 1607706 h 2455817"/>
                <a:gd name="connsiteX412" fmla="*/ 3847925 w 4919004"/>
                <a:gd name="connsiteY412" fmla="*/ 1606078 h 2455817"/>
                <a:gd name="connsiteX413" fmla="*/ 3847925 w 4919004"/>
                <a:gd name="connsiteY413" fmla="*/ 1602871 h 2455817"/>
                <a:gd name="connsiteX414" fmla="*/ 3854141 w 4919004"/>
                <a:gd name="connsiteY414" fmla="*/ 1602871 h 2455817"/>
                <a:gd name="connsiteX415" fmla="*/ 3854141 w 4919004"/>
                <a:gd name="connsiteY415" fmla="*/ 1606078 h 2455817"/>
                <a:gd name="connsiteX416" fmla="*/ 3849996 w 4919004"/>
                <a:gd name="connsiteY416" fmla="*/ 1609285 h 2455817"/>
                <a:gd name="connsiteX417" fmla="*/ 3849996 w 4919004"/>
                <a:gd name="connsiteY417" fmla="*/ 1612541 h 2455817"/>
                <a:gd name="connsiteX418" fmla="*/ 3852068 w 4919004"/>
                <a:gd name="connsiteY418" fmla="*/ 1615749 h 2455817"/>
                <a:gd name="connsiteX419" fmla="*/ 3849996 w 4919004"/>
                <a:gd name="connsiteY419" fmla="*/ 1620683 h 2455817"/>
                <a:gd name="connsiteX420" fmla="*/ 3845803 w 4919004"/>
                <a:gd name="connsiteY420" fmla="*/ 1623939 h 2455817"/>
                <a:gd name="connsiteX421" fmla="*/ 3839586 w 4919004"/>
                <a:gd name="connsiteY421" fmla="*/ 1622261 h 2455817"/>
                <a:gd name="connsiteX422" fmla="*/ 3835441 w 4919004"/>
                <a:gd name="connsiteY422" fmla="*/ 1617327 h 2455817"/>
                <a:gd name="connsiteX423" fmla="*/ 3831247 w 4919004"/>
                <a:gd name="connsiteY423" fmla="*/ 1617327 h 2455817"/>
                <a:gd name="connsiteX424" fmla="*/ 3829224 w 4919004"/>
                <a:gd name="connsiteY424" fmla="*/ 1618906 h 2455817"/>
                <a:gd name="connsiteX425" fmla="*/ 3829224 w 4919004"/>
                <a:gd name="connsiteY425" fmla="*/ 1622113 h 2455817"/>
                <a:gd name="connsiteX426" fmla="*/ 3827103 w 4919004"/>
                <a:gd name="connsiteY426" fmla="*/ 1622113 h 2455817"/>
                <a:gd name="connsiteX427" fmla="*/ 3820886 w 4919004"/>
                <a:gd name="connsiteY427" fmla="*/ 1614318 h 2455817"/>
                <a:gd name="connsiteX428" fmla="*/ 3820886 w 4919004"/>
                <a:gd name="connsiteY428" fmla="*/ 1609384 h 2455817"/>
                <a:gd name="connsiteX429" fmla="*/ 3825030 w 4919004"/>
                <a:gd name="connsiteY429" fmla="*/ 1606176 h 2455817"/>
                <a:gd name="connsiteX430" fmla="*/ 3827103 w 4919004"/>
                <a:gd name="connsiteY430" fmla="*/ 1601242 h 2455817"/>
                <a:gd name="connsiteX431" fmla="*/ 4825209 w 4919004"/>
                <a:gd name="connsiteY431" fmla="*/ 1451050 h 2455817"/>
                <a:gd name="connsiteX432" fmla="*/ 4833498 w 4919004"/>
                <a:gd name="connsiteY432" fmla="*/ 1454257 h 2455817"/>
                <a:gd name="connsiteX433" fmla="*/ 4837642 w 4919004"/>
                <a:gd name="connsiteY433" fmla="*/ 1459192 h 2455817"/>
                <a:gd name="connsiteX434" fmla="*/ 4845981 w 4919004"/>
                <a:gd name="connsiteY434" fmla="*/ 1459192 h 2455817"/>
                <a:gd name="connsiteX435" fmla="*/ 4850125 w 4919004"/>
                <a:gd name="connsiteY435" fmla="*/ 1462399 h 2455817"/>
                <a:gd name="connsiteX436" fmla="*/ 4860537 w 4919004"/>
                <a:gd name="connsiteY436" fmla="*/ 1467333 h 2455817"/>
                <a:gd name="connsiteX437" fmla="*/ 4864682 w 4919004"/>
                <a:gd name="connsiteY437" fmla="*/ 1468912 h 2455817"/>
                <a:gd name="connsiteX438" fmla="*/ 4854320 w 4919004"/>
                <a:gd name="connsiteY438" fmla="*/ 1470540 h 2455817"/>
                <a:gd name="connsiteX439" fmla="*/ 4850125 w 4919004"/>
                <a:gd name="connsiteY439" fmla="*/ 1467333 h 2455817"/>
                <a:gd name="connsiteX440" fmla="*/ 4839764 w 4919004"/>
                <a:gd name="connsiteY440" fmla="*/ 1465704 h 2455817"/>
                <a:gd name="connsiteX441" fmla="*/ 4831425 w 4919004"/>
                <a:gd name="connsiteY441" fmla="*/ 1459241 h 2455817"/>
                <a:gd name="connsiteX442" fmla="*/ 4825209 w 4919004"/>
                <a:gd name="connsiteY442" fmla="*/ 1459241 h 2455817"/>
                <a:gd name="connsiteX443" fmla="*/ 4821015 w 4919004"/>
                <a:gd name="connsiteY443" fmla="*/ 1454307 h 2455817"/>
                <a:gd name="connsiteX444" fmla="*/ 4760721 w 4919004"/>
                <a:gd name="connsiteY444" fmla="*/ 1428255 h 2455817"/>
                <a:gd name="connsiteX445" fmla="*/ 4769010 w 4919004"/>
                <a:gd name="connsiteY445" fmla="*/ 1428255 h 2455817"/>
                <a:gd name="connsiteX446" fmla="*/ 4764865 w 4919004"/>
                <a:gd name="connsiteY446" fmla="*/ 1431462 h 2455817"/>
                <a:gd name="connsiteX447" fmla="*/ 4764865 w 4919004"/>
                <a:gd name="connsiteY447" fmla="*/ 1433140 h 2455817"/>
                <a:gd name="connsiteX448" fmla="*/ 4771131 w 4919004"/>
                <a:gd name="connsiteY448" fmla="*/ 1443008 h 2455817"/>
                <a:gd name="connsiteX449" fmla="*/ 4779421 w 4919004"/>
                <a:gd name="connsiteY449" fmla="*/ 1443008 h 2455817"/>
                <a:gd name="connsiteX450" fmla="*/ 4781543 w 4919004"/>
                <a:gd name="connsiteY450" fmla="*/ 1447942 h 2455817"/>
                <a:gd name="connsiteX451" fmla="*/ 4791905 w 4919004"/>
                <a:gd name="connsiteY451" fmla="*/ 1454406 h 2455817"/>
                <a:gd name="connsiteX452" fmla="*/ 4798120 w 4919004"/>
                <a:gd name="connsiteY452" fmla="*/ 1457662 h 2455817"/>
                <a:gd name="connsiteX453" fmla="*/ 4802315 w 4919004"/>
                <a:gd name="connsiteY453" fmla="*/ 1464076 h 2455817"/>
                <a:gd name="connsiteX454" fmla="*/ 4800243 w 4919004"/>
                <a:gd name="connsiteY454" fmla="*/ 1465704 h 2455817"/>
                <a:gd name="connsiteX455" fmla="*/ 4793976 w 4919004"/>
                <a:gd name="connsiteY455" fmla="*/ 1465704 h 2455817"/>
                <a:gd name="connsiteX456" fmla="*/ 4785688 w 4919004"/>
                <a:gd name="connsiteY456" fmla="*/ 1459241 h 2455817"/>
                <a:gd name="connsiteX457" fmla="*/ 4783565 w 4919004"/>
                <a:gd name="connsiteY457" fmla="*/ 1460869 h 2455817"/>
                <a:gd name="connsiteX458" fmla="*/ 4779421 w 4919004"/>
                <a:gd name="connsiteY458" fmla="*/ 1460869 h 2455817"/>
                <a:gd name="connsiteX459" fmla="*/ 4773204 w 4919004"/>
                <a:gd name="connsiteY459" fmla="*/ 1454406 h 2455817"/>
                <a:gd name="connsiteX460" fmla="*/ 4769010 w 4919004"/>
                <a:gd name="connsiteY460" fmla="*/ 1454406 h 2455817"/>
                <a:gd name="connsiteX461" fmla="*/ 4762793 w 4919004"/>
                <a:gd name="connsiteY461" fmla="*/ 1446363 h 2455817"/>
                <a:gd name="connsiteX462" fmla="*/ 4762793 w 4919004"/>
                <a:gd name="connsiteY462" fmla="*/ 1444735 h 2455817"/>
                <a:gd name="connsiteX463" fmla="*/ 4758648 w 4919004"/>
                <a:gd name="connsiteY463" fmla="*/ 1439801 h 2455817"/>
                <a:gd name="connsiteX464" fmla="*/ 4752432 w 4919004"/>
                <a:gd name="connsiteY464" fmla="*/ 1441429 h 2455817"/>
                <a:gd name="connsiteX465" fmla="*/ 4746166 w 4919004"/>
                <a:gd name="connsiteY465" fmla="*/ 1438173 h 2455817"/>
                <a:gd name="connsiteX466" fmla="*/ 4746166 w 4919004"/>
                <a:gd name="connsiteY466" fmla="*/ 1434817 h 2455817"/>
                <a:gd name="connsiteX467" fmla="*/ 4752432 w 4919004"/>
                <a:gd name="connsiteY467" fmla="*/ 1429883 h 2455817"/>
                <a:gd name="connsiteX468" fmla="*/ 4756576 w 4919004"/>
                <a:gd name="connsiteY468" fmla="*/ 1429883 h 2455817"/>
                <a:gd name="connsiteX469" fmla="*/ 417191 w 4919004"/>
                <a:gd name="connsiteY469" fmla="*/ 1397911 h 2455817"/>
                <a:gd name="connsiteX470" fmla="*/ 421385 w 4919004"/>
                <a:gd name="connsiteY470" fmla="*/ 1399539 h 2455817"/>
                <a:gd name="connsiteX471" fmla="*/ 423457 w 4919004"/>
                <a:gd name="connsiteY471" fmla="*/ 1402796 h 2455817"/>
                <a:gd name="connsiteX472" fmla="*/ 419313 w 4919004"/>
                <a:gd name="connsiteY472" fmla="*/ 1406003 h 2455817"/>
                <a:gd name="connsiteX473" fmla="*/ 423457 w 4919004"/>
                <a:gd name="connsiteY473" fmla="*/ 1410937 h 2455817"/>
                <a:gd name="connsiteX474" fmla="*/ 423457 w 4919004"/>
                <a:gd name="connsiteY474" fmla="*/ 1414193 h 2455817"/>
                <a:gd name="connsiteX475" fmla="*/ 419313 w 4919004"/>
                <a:gd name="connsiteY475" fmla="*/ 1414193 h 2455817"/>
                <a:gd name="connsiteX476" fmla="*/ 417191 w 4919004"/>
                <a:gd name="connsiteY476" fmla="*/ 1410986 h 2455817"/>
                <a:gd name="connsiteX477" fmla="*/ 413047 w 4919004"/>
                <a:gd name="connsiteY477" fmla="*/ 1406052 h 2455817"/>
                <a:gd name="connsiteX478" fmla="*/ 413047 w 4919004"/>
                <a:gd name="connsiteY478" fmla="*/ 1402845 h 2455817"/>
                <a:gd name="connsiteX479" fmla="*/ 606461 w 4919004"/>
                <a:gd name="connsiteY479" fmla="*/ 1301302 h 2455817"/>
                <a:gd name="connsiteX480" fmla="*/ 608484 w 4919004"/>
                <a:gd name="connsiteY480" fmla="*/ 1301302 h 2455817"/>
                <a:gd name="connsiteX481" fmla="*/ 612677 w 4919004"/>
                <a:gd name="connsiteY481" fmla="*/ 1304510 h 2455817"/>
                <a:gd name="connsiteX482" fmla="*/ 612677 w 4919004"/>
                <a:gd name="connsiteY482" fmla="*/ 1307766 h 2455817"/>
                <a:gd name="connsiteX483" fmla="*/ 610606 w 4919004"/>
                <a:gd name="connsiteY483" fmla="*/ 1309345 h 2455817"/>
                <a:gd name="connsiteX484" fmla="*/ 604339 w 4919004"/>
                <a:gd name="connsiteY484" fmla="*/ 1304510 h 2455817"/>
                <a:gd name="connsiteX485" fmla="*/ 4126549 w 4919004"/>
                <a:gd name="connsiteY485" fmla="*/ 1288227 h 2455817"/>
                <a:gd name="connsiteX486" fmla="*/ 4130694 w 4919004"/>
                <a:gd name="connsiteY486" fmla="*/ 1288227 h 2455817"/>
                <a:gd name="connsiteX487" fmla="*/ 4130694 w 4919004"/>
                <a:gd name="connsiteY487" fmla="*/ 1291484 h 2455817"/>
                <a:gd name="connsiteX488" fmla="*/ 4124428 w 4919004"/>
                <a:gd name="connsiteY488" fmla="*/ 1297898 h 2455817"/>
                <a:gd name="connsiteX489" fmla="*/ 4122404 w 4919004"/>
                <a:gd name="connsiteY489" fmla="*/ 1297898 h 2455817"/>
                <a:gd name="connsiteX490" fmla="*/ 4122404 w 4919004"/>
                <a:gd name="connsiteY490" fmla="*/ 1293161 h 2455817"/>
                <a:gd name="connsiteX491" fmla="*/ 1394179 w 4919004"/>
                <a:gd name="connsiteY491" fmla="*/ 1231782 h 2455817"/>
                <a:gd name="connsiteX492" fmla="*/ 1398373 w 4919004"/>
                <a:gd name="connsiteY492" fmla="*/ 1231881 h 2455817"/>
                <a:gd name="connsiteX493" fmla="*/ 1402518 w 4919004"/>
                <a:gd name="connsiteY493" fmla="*/ 1233459 h 2455817"/>
                <a:gd name="connsiteX494" fmla="*/ 1415001 w 4919004"/>
                <a:gd name="connsiteY494" fmla="*/ 1233459 h 2455817"/>
                <a:gd name="connsiteX495" fmla="*/ 1417073 w 4919004"/>
                <a:gd name="connsiteY495" fmla="*/ 1239923 h 2455817"/>
                <a:gd name="connsiteX496" fmla="*/ 1415001 w 4919004"/>
                <a:gd name="connsiteY496" fmla="*/ 1243130 h 2455817"/>
                <a:gd name="connsiteX497" fmla="*/ 1406663 w 4919004"/>
                <a:gd name="connsiteY497" fmla="*/ 1244758 h 2455817"/>
                <a:gd name="connsiteX498" fmla="*/ 1398373 w 4919004"/>
                <a:gd name="connsiteY498" fmla="*/ 1239824 h 2455817"/>
                <a:gd name="connsiteX499" fmla="*/ 1398373 w 4919004"/>
                <a:gd name="connsiteY499" fmla="*/ 1236617 h 2455817"/>
                <a:gd name="connsiteX500" fmla="*/ 1394179 w 4919004"/>
                <a:gd name="connsiteY500" fmla="*/ 1234989 h 2455817"/>
                <a:gd name="connsiteX501" fmla="*/ 4565283 w 4919004"/>
                <a:gd name="connsiteY501" fmla="*/ 1196257 h 2455817"/>
                <a:gd name="connsiteX502" fmla="*/ 4569428 w 4919004"/>
                <a:gd name="connsiteY502" fmla="*/ 1196257 h 2455817"/>
                <a:gd name="connsiteX503" fmla="*/ 4577767 w 4919004"/>
                <a:gd name="connsiteY503" fmla="*/ 1204299 h 2455817"/>
                <a:gd name="connsiteX504" fmla="*/ 4581912 w 4919004"/>
                <a:gd name="connsiteY504" fmla="*/ 1212391 h 2455817"/>
                <a:gd name="connsiteX505" fmla="*/ 4583984 w 4919004"/>
                <a:gd name="connsiteY505" fmla="*/ 1218805 h 2455817"/>
                <a:gd name="connsiteX506" fmla="*/ 4579789 w 4919004"/>
                <a:gd name="connsiteY506" fmla="*/ 1220434 h 2455817"/>
                <a:gd name="connsiteX507" fmla="*/ 4571500 w 4919004"/>
                <a:gd name="connsiteY507" fmla="*/ 1226848 h 2455817"/>
                <a:gd name="connsiteX508" fmla="*/ 4565283 w 4919004"/>
                <a:gd name="connsiteY508" fmla="*/ 1231782 h 2455817"/>
                <a:gd name="connsiteX509" fmla="*/ 4563212 w 4919004"/>
                <a:gd name="connsiteY509" fmla="*/ 1239824 h 2455817"/>
                <a:gd name="connsiteX510" fmla="*/ 4563212 w 4919004"/>
                <a:gd name="connsiteY510" fmla="*/ 1243081 h 2455817"/>
                <a:gd name="connsiteX511" fmla="*/ 4561140 w 4919004"/>
                <a:gd name="connsiteY511" fmla="*/ 1246337 h 2455817"/>
                <a:gd name="connsiteX512" fmla="*/ 4563212 w 4919004"/>
                <a:gd name="connsiteY512" fmla="*/ 1252801 h 2455817"/>
                <a:gd name="connsiteX513" fmla="*/ 4565283 w 4919004"/>
                <a:gd name="connsiteY513" fmla="*/ 1259215 h 2455817"/>
                <a:gd name="connsiteX514" fmla="*/ 4563212 w 4919004"/>
                <a:gd name="connsiteY514" fmla="*/ 1257587 h 2455817"/>
                <a:gd name="connsiteX515" fmla="*/ 4556945 w 4919004"/>
                <a:gd name="connsiteY515" fmla="*/ 1252949 h 2455817"/>
                <a:gd name="connsiteX516" fmla="*/ 4554873 w 4919004"/>
                <a:gd name="connsiteY516" fmla="*/ 1249692 h 2455817"/>
                <a:gd name="connsiteX517" fmla="*/ 4556945 w 4919004"/>
                <a:gd name="connsiteY517" fmla="*/ 1244758 h 2455817"/>
                <a:gd name="connsiteX518" fmla="*/ 4556945 w 4919004"/>
                <a:gd name="connsiteY518" fmla="*/ 1238541 h 2455817"/>
                <a:gd name="connsiteX519" fmla="*/ 4552800 w 4919004"/>
                <a:gd name="connsiteY519" fmla="*/ 1233607 h 2455817"/>
                <a:gd name="connsiteX520" fmla="*/ 4550728 w 4919004"/>
                <a:gd name="connsiteY520" fmla="*/ 1223739 h 2455817"/>
                <a:gd name="connsiteX521" fmla="*/ 4552800 w 4919004"/>
                <a:gd name="connsiteY521" fmla="*/ 1218805 h 2455817"/>
                <a:gd name="connsiteX522" fmla="*/ 4552800 w 4919004"/>
                <a:gd name="connsiteY522" fmla="*/ 1217177 h 2455817"/>
                <a:gd name="connsiteX523" fmla="*/ 4546583 w 4919004"/>
                <a:gd name="connsiteY523" fmla="*/ 1220434 h 2455817"/>
                <a:gd name="connsiteX524" fmla="*/ 4542390 w 4919004"/>
                <a:gd name="connsiteY524" fmla="*/ 1220434 h 2455817"/>
                <a:gd name="connsiteX525" fmla="*/ 4546583 w 4919004"/>
                <a:gd name="connsiteY525" fmla="*/ 1213970 h 2455817"/>
                <a:gd name="connsiteX526" fmla="*/ 4548656 w 4919004"/>
                <a:gd name="connsiteY526" fmla="*/ 1212391 h 2455817"/>
                <a:gd name="connsiteX527" fmla="*/ 4559017 w 4919004"/>
                <a:gd name="connsiteY527" fmla="*/ 1204299 h 2455817"/>
                <a:gd name="connsiteX528" fmla="*/ 4561140 w 4919004"/>
                <a:gd name="connsiteY528" fmla="*/ 1202671 h 2455817"/>
                <a:gd name="connsiteX529" fmla="*/ 4563212 w 4919004"/>
                <a:gd name="connsiteY529" fmla="*/ 1199464 h 2455817"/>
                <a:gd name="connsiteX530" fmla="*/ 826815 w 4919004"/>
                <a:gd name="connsiteY530" fmla="*/ 1180369 h 2455817"/>
                <a:gd name="connsiteX531" fmla="*/ 835104 w 4919004"/>
                <a:gd name="connsiteY531" fmla="*/ 1180369 h 2455817"/>
                <a:gd name="connsiteX532" fmla="*/ 830959 w 4919004"/>
                <a:gd name="connsiteY532" fmla="*/ 1183576 h 2455817"/>
                <a:gd name="connsiteX533" fmla="*/ 824742 w 4919004"/>
                <a:gd name="connsiteY533" fmla="*/ 1183576 h 2455817"/>
                <a:gd name="connsiteX534" fmla="*/ 822621 w 4919004"/>
                <a:gd name="connsiteY534" fmla="*/ 1186784 h 2455817"/>
                <a:gd name="connsiteX535" fmla="*/ 820548 w 4919004"/>
                <a:gd name="connsiteY535" fmla="*/ 1186784 h 2455817"/>
                <a:gd name="connsiteX536" fmla="*/ 820548 w 4919004"/>
                <a:gd name="connsiteY536" fmla="*/ 1183576 h 2455817"/>
                <a:gd name="connsiteX537" fmla="*/ 916170 w 4919004"/>
                <a:gd name="connsiteY537" fmla="*/ 1178593 h 2455817"/>
                <a:gd name="connsiteX538" fmla="*/ 918292 w 4919004"/>
                <a:gd name="connsiteY538" fmla="*/ 1181849 h 2455817"/>
                <a:gd name="connsiteX539" fmla="*/ 914147 w 4919004"/>
                <a:gd name="connsiteY539" fmla="*/ 1186784 h 2455817"/>
                <a:gd name="connsiteX540" fmla="*/ 909953 w 4919004"/>
                <a:gd name="connsiteY540" fmla="*/ 1185205 h 2455817"/>
                <a:gd name="connsiteX541" fmla="*/ 912026 w 4919004"/>
                <a:gd name="connsiteY541" fmla="*/ 1180221 h 2455817"/>
                <a:gd name="connsiteX542" fmla="*/ 926729 w 4919004"/>
                <a:gd name="connsiteY542" fmla="*/ 1177162 h 2455817"/>
                <a:gd name="connsiteX543" fmla="*/ 930726 w 4919004"/>
                <a:gd name="connsiteY543" fmla="*/ 1177162 h 2455817"/>
                <a:gd name="connsiteX544" fmla="*/ 930726 w 4919004"/>
                <a:gd name="connsiteY544" fmla="*/ 1180369 h 2455817"/>
                <a:gd name="connsiteX545" fmla="*/ 926581 w 4919004"/>
                <a:gd name="connsiteY545" fmla="*/ 1186784 h 2455817"/>
                <a:gd name="connsiteX546" fmla="*/ 922436 w 4919004"/>
                <a:gd name="connsiteY546" fmla="*/ 1183576 h 2455817"/>
                <a:gd name="connsiteX547" fmla="*/ 922584 w 4919004"/>
                <a:gd name="connsiteY547" fmla="*/ 1182096 h 2455817"/>
                <a:gd name="connsiteX548" fmla="*/ 964030 w 4919004"/>
                <a:gd name="connsiteY548" fmla="*/ 1146522 h 2455817"/>
                <a:gd name="connsiteX549" fmla="*/ 970247 w 4919004"/>
                <a:gd name="connsiteY549" fmla="*/ 1148101 h 2455817"/>
                <a:gd name="connsiteX550" fmla="*/ 968175 w 4919004"/>
                <a:gd name="connsiteY550" fmla="*/ 1151357 h 2455817"/>
                <a:gd name="connsiteX551" fmla="*/ 964030 w 4919004"/>
                <a:gd name="connsiteY551" fmla="*/ 1151357 h 2455817"/>
                <a:gd name="connsiteX552" fmla="*/ 959836 w 4919004"/>
                <a:gd name="connsiteY552" fmla="*/ 1148101 h 2455817"/>
                <a:gd name="connsiteX553" fmla="*/ 1007697 w 4919004"/>
                <a:gd name="connsiteY553" fmla="*/ 1144894 h 2455817"/>
                <a:gd name="connsiteX554" fmla="*/ 1016035 w 4919004"/>
                <a:gd name="connsiteY554" fmla="*/ 1146522 h 2455817"/>
                <a:gd name="connsiteX555" fmla="*/ 1011841 w 4919004"/>
                <a:gd name="connsiteY555" fmla="*/ 1149729 h 2455817"/>
                <a:gd name="connsiteX556" fmla="*/ 1001480 w 4919004"/>
                <a:gd name="connsiteY556" fmla="*/ 1152936 h 2455817"/>
                <a:gd name="connsiteX557" fmla="*/ 999358 w 4919004"/>
                <a:gd name="connsiteY557" fmla="*/ 1154564 h 2455817"/>
                <a:gd name="connsiteX558" fmla="*/ 995213 w 4919004"/>
                <a:gd name="connsiteY558" fmla="*/ 1154564 h 2455817"/>
                <a:gd name="connsiteX559" fmla="*/ 999358 w 4919004"/>
                <a:gd name="connsiteY559" fmla="*/ 1149828 h 2455817"/>
                <a:gd name="connsiteX560" fmla="*/ 932847 w 4919004"/>
                <a:gd name="connsiteY560" fmla="*/ 1144894 h 2455817"/>
                <a:gd name="connsiteX561" fmla="*/ 936991 w 4919004"/>
                <a:gd name="connsiteY561" fmla="*/ 1146522 h 2455817"/>
                <a:gd name="connsiteX562" fmla="*/ 932847 w 4919004"/>
                <a:gd name="connsiteY562" fmla="*/ 1149729 h 2455817"/>
                <a:gd name="connsiteX563" fmla="*/ 928703 w 4919004"/>
                <a:gd name="connsiteY563" fmla="*/ 1149729 h 2455817"/>
                <a:gd name="connsiteX564" fmla="*/ 928703 w 4919004"/>
                <a:gd name="connsiteY564" fmla="*/ 1146522 h 2455817"/>
                <a:gd name="connsiteX565" fmla="*/ 945281 w 4919004"/>
                <a:gd name="connsiteY565" fmla="*/ 1143265 h 2455817"/>
                <a:gd name="connsiteX566" fmla="*/ 951547 w 4919004"/>
                <a:gd name="connsiteY566" fmla="*/ 1146522 h 2455817"/>
                <a:gd name="connsiteX567" fmla="*/ 953619 w 4919004"/>
                <a:gd name="connsiteY567" fmla="*/ 1152936 h 2455817"/>
                <a:gd name="connsiteX568" fmla="*/ 947402 w 4919004"/>
                <a:gd name="connsiteY568" fmla="*/ 1151357 h 2455817"/>
                <a:gd name="connsiteX569" fmla="*/ 943258 w 4919004"/>
                <a:gd name="connsiteY569" fmla="*/ 1148101 h 2455817"/>
                <a:gd name="connsiteX570" fmla="*/ 939064 w 4919004"/>
                <a:gd name="connsiteY570" fmla="*/ 1146522 h 2455817"/>
                <a:gd name="connsiteX571" fmla="*/ 743627 w 4919004"/>
                <a:gd name="connsiteY571" fmla="*/ 1127082 h 2455817"/>
                <a:gd name="connsiteX572" fmla="*/ 756110 w 4919004"/>
                <a:gd name="connsiteY572" fmla="*/ 1128661 h 2455817"/>
                <a:gd name="connsiteX573" fmla="*/ 781076 w 4919004"/>
                <a:gd name="connsiteY573" fmla="*/ 1138529 h 2455817"/>
                <a:gd name="connsiteX574" fmla="*/ 789366 w 4919004"/>
                <a:gd name="connsiteY574" fmla="*/ 1144992 h 2455817"/>
                <a:gd name="connsiteX575" fmla="*/ 789366 w 4919004"/>
                <a:gd name="connsiteY575" fmla="*/ 1151456 h 2455817"/>
                <a:gd name="connsiteX576" fmla="*/ 783149 w 4919004"/>
                <a:gd name="connsiteY576" fmla="*/ 1159498 h 2455817"/>
                <a:gd name="connsiteX577" fmla="*/ 785221 w 4919004"/>
                <a:gd name="connsiteY577" fmla="*/ 1151456 h 2455817"/>
                <a:gd name="connsiteX578" fmla="*/ 783149 w 4919004"/>
                <a:gd name="connsiteY578" fmla="*/ 1146522 h 2455817"/>
                <a:gd name="connsiteX579" fmla="*/ 778955 w 4919004"/>
                <a:gd name="connsiteY579" fmla="*/ 1149729 h 2455817"/>
                <a:gd name="connsiteX580" fmla="*/ 778955 w 4919004"/>
                <a:gd name="connsiteY580" fmla="*/ 1161028 h 2455817"/>
                <a:gd name="connsiteX581" fmla="*/ 772738 w 4919004"/>
                <a:gd name="connsiteY581" fmla="*/ 1167491 h 2455817"/>
                <a:gd name="connsiteX582" fmla="*/ 762327 w 4919004"/>
                <a:gd name="connsiteY582" fmla="*/ 1173906 h 2455817"/>
                <a:gd name="connsiteX583" fmla="*/ 754038 w 4919004"/>
                <a:gd name="connsiteY583" fmla="*/ 1173906 h 2455817"/>
                <a:gd name="connsiteX584" fmla="*/ 749844 w 4919004"/>
                <a:gd name="connsiteY584" fmla="*/ 1178741 h 2455817"/>
                <a:gd name="connsiteX585" fmla="*/ 743627 w 4919004"/>
                <a:gd name="connsiteY585" fmla="*/ 1178741 h 2455817"/>
                <a:gd name="connsiteX586" fmla="*/ 745699 w 4919004"/>
                <a:gd name="connsiteY586" fmla="*/ 1173807 h 2455817"/>
                <a:gd name="connsiteX587" fmla="*/ 741554 w 4919004"/>
                <a:gd name="connsiteY587" fmla="*/ 1172179 h 2455817"/>
                <a:gd name="connsiteX588" fmla="*/ 737410 w 4919004"/>
                <a:gd name="connsiteY588" fmla="*/ 1173807 h 2455817"/>
                <a:gd name="connsiteX589" fmla="*/ 735288 w 4919004"/>
                <a:gd name="connsiteY589" fmla="*/ 1165764 h 2455817"/>
                <a:gd name="connsiteX590" fmla="*/ 731144 w 4919004"/>
                <a:gd name="connsiteY590" fmla="*/ 1159301 h 2455817"/>
                <a:gd name="connsiteX591" fmla="*/ 731144 w 4919004"/>
                <a:gd name="connsiteY591" fmla="*/ 1143167 h 2455817"/>
                <a:gd name="connsiteX592" fmla="*/ 737410 w 4919004"/>
                <a:gd name="connsiteY592" fmla="*/ 1130289 h 2455817"/>
                <a:gd name="connsiteX593" fmla="*/ 1057333 w 4919004"/>
                <a:gd name="connsiteY593" fmla="*/ 1122246 h 2455817"/>
                <a:gd name="connsiteX594" fmla="*/ 1053188 w 4919004"/>
                <a:gd name="connsiteY594" fmla="*/ 1127180 h 2455817"/>
                <a:gd name="connsiteX595" fmla="*/ 1051116 w 4919004"/>
                <a:gd name="connsiteY595" fmla="*/ 1123875 h 2455817"/>
                <a:gd name="connsiteX596" fmla="*/ 1030344 w 4919004"/>
                <a:gd name="connsiteY596" fmla="*/ 1100981 h 2455817"/>
                <a:gd name="connsiteX597" fmla="*/ 1034488 w 4919004"/>
                <a:gd name="connsiteY597" fmla="*/ 1105915 h 2455817"/>
                <a:gd name="connsiteX598" fmla="*/ 1044899 w 4919004"/>
                <a:gd name="connsiteY598" fmla="*/ 1110849 h 2455817"/>
                <a:gd name="connsiteX599" fmla="*/ 1046922 w 4919004"/>
                <a:gd name="connsiteY599" fmla="*/ 1117312 h 2455817"/>
                <a:gd name="connsiteX600" fmla="*/ 1034488 w 4919004"/>
                <a:gd name="connsiteY600" fmla="*/ 1110651 h 2455817"/>
                <a:gd name="connsiteX601" fmla="*/ 1028222 w 4919004"/>
                <a:gd name="connsiteY601" fmla="*/ 1104188 h 2455817"/>
                <a:gd name="connsiteX602" fmla="*/ 1017811 w 4919004"/>
                <a:gd name="connsiteY602" fmla="*/ 1094813 h 2455817"/>
                <a:gd name="connsiteX603" fmla="*/ 1022005 w 4919004"/>
                <a:gd name="connsiteY603" fmla="*/ 1096441 h 2455817"/>
                <a:gd name="connsiteX604" fmla="*/ 1022005 w 4919004"/>
                <a:gd name="connsiteY604" fmla="*/ 1101375 h 2455817"/>
                <a:gd name="connsiteX605" fmla="*/ 1017811 w 4919004"/>
                <a:gd name="connsiteY605" fmla="*/ 1101375 h 2455817"/>
                <a:gd name="connsiteX606" fmla="*/ 1265302 w 4919004"/>
                <a:gd name="connsiteY606" fmla="*/ 1076804 h 2455817"/>
                <a:gd name="connsiteX607" fmla="*/ 1269447 w 4919004"/>
                <a:gd name="connsiteY607" fmla="*/ 1080011 h 2455817"/>
                <a:gd name="connsiteX608" fmla="*/ 1269447 w 4919004"/>
                <a:gd name="connsiteY608" fmla="*/ 1084945 h 2455817"/>
                <a:gd name="connsiteX609" fmla="*/ 1265302 w 4919004"/>
                <a:gd name="connsiteY609" fmla="*/ 1089879 h 2455817"/>
                <a:gd name="connsiteX610" fmla="*/ 1261109 w 4919004"/>
                <a:gd name="connsiteY610" fmla="*/ 1088251 h 2455817"/>
                <a:gd name="connsiteX611" fmla="*/ 1259036 w 4919004"/>
                <a:gd name="connsiteY611" fmla="*/ 1085044 h 2455817"/>
                <a:gd name="connsiteX612" fmla="*/ 1261109 w 4919004"/>
                <a:gd name="connsiteY612" fmla="*/ 1083218 h 2455817"/>
                <a:gd name="connsiteX613" fmla="*/ 1261109 w 4919004"/>
                <a:gd name="connsiteY613" fmla="*/ 1080011 h 2455817"/>
                <a:gd name="connsiteX614" fmla="*/ 4421900 w 4919004"/>
                <a:gd name="connsiteY614" fmla="*/ 1044831 h 2455817"/>
                <a:gd name="connsiteX615" fmla="*/ 4423973 w 4919004"/>
                <a:gd name="connsiteY615" fmla="*/ 1046460 h 2455817"/>
                <a:gd name="connsiteX616" fmla="*/ 4423973 w 4919004"/>
                <a:gd name="connsiteY616" fmla="*/ 1049667 h 2455817"/>
                <a:gd name="connsiteX617" fmla="*/ 4421900 w 4919004"/>
                <a:gd name="connsiteY617" fmla="*/ 1054601 h 2455817"/>
                <a:gd name="connsiteX618" fmla="*/ 4419828 w 4919004"/>
                <a:gd name="connsiteY618" fmla="*/ 1048137 h 2455817"/>
                <a:gd name="connsiteX619" fmla="*/ 4421900 w 4919004"/>
                <a:gd name="connsiteY619" fmla="*/ 1046558 h 2455817"/>
                <a:gd name="connsiteX620" fmla="*/ 1007203 w 4919004"/>
                <a:gd name="connsiteY620" fmla="*/ 1034815 h 2455817"/>
                <a:gd name="connsiteX621" fmla="*/ 1011348 w 4919004"/>
                <a:gd name="connsiteY621" fmla="*/ 1034815 h 2455817"/>
                <a:gd name="connsiteX622" fmla="*/ 1019686 w 4919004"/>
                <a:gd name="connsiteY622" fmla="*/ 1041279 h 2455817"/>
                <a:gd name="connsiteX623" fmla="*/ 1023831 w 4919004"/>
                <a:gd name="connsiteY623" fmla="*/ 1046213 h 2455817"/>
                <a:gd name="connsiteX624" fmla="*/ 1030097 w 4919004"/>
                <a:gd name="connsiteY624" fmla="*/ 1049420 h 2455817"/>
                <a:gd name="connsiteX625" fmla="*/ 1038386 w 4919004"/>
                <a:gd name="connsiteY625" fmla="*/ 1055884 h 2455817"/>
                <a:gd name="connsiteX626" fmla="*/ 1044652 w 4919004"/>
                <a:gd name="connsiteY626" fmla="*/ 1057463 h 2455817"/>
                <a:gd name="connsiteX627" fmla="*/ 1052941 w 4919004"/>
                <a:gd name="connsiteY627" fmla="*/ 1065554 h 2455817"/>
                <a:gd name="connsiteX628" fmla="*/ 1067743 w 4919004"/>
                <a:gd name="connsiteY628" fmla="*/ 1071969 h 2455817"/>
                <a:gd name="connsiteX629" fmla="*/ 1069816 w 4919004"/>
                <a:gd name="connsiteY629" fmla="*/ 1081837 h 2455817"/>
                <a:gd name="connsiteX630" fmla="*/ 1065671 w 4919004"/>
                <a:gd name="connsiteY630" fmla="*/ 1088251 h 2455817"/>
                <a:gd name="connsiteX631" fmla="*/ 1057086 w 4919004"/>
                <a:gd name="connsiteY631" fmla="*/ 1086524 h 2455817"/>
                <a:gd name="connsiteX632" fmla="*/ 1055014 w 4919004"/>
                <a:gd name="connsiteY632" fmla="*/ 1089731 h 2455817"/>
                <a:gd name="connsiteX633" fmla="*/ 1044652 w 4919004"/>
                <a:gd name="connsiteY633" fmla="*/ 1088103 h 2455817"/>
                <a:gd name="connsiteX634" fmla="*/ 1040459 w 4919004"/>
                <a:gd name="connsiteY634" fmla="*/ 1084896 h 2455817"/>
                <a:gd name="connsiteX635" fmla="*/ 1042531 w 4919004"/>
                <a:gd name="connsiteY635" fmla="*/ 1083267 h 2455817"/>
                <a:gd name="connsiteX636" fmla="*/ 1040459 w 4919004"/>
                <a:gd name="connsiteY636" fmla="*/ 1075225 h 2455817"/>
                <a:gd name="connsiteX637" fmla="*/ 1038386 w 4919004"/>
                <a:gd name="connsiteY637" fmla="*/ 1071969 h 2455817"/>
                <a:gd name="connsiteX638" fmla="*/ 1032120 w 4919004"/>
                <a:gd name="connsiteY638" fmla="*/ 1073597 h 2455817"/>
                <a:gd name="connsiteX639" fmla="*/ 1025903 w 4919004"/>
                <a:gd name="connsiteY639" fmla="*/ 1071969 h 2455817"/>
                <a:gd name="connsiteX640" fmla="*/ 1025903 w 4919004"/>
                <a:gd name="connsiteY640" fmla="*/ 1078432 h 2455817"/>
                <a:gd name="connsiteX641" fmla="*/ 1021758 w 4919004"/>
                <a:gd name="connsiteY641" fmla="*/ 1078432 h 2455817"/>
                <a:gd name="connsiteX642" fmla="*/ 1017565 w 4919004"/>
                <a:gd name="connsiteY642" fmla="*/ 1071969 h 2455817"/>
                <a:gd name="connsiteX643" fmla="*/ 1011348 w 4919004"/>
                <a:gd name="connsiteY643" fmla="*/ 1068761 h 2455817"/>
                <a:gd name="connsiteX644" fmla="*/ 998864 w 4919004"/>
                <a:gd name="connsiteY644" fmla="*/ 1057463 h 2455817"/>
                <a:gd name="connsiteX645" fmla="*/ 994720 w 4919004"/>
                <a:gd name="connsiteY645" fmla="*/ 1051048 h 2455817"/>
                <a:gd name="connsiteX646" fmla="*/ 998864 w 4919004"/>
                <a:gd name="connsiteY646" fmla="*/ 1051048 h 2455817"/>
                <a:gd name="connsiteX647" fmla="*/ 1003009 w 4919004"/>
                <a:gd name="connsiteY647" fmla="*/ 1054255 h 2455817"/>
                <a:gd name="connsiteX648" fmla="*/ 1007203 w 4919004"/>
                <a:gd name="connsiteY648" fmla="*/ 1054255 h 2455817"/>
                <a:gd name="connsiteX649" fmla="*/ 1009275 w 4919004"/>
                <a:gd name="connsiteY649" fmla="*/ 1051048 h 2455817"/>
                <a:gd name="connsiteX650" fmla="*/ 1003009 w 4919004"/>
                <a:gd name="connsiteY650" fmla="*/ 1049420 h 2455817"/>
                <a:gd name="connsiteX651" fmla="*/ 998864 w 4919004"/>
                <a:gd name="connsiteY651" fmla="*/ 1044486 h 2455817"/>
                <a:gd name="connsiteX652" fmla="*/ 1003009 w 4919004"/>
                <a:gd name="connsiteY652" fmla="*/ 1041279 h 2455817"/>
                <a:gd name="connsiteX653" fmla="*/ 1003009 w 4919004"/>
                <a:gd name="connsiteY653" fmla="*/ 1038022 h 2455817"/>
                <a:gd name="connsiteX654" fmla="*/ 4413562 w 4919004"/>
                <a:gd name="connsiteY654" fmla="*/ 1032052 h 2455817"/>
                <a:gd name="connsiteX655" fmla="*/ 4417707 w 4919004"/>
                <a:gd name="connsiteY655" fmla="*/ 1032052 h 2455817"/>
                <a:gd name="connsiteX656" fmla="*/ 4421900 w 4919004"/>
                <a:gd name="connsiteY656" fmla="*/ 1036986 h 2455817"/>
                <a:gd name="connsiteX657" fmla="*/ 4421900 w 4919004"/>
                <a:gd name="connsiteY657" fmla="*/ 1040193 h 2455817"/>
                <a:gd name="connsiteX658" fmla="*/ 4419828 w 4919004"/>
                <a:gd name="connsiteY658" fmla="*/ 1040193 h 2455817"/>
                <a:gd name="connsiteX659" fmla="*/ 4411490 w 4919004"/>
                <a:gd name="connsiteY659" fmla="*/ 1035259 h 2455817"/>
                <a:gd name="connsiteX660" fmla="*/ 822818 w 4919004"/>
                <a:gd name="connsiteY660" fmla="*/ 999784 h 2455817"/>
                <a:gd name="connsiteX661" fmla="*/ 827012 w 4919004"/>
                <a:gd name="connsiteY661" fmla="*/ 1002991 h 2455817"/>
                <a:gd name="connsiteX662" fmla="*/ 829035 w 4919004"/>
                <a:gd name="connsiteY662" fmla="*/ 1006247 h 2455817"/>
                <a:gd name="connsiteX663" fmla="*/ 837374 w 4919004"/>
                <a:gd name="connsiteY663" fmla="*/ 1009454 h 2455817"/>
                <a:gd name="connsiteX664" fmla="*/ 839495 w 4919004"/>
                <a:gd name="connsiteY664" fmla="*/ 1012661 h 2455817"/>
                <a:gd name="connsiteX665" fmla="*/ 835301 w 4919004"/>
                <a:gd name="connsiteY665" fmla="*/ 1019125 h 2455817"/>
                <a:gd name="connsiteX666" fmla="*/ 839495 w 4919004"/>
                <a:gd name="connsiteY666" fmla="*/ 1022332 h 2455817"/>
                <a:gd name="connsiteX667" fmla="*/ 839495 w 4919004"/>
                <a:gd name="connsiteY667" fmla="*/ 1025589 h 2455817"/>
                <a:gd name="connsiteX668" fmla="*/ 835301 w 4919004"/>
                <a:gd name="connsiteY668" fmla="*/ 1023960 h 2455817"/>
                <a:gd name="connsiteX669" fmla="*/ 831157 w 4919004"/>
                <a:gd name="connsiteY669" fmla="*/ 1017595 h 2455817"/>
                <a:gd name="connsiteX670" fmla="*/ 824940 w 4919004"/>
                <a:gd name="connsiteY670" fmla="*/ 1017595 h 2455817"/>
                <a:gd name="connsiteX671" fmla="*/ 824940 w 4919004"/>
                <a:gd name="connsiteY671" fmla="*/ 1011181 h 2455817"/>
                <a:gd name="connsiteX672" fmla="*/ 818673 w 4919004"/>
                <a:gd name="connsiteY672" fmla="*/ 1009553 h 2455817"/>
                <a:gd name="connsiteX673" fmla="*/ 814480 w 4919004"/>
                <a:gd name="connsiteY673" fmla="*/ 1011181 h 2455817"/>
                <a:gd name="connsiteX674" fmla="*/ 810385 w 4919004"/>
                <a:gd name="connsiteY674" fmla="*/ 1007925 h 2455817"/>
                <a:gd name="connsiteX675" fmla="*/ 810385 w 4919004"/>
                <a:gd name="connsiteY675" fmla="*/ 1004619 h 2455817"/>
                <a:gd name="connsiteX676" fmla="*/ 814480 w 4919004"/>
                <a:gd name="connsiteY676" fmla="*/ 1001412 h 2455817"/>
                <a:gd name="connsiteX677" fmla="*/ 1700089 w 4919004"/>
                <a:gd name="connsiteY677" fmla="*/ 946397 h 2455817"/>
                <a:gd name="connsiteX678" fmla="*/ 1704283 w 4919004"/>
                <a:gd name="connsiteY678" fmla="*/ 951331 h 2455817"/>
                <a:gd name="connsiteX679" fmla="*/ 1702162 w 4919004"/>
                <a:gd name="connsiteY679" fmla="*/ 956265 h 2455817"/>
                <a:gd name="connsiteX680" fmla="*/ 1698017 w 4919004"/>
                <a:gd name="connsiteY680" fmla="*/ 953009 h 2455817"/>
                <a:gd name="connsiteX681" fmla="*/ 1698017 w 4919004"/>
                <a:gd name="connsiteY681" fmla="*/ 946595 h 2455817"/>
                <a:gd name="connsiteX682" fmla="*/ 1683215 w 4919004"/>
                <a:gd name="connsiteY682" fmla="*/ 927204 h 2455817"/>
                <a:gd name="connsiteX683" fmla="*/ 1685287 w 4919004"/>
                <a:gd name="connsiteY683" fmla="*/ 927401 h 2455817"/>
                <a:gd name="connsiteX684" fmla="*/ 1691554 w 4919004"/>
                <a:gd name="connsiteY684" fmla="*/ 935493 h 2455817"/>
                <a:gd name="connsiteX685" fmla="*/ 1693626 w 4919004"/>
                <a:gd name="connsiteY685" fmla="*/ 951627 h 2455817"/>
                <a:gd name="connsiteX686" fmla="*/ 1689481 w 4919004"/>
                <a:gd name="connsiteY686" fmla="*/ 958042 h 2455817"/>
                <a:gd name="connsiteX687" fmla="*/ 1687360 w 4919004"/>
                <a:gd name="connsiteY687" fmla="*/ 954835 h 2455817"/>
                <a:gd name="connsiteX688" fmla="*/ 1687360 w 4919004"/>
                <a:gd name="connsiteY688" fmla="*/ 944966 h 2455817"/>
                <a:gd name="connsiteX689" fmla="*/ 1683215 w 4919004"/>
                <a:gd name="connsiteY689" fmla="*/ 938503 h 2455817"/>
                <a:gd name="connsiteX690" fmla="*/ 1676999 w 4919004"/>
                <a:gd name="connsiteY690" fmla="*/ 914129 h 2455817"/>
                <a:gd name="connsiteX691" fmla="*/ 1681143 w 4919004"/>
                <a:gd name="connsiteY691" fmla="*/ 919063 h 2455817"/>
                <a:gd name="connsiteX692" fmla="*/ 1681143 w 4919004"/>
                <a:gd name="connsiteY692" fmla="*/ 923997 h 2455817"/>
                <a:gd name="connsiteX693" fmla="*/ 1676999 w 4919004"/>
                <a:gd name="connsiteY693" fmla="*/ 922369 h 2455817"/>
                <a:gd name="connsiteX694" fmla="*/ 1674926 w 4919004"/>
                <a:gd name="connsiteY694" fmla="*/ 915954 h 2455817"/>
                <a:gd name="connsiteX695" fmla="*/ 828541 w 4919004"/>
                <a:gd name="connsiteY695" fmla="*/ 852601 h 2455817"/>
                <a:gd name="connsiteX696" fmla="*/ 834808 w 4919004"/>
                <a:gd name="connsiteY696" fmla="*/ 852601 h 2455817"/>
                <a:gd name="connsiteX697" fmla="*/ 841074 w 4919004"/>
                <a:gd name="connsiteY697" fmla="*/ 857535 h 2455817"/>
                <a:gd name="connsiteX698" fmla="*/ 857652 w 4919004"/>
                <a:gd name="connsiteY698" fmla="*/ 859164 h 2455817"/>
                <a:gd name="connsiteX699" fmla="*/ 872455 w 4919004"/>
                <a:gd name="connsiteY699" fmla="*/ 859164 h 2455817"/>
                <a:gd name="connsiteX700" fmla="*/ 874576 w 4919004"/>
                <a:gd name="connsiteY700" fmla="*/ 862371 h 2455817"/>
                <a:gd name="connsiteX701" fmla="*/ 872455 w 4919004"/>
                <a:gd name="connsiteY701" fmla="*/ 865627 h 2455817"/>
                <a:gd name="connsiteX702" fmla="*/ 864165 w 4919004"/>
                <a:gd name="connsiteY702" fmla="*/ 868834 h 2455817"/>
                <a:gd name="connsiteX703" fmla="*/ 860021 w 4919004"/>
                <a:gd name="connsiteY703" fmla="*/ 870463 h 2455817"/>
                <a:gd name="connsiteX704" fmla="*/ 866238 w 4919004"/>
                <a:gd name="connsiteY704" fmla="*/ 870463 h 2455817"/>
                <a:gd name="connsiteX705" fmla="*/ 872455 w 4919004"/>
                <a:gd name="connsiteY705" fmla="*/ 868834 h 2455817"/>
                <a:gd name="connsiteX706" fmla="*/ 874576 w 4919004"/>
                <a:gd name="connsiteY706" fmla="*/ 873768 h 2455817"/>
                <a:gd name="connsiteX707" fmla="*/ 872455 w 4919004"/>
                <a:gd name="connsiteY707" fmla="*/ 885067 h 2455817"/>
                <a:gd name="connsiteX708" fmla="*/ 866238 w 4919004"/>
                <a:gd name="connsiteY708" fmla="*/ 890001 h 2455817"/>
                <a:gd name="connsiteX709" fmla="*/ 855876 w 4919004"/>
                <a:gd name="connsiteY709" fmla="*/ 890001 h 2455817"/>
                <a:gd name="connsiteX710" fmla="*/ 853754 w 4919004"/>
                <a:gd name="connsiteY710" fmla="*/ 891580 h 2455817"/>
                <a:gd name="connsiteX711" fmla="*/ 857899 w 4919004"/>
                <a:gd name="connsiteY711" fmla="*/ 894837 h 2455817"/>
                <a:gd name="connsiteX712" fmla="*/ 864165 w 4919004"/>
                <a:gd name="connsiteY712" fmla="*/ 891580 h 2455817"/>
                <a:gd name="connsiteX713" fmla="*/ 870431 w 4919004"/>
                <a:gd name="connsiteY713" fmla="*/ 893208 h 2455817"/>
                <a:gd name="connsiteX714" fmla="*/ 870431 w 4919004"/>
                <a:gd name="connsiteY714" fmla="*/ 898142 h 2455817"/>
                <a:gd name="connsiteX715" fmla="*/ 868310 w 4919004"/>
                <a:gd name="connsiteY715" fmla="*/ 903076 h 2455817"/>
                <a:gd name="connsiteX716" fmla="*/ 868310 w 4919004"/>
                <a:gd name="connsiteY716" fmla="*/ 906333 h 2455817"/>
                <a:gd name="connsiteX717" fmla="*/ 872455 w 4919004"/>
                <a:gd name="connsiteY717" fmla="*/ 924046 h 2455817"/>
                <a:gd name="connsiteX718" fmla="*/ 876895 w 4919004"/>
                <a:gd name="connsiteY718" fmla="*/ 931743 h 2455817"/>
                <a:gd name="connsiteX719" fmla="*/ 878967 w 4919004"/>
                <a:gd name="connsiteY719" fmla="*/ 947878 h 2455817"/>
                <a:gd name="connsiteX720" fmla="*/ 885233 w 4919004"/>
                <a:gd name="connsiteY720" fmla="*/ 957746 h 2455817"/>
                <a:gd name="connsiteX721" fmla="*/ 889379 w 4919004"/>
                <a:gd name="connsiteY721" fmla="*/ 970673 h 2455817"/>
                <a:gd name="connsiteX722" fmla="*/ 901812 w 4919004"/>
                <a:gd name="connsiteY722" fmla="*/ 983551 h 2455817"/>
                <a:gd name="connsiteX723" fmla="*/ 910151 w 4919004"/>
                <a:gd name="connsiteY723" fmla="*/ 996478 h 2455817"/>
                <a:gd name="connsiteX724" fmla="*/ 918489 w 4919004"/>
                <a:gd name="connsiteY724" fmla="*/ 996478 h 2455817"/>
                <a:gd name="connsiteX725" fmla="*/ 922634 w 4919004"/>
                <a:gd name="connsiteY725" fmla="*/ 1002892 h 2455817"/>
                <a:gd name="connsiteX726" fmla="*/ 935117 w 4919004"/>
                <a:gd name="connsiteY726" fmla="*/ 1010984 h 2455817"/>
                <a:gd name="connsiteX727" fmla="*/ 941333 w 4919004"/>
                <a:gd name="connsiteY727" fmla="*/ 1010984 h 2455817"/>
                <a:gd name="connsiteX728" fmla="*/ 947600 w 4919004"/>
                <a:gd name="connsiteY728" fmla="*/ 1019026 h 2455817"/>
                <a:gd name="connsiteX729" fmla="*/ 953817 w 4919004"/>
                <a:gd name="connsiteY729" fmla="*/ 1020654 h 2455817"/>
                <a:gd name="connsiteX730" fmla="*/ 958011 w 4919004"/>
                <a:gd name="connsiteY730" fmla="*/ 1019026 h 2455817"/>
                <a:gd name="connsiteX731" fmla="*/ 964227 w 4919004"/>
                <a:gd name="connsiteY731" fmla="*/ 1023960 h 2455817"/>
                <a:gd name="connsiteX732" fmla="*/ 966349 w 4919004"/>
                <a:gd name="connsiteY732" fmla="*/ 1027513 h 2455817"/>
                <a:gd name="connsiteX733" fmla="*/ 964277 w 4919004"/>
                <a:gd name="connsiteY733" fmla="*/ 1030720 h 2455817"/>
                <a:gd name="connsiteX734" fmla="*/ 958060 w 4919004"/>
                <a:gd name="connsiteY734" fmla="*/ 1037184 h 2455817"/>
                <a:gd name="connsiteX735" fmla="*/ 953866 w 4919004"/>
                <a:gd name="connsiteY735" fmla="*/ 1037184 h 2455817"/>
                <a:gd name="connsiteX736" fmla="*/ 951794 w 4919004"/>
                <a:gd name="connsiteY736" fmla="*/ 1035555 h 2455817"/>
                <a:gd name="connsiteX737" fmla="*/ 949722 w 4919004"/>
                <a:gd name="connsiteY737" fmla="*/ 1037184 h 2455817"/>
                <a:gd name="connsiteX738" fmla="*/ 953866 w 4919004"/>
                <a:gd name="connsiteY738" fmla="*/ 1040391 h 2455817"/>
                <a:gd name="connsiteX739" fmla="*/ 958060 w 4919004"/>
                <a:gd name="connsiteY739" fmla="*/ 1040391 h 2455817"/>
                <a:gd name="connsiteX740" fmla="*/ 960083 w 4919004"/>
                <a:gd name="connsiteY740" fmla="*/ 1045325 h 2455817"/>
                <a:gd name="connsiteX741" fmla="*/ 960083 w 4919004"/>
                <a:gd name="connsiteY741" fmla="*/ 1050259 h 2455817"/>
                <a:gd name="connsiteX742" fmla="*/ 955939 w 4919004"/>
                <a:gd name="connsiteY742" fmla="*/ 1051887 h 2455817"/>
                <a:gd name="connsiteX743" fmla="*/ 951794 w 4919004"/>
                <a:gd name="connsiteY743" fmla="*/ 1048631 h 2455817"/>
                <a:gd name="connsiteX744" fmla="*/ 949722 w 4919004"/>
                <a:gd name="connsiteY744" fmla="*/ 1042216 h 2455817"/>
                <a:gd name="connsiteX745" fmla="*/ 947649 w 4919004"/>
                <a:gd name="connsiteY745" fmla="*/ 1042216 h 2455817"/>
                <a:gd name="connsiteX746" fmla="*/ 945528 w 4919004"/>
                <a:gd name="connsiteY746" fmla="*/ 1040588 h 2455817"/>
                <a:gd name="connsiteX747" fmla="*/ 937238 w 4919004"/>
                <a:gd name="connsiteY747" fmla="*/ 1037381 h 2455817"/>
                <a:gd name="connsiteX748" fmla="*/ 935166 w 4919004"/>
                <a:gd name="connsiteY748" fmla="*/ 1037381 h 2455817"/>
                <a:gd name="connsiteX749" fmla="*/ 935166 w 4919004"/>
                <a:gd name="connsiteY749" fmla="*/ 1040588 h 2455817"/>
                <a:gd name="connsiteX750" fmla="*/ 941383 w 4919004"/>
                <a:gd name="connsiteY750" fmla="*/ 1043795 h 2455817"/>
                <a:gd name="connsiteX751" fmla="*/ 941383 w 4919004"/>
                <a:gd name="connsiteY751" fmla="*/ 1048729 h 2455817"/>
                <a:gd name="connsiteX752" fmla="*/ 935166 w 4919004"/>
                <a:gd name="connsiteY752" fmla="*/ 1048729 h 2455817"/>
                <a:gd name="connsiteX753" fmla="*/ 926828 w 4919004"/>
                <a:gd name="connsiteY753" fmla="*/ 1045522 h 2455817"/>
                <a:gd name="connsiteX754" fmla="*/ 922683 w 4919004"/>
                <a:gd name="connsiteY754" fmla="*/ 1040588 h 2455817"/>
                <a:gd name="connsiteX755" fmla="*/ 920611 w 4919004"/>
                <a:gd name="connsiteY755" fmla="*/ 1040588 h 2455817"/>
                <a:gd name="connsiteX756" fmla="*/ 918538 w 4919004"/>
                <a:gd name="connsiteY756" fmla="*/ 1047052 h 2455817"/>
                <a:gd name="connsiteX757" fmla="*/ 916417 w 4919004"/>
                <a:gd name="connsiteY757" fmla="*/ 1047052 h 2455817"/>
                <a:gd name="connsiteX758" fmla="*/ 912272 w 4919004"/>
                <a:gd name="connsiteY758" fmla="*/ 1040588 h 2455817"/>
                <a:gd name="connsiteX759" fmla="*/ 910200 w 4919004"/>
                <a:gd name="connsiteY759" fmla="*/ 1035654 h 2455817"/>
                <a:gd name="connsiteX760" fmla="*/ 903983 w 4919004"/>
                <a:gd name="connsiteY760" fmla="*/ 1032447 h 2455817"/>
                <a:gd name="connsiteX761" fmla="*/ 897717 w 4919004"/>
                <a:gd name="connsiteY761" fmla="*/ 1030819 h 2455817"/>
                <a:gd name="connsiteX762" fmla="*/ 895644 w 4919004"/>
                <a:gd name="connsiteY762" fmla="*/ 1032447 h 2455817"/>
                <a:gd name="connsiteX763" fmla="*/ 897717 w 4919004"/>
                <a:gd name="connsiteY763" fmla="*/ 1034026 h 2455817"/>
                <a:gd name="connsiteX764" fmla="*/ 908127 w 4919004"/>
                <a:gd name="connsiteY764" fmla="*/ 1038960 h 2455817"/>
                <a:gd name="connsiteX765" fmla="*/ 908127 w 4919004"/>
                <a:gd name="connsiteY765" fmla="*/ 1045423 h 2455817"/>
                <a:gd name="connsiteX766" fmla="*/ 903983 w 4919004"/>
                <a:gd name="connsiteY766" fmla="*/ 1050357 h 2455817"/>
                <a:gd name="connsiteX767" fmla="*/ 899839 w 4919004"/>
                <a:gd name="connsiteY767" fmla="*/ 1050357 h 2455817"/>
                <a:gd name="connsiteX768" fmla="*/ 893572 w 4919004"/>
                <a:gd name="connsiteY768" fmla="*/ 1047150 h 2455817"/>
                <a:gd name="connsiteX769" fmla="*/ 891500 w 4919004"/>
                <a:gd name="connsiteY769" fmla="*/ 1037282 h 2455817"/>
                <a:gd name="connsiteX770" fmla="*/ 887306 w 4919004"/>
                <a:gd name="connsiteY770" fmla="*/ 1034026 h 2455817"/>
                <a:gd name="connsiteX771" fmla="*/ 883162 w 4919004"/>
                <a:gd name="connsiteY771" fmla="*/ 1032447 h 2455817"/>
                <a:gd name="connsiteX772" fmla="*/ 885283 w 4919004"/>
                <a:gd name="connsiteY772" fmla="*/ 1038861 h 2455817"/>
                <a:gd name="connsiteX773" fmla="*/ 874872 w 4919004"/>
                <a:gd name="connsiteY773" fmla="*/ 1035654 h 2455817"/>
                <a:gd name="connsiteX774" fmla="*/ 868606 w 4919004"/>
                <a:gd name="connsiteY774" fmla="*/ 1037282 h 2455817"/>
                <a:gd name="connsiteX775" fmla="*/ 860317 w 4919004"/>
                <a:gd name="connsiteY775" fmla="*/ 1034026 h 2455817"/>
                <a:gd name="connsiteX776" fmla="*/ 849906 w 4919004"/>
                <a:gd name="connsiteY776" fmla="*/ 1032447 h 2455817"/>
                <a:gd name="connsiteX777" fmla="*/ 845761 w 4919004"/>
                <a:gd name="connsiteY777" fmla="*/ 1029190 h 2455817"/>
                <a:gd name="connsiteX778" fmla="*/ 845761 w 4919004"/>
                <a:gd name="connsiteY778" fmla="*/ 1025983 h 2455817"/>
                <a:gd name="connsiteX779" fmla="*/ 849906 w 4919004"/>
                <a:gd name="connsiteY779" fmla="*/ 1027611 h 2455817"/>
                <a:gd name="connsiteX780" fmla="*/ 854051 w 4919004"/>
                <a:gd name="connsiteY780" fmla="*/ 1025983 h 2455817"/>
                <a:gd name="connsiteX781" fmla="*/ 854051 w 4919004"/>
                <a:gd name="connsiteY781" fmla="*/ 1022727 h 2455817"/>
                <a:gd name="connsiteX782" fmla="*/ 847834 w 4919004"/>
                <a:gd name="connsiteY782" fmla="*/ 1017793 h 2455817"/>
                <a:gd name="connsiteX783" fmla="*/ 849906 w 4919004"/>
                <a:gd name="connsiteY783" fmla="*/ 1012859 h 2455817"/>
                <a:gd name="connsiteX784" fmla="*/ 854051 w 4919004"/>
                <a:gd name="connsiteY784" fmla="*/ 1011280 h 2455817"/>
                <a:gd name="connsiteX785" fmla="*/ 856172 w 4919004"/>
                <a:gd name="connsiteY785" fmla="*/ 1006346 h 2455817"/>
                <a:gd name="connsiteX786" fmla="*/ 860317 w 4919004"/>
                <a:gd name="connsiteY786" fmla="*/ 1006346 h 2455817"/>
                <a:gd name="connsiteX787" fmla="*/ 862389 w 4919004"/>
                <a:gd name="connsiteY787" fmla="*/ 1004718 h 2455817"/>
                <a:gd name="connsiteX788" fmla="*/ 858195 w 4919004"/>
                <a:gd name="connsiteY788" fmla="*/ 1003089 h 2455817"/>
                <a:gd name="connsiteX789" fmla="*/ 854051 w 4919004"/>
                <a:gd name="connsiteY789" fmla="*/ 1006346 h 2455817"/>
                <a:gd name="connsiteX790" fmla="*/ 847834 w 4919004"/>
                <a:gd name="connsiteY790" fmla="*/ 1006346 h 2455817"/>
                <a:gd name="connsiteX791" fmla="*/ 839544 w 4919004"/>
                <a:gd name="connsiteY791" fmla="*/ 1001412 h 2455817"/>
                <a:gd name="connsiteX792" fmla="*/ 833279 w 4919004"/>
                <a:gd name="connsiteY792" fmla="*/ 991544 h 2455817"/>
                <a:gd name="connsiteX793" fmla="*/ 833279 w 4919004"/>
                <a:gd name="connsiteY793" fmla="*/ 983452 h 2455817"/>
                <a:gd name="connsiteX794" fmla="*/ 831206 w 4919004"/>
                <a:gd name="connsiteY794" fmla="*/ 980245 h 2455817"/>
                <a:gd name="connsiteX795" fmla="*/ 827062 w 4919004"/>
                <a:gd name="connsiteY795" fmla="*/ 986708 h 2455817"/>
                <a:gd name="connsiteX796" fmla="*/ 827062 w 4919004"/>
                <a:gd name="connsiteY796" fmla="*/ 991642 h 2455817"/>
                <a:gd name="connsiteX797" fmla="*/ 822867 w 4919004"/>
                <a:gd name="connsiteY797" fmla="*/ 994850 h 2455817"/>
                <a:gd name="connsiteX798" fmla="*/ 818723 w 4919004"/>
                <a:gd name="connsiteY798" fmla="*/ 993221 h 2455817"/>
                <a:gd name="connsiteX799" fmla="*/ 816650 w 4919004"/>
                <a:gd name="connsiteY799" fmla="*/ 985179 h 2455817"/>
                <a:gd name="connsiteX800" fmla="*/ 812506 w 4919004"/>
                <a:gd name="connsiteY800" fmla="*/ 980245 h 2455817"/>
                <a:gd name="connsiteX801" fmla="*/ 812506 w 4919004"/>
                <a:gd name="connsiteY801" fmla="*/ 977038 h 2455817"/>
                <a:gd name="connsiteX802" fmla="*/ 816650 w 4919004"/>
                <a:gd name="connsiteY802" fmla="*/ 968946 h 2455817"/>
                <a:gd name="connsiteX803" fmla="*/ 812506 w 4919004"/>
                <a:gd name="connsiteY803" fmla="*/ 975409 h 2455817"/>
                <a:gd name="connsiteX804" fmla="*/ 810434 w 4919004"/>
                <a:gd name="connsiteY804" fmla="*/ 980343 h 2455817"/>
                <a:gd name="connsiteX805" fmla="*/ 812506 w 4919004"/>
                <a:gd name="connsiteY805" fmla="*/ 990212 h 2455817"/>
                <a:gd name="connsiteX806" fmla="*/ 806240 w 4919004"/>
                <a:gd name="connsiteY806" fmla="*/ 996675 h 2455817"/>
                <a:gd name="connsiteX807" fmla="*/ 802095 w 4919004"/>
                <a:gd name="connsiteY807" fmla="*/ 998254 h 2455817"/>
                <a:gd name="connsiteX808" fmla="*/ 797951 w 4919004"/>
                <a:gd name="connsiteY808" fmla="*/ 999882 h 2455817"/>
                <a:gd name="connsiteX809" fmla="*/ 791684 w 4919004"/>
                <a:gd name="connsiteY809" fmla="*/ 998254 h 2455817"/>
                <a:gd name="connsiteX810" fmla="*/ 781323 w 4919004"/>
                <a:gd name="connsiteY810" fmla="*/ 991840 h 2455817"/>
                <a:gd name="connsiteX811" fmla="*/ 781323 w 4919004"/>
                <a:gd name="connsiteY811" fmla="*/ 988583 h 2455817"/>
                <a:gd name="connsiteX812" fmla="*/ 770912 w 4919004"/>
                <a:gd name="connsiteY812" fmla="*/ 980541 h 2455817"/>
                <a:gd name="connsiteX813" fmla="*/ 768840 w 4919004"/>
                <a:gd name="connsiteY813" fmla="*/ 975607 h 2455817"/>
                <a:gd name="connsiteX814" fmla="*/ 770912 w 4919004"/>
                <a:gd name="connsiteY814" fmla="*/ 969143 h 2455817"/>
                <a:gd name="connsiteX815" fmla="*/ 768840 w 4919004"/>
                <a:gd name="connsiteY815" fmla="*/ 961101 h 2455817"/>
                <a:gd name="connsiteX816" fmla="*/ 768840 w 4919004"/>
                <a:gd name="connsiteY816" fmla="*/ 954637 h 2455817"/>
                <a:gd name="connsiteX817" fmla="*/ 775057 w 4919004"/>
                <a:gd name="connsiteY817" fmla="*/ 948124 h 2455817"/>
                <a:gd name="connsiteX818" fmla="*/ 779201 w 4919004"/>
                <a:gd name="connsiteY818" fmla="*/ 946545 h 2455817"/>
                <a:gd name="connsiteX819" fmla="*/ 785467 w 4919004"/>
                <a:gd name="connsiteY819" fmla="*/ 949752 h 2455817"/>
                <a:gd name="connsiteX820" fmla="*/ 791684 w 4919004"/>
                <a:gd name="connsiteY820" fmla="*/ 948124 h 2455817"/>
                <a:gd name="connsiteX821" fmla="*/ 795878 w 4919004"/>
                <a:gd name="connsiteY821" fmla="*/ 949752 h 2455817"/>
                <a:gd name="connsiteX822" fmla="*/ 797951 w 4919004"/>
                <a:gd name="connsiteY822" fmla="*/ 948124 h 2455817"/>
                <a:gd name="connsiteX823" fmla="*/ 793757 w 4919004"/>
                <a:gd name="connsiteY823" fmla="*/ 941710 h 2455817"/>
                <a:gd name="connsiteX824" fmla="*/ 793757 w 4919004"/>
                <a:gd name="connsiteY824" fmla="*/ 936776 h 2455817"/>
                <a:gd name="connsiteX825" fmla="*/ 797951 w 4919004"/>
                <a:gd name="connsiteY825" fmla="*/ 933519 h 2455817"/>
                <a:gd name="connsiteX826" fmla="*/ 804168 w 4919004"/>
                <a:gd name="connsiteY826" fmla="*/ 933519 h 2455817"/>
                <a:gd name="connsiteX827" fmla="*/ 808312 w 4919004"/>
                <a:gd name="connsiteY827" fmla="*/ 930312 h 2455817"/>
                <a:gd name="connsiteX828" fmla="*/ 799480 w 4919004"/>
                <a:gd name="connsiteY828" fmla="*/ 930312 h 2455817"/>
                <a:gd name="connsiteX829" fmla="*/ 795336 w 4919004"/>
                <a:gd name="connsiteY829" fmla="*/ 925378 h 2455817"/>
                <a:gd name="connsiteX830" fmla="*/ 795336 w 4919004"/>
                <a:gd name="connsiteY830" fmla="*/ 922122 h 2455817"/>
                <a:gd name="connsiteX831" fmla="*/ 801552 w 4919004"/>
                <a:gd name="connsiteY831" fmla="*/ 917188 h 2455817"/>
                <a:gd name="connsiteX832" fmla="*/ 799480 w 4919004"/>
                <a:gd name="connsiteY832" fmla="*/ 913981 h 2455817"/>
                <a:gd name="connsiteX833" fmla="*/ 795336 w 4919004"/>
                <a:gd name="connsiteY833" fmla="*/ 915609 h 2455817"/>
                <a:gd name="connsiteX834" fmla="*/ 791142 w 4919004"/>
                <a:gd name="connsiteY834" fmla="*/ 920543 h 2455817"/>
                <a:gd name="connsiteX835" fmla="*/ 786997 w 4919004"/>
                <a:gd name="connsiteY835" fmla="*/ 920543 h 2455817"/>
                <a:gd name="connsiteX836" fmla="*/ 789069 w 4919004"/>
                <a:gd name="connsiteY836" fmla="*/ 915609 h 2455817"/>
                <a:gd name="connsiteX837" fmla="*/ 795336 w 4919004"/>
                <a:gd name="connsiteY837" fmla="*/ 910675 h 2455817"/>
                <a:gd name="connsiteX838" fmla="*/ 793214 w 4919004"/>
                <a:gd name="connsiteY838" fmla="*/ 907418 h 2455817"/>
                <a:gd name="connsiteX839" fmla="*/ 784925 w 4919004"/>
                <a:gd name="connsiteY839" fmla="*/ 912353 h 2455817"/>
                <a:gd name="connsiteX840" fmla="*/ 778658 w 4919004"/>
                <a:gd name="connsiteY840" fmla="*/ 913981 h 2455817"/>
                <a:gd name="connsiteX841" fmla="*/ 774514 w 4919004"/>
                <a:gd name="connsiteY841" fmla="*/ 910774 h 2455817"/>
                <a:gd name="connsiteX842" fmla="*/ 776586 w 4919004"/>
                <a:gd name="connsiteY842" fmla="*/ 902682 h 2455817"/>
                <a:gd name="connsiteX843" fmla="*/ 780780 w 4919004"/>
                <a:gd name="connsiteY843" fmla="*/ 894639 h 2455817"/>
                <a:gd name="connsiteX844" fmla="*/ 789069 w 4919004"/>
                <a:gd name="connsiteY844" fmla="*/ 891383 h 2455817"/>
                <a:gd name="connsiteX845" fmla="*/ 795336 w 4919004"/>
                <a:gd name="connsiteY845" fmla="*/ 893011 h 2455817"/>
                <a:gd name="connsiteX846" fmla="*/ 797408 w 4919004"/>
                <a:gd name="connsiteY846" fmla="*/ 889804 h 2455817"/>
                <a:gd name="connsiteX847" fmla="*/ 795336 w 4919004"/>
                <a:gd name="connsiteY847" fmla="*/ 886547 h 2455817"/>
                <a:gd name="connsiteX848" fmla="*/ 789069 w 4919004"/>
                <a:gd name="connsiteY848" fmla="*/ 886547 h 2455817"/>
                <a:gd name="connsiteX849" fmla="*/ 786997 w 4919004"/>
                <a:gd name="connsiteY849" fmla="*/ 880133 h 2455817"/>
                <a:gd name="connsiteX850" fmla="*/ 789069 w 4919004"/>
                <a:gd name="connsiteY850" fmla="*/ 876877 h 2455817"/>
                <a:gd name="connsiteX851" fmla="*/ 789069 w 4919004"/>
                <a:gd name="connsiteY851" fmla="*/ 868834 h 2455817"/>
                <a:gd name="connsiteX852" fmla="*/ 799480 w 4919004"/>
                <a:gd name="connsiteY852" fmla="*/ 863900 h 2455817"/>
                <a:gd name="connsiteX853" fmla="*/ 803625 w 4919004"/>
                <a:gd name="connsiteY853" fmla="*/ 860693 h 2455817"/>
                <a:gd name="connsiteX854" fmla="*/ 816108 w 4919004"/>
                <a:gd name="connsiteY854" fmla="*/ 860693 h 2455817"/>
                <a:gd name="connsiteX855" fmla="*/ 1473321 w 4919004"/>
                <a:gd name="connsiteY855" fmla="*/ 820629 h 2455817"/>
                <a:gd name="connsiteX856" fmla="*/ 1479588 w 4919004"/>
                <a:gd name="connsiteY856" fmla="*/ 822208 h 2455817"/>
                <a:gd name="connsiteX857" fmla="*/ 1483732 w 4919004"/>
                <a:gd name="connsiteY857" fmla="*/ 823836 h 2455817"/>
                <a:gd name="connsiteX858" fmla="*/ 1483732 w 4919004"/>
                <a:gd name="connsiteY858" fmla="*/ 828770 h 2455817"/>
                <a:gd name="connsiteX859" fmla="*/ 1477515 w 4919004"/>
                <a:gd name="connsiteY859" fmla="*/ 835234 h 2455817"/>
                <a:gd name="connsiteX860" fmla="*/ 1473321 w 4919004"/>
                <a:gd name="connsiteY860" fmla="*/ 836812 h 2455817"/>
                <a:gd name="connsiteX861" fmla="*/ 1467105 w 4919004"/>
                <a:gd name="connsiteY861" fmla="*/ 844904 h 2455817"/>
                <a:gd name="connsiteX862" fmla="*/ 1462960 w 4919004"/>
                <a:gd name="connsiteY862" fmla="*/ 846532 h 2455817"/>
                <a:gd name="connsiteX863" fmla="*/ 1456743 w 4919004"/>
                <a:gd name="connsiteY863" fmla="*/ 851466 h 2455817"/>
                <a:gd name="connsiteX864" fmla="*/ 1452549 w 4919004"/>
                <a:gd name="connsiteY864" fmla="*/ 851466 h 2455817"/>
                <a:gd name="connsiteX865" fmla="*/ 1448404 w 4919004"/>
                <a:gd name="connsiteY865" fmla="*/ 848210 h 2455817"/>
                <a:gd name="connsiteX866" fmla="*/ 1450477 w 4919004"/>
                <a:gd name="connsiteY866" fmla="*/ 841746 h 2455817"/>
                <a:gd name="connsiteX867" fmla="*/ 1454671 w 4919004"/>
                <a:gd name="connsiteY867" fmla="*/ 840168 h 2455817"/>
                <a:gd name="connsiteX868" fmla="*/ 1458864 w 4919004"/>
                <a:gd name="connsiteY868" fmla="*/ 833655 h 2455817"/>
                <a:gd name="connsiteX869" fmla="*/ 1458864 w 4919004"/>
                <a:gd name="connsiteY869" fmla="*/ 828721 h 2455817"/>
                <a:gd name="connsiteX870" fmla="*/ 1462960 w 4919004"/>
                <a:gd name="connsiteY870" fmla="*/ 823836 h 2455817"/>
                <a:gd name="connsiteX871" fmla="*/ 1359098 w 4919004"/>
                <a:gd name="connsiteY871" fmla="*/ 799511 h 2455817"/>
                <a:gd name="connsiteX872" fmla="*/ 1365315 w 4919004"/>
                <a:gd name="connsiteY872" fmla="*/ 801139 h 2455817"/>
                <a:gd name="connsiteX873" fmla="*/ 1367437 w 4919004"/>
                <a:gd name="connsiteY873" fmla="*/ 806073 h 2455817"/>
                <a:gd name="connsiteX874" fmla="*/ 1363243 w 4919004"/>
                <a:gd name="connsiteY874" fmla="*/ 807652 h 2455817"/>
                <a:gd name="connsiteX875" fmla="*/ 1363243 w 4919004"/>
                <a:gd name="connsiteY875" fmla="*/ 812586 h 2455817"/>
                <a:gd name="connsiteX876" fmla="*/ 1367437 w 4919004"/>
                <a:gd name="connsiteY876" fmla="*/ 815843 h 2455817"/>
                <a:gd name="connsiteX877" fmla="*/ 1369509 w 4919004"/>
                <a:gd name="connsiteY877" fmla="*/ 822257 h 2455817"/>
                <a:gd name="connsiteX878" fmla="*/ 1363243 w 4919004"/>
                <a:gd name="connsiteY878" fmla="*/ 822454 h 2455817"/>
                <a:gd name="connsiteX879" fmla="*/ 1361171 w 4919004"/>
                <a:gd name="connsiteY879" fmla="*/ 817520 h 2455817"/>
                <a:gd name="connsiteX880" fmla="*/ 1354905 w 4919004"/>
                <a:gd name="connsiteY880" fmla="*/ 817520 h 2455817"/>
                <a:gd name="connsiteX881" fmla="*/ 1350760 w 4919004"/>
                <a:gd name="connsiteY881" fmla="*/ 812586 h 2455817"/>
                <a:gd name="connsiteX882" fmla="*/ 1352881 w 4919004"/>
                <a:gd name="connsiteY882" fmla="*/ 802718 h 2455817"/>
                <a:gd name="connsiteX883" fmla="*/ 1250747 w 4919004"/>
                <a:gd name="connsiteY883" fmla="*/ 783278 h 2455817"/>
                <a:gd name="connsiteX884" fmla="*/ 1254892 w 4919004"/>
                <a:gd name="connsiteY884" fmla="*/ 784906 h 2455817"/>
                <a:gd name="connsiteX885" fmla="*/ 1261109 w 4919004"/>
                <a:gd name="connsiteY885" fmla="*/ 791321 h 2455817"/>
                <a:gd name="connsiteX886" fmla="*/ 1261109 w 4919004"/>
                <a:gd name="connsiteY886" fmla="*/ 796255 h 2455817"/>
                <a:gd name="connsiteX887" fmla="*/ 1271519 w 4919004"/>
                <a:gd name="connsiteY887" fmla="*/ 801189 h 2455817"/>
                <a:gd name="connsiteX888" fmla="*/ 1275664 w 4919004"/>
                <a:gd name="connsiteY888" fmla="*/ 807603 h 2455817"/>
                <a:gd name="connsiteX889" fmla="*/ 1273592 w 4919004"/>
                <a:gd name="connsiteY889" fmla="*/ 810859 h 2455817"/>
                <a:gd name="connsiteX890" fmla="*/ 1267325 w 4919004"/>
                <a:gd name="connsiteY890" fmla="*/ 812438 h 2455817"/>
                <a:gd name="connsiteX891" fmla="*/ 1261109 w 4919004"/>
                <a:gd name="connsiteY891" fmla="*/ 817372 h 2455817"/>
                <a:gd name="connsiteX892" fmla="*/ 1256964 w 4919004"/>
                <a:gd name="connsiteY892" fmla="*/ 822306 h 2455817"/>
                <a:gd name="connsiteX893" fmla="*/ 1252770 w 4919004"/>
                <a:gd name="connsiteY893" fmla="*/ 823935 h 2455817"/>
                <a:gd name="connsiteX894" fmla="*/ 1248625 w 4919004"/>
                <a:gd name="connsiteY894" fmla="*/ 822306 h 2455817"/>
                <a:gd name="connsiteX895" fmla="*/ 1246553 w 4919004"/>
                <a:gd name="connsiteY895" fmla="*/ 823935 h 2455817"/>
                <a:gd name="connsiteX896" fmla="*/ 1242408 w 4919004"/>
                <a:gd name="connsiteY896" fmla="*/ 819001 h 2455817"/>
                <a:gd name="connsiteX897" fmla="*/ 1238215 w 4919004"/>
                <a:gd name="connsiteY897" fmla="*/ 819001 h 2455817"/>
                <a:gd name="connsiteX898" fmla="*/ 1238215 w 4919004"/>
                <a:gd name="connsiteY898" fmla="*/ 822208 h 2455817"/>
                <a:gd name="connsiteX899" fmla="*/ 1240336 w 4919004"/>
                <a:gd name="connsiteY899" fmla="*/ 825464 h 2455817"/>
                <a:gd name="connsiteX900" fmla="*/ 1236191 w 4919004"/>
                <a:gd name="connsiteY900" fmla="*/ 825464 h 2455817"/>
                <a:gd name="connsiteX901" fmla="*/ 1229925 w 4919004"/>
                <a:gd name="connsiteY901" fmla="*/ 820678 h 2455817"/>
                <a:gd name="connsiteX902" fmla="*/ 1231998 w 4919004"/>
                <a:gd name="connsiteY902" fmla="*/ 812586 h 2455817"/>
                <a:gd name="connsiteX903" fmla="*/ 1229925 w 4919004"/>
                <a:gd name="connsiteY903" fmla="*/ 806172 h 2455817"/>
                <a:gd name="connsiteX904" fmla="*/ 1225781 w 4919004"/>
                <a:gd name="connsiteY904" fmla="*/ 801238 h 2455817"/>
                <a:gd name="connsiteX905" fmla="*/ 1225781 w 4919004"/>
                <a:gd name="connsiteY905" fmla="*/ 796304 h 2455817"/>
                <a:gd name="connsiteX906" fmla="*/ 1231998 w 4919004"/>
                <a:gd name="connsiteY906" fmla="*/ 789840 h 2455817"/>
                <a:gd name="connsiteX907" fmla="*/ 1238215 w 4919004"/>
                <a:gd name="connsiteY907" fmla="*/ 789840 h 2455817"/>
                <a:gd name="connsiteX908" fmla="*/ 1244481 w 4919004"/>
                <a:gd name="connsiteY908" fmla="*/ 784906 h 2455817"/>
                <a:gd name="connsiteX909" fmla="*/ 1392354 w 4919004"/>
                <a:gd name="connsiteY909" fmla="*/ 781946 h 2455817"/>
                <a:gd name="connsiteX910" fmla="*/ 1398620 w 4919004"/>
                <a:gd name="connsiteY910" fmla="*/ 785202 h 2455817"/>
                <a:gd name="connsiteX911" fmla="*/ 1408981 w 4919004"/>
                <a:gd name="connsiteY911" fmla="*/ 786781 h 2455817"/>
                <a:gd name="connsiteX912" fmla="*/ 1408981 w 4919004"/>
                <a:gd name="connsiteY912" fmla="*/ 790038 h 2455817"/>
                <a:gd name="connsiteX913" fmla="*/ 1396548 w 4919004"/>
                <a:gd name="connsiteY913" fmla="*/ 790038 h 2455817"/>
                <a:gd name="connsiteX914" fmla="*/ 1388209 w 4919004"/>
                <a:gd name="connsiteY914" fmla="*/ 783574 h 2455817"/>
                <a:gd name="connsiteX915" fmla="*/ 1483831 w 4919004"/>
                <a:gd name="connsiteY915" fmla="*/ 772275 h 2455817"/>
                <a:gd name="connsiteX916" fmla="*/ 1487975 w 4919004"/>
                <a:gd name="connsiteY916" fmla="*/ 778838 h 2455817"/>
                <a:gd name="connsiteX917" fmla="*/ 1496314 w 4919004"/>
                <a:gd name="connsiteY917" fmla="*/ 785301 h 2455817"/>
                <a:gd name="connsiteX918" fmla="*/ 1498386 w 4919004"/>
                <a:gd name="connsiteY918" fmla="*/ 793344 h 2455817"/>
                <a:gd name="connsiteX919" fmla="*/ 1502531 w 4919004"/>
                <a:gd name="connsiteY919" fmla="*/ 803212 h 2455817"/>
                <a:gd name="connsiteX920" fmla="*/ 1502531 w 4919004"/>
                <a:gd name="connsiteY920" fmla="*/ 806468 h 2455817"/>
                <a:gd name="connsiteX921" fmla="*/ 1496314 w 4919004"/>
                <a:gd name="connsiteY921" fmla="*/ 808047 h 2455817"/>
                <a:gd name="connsiteX922" fmla="*/ 1490097 w 4919004"/>
                <a:gd name="connsiteY922" fmla="*/ 806468 h 2455817"/>
                <a:gd name="connsiteX923" fmla="*/ 1483831 w 4919004"/>
                <a:gd name="connsiteY923" fmla="*/ 804840 h 2455817"/>
                <a:gd name="connsiteX924" fmla="*/ 1481758 w 4919004"/>
                <a:gd name="connsiteY924" fmla="*/ 801633 h 2455817"/>
                <a:gd name="connsiteX925" fmla="*/ 1473420 w 4919004"/>
                <a:gd name="connsiteY925" fmla="*/ 801633 h 2455817"/>
                <a:gd name="connsiteX926" fmla="*/ 1471397 w 4919004"/>
                <a:gd name="connsiteY926" fmla="*/ 796699 h 2455817"/>
                <a:gd name="connsiteX927" fmla="*/ 1475542 w 4919004"/>
                <a:gd name="connsiteY927" fmla="*/ 788607 h 2455817"/>
                <a:gd name="connsiteX928" fmla="*/ 1477614 w 4919004"/>
                <a:gd name="connsiteY928" fmla="*/ 778739 h 2455817"/>
                <a:gd name="connsiteX929" fmla="*/ 1375726 w 4919004"/>
                <a:gd name="connsiteY929" fmla="*/ 757769 h 2455817"/>
                <a:gd name="connsiteX930" fmla="*/ 1377799 w 4919004"/>
                <a:gd name="connsiteY930" fmla="*/ 759397 h 2455817"/>
                <a:gd name="connsiteX931" fmla="*/ 1373654 w 4919004"/>
                <a:gd name="connsiteY931" fmla="*/ 762605 h 2455817"/>
                <a:gd name="connsiteX932" fmla="*/ 1373654 w 4919004"/>
                <a:gd name="connsiteY932" fmla="*/ 769068 h 2455817"/>
                <a:gd name="connsiteX933" fmla="*/ 1367437 w 4919004"/>
                <a:gd name="connsiteY933" fmla="*/ 772275 h 2455817"/>
                <a:gd name="connsiteX934" fmla="*/ 1363243 w 4919004"/>
                <a:gd name="connsiteY934" fmla="*/ 770696 h 2455817"/>
                <a:gd name="connsiteX935" fmla="*/ 1357026 w 4919004"/>
                <a:gd name="connsiteY935" fmla="*/ 777111 h 2455817"/>
                <a:gd name="connsiteX936" fmla="*/ 1357026 w 4919004"/>
                <a:gd name="connsiteY936" fmla="*/ 772275 h 2455817"/>
                <a:gd name="connsiteX937" fmla="*/ 1361171 w 4919004"/>
                <a:gd name="connsiteY937" fmla="*/ 765861 h 2455817"/>
                <a:gd name="connsiteX938" fmla="*/ 1371582 w 4919004"/>
                <a:gd name="connsiteY938" fmla="*/ 759397 h 2455817"/>
                <a:gd name="connsiteX939" fmla="*/ 1577429 w 4919004"/>
                <a:gd name="connsiteY939" fmla="*/ 691653 h 2455817"/>
                <a:gd name="connsiteX940" fmla="*/ 1583646 w 4919004"/>
                <a:gd name="connsiteY940" fmla="*/ 694910 h 2455817"/>
                <a:gd name="connsiteX941" fmla="*/ 1581574 w 4919004"/>
                <a:gd name="connsiteY941" fmla="*/ 696488 h 2455817"/>
                <a:gd name="connsiteX942" fmla="*/ 1571163 w 4919004"/>
                <a:gd name="connsiteY942" fmla="*/ 696488 h 2455817"/>
                <a:gd name="connsiteX943" fmla="*/ 1569091 w 4919004"/>
                <a:gd name="connsiteY943" fmla="*/ 694910 h 2455817"/>
                <a:gd name="connsiteX944" fmla="*/ 1529618 w 4919004"/>
                <a:gd name="connsiteY944" fmla="*/ 686818 h 2455817"/>
                <a:gd name="connsiteX945" fmla="*/ 1533763 w 4919004"/>
                <a:gd name="connsiteY945" fmla="*/ 690074 h 2455817"/>
                <a:gd name="connsiteX946" fmla="*/ 1527497 w 4919004"/>
                <a:gd name="connsiteY946" fmla="*/ 696488 h 2455817"/>
                <a:gd name="connsiteX947" fmla="*/ 1521280 w 4919004"/>
                <a:gd name="connsiteY947" fmla="*/ 696587 h 2455817"/>
                <a:gd name="connsiteX948" fmla="*/ 1519208 w 4919004"/>
                <a:gd name="connsiteY948" fmla="*/ 691653 h 2455817"/>
                <a:gd name="connsiteX949" fmla="*/ 1523353 w 4919004"/>
                <a:gd name="connsiteY949" fmla="*/ 688446 h 2455817"/>
                <a:gd name="connsiteX950" fmla="*/ 1548319 w 4919004"/>
                <a:gd name="connsiteY950" fmla="*/ 683512 h 2455817"/>
                <a:gd name="connsiteX951" fmla="*/ 1554535 w 4919004"/>
                <a:gd name="connsiteY951" fmla="*/ 685140 h 2455817"/>
                <a:gd name="connsiteX952" fmla="*/ 1554535 w 4919004"/>
                <a:gd name="connsiteY952" fmla="*/ 688347 h 2455817"/>
                <a:gd name="connsiteX953" fmla="*/ 1548319 w 4919004"/>
                <a:gd name="connsiteY953" fmla="*/ 691554 h 2455817"/>
                <a:gd name="connsiteX954" fmla="*/ 1542052 w 4919004"/>
                <a:gd name="connsiteY954" fmla="*/ 689976 h 2455817"/>
                <a:gd name="connsiteX955" fmla="*/ 1537908 w 4919004"/>
                <a:gd name="connsiteY955" fmla="*/ 686719 h 2455817"/>
                <a:gd name="connsiteX956" fmla="*/ 1544174 w 4919004"/>
                <a:gd name="connsiteY956" fmla="*/ 685140 h 2455817"/>
                <a:gd name="connsiteX957" fmla="*/ 1633529 w 4919004"/>
                <a:gd name="connsiteY957" fmla="*/ 681982 h 2455817"/>
                <a:gd name="connsiteX958" fmla="*/ 1637723 w 4919004"/>
                <a:gd name="connsiteY958" fmla="*/ 683512 h 2455817"/>
                <a:gd name="connsiteX959" fmla="*/ 1641868 w 4919004"/>
                <a:gd name="connsiteY959" fmla="*/ 688446 h 2455817"/>
                <a:gd name="connsiteX960" fmla="*/ 1639796 w 4919004"/>
                <a:gd name="connsiteY960" fmla="*/ 691653 h 2455817"/>
                <a:gd name="connsiteX961" fmla="*/ 1635651 w 4919004"/>
                <a:gd name="connsiteY961" fmla="*/ 690074 h 2455817"/>
                <a:gd name="connsiteX962" fmla="*/ 1608612 w 4919004"/>
                <a:gd name="connsiteY962" fmla="*/ 670535 h 2455817"/>
                <a:gd name="connsiteX963" fmla="*/ 1614829 w 4919004"/>
                <a:gd name="connsiteY963" fmla="*/ 672114 h 2455817"/>
                <a:gd name="connsiteX964" fmla="*/ 1610685 w 4919004"/>
                <a:gd name="connsiteY964" fmla="*/ 677048 h 2455817"/>
                <a:gd name="connsiteX965" fmla="*/ 1602395 w 4919004"/>
                <a:gd name="connsiteY965" fmla="*/ 677048 h 2455817"/>
                <a:gd name="connsiteX966" fmla="*/ 1604418 w 4919004"/>
                <a:gd name="connsiteY966" fmla="*/ 675371 h 2455817"/>
                <a:gd name="connsiteX967" fmla="*/ 1604418 w 4919004"/>
                <a:gd name="connsiteY967" fmla="*/ 672114 h 2455817"/>
                <a:gd name="connsiteX968" fmla="*/ 1427731 w 4919004"/>
                <a:gd name="connsiteY968" fmla="*/ 657608 h 2455817"/>
                <a:gd name="connsiteX969" fmla="*/ 1433948 w 4919004"/>
                <a:gd name="connsiteY969" fmla="*/ 659237 h 2455817"/>
                <a:gd name="connsiteX970" fmla="*/ 1431875 w 4919004"/>
                <a:gd name="connsiteY970" fmla="*/ 664171 h 2455817"/>
                <a:gd name="connsiteX971" fmla="*/ 1433948 w 4919004"/>
                <a:gd name="connsiteY971" fmla="*/ 669105 h 2455817"/>
                <a:gd name="connsiteX972" fmla="*/ 1429803 w 4919004"/>
                <a:gd name="connsiteY972" fmla="*/ 670634 h 2455817"/>
                <a:gd name="connsiteX973" fmla="*/ 1423537 w 4919004"/>
                <a:gd name="connsiteY973" fmla="*/ 669006 h 2455817"/>
                <a:gd name="connsiteX974" fmla="*/ 1423537 w 4919004"/>
                <a:gd name="connsiteY974" fmla="*/ 664072 h 2455817"/>
                <a:gd name="connsiteX975" fmla="*/ 1419392 w 4919004"/>
                <a:gd name="connsiteY975" fmla="*/ 662444 h 2455817"/>
                <a:gd name="connsiteX976" fmla="*/ 1421465 w 4919004"/>
                <a:gd name="connsiteY976" fmla="*/ 659237 h 2455817"/>
                <a:gd name="connsiteX977" fmla="*/ 1575308 w 4919004"/>
                <a:gd name="connsiteY977" fmla="*/ 648036 h 2455817"/>
                <a:gd name="connsiteX978" fmla="*/ 1579502 w 4919004"/>
                <a:gd name="connsiteY978" fmla="*/ 648036 h 2455817"/>
                <a:gd name="connsiteX979" fmla="*/ 1579502 w 4919004"/>
                <a:gd name="connsiteY979" fmla="*/ 651243 h 2455817"/>
                <a:gd name="connsiteX980" fmla="*/ 1575308 w 4919004"/>
                <a:gd name="connsiteY980" fmla="*/ 654500 h 2455817"/>
                <a:gd name="connsiteX981" fmla="*/ 1573285 w 4919004"/>
                <a:gd name="connsiteY981" fmla="*/ 656079 h 2455817"/>
                <a:gd name="connsiteX982" fmla="*/ 1575308 w 4919004"/>
                <a:gd name="connsiteY982" fmla="*/ 657707 h 2455817"/>
                <a:gd name="connsiteX983" fmla="*/ 1573285 w 4919004"/>
                <a:gd name="connsiteY983" fmla="*/ 659335 h 2455817"/>
                <a:gd name="connsiteX984" fmla="*/ 1567019 w 4919004"/>
                <a:gd name="connsiteY984" fmla="*/ 657707 h 2455817"/>
                <a:gd name="connsiteX985" fmla="*/ 1567019 w 4919004"/>
                <a:gd name="connsiteY985" fmla="*/ 654500 h 2455817"/>
                <a:gd name="connsiteX986" fmla="*/ 860268 w 4919004"/>
                <a:gd name="connsiteY986" fmla="*/ 644878 h 2455817"/>
                <a:gd name="connsiteX987" fmla="*/ 862339 w 4919004"/>
                <a:gd name="connsiteY987" fmla="*/ 644878 h 2455817"/>
                <a:gd name="connsiteX988" fmla="*/ 862339 w 4919004"/>
                <a:gd name="connsiteY988" fmla="*/ 649812 h 2455817"/>
                <a:gd name="connsiteX989" fmla="*/ 851929 w 4919004"/>
                <a:gd name="connsiteY989" fmla="*/ 654747 h 2455817"/>
                <a:gd name="connsiteX990" fmla="*/ 849857 w 4919004"/>
                <a:gd name="connsiteY990" fmla="*/ 657954 h 2455817"/>
                <a:gd name="connsiteX991" fmla="*/ 847784 w 4919004"/>
                <a:gd name="connsiteY991" fmla="*/ 659582 h 2455817"/>
                <a:gd name="connsiteX992" fmla="*/ 843591 w 4919004"/>
                <a:gd name="connsiteY992" fmla="*/ 654648 h 2455817"/>
                <a:gd name="connsiteX993" fmla="*/ 847784 w 4919004"/>
                <a:gd name="connsiteY993" fmla="*/ 651391 h 2455817"/>
                <a:gd name="connsiteX994" fmla="*/ 854001 w 4919004"/>
                <a:gd name="connsiteY994" fmla="*/ 649812 h 2455817"/>
                <a:gd name="connsiteX995" fmla="*/ 1589863 w 4919004"/>
                <a:gd name="connsiteY995" fmla="*/ 643102 h 2455817"/>
                <a:gd name="connsiteX996" fmla="*/ 1596130 w 4919004"/>
                <a:gd name="connsiteY996" fmla="*/ 643102 h 2455817"/>
                <a:gd name="connsiteX997" fmla="*/ 1598202 w 4919004"/>
                <a:gd name="connsiteY997" fmla="*/ 646309 h 2455817"/>
                <a:gd name="connsiteX998" fmla="*/ 1598202 w 4919004"/>
                <a:gd name="connsiteY998" fmla="*/ 649664 h 2455817"/>
                <a:gd name="connsiteX999" fmla="*/ 1594057 w 4919004"/>
                <a:gd name="connsiteY999" fmla="*/ 651243 h 2455817"/>
                <a:gd name="connsiteX1000" fmla="*/ 1587840 w 4919004"/>
                <a:gd name="connsiteY1000" fmla="*/ 651243 h 2455817"/>
                <a:gd name="connsiteX1001" fmla="*/ 1587840 w 4919004"/>
                <a:gd name="connsiteY1001" fmla="*/ 646309 h 2455817"/>
                <a:gd name="connsiteX1002" fmla="*/ 1602395 w 4919004"/>
                <a:gd name="connsiteY1002" fmla="*/ 638069 h 2455817"/>
                <a:gd name="connsiteX1003" fmla="*/ 1608612 w 4919004"/>
                <a:gd name="connsiteY1003" fmla="*/ 638069 h 2455817"/>
                <a:gd name="connsiteX1004" fmla="*/ 1612757 w 4919004"/>
                <a:gd name="connsiteY1004" fmla="*/ 641277 h 2455817"/>
                <a:gd name="connsiteX1005" fmla="*/ 1612757 w 4919004"/>
                <a:gd name="connsiteY1005" fmla="*/ 646211 h 2455817"/>
                <a:gd name="connsiteX1006" fmla="*/ 1606540 w 4919004"/>
                <a:gd name="connsiteY1006" fmla="*/ 651145 h 2455817"/>
                <a:gd name="connsiteX1007" fmla="*/ 1602395 w 4919004"/>
                <a:gd name="connsiteY1007" fmla="*/ 651145 h 2455817"/>
                <a:gd name="connsiteX1008" fmla="*/ 1600274 w 4919004"/>
                <a:gd name="connsiteY1008" fmla="*/ 649566 h 2455817"/>
                <a:gd name="connsiteX1009" fmla="*/ 1604418 w 4919004"/>
                <a:gd name="connsiteY1009" fmla="*/ 646211 h 2455817"/>
                <a:gd name="connsiteX1010" fmla="*/ 1602395 w 4919004"/>
                <a:gd name="connsiteY1010" fmla="*/ 643003 h 2455817"/>
                <a:gd name="connsiteX1011" fmla="*/ 1577429 w 4919004"/>
                <a:gd name="connsiteY1011" fmla="*/ 622133 h 2455817"/>
                <a:gd name="connsiteX1012" fmla="*/ 1583646 w 4919004"/>
                <a:gd name="connsiteY1012" fmla="*/ 623761 h 2455817"/>
                <a:gd name="connsiteX1013" fmla="*/ 1585719 w 4919004"/>
                <a:gd name="connsiteY1013" fmla="*/ 625389 h 2455817"/>
                <a:gd name="connsiteX1014" fmla="*/ 1579502 w 4919004"/>
                <a:gd name="connsiteY1014" fmla="*/ 631803 h 2455817"/>
                <a:gd name="connsiteX1015" fmla="*/ 1575308 w 4919004"/>
                <a:gd name="connsiteY1015" fmla="*/ 628596 h 2455817"/>
                <a:gd name="connsiteX1016" fmla="*/ 1567019 w 4919004"/>
                <a:gd name="connsiteY1016" fmla="*/ 626968 h 2455817"/>
                <a:gd name="connsiteX1017" fmla="*/ 1567019 w 4919004"/>
                <a:gd name="connsiteY1017" fmla="*/ 625389 h 2455817"/>
                <a:gd name="connsiteX1018" fmla="*/ 1573285 w 4919004"/>
                <a:gd name="connsiteY1018" fmla="*/ 623761 h 2455817"/>
                <a:gd name="connsiteX1019" fmla="*/ 1606540 w 4919004"/>
                <a:gd name="connsiteY1019" fmla="*/ 601163 h 2455817"/>
                <a:gd name="connsiteX1020" fmla="*/ 1614829 w 4919004"/>
                <a:gd name="connsiteY1020" fmla="*/ 602791 h 2455817"/>
                <a:gd name="connsiteX1021" fmla="*/ 1618974 w 4919004"/>
                <a:gd name="connsiteY1021" fmla="*/ 605998 h 2455817"/>
                <a:gd name="connsiteX1022" fmla="*/ 1618974 w 4919004"/>
                <a:gd name="connsiteY1022" fmla="*/ 609255 h 2455817"/>
                <a:gd name="connsiteX1023" fmla="*/ 1612757 w 4919004"/>
                <a:gd name="connsiteY1023" fmla="*/ 610883 h 2455817"/>
                <a:gd name="connsiteX1024" fmla="*/ 1616951 w 4919004"/>
                <a:gd name="connsiteY1024" fmla="*/ 614090 h 2455817"/>
                <a:gd name="connsiteX1025" fmla="*/ 1616951 w 4919004"/>
                <a:gd name="connsiteY1025" fmla="*/ 615718 h 2455817"/>
                <a:gd name="connsiteX1026" fmla="*/ 1612757 w 4919004"/>
                <a:gd name="connsiteY1026" fmla="*/ 617297 h 2455817"/>
                <a:gd name="connsiteX1027" fmla="*/ 1608612 w 4919004"/>
                <a:gd name="connsiteY1027" fmla="*/ 614238 h 2455817"/>
                <a:gd name="connsiteX1028" fmla="*/ 1600274 w 4919004"/>
                <a:gd name="connsiteY1028" fmla="*/ 614238 h 2455817"/>
                <a:gd name="connsiteX1029" fmla="*/ 1596130 w 4919004"/>
                <a:gd name="connsiteY1029" fmla="*/ 611031 h 2455817"/>
                <a:gd name="connsiteX1030" fmla="*/ 1594057 w 4919004"/>
                <a:gd name="connsiteY1030" fmla="*/ 606097 h 2455817"/>
                <a:gd name="connsiteX1031" fmla="*/ 1596130 w 4919004"/>
                <a:gd name="connsiteY1031" fmla="*/ 604518 h 2455817"/>
                <a:gd name="connsiteX1032" fmla="*/ 1600274 w 4919004"/>
                <a:gd name="connsiteY1032" fmla="*/ 607725 h 2455817"/>
                <a:gd name="connsiteX1033" fmla="*/ 1602395 w 4919004"/>
                <a:gd name="connsiteY1033" fmla="*/ 607725 h 2455817"/>
                <a:gd name="connsiteX1034" fmla="*/ 1602395 w 4919004"/>
                <a:gd name="connsiteY1034" fmla="*/ 602791 h 2455817"/>
                <a:gd name="connsiteX1035" fmla="*/ 1463058 w 4919004"/>
                <a:gd name="connsiteY1035" fmla="*/ 577332 h 2455817"/>
                <a:gd name="connsiteX1036" fmla="*/ 1465131 w 4919004"/>
                <a:gd name="connsiteY1036" fmla="*/ 582266 h 2455817"/>
                <a:gd name="connsiteX1037" fmla="*/ 1465131 w 4919004"/>
                <a:gd name="connsiteY1037" fmla="*/ 585522 h 2455817"/>
                <a:gd name="connsiteX1038" fmla="*/ 1469325 w 4919004"/>
                <a:gd name="connsiteY1038" fmla="*/ 590456 h 2455817"/>
                <a:gd name="connsiteX1039" fmla="*/ 1469325 w 4919004"/>
                <a:gd name="connsiteY1039" fmla="*/ 593663 h 2455817"/>
                <a:gd name="connsiteX1040" fmla="*/ 1465131 w 4919004"/>
                <a:gd name="connsiteY1040" fmla="*/ 596870 h 2455817"/>
                <a:gd name="connsiteX1041" fmla="*/ 1467203 w 4919004"/>
                <a:gd name="connsiteY1041" fmla="*/ 603334 h 2455817"/>
                <a:gd name="connsiteX1042" fmla="*/ 1467203 w 4919004"/>
                <a:gd name="connsiteY1042" fmla="*/ 609699 h 2455817"/>
                <a:gd name="connsiteX1043" fmla="*/ 1463058 w 4919004"/>
                <a:gd name="connsiteY1043" fmla="*/ 606442 h 2455817"/>
                <a:gd name="connsiteX1044" fmla="*/ 1460986 w 4919004"/>
                <a:gd name="connsiteY1044" fmla="*/ 600028 h 2455817"/>
                <a:gd name="connsiteX1045" fmla="*/ 1458864 w 4919004"/>
                <a:gd name="connsiteY1045" fmla="*/ 598400 h 2455817"/>
                <a:gd name="connsiteX1046" fmla="*/ 1454769 w 4919004"/>
                <a:gd name="connsiteY1046" fmla="*/ 600028 h 2455817"/>
                <a:gd name="connsiteX1047" fmla="*/ 1450576 w 4919004"/>
                <a:gd name="connsiteY1047" fmla="*/ 598400 h 2455817"/>
                <a:gd name="connsiteX1048" fmla="*/ 1450576 w 4919004"/>
                <a:gd name="connsiteY1048" fmla="*/ 586854 h 2455817"/>
                <a:gd name="connsiteX1049" fmla="*/ 1452648 w 4919004"/>
                <a:gd name="connsiteY1049" fmla="*/ 590111 h 2455817"/>
                <a:gd name="connsiteX1050" fmla="*/ 1456841 w 4919004"/>
                <a:gd name="connsiteY1050" fmla="*/ 591690 h 2455817"/>
                <a:gd name="connsiteX1051" fmla="*/ 1456743 w 4919004"/>
                <a:gd name="connsiteY1051" fmla="*/ 587101 h 2455817"/>
                <a:gd name="connsiteX1052" fmla="*/ 1452549 w 4919004"/>
                <a:gd name="connsiteY1052" fmla="*/ 582167 h 2455817"/>
                <a:gd name="connsiteX1053" fmla="*/ 1454671 w 4919004"/>
                <a:gd name="connsiteY1053" fmla="*/ 578960 h 2455817"/>
                <a:gd name="connsiteX1054" fmla="*/ 1456841 w 4919004"/>
                <a:gd name="connsiteY1054" fmla="*/ 578960 h 2455817"/>
                <a:gd name="connsiteX1055" fmla="*/ 1430000 w 4919004"/>
                <a:gd name="connsiteY1055" fmla="*/ 548073 h 2455817"/>
                <a:gd name="connsiteX1056" fmla="*/ 1433948 w 4919004"/>
                <a:gd name="connsiteY1056" fmla="*/ 548073 h 2455817"/>
                <a:gd name="connsiteX1057" fmla="*/ 1436020 w 4919004"/>
                <a:gd name="connsiteY1057" fmla="*/ 553007 h 2455817"/>
                <a:gd name="connsiteX1058" fmla="*/ 1444309 w 4919004"/>
                <a:gd name="connsiteY1058" fmla="*/ 554635 h 2455817"/>
                <a:gd name="connsiteX1059" fmla="*/ 1442484 w 4919004"/>
                <a:gd name="connsiteY1059" fmla="*/ 557842 h 2455817"/>
                <a:gd name="connsiteX1060" fmla="*/ 1436217 w 4919004"/>
                <a:gd name="connsiteY1060" fmla="*/ 557842 h 2455817"/>
                <a:gd name="connsiteX1061" fmla="*/ 1427928 w 4919004"/>
                <a:gd name="connsiteY1061" fmla="*/ 554635 h 2455817"/>
                <a:gd name="connsiteX1062" fmla="*/ 1425856 w 4919004"/>
                <a:gd name="connsiteY1062" fmla="*/ 549701 h 2455817"/>
                <a:gd name="connsiteX1063" fmla="*/ 1454769 w 4919004"/>
                <a:gd name="connsiteY1063" fmla="*/ 540129 h 2455817"/>
                <a:gd name="connsiteX1064" fmla="*/ 1458864 w 4919004"/>
                <a:gd name="connsiteY1064" fmla="*/ 543336 h 2455817"/>
                <a:gd name="connsiteX1065" fmla="*/ 1469325 w 4919004"/>
                <a:gd name="connsiteY1065" fmla="*/ 544964 h 2455817"/>
                <a:gd name="connsiteX1066" fmla="*/ 1469325 w 4919004"/>
                <a:gd name="connsiteY1066" fmla="*/ 546543 h 2455817"/>
                <a:gd name="connsiteX1067" fmla="*/ 1463058 w 4919004"/>
                <a:gd name="connsiteY1067" fmla="*/ 549800 h 2455817"/>
                <a:gd name="connsiteX1068" fmla="*/ 1456841 w 4919004"/>
                <a:gd name="connsiteY1068" fmla="*/ 548171 h 2455817"/>
                <a:gd name="connsiteX1069" fmla="*/ 1448503 w 4919004"/>
                <a:gd name="connsiteY1069" fmla="*/ 549800 h 2455817"/>
                <a:gd name="connsiteX1070" fmla="*/ 1446431 w 4919004"/>
                <a:gd name="connsiteY1070" fmla="*/ 548171 h 2455817"/>
                <a:gd name="connsiteX1071" fmla="*/ 1450576 w 4919004"/>
                <a:gd name="connsiteY1071" fmla="*/ 541708 h 2455817"/>
                <a:gd name="connsiteX1072" fmla="*/ 2560930 w 4919004"/>
                <a:gd name="connsiteY1072" fmla="*/ 538797 h 2455817"/>
                <a:gd name="connsiteX1073" fmla="*/ 2567147 w 4919004"/>
                <a:gd name="connsiteY1073" fmla="*/ 538797 h 2455817"/>
                <a:gd name="connsiteX1074" fmla="*/ 2573414 w 4919004"/>
                <a:gd name="connsiteY1074" fmla="*/ 543731 h 2455817"/>
                <a:gd name="connsiteX1075" fmla="*/ 2577558 w 4919004"/>
                <a:gd name="connsiteY1075" fmla="*/ 546938 h 2455817"/>
                <a:gd name="connsiteX1076" fmla="*/ 2577558 w 4919004"/>
                <a:gd name="connsiteY1076" fmla="*/ 550194 h 2455817"/>
                <a:gd name="connsiteX1077" fmla="*/ 2575486 w 4919004"/>
                <a:gd name="connsiteY1077" fmla="*/ 548566 h 2455817"/>
                <a:gd name="connsiteX1078" fmla="*/ 2571292 w 4919004"/>
                <a:gd name="connsiteY1078" fmla="*/ 551773 h 2455817"/>
                <a:gd name="connsiteX1079" fmla="*/ 2563003 w 4919004"/>
                <a:gd name="connsiteY1079" fmla="*/ 551773 h 2455817"/>
                <a:gd name="connsiteX1080" fmla="*/ 2563003 w 4919004"/>
                <a:gd name="connsiteY1080" fmla="*/ 546839 h 2455817"/>
                <a:gd name="connsiteX1081" fmla="*/ 2558859 w 4919004"/>
                <a:gd name="connsiteY1081" fmla="*/ 543632 h 2455817"/>
                <a:gd name="connsiteX1082" fmla="*/ 2556737 w 4919004"/>
                <a:gd name="connsiteY1082" fmla="*/ 540425 h 2455817"/>
                <a:gd name="connsiteX1083" fmla="*/ 1055951 w 4919004"/>
                <a:gd name="connsiteY1083" fmla="*/ 526955 h 2455817"/>
                <a:gd name="connsiteX1084" fmla="*/ 1060145 w 4919004"/>
                <a:gd name="connsiteY1084" fmla="*/ 530211 h 2455817"/>
                <a:gd name="connsiteX1085" fmla="*/ 1060145 w 4919004"/>
                <a:gd name="connsiteY1085" fmla="*/ 535145 h 2455817"/>
                <a:gd name="connsiteX1086" fmla="*/ 1064290 w 4919004"/>
                <a:gd name="connsiteY1086" fmla="*/ 540080 h 2455817"/>
                <a:gd name="connsiteX1087" fmla="*/ 1070507 w 4919004"/>
                <a:gd name="connsiteY1087" fmla="*/ 541658 h 2455817"/>
                <a:gd name="connsiteX1088" fmla="*/ 1074701 w 4919004"/>
                <a:gd name="connsiteY1088" fmla="*/ 544915 h 2455817"/>
                <a:gd name="connsiteX1089" fmla="*/ 1080917 w 4919004"/>
                <a:gd name="connsiteY1089" fmla="*/ 544915 h 2455817"/>
                <a:gd name="connsiteX1090" fmla="*/ 1082990 w 4919004"/>
                <a:gd name="connsiteY1090" fmla="*/ 548122 h 2455817"/>
                <a:gd name="connsiteX1091" fmla="*/ 1078845 w 4919004"/>
                <a:gd name="connsiteY1091" fmla="*/ 556165 h 2455817"/>
                <a:gd name="connsiteX1092" fmla="*/ 1080917 w 4919004"/>
                <a:gd name="connsiteY1092" fmla="*/ 562628 h 2455817"/>
                <a:gd name="connsiteX1093" fmla="*/ 1085062 w 4919004"/>
                <a:gd name="connsiteY1093" fmla="*/ 564256 h 2455817"/>
                <a:gd name="connsiteX1094" fmla="*/ 1087134 w 4919004"/>
                <a:gd name="connsiteY1094" fmla="*/ 565885 h 2455817"/>
                <a:gd name="connsiteX1095" fmla="*/ 1087134 w 4919004"/>
                <a:gd name="connsiteY1095" fmla="*/ 573927 h 2455817"/>
                <a:gd name="connsiteX1096" fmla="*/ 1089256 w 4919004"/>
                <a:gd name="connsiteY1096" fmla="*/ 578861 h 2455817"/>
                <a:gd name="connsiteX1097" fmla="*/ 1085062 w 4919004"/>
                <a:gd name="connsiteY1097" fmla="*/ 585325 h 2455817"/>
                <a:gd name="connsiteX1098" fmla="*/ 1087134 w 4919004"/>
                <a:gd name="connsiteY1098" fmla="*/ 588532 h 2455817"/>
                <a:gd name="connsiteX1099" fmla="*/ 1087134 w 4919004"/>
                <a:gd name="connsiteY1099" fmla="*/ 591098 h 2455817"/>
                <a:gd name="connsiteX1100" fmla="*/ 1080917 w 4919004"/>
                <a:gd name="connsiteY1100" fmla="*/ 592726 h 2455817"/>
                <a:gd name="connsiteX1101" fmla="*/ 1076773 w 4919004"/>
                <a:gd name="connsiteY1101" fmla="*/ 592726 h 2455817"/>
                <a:gd name="connsiteX1102" fmla="*/ 1070507 w 4919004"/>
                <a:gd name="connsiteY1102" fmla="*/ 595933 h 2455817"/>
                <a:gd name="connsiteX1103" fmla="*/ 1062217 w 4919004"/>
                <a:gd name="connsiteY1103" fmla="*/ 605801 h 2455817"/>
                <a:gd name="connsiteX1104" fmla="*/ 1053879 w 4919004"/>
                <a:gd name="connsiteY1104" fmla="*/ 610735 h 2455817"/>
                <a:gd name="connsiteX1105" fmla="*/ 1043468 w 4919004"/>
                <a:gd name="connsiteY1105" fmla="*/ 613942 h 2455817"/>
                <a:gd name="connsiteX1106" fmla="*/ 1033058 w 4919004"/>
                <a:gd name="connsiteY1106" fmla="*/ 621985 h 2455817"/>
                <a:gd name="connsiteX1107" fmla="*/ 1028913 w 4919004"/>
                <a:gd name="connsiteY1107" fmla="*/ 621985 h 2455817"/>
                <a:gd name="connsiteX1108" fmla="*/ 1018502 w 4919004"/>
                <a:gd name="connsiteY1108" fmla="*/ 630076 h 2455817"/>
                <a:gd name="connsiteX1109" fmla="*/ 1003700 w 4919004"/>
                <a:gd name="connsiteY1109" fmla="*/ 644582 h 2455817"/>
                <a:gd name="connsiteX1110" fmla="*/ 988898 w 4919004"/>
                <a:gd name="connsiteY1110" fmla="*/ 652625 h 2455817"/>
                <a:gd name="connsiteX1111" fmla="*/ 984753 w 4919004"/>
                <a:gd name="connsiteY1111" fmla="*/ 652625 h 2455817"/>
                <a:gd name="connsiteX1112" fmla="*/ 980609 w 4919004"/>
                <a:gd name="connsiteY1112" fmla="*/ 663924 h 2455817"/>
                <a:gd name="connsiteX1113" fmla="*/ 974342 w 4919004"/>
                <a:gd name="connsiteY1113" fmla="*/ 673792 h 2455817"/>
                <a:gd name="connsiteX1114" fmla="*/ 963981 w 4919004"/>
                <a:gd name="connsiteY1114" fmla="*/ 678726 h 2455817"/>
                <a:gd name="connsiteX1115" fmla="*/ 961909 w 4919004"/>
                <a:gd name="connsiteY1115" fmla="*/ 686768 h 2455817"/>
                <a:gd name="connsiteX1116" fmla="*/ 957764 w 4919004"/>
                <a:gd name="connsiteY1116" fmla="*/ 690025 h 2455817"/>
                <a:gd name="connsiteX1117" fmla="*/ 955642 w 4919004"/>
                <a:gd name="connsiteY1117" fmla="*/ 696439 h 2455817"/>
                <a:gd name="connsiteX1118" fmla="*/ 945232 w 4919004"/>
                <a:gd name="connsiteY1118" fmla="*/ 707738 h 2455817"/>
                <a:gd name="connsiteX1119" fmla="*/ 941087 w 4919004"/>
                <a:gd name="connsiteY1119" fmla="*/ 710995 h 2455817"/>
                <a:gd name="connsiteX1120" fmla="*/ 936942 w 4919004"/>
                <a:gd name="connsiteY1120" fmla="*/ 706061 h 2455817"/>
                <a:gd name="connsiteX1121" fmla="*/ 934870 w 4919004"/>
                <a:gd name="connsiteY1121" fmla="*/ 710995 h 2455817"/>
                <a:gd name="connsiteX1122" fmla="*/ 936942 w 4919004"/>
                <a:gd name="connsiteY1122" fmla="*/ 715929 h 2455817"/>
                <a:gd name="connsiteX1123" fmla="*/ 943208 w 4919004"/>
                <a:gd name="connsiteY1123" fmla="*/ 719136 h 2455817"/>
                <a:gd name="connsiteX1124" fmla="*/ 941087 w 4919004"/>
                <a:gd name="connsiteY1124" fmla="*/ 724070 h 2455817"/>
                <a:gd name="connsiteX1125" fmla="*/ 932798 w 4919004"/>
                <a:gd name="connsiteY1125" fmla="*/ 727277 h 2455817"/>
                <a:gd name="connsiteX1126" fmla="*/ 930676 w 4919004"/>
                <a:gd name="connsiteY1126" fmla="*/ 728905 h 2455817"/>
                <a:gd name="connsiteX1127" fmla="*/ 932798 w 4919004"/>
                <a:gd name="connsiteY1127" fmla="*/ 732112 h 2455817"/>
                <a:gd name="connsiteX1128" fmla="*/ 932798 w 4919004"/>
                <a:gd name="connsiteY1128" fmla="*/ 738823 h 2455817"/>
                <a:gd name="connsiteX1129" fmla="*/ 926531 w 4919004"/>
                <a:gd name="connsiteY1129" fmla="*/ 742030 h 2455817"/>
                <a:gd name="connsiteX1130" fmla="*/ 922387 w 4919004"/>
                <a:gd name="connsiteY1130" fmla="*/ 740451 h 2455817"/>
                <a:gd name="connsiteX1131" fmla="*/ 918242 w 4919004"/>
                <a:gd name="connsiteY1131" fmla="*/ 740451 h 2455817"/>
                <a:gd name="connsiteX1132" fmla="*/ 918242 w 4919004"/>
                <a:gd name="connsiteY1132" fmla="*/ 743658 h 2455817"/>
                <a:gd name="connsiteX1133" fmla="*/ 922387 w 4919004"/>
                <a:gd name="connsiteY1133" fmla="*/ 746914 h 2455817"/>
                <a:gd name="connsiteX1134" fmla="*/ 920314 w 4919004"/>
                <a:gd name="connsiteY1134" fmla="*/ 750121 h 2455817"/>
                <a:gd name="connsiteX1135" fmla="*/ 911976 w 4919004"/>
                <a:gd name="connsiteY1135" fmla="*/ 746914 h 2455817"/>
                <a:gd name="connsiteX1136" fmla="*/ 905759 w 4919004"/>
                <a:gd name="connsiteY1136" fmla="*/ 743658 h 2455817"/>
                <a:gd name="connsiteX1137" fmla="*/ 899542 w 4919004"/>
                <a:gd name="connsiteY1137" fmla="*/ 743658 h 2455817"/>
                <a:gd name="connsiteX1138" fmla="*/ 899542 w 4919004"/>
                <a:gd name="connsiteY1138" fmla="*/ 751750 h 2455817"/>
                <a:gd name="connsiteX1139" fmla="*/ 903687 w 4919004"/>
                <a:gd name="connsiteY1139" fmla="*/ 751750 h 2455817"/>
                <a:gd name="connsiteX1140" fmla="*/ 905759 w 4919004"/>
                <a:gd name="connsiteY1140" fmla="*/ 753329 h 2455817"/>
                <a:gd name="connsiteX1141" fmla="*/ 903687 w 4919004"/>
                <a:gd name="connsiteY1141" fmla="*/ 761420 h 2455817"/>
                <a:gd name="connsiteX1142" fmla="*/ 899542 w 4919004"/>
                <a:gd name="connsiteY1142" fmla="*/ 761420 h 2455817"/>
                <a:gd name="connsiteX1143" fmla="*/ 893276 w 4919004"/>
                <a:gd name="connsiteY1143" fmla="*/ 756486 h 2455817"/>
                <a:gd name="connsiteX1144" fmla="*/ 887010 w 4919004"/>
                <a:gd name="connsiteY1144" fmla="*/ 758065 h 2455817"/>
                <a:gd name="connsiteX1145" fmla="*/ 895349 w 4919004"/>
                <a:gd name="connsiteY1145" fmla="*/ 766157 h 2455817"/>
                <a:gd name="connsiteX1146" fmla="*/ 901565 w 4919004"/>
                <a:gd name="connsiteY1146" fmla="*/ 771091 h 2455817"/>
                <a:gd name="connsiteX1147" fmla="*/ 901565 w 4919004"/>
                <a:gd name="connsiteY1147" fmla="*/ 777456 h 2455817"/>
                <a:gd name="connsiteX1148" fmla="*/ 897421 w 4919004"/>
                <a:gd name="connsiteY1148" fmla="*/ 783920 h 2455817"/>
                <a:gd name="connsiteX1149" fmla="*/ 897421 w 4919004"/>
                <a:gd name="connsiteY1149" fmla="*/ 787127 h 2455817"/>
                <a:gd name="connsiteX1150" fmla="*/ 899542 w 4919004"/>
                <a:gd name="connsiteY1150" fmla="*/ 790383 h 2455817"/>
                <a:gd name="connsiteX1151" fmla="*/ 899542 w 4919004"/>
                <a:gd name="connsiteY1151" fmla="*/ 796847 h 2455817"/>
                <a:gd name="connsiteX1152" fmla="*/ 893276 w 4919004"/>
                <a:gd name="connsiteY1152" fmla="*/ 796847 h 2455817"/>
                <a:gd name="connsiteX1153" fmla="*/ 884987 w 4919004"/>
                <a:gd name="connsiteY1153" fmla="*/ 793590 h 2455817"/>
                <a:gd name="connsiteX1154" fmla="*/ 884987 w 4919004"/>
                <a:gd name="connsiteY1154" fmla="*/ 788656 h 2455817"/>
                <a:gd name="connsiteX1155" fmla="*/ 878721 w 4919004"/>
                <a:gd name="connsiteY1155" fmla="*/ 783722 h 2455817"/>
                <a:gd name="connsiteX1156" fmla="*/ 876648 w 4919004"/>
                <a:gd name="connsiteY1156" fmla="*/ 786929 h 2455817"/>
                <a:gd name="connsiteX1157" fmla="*/ 884987 w 4919004"/>
                <a:gd name="connsiteY1157" fmla="*/ 795021 h 2455817"/>
                <a:gd name="connsiteX1158" fmla="*/ 891204 w 4919004"/>
                <a:gd name="connsiteY1158" fmla="*/ 804889 h 2455817"/>
                <a:gd name="connsiteX1159" fmla="*/ 895349 w 4919004"/>
                <a:gd name="connsiteY1159" fmla="*/ 812932 h 2455817"/>
                <a:gd name="connsiteX1160" fmla="*/ 891204 w 4919004"/>
                <a:gd name="connsiteY1160" fmla="*/ 817866 h 2455817"/>
                <a:gd name="connsiteX1161" fmla="*/ 887010 w 4919004"/>
                <a:gd name="connsiteY1161" fmla="*/ 816287 h 2455817"/>
                <a:gd name="connsiteX1162" fmla="*/ 887010 w 4919004"/>
                <a:gd name="connsiteY1162" fmla="*/ 811353 h 2455817"/>
                <a:gd name="connsiteX1163" fmla="*/ 884987 w 4919004"/>
                <a:gd name="connsiteY1163" fmla="*/ 806419 h 2455817"/>
                <a:gd name="connsiteX1164" fmla="*/ 878721 w 4919004"/>
                <a:gd name="connsiteY1164" fmla="*/ 807998 h 2455817"/>
                <a:gd name="connsiteX1165" fmla="*/ 874576 w 4919004"/>
                <a:gd name="connsiteY1165" fmla="*/ 806419 h 2455817"/>
                <a:gd name="connsiteX1166" fmla="*/ 870431 w 4919004"/>
                <a:gd name="connsiteY1166" fmla="*/ 809626 h 2455817"/>
                <a:gd name="connsiteX1167" fmla="*/ 872455 w 4919004"/>
                <a:gd name="connsiteY1167" fmla="*/ 811254 h 2455817"/>
                <a:gd name="connsiteX1168" fmla="*/ 876648 w 4919004"/>
                <a:gd name="connsiteY1168" fmla="*/ 811254 h 2455817"/>
                <a:gd name="connsiteX1169" fmla="*/ 882865 w 4919004"/>
                <a:gd name="connsiteY1169" fmla="*/ 812833 h 2455817"/>
                <a:gd name="connsiteX1170" fmla="*/ 887010 w 4919004"/>
                <a:gd name="connsiteY1170" fmla="*/ 820925 h 2455817"/>
                <a:gd name="connsiteX1171" fmla="*/ 893276 w 4919004"/>
                <a:gd name="connsiteY1171" fmla="*/ 824132 h 2455817"/>
                <a:gd name="connsiteX1172" fmla="*/ 891204 w 4919004"/>
                <a:gd name="connsiteY1172" fmla="*/ 830596 h 2455817"/>
                <a:gd name="connsiteX1173" fmla="*/ 887010 w 4919004"/>
                <a:gd name="connsiteY1173" fmla="*/ 837010 h 2455817"/>
                <a:gd name="connsiteX1174" fmla="*/ 887010 w 4919004"/>
                <a:gd name="connsiteY1174" fmla="*/ 843473 h 2455817"/>
                <a:gd name="connsiteX1175" fmla="*/ 882865 w 4919004"/>
                <a:gd name="connsiteY1175" fmla="*/ 851565 h 2455817"/>
                <a:gd name="connsiteX1176" fmla="*/ 878721 w 4919004"/>
                <a:gd name="connsiteY1176" fmla="*/ 851565 h 2455817"/>
                <a:gd name="connsiteX1177" fmla="*/ 876648 w 4919004"/>
                <a:gd name="connsiteY1177" fmla="*/ 854772 h 2455817"/>
                <a:gd name="connsiteX1178" fmla="*/ 866238 w 4919004"/>
                <a:gd name="connsiteY1178" fmla="*/ 854772 h 2455817"/>
                <a:gd name="connsiteX1179" fmla="*/ 860021 w 4919004"/>
                <a:gd name="connsiteY1179" fmla="*/ 853144 h 2455817"/>
                <a:gd name="connsiteX1180" fmla="*/ 855876 w 4919004"/>
                <a:gd name="connsiteY1180" fmla="*/ 846730 h 2455817"/>
                <a:gd name="connsiteX1181" fmla="*/ 853754 w 4919004"/>
                <a:gd name="connsiteY1181" fmla="*/ 845102 h 2455817"/>
                <a:gd name="connsiteX1182" fmla="*/ 853754 w 4919004"/>
                <a:gd name="connsiteY1182" fmla="*/ 850036 h 2455817"/>
                <a:gd name="connsiteX1183" fmla="*/ 855876 w 4919004"/>
                <a:gd name="connsiteY1183" fmla="*/ 853243 h 2455817"/>
                <a:gd name="connsiteX1184" fmla="*/ 851682 w 4919004"/>
                <a:gd name="connsiteY1184" fmla="*/ 856499 h 2455817"/>
                <a:gd name="connsiteX1185" fmla="*/ 843344 w 4919004"/>
                <a:gd name="connsiteY1185" fmla="*/ 854871 h 2455817"/>
                <a:gd name="connsiteX1186" fmla="*/ 839249 w 4919004"/>
                <a:gd name="connsiteY1186" fmla="*/ 851664 h 2455817"/>
                <a:gd name="connsiteX1187" fmla="*/ 832982 w 4919004"/>
                <a:gd name="connsiteY1187" fmla="*/ 850036 h 2455817"/>
                <a:gd name="connsiteX1188" fmla="*/ 824940 w 4919004"/>
                <a:gd name="connsiteY1188" fmla="*/ 852947 h 2455817"/>
                <a:gd name="connsiteX1189" fmla="*/ 814480 w 4919004"/>
                <a:gd name="connsiteY1189" fmla="*/ 857881 h 2455817"/>
                <a:gd name="connsiteX1190" fmla="*/ 804118 w 4919004"/>
                <a:gd name="connsiteY1190" fmla="*/ 857881 h 2455817"/>
                <a:gd name="connsiteX1191" fmla="*/ 804168 w 4919004"/>
                <a:gd name="connsiteY1191" fmla="*/ 854920 h 2455817"/>
                <a:gd name="connsiteX1192" fmla="*/ 806240 w 4919004"/>
                <a:gd name="connsiteY1192" fmla="*/ 851713 h 2455817"/>
                <a:gd name="connsiteX1193" fmla="*/ 804168 w 4919004"/>
                <a:gd name="connsiteY1193" fmla="*/ 846779 h 2455817"/>
                <a:gd name="connsiteX1194" fmla="*/ 804168 w 4919004"/>
                <a:gd name="connsiteY1194" fmla="*/ 841845 h 2455817"/>
                <a:gd name="connsiteX1195" fmla="*/ 808312 w 4919004"/>
                <a:gd name="connsiteY1195" fmla="*/ 836911 h 2455817"/>
                <a:gd name="connsiteX1196" fmla="*/ 818723 w 4919004"/>
                <a:gd name="connsiteY1196" fmla="*/ 831977 h 2455817"/>
                <a:gd name="connsiteX1197" fmla="*/ 820795 w 4919004"/>
                <a:gd name="connsiteY1197" fmla="*/ 827043 h 2455817"/>
                <a:gd name="connsiteX1198" fmla="*/ 824989 w 4919004"/>
                <a:gd name="connsiteY1198" fmla="*/ 827043 h 2455817"/>
                <a:gd name="connsiteX1199" fmla="*/ 829084 w 4919004"/>
                <a:gd name="connsiteY1199" fmla="*/ 830299 h 2455817"/>
                <a:gd name="connsiteX1200" fmla="*/ 833279 w 4919004"/>
                <a:gd name="connsiteY1200" fmla="*/ 830299 h 2455817"/>
                <a:gd name="connsiteX1201" fmla="*/ 833279 w 4919004"/>
                <a:gd name="connsiteY1201" fmla="*/ 826944 h 2455817"/>
                <a:gd name="connsiteX1202" fmla="*/ 829084 w 4919004"/>
                <a:gd name="connsiteY1202" fmla="*/ 825365 h 2455817"/>
                <a:gd name="connsiteX1203" fmla="*/ 822867 w 4919004"/>
                <a:gd name="connsiteY1203" fmla="*/ 823737 h 2455817"/>
                <a:gd name="connsiteX1204" fmla="*/ 814529 w 4919004"/>
                <a:gd name="connsiteY1204" fmla="*/ 826944 h 2455817"/>
                <a:gd name="connsiteX1205" fmla="*/ 806240 w 4919004"/>
                <a:gd name="connsiteY1205" fmla="*/ 831878 h 2455817"/>
                <a:gd name="connsiteX1206" fmla="*/ 800023 w 4919004"/>
                <a:gd name="connsiteY1206" fmla="*/ 835135 h 2455817"/>
                <a:gd name="connsiteX1207" fmla="*/ 797951 w 4919004"/>
                <a:gd name="connsiteY1207" fmla="*/ 838342 h 2455817"/>
                <a:gd name="connsiteX1208" fmla="*/ 795878 w 4919004"/>
                <a:gd name="connsiteY1208" fmla="*/ 839970 h 2455817"/>
                <a:gd name="connsiteX1209" fmla="*/ 789612 w 4919004"/>
                <a:gd name="connsiteY1209" fmla="*/ 836714 h 2455817"/>
                <a:gd name="connsiteX1210" fmla="*/ 781323 w 4919004"/>
                <a:gd name="connsiteY1210" fmla="*/ 830299 h 2455817"/>
                <a:gd name="connsiteX1211" fmla="*/ 781323 w 4919004"/>
                <a:gd name="connsiteY1211" fmla="*/ 829954 h 2455817"/>
                <a:gd name="connsiteX1212" fmla="*/ 787540 w 4919004"/>
                <a:gd name="connsiteY1212" fmla="*/ 828326 h 2455817"/>
                <a:gd name="connsiteX1213" fmla="*/ 789612 w 4919004"/>
                <a:gd name="connsiteY1213" fmla="*/ 826747 h 2455817"/>
                <a:gd name="connsiteX1214" fmla="*/ 789612 w 4919004"/>
                <a:gd name="connsiteY1214" fmla="*/ 823490 h 2455817"/>
                <a:gd name="connsiteX1215" fmla="*/ 791684 w 4919004"/>
                <a:gd name="connsiteY1215" fmla="*/ 818556 h 2455817"/>
                <a:gd name="connsiteX1216" fmla="*/ 795878 w 4919004"/>
                <a:gd name="connsiteY1216" fmla="*/ 813622 h 2455817"/>
                <a:gd name="connsiteX1217" fmla="*/ 797951 w 4919004"/>
                <a:gd name="connsiteY1217" fmla="*/ 815251 h 2455817"/>
                <a:gd name="connsiteX1218" fmla="*/ 802095 w 4919004"/>
                <a:gd name="connsiteY1218" fmla="*/ 813622 h 2455817"/>
                <a:gd name="connsiteX1219" fmla="*/ 802095 w 4919004"/>
                <a:gd name="connsiteY1219" fmla="*/ 810415 h 2455817"/>
                <a:gd name="connsiteX1220" fmla="*/ 800023 w 4919004"/>
                <a:gd name="connsiteY1220" fmla="*/ 808787 h 2455817"/>
                <a:gd name="connsiteX1221" fmla="*/ 800023 w 4919004"/>
                <a:gd name="connsiteY1221" fmla="*/ 805580 h 2455817"/>
                <a:gd name="connsiteX1222" fmla="*/ 802095 w 4919004"/>
                <a:gd name="connsiteY1222" fmla="*/ 802373 h 2455817"/>
                <a:gd name="connsiteX1223" fmla="*/ 804168 w 4919004"/>
                <a:gd name="connsiteY1223" fmla="*/ 799116 h 2455817"/>
                <a:gd name="connsiteX1224" fmla="*/ 808312 w 4919004"/>
                <a:gd name="connsiteY1224" fmla="*/ 795909 h 2455817"/>
                <a:gd name="connsiteX1225" fmla="*/ 814727 w 4919004"/>
                <a:gd name="connsiteY1225" fmla="*/ 795909 h 2455817"/>
                <a:gd name="connsiteX1226" fmla="*/ 820992 w 4919004"/>
                <a:gd name="connsiteY1226" fmla="*/ 799116 h 2455817"/>
                <a:gd name="connsiteX1227" fmla="*/ 827259 w 4919004"/>
                <a:gd name="connsiteY1227" fmla="*/ 799116 h 2455817"/>
                <a:gd name="connsiteX1228" fmla="*/ 833476 w 4919004"/>
                <a:gd name="connsiteY1228" fmla="*/ 800745 h 2455817"/>
                <a:gd name="connsiteX1229" fmla="*/ 837620 w 4919004"/>
                <a:gd name="connsiteY1229" fmla="*/ 805679 h 2455817"/>
                <a:gd name="connsiteX1230" fmla="*/ 837620 w 4919004"/>
                <a:gd name="connsiteY1230" fmla="*/ 800745 h 2455817"/>
                <a:gd name="connsiteX1231" fmla="*/ 831404 w 4919004"/>
                <a:gd name="connsiteY1231" fmla="*/ 799116 h 2455817"/>
                <a:gd name="connsiteX1232" fmla="*/ 823065 w 4919004"/>
                <a:gd name="connsiteY1232" fmla="*/ 792653 h 2455817"/>
                <a:gd name="connsiteX1233" fmla="*/ 812703 w 4919004"/>
                <a:gd name="connsiteY1233" fmla="*/ 792653 h 2455817"/>
                <a:gd name="connsiteX1234" fmla="*/ 810631 w 4919004"/>
                <a:gd name="connsiteY1234" fmla="*/ 791074 h 2455817"/>
                <a:gd name="connsiteX1235" fmla="*/ 810631 w 4919004"/>
                <a:gd name="connsiteY1235" fmla="*/ 787817 h 2455817"/>
                <a:gd name="connsiteX1236" fmla="*/ 816848 w 4919004"/>
                <a:gd name="connsiteY1236" fmla="*/ 786239 h 2455817"/>
                <a:gd name="connsiteX1237" fmla="*/ 823065 w 4919004"/>
                <a:gd name="connsiteY1237" fmla="*/ 784610 h 2455817"/>
                <a:gd name="connsiteX1238" fmla="*/ 823065 w 4919004"/>
                <a:gd name="connsiteY1238" fmla="*/ 782982 h 2455817"/>
                <a:gd name="connsiteX1239" fmla="*/ 808263 w 4919004"/>
                <a:gd name="connsiteY1239" fmla="*/ 782982 h 2455817"/>
                <a:gd name="connsiteX1240" fmla="*/ 806190 w 4919004"/>
                <a:gd name="connsiteY1240" fmla="*/ 781403 h 2455817"/>
                <a:gd name="connsiteX1241" fmla="*/ 806190 w 4919004"/>
                <a:gd name="connsiteY1241" fmla="*/ 778147 h 2455817"/>
                <a:gd name="connsiteX1242" fmla="*/ 810385 w 4919004"/>
                <a:gd name="connsiteY1242" fmla="*/ 774940 h 2455817"/>
                <a:gd name="connsiteX1243" fmla="*/ 818673 w 4919004"/>
                <a:gd name="connsiteY1243" fmla="*/ 774940 h 2455817"/>
                <a:gd name="connsiteX1244" fmla="*/ 827012 w 4919004"/>
                <a:gd name="connsiteY1244" fmla="*/ 773311 h 2455817"/>
                <a:gd name="connsiteX1245" fmla="*/ 829035 w 4919004"/>
                <a:gd name="connsiteY1245" fmla="*/ 770104 h 2455817"/>
                <a:gd name="connsiteX1246" fmla="*/ 824940 w 4919004"/>
                <a:gd name="connsiteY1246" fmla="*/ 768476 h 2455817"/>
                <a:gd name="connsiteX1247" fmla="*/ 820746 w 4919004"/>
                <a:gd name="connsiteY1247" fmla="*/ 770104 h 2455817"/>
                <a:gd name="connsiteX1248" fmla="*/ 816602 w 4919004"/>
                <a:gd name="connsiteY1248" fmla="*/ 768476 h 2455817"/>
                <a:gd name="connsiteX1249" fmla="*/ 810385 w 4919004"/>
                <a:gd name="connsiteY1249" fmla="*/ 766897 h 2455817"/>
                <a:gd name="connsiteX1250" fmla="*/ 808263 w 4919004"/>
                <a:gd name="connsiteY1250" fmla="*/ 760434 h 2455817"/>
                <a:gd name="connsiteX1251" fmla="*/ 810385 w 4919004"/>
                <a:gd name="connsiteY1251" fmla="*/ 755499 h 2455817"/>
                <a:gd name="connsiteX1252" fmla="*/ 814480 w 4919004"/>
                <a:gd name="connsiteY1252" fmla="*/ 757128 h 2455817"/>
                <a:gd name="connsiteX1253" fmla="*/ 818673 w 4919004"/>
                <a:gd name="connsiteY1253" fmla="*/ 753871 h 2455817"/>
                <a:gd name="connsiteX1254" fmla="*/ 827012 w 4919004"/>
                <a:gd name="connsiteY1254" fmla="*/ 753871 h 2455817"/>
                <a:gd name="connsiteX1255" fmla="*/ 833229 w 4919004"/>
                <a:gd name="connsiteY1255" fmla="*/ 752292 h 2455817"/>
                <a:gd name="connsiteX1256" fmla="*/ 835301 w 4919004"/>
                <a:gd name="connsiteY1256" fmla="*/ 749036 h 2455817"/>
                <a:gd name="connsiteX1257" fmla="*/ 833229 w 4919004"/>
                <a:gd name="connsiteY1257" fmla="*/ 747457 h 2455817"/>
                <a:gd name="connsiteX1258" fmla="*/ 829035 w 4919004"/>
                <a:gd name="connsiteY1258" fmla="*/ 749036 h 2455817"/>
                <a:gd name="connsiteX1259" fmla="*/ 820746 w 4919004"/>
                <a:gd name="connsiteY1259" fmla="*/ 749036 h 2455817"/>
                <a:gd name="connsiteX1260" fmla="*/ 818673 w 4919004"/>
                <a:gd name="connsiteY1260" fmla="*/ 747457 h 2455817"/>
                <a:gd name="connsiteX1261" fmla="*/ 814480 w 4919004"/>
                <a:gd name="connsiteY1261" fmla="*/ 747457 h 2455817"/>
                <a:gd name="connsiteX1262" fmla="*/ 812456 w 4919004"/>
                <a:gd name="connsiteY1262" fmla="*/ 750664 h 2455817"/>
                <a:gd name="connsiteX1263" fmla="*/ 808263 w 4919004"/>
                <a:gd name="connsiteY1263" fmla="*/ 749036 h 2455817"/>
                <a:gd name="connsiteX1264" fmla="*/ 806190 w 4919004"/>
                <a:gd name="connsiteY1264" fmla="*/ 745829 h 2455817"/>
                <a:gd name="connsiteX1265" fmla="*/ 810385 w 4919004"/>
                <a:gd name="connsiteY1265" fmla="*/ 739365 h 2455817"/>
                <a:gd name="connsiteX1266" fmla="*/ 808263 w 4919004"/>
                <a:gd name="connsiteY1266" fmla="*/ 736158 h 2455817"/>
                <a:gd name="connsiteX1267" fmla="*/ 806190 w 4919004"/>
                <a:gd name="connsiteY1267" fmla="*/ 734530 h 2455817"/>
                <a:gd name="connsiteX1268" fmla="*/ 802046 w 4919004"/>
                <a:gd name="connsiteY1268" fmla="*/ 736158 h 2455817"/>
                <a:gd name="connsiteX1269" fmla="*/ 795829 w 4919004"/>
                <a:gd name="connsiteY1269" fmla="*/ 731224 h 2455817"/>
                <a:gd name="connsiteX1270" fmla="*/ 793708 w 4919004"/>
                <a:gd name="connsiteY1270" fmla="*/ 724760 h 2455817"/>
                <a:gd name="connsiteX1271" fmla="*/ 795829 w 4919004"/>
                <a:gd name="connsiteY1271" fmla="*/ 716718 h 2455817"/>
                <a:gd name="connsiteX1272" fmla="*/ 799974 w 4919004"/>
                <a:gd name="connsiteY1272" fmla="*/ 716718 h 2455817"/>
                <a:gd name="connsiteX1273" fmla="*/ 802046 w 4919004"/>
                <a:gd name="connsiteY1273" fmla="*/ 719925 h 2455817"/>
                <a:gd name="connsiteX1274" fmla="*/ 804118 w 4919004"/>
                <a:gd name="connsiteY1274" fmla="*/ 724859 h 2455817"/>
                <a:gd name="connsiteX1275" fmla="*/ 810385 w 4919004"/>
                <a:gd name="connsiteY1275" fmla="*/ 726487 h 2455817"/>
                <a:gd name="connsiteX1276" fmla="*/ 816602 w 4919004"/>
                <a:gd name="connsiteY1276" fmla="*/ 721553 h 2455817"/>
                <a:gd name="connsiteX1277" fmla="*/ 818673 w 4919004"/>
                <a:gd name="connsiteY1277" fmla="*/ 716619 h 2455817"/>
                <a:gd name="connsiteX1278" fmla="*/ 818673 w 4919004"/>
                <a:gd name="connsiteY1278" fmla="*/ 711685 h 2455817"/>
                <a:gd name="connsiteX1279" fmla="*/ 820746 w 4919004"/>
                <a:gd name="connsiteY1279" fmla="*/ 708429 h 2455817"/>
                <a:gd name="connsiteX1280" fmla="*/ 829035 w 4919004"/>
                <a:gd name="connsiteY1280" fmla="*/ 705222 h 2455817"/>
                <a:gd name="connsiteX1281" fmla="*/ 837374 w 4919004"/>
                <a:gd name="connsiteY1281" fmla="*/ 706801 h 2455817"/>
                <a:gd name="connsiteX1282" fmla="*/ 841567 w 4919004"/>
                <a:gd name="connsiteY1282" fmla="*/ 708429 h 2455817"/>
                <a:gd name="connsiteX1283" fmla="*/ 847784 w 4919004"/>
                <a:gd name="connsiteY1283" fmla="*/ 703495 h 2455817"/>
                <a:gd name="connsiteX1284" fmla="*/ 845712 w 4919004"/>
                <a:gd name="connsiteY1284" fmla="*/ 698561 h 2455817"/>
                <a:gd name="connsiteX1285" fmla="*/ 847784 w 4919004"/>
                <a:gd name="connsiteY1285" fmla="*/ 695354 h 2455817"/>
                <a:gd name="connsiteX1286" fmla="*/ 845712 w 4919004"/>
                <a:gd name="connsiteY1286" fmla="*/ 693725 h 2455817"/>
                <a:gd name="connsiteX1287" fmla="*/ 837374 w 4919004"/>
                <a:gd name="connsiteY1287" fmla="*/ 693725 h 2455817"/>
                <a:gd name="connsiteX1288" fmla="*/ 835301 w 4919004"/>
                <a:gd name="connsiteY1288" fmla="*/ 688791 h 2455817"/>
                <a:gd name="connsiteX1289" fmla="*/ 837374 w 4919004"/>
                <a:gd name="connsiteY1289" fmla="*/ 680749 h 2455817"/>
                <a:gd name="connsiteX1290" fmla="*/ 841567 w 4919004"/>
                <a:gd name="connsiteY1290" fmla="*/ 679121 h 2455817"/>
                <a:gd name="connsiteX1291" fmla="*/ 851929 w 4919004"/>
                <a:gd name="connsiteY1291" fmla="*/ 679121 h 2455817"/>
                <a:gd name="connsiteX1292" fmla="*/ 856123 w 4919004"/>
                <a:gd name="connsiteY1292" fmla="*/ 674187 h 2455817"/>
                <a:gd name="connsiteX1293" fmla="*/ 851929 w 4919004"/>
                <a:gd name="connsiteY1293" fmla="*/ 672558 h 2455817"/>
                <a:gd name="connsiteX1294" fmla="*/ 849857 w 4919004"/>
                <a:gd name="connsiteY1294" fmla="*/ 670980 h 2455817"/>
                <a:gd name="connsiteX1295" fmla="*/ 851929 w 4919004"/>
                <a:gd name="connsiteY1295" fmla="*/ 662888 h 2455817"/>
                <a:gd name="connsiteX1296" fmla="*/ 856123 w 4919004"/>
                <a:gd name="connsiteY1296" fmla="*/ 659681 h 2455817"/>
                <a:gd name="connsiteX1297" fmla="*/ 862339 w 4919004"/>
                <a:gd name="connsiteY1297" fmla="*/ 656424 h 2455817"/>
                <a:gd name="connsiteX1298" fmla="*/ 862339 w 4919004"/>
                <a:gd name="connsiteY1298" fmla="*/ 653217 h 2455817"/>
                <a:gd name="connsiteX1299" fmla="*/ 868556 w 4919004"/>
                <a:gd name="connsiteY1299" fmla="*/ 650010 h 2455817"/>
                <a:gd name="connsiteX1300" fmla="*/ 874823 w 4919004"/>
                <a:gd name="connsiteY1300" fmla="*/ 650010 h 2455817"/>
                <a:gd name="connsiteX1301" fmla="*/ 878967 w 4919004"/>
                <a:gd name="connsiteY1301" fmla="*/ 645076 h 2455817"/>
                <a:gd name="connsiteX1302" fmla="*/ 883112 w 4919004"/>
                <a:gd name="connsiteY1302" fmla="*/ 643448 h 2455817"/>
                <a:gd name="connsiteX1303" fmla="*/ 876895 w 4919004"/>
                <a:gd name="connsiteY1303" fmla="*/ 640240 h 2455817"/>
                <a:gd name="connsiteX1304" fmla="*/ 876895 w 4919004"/>
                <a:gd name="connsiteY1304" fmla="*/ 636984 h 2455817"/>
                <a:gd name="connsiteX1305" fmla="*/ 883112 w 4919004"/>
                <a:gd name="connsiteY1305" fmla="*/ 633777 h 2455817"/>
                <a:gd name="connsiteX1306" fmla="*/ 889379 w 4919004"/>
                <a:gd name="connsiteY1306" fmla="*/ 625734 h 2455817"/>
                <a:gd name="connsiteX1307" fmla="*/ 893523 w 4919004"/>
                <a:gd name="connsiteY1307" fmla="*/ 625734 h 2455817"/>
                <a:gd name="connsiteX1308" fmla="*/ 893523 w 4919004"/>
                <a:gd name="connsiteY1308" fmla="*/ 630668 h 2455817"/>
                <a:gd name="connsiteX1309" fmla="*/ 889379 w 4919004"/>
                <a:gd name="connsiteY1309" fmla="*/ 633876 h 2455817"/>
                <a:gd name="connsiteX1310" fmla="*/ 889379 w 4919004"/>
                <a:gd name="connsiteY1310" fmla="*/ 637083 h 2455817"/>
                <a:gd name="connsiteX1311" fmla="*/ 893523 w 4919004"/>
                <a:gd name="connsiteY1311" fmla="*/ 637083 h 2455817"/>
                <a:gd name="connsiteX1312" fmla="*/ 897667 w 4919004"/>
                <a:gd name="connsiteY1312" fmla="*/ 632149 h 2455817"/>
                <a:gd name="connsiteX1313" fmla="*/ 899789 w 4919004"/>
                <a:gd name="connsiteY1313" fmla="*/ 630570 h 2455817"/>
                <a:gd name="connsiteX1314" fmla="*/ 901812 w 4919004"/>
                <a:gd name="connsiteY1314" fmla="*/ 628942 h 2455817"/>
                <a:gd name="connsiteX1315" fmla="*/ 897667 w 4919004"/>
                <a:gd name="connsiteY1315" fmla="*/ 625734 h 2455817"/>
                <a:gd name="connsiteX1316" fmla="*/ 893523 w 4919004"/>
                <a:gd name="connsiteY1316" fmla="*/ 617643 h 2455817"/>
                <a:gd name="connsiteX1317" fmla="*/ 895595 w 4919004"/>
                <a:gd name="connsiteY1317" fmla="*/ 614435 h 2455817"/>
                <a:gd name="connsiteX1318" fmla="*/ 901812 w 4919004"/>
                <a:gd name="connsiteY1318" fmla="*/ 614435 h 2455817"/>
                <a:gd name="connsiteX1319" fmla="*/ 903934 w 4919004"/>
                <a:gd name="connsiteY1319" fmla="*/ 611228 h 2455817"/>
                <a:gd name="connsiteX1320" fmla="*/ 918736 w 4919004"/>
                <a:gd name="connsiteY1320" fmla="*/ 607972 h 2455817"/>
                <a:gd name="connsiteX1321" fmla="*/ 929147 w 4919004"/>
                <a:gd name="connsiteY1321" fmla="*/ 607972 h 2455817"/>
                <a:gd name="connsiteX1322" fmla="*/ 933291 w 4919004"/>
                <a:gd name="connsiteY1322" fmla="*/ 612906 h 2455817"/>
                <a:gd name="connsiteX1323" fmla="*/ 935363 w 4919004"/>
                <a:gd name="connsiteY1323" fmla="*/ 617840 h 2455817"/>
                <a:gd name="connsiteX1324" fmla="*/ 937436 w 4919004"/>
                <a:gd name="connsiteY1324" fmla="*/ 616261 h 2455817"/>
                <a:gd name="connsiteX1325" fmla="*/ 935363 w 4919004"/>
                <a:gd name="connsiteY1325" fmla="*/ 609797 h 2455817"/>
                <a:gd name="connsiteX1326" fmla="*/ 937436 w 4919004"/>
                <a:gd name="connsiteY1326" fmla="*/ 604863 h 2455817"/>
                <a:gd name="connsiteX1327" fmla="*/ 939508 w 4919004"/>
                <a:gd name="connsiteY1327" fmla="*/ 604863 h 2455817"/>
                <a:gd name="connsiteX1328" fmla="*/ 941580 w 4919004"/>
                <a:gd name="connsiteY1328" fmla="*/ 609797 h 2455817"/>
                <a:gd name="connsiteX1329" fmla="*/ 945725 w 4919004"/>
                <a:gd name="connsiteY1329" fmla="*/ 611426 h 2455817"/>
                <a:gd name="connsiteX1330" fmla="*/ 949919 w 4919004"/>
                <a:gd name="connsiteY1330" fmla="*/ 608169 h 2455817"/>
                <a:gd name="connsiteX1331" fmla="*/ 956136 w 4919004"/>
                <a:gd name="connsiteY1331" fmla="*/ 600127 h 2455817"/>
                <a:gd name="connsiteX1332" fmla="*/ 962402 w 4919004"/>
                <a:gd name="connsiteY1332" fmla="*/ 596870 h 2455817"/>
                <a:gd name="connsiteX1333" fmla="*/ 968619 w 4919004"/>
                <a:gd name="connsiteY1333" fmla="*/ 596870 h 2455817"/>
                <a:gd name="connsiteX1334" fmla="*/ 970691 w 4919004"/>
                <a:gd name="connsiteY1334" fmla="*/ 598499 h 2455817"/>
                <a:gd name="connsiteX1335" fmla="*/ 974836 w 4919004"/>
                <a:gd name="connsiteY1335" fmla="*/ 595291 h 2455817"/>
                <a:gd name="connsiteX1336" fmla="*/ 987368 w 4919004"/>
                <a:gd name="connsiteY1336" fmla="*/ 588828 h 2455817"/>
                <a:gd name="connsiteX1337" fmla="*/ 991513 w 4919004"/>
                <a:gd name="connsiteY1337" fmla="*/ 583894 h 2455817"/>
                <a:gd name="connsiteX1338" fmla="*/ 995657 w 4919004"/>
                <a:gd name="connsiteY1338" fmla="*/ 580687 h 2455817"/>
                <a:gd name="connsiteX1339" fmla="*/ 995657 w 4919004"/>
                <a:gd name="connsiteY1339" fmla="*/ 577430 h 2455817"/>
                <a:gd name="connsiteX1340" fmla="*/ 997730 w 4919004"/>
                <a:gd name="connsiteY1340" fmla="*/ 574223 h 2455817"/>
                <a:gd name="connsiteX1341" fmla="*/ 1003947 w 4919004"/>
                <a:gd name="connsiteY1341" fmla="*/ 574223 h 2455817"/>
                <a:gd name="connsiteX1342" fmla="*/ 1003947 w 4919004"/>
                <a:gd name="connsiteY1342" fmla="*/ 569289 h 2455817"/>
                <a:gd name="connsiteX1343" fmla="*/ 999802 w 4919004"/>
                <a:gd name="connsiteY1343" fmla="*/ 562825 h 2455817"/>
                <a:gd name="connsiteX1344" fmla="*/ 999802 w 4919004"/>
                <a:gd name="connsiteY1344" fmla="*/ 559618 h 2455817"/>
                <a:gd name="connsiteX1345" fmla="*/ 1006068 w 4919004"/>
                <a:gd name="connsiteY1345" fmla="*/ 554684 h 2455817"/>
                <a:gd name="connsiteX1346" fmla="*/ 1006068 w 4919004"/>
                <a:gd name="connsiteY1346" fmla="*/ 551428 h 2455817"/>
                <a:gd name="connsiteX1347" fmla="*/ 1010213 w 4919004"/>
                <a:gd name="connsiteY1347" fmla="*/ 546494 h 2455817"/>
                <a:gd name="connsiteX1348" fmla="*/ 1016479 w 4919004"/>
                <a:gd name="connsiteY1348" fmla="*/ 546494 h 2455817"/>
                <a:gd name="connsiteX1349" fmla="*/ 1020624 w 4919004"/>
                <a:gd name="connsiteY1349" fmla="*/ 543287 h 2455817"/>
                <a:gd name="connsiteX1350" fmla="*/ 1022696 w 4919004"/>
                <a:gd name="connsiteY1350" fmla="*/ 538353 h 2455817"/>
                <a:gd name="connsiteX1351" fmla="*/ 1031034 w 4919004"/>
                <a:gd name="connsiteY1351" fmla="*/ 531889 h 2455817"/>
                <a:gd name="connsiteX1352" fmla="*/ 1037251 w 4919004"/>
                <a:gd name="connsiteY1352" fmla="*/ 531889 h 2455817"/>
                <a:gd name="connsiteX1353" fmla="*/ 1043468 w 4919004"/>
                <a:gd name="connsiteY1353" fmla="*/ 533517 h 2455817"/>
                <a:gd name="connsiteX1354" fmla="*/ 1047613 w 4919004"/>
                <a:gd name="connsiteY1354" fmla="*/ 535145 h 2455817"/>
                <a:gd name="connsiteX1355" fmla="*/ 1047613 w 4919004"/>
                <a:gd name="connsiteY1355" fmla="*/ 531889 h 2455817"/>
                <a:gd name="connsiteX1356" fmla="*/ 3143097 w 4919004"/>
                <a:gd name="connsiteY1356" fmla="*/ 525919 h 2455817"/>
                <a:gd name="connsiteX1357" fmla="*/ 3147292 w 4919004"/>
                <a:gd name="connsiteY1357" fmla="*/ 532333 h 2455817"/>
                <a:gd name="connsiteX1358" fmla="*/ 3149364 w 4919004"/>
                <a:gd name="connsiteY1358" fmla="*/ 537267 h 2455817"/>
                <a:gd name="connsiteX1359" fmla="*/ 3147292 w 4919004"/>
                <a:gd name="connsiteY1359" fmla="*/ 540524 h 2455817"/>
                <a:gd name="connsiteX1360" fmla="*/ 3136880 w 4919004"/>
                <a:gd name="connsiteY1360" fmla="*/ 542102 h 2455817"/>
                <a:gd name="connsiteX1361" fmla="*/ 3136880 w 4919004"/>
                <a:gd name="connsiteY1361" fmla="*/ 545359 h 2455817"/>
                <a:gd name="connsiteX1362" fmla="*/ 3130663 w 4919004"/>
                <a:gd name="connsiteY1362" fmla="*/ 543731 h 2455817"/>
                <a:gd name="connsiteX1363" fmla="*/ 3124397 w 4919004"/>
                <a:gd name="connsiteY1363" fmla="*/ 537267 h 2455817"/>
                <a:gd name="connsiteX1364" fmla="*/ 3132736 w 4919004"/>
                <a:gd name="connsiteY1364" fmla="*/ 535688 h 2455817"/>
                <a:gd name="connsiteX1365" fmla="*/ 3138953 w 4919004"/>
                <a:gd name="connsiteY1365" fmla="*/ 532432 h 2455817"/>
                <a:gd name="connsiteX1366" fmla="*/ 3141075 w 4919004"/>
                <a:gd name="connsiteY1366" fmla="*/ 527498 h 2455817"/>
                <a:gd name="connsiteX1367" fmla="*/ 3916754 w 4919004"/>
                <a:gd name="connsiteY1367" fmla="*/ 488914 h 2455817"/>
                <a:gd name="connsiteX1368" fmla="*/ 3920800 w 4919004"/>
                <a:gd name="connsiteY1368" fmla="*/ 488914 h 2455817"/>
                <a:gd name="connsiteX1369" fmla="*/ 3927017 w 4919004"/>
                <a:gd name="connsiteY1369" fmla="*/ 493848 h 2455817"/>
                <a:gd name="connsiteX1370" fmla="*/ 3929089 w 4919004"/>
                <a:gd name="connsiteY1370" fmla="*/ 501890 h 2455817"/>
                <a:gd name="connsiteX1371" fmla="*/ 3927017 w 4919004"/>
                <a:gd name="connsiteY1371" fmla="*/ 503518 h 2455817"/>
                <a:gd name="connsiteX1372" fmla="*/ 3922872 w 4919004"/>
                <a:gd name="connsiteY1372" fmla="*/ 498584 h 2455817"/>
                <a:gd name="connsiteX1373" fmla="*/ 3916655 w 4919004"/>
                <a:gd name="connsiteY1373" fmla="*/ 490542 h 2455817"/>
                <a:gd name="connsiteX1374" fmla="*/ 3906245 w 4919004"/>
                <a:gd name="connsiteY1374" fmla="*/ 484078 h 2455817"/>
                <a:gd name="connsiteX1375" fmla="*/ 3910389 w 4919004"/>
                <a:gd name="connsiteY1375" fmla="*/ 485707 h 2455817"/>
                <a:gd name="connsiteX1376" fmla="*/ 3912461 w 4919004"/>
                <a:gd name="connsiteY1376" fmla="*/ 492121 h 2455817"/>
                <a:gd name="connsiteX1377" fmla="*/ 3910389 w 4919004"/>
                <a:gd name="connsiteY1377" fmla="*/ 493749 h 2455817"/>
                <a:gd name="connsiteX1378" fmla="*/ 3908317 w 4919004"/>
                <a:gd name="connsiteY1378" fmla="*/ 496956 h 2455817"/>
                <a:gd name="connsiteX1379" fmla="*/ 3904172 w 4919004"/>
                <a:gd name="connsiteY1379" fmla="*/ 493749 h 2455817"/>
                <a:gd name="connsiteX1380" fmla="*/ 3899979 w 4919004"/>
                <a:gd name="connsiteY1380" fmla="*/ 487285 h 2455817"/>
                <a:gd name="connsiteX1381" fmla="*/ 3904172 w 4919004"/>
                <a:gd name="connsiteY1381" fmla="*/ 485707 h 2455817"/>
                <a:gd name="connsiteX1382" fmla="*/ 3918727 w 4919004"/>
                <a:gd name="connsiteY1382" fmla="*/ 479046 h 2455817"/>
                <a:gd name="connsiteX1383" fmla="*/ 3922872 w 4919004"/>
                <a:gd name="connsiteY1383" fmla="*/ 479046 h 2455817"/>
                <a:gd name="connsiteX1384" fmla="*/ 3927017 w 4919004"/>
                <a:gd name="connsiteY1384" fmla="*/ 483980 h 2455817"/>
                <a:gd name="connsiteX1385" fmla="*/ 3927017 w 4919004"/>
                <a:gd name="connsiteY1385" fmla="*/ 488914 h 2455817"/>
                <a:gd name="connsiteX1386" fmla="*/ 3922872 w 4919004"/>
                <a:gd name="connsiteY1386" fmla="*/ 488914 h 2455817"/>
                <a:gd name="connsiteX1387" fmla="*/ 3918727 w 4919004"/>
                <a:gd name="connsiteY1387" fmla="*/ 482253 h 2455817"/>
                <a:gd name="connsiteX1388" fmla="*/ 3927017 w 4919004"/>
                <a:gd name="connsiteY1388" fmla="*/ 472582 h 2455817"/>
                <a:gd name="connsiteX1389" fmla="*/ 3931210 w 4919004"/>
                <a:gd name="connsiteY1389" fmla="*/ 472582 h 2455817"/>
                <a:gd name="connsiteX1390" fmla="*/ 3933284 w 4919004"/>
                <a:gd name="connsiteY1390" fmla="*/ 477516 h 2455817"/>
                <a:gd name="connsiteX1391" fmla="*/ 3931210 w 4919004"/>
                <a:gd name="connsiteY1391" fmla="*/ 482450 h 2455817"/>
                <a:gd name="connsiteX1392" fmla="*/ 3929089 w 4919004"/>
                <a:gd name="connsiteY1392" fmla="*/ 482450 h 2455817"/>
                <a:gd name="connsiteX1393" fmla="*/ 3924944 w 4919004"/>
                <a:gd name="connsiteY1393" fmla="*/ 474210 h 2455817"/>
                <a:gd name="connsiteX1394" fmla="*/ 2317634 w 4919004"/>
                <a:gd name="connsiteY1394" fmla="*/ 472286 h 2455817"/>
                <a:gd name="connsiteX1395" fmla="*/ 2321778 w 4919004"/>
                <a:gd name="connsiteY1395" fmla="*/ 473914 h 2455817"/>
                <a:gd name="connsiteX1396" fmla="*/ 2323900 w 4919004"/>
                <a:gd name="connsiteY1396" fmla="*/ 477121 h 2455817"/>
                <a:gd name="connsiteX1397" fmla="*/ 2325972 w 4919004"/>
                <a:gd name="connsiteY1397" fmla="*/ 483585 h 2455817"/>
                <a:gd name="connsiteX1398" fmla="*/ 2330117 w 4919004"/>
                <a:gd name="connsiteY1398" fmla="*/ 488519 h 2455817"/>
                <a:gd name="connsiteX1399" fmla="*/ 2330117 w 4919004"/>
                <a:gd name="connsiteY1399" fmla="*/ 498387 h 2455817"/>
                <a:gd name="connsiteX1400" fmla="*/ 2334311 w 4919004"/>
                <a:gd name="connsiteY1400" fmla="*/ 503321 h 2455817"/>
                <a:gd name="connsiteX1401" fmla="*/ 2334311 w 4919004"/>
                <a:gd name="connsiteY1401" fmla="*/ 506528 h 2455817"/>
                <a:gd name="connsiteX1402" fmla="*/ 2332189 w 4919004"/>
                <a:gd name="connsiteY1402" fmla="*/ 509785 h 2455817"/>
                <a:gd name="connsiteX1403" fmla="*/ 2330117 w 4919004"/>
                <a:gd name="connsiteY1403" fmla="*/ 514719 h 2455817"/>
                <a:gd name="connsiteX1404" fmla="*/ 2323900 w 4919004"/>
                <a:gd name="connsiteY1404" fmla="*/ 516347 h 2455817"/>
                <a:gd name="connsiteX1405" fmla="*/ 2319755 w 4919004"/>
                <a:gd name="connsiteY1405" fmla="*/ 514719 h 2455817"/>
                <a:gd name="connsiteX1406" fmla="*/ 2313489 w 4919004"/>
                <a:gd name="connsiteY1406" fmla="*/ 513090 h 2455817"/>
                <a:gd name="connsiteX1407" fmla="*/ 2294542 w 4919004"/>
                <a:gd name="connsiteY1407" fmla="*/ 509489 h 2455817"/>
                <a:gd name="connsiteX1408" fmla="*/ 2284131 w 4919004"/>
                <a:gd name="connsiteY1408" fmla="*/ 507860 h 2455817"/>
                <a:gd name="connsiteX1409" fmla="*/ 2279987 w 4919004"/>
                <a:gd name="connsiteY1409" fmla="*/ 504653 h 2455817"/>
                <a:gd name="connsiteX1410" fmla="*/ 2282059 w 4919004"/>
                <a:gd name="connsiteY1410" fmla="*/ 503025 h 2455817"/>
                <a:gd name="connsiteX1411" fmla="*/ 2288276 w 4919004"/>
                <a:gd name="connsiteY1411" fmla="*/ 503025 h 2455817"/>
                <a:gd name="connsiteX1412" fmla="*/ 2292421 w 4919004"/>
                <a:gd name="connsiteY1412" fmla="*/ 499818 h 2455817"/>
                <a:gd name="connsiteX1413" fmla="*/ 2290398 w 4919004"/>
                <a:gd name="connsiteY1413" fmla="*/ 494884 h 2455817"/>
                <a:gd name="connsiteX1414" fmla="*/ 2284131 w 4919004"/>
                <a:gd name="connsiteY1414" fmla="*/ 491627 h 2455817"/>
                <a:gd name="connsiteX1415" fmla="*/ 2282059 w 4919004"/>
                <a:gd name="connsiteY1415" fmla="*/ 485213 h 2455817"/>
                <a:gd name="connsiteX1416" fmla="*/ 2284131 w 4919004"/>
                <a:gd name="connsiteY1416" fmla="*/ 483585 h 2455817"/>
                <a:gd name="connsiteX1417" fmla="*/ 2290398 w 4919004"/>
                <a:gd name="connsiteY1417" fmla="*/ 481957 h 2455817"/>
                <a:gd name="connsiteX1418" fmla="*/ 2302831 w 4919004"/>
                <a:gd name="connsiteY1418" fmla="*/ 475542 h 2455817"/>
                <a:gd name="connsiteX1419" fmla="*/ 2656601 w 4919004"/>
                <a:gd name="connsiteY1419" fmla="*/ 451711 h 2455817"/>
                <a:gd name="connsiteX1420" fmla="*/ 2658674 w 4919004"/>
                <a:gd name="connsiteY1420" fmla="*/ 456645 h 2455817"/>
                <a:gd name="connsiteX1421" fmla="*/ 2656601 w 4919004"/>
                <a:gd name="connsiteY1421" fmla="*/ 463109 h 2455817"/>
                <a:gd name="connsiteX1422" fmla="*/ 2652408 w 4919004"/>
                <a:gd name="connsiteY1422" fmla="*/ 464737 h 2455817"/>
                <a:gd name="connsiteX1423" fmla="*/ 2650335 w 4919004"/>
                <a:gd name="connsiteY1423" fmla="*/ 463010 h 2455817"/>
                <a:gd name="connsiteX1424" fmla="*/ 2646191 w 4919004"/>
                <a:gd name="connsiteY1424" fmla="*/ 463010 h 2455817"/>
                <a:gd name="connsiteX1425" fmla="*/ 2644118 w 4919004"/>
                <a:gd name="connsiteY1425" fmla="*/ 456546 h 2455817"/>
                <a:gd name="connsiteX1426" fmla="*/ 2646191 w 4919004"/>
                <a:gd name="connsiteY1426" fmla="*/ 454967 h 2455817"/>
                <a:gd name="connsiteX1427" fmla="*/ 1791517 w 4919004"/>
                <a:gd name="connsiteY1427" fmla="*/ 443323 h 2455817"/>
                <a:gd name="connsiteX1428" fmla="*/ 1797784 w 4919004"/>
                <a:gd name="connsiteY1428" fmla="*/ 443323 h 2455817"/>
                <a:gd name="connsiteX1429" fmla="*/ 1799856 w 4919004"/>
                <a:gd name="connsiteY1429" fmla="*/ 449787 h 2455817"/>
                <a:gd name="connsiteX1430" fmla="*/ 1797784 w 4919004"/>
                <a:gd name="connsiteY1430" fmla="*/ 451366 h 2455817"/>
                <a:gd name="connsiteX1431" fmla="*/ 1801928 w 4919004"/>
                <a:gd name="connsiteY1431" fmla="*/ 452994 h 2455817"/>
                <a:gd name="connsiteX1432" fmla="*/ 1801928 w 4919004"/>
                <a:gd name="connsiteY1432" fmla="*/ 454622 h 2455817"/>
                <a:gd name="connsiteX1433" fmla="*/ 1797784 w 4919004"/>
                <a:gd name="connsiteY1433" fmla="*/ 459556 h 2455817"/>
                <a:gd name="connsiteX1434" fmla="*/ 1793639 w 4919004"/>
                <a:gd name="connsiteY1434" fmla="*/ 461135 h 2455817"/>
                <a:gd name="connsiteX1435" fmla="*/ 1785300 w 4919004"/>
                <a:gd name="connsiteY1435" fmla="*/ 459556 h 2455817"/>
                <a:gd name="connsiteX1436" fmla="*/ 1781107 w 4919004"/>
                <a:gd name="connsiteY1436" fmla="*/ 461135 h 2455817"/>
                <a:gd name="connsiteX1437" fmla="*/ 1774890 w 4919004"/>
                <a:gd name="connsiteY1437" fmla="*/ 461135 h 2455817"/>
                <a:gd name="connsiteX1438" fmla="*/ 1770745 w 4919004"/>
                <a:gd name="connsiteY1438" fmla="*/ 457928 h 2455817"/>
                <a:gd name="connsiteX1439" fmla="*/ 1764528 w 4919004"/>
                <a:gd name="connsiteY1439" fmla="*/ 459556 h 2455817"/>
                <a:gd name="connsiteX1440" fmla="*/ 1762456 w 4919004"/>
                <a:gd name="connsiteY1440" fmla="*/ 456201 h 2455817"/>
                <a:gd name="connsiteX1441" fmla="*/ 1766551 w 4919004"/>
                <a:gd name="connsiteY1441" fmla="*/ 452994 h 2455817"/>
                <a:gd name="connsiteX1442" fmla="*/ 1770745 w 4919004"/>
                <a:gd name="connsiteY1442" fmla="*/ 452994 h 2455817"/>
                <a:gd name="connsiteX1443" fmla="*/ 1774890 w 4919004"/>
                <a:gd name="connsiteY1443" fmla="*/ 451366 h 2455817"/>
                <a:gd name="connsiteX1444" fmla="*/ 1779083 w 4919004"/>
                <a:gd name="connsiteY1444" fmla="*/ 448158 h 2455817"/>
                <a:gd name="connsiteX1445" fmla="*/ 1781107 w 4919004"/>
                <a:gd name="connsiteY1445" fmla="*/ 448158 h 2455817"/>
                <a:gd name="connsiteX1446" fmla="*/ 1783228 w 4919004"/>
                <a:gd name="connsiteY1446" fmla="*/ 451366 h 2455817"/>
                <a:gd name="connsiteX1447" fmla="*/ 1787373 w 4919004"/>
                <a:gd name="connsiteY1447" fmla="*/ 451366 h 2455817"/>
                <a:gd name="connsiteX1448" fmla="*/ 1789445 w 4919004"/>
                <a:gd name="connsiteY1448" fmla="*/ 449787 h 2455817"/>
                <a:gd name="connsiteX1449" fmla="*/ 1789445 w 4919004"/>
                <a:gd name="connsiteY1449" fmla="*/ 446530 h 2455817"/>
                <a:gd name="connsiteX1450" fmla="*/ 1729151 w 4919004"/>
                <a:gd name="connsiteY1450" fmla="*/ 419146 h 2455817"/>
                <a:gd name="connsiteX1451" fmla="*/ 1733345 w 4919004"/>
                <a:gd name="connsiteY1451" fmla="*/ 420725 h 2455817"/>
                <a:gd name="connsiteX1452" fmla="*/ 1733345 w 4919004"/>
                <a:gd name="connsiteY1452" fmla="*/ 425659 h 2455817"/>
                <a:gd name="connsiteX1453" fmla="*/ 1727079 w 4919004"/>
                <a:gd name="connsiteY1453" fmla="*/ 427288 h 2455817"/>
                <a:gd name="connsiteX1454" fmla="*/ 1720862 w 4919004"/>
                <a:gd name="connsiteY1454" fmla="*/ 427189 h 2455817"/>
                <a:gd name="connsiteX1455" fmla="*/ 1718790 w 4919004"/>
                <a:gd name="connsiteY1455" fmla="*/ 425561 h 2455817"/>
                <a:gd name="connsiteX1456" fmla="*/ 1725007 w 4919004"/>
                <a:gd name="connsiteY1456" fmla="*/ 422354 h 2455817"/>
                <a:gd name="connsiteX1457" fmla="*/ 1760581 w 4919004"/>
                <a:gd name="connsiteY1457" fmla="*/ 411055 h 2455817"/>
                <a:gd name="connsiteX1458" fmla="*/ 1764528 w 4919004"/>
                <a:gd name="connsiteY1458" fmla="*/ 411055 h 2455817"/>
                <a:gd name="connsiteX1459" fmla="*/ 1762456 w 4919004"/>
                <a:gd name="connsiteY1459" fmla="*/ 419146 h 2455817"/>
                <a:gd name="connsiteX1460" fmla="*/ 1766551 w 4919004"/>
                <a:gd name="connsiteY1460" fmla="*/ 420725 h 2455817"/>
                <a:gd name="connsiteX1461" fmla="*/ 1764528 w 4919004"/>
                <a:gd name="connsiteY1461" fmla="*/ 425659 h 2455817"/>
                <a:gd name="connsiteX1462" fmla="*/ 1762456 w 4919004"/>
                <a:gd name="connsiteY1462" fmla="*/ 428916 h 2455817"/>
                <a:gd name="connsiteX1463" fmla="*/ 1760581 w 4919004"/>
                <a:gd name="connsiteY1463" fmla="*/ 422452 h 2455817"/>
                <a:gd name="connsiteX1464" fmla="*/ 1758508 w 4919004"/>
                <a:gd name="connsiteY1464" fmla="*/ 420824 h 2455817"/>
                <a:gd name="connsiteX1465" fmla="*/ 1754364 w 4919004"/>
                <a:gd name="connsiteY1465" fmla="*/ 424080 h 2455817"/>
                <a:gd name="connsiteX1466" fmla="*/ 1750219 w 4919004"/>
                <a:gd name="connsiteY1466" fmla="*/ 425659 h 2455817"/>
                <a:gd name="connsiteX1467" fmla="*/ 1748147 w 4919004"/>
                <a:gd name="connsiteY1467" fmla="*/ 422452 h 2455817"/>
                <a:gd name="connsiteX1468" fmla="*/ 1754364 w 4919004"/>
                <a:gd name="connsiteY1468" fmla="*/ 419245 h 2455817"/>
                <a:gd name="connsiteX1469" fmla="*/ 1756436 w 4919004"/>
                <a:gd name="connsiteY1469" fmla="*/ 414311 h 2455817"/>
                <a:gd name="connsiteX1470" fmla="*/ 1785251 w 4919004"/>
                <a:gd name="connsiteY1470" fmla="*/ 401384 h 2455817"/>
                <a:gd name="connsiteX1471" fmla="*/ 1787373 w 4919004"/>
                <a:gd name="connsiteY1471" fmla="*/ 401384 h 2455817"/>
                <a:gd name="connsiteX1472" fmla="*/ 1789445 w 4919004"/>
                <a:gd name="connsiteY1472" fmla="*/ 406318 h 2455817"/>
                <a:gd name="connsiteX1473" fmla="*/ 1795662 w 4919004"/>
                <a:gd name="connsiteY1473" fmla="*/ 407946 h 2455817"/>
                <a:gd name="connsiteX1474" fmla="*/ 1795662 w 4919004"/>
                <a:gd name="connsiteY1474" fmla="*/ 411153 h 2455817"/>
                <a:gd name="connsiteX1475" fmla="*/ 1791517 w 4919004"/>
                <a:gd name="connsiteY1475" fmla="*/ 412781 h 2455817"/>
                <a:gd name="connsiteX1476" fmla="*/ 1789445 w 4919004"/>
                <a:gd name="connsiteY1476" fmla="*/ 412781 h 2455817"/>
                <a:gd name="connsiteX1477" fmla="*/ 1787323 w 4919004"/>
                <a:gd name="connsiteY1477" fmla="*/ 407946 h 2455817"/>
                <a:gd name="connsiteX1478" fmla="*/ 1783178 w 4919004"/>
                <a:gd name="connsiteY1478" fmla="*/ 403012 h 2455817"/>
                <a:gd name="connsiteX1479" fmla="*/ 4149492 w 4919004"/>
                <a:gd name="connsiteY1479" fmla="*/ 393687 h 2455817"/>
                <a:gd name="connsiteX1480" fmla="*/ 4149492 w 4919004"/>
                <a:gd name="connsiteY1480" fmla="*/ 398621 h 2455817"/>
                <a:gd name="connsiteX1481" fmla="*/ 4145348 w 4919004"/>
                <a:gd name="connsiteY1481" fmla="*/ 401828 h 2455817"/>
                <a:gd name="connsiteX1482" fmla="*/ 4141203 w 4919004"/>
                <a:gd name="connsiteY1482" fmla="*/ 398522 h 2455817"/>
                <a:gd name="connsiteX1483" fmla="*/ 4143275 w 4919004"/>
                <a:gd name="connsiteY1483" fmla="*/ 395315 h 2455817"/>
                <a:gd name="connsiteX1484" fmla="*/ 1783178 w 4919004"/>
                <a:gd name="connsiteY1484" fmla="*/ 391713 h 2455817"/>
                <a:gd name="connsiteX1485" fmla="*/ 1789395 w 4919004"/>
                <a:gd name="connsiteY1485" fmla="*/ 393341 h 2455817"/>
                <a:gd name="connsiteX1486" fmla="*/ 1785251 w 4919004"/>
                <a:gd name="connsiteY1486" fmla="*/ 398275 h 2455817"/>
                <a:gd name="connsiteX1487" fmla="*/ 1777011 w 4919004"/>
                <a:gd name="connsiteY1487" fmla="*/ 398275 h 2455817"/>
                <a:gd name="connsiteX1488" fmla="*/ 1776962 w 4919004"/>
                <a:gd name="connsiteY1488" fmla="*/ 396548 h 2455817"/>
                <a:gd name="connsiteX1489" fmla="*/ 1779034 w 4919004"/>
                <a:gd name="connsiteY1489" fmla="*/ 393341 h 2455817"/>
                <a:gd name="connsiteX1490" fmla="*/ 1550490 w 4919004"/>
                <a:gd name="connsiteY1490" fmla="*/ 390529 h 2455817"/>
                <a:gd name="connsiteX1491" fmla="*/ 1554634 w 4919004"/>
                <a:gd name="connsiteY1491" fmla="*/ 392108 h 2455817"/>
                <a:gd name="connsiteX1492" fmla="*/ 1560851 w 4919004"/>
                <a:gd name="connsiteY1492" fmla="*/ 395364 h 2455817"/>
                <a:gd name="connsiteX1493" fmla="*/ 1560851 w 4919004"/>
                <a:gd name="connsiteY1493" fmla="*/ 403407 h 2455817"/>
                <a:gd name="connsiteX1494" fmla="*/ 1558828 w 4919004"/>
                <a:gd name="connsiteY1494" fmla="*/ 406614 h 2455817"/>
                <a:gd name="connsiteX1495" fmla="*/ 1552562 w 4919004"/>
                <a:gd name="connsiteY1495" fmla="*/ 409870 h 2455817"/>
                <a:gd name="connsiteX1496" fmla="*/ 1548417 w 4919004"/>
                <a:gd name="connsiteY1496" fmla="*/ 409870 h 2455817"/>
                <a:gd name="connsiteX1497" fmla="*/ 1548417 w 4919004"/>
                <a:gd name="connsiteY1497" fmla="*/ 404936 h 2455817"/>
                <a:gd name="connsiteX1498" fmla="*/ 1548417 w 4919004"/>
                <a:gd name="connsiteY1498" fmla="*/ 400200 h 2455817"/>
                <a:gd name="connsiteX1499" fmla="*/ 1546295 w 4919004"/>
                <a:gd name="connsiteY1499" fmla="*/ 393736 h 2455817"/>
                <a:gd name="connsiteX1500" fmla="*/ 3802235 w 4919004"/>
                <a:gd name="connsiteY1500" fmla="*/ 388703 h 2455817"/>
                <a:gd name="connsiteX1501" fmla="*/ 3800212 w 4919004"/>
                <a:gd name="connsiteY1501" fmla="*/ 390332 h 2455817"/>
                <a:gd name="connsiteX1502" fmla="*/ 3796018 w 4919004"/>
                <a:gd name="connsiteY1502" fmla="*/ 390332 h 2455817"/>
                <a:gd name="connsiteX1503" fmla="*/ 4082981 w 4919004"/>
                <a:gd name="connsiteY1503" fmla="*/ 387026 h 2455817"/>
                <a:gd name="connsiteX1504" fmla="*/ 4091271 w 4919004"/>
                <a:gd name="connsiteY1504" fmla="*/ 387026 h 2455817"/>
                <a:gd name="connsiteX1505" fmla="*/ 4097537 w 4919004"/>
                <a:gd name="connsiteY1505" fmla="*/ 388654 h 2455817"/>
                <a:gd name="connsiteX1506" fmla="*/ 4103754 w 4919004"/>
                <a:gd name="connsiteY1506" fmla="*/ 390282 h 2455817"/>
                <a:gd name="connsiteX1507" fmla="*/ 4105827 w 4919004"/>
                <a:gd name="connsiteY1507" fmla="*/ 387026 h 2455817"/>
                <a:gd name="connsiteX1508" fmla="*/ 4112093 w 4919004"/>
                <a:gd name="connsiteY1508" fmla="*/ 391960 h 2455817"/>
                <a:gd name="connsiteX1509" fmla="*/ 4116237 w 4919004"/>
                <a:gd name="connsiteY1509" fmla="*/ 396894 h 2455817"/>
                <a:gd name="connsiteX1510" fmla="*/ 4112093 w 4919004"/>
                <a:gd name="connsiteY1510" fmla="*/ 400150 h 2455817"/>
                <a:gd name="connsiteX1511" fmla="*/ 4118310 w 4919004"/>
                <a:gd name="connsiteY1511" fmla="*/ 405084 h 2455817"/>
                <a:gd name="connsiteX1512" fmla="*/ 4120382 w 4919004"/>
                <a:gd name="connsiteY1512" fmla="*/ 411499 h 2455817"/>
                <a:gd name="connsiteX1513" fmla="*/ 4116237 w 4919004"/>
                <a:gd name="connsiteY1513" fmla="*/ 417962 h 2455817"/>
                <a:gd name="connsiteX1514" fmla="*/ 4107948 w 4919004"/>
                <a:gd name="connsiteY1514" fmla="*/ 419590 h 2455817"/>
                <a:gd name="connsiteX1515" fmla="*/ 4099610 w 4919004"/>
                <a:gd name="connsiteY1515" fmla="*/ 416334 h 2455817"/>
                <a:gd name="connsiteX1516" fmla="*/ 4094936 w 4919004"/>
                <a:gd name="connsiteY1516" fmla="*/ 413568 h 2455817"/>
                <a:gd name="connsiteX1517" fmla="*/ 4094676 w 4919004"/>
                <a:gd name="connsiteY1517" fmla="*/ 412535 h 2455817"/>
                <a:gd name="connsiteX1518" fmla="*/ 4092771 w 4919004"/>
                <a:gd name="connsiteY1518" fmla="*/ 412288 h 2455817"/>
                <a:gd name="connsiteX1519" fmla="*/ 4091271 w 4919004"/>
                <a:gd name="connsiteY1519" fmla="*/ 411400 h 2455817"/>
                <a:gd name="connsiteX1520" fmla="*/ 4082981 w 4919004"/>
                <a:gd name="connsiteY1520" fmla="*/ 409821 h 2455817"/>
                <a:gd name="connsiteX1521" fmla="*/ 4074643 w 4919004"/>
                <a:gd name="connsiteY1521" fmla="*/ 409821 h 2455817"/>
                <a:gd name="connsiteX1522" fmla="*/ 4072571 w 4919004"/>
                <a:gd name="connsiteY1522" fmla="*/ 408193 h 2455817"/>
                <a:gd name="connsiteX1523" fmla="*/ 4070498 w 4919004"/>
                <a:gd name="connsiteY1523" fmla="*/ 398325 h 2455817"/>
                <a:gd name="connsiteX1524" fmla="*/ 4074643 w 4919004"/>
                <a:gd name="connsiteY1524" fmla="*/ 391861 h 2455817"/>
                <a:gd name="connsiteX1525" fmla="*/ 4078838 w 4919004"/>
                <a:gd name="connsiteY1525" fmla="*/ 391861 h 2455817"/>
                <a:gd name="connsiteX1526" fmla="*/ 4078838 w 4919004"/>
                <a:gd name="connsiteY1526" fmla="*/ 390282 h 2455817"/>
                <a:gd name="connsiteX1527" fmla="*/ 4082981 w 4919004"/>
                <a:gd name="connsiteY1527" fmla="*/ 388654 h 2455817"/>
                <a:gd name="connsiteX1528" fmla="*/ 1739562 w 4919004"/>
                <a:gd name="connsiteY1528" fmla="*/ 365711 h 2455817"/>
                <a:gd name="connsiteX1529" fmla="*/ 1741634 w 4919004"/>
                <a:gd name="connsiteY1529" fmla="*/ 367339 h 2455817"/>
                <a:gd name="connsiteX1530" fmla="*/ 1741634 w 4919004"/>
                <a:gd name="connsiteY1530" fmla="*/ 375381 h 2455817"/>
                <a:gd name="connsiteX1531" fmla="*/ 1737489 w 4919004"/>
                <a:gd name="connsiteY1531" fmla="*/ 377010 h 2455817"/>
                <a:gd name="connsiteX1532" fmla="*/ 1737489 w 4919004"/>
                <a:gd name="connsiteY1532" fmla="*/ 381944 h 2455817"/>
                <a:gd name="connsiteX1533" fmla="*/ 1731224 w 4919004"/>
                <a:gd name="connsiteY1533" fmla="*/ 388407 h 2455817"/>
                <a:gd name="connsiteX1534" fmla="*/ 1722934 w 4919004"/>
                <a:gd name="connsiteY1534" fmla="*/ 393341 h 2455817"/>
                <a:gd name="connsiteX1535" fmla="*/ 1725007 w 4919004"/>
                <a:gd name="connsiteY1535" fmla="*/ 390134 h 2455817"/>
                <a:gd name="connsiteX1536" fmla="*/ 1725007 w 4919004"/>
                <a:gd name="connsiteY1536" fmla="*/ 386878 h 2455817"/>
                <a:gd name="connsiteX1537" fmla="*/ 1722934 w 4919004"/>
                <a:gd name="connsiteY1537" fmla="*/ 386878 h 2455817"/>
                <a:gd name="connsiteX1538" fmla="*/ 1716668 w 4919004"/>
                <a:gd name="connsiteY1538" fmla="*/ 391812 h 2455817"/>
                <a:gd name="connsiteX1539" fmla="*/ 1710451 w 4919004"/>
                <a:gd name="connsiteY1539" fmla="*/ 395068 h 2455817"/>
                <a:gd name="connsiteX1540" fmla="*/ 1706306 w 4919004"/>
                <a:gd name="connsiteY1540" fmla="*/ 395068 h 2455817"/>
                <a:gd name="connsiteX1541" fmla="*/ 1710451 w 4919004"/>
                <a:gd name="connsiteY1541" fmla="*/ 386779 h 2455817"/>
                <a:gd name="connsiteX1542" fmla="*/ 1716668 w 4919004"/>
                <a:gd name="connsiteY1542" fmla="*/ 378737 h 2455817"/>
                <a:gd name="connsiteX1543" fmla="*/ 1727079 w 4919004"/>
                <a:gd name="connsiteY1543" fmla="*/ 375480 h 2455817"/>
                <a:gd name="connsiteX1544" fmla="*/ 1733345 w 4919004"/>
                <a:gd name="connsiteY1544" fmla="*/ 370546 h 2455817"/>
                <a:gd name="connsiteX1545" fmla="*/ 1735417 w 4919004"/>
                <a:gd name="connsiteY1545" fmla="*/ 367339 h 2455817"/>
                <a:gd name="connsiteX1546" fmla="*/ 1585768 w 4919004"/>
                <a:gd name="connsiteY1546" fmla="*/ 345284 h 2455817"/>
                <a:gd name="connsiteX1547" fmla="*/ 1589913 w 4919004"/>
                <a:gd name="connsiteY1547" fmla="*/ 346863 h 2455817"/>
                <a:gd name="connsiteX1548" fmla="*/ 1592034 w 4919004"/>
                <a:gd name="connsiteY1548" fmla="*/ 350119 h 2455817"/>
                <a:gd name="connsiteX1549" fmla="*/ 1587890 w 4919004"/>
                <a:gd name="connsiteY1549" fmla="*/ 351698 h 2455817"/>
                <a:gd name="connsiteX1550" fmla="*/ 1583696 w 4919004"/>
                <a:gd name="connsiteY1550" fmla="*/ 346863 h 2455817"/>
                <a:gd name="connsiteX1551" fmla="*/ 2897728 w 4919004"/>
                <a:gd name="connsiteY1551" fmla="*/ 339166 h 2455817"/>
                <a:gd name="connsiteX1552" fmla="*/ 2901873 w 4919004"/>
                <a:gd name="connsiteY1552" fmla="*/ 340794 h 2455817"/>
                <a:gd name="connsiteX1553" fmla="*/ 2910211 w 4919004"/>
                <a:gd name="connsiteY1553" fmla="*/ 347208 h 2455817"/>
                <a:gd name="connsiteX1554" fmla="*/ 2918500 w 4919004"/>
                <a:gd name="connsiteY1554" fmla="*/ 347208 h 2455817"/>
                <a:gd name="connsiteX1555" fmla="*/ 2926839 w 4919004"/>
                <a:gd name="connsiteY1555" fmla="*/ 350465 h 2455817"/>
                <a:gd name="connsiteX1556" fmla="*/ 2937200 w 4919004"/>
                <a:gd name="connsiteY1556" fmla="*/ 358507 h 2455817"/>
                <a:gd name="connsiteX1557" fmla="*/ 2937200 w 4919004"/>
                <a:gd name="connsiteY1557" fmla="*/ 361714 h 2455817"/>
                <a:gd name="connsiteX1558" fmla="*/ 2930983 w 4919004"/>
                <a:gd name="connsiteY1558" fmla="*/ 361714 h 2455817"/>
                <a:gd name="connsiteX1559" fmla="*/ 2924766 w 4919004"/>
                <a:gd name="connsiteY1559" fmla="*/ 356780 h 2455817"/>
                <a:gd name="connsiteX1560" fmla="*/ 2916428 w 4919004"/>
                <a:gd name="connsiteY1560" fmla="*/ 355201 h 2455817"/>
                <a:gd name="connsiteX1561" fmla="*/ 2910211 w 4919004"/>
                <a:gd name="connsiteY1561" fmla="*/ 351945 h 2455817"/>
                <a:gd name="connsiteX1562" fmla="*/ 2901922 w 4919004"/>
                <a:gd name="connsiteY1562" fmla="*/ 351945 h 2455817"/>
                <a:gd name="connsiteX1563" fmla="*/ 2897777 w 4919004"/>
                <a:gd name="connsiteY1563" fmla="*/ 347011 h 2455817"/>
                <a:gd name="connsiteX1564" fmla="*/ 2895705 w 4919004"/>
                <a:gd name="connsiteY1564" fmla="*/ 340597 h 2455817"/>
                <a:gd name="connsiteX1565" fmla="*/ 3087244 w 4919004"/>
                <a:gd name="connsiteY1565" fmla="*/ 309364 h 2455817"/>
                <a:gd name="connsiteX1566" fmla="*/ 3091389 w 4919004"/>
                <a:gd name="connsiteY1566" fmla="*/ 309364 h 2455817"/>
                <a:gd name="connsiteX1567" fmla="*/ 3101799 w 4919004"/>
                <a:gd name="connsiteY1567" fmla="*/ 312571 h 2455817"/>
                <a:gd name="connsiteX1568" fmla="*/ 3105944 w 4919004"/>
                <a:gd name="connsiteY1568" fmla="*/ 309364 h 2455817"/>
                <a:gd name="connsiteX1569" fmla="*/ 3112210 w 4919004"/>
                <a:gd name="connsiteY1569" fmla="*/ 309364 h 2455817"/>
                <a:gd name="connsiteX1570" fmla="*/ 3120500 w 4919004"/>
                <a:gd name="connsiteY1570" fmla="*/ 315778 h 2455817"/>
                <a:gd name="connsiteX1571" fmla="*/ 3130910 w 4919004"/>
                <a:gd name="connsiteY1571" fmla="*/ 317407 h 2455817"/>
                <a:gd name="connsiteX1572" fmla="*/ 3139199 w 4919004"/>
                <a:gd name="connsiteY1572" fmla="*/ 319035 h 2455817"/>
                <a:gd name="connsiteX1573" fmla="*/ 3153755 w 4919004"/>
                <a:gd name="connsiteY1573" fmla="*/ 328903 h 2455817"/>
                <a:gd name="connsiteX1574" fmla="*/ 3162094 w 4919004"/>
                <a:gd name="connsiteY1574" fmla="*/ 338771 h 2455817"/>
                <a:gd name="connsiteX1575" fmla="*/ 3166238 w 4919004"/>
                <a:gd name="connsiteY1575" fmla="*/ 345235 h 2455817"/>
                <a:gd name="connsiteX1576" fmla="*/ 3172454 w 4919004"/>
                <a:gd name="connsiteY1576" fmla="*/ 348442 h 2455817"/>
                <a:gd name="connsiteX1577" fmla="*/ 3166238 w 4919004"/>
                <a:gd name="connsiteY1577" fmla="*/ 353376 h 2455817"/>
                <a:gd name="connsiteX1578" fmla="*/ 3147539 w 4919004"/>
                <a:gd name="connsiteY1578" fmla="*/ 353376 h 2455817"/>
                <a:gd name="connsiteX1579" fmla="*/ 3141322 w 4919004"/>
                <a:gd name="connsiteY1579" fmla="*/ 356583 h 2455817"/>
                <a:gd name="connsiteX1580" fmla="*/ 3124644 w 4919004"/>
                <a:gd name="connsiteY1580" fmla="*/ 356583 h 2455817"/>
                <a:gd name="connsiteX1581" fmla="*/ 3114233 w 4919004"/>
                <a:gd name="connsiteY1581" fmla="*/ 358211 h 2455817"/>
                <a:gd name="connsiteX1582" fmla="*/ 3099431 w 4919004"/>
                <a:gd name="connsiteY1582" fmla="*/ 358211 h 2455817"/>
                <a:gd name="connsiteX1583" fmla="*/ 3089070 w 4919004"/>
                <a:gd name="connsiteY1583" fmla="*/ 356583 h 2455817"/>
                <a:gd name="connsiteX1584" fmla="*/ 3076586 w 4919004"/>
                <a:gd name="connsiteY1584" fmla="*/ 361517 h 2455817"/>
                <a:gd name="connsiteX1585" fmla="*/ 3072442 w 4919004"/>
                <a:gd name="connsiteY1585" fmla="*/ 369609 h 2455817"/>
                <a:gd name="connsiteX1586" fmla="*/ 3066176 w 4919004"/>
                <a:gd name="connsiteY1586" fmla="*/ 371188 h 2455817"/>
                <a:gd name="connsiteX1587" fmla="*/ 3062278 w 4919004"/>
                <a:gd name="connsiteY1587" fmla="*/ 370891 h 2455817"/>
                <a:gd name="connsiteX1588" fmla="*/ 3062278 w 4919004"/>
                <a:gd name="connsiteY1588" fmla="*/ 365957 h 2455817"/>
                <a:gd name="connsiteX1589" fmla="*/ 3070567 w 4919004"/>
                <a:gd name="connsiteY1589" fmla="*/ 359543 h 2455817"/>
                <a:gd name="connsiteX1590" fmla="*/ 3074761 w 4919004"/>
                <a:gd name="connsiteY1590" fmla="*/ 345037 h 2455817"/>
                <a:gd name="connsiteX1591" fmla="*/ 3074761 w 4919004"/>
                <a:gd name="connsiteY1591" fmla="*/ 332110 h 2455817"/>
                <a:gd name="connsiteX1592" fmla="*/ 3072689 w 4919004"/>
                <a:gd name="connsiteY1592" fmla="*/ 325646 h 2455817"/>
                <a:gd name="connsiteX1593" fmla="*/ 3080978 w 4919004"/>
                <a:gd name="connsiteY1593" fmla="*/ 315778 h 2455817"/>
                <a:gd name="connsiteX1594" fmla="*/ 3034993 w 4919004"/>
                <a:gd name="connsiteY1594" fmla="*/ 287260 h 2455817"/>
                <a:gd name="connsiteX1595" fmla="*/ 3039187 w 4919004"/>
                <a:gd name="connsiteY1595" fmla="*/ 287260 h 2455817"/>
                <a:gd name="connsiteX1596" fmla="*/ 3043331 w 4919004"/>
                <a:gd name="connsiteY1596" fmla="*/ 295351 h 2455817"/>
                <a:gd name="connsiteX1597" fmla="*/ 3053742 w 4919004"/>
                <a:gd name="connsiteY1597" fmla="*/ 303394 h 2455817"/>
                <a:gd name="connsiteX1598" fmla="*/ 3053742 w 4919004"/>
                <a:gd name="connsiteY1598" fmla="*/ 309857 h 2455817"/>
                <a:gd name="connsiteX1599" fmla="*/ 3051621 w 4919004"/>
                <a:gd name="connsiteY1599" fmla="*/ 314792 h 2455817"/>
                <a:gd name="connsiteX1600" fmla="*/ 3047476 w 4919004"/>
                <a:gd name="connsiteY1600" fmla="*/ 321206 h 2455817"/>
                <a:gd name="connsiteX1601" fmla="*/ 3049548 w 4919004"/>
                <a:gd name="connsiteY1601" fmla="*/ 322834 h 2455817"/>
                <a:gd name="connsiteX1602" fmla="*/ 3045404 w 4919004"/>
                <a:gd name="connsiteY1602" fmla="*/ 326041 h 2455817"/>
                <a:gd name="connsiteX1603" fmla="*/ 3039187 w 4919004"/>
                <a:gd name="connsiteY1603" fmla="*/ 322834 h 2455817"/>
                <a:gd name="connsiteX1604" fmla="*/ 3032920 w 4919004"/>
                <a:gd name="connsiteY1604" fmla="*/ 314792 h 2455817"/>
                <a:gd name="connsiteX1605" fmla="*/ 3026654 w 4919004"/>
                <a:gd name="connsiteY1605" fmla="*/ 313163 h 2455817"/>
                <a:gd name="connsiteX1606" fmla="*/ 3024631 w 4919004"/>
                <a:gd name="connsiteY1606" fmla="*/ 309956 h 2455817"/>
                <a:gd name="connsiteX1607" fmla="*/ 3024631 w 4919004"/>
                <a:gd name="connsiteY1607" fmla="*/ 306700 h 2455817"/>
                <a:gd name="connsiteX1608" fmla="*/ 3020437 w 4919004"/>
                <a:gd name="connsiteY1608" fmla="*/ 300285 h 2455817"/>
                <a:gd name="connsiteX1609" fmla="*/ 3020437 w 4919004"/>
                <a:gd name="connsiteY1609" fmla="*/ 293822 h 2455817"/>
                <a:gd name="connsiteX1610" fmla="*/ 3026654 w 4919004"/>
                <a:gd name="connsiteY1610" fmla="*/ 288888 h 2455817"/>
                <a:gd name="connsiteX1611" fmla="*/ 1980787 w 4919004"/>
                <a:gd name="connsiteY1611" fmla="*/ 277589 h 2455817"/>
                <a:gd name="connsiteX1612" fmla="*/ 1991198 w 4919004"/>
                <a:gd name="connsiteY1612" fmla="*/ 277589 h 2455817"/>
                <a:gd name="connsiteX1613" fmla="*/ 1997464 w 4919004"/>
                <a:gd name="connsiteY1613" fmla="*/ 287457 h 2455817"/>
                <a:gd name="connsiteX1614" fmla="*/ 1995342 w 4919004"/>
                <a:gd name="connsiteY1614" fmla="*/ 293921 h 2455817"/>
                <a:gd name="connsiteX1615" fmla="*/ 1987053 w 4919004"/>
                <a:gd name="connsiteY1615" fmla="*/ 295549 h 2455817"/>
                <a:gd name="connsiteX1616" fmla="*/ 1987053 w 4919004"/>
                <a:gd name="connsiteY1616" fmla="*/ 293921 h 2455817"/>
                <a:gd name="connsiteX1617" fmla="*/ 1989125 w 4919004"/>
                <a:gd name="connsiteY1617" fmla="*/ 290713 h 2455817"/>
                <a:gd name="connsiteX1618" fmla="*/ 1980787 w 4919004"/>
                <a:gd name="connsiteY1618" fmla="*/ 282622 h 2455817"/>
                <a:gd name="connsiteX1619" fmla="*/ 1980787 w 4919004"/>
                <a:gd name="connsiteY1619" fmla="*/ 277688 h 2455817"/>
                <a:gd name="connsiteX1620" fmla="*/ 1117873 w 4919004"/>
                <a:gd name="connsiteY1620" fmla="*/ 270879 h 2455817"/>
                <a:gd name="connsiteX1621" fmla="*/ 1122018 w 4919004"/>
                <a:gd name="connsiteY1621" fmla="*/ 270879 h 2455817"/>
                <a:gd name="connsiteX1622" fmla="*/ 1126163 w 4919004"/>
                <a:gd name="connsiteY1622" fmla="*/ 272507 h 2455817"/>
                <a:gd name="connsiteX1623" fmla="*/ 1132429 w 4919004"/>
                <a:gd name="connsiteY1623" fmla="*/ 274135 h 2455817"/>
                <a:gd name="connsiteX1624" fmla="*/ 1142790 w 4919004"/>
                <a:gd name="connsiteY1624" fmla="*/ 272507 h 2455817"/>
                <a:gd name="connsiteX1625" fmla="*/ 1146984 w 4919004"/>
                <a:gd name="connsiteY1625" fmla="*/ 274135 h 2455817"/>
                <a:gd name="connsiteX1626" fmla="*/ 1144862 w 4919004"/>
                <a:gd name="connsiteY1626" fmla="*/ 277342 h 2455817"/>
                <a:gd name="connsiteX1627" fmla="*/ 1134501 w 4919004"/>
                <a:gd name="connsiteY1627" fmla="*/ 280549 h 2455817"/>
                <a:gd name="connsiteX1628" fmla="*/ 1130307 w 4919004"/>
                <a:gd name="connsiteY1628" fmla="*/ 280549 h 2455817"/>
                <a:gd name="connsiteX1629" fmla="*/ 1126163 w 4919004"/>
                <a:gd name="connsiteY1629" fmla="*/ 277342 h 2455817"/>
                <a:gd name="connsiteX1630" fmla="*/ 1117873 w 4919004"/>
                <a:gd name="connsiteY1630" fmla="*/ 275714 h 2455817"/>
                <a:gd name="connsiteX1631" fmla="*/ 1887731 w 4919004"/>
                <a:gd name="connsiteY1631" fmla="*/ 266931 h 2455817"/>
                <a:gd name="connsiteX1632" fmla="*/ 1891875 w 4919004"/>
                <a:gd name="connsiteY1632" fmla="*/ 266931 h 2455817"/>
                <a:gd name="connsiteX1633" fmla="*/ 1900214 w 4919004"/>
                <a:gd name="connsiteY1633" fmla="*/ 276799 h 2455817"/>
                <a:gd name="connsiteX1634" fmla="*/ 1906431 w 4919004"/>
                <a:gd name="connsiteY1634" fmla="*/ 270336 h 2455817"/>
                <a:gd name="connsiteX1635" fmla="*/ 1912647 w 4919004"/>
                <a:gd name="connsiteY1635" fmla="*/ 270336 h 2455817"/>
                <a:gd name="connsiteX1636" fmla="*/ 1916842 w 4919004"/>
                <a:gd name="connsiteY1636" fmla="*/ 278428 h 2455817"/>
                <a:gd name="connsiteX1637" fmla="*/ 1927203 w 4919004"/>
                <a:gd name="connsiteY1637" fmla="*/ 280007 h 2455817"/>
                <a:gd name="connsiteX1638" fmla="*/ 1937614 w 4919004"/>
                <a:gd name="connsiteY1638" fmla="*/ 273592 h 2455817"/>
                <a:gd name="connsiteX1639" fmla="*/ 1939736 w 4919004"/>
                <a:gd name="connsiteY1639" fmla="*/ 275171 h 2455817"/>
                <a:gd name="connsiteX1640" fmla="*/ 1941758 w 4919004"/>
                <a:gd name="connsiteY1640" fmla="*/ 283263 h 2455817"/>
                <a:gd name="connsiteX1641" fmla="*/ 1943880 w 4919004"/>
                <a:gd name="connsiteY1641" fmla="*/ 286470 h 2455817"/>
                <a:gd name="connsiteX1642" fmla="*/ 1954291 w 4919004"/>
                <a:gd name="connsiteY1642" fmla="*/ 288098 h 2455817"/>
                <a:gd name="connsiteX1643" fmla="*/ 1956314 w 4919004"/>
                <a:gd name="connsiteY1643" fmla="*/ 291306 h 2455817"/>
                <a:gd name="connsiteX1644" fmla="*/ 1948025 w 4919004"/>
                <a:gd name="connsiteY1644" fmla="*/ 294562 h 2455817"/>
                <a:gd name="connsiteX1645" fmla="*/ 1948025 w 4919004"/>
                <a:gd name="connsiteY1645" fmla="*/ 297769 h 2455817"/>
                <a:gd name="connsiteX1646" fmla="*/ 1943880 w 4919004"/>
                <a:gd name="connsiteY1646" fmla="*/ 302703 h 2455817"/>
                <a:gd name="connsiteX1647" fmla="*/ 1945952 w 4919004"/>
                <a:gd name="connsiteY1647" fmla="*/ 309167 h 2455817"/>
                <a:gd name="connsiteX1648" fmla="*/ 1939736 w 4919004"/>
                <a:gd name="connsiteY1648" fmla="*/ 320416 h 2455817"/>
                <a:gd name="connsiteX1649" fmla="*/ 1931397 w 4919004"/>
                <a:gd name="connsiteY1649" fmla="*/ 320416 h 2455817"/>
                <a:gd name="connsiteX1650" fmla="*/ 1925180 w 4919004"/>
                <a:gd name="connsiteY1650" fmla="*/ 328508 h 2455817"/>
                <a:gd name="connsiteX1651" fmla="*/ 1931397 w 4919004"/>
                <a:gd name="connsiteY1651" fmla="*/ 330136 h 2455817"/>
                <a:gd name="connsiteX1652" fmla="*/ 1948025 w 4919004"/>
                <a:gd name="connsiteY1652" fmla="*/ 325202 h 2455817"/>
                <a:gd name="connsiteX1653" fmla="*/ 1958435 w 4919004"/>
                <a:gd name="connsiteY1653" fmla="*/ 310696 h 2455817"/>
                <a:gd name="connsiteX1654" fmla="*/ 1964652 w 4919004"/>
                <a:gd name="connsiteY1654" fmla="*/ 310696 h 2455817"/>
                <a:gd name="connsiteX1655" fmla="*/ 1964652 w 4919004"/>
                <a:gd name="connsiteY1655" fmla="*/ 315630 h 2455817"/>
                <a:gd name="connsiteX1656" fmla="*/ 1960508 w 4919004"/>
                <a:gd name="connsiteY1656" fmla="*/ 322094 h 2455817"/>
                <a:gd name="connsiteX1657" fmla="*/ 1960508 w 4919004"/>
                <a:gd name="connsiteY1657" fmla="*/ 327028 h 2455817"/>
                <a:gd name="connsiteX1658" fmla="*/ 1966725 w 4919004"/>
                <a:gd name="connsiteY1658" fmla="*/ 327028 h 2455817"/>
                <a:gd name="connsiteX1659" fmla="*/ 1972991 w 4919004"/>
                <a:gd name="connsiteY1659" fmla="*/ 317160 h 2455817"/>
                <a:gd name="connsiteX1660" fmla="*/ 1981280 w 4919004"/>
                <a:gd name="connsiteY1660" fmla="*/ 313953 h 2455817"/>
                <a:gd name="connsiteX1661" fmla="*/ 1983402 w 4919004"/>
                <a:gd name="connsiteY1661" fmla="*/ 317160 h 2455817"/>
                <a:gd name="connsiteX1662" fmla="*/ 1993763 w 4919004"/>
                <a:gd name="connsiteY1662" fmla="*/ 317160 h 2455817"/>
                <a:gd name="connsiteX1663" fmla="*/ 1995836 w 4919004"/>
                <a:gd name="connsiteY1663" fmla="*/ 309117 h 2455817"/>
                <a:gd name="connsiteX1664" fmla="*/ 1997957 w 4919004"/>
                <a:gd name="connsiteY1664" fmla="*/ 309117 h 2455817"/>
                <a:gd name="connsiteX1665" fmla="*/ 2004174 w 4919004"/>
                <a:gd name="connsiteY1665" fmla="*/ 312324 h 2455817"/>
                <a:gd name="connsiteX1666" fmla="*/ 2008319 w 4919004"/>
                <a:gd name="connsiteY1666" fmla="*/ 309117 h 2455817"/>
                <a:gd name="connsiteX1667" fmla="*/ 2018729 w 4919004"/>
                <a:gd name="connsiteY1667" fmla="*/ 317160 h 2455817"/>
                <a:gd name="connsiteX1668" fmla="*/ 2018729 w 4919004"/>
                <a:gd name="connsiteY1668" fmla="*/ 323623 h 2455817"/>
                <a:gd name="connsiteX1669" fmla="*/ 2022874 w 4919004"/>
                <a:gd name="connsiteY1669" fmla="*/ 333492 h 2455817"/>
                <a:gd name="connsiteX1670" fmla="*/ 2020802 w 4919004"/>
                <a:gd name="connsiteY1670" fmla="*/ 336699 h 2455817"/>
                <a:gd name="connsiteX1671" fmla="*/ 2020802 w 4919004"/>
                <a:gd name="connsiteY1671" fmla="*/ 343162 h 2455817"/>
                <a:gd name="connsiteX1672" fmla="*/ 2014585 w 4919004"/>
                <a:gd name="connsiteY1672" fmla="*/ 351205 h 2455817"/>
                <a:gd name="connsiteX1673" fmla="*/ 2024946 w 4919004"/>
                <a:gd name="connsiteY1673" fmla="*/ 364132 h 2455817"/>
                <a:gd name="connsiteX1674" fmla="*/ 2022874 w 4919004"/>
                <a:gd name="connsiteY1674" fmla="*/ 370546 h 2455817"/>
                <a:gd name="connsiteX1675" fmla="*/ 2016657 w 4919004"/>
                <a:gd name="connsiteY1675" fmla="*/ 372174 h 2455817"/>
                <a:gd name="connsiteX1676" fmla="*/ 2012513 w 4919004"/>
                <a:gd name="connsiteY1676" fmla="*/ 377108 h 2455817"/>
                <a:gd name="connsiteX1677" fmla="*/ 2016657 w 4919004"/>
                <a:gd name="connsiteY1677" fmla="*/ 378737 h 2455817"/>
                <a:gd name="connsiteX1678" fmla="*/ 2031459 w 4919004"/>
                <a:gd name="connsiteY1678" fmla="*/ 375480 h 2455817"/>
                <a:gd name="connsiteX1679" fmla="*/ 2039748 w 4919004"/>
                <a:gd name="connsiteY1679" fmla="*/ 367438 h 2455817"/>
                <a:gd name="connsiteX1680" fmla="*/ 2050159 w 4919004"/>
                <a:gd name="connsiteY1680" fmla="*/ 367438 h 2455817"/>
                <a:gd name="connsiteX1681" fmla="*/ 2054304 w 4919004"/>
                <a:gd name="connsiteY1681" fmla="*/ 359395 h 2455817"/>
                <a:gd name="connsiteX1682" fmla="*/ 2054304 w 4919004"/>
                <a:gd name="connsiteY1682" fmla="*/ 348096 h 2455817"/>
                <a:gd name="connsiteX1683" fmla="*/ 2050159 w 4919004"/>
                <a:gd name="connsiteY1683" fmla="*/ 340054 h 2455817"/>
                <a:gd name="connsiteX1684" fmla="*/ 2046015 w 4919004"/>
                <a:gd name="connsiteY1684" fmla="*/ 340054 h 2455817"/>
                <a:gd name="connsiteX1685" fmla="*/ 2039748 w 4919004"/>
                <a:gd name="connsiteY1685" fmla="*/ 338426 h 2455817"/>
                <a:gd name="connsiteX1686" fmla="*/ 2039748 w 4919004"/>
                <a:gd name="connsiteY1686" fmla="*/ 331962 h 2455817"/>
                <a:gd name="connsiteX1687" fmla="*/ 2043943 w 4919004"/>
                <a:gd name="connsiteY1687" fmla="*/ 330383 h 2455817"/>
                <a:gd name="connsiteX1688" fmla="*/ 2048087 w 4919004"/>
                <a:gd name="connsiteY1688" fmla="*/ 330383 h 2455817"/>
                <a:gd name="connsiteX1689" fmla="*/ 2052232 w 4919004"/>
                <a:gd name="connsiteY1689" fmla="*/ 331962 h 2455817"/>
                <a:gd name="connsiteX1690" fmla="*/ 2056425 w 4919004"/>
                <a:gd name="connsiteY1690" fmla="*/ 330383 h 2455817"/>
                <a:gd name="connsiteX1691" fmla="*/ 2068859 w 4919004"/>
                <a:gd name="connsiteY1691" fmla="*/ 327127 h 2455817"/>
                <a:gd name="connsiteX1692" fmla="*/ 2077198 w 4919004"/>
                <a:gd name="connsiteY1692" fmla="*/ 319084 h 2455817"/>
                <a:gd name="connsiteX1693" fmla="*/ 2083415 w 4919004"/>
                <a:gd name="connsiteY1693" fmla="*/ 320663 h 2455817"/>
                <a:gd name="connsiteX1694" fmla="*/ 2093826 w 4919004"/>
                <a:gd name="connsiteY1694" fmla="*/ 320663 h 2455817"/>
                <a:gd name="connsiteX1695" fmla="*/ 2095898 w 4919004"/>
                <a:gd name="connsiteY1695" fmla="*/ 314249 h 2455817"/>
                <a:gd name="connsiteX1696" fmla="*/ 2102164 w 4919004"/>
                <a:gd name="connsiteY1696" fmla="*/ 309315 h 2455817"/>
                <a:gd name="connsiteX1697" fmla="*/ 2104187 w 4919004"/>
                <a:gd name="connsiteY1697" fmla="*/ 310894 h 2455817"/>
                <a:gd name="connsiteX1698" fmla="*/ 2110453 w 4919004"/>
                <a:gd name="connsiteY1698" fmla="*/ 305960 h 2455817"/>
                <a:gd name="connsiteX1699" fmla="*/ 2116720 w 4919004"/>
                <a:gd name="connsiteY1699" fmla="*/ 304381 h 2455817"/>
                <a:gd name="connsiteX1700" fmla="*/ 2120864 w 4919004"/>
                <a:gd name="connsiteY1700" fmla="*/ 305960 h 2455817"/>
                <a:gd name="connsiteX1701" fmla="*/ 2127081 w 4919004"/>
                <a:gd name="connsiteY1701" fmla="*/ 305960 h 2455817"/>
                <a:gd name="connsiteX1702" fmla="*/ 2129153 w 4919004"/>
                <a:gd name="connsiteY1702" fmla="*/ 309216 h 2455817"/>
                <a:gd name="connsiteX1703" fmla="*/ 2127081 w 4919004"/>
                <a:gd name="connsiteY1703" fmla="*/ 312423 h 2455817"/>
                <a:gd name="connsiteX1704" fmla="*/ 2127081 w 4919004"/>
                <a:gd name="connsiteY1704" fmla="*/ 317357 h 2455817"/>
                <a:gd name="connsiteX1705" fmla="*/ 2143709 w 4919004"/>
                <a:gd name="connsiteY1705" fmla="*/ 315729 h 2455817"/>
                <a:gd name="connsiteX1706" fmla="*/ 2145830 w 4919004"/>
                <a:gd name="connsiteY1706" fmla="*/ 318985 h 2455817"/>
                <a:gd name="connsiteX1707" fmla="*/ 2154119 w 4919004"/>
                <a:gd name="connsiteY1707" fmla="*/ 320564 h 2455817"/>
                <a:gd name="connsiteX1708" fmla="*/ 2181158 w 4919004"/>
                <a:gd name="connsiteY1708" fmla="*/ 333492 h 2455817"/>
                <a:gd name="connsiteX1709" fmla="*/ 2187375 w 4919004"/>
                <a:gd name="connsiteY1709" fmla="*/ 335120 h 2455817"/>
                <a:gd name="connsiteX1710" fmla="*/ 2189497 w 4919004"/>
                <a:gd name="connsiteY1710" fmla="*/ 341534 h 2455817"/>
                <a:gd name="connsiteX1711" fmla="*/ 2189497 w 4919004"/>
                <a:gd name="connsiteY1711" fmla="*/ 346468 h 2455817"/>
                <a:gd name="connsiteX1712" fmla="*/ 2201930 w 4919004"/>
                <a:gd name="connsiteY1712" fmla="*/ 359395 h 2455817"/>
                <a:gd name="connsiteX1713" fmla="*/ 2206075 w 4919004"/>
                <a:gd name="connsiteY1713" fmla="*/ 357767 h 2455817"/>
                <a:gd name="connsiteX1714" fmla="*/ 2206075 w 4919004"/>
                <a:gd name="connsiteY1714" fmla="*/ 352833 h 2455817"/>
                <a:gd name="connsiteX1715" fmla="*/ 2210269 w 4919004"/>
                <a:gd name="connsiteY1715" fmla="*/ 351205 h 2455817"/>
                <a:gd name="connsiteX1716" fmla="*/ 2210269 w 4919004"/>
                <a:gd name="connsiteY1716" fmla="*/ 347998 h 2455817"/>
                <a:gd name="connsiteX1717" fmla="*/ 2206075 w 4919004"/>
                <a:gd name="connsiteY1717" fmla="*/ 344790 h 2455817"/>
                <a:gd name="connsiteX1718" fmla="*/ 2199858 w 4919004"/>
                <a:gd name="connsiteY1718" fmla="*/ 344790 h 2455817"/>
                <a:gd name="connsiteX1719" fmla="*/ 2199858 w 4919004"/>
                <a:gd name="connsiteY1719" fmla="*/ 338327 h 2455817"/>
                <a:gd name="connsiteX1720" fmla="*/ 2206075 w 4919004"/>
                <a:gd name="connsiteY1720" fmla="*/ 335120 h 2455817"/>
                <a:gd name="connsiteX1721" fmla="*/ 2210269 w 4919004"/>
                <a:gd name="connsiteY1721" fmla="*/ 335120 h 2455817"/>
                <a:gd name="connsiteX1722" fmla="*/ 2214413 w 4919004"/>
                <a:gd name="connsiteY1722" fmla="*/ 340054 h 2455817"/>
                <a:gd name="connsiteX1723" fmla="*/ 2220630 w 4919004"/>
                <a:gd name="connsiteY1723" fmla="*/ 343261 h 2455817"/>
                <a:gd name="connsiteX1724" fmla="*/ 2220630 w 4919004"/>
                <a:gd name="connsiteY1724" fmla="*/ 349724 h 2455817"/>
                <a:gd name="connsiteX1725" fmla="*/ 2228969 w 4919004"/>
                <a:gd name="connsiteY1725" fmla="*/ 357767 h 2455817"/>
                <a:gd name="connsiteX1726" fmla="*/ 2231041 w 4919004"/>
                <a:gd name="connsiteY1726" fmla="*/ 364231 h 2455817"/>
                <a:gd name="connsiteX1727" fmla="*/ 2235185 w 4919004"/>
                <a:gd name="connsiteY1727" fmla="*/ 365809 h 2455817"/>
                <a:gd name="connsiteX1728" fmla="*/ 2239380 w 4919004"/>
                <a:gd name="connsiteY1728" fmla="*/ 364231 h 2455817"/>
                <a:gd name="connsiteX1729" fmla="*/ 2243524 w 4919004"/>
                <a:gd name="connsiteY1729" fmla="*/ 362602 h 2455817"/>
                <a:gd name="connsiteX1730" fmla="*/ 2247718 w 4919004"/>
                <a:gd name="connsiteY1730" fmla="*/ 365809 h 2455817"/>
                <a:gd name="connsiteX1731" fmla="*/ 2251862 w 4919004"/>
                <a:gd name="connsiteY1731" fmla="*/ 372273 h 2455817"/>
                <a:gd name="connsiteX1732" fmla="*/ 2253935 w 4919004"/>
                <a:gd name="connsiteY1732" fmla="*/ 377207 h 2455817"/>
                <a:gd name="connsiteX1733" fmla="*/ 2258079 w 4919004"/>
                <a:gd name="connsiteY1733" fmla="*/ 383671 h 2455817"/>
                <a:gd name="connsiteX1734" fmla="*/ 2258079 w 4919004"/>
                <a:gd name="connsiteY1734" fmla="*/ 388605 h 2455817"/>
                <a:gd name="connsiteX1735" fmla="*/ 2256007 w 4919004"/>
                <a:gd name="connsiteY1735" fmla="*/ 388605 h 2455817"/>
                <a:gd name="connsiteX1736" fmla="*/ 2253935 w 4919004"/>
                <a:gd name="connsiteY1736" fmla="*/ 385398 h 2455817"/>
                <a:gd name="connsiteX1737" fmla="*/ 2251862 w 4919004"/>
                <a:gd name="connsiteY1737" fmla="*/ 382141 h 2455817"/>
                <a:gd name="connsiteX1738" fmla="*/ 2249050 w 4919004"/>
                <a:gd name="connsiteY1738" fmla="*/ 382141 h 2455817"/>
                <a:gd name="connsiteX1739" fmla="*/ 2244906 w 4919004"/>
                <a:gd name="connsiteY1739" fmla="*/ 385398 h 2455817"/>
                <a:gd name="connsiteX1740" fmla="*/ 2238689 w 4919004"/>
                <a:gd name="connsiteY1740" fmla="*/ 380464 h 2455817"/>
                <a:gd name="connsiteX1741" fmla="*/ 2226206 w 4919004"/>
                <a:gd name="connsiteY1741" fmla="*/ 375529 h 2455817"/>
                <a:gd name="connsiteX1742" fmla="*/ 2217916 w 4919004"/>
                <a:gd name="connsiteY1742" fmla="*/ 377158 h 2455817"/>
                <a:gd name="connsiteX1743" fmla="*/ 2215795 w 4919004"/>
                <a:gd name="connsiteY1743" fmla="*/ 378786 h 2455817"/>
                <a:gd name="connsiteX1744" fmla="*/ 2219939 w 4919004"/>
                <a:gd name="connsiteY1744" fmla="*/ 383720 h 2455817"/>
                <a:gd name="connsiteX1745" fmla="*/ 2230350 w 4919004"/>
                <a:gd name="connsiteY1745" fmla="*/ 385348 h 2455817"/>
                <a:gd name="connsiteX1746" fmla="*/ 2232472 w 4919004"/>
                <a:gd name="connsiteY1746" fmla="*/ 386927 h 2455817"/>
                <a:gd name="connsiteX1747" fmla="*/ 2232472 w 4919004"/>
                <a:gd name="connsiteY1747" fmla="*/ 388555 h 2455817"/>
                <a:gd name="connsiteX1748" fmla="*/ 2236616 w 4919004"/>
                <a:gd name="connsiteY1748" fmla="*/ 396598 h 2455817"/>
                <a:gd name="connsiteX1749" fmla="*/ 2240761 w 4919004"/>
                <a:gd name="connsiteY1749" fmla="*/ 398226 h 2455817"/>
                <a:gd name="connsiteX1750" fmla="*/ 2242833 w 4919004"/>
                <a:gd name="connsiteY1750" fmla="*/ 396598 h 2455817"/>
                <a:gd name="connsiteX1751" fmla="*/ 2247027 w 4919004"/>
                <a:gd name="connsiteY1751" fmla="*/ 390184 h 2455817"/>
                <a:gd name="connsiteX1752" fmla="*/ 2249050 w 4919004"/>
                <a:gd name="connsiteY1752" fmla="*/ 390184 h 2455817"/>
                <a:gd name="connsiteX1753" fmla="*/ 2253244 w 4919004"/>
                <a:gd name="connsiteY1753" fmla="*/ 395118 h 2455817"/>
                <a:gd name="connsiteX1754" fmla="*/ 2257388 w 4919004"/>
                <a:gd name="connsiteY1754" fmla="*/ 396696 h 2455817"/>
                <a:gd name="connsiteX1755" fmla="*/ 2261583 w 4919004"/>
                <a:gd name="connsiteY1755" fmla="*/ 395118 h 2455817"/>
                <a:gd name="connsiteX1756" fmla="*/ 2265727 w 4919004"/>
                <a:gd name="connsiteY1756" fmla="*/ 396696 h 2455817"/>
                <a:gd name="connsiteX1757" fmla="*/ 2267800 w 4919004"/>
                <a:gd name="connsiteY1757" fmla="*/ 399953 h 2455817"/>
                <a:gd name="connsiteX1758" fmla="*/ 2265727 w 4919004"/>
                <a:gd name="connsiteY1758" fmla="*/ 403160 h 2455817"/>
                <a:gd name="connsiteX1759" fmla="*/ 2271944 w 4919004"/>
                <a:gd name="connsiteY1759" fmla="*/ 413028 h 2455817"/>
                <a:gd name="connsiteX1760" fmla="*/ 2274017 w 4919004"/>
                <a:gd name="connsiteY1760" fmla="*/ 424327 h 2455817"/>
                <a:gd name="connsiteX1761" fmla="*/ 2274017 w 4919004"/>
                <a:gd name="connsiteY1761" fmla="*/ 435577 h 2455817"/>
                <a:gd name="connsiteX1762" fmla="*/ 2267800 w 4919004"/>
                <a:gd name="connsiteY1762" fmla="*/ 446826 h 2455817"/>
                <a:gd name="connsiteX1763" fmla="*/ 2265727 w 4919004"/>
                <a:gd name="connsiteY1763" fmla="*/ 446826 h 2455817"/>
                <a:gd name="connsiteX1764" fmla="*/ 2263605 w 4919004"/>
                <a:gd name="connsiteY1764" fmla="*/ 451760 h 2455817"/>
                <a:gd name="connsiteX1765" fmla="*/ 2263605 w 4919004"/>
                <a:gd name="connsiteY1765" fmla="*/ 458224 h 2455817"/>
                <a:gd name="connsiteX1766" fmla="*/ 2259461 w 4919004"/>
                <a:gd name="connsiteY1766" fmla="*/ 466266 h 2455817"/>
                <a:gd name="connsiteX1767" fmla="*/ 2259461 w 4919004"/>
                <a:gd name="connsiteY1767" fmla="*/ 467895 h 2455817"/>
                <a:gd name="connsiteX1768" fmla="*/ 2263605 w 4919004"/>
                <a:gd name="connsiteY1768" fmla="*/ 472829 h 2455817"/>
                <a:gd name="connsiteX1769" fmla="*/ 2263605 w 4919004"/>
                <a:gd name="connsiteY1769" fmla="*/ 477763 h 2455817"/>
                <a:gd name="connsiteX1770" fmla="*/ 2255317 w 4919004"/>
                <a:gd name="connsiteY1770" fmla="*/ 481019 h 2455817"/>
                <a:gd name="connsiteX1771" fmla="*/ 2253244 w 4919004"/>
                <a:gd name="connsiteY1771" fmla="*/ 487433 h 2455817"/>
                <a:gd name="connsiteX1772" fmla="*/ 2255317 w 4919004"/>
                <a:gd name="connsiteY1772" fmla="*/ 490690 h 2455817"/>
                <a:gd name="connsiteX1773" fmla="*/ 2249050 w 4919004"/>
                <a:gd name="connsiteY1773" fmla="*/ 500558 h 2455817"/>
                <a:gd name="connsiteX1774" fmla="*/ 2244906 w 4919004"/>
                <a:gd name="connsiteY1774" fmla="*/ 505492 h 2455817"/>
                <a:gd name="connsiteX1775" fmla="*/ 2247027 w 4919004"/>
                <a:gd name="connsiteY1775" fmla="*/ 508699 h 2455817"/>
                <a:gd name="connsiteX1776" fmla="*/ 2242833 w 4919004"/>
                <a:gd name="connsiteY1776" fmla="*/ 515163 h 2455817"/>
                <a:gd name="connsiteX1777" fmla="*/ 2236616 w 4919004"/>
                <a:gd name="connsiteY1777" fmla="*/ 516791 h 2455817"/>
                <a:gd name="connsiteX1778" fmla="*/ 2228278 w 4919004"/>
                <a:gd name="connsiteY1778" fmla="*/ 523205 h 2455817"/>
                <a:gd name="connsiteX1779" fmla="*/ 2219939 w 4919004"/>
                <a:gd name="connsiteY1779" fmla="*/ 523205 h 2455817"/>
                <a:gd name="connsiteX1780" fmla="*/ 2228278 w 4919004"/>
                <a:gd name="connsiteY1780" fmla="*/ 526462 h 2455817"/>
                <a:gd name="connsiteX1781" fmla="*/ 2234248 w 4919004"/>
                <a:gd name="connsiteY1781" fmla="*/ 526462 h 2455817"/>
                <a:gd name="connsiteX1782" fmla="*/ 2238442 w 4919004"/>
                <a:gd name="connsiteY1782" fmla="*/ 521528 h 2455817"/>
                <a:gd name="connsiteX1783" fmla="*/ 2240514 w 4919004"/>
                <a:gd name="connsiteY1783" fmla="*/ 521528 h 2455817"/>
                <a:gd name="connsiteX1784" fmla="*/ 2244659 w 4919004"/>
                <a:gd name="connsiteY1784" fmla="*/ 529570 h 2455817"/>
                <a:gd name="connsiteX1785" fmla="*/ 2238442 w 4919004"/>
                <a:gd name="connsiteY1785" fmla="*/ 540869 h 2455817"/>
                <a:gd name="connsiteX1786" fmla="*/ 2232225 w 4919004"/>
                <a:gd name="connsiteY1786" fmla="*/ 547283 h 2455817"/>
                <a:gd name="connsiteX1787" fmla="*/ 2228031 w 4919004"/>
                <a:gd name="connsiteY1787" fmla="*/ 561839 h 2455817"/>
                <a:gd name="connsiteX1788" fmla="*/ 2232225 w 4919004"/>
                <a:gd name="connsiteY1788" fmla="*/ 568253 h 2455817"/>
                <a:gd name="connsiteX1789" fmla="*/ 2234248 w 4919004"/>
                <a:gd name="connsiteY1789" fmla="*/ 574716 h 2455817"/>
                <a:gd name="connsiteX1790" fmla="*/ 2228031 w 4919004"/>
                <a:gd name="connsiteY1790" fmla="*/ 587594 h 2455817"/>
                <a:gd name="connsiteX1791" fmla="*/ 2217670 w 4919004"/>
                <a:gd name="connsiteY1791" fmla="*/ 590851 h 2455817"/>
                <a:gd name="connsiteX1792" fmla="*/ 2215548 w 4919004"/>
                <a:gd name="connsiteY1792" fmla="*/ 589223 h 2455817"/>
                <a:gd name="connsiteX1793" fmla="*/ 2209331 w 4919004"/>
                <a:gd name="connsiteY1793" fmla="*/ 590851 h 2455817"/>
                <a:gd name="connsiteX1794" fmla="*/ 2207259 w 4919004"/>
                <a:gd name="connsiteY1794" fmla="*/ 594058 h 2455817"/>
                <a:gd name="connsiteX1795" fmla="*/ 2209331 w 4919004"/>
                <a:gd name="connsiteY1795" fmla="*/ 597265 h 2455817"/>
                <a:gd name="connsiteX1796" fmla="*/ 2213476 w 4919004"/>
                <a:gd name="connsiteY1796" fmla="*/ 610192 h 2455817"/>
                <a:gd name="connsiteX1797" fmla="*/ 2211404 w 4919004"/>
                <a:gd name="connsiteY1797" fmla="*/ 615126 h 2455817"/>
                <a:gd name="connsiteX1798" fmla="*/ 2205137 w 4919004"/>
                <a:gd name="connsiteY1798" fmla="*/ 618333 h 2455817"/>
                <a:gd name="connsiteX1799" fmla="*/ 2200993 w 4919004"/>
                <a:gd name="connsiteY1799" fmla="*/ 628201 h 2455817"/>
                <a:gd name="connsiteX1800" fmla="*/ 2205137 w 4919004"/>
                <a:gd name="connsiteY1800" fmla="*/ 636293 h 2455817"/>
                <a:gd name="connsiteX1801" fmla="*/ 2205137 w 4919004"/>
                <a:gd name="connsiteY1801" fmla="*/ 642707 h 2455817"/>
                <a:gd name="connsiteX1802" fmla="*/ 2200993 w 4919004"/>
                <a:gd name="connsiteY1802" fmla="*/ 647641 h 2455817"/>
                <a:gd name="connsiteX1803" fmla="*/ 2203114 w 4919004"/>
                <a:gd name="connsiteY1803" fmla="*/ 652576 h 2455817"/>
                <a:gd name="connsiteX1804" fmla="*/ 2207259 w 4919004"/>
                <a:gd name="connsiteY1804" fmla="*/ 654204 h 2455817"/>
                <a:gd name="connsiteX1805" fmla="*/ 2203114 w 4919004"/>
                <a:gd name="connsiteY1805" fmla="*/ 671966 h 2455817"/>
                <a:gd name="connsiteX1806" fmla="*/ 2196848 w 4919004"/>
                <a:gd name="connsiteY1806" fmla="*/ 675173 h 2455817"/>
                <a:gd name="connsiteX1807" fmla="*/ 2194776 w 4919004"/>
                <a:gd name="connsiteY1807" fmla="*/ 681637 h 2455817"/>
                <a:gd name="connsiteX1808" fmla="*/ 2196848 w 4919004"/>
                <a:gd name="connsiteY1808" fmla="*/ 676703 h 2455817"/>
                <a:gd name="connsiteX1809" fmla="*/ 2205137 w 4919004"/>
                <a:gd name="connsiteY1809" fmla="*/ 676703 h 2455817"/>
                <a:gd name="connsiteX1810" fmla="*/ 2211404 w 4919004"/>
                <a:gd name="connsiteY1810" fmla="*/ 670239 h 2455817"/>
                <a:gd name="connsiteX1811" fmla="*/ 2213476 w 4919004"/>
                <a:gd name="connsiteY1811" fmla="*/ 665305 h 2455817"/>
                <a:gd name="connsiteX1812" fmla="*/ 2213476 w 4919004"/>
                <a:gd name="connsiteY1812" fmla="*/ 662098 h 2455817"/>
                <a:gd name="connsiteX1813" fmla="*/ 2215548 w 4919004"/>
                <a:gd name="connsiteY1813" fmla="*/ 657164 h 2455817"/>
                <a:gd name="connsiteX1814" fmla="*/ 2223887 w 4919004"/>
                <a:gd name="connsiteY1814" fmla="*/ 657164 h 2455817"/>
                <a:gd name="connsiteX1815" fmla="*/ 2230104 w 4919004"/>
                <a:gd name="connsiteY1815" fmla="*/ 655585 h 2455817"/>
                <a:gd name="connsiteX1816" fmla="*/ 2223887 w 4919004"/>
                <a:gd name="connsiteY1816" fmla="*/ 655585 h 2455817"/>
                <a:gd name="connsiteX1817" fmla="*/ 2211404 w 4919004"/>
                <a:gd name="connsiteY1817" fmla="*/ 644286 h 2455817"/>
                <a:gd name="connsiteX1818" fmla="*/ 2209331 w 4919004"/>
                <a:gd name="connsiteY1818" fmla="*/ 636244 h 2455817"/>
                <a:gd name="connsiteX1819" fmla="*/ 2213476 w 4919004"/>
                <a:gd name="connsiteY1819" fmla="*/ 629780 h 2455817"/>
                <a:gd name="connsiteX1820" fmla="*/ 2225959 w 4919004"/>
                <a:gd name="connsiteY1820" fmla="*/ 628152 h 2455817"/>
                <a:gd name="connsiteX1821" fmla="*/ 2238442 w 4919004"/>
                <a:gd name="connsiteY1821" fmla="*/ 626573 h 2455817"/>
                <a:gd name="connsiteX1822" fmla="*/ 2248803 w 4919004"/>
                <a:gd name="connsiteY1822" fmla="*/ 618481 h 2455817"/>
                <a:gd name="connsiteX1823" fmla="*/ 2252998 w 4919004"/>
                <a:gd name="connsiteY1823" fmla="*/ 618481 h 2455817"/>
                <a:gd name="connsiteX1824" fmla="*/ 2257142 w 4919004"/>
                <a:gd name="connsiteY1824" fmla="*/ 615274 h 2455817"/>
                <a:gd name="connsiteX1825" fmla="*/ 2252998 w 4919004"/>
                <a:gd name="connsiteY1825" fmla="*/ 610340 h 2455817"/>
                <a:gd name="connsiteX1826" fmla="*/ 2265480 w 4919004"/>
                <a:gd name="connsiteY1826" fmla="*/ 603877 h 2455817"/>
                <a:gd name="connsiteX1827" fmla="*/ 2269625 w 4919004"/>
                <a:gd name="connsiteY1827" fmla="*/ 595834 h 2455817"/>
                <a:gd name="connsiteX1828" fmla="*/ 2265480 w 4919004"/>
                <a:gd name="connsiteY1828" fmla="*/ 589371 h 2455817"/>
                <a:gd name="connsiteX1829" fmla="*/ 2265480 w 4919004"/>
                <a:gd name="connsiteY1829" fmla="*/ 587742 h 2455817"/>
                <a:gd name="connsiteX1830" fmla="*/ 2273770 w 4919004"/>
                <a:gd name="connsiteY1830" fmla="*/ 590999 h 2455817"/>
                <a:gd name="connsiteX1831" fmla="*/ 2282108 w 4919004"/>
                <a:gd name="connsiteY1831" fmla="*/ 587742 h 2455817"/>
                <a:gd name="connsiteX1832" fmla="*/ 2286253 w 4919004"/>
                <a:gd name="connsiteY1832" fmla="*/ 581328 h 2455817"/>
                <a:gd name="connsiteX1833" fmla="*/ 2282108 w 4919004"/>
                <a:gd name="connsiteY1833" fmla="*/ 576394 h 2455817"/>
                <a:gd name="connsiteX1834" fmla="*/ 2296910 w 4919004"/>
                <a:gd name="connsiteY1834" fmla="*/ 568302 h 2455817"/>
                <a:gd name="connsiteX1835" fmla="*/ 2296910 w 4919004"/>
                <a:gd name="connsiteY1835" fmla="*/ 561888 h 2455817"/>
                <a:gd name="connsiteX1836" fmla="*/ 2294838 w 4919004"/>
                <a:gd name="connsiteY1836" fmla="*/ 556954 h 2455817"/>
                <a:gd name="connsiteX1837" fmla="*/ 2280036 w 4919004"/>
                <a:gd name="connsiteY1837" fmla="*/ 563418 h 2455817"/>
                <a:gd name="connsiteX1838" fmla="*/ 2280036 w 4919004"/>
                <a:gd name="connsiteY1838" fmla="*/ 566674 h 2455817"/>
                <a:gd name="connsiteX1839" fmla="*/ 2269625 w 4919004"/>
                <a:gd name="connsiteY1839" fmla="*/ 574716 h 2455817"/>
                <a:gd name="connsiteX1840" fmla="*/ 2261336 w 4919004"/>
                <a:gd name="connsiteY1840" fmla="*/ 571509 h 2455817"/>
                <a:gd name="connsiteX1841" fmla="*/ 2257142 w 4919004"/>
                <a:gd name="connsiteY1841" fmla="*/ 563418 h 2455817"/>
                <a:gd name="connsiteX1842" fmla="*/ 2261336 w 4919004"/>
                <a:gd name="connsiteY1842" fmla="*/ 555375 h 2455817"/>
                <a:gd name="connsiteX1843" fmla="*/ 2259215 w 4919004"/>
                <a:gd name="connsiteY1843" fmla="*/ 545507 h 2455817"/>
                <a:gd name="connsiteX1844" fmla="*/ 2267553 w 4919004"/>
                <a:gd name="connsiteY1844" fmla="*/ 540573 h 2455817"/>
                <a:gd name="connsiteX1845" fmla="*/ 2277914 w 4919004"/>
                <a:gd name="connsiteY1845" fmla="*/ 540573 h 2455817"/>
                <a:gd name="connsiteX1846" fmla="*/ 2290447 w 4919004"/>
                <a:gd name="connsiteY1846" fmla="*/ 546987 h 2455817"/>
                <a:gd name="connsiteX1847" fmla="*/ 2294591 w 4919004"/>
                <a:gd name="connsiteY1847" fmla="*/ 542053 h 2455817"/>
                <a:gd name="connsiteX1848" fmla="*/ 2294591 w 4919004"/>
                <a:gd name="connsiteY1848" fmla="*/ 534011 h 2455817"/>
                <a:gd name="connsiteX1849" fmla="*/ 2305002 w 4919004"/>
                <a:gd name="connsiteY1849" fmla="*/ 530804 h 2455817"/>
                <a:gd name="connsiteX1850" fmla="*/ 2305002 w 4919004"/>
                <a:gd name="connsiteY1850" fmla="*/ 535738 h 2455817"/>
                <a:gd name="connsiteX1851" fmla="*/ 2300808 w 4919004"/>
                <a:gd name="connsiteY1851" fmla="*/ 540672 h 2455817"/>
                <a:gd name="connsiteX1852" fmla="*/ 2300808 w 4919004"/>
                <a:gd name="connsiteY1852" fmla="*/ 547086 h 2455817"/>
                <a:gd name="connsiteX1853" fmla="*/ 2321580 w 4919004"/>
                <a:gd name="connsiteY1853" fmla="*/ 560013 h 2455817"/>
                <a:gd name="connsiteX1854" fmla="*/ 2329919 w 4919004"/>
                <a:gd name="connsiteY1854" fmla="*/ 560013 h 2455817"/>
                <a:gd name="connsiteX1855" fmla="*/ 2336186 w 4919004"/>
                <a:gd name="connsiteY1855" fmla="*/ 558385 h 2455817"/>
                <a:gd name="connsiteX1856" fmla="*/ 2348668 w 4919004"/>
                <a:gd name="connsiteY1856" fmla="*/ 556757 h 2455817"/>
                <a:gd name="connsiteX1857" fmla="*/ 2354885 w 4919004"/>
                <a:gd name="connsiteY1857" fmla="*/ 550342 h 2455817"/>
                <a:gd name="connsiteX1858" fmla="*/ 2354885 w 4919004"/>
                <a:gd name="connsiteY1858" fmla="*/ 543879 h 2455817"/>
                <a:gd name="connsiteX1859" fmla="*/ 2342402 w 4919004"/>
                <a:gd name="connsiteY1859" fmla="*/ 532580 h 2455817"/>
                <a:gd name="connsiteX1860" fmla="*/ 2342402 w 4919004"/>
                <a:gd name="connsiteY1860" fmla="*/ 529373 h 2455817"/>
                <a:gd name="connsiteX1861" fmla="*/ 2346547 w 4919004"/>
                <a:gd name="connsiteY1861" fmla="*/ 529373 h 2455817"/>
                <a:gd name="connsiteX1862" fmla="*/ 2361349 w 4919004"/>
                <a:gd name="connsiteY1862" fmla="*/ 542251 h 2455817"/>
                <a:gd name="connsiteX1863" fmla="*/ 2365543 w 4919004"/>
                <a:gd name="connsiteY1863" fmla="*/ 542251 h 2455817"/>
                <a:gd name="connsiteX1864" fmla="*/ 2373832 w 4919004"/>
                <a:gd name="connsiteY1864" fmla="*/ 548714 h 2455817"/>
                <a:gd name="connsiteX1865" fmla="*/ 2371760 w 4919004"/>
                <a:gd name="connsiteY1865" fmla="*/ 553648 h 2455817"/>
                <a:gd name="connsiteX1866" fmla="*/ 2373832 w 4919004"/>
                <a:gd name="connsiteY1866" fmla="*/ 556855 h 2455817"/>
                <a:gd name="connsiteX1867" fmla="*/ 2382121 w 4919004"/>
                <a:gd name="connsiteY1867" fmla="*/ 563319 h 2455817"/>
                <a:gd name="connsiteX1868" fmla="*/ 2384243 w 4919004"/>
                <a:gd name="connsiteY1868" fmla="*/ 576246 h 2455817"/>
                <a:gd name="connsiteX1869" fmla="*/ 2386315 w 4919004"/>
                <a:gd name="connsiteY1869" fmla="*/ 577825 h 2455817"/>
                <a:gd name="connsiteX1870" fmla="*/ 2386315 w 4919004"/>
                <a:gd name="connsiteY1870" fmla="*/ 574618 h 2455817"/>
                <a:gd name="connsiteX1871" fmla="*/ 2392581 w 4919004"/>
                <a:gd name="connsiteY1871" fmla="*/ 568154 h 2455817"/>
                <a:gd name="connsiteX1872" fmla="*/ 2396677 w 4919004"/>
                <a:gd name="connsiteY1872" fmla="*/ 568154 h 2455817"/>
                <a:gd name="connsiteX1873" fmla="*/ 2400871 w 4919004"/>
                <a:gd name="connsiteY1873" fmla="*/ 563220 h 2455817"/>
                <a:gd name="connsiteX1874" fmla="*/ 2396677 w 4919004"/>
                <a:gd name="connsiteY1874" fmla="*/ 561641 h 2455817"/>
                <a:gd name="connsiteX1875" fmla="*/ 2392581 w 4919004"/>
                <a:gd name="connsiteY1875" fmla="*/ 563220 h 2455817"/>
                <a:gd name="connsiteX1876" fmla="*/ 2386315 w 4919004"/>
                <a:gd name="connsiteY1876" fmla="*/ 561641 h 2455817"/>
                <a:gd name="connsiteX1877" fmla="*/ 2382121 w 4919004"/>
                <a:gd name="connsiteY1877" fmla="*/ 553549 h 2455817"/>
                <a:gd name="connsiteX1878" fmla="*/ 2390460 w 4919004"/>
                <a:gd name="connsiteY1878" fmla="*/ 547086 h 2455817"/>
                <a:gd name="connsiteX1879" fmla="*/ 2398798 w 4919004"/>
                <a:gd name="connsiteY1879" fmla="*/ 542152 h 2455817"/>
                <a:gd name="connsiteX1880" fmla="*/ 2402943 w 4919004"/>
                <a:gd name="connsiteY1880" fmla="*/ 538945 h 2455817"/>
                <a:gd name="connsiteX1881" fmla="*/ 2407137 w 4919004"/>
                <a:gd name="connsiteY1881" fmla="*/ 538945 h 2455817"/>
                <a:gd name="connsiteX1882" fmla="*/ 2409209 w 4919004"/>
                <a:gd name="connsiteY1882" fmla="*/ 534011 h 2455817"/>
                <a:gd name="connsiteX1883" fmla="*/ 2424011 w 4919004"/>
                <a:gd name="connsiteY1883" fmla="*/ 532382 h 2455817"/>
                <a:gd name="connsiteX1884" fmla="*/ 2448681 w 4919004"/>
                <a:gd name="connsiteY1884" fmla="*/ 525968 h 2455817"/>
                <a:gd name="connsiteX1885" fmla="*/ 2477792 w 4919004"/>
                <a:gd name="connsiteY1885" fmla="*/ 525968 h 2455817"/>
                <a:gd name="connsiteX1886" fmla="*/ 2498564 w 4919004"/>
                <a:gd name="connsiteY1886" fmla="*/ 516100 h 2455817"/>
                <a:gd name="connsiteX1887" fmla="*/ 2508976 w 4919004"/>
                <a:gd name="connsiteY1887" fmla="*/ 516100 h 2455817"/>
                <a:gd name="connsiteX1888" fmla="*/ 2519386 w 4919004"/>
                <a:gd name="connsiteY1888" fmla="*/ 519307 h 2455817"/>
                <a:gd name="connsiteX1889" fmla="*/ 2519386 w 4919004"/>
                <a:gd name="connsiteY1889" fmla="*/ 524241 h 2455817"/>
                <a:gd name="connsiteX1890" fmla="*/ 2517314 w 4919004"/>
                <a:gd name="connsiteY1890" fmla="*/ 525870 h 2455817"/>
                <a:gd name="connsiteX1891" fmla="*/ 2513120 w 4919004"/>
                <a:gd name="connsiteY1891" fmla="*/ 533912 h 2455817"/>
                <a:gd name="connsiteX1892" fmla="*/ 2517314 w 4919004"/>
                <a:gd name="connsiteY1892" fmla="*/ 545211 h 2455817"/>
                <a:gd name="connsiteX1893" fmla="*/ 2525653 w 4919004"/>
                <a:gd name="connsiteY1893" fmla="*/ 551625 h 2455817"/>
                <a:gd name="connsiteX1894" fmla="*/ 2556786 w 4919004"/>
                <a:gd name="connsiteY1894" fmla="*/ 553253 h 2455817"/>
                <a:gd name="connsiteX1895" fmla="*/ 2563052 w 4919004"/>
                <a:gd name="connsiteY1895" fmla="*/ 554882 h 2455817"/>
                <a:gd name="connsiteX1896" fmla="*/ 2567197 w 4919004"/>
                <a:gd name="connsiteY1896" fmla="*/ 553253 h 2455817"/>
                <a:gd name="connsiteX1897" fmla="*/ 2577608 w 4919004"/>
                <a:gd name="connsiteY1897" fmla="*/ 553253 h 2455817"/>
                <a:gd name="connsiteX1898" fmla="*/ 2585897 w 4919004"/>
                <a:gd name="connsiteY1898" fmla="*/ 556461 h 2455817"/>
                <a:gd name="connsiteX1899" fmla="*/ 2608791 w 4919004"/>
                <a:gd name="connsiteY1899" fmla="*/ 553253 h 2455817"/>
                <a:gd name="connsiteX1900" fmla="*/ 2625419 w 4919004"/>
                <a:gd name="connsiteY1900" fmla="*/ 545211 h 2455817"/>
                <a:gd name="connsiteX1901" fmla="*/ 2629563 w 4919004"/>
                <a:gd name="connsiteY1901" fmla="*/ 546790 h 2455817"/>
                <a:gd name="connsiteX1902" fmla="*/ 2637902 w 4919004"/>
                <a:gd name="connsiteY1902" fmla="*/ 546790 h 2455817"/>
                <a:gd name="connsiteX1903" fmla="*/ 2642096 w 4919004"/>
                <a:gd name="connsiteY1903" fmla="*/ 540376 h 2455817"/>
                <a:gd name="connsiteX1904" fmla="*/ 2639974 w 4919004"/>
                <a:gd name="connsiteY1904" fmla="*/ 535442 h 2455817"/>
                <a:gd name="connsiteX1905" fmla="*/ 2646240 w 4919004"/>
                <a:gd name="connsiteY1905" fmla="*/ 535442 h 2455817"/>
                <a:gd name="connsiteX1906" fmla="*/ 2652457 w 4919004"/>
                <a:gd name="connsiteY1906" fmla="*/ 537020 h 2455817"/>
                <a:gd name="connsiteX1907" fmla="*/ 2662868 w 4919004"/>
                <a:gd name="connsiteY1907" fmla="*/ 533813 h 2455817"/>
                <a:gd name="connsiteX1908" fmla="*/ 2664940 w 4919004"/>
                <a:gd name="connsiteY1908" fmla="*/ 538747 h 2455817"/>
                <a:gd name="connsiteX1909" fmla="*/ 2667012 w 4919004"/>
                <a:gd name="connsiteY1909" fmla="*/ 540376 h 2455817"/>
                <a:gd name="connsiteX1910" fmla="*/ 2673279 w 4919004"/>
                <a:gd name="connsiteY1910" fmla="*/ 533912 h 2455817"/>
                <a:gd name="connsiteX1911" fmla="*/ 2671207 w 4919004"/>
                <a:gd name="connsiteY1911" fmla="*/ 528978 h 2455817"/>
                <a:gd name="connsiteX1912" fmla="*/ 2664940 w 4919004"/>
                <a:gd name="connsiteY1912" fmla="*/ 524044 h 2455817"/>
                <a:gd name="connsiteX1913" fmla="*/ 2664940 w 4919004"/>
                <a:gd name="connsiteY1913" fmla="*/ 517580 h 2455817"/>
                <a:gd name="connsiteX1914" fmla="*/ 2660795 w 4919004"/>
                <a:gd name="connsiteY1914" fmla="*/ 512646 h 2455817"/>
                <a:gd name="connsiteX1915" fmla="*/ 2652457 w 4919004"/>
                <a:gd name="connsiteY1915" fmla="*/ 511018 h 2455817"/>
                <a:gd name="connsiteX1916" fmla="*/ 2652457 w 4919004"/>
                <a:gd name="connsiteY1916" fmla="*/ 503173 h 2455817"/>
                <a:gd name="connsiteX1917" fmla="*/ 2648313 w 4919004"/>
                <a:gd name="connsiteY1917" fmla="*/ 501545 h 2455817"/>
                <a:gd name="connsiteX1918" fmla="*/ 2646240 w 4919004"/>
                <a:gd name="connsiteY1918" fmla="*/ 496611 h 2455817"/>
                <a:gd name="connsiteX1919" fmla="*/ 2642096 w 4919004"/>
                <a:gd name="connsiteY1919" fmla="*/ 491677 h 2455817"/>
                <a:gd name="connsiteX1920" fmla="*/ 2639974 w 4919004"/>
                <a:gd name="connsiteY1920" fmla="*/ 483634 h 2455817"/>
                <a:gd name="connsiteX1921" fmla="*/ 2644168 w 4919004"/>
                <a:gd name="connsiteY1921" fmla="*/ 477171 h 2455817"/>
                <a:gd name="connsiteX1922" fmla="*/ 2646240 w 4919004"/>
                <a:gd name="connsiteY1922" fmla="*/ 480427 h 2455817"/>
                <a:gd name="connsiteX1923" fmla="*/ 2648313 w 4919004"/>
                <a:gd name="connsiteY1923" fmla="*/ 483634 h 2455817"/>
                <a:gd name="connsiteX1924" fmla="*/ 2656651 w 4919004"/>
                <a:gd name="connsiteY1924" fmla="*/ 477171 h 2455817"/>
                <a:gd name="connsiteX1925" fmla="*/ 2654530 w 4919004"/>
                <a:gd name="connsiteY1925" fmla="*/ 475592 h 2455817"/>
                <a:gd name="connsiteX1926" fmla="*/ 2654530 w 4919004"/>
                <a:gd name="connsiteY1926" fmla="*/ 469128 h 2455817"/>
                <a:gd name="connsiteX1927" fmla="*/ 2658723 w 4919004"/>
                <a:gd name="connsiteY1927" fmla="*/ 469128 h 2455817"/>
                <a:gd name="connsiteX1928" fmla="*/ 2667012 w 4919004"/>
                <a:gd name="connsiteY1928" fmla="*/ 474062 h 2455817"/>
                <a:gd name="connsiteX1929" fmla="*/ 2673279 w 4919004"/>
                <a:gd name="connsiteY1929" fmla="*/ 472434 h 2455817"/>
                <a:gd name="connsiteX1930" fmla="*/ 2673279 w 4919004"/>
                <a:gd name="connsiteY1930" fmla="*/ 467500 h 2455817"/>
                <a:gd name="connsiteX1931" fmla="*/ 2677423 w 4919004"/>
                <a:gd name="connsiteY1931" fmla="*/ 470707 h 2455817"/>
                <a:gd name="connsiteX1932" fmla="*/ 2685762 w 4919004"/>
                <a:gd name="connsiteY1932" fmla="*/ 470707 h 2455817"/>
                <a:gd name="connsiteX1933" fmla="*/ 2691979 w 4919004"/>
                <a:gd name="connsiteY1933" fmla="*/ 469128 h 2455817"/>
                <a:gd name="connsiteX1934" fmla="*/ 2694051 w 4919004"/>
                <a:gd name="connsiteY1934" fmla="*/ 465872 h 2455817"/>
                <a:gd name="connsiteX1935" fmla="*/ 2700317 w 4919004"/>
                <a:gd name="connsiteY1935" fmla="*/ 470806 h 2455817"/>
                <a:gd name="connsiteX1936" fmla="*/ 2706534 w 4919004"/>
                <a:gd name="connsiteY1936" fmla="*/ 472434 h 2455817"/>
                <a:gd name="connsiteX1937" fmla="*/ 2710679 w 4919004"/>
                <a:gd name="connsiteY1937" fmla="*/ 478898 h 2455817"/>
                <a:gd name="connsiteX1938" fmla="*/ 2714873 w 4919004"/>
                <a:gd name="connsiteY1938" fmla="*/ 475690 h 2455817"/>
                <a:gd name="connsiteX1939" fmla="*/ 2714873 w 4919004"/>
                <a:gd name="connsiteY1939" fmla="*/ 469227 h 2455817"/>
                <a:gd name="connsiteX1940" fmla="*/ 2721090 w 4919004"/>
                <a:gd name="connsiteY1940" fmla="*/ 470806 h 2455817"/>
                <a:gd name="connsiteX1941" fmla="*/ 2725234 w 4919004"/>
                <a:gd name="connsiteY1941" fmla="*/ 477269 h 2455817"/>
                <a:gd name="connsiteX1942" fmla="*/ 2721090 w 4919004"/>
                <a:gd name="connsiteY1942" fmla="*/ 480526 h 2455817"/>
                <a:gd name="connsiteX1943" fmla="*/ 2716945 w 4919004"/>
                <a:gd name="connsiteY1943" fmla="*/ 485460 h 2455817"/>
                <a:gd name="connsiteX1944" fmla="*/ 2721090 w 4919004"/>
                <a:gd name="connsiteY1944" fmla="*/ 487039 h 2455817"/>
                <a:gd name="connsiteX1945" fmla="*/ 2727307 w 4919004"/>
                <a:gd name="connsiteY1945" fmla="*/ 485460 h 2455817"/>
                <a:gd name="connsiteX1946" fmla="*/ 2729378 w 4919004"/>
                <a:gd name="connsiteY1946" fmla="*/ 487039 h 2455817"/>
                <a:gd name="connsiteX1947" fmla="*/ 2729378 w 4919004"/>
                <a:gd name="connsiteY1947" fmla="*/ 482105 h 2455817"/>
                <a:gd name="connsiteX1948" fmla="*/ 2733523 w 4919004"/>
                <a:gd name="connsiteY1948" fmla="*/ 480526 h 2455817"/>
                <a:gd name="connsiteX1949" fmla="*/ 2737717 w 4919004"/>
                <a:gd name="connsiteY1949" fmla="*/ 482105 h 2455817"/>
                <a:gd name="connsiteX1950" fmla="*/ 2735645 w 4919004"/>
                <a:gd name="connsiteY1950" fmla="*/ 475690 h 2455817"/>
                <a:gd name="connsiteX1951" fmla="*/ 2731500 w 4919004"/>
                <a:gd name="connsiteY1951" fmla="*/ 472434 h 2455817"/>
                <a:gd name="connsiteX1952" fmla="*/ 2733523 w 4919004"/>
                <a:gd name="connsiteY1952" fmla="*/ 469227 h 2455817"/>
                <a:gd name="connsiteX1953" fmla="*/ 2739789 w 4919004"/>
                <a:gd name="connsiteY1953" fmla="*/ 469227 h 2455817"/>
                <a:gd name="connsiteX1954" fmla="*/ 2750200 w 4919004"/>
                <a:gd name="connsiteY1954" fmla="*/ 467599 h 2455817"/>
                <a:gd name="connsiteX1955" fmla="*/ 2754345 w 4919004"/>
                <a:gd name="connsiteY1955" fmla="*/ 469227 h 2455817"/>
                <a:gd name="connsiteX1956" fmla="*/ 2758489 w 4919004"/>
                <a:gd name="connsiteY1956" fmla="*/ 467599 h 2455817"/>
                <a:gd name="connsiteX1957" fmla="*/ 2768900 w 4919004"/>
                <a:gd name="connsiteY1957" fmla="*/ 467599 h 2455817"/>
                <a:gd name="connsiteX1958" fmla="*/ 2768900 w 4919004"/>
                <a:gd name="connsiteY1958" fmla="*/ 472533 h 2455817"/>
                <a:gd name="connsiteX1959" fmla="*/ 2770973 w 4919004"/>
                <a:gd name="connsiteY1959" fmla="*/ 480624 h 2455817"/>
                <a:gd name="connsiteX1960" fmla="*/ 2773045 w 4919004"/>
                <a:gd name="connsiteY1960" fmla="*/ 475690 h 2455817"/>
                <a:gd name="connsiteX1961" fmla="*/ 2775166 w 4919004"/>
                <a:gd name="connsiteY1961" fmla="*/ 475690 h 2455817"/>
                <a:gd name="connsiteX1962" fmla="*/ 2781383 w 4919004"/>
                <a:gd name="connsiteY1962" fmla="*/ 470756 h 2455817"/>
                <a:gd name="connsiteX1963" fmla="*/ 2785528 w 4919004"/>
                <a:gd name="connsiteY1963" fmla="*/ 478848 h 2455817"/>
                <a:gd name="connsiteX1964" fmla="*/ 2789722 w 4919004"/>
                <a:gd name="connsiteY1964" fmla="*/ 478848 h 2455817"/>
                <a:gd name="connsiteX1965" fmla="*/ 2795939 w 4919004"/>
                <a:gd name="connsiteY1965" fmla="*/ 475641 h 2455817"/>
                <a:gd name="connsiteX1966" fmla="*/ 2802155 w 4919004"/>
                <a:gd name="connsiteY1966" fmla="*/ 480575 h 2455817"/>
                <a:gd name="connsiteX1967" fmla="*/ 2804277 w 4919004"/>
                <a:gd name="connsiteY1967" fmla="*/ 491825 h 2455817"/>
                <a:gd name="connsiteX1968" fmla="*/ 2810494 w 4919004"/>
                <a:gd name="connsiteY1968" fmla="*/ 485410 h 2455817"/>
                <a:gd name="connsiteX1969" fmla="*/ 2814639 w 4919004"/>
                <a:gd name="connsiteY1969" fmla="*/ 482154 h 2455817"/>
                <a:gd name="connsiteX1970" fmla="*/ 2816711 w 4919004"/>
                <a:gd name="connsiteY1970" fmla="*/ 483782 h 2455817"/>
                <a:gd name="connsiteX1971" fmla="*/ 2812566 w 4919004"/>
                <a:gd name="connsiteY1971" fmla="*/ 491825 h 2455817"/>
                <a:gd name="connsiteX1972" fmla="*/ 2818833 w 4919004"/>
                <a:gd name="connsiteY1972" fmla="*/ 496759 h 2455817"/>
                <a:gd name="connsiteX1973" fmla="*/ 2820856 w 4919004"/>
                <a:gd name="connsiteY1973" fmla="*/ 498387 h 2455817"/>
                <a:gd name="connsiteX1974" fmla="*/ 2827122 w 4919004"/>
                <a:gd name="connsiteY1974" fmla="*/ 498387 h 2455817"/>
                <a:gd name="connsiteX1975" fmla="*/ 2829194 w 4919004"/>
                <a:gd name="connsiteY1975" fmla="*/ 504851 h 2455817"/>
                <a:gd name="connsiteX1976" fmla="*/ 2833388 w 4919004"/>
                <a:gd name="connsiteY1976" fmla="*/ 503222 h 2455817"/>
                <a:gd name="connsiteX1977" fmla="*/ 2835411 w 4919004"/>
                <a:gd name="connsiteY1977" fmla="*/ 501594 h 2455817"/>
                <a:gd name="connsiteX1978" fmla="*/ 2837533 w 4919004"/>
                <a:gd name="connsiteY1978" fmla="*/ 508058 h 2455817"/>
                <a:gd name="connsiteX1979" fmla="*/ 2833388 w 4919004"/>
                <a:gd name="connsiteY1979" fmla="*/ 512992 h 2455817"/>
                <a:gd name="connsiteX1980" fmla="*/ 2833388 w 4919004"/>
                <a:gd name="connsiteY1980" fmla="*/ 521084 h 2455817"/>
                <a:gd name="connsiteX1981" fmla="*/ 2843750 w 4919004"/>
                <a:gd name="connsiteY1981" fmla="*/ 512992 h 2455817"/>
                <a:gd name="connsiteX1982" fmla="*/ 2849967 w 4919004"/>
                <a:gd name="connsiteY1982" fmla="*/ 512992 h 2455817"/>
                <a:gd name="connsiteX1983" fmla="*/ 2849967 w 4919004"/>
                <a:gd name="connsiteY1983" fmla="*/ 517926 h 2455817"/>
                <a:gd name="connsiteX1984" fmla="*/ 2837533 w 4919004"/>
                <a:gd name="connsiteY1984" fmla="*/ 527794 h 2455817"/>
                <a:gd name="connsiteX1985" fmla="*/ 2837533 w 4919004"/>
                <a:gd name="connsiteY1985" fmla="*/ 537662 h 2455817"/>
                <a:gd name="connsiteX1986" fmla="*/ 2849967 w 4919004"/>
                <a:gd name="connsiteY1986" fmla="*/ 537662 h 2455817"/>
                <a:gd name="connsiteX1987" fmla="*/ 2852088 w 4919004"/>
                <a:gd name="connsiteY1987" fmla="*/ 534455 h 2455817"/>
                <a:gd name="connsiteX1988" fmla="*/ 2856233 w 4919004"/>
                <a:gd name="connsiteY1988" fmla="*/ 532827 h 2455817"/>
                <a:gd name="connsiteX1989" fmla="*/ 2860377 w 4919004"/>
                <a:gd name="connsiteY1989" fmla="*/ 534455 h 2455817"/>
                <a:gd name="connsiteX1990" fmla="*/ 2862499 w 4919004"/>
                <a:gd name="connsiteY1990" fmla="*/ 539389 h 2455817"/>
                <a:gd name="connsiteX1991" fmla="*/ 2868716 w 4919004"/>
                <a:gd name="connsiteY1991" fmla="*/ 536182 h 2455817"/>
                <a:gd name="connsiteX1992" fmla="*/ 2874933 w 4919004"/>
                <a:gd name="connsiteY1992" fmla="*/ 544224 h 2455817"/>
                <a:gd name="connsiteX1993" fmla="*/ 2872861 w 4919004"/>
                <a:gd name="connsiteY1993" fmla="*/ 554092 h 2455817"/>
                <a:gd name="connsiteX1994" fmla="*/ 2881199 w 4919004"/>
                <a:gd name="connsiteY1994" fmla="*/ 552464 h 2455817"/>
                <a:gd name="connsiteX1995" fmla="*/ 2881199 w 4919004"/>
                <a:gd name="connsiteY1995" fmla="*/ 557398 h 2455817"/>
                <a:gd name="connsiteX1996" fmla="*/ 2887416 w 4919004"/>
                <a:gd name="connsiteY1996" fmla="*/ 555819 h 2455817"/>
                <a:gd name="connsiteX1997" fmla="*/ 2887416 w 4919004"/>
                <a:gd name="connsiteY1997" fmla="*/ 560753 h 2455817"/>
                <a:gd name="connsiteX1998" fmla="*/ 2881199 w 4919004"/>
                <a:gd name="connsiteY1998" fmla="*/ 570621 h 2455817"/>
                <a:gd name="connsiteX1999" fmla="*/ 2874933 w 4919004"/>
                <a:gd name="connsiteY1999" fmla="*/ 572249 h 2455817"/>
                <a:gd name="connsiteX2000" fmla="*/ 2868716 w 4919004"/>
                <a:gd name="connsiteY2000" fmla="*/ 568993 h 2455817"/>
                <a:gd name="connsiteX2001" fmla="*/ 2854160 w 4919004"/>
                <a:gd name="connsiteY2001" fmla="*/ 565786 h 2455817"/>
                <a:gd name="connsiteX2002" fmla="*/ 2837533 w 4919004"/>
                <a:gd name="connsiteY2002" fmla="*/ 565786 h 2455817"/>
                <a:gd name="connsiteX2003" fmla="*/ 2843750 w 4919004"/>
                <a:gd name="connsiteY2003" fmla="*/ 568993 h 2455817"/>
                <a:gd name="connsiteX2004" fmla="*/ 2847943 w 4919004"/>
                <a:gd name="connsiteY2004" fmla="*/ 575457 h 2455817"/>
                <a:gd name="connsiteX2005" fmla="*/ 2860377 w 4919004"/>
                <a:gd name="connsiteY2005" fmla="*/ 577085 h 2455817"/>
                <a:gd name="connsiteX2006" fmla="*/ 2864522 w 4919004"/>
                <a:gd name="connsiteY2006" fmla="*/ 582019 h 2455817"/>
                <a:gd name="connsiteX2007" fmla="*/ 2877054 w 4919004"/>
                <a:gd name="connsiteY2007" fmla="*/ 590061 h 2455817"/>
                <a:gd name="connsiteX2008" fmla="*/ 2889488 w 4919004"/>
                <a:gd name="connsiteY2008" fmla="*/ 593268 h 2455817"/>
                <a:gd name="connsiteX2009" fmla="*/ 2897827 w 4919004"/>
                <a:gd name="connsiteY2009" fmla="*/ 588334 h 2455817"/>
                <a:gd name="connsiteX2010" fmla="*/ 2899899 w 4919004"/>
                <a:gd name="connsiteY2010" fmla="*/ 581920 h 2455817"/>
                <a:gd name="connsiteX2011" fmla="*/ 2891610 w 4919004"/>
                <a:gd name="connsiteY2011" fmla="*/ 576986 h 2455817"/>
                <a:gd name="connsiteX2012" fmla="*/ 2889488 w 4919004"/>
                <a:gd name="connsiteY2012" fmla="*/ 572052 h 2455817"/>
                <a:gd name="connsiteX2013" fmla="*/ 2891610 w 4919004"/>
                <a:gd name="connsiteY2013" fmla="*/ 572052 h 2455817"/>
                <a:gd name="connsiteX2014" fmla="*/ 2899899 w 4919004"/>
                <a:gd name="connsiteY2014" fmla="*/ 580095 h 2455817"/>
                <a:gd name="connsiteX2015" fmla="*/ 2908188 w 4919004"/>
                <a:gd name="connsiteY2015" fmla="*/ 583302 h 2455817"/>
                <a:gd name="connsiteX2016" fmla="*/ 2914454 w 4919004"/>
                <a:gd name="connsiteY2016" fmla="*/ 586558 h 2455817"/>
                <a:gd name="connsiteX2017" fmla="*/ 2908188 w 4919004"/>
                <a:gd name="connsiteY2017" fmla="*/ 584930 h 2455817"/>
                <a:gd name="connsiteX2018" fmla="*/ 2893633 w 4919004"/>
                <a:gd name="connsiteY2018" fmla="*/ 596229 h 2455817"/>
                <a:gd name="connsiteX2019" fmla="*/ 2897827 w 4919004"/>
                <a:gd name="connsiteY2019" fmla="*/ 601163 h 2455817"/>
                <a:gd name="connsiteX2020" fmla="*/ 2904043 w 4919004"/>
                <a:gd name="connsiteY2020" fmla="*/ 601163 h 2455817"/>
                <a:gd name="connsiteX2021" fmla="*/ 2908188 w 4919004"/>
                <a:gd name="connsiteY2021" fmla="*/ 597906 h 2455817"/>
                <a:gd name="connsiteX2022" fmla="*/ 2912382 w 4919004"/>
                <a:gd name="connsiteY2022" fmla="*/ 597906 h 2455817"/>
                <a:gd name="connsiteX2023" fmla="*/ 2935276 w 4919004"/>
                <a:gd name="connsiteY2023" fmla="*/ 617297 h 2455817"/>
                <a:gd name="connsiteX2024" fmla="*/ 2941493 w 4919004"/>
                <a:gd name="connsiteY2024" fmla="*/ 618876 h 2455817"/>
                <a:gd name="connsiteX2025" fmla="*/ 2949831 w 4919004"/>
                <a:gd name="connsiteY2025" fmla="*/ 626968 h 2455817"/>
                <a:gd name="connsiteX2026" fmla="*/ 2966459 w 4919004"/>
                <a:gd name="connsiteY2026" fmla="*/ 628547 h 2455817"/>
                <a:gd name="connsiteX2027" fmla="*/ 2976820 w 4919004"/>
                <a:gd name="connsiteY2027" fmla="*/ 638415 h 2455817"/>
                <a:gd name="connsiteX2028" fmla="*/ 2987231 w 4919004"/>
                <a:gd name="connsiteY2028" fmla="*/ 641671 h 2455817"/>
                <a:gd name="connsiteX2029" fmla="*/ 2989304 w 4919004"/>
                <a:gd name="connsiteY2029" fmla="*/ 636737 h 2455817"/>
                <a:gd name="connsiteX2030" fmla="*/ 2987231 w 4919004"/>
                <a:gd name="connsiteY2030" fmla="*/ 633481 h 2455817"/>
                <a:gd name="connsiteX2031" fmla="*/ 2991376 w 4919004"/>
                <a:gd name="connsiteY2031" fmla="*/ 630274 h 2455817"/>
                <a:gd name="connsiteX2032" fmla="*/ 2997642 w 4919004"/>
                <a:gd name="connsiteY2032" fmla="*/ 636737 h 2455817"/>
                <a:gd name="connsiteX2033" fmla="*/ 2999714 w 4919004"/>
                <a:gd name="connsiteY2033" fmla="*/ 641671 h 2455817"/>
                <a:gd name="connsiteX2034" fmla="*/ 3003859 w 4919004"/>
                <a:gd name="connsiteY2034" fmla="*/ 646605 h 2455817"/>
                <a:gd name="connsiteX2035" fmla="*/ 3008053 w 4919004"/>
                <a:gd name="connsiteY2035" fmla="*/ 646605 h 2455817"/>
                <a:gd name="connsiteX2036" fmla="*/ 3010125 w 4919004"/>
                <a:gd name="connsiteY2036" fmla="*/ 640142 h 2455817"/>
                <a:gd name="connsiteX2037" fmla="*/ 3001787 w 4919004"/>
                <a:gd name="connsiteY2037" fmla="*/ 606294 h 2455817"/>
                <a:gd name="connsiteX2038" fmla="*/ 2993498 w 4919004"/>
                <a:gd name="connsiteY2038" fmla="*/ 591788 h 2455817"/>
                <a:gd name="connsiteX2039" fmla="*/ 2985159 w 4919004"/>
                <a:gd name="connsiteY2039" fmla="*/ 574026 h 2455817"/>
                <a:gd name="connsiteX2040" fmla="*/ 2983087 w 4919004"/>
                <a:gd name="connsiteY2040" fmla="*/ 557891 h 2455817"/>
                <a:gd name="connsiteX2041" fmla="*/ 2976820 w 4919004"/>
                <a:gd name="connsiteY2041" fmla="*/ 546642 h 2455817"/>
                <a:gd name="connsiteX2042" fmla="*/ 2976820 w 4919004"/>
                <a:gd name="connsiteY2042" fmla="*/ 541708 h 2455817"/>
                <a:gd name="connsiteX2043" fmla="*/ 2983087 w 4919004"/>
                <a:gd name="connsiteY2043" fmla="*/ 544915 h 2455817"/>
                <a:gd name="connsiteX2044" fmla="*/ 2987231 w 4919004"/>
                <a:gd name="connsiteY2044" fmla="*/ 552957 h 2455817"/>
                <a:gd name="connsiteX2045" fmla="*/ 2995570 w 4919004"/>
                <a:gd name="connsiteY2045" fmla="*/ 559421 h 2455817"/>
                <a:gd name="connsiteX2046" fmla="*/ 3003859 w 4919004"/>
                <a:gd name="connsiteY2046" fmla="*/ 561049 h 2455817"/>
                <a:gd name="connsiteX2047" fmla="*/ 3010125 w 4919004"/>
                <a:gd name="connsiteY2047" fmla="*/ 569092 h 2455817"/>
                <a:gd name="connsiteX2048" fmla="*/ 3024927 w 4919004"/>
                <a:gd name="connsiteY2048" fmla="*/ 570720 h 2455817"/>
                <a:gd name="connsiteX2049" fmla="*/ 3051916 w 4919004"/>
                <a:gd name="connsiteY2049" fmla="*/ 567513 h 2455817"/>
                <a:gd name="connsiteX2050" fmla="*/ 3058183 w 4919004"/>
                <a:gd name="connsiteY2050" fmla="*/ 569092 h 2455817"/>
                <a:gd name="connsiteX2051" fmla="*/ 3064400 w 4919004"/>
                <a:gd name="connsiteY2051" fmla="*/ 567513 h 2455817"/>
                <a:gd name="connsiteX2052" fmla="*/ 3070616 w 4919004"/>
                <a:gd name="connsiteY2052" fmla="*/ 572447 h 2455817"/>
                <a:gd name="connsiteX2053" fmla="*/ 3072738 w 4919004"/>
                <a:gd name="connsiteY2053" fmla="*/ 570819 h 2455817"/>
                <a:gd name="connsiteX2054" fmla="*/ 3068593 w 4919004"/>
                <a:gd name="connsiteY2054" fmla="*/ 564355 h 2455817"/>
                <a:gd name="connsiteX2055" fmla="*/ 3068593 w 4919004"/>
                <a:gd name="connsiteY2055" fmla="*/ 559421 h 2455817"/>
                <a:gd name="connsiteX2056" fmla="*/ 3064400 w 4919004"/>
                <a:gd name="connsiteY2056" fmla="*/ 556214 h 2455817"/>
                <a:gd name="connsiteX2057" fmla="*/ 3066472 w 4919004"/>
                <a:gd name="connsiteY2057" fmla="*/ 552957 h 2455817"/>
                <a:gd name="connsiteX2058" fmla="*/ 3068593 w 4919004"/>
                <a:gd name="connsiteY2058" fmla="*/ 546543 h 2455817"/>
                <a:gd name="connsiteX2059" fmla="*/ 3091438 w 4919004"/>
                <a:gd name="connsiteY2059" fmla="*/ 538451 h 2455817"/>
                <a:gd name="connsiteX2060" fmla="*/ 3095582 w 4919004"/>
                <a:gd name="connsiteY2060" fmla="*/ 540080 h 2455817"/>
                <a:gd name="connsiteX2061" fmla="*/ 3101849 w 4919004"/>
                <a:gd name="connsiteY2061" fmla="*/ 538451 h 2455817"/>
                <a:gd name="connsiteX2062" fmla="*/ 3110138 w 4919004"/>
                <a:gd name="connsiteY2062" fmla="*/ 541708 h 2455817"/>
                <a:gd name="connsiteX2063" fmla="*/ 3120548 w 4919004"/>
                <a:gd name="connsiteY2063" fmla="*/ 541708 h 2455817"/>
                <a:gd name="connsiteX2064" fmla="*/ 3128838 w 4919004"/>
                <a:gd name="connsiteY2064" fmla="*/ 549750 h 2455817"/>
                <a:gd name="connsiteX2065" fmla="*/ 3137177 w 4919004"/>
                <a:gd name="connsiteY2065" fmla="*/ 551379 h 2455817"/>
                <a:gd name="connsiteX2066" fmla="*/ 3141371 w 4919004"/>
                <a:gd name="connsiteY2066" fmla="*/ 557793 h 2455817"/>
                <a:gd name="connsiteX2067" fmla="*/ 3153805 w 4919004"/>
                <a:gd name="connsiteY2067" fmla="*/ 557793 h 2455817"/>
                <a:gd name="connsiteX2068" fmla="*/ 3157949 w 4919004"/>
                <a:gd name="connsiteY2068" fmla="*/ 564256 h 2455817"/>
                <a:gd name="connsiteX2069" fmla="*/ 3174626 w 4919004"/>
                <a:gd name="connsiteY2069" fmla="*/ 564256 h 2455817"/>
                <a:gd name="connsiteX2070" fmla="*/ 3164215 w 4919004"/>
                <a:gd name="connsiteY2070" fmla="*/ 559322 h 2455817"/>
                <a:gd name="connsiteX2071" fmla="*/ 3164215 w 4919004"/>
                <a:gd name="connsiteY2071" fmla="*/ 556115 h 2455817"/>
                <a:gd name="connsiteX2072" fmla="*/ 3172504 w 4919004"/>
                <a:gd name="connsiteY2072" fmla="*/ 559322 h 2455817"/>
                <a:gd name="connsiteX2073" fmla="*/ 3180843 w 4919004"/>
                <a:gd name="connsiteY2073" fmla="*/ 554388 h 2455817"/>
                <a:gd name="connsiteX2074" fmla="*/ 3172504 w 4919004"/>
                <a:gd name="connsiteY2074" fmla="*/ 551181 h 2455817"/>
                <a:gd name="connsiteX2075" fmla="*/ 3176698 w 4919004"/>
                <a:gd name="connsiteY2075" fmla="*/ 546247 h 2455817"/>
                <a:gd name="connsiteX2076" fmla="*/ 3170481 w 4919004"/>
                <a:gd name="connsiteY2076" fmla="*/ 541313 h 2455817"/>
                <a:gd name="connsiteX2077" fmla="*/ 3162143 w 4919004"/>
                <a:gd name="connsiteY2077" fmla="*/ 544520 h 2455817"/>
                <a:gd name="connsiteX2078" fmla="*/ 3153805 w 4919004"/>
                <a:gd name="connsiteY2078" fmla="*/ 542892 h 2455817"/>
                <a:gd name="connsiteX2079" fmla="*/ 3153805 w 4919004"/>
                <a:gd name="connsiteY2079" fmla="*/ 533024 h 2455817"/>
                <a:gd name="connsiteX2080" fmla="*/ 3149660 w 4919004"/>
                <a:gd name="connsiteY2080" fmla="*/ 526610 h 2455817"/>
                <a:gd name="connsiteX2081" fmla="*/ 3153805 w 4919004"/>
                <a:gd name="connsiteY2081" fmla="*/ 523353 h 2455817"/>
                <a:gd name="connsiteX2082" fmla="*/ 3157949 w 4919004"/>
                <a:gd name="connsiteY2082" fmla="*/ 526610 h 2455817"/>
                <a:gd name="connsiteX2083" fmla="*/ 3164215 w 4919004"/>
                <a:gd name="connsiteY2083" fmla="*/ 523353 h 2455817"/>
                <a:gd name="connsiteX2084" fmla="*/ 3160070 w 4919004"/>
                <a:gd name="connsiteY2084" fmla="*/ 518419 h 2455817"/>
                <a:gd name="connsiteX2085" fmla="*/ 3166287 w 4919004"/>
                <a:gd name="connsiteY2085" fmla="*/ 516840 h 2455817"/>
                <a:gd name="connsiteX2086" fmla="*/ 3176698 w 4919004"/>
                <a:gd name="connsiteY2086" fmla="*/ 523255 h 2455817"/>
                <a:gd name="connsiteX2087" fmla="*/ 3180843 w 4919004"/>
                <a:gd name="connsiteY2087" fmla="*/ 529718 h 2455817"/>
                <a:gd name="connsiteX2088" fmla="*/ 3185036 w 4919004"/>
                <a:gd name="connsiteY2088" fmla="*/ 528090 h 2455817"/>
                <a:gd name="connsiteX2089" fmla="*/ 3189182 w 4919004"/>
                <a:gd name="connsiteY2089" fmla="*/ 531346 h 2455817"/>
                <a:gd name="connsiteX2090" fmla="*/ 3193325 w 4919004"/>
                <a:gd name="connsiteY2090" fmla="*/ 529718 h 2455817"/>
                <a:gd name="connsiteX2091" fmla="*/ 3191253 w 4919004"/>
                <a:gd name="connsiteY2091" fmla="*/ 523255 h 2455817"/>
                <a:gd name="connsiteX2092" fmla="*/ 3199592 w 4919004"/>
                <a:gd name="connsiteY2092" fmla="*/ 520047 h 2455817"/>
                <a:gd name="connsiteX2093" fmla="*/ 3203737 w 4919004"/>
                <a:gd name="connsiteY2093" fmla="*/ 523255 h 2455817"/>
                <a:gd name="connsiteX2094" fmla="*/ 3205809 w 4919004"/>
                <a:gd name="connsiteY2094" fmla="*/ 518320 h 2455817"/>
                <a:gd name="connsiteX2095" fmla="*/ 3195398 w 4919004"/>
                <a:gd name="connsiteY2095" fmla="*/ 507021 h 2455817"/>
                <a:gd name="connsiteX2096" fmla="*/ 3187060 w 4919004"/>
                <a:gd name="connsiteY2096" fmla="*/ 505443 h 2455817"/>
                <a:gd name="connsiteX2097" fmla="*/ 3176698 w 4919004"/>
                <a:gd name="connsiteY2097" fmla="*/ 497351 h 2455817"/>
                <a:gd name="connsiteX2098" fmla="*/ 3178770 w 4919004"/>
                <a:gd name="connsiteY2098" fmla="*/ 490937 h 2455817"/>
                <a:gd name="connsiteX2099" fmla="*/ 3174626 w 4919004"/>
                <a:gd name="connsiteY2099" fmla="*/ 486003 h 2455817"/>
                <a:gd name="connsiteX2100" fmla="*/ 3168360 w 4919004"/>
                <a:gd name="connsiteY2100" fmla="*/ 489210 h 2455817"/>
                <a:gd name="connsiteX2101" fmla="*/ 3160070 w 4919004"/>
                <a:gd name="connsiteY2101" fmla="*/ 487581 h 2455817"/>
                <a:gd name="connsiteX2102" fmla="*/ 3168360 w 4919004"/>
                <a:gd name="connsiteY2102" fmla="*/ 482647 h 2455817"/>
                <a:gd name="connsiteX2103" fmla="*/ 3166287 w 4919004"/>
                <a:gd name="connsiteY2103" fmla="*/ 477713 h 2455817"/>
                <a:gd name="connsiteX2104" fmla="*/ 3168360 w 4919004"/>
                <a:gd name="connsiteY2104" fmla="*/ 476134 h 2455817"/>
                <a:gd name="connsiteX2105" fmla="*/ 3162143 w 4919004"/>
                <a:gd name="connsiteY2105" fmla="*/ 468043 h 2455817"/>
                <a:gd name="connsiteX2106" fmla="*/ 3174626 w 4919004"/>
                <a:gd name="connsiteY2106" fmla="*/ 468043 h 2455817"/>
                <a:gd name="connsiteX2107" fmla="*/ 3176698 w 4919004"/>
                <a:gd name="connsiteY2107" fmla="*/ 456744 h 2455817"/>
                <a:gd name="connsiteX2108" fmla="*/ 3164215 w 4919004"/>
                <a:gd name="connsiteY2108" fmla="*/ 460000 h 2455817"/>
                <a:gd name="connsiteX2109" fmla="*/ 3155926 w 4919004"/>
                <a:gd name="connsiteY2109" fmla="*/ 466414 h 2455817"/>
                <a:gd name="connsiteX2110" fmla="*/ 3153805 w 4919004"/>
                <a:gd name="connsiteY2110" fmla="*/ 472878 h 2455817"/>
                <a:gd name="connsiteX2111" fmla="*/ 3141371 w 4919004"/>
                <a:gd name="connsiteY2111" fmla="*/ 469671 h 2455817"/>
                <a:gd name="connsiteX2112" fmla="*/ 3133032 w 4919004"/>
                <a:gd name="connsiteY2112" fmla="*/ 458372 h 2455817"/>
                <a:gd name="connsiteX2113" fmla="*/ 3137177 w 4919004"/>
                <a:gd name="connsiteY2113" fmla="*/ 451908 h 2455817"/>
                <a:gd name="connsiteX2114" fmla="*/ 3139248 w 4919004"/>
                <a:gd name="connsiteY2114" fmla="*/ 443866 h 2455817"/>
                <a:gd name="connsiteX2115" fmla="*/ 3151732 w 4919004"/>
                <a:gd name="connsiteY2115" fmla="*/ 440659 h 2455817"/>
                <a:gd name="connsiteX2116" fmla="*/ 3160070 w 4919004"/>
                <a:gd name="connsiteY2116" fmla="*/ 440659 h 2455817"/>
                <a:gd name="connsiteX2117" fmla="*/ 3172504 w 4919004"/>
                <a:gd name="connsiteY2117" fmla="*/ 430791 h 2455817"/>
                <a:gd name="connsiteX2118" fmla="*/ 3172504 w 4919004"/>
                <a:gd name="connsiteY2118" fmla="*/ 425857 h 2455817"/>
                <a:gd name="connsiteX2119" fmla="*/ 3164215 w 4919004"/>
                <a:gd name="connsiteY2119" fmla="*/ 417814 h 2455817"/>
                <a:gd name="connsiteX2120" fmla="*/ 3157949 w 4919004"/>
                <a:gd name="connsiteY2120" fmla="*/ 419442 h 2455817"/>
                <a:gd name="connsiteX2121" fmla="*/ 3151732 w 4919004"/>
                <a:gd name="connsiteY2121" fmla="*/ 417814 h 2455817"/>
                <a:gd name="connsiteX2122" fmla="*/ 3139248 w 4919004"/>
                <a:gd name="connsiteY2122" fmla="*/ 417814 h 2455817"/>
                <a:gd name="connsiteX2123" fmla="*/ 3130960 w 4919004"/>
                <a:gd name="connsiteY2123" fmla="*/ 409772 h 2455817"/>
                <a:gd name="connsiteX2124" fmla="*/ 3141371 w 4919004"/>
                <a:gd name="connsiteY2124" fmla="*/ 404838 h 2455817"/>
                <a:gd name="connsiteX2125" fmla="*/ 3155926 w 4919004"/>
                <a:gd name="connsiteY2125" fmla="*/ 403209 h 2455817"/>
                <a:gd name="connsiteX2126" fmla="*/ 3172504 w 4919004"/>
                <a:gd name="connsiteY2126" fmla="*/ 409673 h 2455817"/>
                <a:gd name="connsiteX2127" fmla="*/ 3187306 w 4919004"/>
                <a:gd name="connsiteY2127" fmla="*/ 406417 h 2455817"/>
                <a:gd name="connsiteX2128" fmla="*/ 3212272 w 4919004"/>
                <a:gd name="connsiteY2128" fmla="*/ 406417 h 2455817"/>
                <a:gd name="connsiteX2129" fmla="*/ 3253866 w 4919004"/>
                <a:gd name="connsiteY2129" fmla="*/ 403209 h 2455817"/>
                <a:gd name="connsiteX2130" fmla="*/ 3260132 w 4919004"/>
                <a:gd name="connsiteY2130" fmla="*/ 400002 h 2455817"/>
                <a:gd name="connsiteX2131" fmla="*/ 3291316 w 4919004"/>
                <a:gd name="connsiteY2131" fmla="*/ 400002 h 2455817"/>
                <a:gd name="connsiteX2132" fmla="*/ 3303799 w 4919004"/>
                <a:gd name="connsiteY2132" fmla="*/ 401581 h 2455817"/>
                <a:gd name="connsiteX2133" fmla="*/ 3314161 w 4919004"/>
                <a:gd name="connsiteY2133" fmla="*/ 400002 h 2455817"/>
                <a:gd name="connsiteX2134" fmla="*/ 3332909 w 4919004"/>
                <a:gd name="connsiteY2134" fmla="*/ 400002 h 2455817"/>
                <a:gd name="connsiteX2135" fmla="*/ 3322499 w 4919004"/>
                <a:gd name="connsiteY2135" fmla="*/ 403209 h 2455817"/>
                <a:gd name="connsiteX2136" fmla="*/ 3299605 w 4919004"/>
                <a:gd name="connsiteY2136" fmla="*/ 411252 h 2455817"/>
                <a:gd name="connsiteX2137" fmla="*/ 3291316 w 4919004"/>
                <a:gd name="connsiteY2137" fmla="*/ 408045 h 2455817"/>
                <a:gd name="connsiteX2138" fmla="*/ 3287171 w 4919004"/>
                <a:gd name="connsiteY2138" fmla="*/ 409673 h 2455817"/>
                <a:gd name="connsiteX2139" fmla="*/ 3278833 w 4919004"/>
                <a:gd name="connsiteY2139" fmla="*/ 406417 h 2455817"/>
                <a:gd name="connsiteX2140" fmla="*/ 3274689 w 4919004"/>
                <a:gd name="connsiteY2140" fmla="*/ 419344 h 2455817"/>
                <a:gd name="connsiteX2141" fmla="*/ 3282978 w 4919004"/>
                <a:gd name="connsiteY2141" fmla="*/ 427386 h 2455817"/>
                <a:gd name="connsiteX2142" fmla="*/ 3276761 w 4919004"/>
                <a:gd name="connsiteY2142" fmla="*/ 429014 h 2455817"/>
                <a:gd name="connsiteX2143" fmla="*/ 3274689 w 4919004"/>
                <a:gd name="connsiteY2143" fmla="*/ 433948 h 2455817"/>
                <a:gd name="connsiteX2144" fmla="*/ 3282978 w 4919004"/>
                <a:gd name="connsiteY2144" fmla="*/ 437156 h 2455817"/>
                <a:gd name="connsiteX2145" fmla="*/ 3293388 w 4919004"/>
                <a:gd name="connsiteY2145" fmla="*/ 430741 h 2455817"/>
                <a:gd name="connsiteX2146" fmla="*/ 3293388 w 4919004"/>
                <a:gd name="connsiteY2146" fmla="*/ 424278 h 2455817"/>
                <a:gd name="connsiteX2147" fmla="*/ 3312088 w 4919004"/>
                <a:gd name="connsiteY2147" fmla="*/ 412979 h 2455817"/>
                <a:gd name="connsiteX2148" fmla="*/ 3337054 w 4919004"/>
                <a:gd name="connsiteY2148" fmla="*/ 404936 h 2455817"/>
                <a:gd name="connsiteX2149" fmla="*/ 3339126 w 4919004"/>
                <a:gd name="connsiteY2149" fmla="*/ 416186 h 2455817"/>
                <a:gd name="connsiteX2150" fmla="*/ 3341199 w 4919004"/>
                <a:gd name="connsiteY2150" fmla="*/ 432320 h 2455817"/>
                <a:gd name="connsiteX2151" fmla="*/ 3339126 w 4919004"/>
                <a:gd name="connsiteY2151" fmla="*/ 435577 h 2455817"/>
                <a:gd name="connsiteX2152" fmla="*/ 3334933 w 4919004"/>
                <a:gd name="connsiteY2152" fmla="*/ 425709 h 2455817"/>
                <a:gd name="connsiteX2153" fmla="*/ 3326643 w 4919004"/>
                <a:gd name="connsiteY2153" fmla="*/ 419294 h 2455817"/>
                <a:gd name="connsiteX2154" fmla="*/ 3326643 w 4919004"/>
                <a:gd name="connsiteY2154" fmla="*/ 412880 h 2455817"/>
                <a:gd name="connsiteX2155" fmla="*/ 3320377 w 4919004"/>
                <a:gd name="connsiteY2155" fmla="*/ 419344 h 2455817"/>
                <a:gd name="connsiteX2156" fmla="*/ 3314161 w 4919004"/>
                <a:gd name="connsiteY2156" fmla="*/ 417716 h 2455817"/>
                <a:gd name="connsiteX2157" fmla="*/ 3318354 w 4919004"/>
                <a:gd name="connsiteY2157" fmla="*/ 429014 h 2455817"/>
                <a:gd name="connsiteX2158" fmla="*/ 3326643 w 4919004"/>
                <a:gd name="connsiteY2158" fmla="*/ 430643 h 2455817"/>
                <a:gd name="connsiteX2159" fmla="*/ 3328716 w 4919004"/>
                <a:gd name="connsiteY2159" fmla="*/ 443520 h 2455817"/>
                <a:gd name="connsiteX2160" fmla="*/ 3324571 w 4919004"/>
                <a:gd name="connsiteY2160" fmla="*/ 453389 h 2455817"/>
                <a:gd name="connsiteX2161" fmla="*/ 3318354 w 4919004"/>
                <a:gd name="connsiteY2161" fmla="*/ 451760 h 2455817"/>
                <a:gd name="connsiteX2162" fmla="*/ 3314161 w 4919004"/>
                <a:gd name="connsiteY2162" fmla="*/ 455017 h 2455817"/>
                <a:gd name="connsiteX2163" fmla="*/ 3322499 w 4919004"/>
                <a:gd name="connsiteY2163" fmla="*/ 459951 h 2455817"/>
                <a:gd name="connsiteX2164" fmla="*/ 3322499 w 4919004"/>
                <a:gd name="connsiteY2164" fmla="*/ 464885 h 2455817"/>
                <a:gd name="connsiteX2165" fmla="*/ 3324571 w 4919004"/>
                <a:gd name="connsiteY2165" fmla="*/ 468092 h 2455817"/>
                <a:gd name="connsiteX2166" fmla="*/ 3330837 w 4919004"/>
                <a:gd name="connsiteY2166" fmla="*/ 468092 h 2455817"/>
                <a:gd name="connsiteX2167" fmla="*/ 3341199 w 4919004"/>
                <a:gd name="connsiteY2167" fmla="*/ 461628 h 2455817"/>
                <a:gd name="connsiteX2168" fmla="*/ 3341199 w 4919004"/>
                <a:gd name="connsiteY2168" fmla="*/ 453586 h 2455817"/>
                <a:gd name="connsiteX2169" fmla="*/ 3347466 w 4919004"/>
                <a:gd name="connsiteY2169" fmla="*/ 443718 h 2455817"/>
                <a:gd name="connsiteX2170" fmla="*/ 3345393 w 4919004"/>
                <a:gd name="connsiteY2170" fmla="*/ 438784 h 2455817"/>
                <a:gd name="connsiteX2171" fmla="*/ 3345393 w 4919004"/>
                <a:gd name="connsiteY2171" fmla="*/ 428916 h 2455817"/>
                <a:gd name="connsiteX2172" fmla="*/ 3343271 w 4919004"/>
                <a:gd name="connsiteY2172" fmla="*/ 398275 h 2455817"/>
                <a:gd name="connsiteX2173" fmla="*/ 3355755 w 4919004"/>
                <a:gd name="connsiteY2173" fmla="*/ 388407 h 2455817"/>
                <a:gd name="connsiteX2174" fmla="*/ 3374455 w 4919004"/>
                <a:gd name="connsiteY2174" fmla="*/ 385200 h 2455817"/>
                <a:gd name="connsiteX2175" fmla="*/ 3395276 w 4919004"/>
                <a:gd name="connsiteY2175" fmla="*/ 380266 h 2455817"/>
                <a:gd name="connsiteX2176" fmla="*/ 3413976 w 4919004"/>
                <a:gd name="connsiteY2176" fmla="*/ 383473 h 2455817"/>
                <a:gd name="connsiteX2177" fmla="*/ 3438942 w 4919004"/>
                <a:gd name="connsiteY2177" fmla="*/ 389937 h 2455817"/>
                <a:gd name="connsiteX2178" fmla="*/ 3451376 w 4919004"/>
                <a:gd name="connsiteY2178" fmla="*/ 404443 h 2455817"/>
                <a:gd name="connsiteX2179" fmla="*/ 3449353 w 4919004"/>
                <a:gd name="connsiteY2179" fmla="*/ 410857 h 2455817"/>
                <a:gd name="connsiteX2180" fmla="*/ 3443087 w 4919004"/>
                <a:gd name="connsiteY2180" fmla="*/ 414114 h 2455817"/>
                <a:gd name="connsiteX2181" fmla="*/ 3430603 w 4919004"/>
                <a:gd name="connsiteY2181" fmla="*/ 406022 h 2455817"/>
                <a:gd name="connsiteX2182" fmla="*/ 3428532 w 4919004"/>
                <a:gd name="connsiteY2182" fmla="*/ 407650 h 2455817"/>
                <a:gd name="connsiteX2183" fmla="*/ 3432675 w 4919004"/>
                <a:gd name="connsiteY2183" fmla="*/ 414114 h 2455817"/>
                <a:gd name="connsiteX2184" fmla="*/ 3430603 w 4919004"/>
                <a:gd name="connsiteY2184" fmla="*/ 420528 h 2455817"/>
                <a:gd name="connsiteX2185" fmla="*/ 3432675 w 4919004"/>
                <a:gd name="connsiteY2185" fmla="*/ 426991 h 2455817"/>
                <a:gd name="connsiteX2186" fmla="*/ 3426458 w 4919004"/>
                <a:gd name="connsiteY2186" fmla="*/ 430248 h 2455817"/>
                <a:gd name="connsiteX2187" fmla="*/ 3432675 w 4919004"/>
                <a:gd name="connsiteY2187" fmla="*/ 431827 h 2455817"/>
                <a:gd name="connsiteX2188" fmla="*/ 3438942 w 4919004"/>
                <a:gd name="connsiteY2188" fmla="*/ 428620 h 2455817"/>
                <a:gd name="connsiteX2189" fmla="*/ 3451376 w 4919004"/>
                <a:gd name="connsiteY2189" fmla="*/ 426991 h 2455817"/>
                <a:gd name="connsiteX2190" fmla="*/ 3459715 w 4919004"/>
                <a:gd name="connsiteY2190" fmla="*/ 422057 h 2455817"/>
                <a:gd name="connsiteX2191" fmla="*/ 3461787 w 4919004"/>
                <a:gd name="connsiteY2191" fmla="*/ 430149 h 2455817"/>
                <a:gd name="connsiteX2192" fmla="*/ 3465931 w 4919004"/>
                <a:gd name="connsiteY2192" fmla="*/ 436563 h 2455817"/>
                <a:gd name="connsiteX2193" fmla="*/ 3468053 w 4919004"/>
                <a:gd name="connsiteY2193" fmla="*/ 444655 h 2455817"/>
                <a:gd name="connsiteX2194" fmla="*/ 3472197 w 4919004"/>
                <a:gd name="connsiteY2194" fmla="*/ 447862 h 2455817"/>
                <a:gd name="connsiteX2195" fmla="*/ 3476342 w 4919004"/>
                <a:gd name="connsiteY2195" fmla="*/ 441399 h 2455817"/>
                <a:gd name="connsiteX2196" fmla="*/ 3476342 w 4919004"/>
                <a:gd name="connsiteY2196" fmla="*/ 438192 h 2455817"/>
                <a:gd name="connsiteX2197" fmla="*/ 3484680 w 4919004"/>
                <a:gd name="connsiteY2197" fmla="*/ 430149 h 2455817"/>
                <a:gd name="connsiteX2198" fmla="*/ 3493020 w 4919004"/>
                <a:gd name="connsiteY2198" fmla="*/ 435083 h 2455817"/>
                <a:gd name="connsiteX2199" fmla="*/ 3495042 w 4919004"/>
                <a:gd name="connsiteY2199" fmla="*/ 441498 h 2455817"/>
                <a:gd name="connsiteX2200" fmla="*/ 3493020 w 4919004"/>
                <a:gd name="connsiteY2200" fmla="*/ 446432 h 2455817"/>
                <a:gd name="connsiteX2201" fmla="*/ 3490897 w 4919004"/>
                <a:gd name="connsiteY2201" fmla="*/ 454523 h 2455817"/>
                <a:gd name="connsiteX2202" fmla="*/ 3493020 w 4919004"/>
                <a:gd name="connsiteY2202" fmla="*/ 457731 h 2455817"/>
                <a:gd name="connsiteX2203" fmla="*/ 3497164 w 4919004"/>
                <a:gd name="connsiteY2203" fmla="*/ 456102 h 2455817"/>
                <a:gd name="connsiteX2204" fmla="*/ 3501309 w 4919004"/>
                <a:gd name="connsiteY2204" fmla="*/ 448060 h 2455817"/>
                <a:gd name="connsiteX2205" fmla="*/ 3505452 w 4919004"/>
                <a:gd name="connsiteY2205" fmla="*/ 446432 h 2455817"/>
                <a:gd name="connsiteX2206" fmla="*/ 3507575 w 4919004"/>
                <a:gd name="connsiteY2206" fmla="*/ 451366 h 2455817"/>
                <a:gd name="connsiteX2207" fmla="*/ 3507575 w 4919004"/>
                <a:gd name="connsiteY2207" fmla="*/ 444951 h 2455817"/>
                <a:gd name="connsiteX2208" fmla="*/ 3515864 w 4919004"/>
                <a:gd name="connsiteY2208" fmla="*/ 432024 h 2455817"/>
                <a:gd name="connsiteX2209" fmla="*/ 3517936 w 4919004"/>
                <a:gd name="connsiteY2209" fmla="*/ 428817 h 2455817"/>
                <a:gd name="connsiteX2210" fmla="*/ 3524153 w 4919004"/>
                <a:gd name="connsiteY2210" fmla="*/ 432024 h 2455817"/>
                <a:gd name="connsiteX2211" fmla="*/ 3540830 w 4919004"/>
                <a:gd name="connsiteY2211" fmla="*/ 441892 h 2455817"/>
                <a:gd name="connsiteX2212" fmla="*/ 3557457 w 4919004"/>
                <a:gd name="connsiteY2212" fmla="*/ 445149 h 2455817"/>
                <a:gd name="connsiteX2213" fmla="*/ 3567819 w 4919004"/>
                <a:gd name="connsiteY2213" fmla="*/ 456398 h 2455817"/>
                <a:gd name="connsiteX2214" fmla="*/ 3567819 w 4919004"/>
                <a:gd name="connsiteY2214" fmla="*/ 461332 h 2455817"/>
                <a:gd name="connsiteX2215" fmla="*/ 3555385 w 4919004"/>
                <a:gd name="connsiteY2215" fmla="*/ 467796 h 2455817"/>
                <a:gd name="connsiteX2216" fmla="*/ 3547047 w 4919004"/>
                <a:gd name="connsiteY2216" fmla="*/ 474260 h 2455817"/>
                <a:gd name="connsiteX2217" fmla="*/ 3557457 w 4919004"/>
                <a:gd name="connsiteY2217" fmla="*/ 469325 h 2455817"/>
                <a:gd name="connsiteX2218" fmla="*/ 3572012 w 4919004"/>
                <a:gd name="connsiteY2218" fmla="*/ 467697 h 2455817"/>
                <a:gd name="connsiteX2219" fmla="*/ 3582424 w 4919004"/>
                <a:gd name="connsiteY2219" fmla="*/ 470904 h 2455817"/>
                <a:gd name="connsiteX2220" fmla="*/ 3594907 w 4919004"/>
                <a:gd name="connsiteY2220" fmla="*/ 467697 h 2455817"/>
                <a:gd name="connsiteX2221" fmla="*/ 3603196 w 4919004"/>
                <a:gd name="connsiteY2221" fmla="*/ 461234 h 2455817"/>
                <a:gd name="connsiteX2222" fmla="*/ 3611534 w 4919004"/>
                <a:gd name="connsiteY2222" fmla="*/ 458027 h 2455817"/>
                <a:gd name="connsiteX2223" fmla="*/ 3626091 w 4919004"/>
                <a:gd name="connsiteY2223" fmla="*/ 446728 h 2455817"/>
                <a:gd name="connsiteX2224" fmla="*/ 3634379 w 4919004"/>
                <a:gd name="connsiteY2224" fmla="*/ 445149 h 2455817"/>
                <a:gd name="connsiteX2225" fmla="*/ 3644790 w 4919004"/>
                <a:gd name="connsiteY2225" fmla="*/ 435281 h 2455817"/>
                <a:gd name="connsiteX2226" fmla="*/ 3655201 w 4919004"/>
                <a:gd name="connsiteY2226" fmla="*/ 432024 h 2455817"/>
                <a:gd name="connsiteX2227" fmla="*/ 3682190 w 4919004"/>
                <a:gd name="connsiteY2227" fmla="*/ 420725 h 2455817"/>
                <a:gd name="connsiteX2228" fmla="*/ 3694673 w 4919004"/>
                <a:gd name="connsiteY2228" fmla="*/ 417518 h 2455817"/>
                <a:gd name="connsiteX2229" fmla="*/ 3703011 w 4919004"/>
                <a:gd name="connsiteY2229" fmla="*/ 417518 h 2455817"/>
                <a:gd name="connsiteX2230" fmla="*/ 3705084 w 4919004"/>
                <a:gd name="connsiteY2230" fmla="*/ 415890 h 2455817"/>
                <a:gd name="connsiteX2231" fmla="*/ 3719887 w 4919004"/>
                <a:gd name="connsiteY2231" fmla="*/ 407847 h 2455817"/>
                <a:gd name="connsiteX2232" fmla="*/ 3728225 w 4919004"/>
                <a:gd name="connsiteY2232" fmla="*/ 406219 h 2455817"/>
                <a:gd name="connsiteX2233" fmla="*/ 3746925 w 4919004"/>
                <a:gd name="connsiteY2233" fmla="*/ 406219 h 2455817"/>
                <a:gd name="connsiteX2234" fmla="*/ 3782252 w 4919004"/>
                <a:gd name="connsiteY2234" fmla="*/ 416087 h 2455817"/>
                <a:gd name="connsiteX2235" fmla="*/ 3797054 w 4919004"/>
                <a:gd name="connsiteY2235" fmla="*/ 430643 h 2455817"/>
                <a:gd name="connsiteX2236" fmla="*/ 3811610 w 4919004"/>
                <a:gd name="connsiteY2236" fmla="*/ 437057 h 2455817"/>
                <a:gd name="connsiteX2237" fmla="*/ 3824093 w 4919004"/>
                <a:gd name="connsiteY2237" fmla="*/ 449984 h 2455817"/>
                <a:gd name="connsiteX2238" fmla="*/ 3832382 w 4919004"/>
                <a:gd name="connsiteY2238" fmla="*/ 459852 h 2455817"/>
                <a:gd name="connsiteX2239" fmla="*/ 3832382 w 4919004"/>
                <a:gd name="connsiteY2239" fmla="*/ 466266 h 2455817"/>
                <a:gd name="connsiteX2240" fmla="*/ 3836576 w 4919004"/>
                <a:gd name="connsiteY2240" fmla="*/ 469523 h 2455817"/>
                <a:gd name="connsiteX2241" fmla="*/ 3834504 w 4919004"/>
                <a:gd name="connsiteY2241" fmla="*/ 479391 h 2455817"/>
                <a:gd name="connsiteX2242" fmla="*/ 3842793 w 4919004"/>
                <a:gd name="connsiteY2242" fmla="*/ 490690 h 2455817"/>
                <a:gd name="connsiteX2243" fmla="*/ 3842793 w 4919004"/>
                <a:gd name="connsiteY2243" fmla="*/ 497104 h 2455817"/>
                <a:gd name="connsiteX2244" fmla="*/ 3838648 w 4919004"/>
                <a:gd name="connsiteY2244" fmla="*/ 503568 h 2455817"/>
                <a:gd name="connsiteX2245" fmla="*/ 3846938 w 4919004"/>
                <a:gd name="connsiteY2245" fmla="*/ 501939 h 2455817"/>
                <a:gd name="connsiteX2246" fmla="*/ 3855276 w 4919004"/>
                <a:gd name="connsiteY2246" fmla="*/ 492071 h 2455817"/>
                <a:gd name="connsiteX2247" fmla="*/ 3865686 w 4919004"/>
                <a:gd name="connsiteY2247" fmla="*/ 492071 h 2455817"/>
                <a:gd name="connsiteX2248" fmla="*/ 3869831 w 4919004"/>
                <a:gd name="connsiteY2248" fmla="*/ 497005 h 2455817"/>
                <a:gd name="connsiteX2249" fmla="*/ 3869831 w 4919004"/>
                <a:gd name="connsiteY2249" fmla="*/ 492071 h 2455817"/>
                <a:gd name="connsiteX2250" fmla="*/ 3880243 w 4919004"/>
                <a:gd name="connsiteY2250" fmla="*/ 490493 h 2455817"/>
                <a:gd name="connsiteX2251" fmla="*/ 3888581 w 4919004"/>
                <a:gd name="connsiteY2251" fmla="*/ 495427 h 2455817"/>
                <a:gd name="connsiteX2252" fmla="*/ 3890653 w 4919004"/>
                <a:gd name="connsiteY2252" fmla="*/ 503469 h 2455817"/>
                <a:gd name="connsiteX2253" fmla="*/ 3892725 w 4919004"/>
                <a:gd name="connsiteY2253" fmla="*/ 497005 h 2455817"/>
                <a:gd name="connsiteX2254" fmla="*/ 3890653 w 4919004"/>
                <a:gd name="connsiteY2254" fmla="*/ 487137 h 2455817"/>
                <a:gd name="connsiteX2255" fmla="*/ 3896870 w 4919004"/>
                <a:gd name="connsiteY2255" fmla="*/ 487137 h 2455817"/>
                <a:gd name="connsiteX2256" fmla="*/ 3901015 w 4919004"/>
                <a:gd name="connsiteY2256" fmla="*/ 495229 h 2455817"/>
                <a:gd name="connsiteX2257" fmla="*/ 3913498 w 4919004"/>
                <a:gd name="connsiteY2257" fmla="*/ 505097 h 2455817"/>
                <a:gd name="connsiteX2258" fmla="*/ 3915570 w 4919004"/>
                <a:gd name="connsiteY2258" fmla="*/ 516396 h 2455817"/>
                <a:gd name="connsiteX2259" fmla="*/ 3921836 w 4919004"/>
                <a:gd name="connsiteY2259" fmla="*/ 516396 h 2455817"/>
                <a:gd name="connsiteX2260" fmla="*/ 3932246 w 4919004"/>
                <a:gd name="connsiteY2260" fmla="*/ 527646 h 2455817"/>
                <a:gd name="connsiteX2261" fmla="*/ 3932246 w 4919004"/>
                <a:gd name="connsiteY2261" fmla="*/ 524389 h 2455817"/>
                <a:gd name="connsiteX2262" fmla="*/ 3928053 w 4919004"/>
                <a:gd name="connsiteY2262" fmla="*/ 514521 h 2455817"/>
                <a:gd name="connsiteX2263" fmla="*/ 3921836 w 4919004"/>
                <a:gd name="connsiteY2263" fmla="*/ 511265 h 2455817"/>
                <a:gd name="connsiteX2264" fmla="*/ 3919764 w 4919004"/>
                <a:gd name="connsiteY2264" fmla="*/ 504851 h 2455817"/>
                <a:gd name="connsiteX2265" fmla="*/ 3928053 w 4919004"/>
                <a:gd name="connsiteY2265" fmla="*/ 509785 h 2455817"/>
                <a:gd name="connsiteX2266" fmla="*/ 3934320 w 4919004"/>
                <a:gd name="connsiteY2266" fmla="*/ 508156 h 2455817"/>
                <a:gd name="connsiteX2267" fmla="*/ 3940536 w 4919004"/>
                <a:gd name="connsiteY2267" fmla="*/ 514620 h 2455817"/>
                <a:gd name="connsiteX2268" fmla="*/ 3950897 w 4919004"/>
                <a:gd name="connsiteY2268" fmla="*/ 525919 h 2455817"/>
                <a:gd name="connsiteX2269" fmla="*/ 3948875 w 4919004"/>
                <a:gd name="connsiteY2269" fmla="*/ 517827 h 2455817"/>
                <a:gd name="connsiteX2270" fmla="*/ 3936391 w 4919004"/>
                <a:gd name="connsiteY2270" fmla="*/ 501693 h 2455817"/>
                <a:gd name="connsiteX2271" fmla="*/ 3936391 w 4919004"/>
                <a:gd name="connsiteY2271" fmla="*/ 474309 h 2455817"/>
                <a:gd name="connsiteX2272" fmla="*/ 3944680 w 4919004"/>
                <a:gd name="connsiteY2272" fmla="*/ 466217 h 2455817"/>
                <a:gd name="connsiteX2273" fmla="*/ 3959482 w 4919004"/>
                <a:gd name="connsiteY2273" fmla="*/ 464638 h 2455817"/>
                <a:gd name="connsiteX2274" fmla="*/ 3965699 w 4919004"/>
                <a:gd name="connsiteY2274" fmla="*/ 459704 h 2455817"/>
                <a:gd name="connsiteX2275" fmla="*/ 3978232 w 4919004"/>
                <a:gd name="connsiteY2275" fmla="*/ 456448 h 2455817"/>
                <a:gd name="connsiteX2276" fmla="*/ 3978232 w 4919004"/>
                <a:gd name="connsiteY2276" fmla="*/ 451514 h 2455817"/>
                <a:gd name="connsiteX2277" fmla="*/ 3980256 w 4919004"/>
                <a:gd name="connsiteY2277" fmla="*/ 448307 h 2455817"/>
                <a:gd name="connsiteX2278" fmla="*/ 3984449 w 4919004"/>
                <a:gd name="connsiteY2278" fmla="*/ 448307 h 2455817"/>
                <a:gd name="connsiteX2279" fmla="*/ 3992787 w 4919004"/>
                <a:gd name="connsiteY2279" fmla="*/ 454770 h 2455817"/>
                <a:gd name="connsiteX2280" fmla="*/ 3999004 w 4919004"/>
                <a:gd name="connsiteY2280" fmla="*/ 456349 h 2455817"/>
                <a:gd name="connsiteX2281" fmla="*/ 4009366 w 4919004"/>
                <a:gd name="connsiteY2281" fmla="*/ 454770 h 2455817"/>
                <a:gd name="connsiteX2282" fmla="*/ 4017704 w 4919004"/>
                <a:gd name="connsiteY2282" fmla="*/ 448307 h 2455817"/>
                <a:gd name="connsiteX2283" fmla="*/ 4023921 w 4919004"/>
                <a:gd name="connsiteY2283" fmla="*/ 449935 h 2455817"/>
                <a:gd name="connsiteX2284" fmla="*/ 4036454 w 4919004"/>
                <a:gd name="connsiteY2284" fmla="*/ 445001 h 2455817"/>
                <a:gd name="connsiteX2285" fmla="*/ 4051009 w 4919004"/>
                <a:gd name="connsiteY2285" fmla="*/ 446580 h 2455817"/>
                <a:gd name="connsiteX2286" fmla="*/ 4059298 w 4919004"/>
                <a:gd name="connsiteY2286" fmla="*/ 443372 h 2455817"/>
                <a:gd name="connsiteX2287" fmla="*/ 4061371 w 4919004"/>
                <a:gd name="connsiteY2287" fmla="*/ 441744 h 2455817"/>
                <a:gd name="connsiteX2288" fmla="*/ 4063443 w 4919004"/>
                <a:gd name="connsiteY2288" fmla="*/ 446678 h 2455817"/>
                <a:gd name="connsiteX2289" fmla="*/ 4067588 w 4919004"/>
                <a:gd name="connsiteY2289" fmla="*/ 449935 h 2455817"/>
                <a:gd name="connsiteX2290" fmla="*/ 4069709 w 4919004"/>
                <a:gd name="connsiteY2290" fmla="*/ 443471 h 2455817"/>
                <a:gd name="connsiteX2291" fmla="*/ 4080121 w 4919004"/>
                <a:gd name="connsiteY2291" fmla="*/ 433603 h 2455817"/>
                <a:gd name="connsiteX2292" fmla="*/ 4077998 w 4919004"/>
                <a:gd name="connsiteY2292" fmla="*/ 428669 h 2455817"/>
                <a:gd name="connsiteX2293" fmla="*/ 4077998 w 4919004"/>
                <a:gd name="connsiteY2293" fmla="*/ 414163 h 2455817"/>
                <a:gd name="connsiteX2294" fmla="*/ 4082143 w 4919004"/>
                <a:gd name="connsiteY2294" fmla="*/ 410907 h 2455817"/>
                <a:gd name="connsiteX2295" fmla="*/ 4092771 w 4919004"/>
                <a:gd name="connsiteY2295" fmla="*/ 412288 h 2455817"/>
                <a:gd name="connsiteX2296" fmla="*/ 4094936 w 4919004"/>
                <a:gd name="connsiteY2296" fmla="*/ 413568 h 2455817"/>
                <a:gd name="connsiteX2297" fmla="*/ 4096698 w 4919004"/>
                <a:gd name="connsiteY2297" fmla="*/ 420577 h 2455817"/>
                <a:gd name="connsiteX2298" fmla="*/ 4098819 w 4919004"/>
                <a:gd name="connsiteY2298" fmla="*/ 423834 h 2455817"/>
                <a:gd name="connsiteX2299" fmla="*/ 4109231 w 4919004"/>
                <a:gd name="connsiteY2299" fmla="*/ 425413 h 2455817"/>
                <a:gd name="connsiteX2300" fmla="*/ 4115448 w 4919004"/>
                <a:gd name="connsiteY2300" fmla="*/ 428669 h 2455817"/>
                <a:gd name="connsiteX2301" fmla="*/ 4115448 w 4919004"/>
                <a:gd name="connsiteY2301" fmla="*/ 436711 h 2455817"/>
                <a:gd name="connsiteX2302" fmla="*/ 4125810 w 4919004"/>
                <a:gd name="connsiteY2302" fmla="*/ 446580 h 2455817"/>
                <a:gd name="connsiteX2303" fmla="*/ 4130003 w 4919004"/>
                <a:gd name="connsiteY2303" fmla="*/ 449836 h 2455817"/>
                <a:gd name="connsiteX2304" fmla="*/ 4140365 w 4919004"/>
                <a:gd name="connsiteY2304" fmla="*/ 448208 h 2455817"/>
                <a:gd name="connsiteX2305" fmla="*/ 4159114 w 4919004"/>
                <a:gd name="connsiteY2305" fmla="*/ 451415 h 2455817"/>
                <a:gd name="connsiteX2306" fmla="*/ 4161186 w 4919004"/>
                <a:gd name="connsiteY2306" fmla="*/ 449836 h 2455817"/>
                <a:gd name="connsiteX2307" fmla="*/ 4165330 w 4919004"/>
                <a:gd name="connsiteY2307" fmla="*/ 451415 h 2455817"/>
                <a:gd name="connsiteX2308" fmla="*/ 4177813 w 4919004"/>
                <a:gd name="connsiteY2308" fmla="*/ 464342 h 2455817"/>
                <a:gd name="connsiteX2309" fmla="*/ 4177813 w 4919004"/>
                <a:gd name="connsiteY2309" fmla="*/ 470756 h 2455817"/>
                <a:gd name="connsiteX2310" fmla="*/ 4182008 w 4919004"/>
                <a:gd name="connsiteY2310" fmla="*/ 475690 h 2455817"/>
                <a:gd name="connsiteX2311" fmla="*/ 4194442 w 4919004"/>
                <a:gd name="connsiteY2311" fmla="*/ 477269 h 2455817"/>
                <a:gd name="connsiteX2312" fmla="*/ 4200708 w 4919004"/>
                <a:gd name="connsiteY2312" fmla="*/ 472335 h 2455817"/>
                <a:gd name="connsiteX2313" fmla="*/ 4207862 w 4919004"/>
                <a:gd name="connsiteY2313" fmla="*/ 472335 h 2455817"/>
                <a:gd name="connsiteX2314" fmla="*/ 4207862 w 4919004"/>
                <a:gd name="connsiteY2314" fmla="*/ 467401 h 2455817"/>
                <a:gd name="connsiteX2315" fmla="*/ 4216200 w 4919004"/>
                <a:gd name="connsiteY2315" fmla="*/ 462467 h 2455817"/>
                <a:gd name="connsiteX2316" fmla="*/ 4220345 w 4919004"/>
                <a:gd name="connsiteY2316" fmla="*/ 464095 h 2455817"/>
                <a:gd name="connsiteX2317" fmla="*/ 4222417 w 4919004"/>
                <a:gd name="connsiteY2317" fmla="*/ 460839 h 2455817"/>
                <a:gd name="connsiteX2318" fmla="*/ 4218273 w 4919004"/>
                <a:gd name="connsiteY2318" fmla="*/ 455905 h 2455817"/>
                <a:gd name="connsiteX2319" fmla="*/ 4222417 w 4919004"/>
                <a:gd name="connsiteY2319" fmla="*/ 452698 h 2455817"/>
                <a:gd name="connsiteX2320" fmla="*/ 4220345 w 4919004"/>
                <a:gd name="connsiteY2320" fmla="*/ 449491 h 2455817"/>
                <a:gd name="connsiteX2321" fmla="*/ 4220345 w 4919004"/>
                <a:gd name="connsiteY2321" fmla="*/ 444557 h 2455817"/>
                <a:gd name="connsiteX2322" fmla="*/ 4214128 w 4919004"/>
                <a:gd name="connsiteY2322" fmla="*/ 436465 h 2455817"/>
                <a:gd name="connsiteX2323" fmla="*/ 4203717 w 4919004"/>
                <a:gd name="connsiteY2323" fmla="*/ 433258 h 2455817"/>
                <a:gd name="connsiteX2324" fmla="*/ 4199573 w 4919004"/>
                <a:gd name="connsiteY2324" fmla="*/ 423390 h 2455817"/>
                <a:gd name="connsiteX2325" fmla="*/ 4187090 w 4919004"/>
                <a:gd name="connsiteY2325" fmla="*/ 412091 h 2455817"/>
                <a:gd name="connsiteX2326" fmla="*/ 4182896 w 4919004"/>
                <a:gd name="connsiteY2326" fmla="*/ 412091 h 2455817"/>
                <a:gd name="connsiteX2327" fmla="*/ 4178752 w 4919004"/>
                <a:gd name="connsiteY2327" fmla="*/ 407157 h 2455817"/>
                <a:gd name="connsiteX2328" fmla="*/ 4166318 w 4919004"/>
                <a:gd name="connsiteY2328" fmla="*/ 402223 h 2455817"/>
                <a:gd name="connsiteX2329" fmla="*/ 4160052 w 4919004"/>
                <a:gd name="connsiteY2329" fmla="*/ 407157 h 2455817"/>
                <a:gd name="connsiteX2330" fmla="*/ 4155907 w 4919004"/>
                <a:gd name="connsiteY2330" fmla="*/ 407157 h 2455817"/>
                <a:gd name="connsiteX2331" fmla="*/ 4155907 w 4919004"/>
                <a:gd name="connsiteY2331" fmla="*/ 399114 h 2455817"/>
                <a:gd name="connsiteX2332" fmla="*/ 4157979 w 4919004"/>
                <a:gd name="connsiteY2332" fmla="*/ 394180 h 2455817"/>
                <a:gd name="connsiteX2333" fmla="*/ 4151762 w 4919004"/>
                <a:gd name="connsiteY2333" fmla="*/ 386088 h 2455817"/>
                <a:gd name="connsiteX2334" fmla="*/ 4149640 w 4919004"/>
                <a:gd name="connsiteY2334" fmla="*/ 379674 h 2455817"/>
                <a:gd name="connsiteX2335" fmla="*/ 4145496 w 4919004"/>
                <a:gd name="connsiteY2335" fmla="*/ 376418 h 2455817"/>
                <a:gd name="connsiteX2336" fmla="*/ 4141351 w 4919004"/>
                <a:gd name="connsiteY2336" fmla="*/ 366550 h 2455817"/>
                <a:gd name="connsiteX2337" fmla="*/ 4130940 w 4919004"/>
                <a:gd name="connsiteY2337" fmla="*/ 360086 h 2455817"/>
                <a:gd name="connsiteX2338" fmla="*/ 4133013 w 4919004"/>
                <a:gd name="connsiteY2338" fmla="*/ 358507 h 2455817"/>
                <a:gd name="connsiteX2339" fmla="*/ 4149640 w 4919004"/>
                <a:gd name="connsiteY2339" fmla="*/ 355251 h 2455817"/>
                <a:gd name="connsiteX2340" fmla="*/ 4153785 w 4919004"/>
                <a:gd name="connsiteY2340" fmla="*/ 358507 h 2455817"/>
                <a:gd name="connsiteX2341" fmla="*/ 4174607 w 4919004"/>
                <a:gd name="connsiteY2341" fmla="*/ 356879 h 2455817"/>
                <a:gd name="connsiteX2342" fmla="*/ 4189162 w 4919004"/>
                <a:gd name="connsiteY2342" fmla="*/ 356879 h 2455817"/>
                <a:gd name="connsiteX2343" fmla="*/ 4191234 w 4919004"/>
                <a:gd name="connsiteY2343" fmla="*/ 351945 h 2455817"/>
                <a:gd name="connsiteX2344" fmla="*/ 4199573 w 4919004"/>
                <a:gd name="connsiteY2344" fmla="*/ 350317 h 2455817"/>
                <a:gd name="connsiteX2345" fmla="*/ 4207862 w 4919004"/>
                <a:gd name="connsiteY2345" fmla="*/ 355251 h 2455817"/>
                <a:gd name="connsiteX2346" fmla="*/ 4214128 w 4919004"/>
                <a:gd name="connsiteY2346" fmla="*/ 353672 h 2455817"/>
                <a:gd name="connsiteX2347" fmla="*/ 4220345 w 4919004"/>
                <a:gd name="connsiteY2347" fmla="*/ 353672 h 2455817"/>
                <a:gd name="connsiteX2348" fmla="*/ 4220345 w 4919004"/>
                <a:gd name="connsiteY2348" fmla="*/ 347208 h 2455817"/>
                <a:gd name="connsiteX2349" fmla="*/ 4228684 w 4919004"/>
                <a:gd name="connsiteY2349" fmla="*/ 347208 h 2455817"/>
                <a:gd name="connsiteX2350" fmla="*/ 4232829 w 4919004"/>
                <a:gd name="connsiteY2350" fmla="*/ 350415 h 2455817"/>
                <a:gd name="connsiteX2351" fmla="*/ 4234901 w 4919004"/>
                <a:gd name="connsiteY2351" fmla="*/ 350415 h 2455817"/>
                <a:gd name="connsiteX2352" fmla="*/ 4239095 w 4919004"/>
                <a:gd name="connsiteY2352" fmla="*/ 344001 h 2455817"/>
                <a:gd name="connsiteX2353" fmla="*/ 4245312 w 4919004"/>
                <a:gd name="connsiteY2353" fmla="*/ 345580 h 2455817"/>
                <a:gd name="connsiteX2354" fmla="*/ 4245312 w 4919004"/>
                <a:gd name="connsiteY2354" fmla="*/ 339166 h 2455817"/>
                <a:gd name="connsiteX2355" fmla="*/ 4274422 w 4919004"/>
                <a:gd name="connsiteY2355" fmla="*/ 332702 h 2455817"/>
                <a:gd name="connsiteX2356" fmla="*/ 4278567 w 4919004"/>
                <a:gd name="connsiteY2356" fmla="*/ 339166 h 2455817"/>
                <a:gd name="connsiteX2357" fmla="*/ 4280639 w 4919004"/>
                <a:gd name="connsiteY2357" fmla="*/ 334232 h 2455817"/>
                <a:gd name="connsiteX2358" fmla="*/ 4284834 w 4919004"/>
                <a:gd name="connsiteY2358" fmla="*/ 329298 h 2455817"/>
                <a:gd name="connsiteX2359" fmla="*/ 4286856 w 4919004"/>
                <a:gd name="connsiteY2359" fmla="*/ 330876 h 2455817"/>
                <a:gd name="connsiteX2360" fmla="*/ 4297267 w 4919004"/>
                <a:gd name="connsiteY2360" fmla="*/ 329298 h 2455817"/>
                <a:gd name="connsiteX2361" fmla="*/ 4303533 w 4919004"/>
                <a:gd name="connsiteY2361" fmla="*/ 327669 h 2455817"/>
                <a:gd name="connsiteX2362" fmla="*/ 4309749 w 4919004"/>
                <a:gd name="connsiteY2362" fmla="*/ 332603 h 2455817"/>
                <a:gd name="connsiteX2363" fmla="*/ 4322233 w 4919004"/>
                <a:gd name="connsiteY2363" fmla="*/ 332603 h 2455817"/>
                <a:gd name="connsiteX2364" fmla="*/ 4328499 w 4919004"/>
                <a:gd name="connsiteY2364" fmla="*/ 330975 h 2455817"/>
                <a:gd name="connsiteX2365" fmla="*/ 4332644 w 4919004"/>
                <a:gd name="connsiteY2365" fmla="*/ 334232 h 2455817"/>
                <a:gd name="connsiteX2366" fmla="*/ 4336788 w 4919004"/>
                <a:gd name="connsiteY2366" fmla="*/ 335811 h 2455817"/>
                <a:gd name="connsiteX2367" fmla="*/ 4340933 w 4919004"/>
                <a:gd name="connsiteY2367" fmla="*/ 332603 h 2455817"/>
                <a:gd name="connsiteX2368" fmla="*/ 4353416 w 4919004"/>
                <a:gd name="connsiteY2368" fmla="*/ 330975 h 2455817"/>
                <a:gd name="connsiteX2369" fmla="*/ 4376310 w 4919004"/>
                <a:gd name="connsiteY2369" fmla="*/ 337439 h 2455817"/>
                <a:gd name="connsiteX2370" fmla="*/ 4384600 w 4919004"/>
                <a:gd name="connsiteY2370" fmla="*/ 340646 h 2455817"/>
                <a:gd name="connsiteX2371" fmla="*/ 4388744 w 4919004"/>
                <a:gd name="connsiteY2371" fmla="*/ 339067 h 2455817"/>
                <a:gd name="connsiteX2372" fmla="*/ 4386721 w 4919004"/>
                <a:gd name="connsiteY2372" fmla="*/ 337439 h 2455817"/>
                <a:gd name="connsiteX2373" fmla="*/ 4395010 w 4919004"/>
                <a:gd name="connsiteY2373" fmla="*/ 335811 h 2455817"/>
                <a:gd name="connsiteX2374" fmla="*/ 4399155 w 4919004"/>
                <a:gd name="connsiteY2374" fmla="*/ 339067 h 2455817"/>
                <a:gd name="connsiteX2375" fmla="*/ 4395010 w 4919004"/>
                <a:gd name="connsiteY2375" fmla="*/ 342274 h 2455817"/>
                <a:gd name="connsiteX2376" fmla="*/ 4399155 w 4919004"/>
                <a:gd name="connsiteY2376" fmla="*/ 343902 h 2455817"/>
                <a:gd name="connsiteX2377" fmla="*/ 4409565 w 4919004"/>
                <a:gd name="connsiteY2377" fmla="*/ 342274 h 2455817"/>
                <a:gd name="connsiteX2378" fmla="*/ 4434532 w 4919004"/>
                <a:gd name="connsiteY2378" fmla="*/ 343902 h 2455817"/>
                <a:gd name="connsiteX2379" fmla="*/ 4455304 w 4919004"/>
                <a:gd name="connsiteY2379" fmla="*/ 356780 h 2455817"/>
                <a:gd name="connsiteX2380" fmla="*/ 4455304 w 4919004"/>
                <a:gd name="connsiteY2380" fmla="*/ 359987 h 2455817"/>
                <a:gd name="connsiteX2381" fmla="*/ 4449087 w 4919004"/>
                <a:gd name="connsiteY2381" fmla="*/ 356780 h 2455817"/>
                <a:gd name="connsiteX2382" fmla="*/ 4436605 w 4919004"/>
                <a:gd name="connsiteY2382" fmla="*/ 351846 h 2455817"/>
                <a:gd name="connsiteX2383" fmla="*/ 4434532 w 4919004"/>
                <a:gd name="connsiteY2383" fmla="*/ 355053 h 2455817"/>
                <a:gd name="connsiteX2384" fmla="*/ 4457377 w 4919004"/>
                <a:gd name="connsiteY2384" fmla="*/ 361517 h 2455817"/>
                <a:gd name="connsiteX2385" fmla="*/ 4467787 w 4919004"/>
                <a:gd name="connsiteY2385" fmla="*/ 361517 h 2455817"/>
                <a:gd name="connsiteX2386" fmla="*/ 4469860 w 4919004"/>
                <a:gd name="connsiteY2386" fmla="*/ 356583 h 2455817"/>
                <a:gd name="connsiteX2387" fmla="*/ 4488608 w 4919004"/>
                <a:gd name="connsiteY2387" fmla="*/ 356583 h 2455817"/>
                <a:gd name="connsiteX2388" fmla="*/ 4486487 w 4919004"/>
                <a:gd name="connsiteY2388" fmla="*/ 351649 h 2455817"/>
                <a:gd name="connsiteX2389" fmla="*/ 4492753 w 4919004"/>
                <a:gd name="connsiteY2389" fmla="*/ 350021 h 2455817"/>
                <a:gd name="connsiteX2390" fmla="*/ 4498970 w 4919004"/>
                <a:gd name="connsiteY2390" fmla="*/ 353277 h 2455817"/>
                <a:gd name="connsiteX2391" fmla="*/ 4505237 w 4919004"/>
                <a:gd name="connsiteY2391" fmla="*/ 356484 h 2455817"/>
                <a:gd name="connsiteX2392" fmla="*/ 4509382 w 4919004"/>
                <a:gd name="connsiteY2392" fmla="*/ 358112 h 2455817"/>
                <a:gd name="connsiteX2393" fmla="*/ 4509382 w 4919004"/>
                <a:gd name="connsiteY2393" fmla="*/ 353178 h 2455817"/>
                <a:gd name="connsiteX2394" fmla="*/ 4521864 w 4919004"/>
                <a:gd name="connsiteY2394" fmla="*/ 354757 h 2455817"/>
                <a:gd name="connsiteX2395" fmla="*/ 4521864 w 4919004"/>
                <a:gd name="connsiteY2395" fmla="*/ 359691 h 2455817"/>
                <a:gd name="connsiteX2396" fmla="*/ 4532275 w 4919004"/>
                <a:gd name="connsiteY2396" fmla="*/ 362948 h 2455817"/>
                <a:gd name="connsiteX2397" fmla="*/ 4540564 w 4919004"/>
                <a:gd name="connsiteY2397" fmla="*/ 359691 h 2455817"/>
                <a:gd name="connsiteX2398" fmla="*/ 4571747 w 4919004"/>
                <a:gd name="connsiteY2398" fmla="*/ 364625 h 2455817"/>
                <a:gd name="connsiteX2399" fmla="*/ 4569675 w 4919004"/>
                <a:gd name="connsiteY2399" fmla="*/ 359691 h 2455817"/>
                <a:gd name="connsiteX2400" fmla="*/ 4580036 w 4919004"/>
                <a:gd name="connsiteY2400" fmla="*/ 359691 h 2455817"/>
                <a:gd name="connsiteX2401" fmla="*/ 4582159 w 4919004"/>
                <a:gd name="connsiteY2401" fmla="*/ 364625 h 2455817"/>
                <a:gd name="connsiteX2402" fmla="*/ 4588376 w 4919004"/>
                <a:gd name="connsiteY2402" fmla="*/ 367882 h 2455817"/>
                <a:gd name="connsiteX2403" fmla="*/ 4586302 w 4919004"/>
                <a:gd name="connsiteY2403" fmla="*/ 361418 h 2455817"/>
                <a:gd name="connsiteX2404" fmla="*/ 4590497 w 4919004"/>
                <a:gd name="connsiteY2404" fmla="*/ 359790 h 2455817"/>
                <a:gd name="connsiteX2405" fmla="*/ 4600858 w 4919004"/>
                <a:gd name="connsiteY2405" fmla="*/ 361418 h 2455817"/>
                <a:gd name="connsiteX2406" fmla="*/ 4598786 w 4919004"/>
                <a:gd name="connsiteY2406" fmla="*/ 364625 h 2455817"/>
                <a:gd name="connsiteX2407" fmla="*/ 4605052 w 4919004"/>
                <a:gd name="connsiteY2407" fmla="*/ 371089 h 2455817"/>
                <a:gd name="connsiteX2408" fmla="*/ 4615414 w 4919004"/>
                <a:gd name="connsiteY2408" fmla="*/ 369461 h 2455817"/>
                <a:gd name="connsiteX2409" fmla="*/ 4615414 w 4919004"/>
                <a:gd name="connsiteY2409" fmla="*/ 366253 h 2455817"/>
                <a:gd name="connsiteX2410" fmla="*/ 4611269 w 4919004"/>
                <a:gd name="connsiteY2410" fmla="*/ 363046 h 2455817"/>
                <a:gd name="connsiteX2411" fmla="*/ 4621680 w 4919004"/>
                <a:gd name="connsiteY2411" fmla="*/ 364625 h 2455817"/>
                <a:gd name="connsiteX2412" fmla="*/ 4625824 w 4919004"/>
                <a:gd name="connsiteY2412" fmla="*/ 366253 h 2455817"/>
                <a:gd name="connsiteX2413" fmla="*/ 4623703 w 4919004"/>
                <a:gd name="connsiteY2413" fmla="*/ 371188 h 2455817"/>
                <a:gd name="connsiteX2414" fmla="*/ 4632041 w 4919004"/>
                <a:gd name="connsiteY2414" fmla="*/ 376122 h 2455817"/>
                <a:gd name="connsiteX2415" fmla="*/ 4644524 w 4919004"/>
                <a:gd name="connsiteY2415" fmla="*/ 381056 h 2455817"/>
                <a:gd name="connsiteX2416" fmla="*/ 4652813 w 4919004"/>
                <a:gd name="connsiteY2416" fmla="*/ 377849 h 2455817"/>
                <a:gd name="connsiteX2417" fmla="*/ 4640379 w 4919004"/>
                <a:gd name="connsiteY2417" fmla="*/ 372914 h 2455817"/>
                <a:gd name="connsiteX2418" fmla="*/ 4634113 w 4919004"/>
                <a:gd name="connsiteY2418" fmla="*/ 369658 h 2455817"/>
                <a:gd name="connsiteX2419" fmla="*/ 4632041 w 4919004"/>
                <a:gd name="connsiteY2419" fmla="*/ 366451 h 2455817"/>
                <a:gd name="connsiteX2420" fmla="*/ 4640379 w 4919004"/>
                <a:gd name="connsiteY2420" fmla="*/ 364823 h 2455817"/>
                <a:gd name="connsiteX2421" fmla="*/ 4648669 w 4919004"/>
                <a:gd name="connsiteY2421" fmla="*/ 366451 h 2455817"/>
                <a:gd name="connsiteX2422" fmla="*/ 4661153 w 4919004"/>
                <a:gd name="connsiteY2422" fmla="*/ 372914 h 2455817"/>
                <a:gd name="connsiteX2423" fmla="*/ 4665346 w 4919004"/>
                <a:gd name="connsiteY2423" fmla="*/ 379378 h 2455817"/>
                <a:gd name="connsiteX2424" fmla="*/ 4669491 w 4919004"/>
                <a:gd name="connsiteY2424" fmla="*/ 380957 h 2455817"/>
                <a:gd name="connsiteX2425" fmla="*/ 4671563 w 4919004"/>
                <a:gd name="connsiteY2425" fmla="*/ 376023 h 2455817"/>
                <a:gd name="connsiteX2426" fmla="*/ 4669491 w 4919004"/>
                <a:gd name="connsiteY2426" fmla="*/ 372816 h 2455817"/>
                <a:gd name="connsiteX2427" fmla="*/ 4673635 w 4919004"/>
                <a:gd name="connsiteY2427" fmla="*/ 374395 h 2455817"/>
                <a:gd name="connsiteX2428" fmla="*/ 4679901 w 4919004"/>
                <a:gd name="connsiteY2428" fmla="*/ 377651 h 2455817"/>
                <a:gd name="connsiteX2429" fmla="*/ 4677780 w 4919004"/>
                <a:gd name="connsiteY2429" fmla="*/ 380858 h 2455817"/>
                <a:gd name="connsiteX2430" fmla="*/ 4686118 w 4919004"/>
                <a:gd name="connsiteY2430" fmla="*/ 387322 h 2455817"/>
                <a:gd name="connsiteX2431" fmla="*/ 4696480 w 4919004"/>
                <a:gd name="connsiteY2431" fmla="*/ 405035 h 2455817"/>
                <a:gd name="connsiteX2432" fmla="*/ 4709013 w 4919004"/>
                <a:gd name="connsiteY2432" fmla="*/ 409969 h 2455817"/>
                <a:gd name="connsiteX2433" fmla="*/ 4711035 w 4919004"/>
                <a:gd name="connsiteY2433" fmla="*/ 416433 h 2455817"/>
                <a:gd name="connsiteX2434" fmla="*/ 4717301 w 4919004"/>
                <a:gd name="connsiteY2434" fmla="*/ 421367 h 2455817"/>
                <a:gd name="connsiteX2435" fmla="*/ 4721446 w 4919004"/>
                <a:gd name="connsiteY2435" fmla="*/ 427830 h 2455817"/>
                <a:gd name="connsiteX2436" fmla="*/ 4719373 w 4919004"/>
                <a:gd name="connsiteY2436" fmla="*/ 431037 h 2455817"/>
                <a:gd name="connsiteX2437" fmla="*/ 4721446 w 4919004"/>
                <a:gd name="connsiteY2437" fmla="*/ 437501 h 2455817"/>
                <a:gd name="connsiteX2438" fmla="*/ 4727713 w 4919004"/>
                <a:gd name="connsiteY2438" fmla="*/ 439129 h 2455817"/>
                <a:gd name="connsiteX2439" fmla="*/ 4733930 w 4919004"/>
                <a:gd name="connsiteY2439" fmla="*/ 434195 h 2455817"/>
                <a:gd name="connsiteX2440" fmla="*/ 4744340 w 4919004"/>
                <a:gd name="connsiteY2440" fmla="*/ 434195 h 2455817"/>
                <a:gd name="connsiteX2441" fmla="*/ 4748485 w 4919004"/>
                <a:gd name="connsiteY2441" fmla="*/ 444063 h 2455817"/>
                <a:gd name="connsiteX2442" fmla="*/ 4754702 w 4919004"/>
                <a:gd name="connsiteY2442" fmla="*/ 445642 h 2455817"/>
                <a:gd name="connsiteX2443" fmla="*/ 4756823 w 4919004"/>
                <a:gd name="connsiteY2443" fmla="*/ 442435 h 2455817"/>
                <a:gd name="connsiteX2444" fmla="*/ 4752678 w 4919004"/>
                <a:gd name="connsiteY2444" fmla="*/ 440807 h 2455817"/>
                <a:gd name="connsiteX2445" fmla="*/ 4750557 w 4919004"/>
                <a:gd name="connsiteY2445" fmla="*/ 435873 h 2455817"/>
                <a:gd name="connsiteX2446" fmla="*/ 4754702 w 4919004"/>
                <a:gd name="connsiteY2446" fmla="*/ 429458 h 2455817"/>
                <a:gd name="connsiteX2447" fmla="*/ 4758895 w 4919004"/>
                <a:gd name="connsiteY2447" fmla="*/ 431037 h 2455817"/>
                <a:gd name="connsiteX2448" fmla="*/ 4763040 w 4919004"/>
                <a:gd name="connsiteY2448" fmla="*/ 439129 h 2455817"/>
                <a:gd name="connsiteX2449" fmla="*/ 4771378 w 4919004"/>
                <a:gd name="connsiteY2449" fmla="*/ 445543 h 2455817"/>
                <a:gd name="connsiteX2450" fmla="*/ 4769257 w 4919004"/>
                <a:gd name="connsiteY2450" fmla="*/ 442336 h 2455817"/>
                <a:gd name="connsiteX2451" fmla="*/ 4765112 w 4919004"/>
                <a:gd name="connsiteY2451" fmla="*/ 432468 h 2455817"/>
                <a:gd name="connsiteX2452" fmla="*/ 4765112 w 4919004"/>
                <a:gd name="connsiteY2452" fmla="*/ 427534 h 2455817"/>
                <a:gd name="connsiteX2453" fmla="*/ 4758895 w 4919004"/>
                <a:gd name="connsiteY2453" fmla="*/ 421071 h 2455817"/>
                <a:gd name="connsiteX2454" fmla="*/ 4750557 w 4919004"/>
                <a:gd name="connsiteY2454" fmla="*/ 426005 h 2455817"/>
                <a:gd name="connsiteX2455" fmla="*/ 4740145 w 4919004"/>
                <a:gd name="connsiteY2455" fmla="*/ 427633 h 2455817"/>
                <a:gd name="connsiteX2456" fmla="*/ 4740145 w 4919004"/>
                <a:gd name="connsiteY2456" fmla="*/ 422699 h 2455817"/>
                <a:gd name="connsiteX2457" fmla="*/ 4744340 w 4919004"/>
                <a:gd name="connsiteY2457" fmla="*/ 417765 h 2455817"/>
                <a:gd name="connsiteX2458" fmla="*/ 4742268 w 4919004"/>
                <a:gd name="connsiteY2458" fmla="*/ 409673 h 2455817"/>
                <a:gd name="connsiteX2459" fmla="*/ 4729785 w 4919004"/>
                <a:gd name="connsiteY2459" fmla="*/ 401631 h 2455817"/>
                <a:gd name="connsiteX2460" fmla="*/ 4723568 w 4919004"/>
                <a:gd name="connsiteY2460" fmla="*/ 396696 h 2455817"/>
                <a:gd name="connsiteX2461" fmla="*/ 4719373 w 4919004"/>
                <a:gd name="connsiteY2461" fmla="*/ 390233 h 2455817"/>
                <a:gd name="connsiteX2462" fmla="*/ 4715229 w 4919004"/>
                <a:gd name="connsiteY2462" fmla="*/ 390233 h 2455817"/>
                <a:gd name="connsiteX2463" fmla="*/ 4704818 w 4919004"/>
                <a:gd name="connsiteY2463" fmla="*/ 396696 h 2455817"/>
                <a:gd name="connsiteX2464" fmla="*/ 4704818 w 4919004"/>
                <a:gd name="connsiteY2464" fmla="*/ 393489 h 2455817"/>
                <a:gd name="connsiteX2465" fmla="*/ 4711035 w 4919004"/>
                <a:gd name="connsiteY2465" fmla="*/ 388555 h 2455817"/>
                <a:gd name="connsiteX2466" fmla="*/ 4717301 w 4919004"/>
                <a:gd name="connsiteY2466" fmla="*/ 378687 h 2455817"/>
                <a:gd name="connsiteX2467" fmla="*/ 4725590 w 4919004"/>
                <a:gd name="connsiteY2467" fmla="*/ 367388 h 2455817"/>
                <a:gd name="connsiteX2468" fmla="*/ 4729785 w 4919004"/>
                <a:gd name="connsiteY2468" fmla="*/ 367388 h 2455817"/>
                <a:gd name="connsiteX2469" fmla="*/ 4729785 w 4919004"/>
                <a:gd name="connsiteY2469" fmla="*/ 370595 h 2455817"/>
                <a:gd name="connsiteX2470" fmla="*/ 4736002 w 4919004"/>
                <a:gd name="connsiteY2470" fmla="*/ 381894 h 2455817"/>
                <a:gd name="connsiteX2471" fmla="*/ 4742268 w 4919004"/>
                <a:gd name="connsiteY2471" fmla="*/ 383523 h 2455817"/>
                <a:gd name="connsiteX2472" fmla="*/ 4744340 w 4919004"/>
                <a:gd name="connsiteY2472" fmla="*/ 381894 h 2455817"/>
                <a:gd name="connsiteX2473" fmla="*/ 4738123 w 4919004"/>
                <a:gd name="connsiteY2473" fmla="*/ 376960 h 2455817"/>
                <a:gd name="connsiteX2474" fmla="*/ 4736002 w 4919004"/>
                <a:gd name="connsiteY2474" fmla="*/ 370497 h 2455817"/>
                <a:gd name="connsiteX2475" fmla="*/ 4740145 w 4919004"/>
                <a:gd name="connsiteY2475" fmla="*/ 370497 h 2455817"/>
                <a:gd name="connsiteX2476" fmla="*/ 4748485 w 4919004"/>
                <a:gd name="connsiteY2476" fmla="*/ 365563 h 2455817"/>
                <a:gd name="connsiteX2477" fmla="*/ 4750557 w 4919004"/>
                <a:gd name="connsiteY2477" fmla="*/ 360629 h 2455817"/>
                <a:gd name="connsiteX2478" fmla="*/ 4740145 w 4919004"/>
                <a:gd name="connsiteY2478" fmla="*/ 360629 h 2455817"/>
                <a:gd name="connsiteX2479" fmla="*/ 4744340 w 4919004"/>
                <a:gd name="connsiteY2479" fmla="*/ 359000 h 2455817"/>
                <a:gd name="connsiteX2480" fmla="*/ 4748485 w 4919004"/>
                <a:gd name="connsiteY2480" fmla="*/ 357422 h 2455817"/>
                <a:gd name="connsiteX2481" fmla="*/ 4754702 w 4919004"/>
                <a:gd name="connsiteY2481" fmla="*/ 355793 h 2455817"/>
                <a:gd name="connsiteX2482" fmla="*/ 4760968 w 4919004"/>
                <a:gd name="connsiteY2482" fmla="*/ 345925 h 2455817"/>
                <a:gd name="connsiteX2483" fmla="*/ 4767234 w 4919004"/>
                <a:gd name="connsiteY2483" fmla="*/ 347554 h 2455817"/>
                <a:gd name="connsiteX2484" fmla="*/ 4771378 w 4919004"/>
                <a:gd name="connsiteY2484" fmla="*/ 350761 h 2455817"/>
                <a:gd name="connsiteX2485" fmla="*/ 4773450 w 4919004"/>
                <a:gd name="connsiteY2485" fmla="*/ 349132 h 2455817"/>
                <a:gd name="connsiteX2486" fmla="*/ 4781790 w 4919004"/>
                <a:gd name="connsiteY2486" fmla="*/ 350761 h 2455817"/>
                <a:gd name="connsiteX2487" fmla="*/ 4781790 w 4919004"/>
                <a:gd name="connsiteY2487" fmla="*/ 356632 h 2455817"/>
                <a:gd name="connsiteX2488" fmla="*/ 4788006 w 4919004"/>
                <a:gd name="connsiteY2488" fmla="*/ 361566 h 2455817"/>
                <a:gd name="connsiteX2489" fmla="*/ 4798367 w 4919004"/>
                <a:gd name="connsiteY2489" fmla="*/ 363194 h 2455817"/>
                <a:gd name="connsiteX2490" fmla="*/ 4802562 w 4919004"/>
                <a:gd name="connsiteY2490" fmla="*/ 361566 h 2455817"/>
                <a:gd name="connsiteX2491" fmla="*/ 4825455 w 4919004"/>
                <a:gd name="connsiteY2491" fmla="*/ 364823 h 2455817"/>
                <a:gd name="connsiteX2492" fmla="*/ 4823334 w 4919004"/>
                <a:gd name="connsiteY2492" fmla="*/ 371237 h 2455817"/>
                <a:gd name="connsiteX2493" fmla="*/ 4825455 w 4919004"/>
                <a:gd name="connsiteY2493" fmla="*/ 374493 h 2455817"/>
                <a:gd name="connsiteX2494" fmla="*/ 4829600 w 4919004"/>
                <a:gd name="connsiteY2494" fmla="*/ 372865 h 2455817"/>
                <a:gd name="connsiteX2495" fmla="*/ 4831672 w 4919004"/>
                <a:gd name="connsiteY2495" fmla="*/ 367931 h 2455817"/>
                <a:gd name="connsiteX2496" fmla="*/ 4837889 w 4919004"/>
                <a:gd name="connsiteY2496" fmla="*/ 367931 h 2455817"/>
                <a:gd name="connsiteX2497" fmla="*/ 4837889 w 4919004"/>
                <a:gd name="connsiteY2497" fmla="*/ 375974 h 2455817"/>
                <a:gd name="connsiteX2498" fmla="*/ 4844155 w 4919004"/>
                <a:gd name="connsiteY2498" fmla="*/ 372766 h 2455817"/>
                <a:gd name="connsiteX2499" fmla="*/ 4850372 w 4919004"/>
                <a:gd name="connsiteY2499" fmla="*/ 366303 h 2455817"/>
                <a:gd name="connsiteX2500" fmla="*/ 4856638 w 4919004"/>
                <a:gd name="connsiteY2500" fmla="*/ 367931 h 2455817"/>
                <a:gd name="connsiteX2501" fmla="*/ 4856638 w 4919004"/>
                <a:gd name="connsiteY2501" fmla="*/ 372865 h 2455817"/>
                <a:gd name="connsiteX2502" fmla="*/ 4852444 w 4919004"/>
                <a:gd name="connsiteY2502" fmla="*/ 377799 h 2455817"/>
                <a:gd name="connsiteX2503" fmla="*/ 4850372 w 4919004"/>
                <a:gd name="connsiteY2503" fmla="*/ 381056 h 2455817"/>
                <a:gd name="connsiteX2504" fmla="*/ 4856638 w 4919004"/>
                <a:gd name="connsiteY2504" fmla="*/ 397141 h 2455817"/>
                <a:gd name="connsiteX2505" fmla="*/ 4854567 w 4919004"/>
                <a:gd name="connsiteY2505" fmla="*/ 405232 h 2455817"/>
                <a:gd name="connsiteX2506" fmla="*/ 4856638 w 4919004"/>
                <a:gd name="connsiteY2506" fmla="*/ 410166 h 2455817"/>
                <a:gd name="connsiteX2507" fmla="*/ 4862855 w 4919004"/>
                <a:gd name="connsiteY2507" fmla="*/ 408538 h 2455817"/>
                <a:gd name="connsiteX2508" fmla="*/ 4867000 w 4919004"/>
                <a:gd name="connsiteY2508" fmla="*/ 415002 h 2455817"/>
                <a:gd name="connsiteX2509" fmla="*/ 4875339 w 4919004"/>
                <a:gd name="connsiteY2509" fmla="*/ 418209 h 2455817"/>
                <a:gd name="connsiteX2510" fmla="*/ 4877411 w 4919004"/>
                <a:gd name="connsiteY2510" fmla="*/ 424672 h 2455817"/>
                <a:gd name="connsiteX2511" fmla="*/ 4873267 w 4919004"/>
                <a:gd name="connsiteY2511" fmla="*/ 427880 h 2455817"/>
                <a:gd name="connsiteX2512" fmla="*/ 4862855 w 4919004"/>
                <a:gd name="connsiteY2512" fmla="*/ 427880 h 2455817"/>
                <a:gd name="connsiteX2513" fmla="*/ 4850372 w 4919004"/>
                <a:gd name="connsiteY2513" fmla="*/ 429508 h 2455817"/>
                <a:gd name="connsiteX2514" fmla="*/ 4867000 w 4919004"/>
                <a:gd name="connsiteY2514" fmla="*/ 432715 h 2455817"/>
                <a:gd name="connsiteX2515" fmla="*/ 4871194 w 4919004"/>
                <a:gd name="connsiteY2515" fmla="*/ 437649 h 2455817"/>
                <a:gd name="connsiteX2516" fmla="*/ 4869122 w 4919004"/>
                <a:gd name="connsiteY2516" fmla="*/ 444113 h 2455817"/>
                <a:gd name="connsiteX2517" fmla="*/ 4860783 w 4919004"/>
                <a:gd name="connsiteY2517" fmla="*/ 445741 h 2455817"/>
                <a:gd name="connsiteX2518" fmla="*/ 4854567 w 4919004"/>
                <a:gd name="connsiteY2518" fmla="*/ 455609 h 2455817"/>
                <a:gd name="connsiteX2519" fmla="*/ 4852444 w 4919004"/>
                <a:gd name="connsiteY2519" fmla="*/ 452352 h 2455817"/>
                <a:gd name="connsiteX2520" fmla="*/ 4842083 w 4919004"/>
                <a:gd name="connsiteY2520" fmla="*/ 458816 h 2455817"/>
                <a:gd name="connsiteX2521" fmla="*/ 4833745 w 4919004"/>
                <a:gd name="connsiteY2521" fmla="*/ 457188 h 2455817"/>
                <a:gd name="connsiteX2522" fmla="*/ 4825455 w 4919004"/>
                <a:gd name="connsiteY2522" fmla="*/ 463651 h 2455817"/>
                <a:gd name="connsiteX2523" fmla="*/ 4835817 w 4919004"/>
                <a:gd name="connsiteY2523" fmla="*/ 462023 h 2455817"/>
                <a:gd name="connsiteX2524" fmla="*/ 4842083 w 4919004"/>
                <a:gd name="connsiteY2524" fmla="*/ 465280 h 2455817"/>
                <a:gd name="connsiteX2525" fmla="*/ 4844155 w 4919004"/>
                <a:gd name="connsiteY2525" fmla="*/ 470214 h 2455817"/>
                <a:gd name="connsiteX2526" fmla="*/ 4850372 w 4919004"/>
                <a:gd name="connsiteY2526" fmla="*/ 465280 h 2455817"/>
                <a:gd name="connsiteX2527" fmla="*/ 4854567 w 4919004"/>
                <a:gd name="connsiteY2527" fmla="*/ 465280 h 2455817"/>
                <a:gd name="connsiteX2528" fmla="*/ 4854567 w 4919004"/>
                <a:gd name="connsiteY2528" fmla="*/ 470214 h 2455817"/>
                <a:gd name="connsiteX2529" fmla="*/ 4860783 w 4919004"/>
                <a:gd name="connsiteY2529" fmla="*/ 478256 h 2455817"/>
                <a:gd name="connsiteX2530" fmla="*/ 4854567 w 4919004"/>
                <a:gd name="connsiteY2530" fmla="*/ 481513 h 2455817"/>
                <a:gd name="connsiteX2531" fmla="*/ 4854567 w 4919004"/>
                <a:gd name="connsiteY2531" fmla="*/ 491381 h 2455817"/>
                <a:gd name="connsiteX2532" fmla="*/ 4862855 w 4919004"/>
                <a:gd name="connsiteY2532" fmla="*/ 483289 h 2455817"/>
                <a:gd name="connsiteX2533" fmla="*/ 4871194 w 4919004"/>
                <a:gd name="connsiteY2533" fmla="*/ 483289 h 2455817"/>
                <a:gd name="connsiteX2534" fmla="*/ 4881556 w 4919004"/>
                <a:gd name="connsiteY2534" fmla="*/ 489752 h 2455817"/>
                <a:gd name="connsiteX2535" fmla="*/ 4879484 w 4919004"/>
                <a:gd name="connsiteY2535" fmla="*/ 494686 h 2455817"/>
                <a:gd name="connsiteX2536" fmla="*/ 4885749 w 4919004"/>
                <a:gd name="connsiteY2536" fmla="*/ 502729 h 2455817"/>
                <a:gd name="connsiteX2537" fmla="*/ 4877411 w 4919004"/>
                <a:gd name="connsiteY2537" fmla="*/ 507663 h 2455817"/>
                <a:gd name="connsiteX2538" fmla="*/ 4881556 w 4919004"/>
                <a:gd name="connsiteY2538" fmla="*/ 509291 h 2455817"/>
                <a:gd name="connsiteX2539" fmla="*/ 4883677 w 4919004"/>
                <a:gd name="connsiteY2539" fmla="*/ 519159 h 2455817"/>
                <a:gd name="connsiteX2540" fmla="*/ 4875339 w 4919004"/>
                <a:gd name="connsiteY2540" fmla="*/ 522416 h 2455817"/>
                <a:gd name="connsiteX2541" fmla="*/ 4875339 w 4919004"/>
                <a:gd name="connsiteY2541" fmla="*/ 527350 h 2455817"/>
                <a:gd name="connsiteX2542" fmla="*/ 4877411 w 4919004"/>
                <a:gd name="connsiteY2542" fmla="*/ 530557 h 2455817"/>
                <a:gd name="connsiteX2543" fmla="*/ 4877411 w 4919004"/>
                <a:gd name="connsiteY2543" fmla="*/ 525623 h 2455817"/>
                <a:gd name="connsiteX2544" fmla="*/ 4883677 w 4919004"/>
                <a:gd name="connsiteY2544" fmla="*/ 523995 h 2455817"/>
                <a:gd name="connsiteX2545" fmla="*/ 4887772 w 4919004"/>
                <a:gd name="connsiteY2545" fmla="*/ 528929 h 2455817"/>
                <a:gd name="connsiteX2546" fmla="*/ 4887772 w 4919004"/>
                <a:gd name="connsiteY2546" fmla="*/ 537020 h 2455817"/>
                <a:gd name="connsiteX2547" fmla="*/ 4896111 w 4919004"/>
                <a:gd name="connsiteY2547" fmla="*/ 535392 h 2455817"/>
                <a:gd name="connsiteX2548" fmla="*/ 4898232 w 4919004"/>
                <a:gd name="connsiteY2548" fmla="*/ 538599 h 2455817"/>
                <a:gd name="connsiteX2549" fmla="*/ 4898232 w 4919004"/>
                <a:gd name="connsiteY2549" fmla="*/ 533665 h 2455817"/>
                <a:gd name="connsiteX2550" fmla="*/ 4902328 w 4919004"/>
                <a:gd name="connsiteY2550" fmla="*/ 530458 h 2455817"/>
                <a:gd name="connsiteX2551" fmla="*/ 4908594 w 4919004"/>
                <a:gd name="connsiteY2551" fmla="*/ 533665 h 2455817"/>
                <a:gd name="connsiteX2552" fmla="*/ 4914860 w 4919004"/>
                <a:gd name="connsiteY2552" fmla="*/ 533665 h 2455817"/>
                <a:gd name="connsiteX2553" fmla="*/ 4914860 w 4919004"/>
                <a:gd name="connsiteY2553" fmla="*/ 541757 h 2455817"/>
                <a:gd name="connsiteX2554" fmla="*/ 4910666 w 4919004"/>
                <a:gd name="connsiteY2554" fmla="*/ 543336 h 2455817"/>
                <a:gd name="connsiteX2555" fmla="*/ 4904449 w 4919004"/>
                <a:gd name="connsiteY2555" fmla="*/ 540129 h 2455817"/>
                <a:gd name="connsiteX2556" fmla="*/ 4898232 w 4919004"/>
                <a:gd name="connsiteY2556" fmla="*/ 545063 h 2455817"/>
                <a:gd name="connsiteX2557" fmla="*/ 4906522 w 4919004"/>
                <a:gd name="connsiteY2557" fmla="*/ 549997 h 2455817"/>
                <a:gd name="connsiteX2558" fmla="*/ 4912788 w 4919004"/>
                <a:gd name="connsiteY2558" fmla="*/ 548369 h 2455817"/>
                <a:gd name="connsiteX2559" fmla="*/ 4919004 w 4919004"/>
                <a:gd name="connsiteY2559" fmla="*/ 558237 h 2455817"/>
                <a:gd name="connsiteX2560" fmla="*/ 4916883 w 4919004"/>
                <a:gd name="connsiteY2560" fmla="*/ 561493 h 2455817"/>
                <a:gd name="connsiteX2561" fmla="*/ 4908594 w 4919004"/>
                <a:gd name="connsiteY2561" fmla="*/ 566427 h 2455817"/>
                <a:gd name="connsiteX2562" fmla="*/ 4900305 w 4919004"/>
                <a:gd name="connsiteY2562" fmla="*/ 556559 h 2455817"/>
                <a:gd name="connsiteX2563" fmla="*/ 4898232 w 4919004"/>
                <a:gd name="connsiteY2563" fmla="*/ 554931 h 2455817"/>
                <a:gd name="connsiteX2564" fmla="*/ 4900305 w 4919004"/>
                <a:gd name="connsiteY2564" fmla="*/ 566230 h 2455817"/>
                <a:gd name="connsiteX2565" fmla="*/ 4896111 w 4919004"/>
                <a:gd name="connsiteY2565" fmla="*/ 571164 h 2455817"/>
                <a:gd name="connsiteX2566" fmla="*/ 4891966 w 4919004"/>
                <a:gd name="connsiteY2566" fmla="*/ 569536 h 2455817"/>
                <a:gd name="connsiteX2567" fmla="*/ 4889894 w 4919004"/>
                <a:gd name="connsiteY2567" fmla="*/ 567957 h 2455817"/>
                <a:gd name="connsiteX2568" fmla="*/ 4885749 w 4919004"/>
                <a:gd name="connsiteY2568" fmla="*/ 567957 h 2455817"/>
                <a:gd name="connsiteX2569" fmla="*/ 4879484 w 4919004"/>
                <a:gd name="connsiteY2569" fmla="*/ 564700 h 2455817"/>
                <a:gd name="connsiteX2570" fmla="*/ 4862855 w 4919004"/>
                <a:gd name="connsiteY2570" fmla="*/ 564700 h 2455817"/>
                <a:gd name="connsiteX2571" fmla="*/ 4856638 w 4919004"/>
                <a:gd name="connsiteY2571" fmla="*/ 567957 h 2455817"/>
                <a:gd name="connsiteX2572" fmla="*/ 4850372 w 4919004"/>
                <a:gd name="connsiteY2572" fmla="*/ 567957 h 2455817"/>
                <a:gd name="connsiteX2573" fmla="*/ 4852444 w 4919004"/>
                <a:gd name="connsiteY2573" fmla="*/ 563023 h 2455817"/>
                <a:gd name="connsiteX2574" fmla="*/ 4848300 w 4919004"/>
                <a:gd name="connsiteY2574" fmla="*/ 558089 h 2455817"/>
                <a:gd name="connsiteX2575" fmla="*/ 4844155 w 4919004"/>
                <a:gd name="connsiteY2575" fmla="*/ 558089 h 2455817"/>
                <a:gd name="connsiteX2576" fmla="*/ 4846227 w 4919004"/>
                <a:gd name="connsiteY2576" fmla="*/ 566181 h 2455817"/>
                <a:gd name="connsiteX2577" fmla="*/ 4842083 w 4919004"/>
                <a:gd name="connsiteY2577" fmla="*/ 566181 h 2455817"/>
                <a:gd name="connsiteX2578" fmla="*/ 4840011 w 4919004"/>
                <a:gd name="connsiteY2578" fmla="*/ 567809 h 2455817"/>
                <a:gd name="connsiteX2579" fmla="*/ 4844155 w 4919004"/>
                <a:gd name="connsiteY2579" fmla="*/ 572743 h 2455817"/>
                <a:gd name="connsiteX2580" fmla="*/ 4837889 w 4919004"/>
                <a:gd name="connsiteY2580" fmla="*/ 577677 h 2455817"/>
                <a:gd name="connsiteX2581" fmla="*/ 4835817 w 4919004"/>
                <a:gd name="connsiteY2581" fmla="*/ 577677 h 2455817"/>
                <a:gd name="connsiteX2582" fmla="*/ 4835817 w 4919004"/>
                <a:gd name="connsiteY2582" fmla="*/ 576049 h 2455817"/>
                <a:gd name="connsiteX2583" fmla="*/ 4831672 w 4919004"/>
                <a:gd name="connsiteY2583" fmla="*/ 574420 h 2455817"/>
                <a:gd name="connsiteX2584" fmla="*/ 4816870 w 4919004"/>
                <a:gd name="connsiteY2584" fmla="*/ 577677 h 2455817"/>
                <a:gd name="connsiteX2585" fmla="*/ 4812677 w 4919004"/>
                <a:gd name="connsiteY2585" fmla="*/ 574420 h 2455817"/>
                <a:gd name="connsiteX2586" fmla="*/ 4814798 w 4919004"/>
                <a:gd name="connsiteY2586" fmla="*/ 571213 h 2455817"/>
                <a:gd name="connsiteX2587" fmla="*/ 4810653 w 4919004"/>
                <a:gd name="connsiteY2587" fmla="*/ 563171 h 2455817"/>
                <a:gd name="connsiteX2588" fmla="*/ 4808532 w 4919004"/>
                <a:gd name="connsiteY2588" fmla="*/ 561543 h 2455817"/>
                <a:gd name="connsiteX2589" fmla="*/ 4789831 w 4919004"/>
                <a:gd name="connsiteY2589" fmla="*/ 551675 h 2455817"/>
                <a:gd name="connsiteX2590" fmla="*/ 4787760 w 4919004"/>
                <a:gd name="connsiteY2590" fmla="*/ 548418 h 2455817"/>
                <a:gd name="connsiteX2591" fmla="*/ 4789831 w 4919004"/>
                <a:gd name="connsiteY2591" fmla="*/ 546839 h 2455817"/>
                <a:gd name="connsiteX2592" fmla="*/ 4777348 w 4919004"/>
                <a:gd name="connsiteY2592" fmla="*/ 543583 h 2455817"/>
                <a:gd name="connsiteX2593" fmla="*/ 4777348 w 4919004"/>
                <a:gd name="connsiteY2593" fmla="*/ 550046 h 2455817"/>
                <a:gd name="connsiteX2594" fmla="*/ 4764865 w 4919004"/>
                <a:gd name="connsiteY2594" fmla="*/ 551675 h 2455817"/>
                <a:gd name="connsiteX2595" fmla="*/ 4758648 w 4919004"/>
                <a:gd name="connsiteY2595" fmla="*/ 558089 h 2455817"/>
                <a:gd name="connsiteX2596" fmla="*/ 4754455 w 4919004"/>
                <a:gd name="connsiteY2596" fmla="*/ 558089 h 2455817"/>
                <a:gd name="connsiteX2597" fmla="*/ 4752432 w 4919004"/>
                <a:gd name="connsiteY2597" fmla="*/ 550046 h 2455817"/>
                <a:gd name="connsiteX2598" fmla="*/ 4750310 w 4919004"/>
                <a:gd name="connsiteY2598" fmla="*/ 562974 h 2455817"/>
                <a:gd name="connsiteX2599" fmla="*/ 4752432 w 4919004"/>
                <a:gd name="connsiteY2599" fmla="*/ 569388 h 2455817"/>
                <a:gd name="connsiteX2600" fmla="*/ 4750310 w 4919004"/>
                <a:gd name="connsiteY2600" fmla="*/ 577480 h 2455817"/>
                <a:gd name="connsiteX2601" fmla="*/ 4737876 w 4919004"/>
                <a:gd name="connsiteY2601" fmla="*/ 591986 h 2455817"/>
                <a:gd name="connsiteX2602" fmla="*/ 4731610 w 4919004"/>
                <a:gd name="connsiteY2602" fmla="*/ 591986 h 2455817"/>
                <a:gd name="connsiteX2603" fmla="*/ 4729538 w 4919004"/>
                <a:gd name="connsiteY2603" fmla="*/ 582118 h 2455817"/>
                <a:gd name="connsiteX2604" fmla="*/ 4723321 w 4919004"/>
                <a:gd name="connsiteY2604" fmla="*/ 578861 h 2455817"/>
                <a:gd name="connsiteX2605" fmla="*/ 4717054 w 4919004"/>
                <a:gd name="connsiteY2605" fmla="*/ 582118 h 2455817"/>
                <a:gd name="connsiteX2606" fmla="*/ 4698354 w 4919004"/>
                <a:gd name="connsiteY2606" fmla="*/ 570819 h 2455817"/>
                <a:gd name="connsiteX2607" fmla="*/ 4700427 w 4919004"/>
                <a:gd name="connsiteY2607" fmla="*/ 565885 h 2455817"/>
                <a:gd name="connsiteX2608" fmla="*/ 4696233 w 4919004"/>
                <a:gd name="connsiteY2608" fmla="*/ 551379 h 2455817"/>
                <a:gd name="connsiteX2609" fmla="*/ 4690016 w 4919004"/>
                <a:gd name="connsiteY2609" fmla="*/ 548122 h 2455817"/>
                <a:gd name="connsiteX2610" fmla="*/ 4687944 w 4919004"/>
                <a:gd name="connsiteY2610" fmla="*/ 544915 h 2455817"/>
                <a:gd name="connsiteX2611" fmla="*/ 4683799 w 4919004"/>
                <a:gd name="connsiteY2611" fmla="*/ 539981 h 2455817"/>
                <a:gd name="connsiteX2612" fmla="*/ 4679655 w 4919004"/>
                <a:gd name="connsiteY2612" fmla="*/ 543188 h 2455817"/>
                <a:gd name="connsiteX2613" fmla="*/ 4681678 w 4919004"/>
                <a:gd name="connsiteY2613" fmla="*/ 548122 h 2455817"/>
                <a:gd name="connsiteX2614" fmla="*/ 4681678 w 4919004"/>
                <a:gd name="connsiteY2614" fmla="*/ 553056 h 2455817"/>
                <a:gd name="connsiteX2615" fmla="*/ 4685871 w 4919004"/>
                <a:gd name="connsiteY2615" fmla="*/ 557990 h 2455817"/>
                <a:gd name="connsiteX2616" fmla="*/ 4683799 w 4919004"/>
                <a:gd name="connsiteY2616" fmla="*/ 562924 h 2455817"/>
                <a:gd name="connsiteX2617" fmla="*/ 4673389 w 4919004"/>
                <a:gd name="connsiteY2617" fmla="*/ 556461 h 2455817"/>
                <a:gd name="connsiteX2618" fmla="*/ 4665099 w 4919004"/>
                <a:gd name="connsiteY2618" fmla="*/ 548369 h 2455817"/>
                <a:gd name="connsiteX2619" fmla="*/ 4662978 w 4919004"/>
                <a:gd name="connsiteY2619" fmla="*/ 548369 h 2455817"/>
                <a:gd name="connsiteX2620" fmla="*/ 4667123 w 4919004"/>
                <a:gd name="connsiteY2620" fmla="*/ 556461 h 2455817"/>
                <a:gd name="connsiteX2621" fmla="*/ 4662978 w 4919004"/>
                <a:gd name="connsiteY2621" fmla="*/ 559668 h 2455817"/>
                <a:gd name="connsiteX2622" fmla="*/ 4667123 w 4919004"/>
                <a:gd name="connsiteY2622" fmla="*/ 562924 h 2455817"/>
                <a:gd name="connsiteX2623" fmla="*/ 4675461 w 4919004"/>
                <a:gd name="connsiteY2623" fmla="*/ 562924 h 2455817"/>
                <a:gd name="connsiteX2624" fmla="*/ 4679655 w 4919004"/>
                <a:gd name="connsiteY2624" fmla="*/ 567858 h 2455817"/>
                <a:gd name="connsiteX2625" fmla="*/ 4677533 w 4919004"/>
                <a:gd name="connsiteY2625" fmla="*/ 574272 h 2455817"/>
                <a:gd name="connsiteX2626" fmla="*/ 4667123 w 4919004"/>
                <a:gd name="connsiteY2626" fmla="*/ 574272 h 2455817"/>
                <a:gd name="connsiteX2627" fmla="*/ 4665099 w 4919004"/>
                <a:gd name="connsiteY2627" fmla="*/ 579206 h 2455817"/>
                <a:gd name="connsiteX2628" fmla="*/ 4669244 w 4919004"/>
                <a:gd name="connsiteY2628" fmla="*/ 580835 h 2455817"/>
                <a:gd name="connsiteX2629" fmla="*/ 4690016 w 4919004"/>
                <a:gd name="connsiteY2629" fmla="*/ 601804 h 2455817"/>
                <a:gd name="connsiteX2630" fmla="*/ 4704818 w 4919004"/>
                <a:gd name="connsiteY2630" fmla="*/ 605011 h 2455817"/>
                <a:gd name="connsiteX2631" fmla="*/ 4713156 w 4919004"/>
                <a:gd name="connsiteY2631" fmla="*/ 601804 h 2455817"/>
                <a:gd name="connsiteX2632" fmla="*/ 4721446 w 4919004"/>
                <a:gd name="connsiteY2632" fmla="*/ 606738 h 2455817"/>
                <a:gd name="connsiteX2633" fmla="*/ 4725590 w 4919004"/>
                <a:gd name="connsiteY2633" fmla="*/ 614781 h 2455817"/>
                <a:gd name="connsiteX2634" fmla="*/ 4723568 w 4919004"/>
                <a:gd name="connsiteY2634" fmla="*/ 614781 h 2455817"/>
                <a:gd name="connsiteX2635" fmla="*/ 4717301 w 4919004"/>
                <a:gd name="connsiteY2635" fmla="*/ 606738 h 2455817"/>
                <a:gd name="connsiteX2636" fmla="*/ 4713156 w 4919004"/>
                <a:gd name="connsiteY2636" fmla="*/ 606738 h 2455817"/>
                <a:gd name="connsiteX2637" fmla="*/ 4717301 w 4919004"/>
                <a:gd name="connsiteY2637" fmla="*/ 616606 h 2455817"/>
                <a:gd name="connsiteX2638" fmla="*/ 4727713 w 4919004"/>
                <a:gd name="connsiteY2638" fmla="*/ 623070 h 2455817"/>
                <a:gd name="connsiteX2639" fmla="*/ 4731857 w 4919004"/>
                <a:gd name="connsiteY2639" fmla="*/ 631113 h 2455817"/>
                <a:gd name="connsiteX2640" fmla="*/ 4738123 w 4919004"/>
                <a:gd name="connsiteY2640" fmla="*/ 637576 h 2455817"/>
                <a:gd name="connsiteX2641" fmla="*/ 4738123 w 4919004"/>
                <a:gd name="connsiteY2641" fmla="*/ 650454 h 2455817"/>
                <a:gd name="connsiteX2642" fmla="*/ 4731857 w 4919004"/>
                <a:gd name="connsiteY2642" fmla="*/ 671424 h 2455817"/>
                <a:gd name="connsiteX2643" fmla="*/ 4736002 w 4919004"/>
                <a:gd name="connsiteY2643" fmla="*/ 682722 h 2455817"/>
                <a:gd name="connsiteX2644" fmla="*/ 4736002 w 4919004"/>
                <a:gd name="connsiteY2644" fmla="*/ 692591 h 2455817"/>
                <a:gd name="connsiteX2645" fmla="*/ 4738123 w 4919004"/>
                <a:gd name="connsiteY2645" fmla="*/ 695798 h 2455817"/>
                <a:gd name="connsiteX2646" fmla="*/ 4727713 w 4919004"/>
                <a:gd name="connsiteY2646" fmla="*/ 707097 h 2455817"/>
                <a:gd name="connsiteX2647" fmla="*/ 4727713 w 4919004"/>
                <a:gd name="connsiteY2647" fmla="*/ 715139 h 2455817"/>
                <a:gd name="connsiteX2648" fmla="*/ 4721446 w 4919004"/>
                <a:gd name="connsiteY2648" fmla="*/ 720073 h 2455817"/>
                <a:gd name="connsiteX2649" fmla="*/ 4723568 w 4919004"/>
                <a:gd name="connsiteY2649" fmla="*/ 713659 h 2455817"/>
                <a:gd name="connsiteX2650" fmla="*/ 4721446 w 4919004"/>
                <a:gd name="connsiteY2650" fmla="*/ 710402 h 2455817"/>
                <a:gd name="connsiteX2651" fmla="*/ 4704818 w 4919004"/>
                <a:gd name="connsiteY2651" fmla="*/ 721701 h 2455817"/>
                <a:gd name="connsiteX2652" fmla="*/ 4700673 w 4919004"/>
                <a:gd name="connsiteY2652" fmla="*/ 716767 h 2455817"/>
                <a:gd name="connsiteX2653" fmla="*/ 4694457 w 4919004"/>
                <a:gd name="connsiteY2653" fmla="*/ 721701 h 2455817"/>
                <a:gd name="connsiteX2654" fmla="*/ 4688191 w 4919004"/>
                <a:gd name="connsiteY2654" fmla="*/ 721701 h 2455817"/>
                <a:gd name="connsiteX2655" fmla="*/ 4684046 w 4919004"/>
                <a:gd name="connsiteY2655" fmla="*/ 715238 h 2455817"/>
                <a:gd name="connsiteX2656" fmla="*/ 4677780 w 4919004"/>
                <a:gd name="connsiteY2656" fmla="*/ 715238 h 2455817"/>
                <a:gd name="connsiteX2657" fmla="*/ 4667368 w 4919004"/>
                <a:gd name="connsiteY2657" fmla="*/ 705370 h 2455817"/>
                <a:gd name="connsiteX2658" fmla="*/ 4659079 w 4919004"/>
                <a:gd name="connsiteY2658" fmla="*/ 700436 h 2455817"/>
                <a:gd name="connsiteX2659" fmla="*/ 4648669 w 4919004"/>
                <a:gd name="connsiteY2659" fmla="*/ 698807 h 2455817"/>
                <a:gd name="connsiteX2660" fmla="*/ 4642452 w 4919004"/>
                <a:gd name="connsiteY2660" fmla="*/ 695600 h 2455817"/>
                <a:gd name="connsiteX2661" fmla="*/ 4636235 w 4919004"/>
                <a:gd name="connsiteY2661" fmla="*/ 697229 h 2455817"/>
                <a:gd name="connsiteX2662" fmla="*/ 4629969 w 4919004"/>
                <a:gd name="connsiteY2662" fmla="*/ 705271 h 2455817"/>
                <a:gd name="connsiteX2663" fmla="*/ 4621680 w 4919004"/>
                <a:gd name="connsiteY2663" fmla="*/ 703643 h 2455817"/>
                <a:gd name="connsiteX2664" fmla="*/ 4629969 w 4919004"/>
                <a:gd name="connsiteY2664" fmla="*/ 706899 h 2455817"/>
                <a:gd name="connsiteX2665" fmla="*/ 4640379 w 4919004"/>
                <a:gd name="connsiteY2665" fmla="*/ 706899 h 2455817"/>
                <a:gd name="connsiteX2666" fmla="*/ 4644524 w 4919004"/>
                <a:gd name="connsiteY2666" fmla="*/ 701965 h 2455817"/>
                <a:gd name="connsiteX2667" fmla="*/ 4663225 w 4919004"/>
                <a:gd name="connsiteY2667" fmla="*/ 708379 h 2455817"/>
                <a:gd name="connsiteX2668" fmla="*/ 4667368 w 4919004"/>
                <a:gd name="connsiteY2668" fmla="*/ 713313 h 2455817"/>
                <a:gd name="connsiteX2669" fmla="*/ 4659079 w 4919004"/>
                <a:gd name="connsiteY2669" fmla="*/ 719728 h 2455817"/>
                <a:gd name="connsiteX2670" fmla="*/ 4652813 w 4919004"/>
                <a:gd name="connsiteY2670" fmla="*/ 716521 h 2455817"/>
                <a:gd name="connsiteX2671" fmla="*/ 4644524 w 4919004"/>
                <a:gd name="connsiteY2671" fmla="*/ 716521 h 2455817"/>
                <a:gd name="connsiteX2672" fmla="*/ 4644524 w 4919004"/>
                <a:gd name="connsiteY2672" fmla="*/ 722984 h 2455817"/>
                <a:gd name="connsiteX2673" fmla="*/ 4636235 w 4919004"/>
                <a:gd name="connsiteY2673" fmla="*/ 714892 h 2455817"/>
                <a:gd name="connsiteX2674" fmla="*/ 4629969 w 4919004"/>
                <a:gd name="connsiteY2674" fmla="*/ 716521 h 2455817"/>
                <a:gd name="connsiteX2675" fmla="*/ 4634113 w 4919004"/>
                <a:gd name="connsiteY2675" fmla="*/ 716521 h 2455817"/>
                <a:gd name="connsiteX2676" fmla="*/ 4636235 w 4919004"/>
                <a:gd name="connsiteY2676" fmla="*/ 724563 h 2455817"/>
                <a:gd name="connsiteX2677" fmla="*/ 4648669 w 4919004"/>
                <a:gd name="connsiteY2677" fmla="*/ 729497 h 2455817"/>
                <a:gd name="connsiteX2678" fmla="*/ 4644524 w 4919004"/>
                <a:gd name="connsiteY2678" fmla="*/ 739365 h 2455817"/>
                <a:gd name="connsiteX2679" fmla="*/ 4648669 w 4919004"/>
                <a:gd name="connsiteY2679" fmla="*/ 749233 h 2455817"/>
                <a:gd name="connsiteX2680" fmla="*/ 4657008 w 4919004"/>
                <a:gd name="connsiteY2680" fmla="*/ 752440 h 2455817"/>
                <a:gd name="connsiteX2681" fmla="*/ 4652813 w 4919004"/>
                <a:gd name="connsiteY2681" fmla="*/ 749233 h 2455817"/>
                <a:gd name="connsiteX2682" fmla="*/ 4652813 w 4919004"/>
                <a:gd name="connsiteY2682" fmla="*/ 736306 h 2455817"/>
                <a:gd name="connsiteX2683" fmla="*/ 4657008 w 4919004"/>
                <a:gd name="connsiteY2683" fmla="*/ 734678 h 2455817"/>
                <a:gd name="connsiteX2684" fmla="*/ 4663225 w 4919004"/>
                <a:gd name="connsiteY2684" fmla="*/ 736306 h 2455817"/>
                <a:gd name="connsiteX2685" fmla="*/ 4663225 w 4919004"/>
                <a:gd name="connsiteY2685" fmla="*/ 731372 h 2455817"/>
                <a:gd name="connsiteX2686" fmla="*/ 4675708 w 4919004"/>
                <a:gd name="connsiteY2686" fmla="*/ 723330 h 2455817"/>
                <a:gd name="connsiteX2687" fmla="*/ 4681925 w 4919004"/>
                <a:gd name="connsiteY2687" fmla="*/ 721701 h 2455817"/>
                <a:gd name="connsiteX2688" fmla="*/ 4686118 w 4919004"/>
                <a:gd name="connsiteY2688" fmla="*/ 724908 h 2455817"/>
                <a:gd name="connsiteX2689" fmla="*/ 4686118 w 4919004"/>
                <a:gd name="connsiteY2689" fmla="*/ 729843 h 2455817"/>
                <a:gd name="connsiteX2690" fmla="*/ 4694457 w 4919004"/>
                <a:gd name="connsiteY2690" fmla="*/ 741141 h 2455817"/>
                <a:gd name="connsiteX2691" fmla="*/ 4704818 w 4919004"/>
                <a:gd name="connsiteY2691" fmla="*/ 742770 h 2455817"/>
                <a:gd name="connsiteX2692" fmla="*/ 4713156 w 4919004"/>
                <a:gd name="connsiteY2692" fmla="*/ 750812 h 2455817"/>
                <a:gd name="connsiteX2693" fmla="*/ 4723568 w 4919004"/>
                <a:gd name="connsiteY2693" fmla="*/ 749233 h 2455817"/>
                <a:gd name="connsiteX2694" fmla="*/ 4725590 w 4919004"/>
                <a:gd name="connsiteY2694" fmla="*/ 744299 h 2455817"/>
                <a:gd name="connsiteX2695" fmla="*/ 4723568 w 4919004"/>
                <a:gd name="connsiteY2695" fmla="*/ 739365 h 2455817"/>
                <a:gd name="connsiteX2696" fmla="*/ 4727713 w 4919004"/>
                <a:gd name="connsiteY2696" fmla="*/ 740993 h 2455817"/>
                <a:gd name="connsiteX2697" fmla="*/ 4746412 w 4919004"/>
                <a:gd name="connsiteY2697" fmla="*/ 753921 h 2455817"/>
                <a:gd name="connsiteX2698" fmla="*/ 4748485 w 4919004"/>
                <a:gd name="connsiteY2698" fmla="*/ 758855 h 2455817"/>
                <a:gd name="connsiteX2699" fmla="*/ 4742268 w 4919004"/>
                <a:gd name="connsiteY2699" fmla="*/ 757226 h 2455817"/>
                <a:gd name="connsiteX2700" fmla="*/ 4742268 w 4919004"/>
                <a:gd name="connsiteY2700" fmla="*/ 761223 h 2455817"/>
                <a:gd name="connsiteX2701" fmla="*/ 4754702 w 4919004"/>
                <a:gd name="connsiteY2701" fmla="*/ 772473 h 2455817"/>
                <a:gd name="connsiteX2702" fmla="*/ 4758895 w 4919004"/>
                <a:gd name="connsiteY2702" fmla="*/ 770894 h 2455817"/>
                <a:gd name="connsiteX2703" fmla="*/ 4758895 w 4919004"/>
                <a:gd name="connsiteY2703" fmla="*/ 759595 h 2455817"/>
                <a:gd name="connsiteX2704" fmla="*/ 4769257 w 4919004"/>
                <a:gd name="connsiteY2704" fmla="*/ 766058 h 2455817"/>
                <a:gd name="connsiteX2705" fmla="*/ 4783812 w 4919004"/>
                <a:gd name="connsiteY2705" fmla="*/ 785400 h 2455817"/>
                <a:gd name="connsiteX2706" fmla="*/ 4779667 w 4919004"/>
                <a:gd name="connsiteY2706" fmla="*/ 782143 h 2455817"/>
                <a:gd name="connsiteX2707" fmla="*/ 4773450 w 4919004"/>
                <a:gd name="connsiteY2707" fmla="*/ 782143 h 2455817"/>
                <a:gd name="connsiteX2708" fmla="*/ 4773450 w 4919004"/>
                <a:gd name="connsiteY2708" fmla="*/ 783772 h 2455817"/>
                <a:gd name="connsiteX2709" fmla="*/ 4777595 w 4919004"/>
                <a:gd name="connsiteY2709" fmla="*/ 790235 h 2455817"/>
                <a:gd name="connsiteX2710" fmla="*/ 4771378 w 4919004"/>
                <a:gd name="connsiteY2710" fmla="*/ 795169 h 2455817"/>
                <a:gd name="connsiteX2711" fmla="*/ 4769257 w 4919004"/>
                <a:gd name="connsiteY2711" fmla="*/ 801633 h 2455817"/>
                <a:gd name="connsiteX2712" fmla="*/ 4773450 w 4919004"/>
                <a:gd name="connsiteY2712" fmla="*/ 804840 h 2455817"/>
                <a:gd name="connsiteX2713" fmla="*/ 4779667 w 4919004"/>
                <a:gd name="connsiteY2713" fmla="*/ 803212 h 2455817"/>
                <a:gd name="connsiteX2714" fmla="*/ 4781790 w 4919004"/>
                <a:gd name="connsiteY2714" fmla="*/ 796797 h 2455817"/>
                <a:gd name="connsiteX2715" fmla="*/ 4783812 w 4919004"/>
                <a:gd name="connsiteY2715" fmla="*/ 795169 h 2455817"/>
                <a:gd name="connsiteX2716" fmla="*/ 4790078 w 4919004"/>
                <a:gd name="connsiteY2716" fmla="*/ 796797 h 2455817"/>
                <a:gd name="connsiteX2717" fmla="*/ 4792150 w 4919004"/>
                <a:gd name="connsiteY2717" fmla="*/ 790334 h 2455817"/>
                <a:gd name="connsiteX2718" fmla="*/ 4796345 w 4919004"/>
                <a:gd name="connsiteY2718" fmla="*/ 800202 h 2455817"/>
                <a:gd name="connsiteX2719" fmla="*/ 4812922 w 4919004"/>
                <a:gd name="connsiteY2719" fmla="*/ 808244 h 2455817"/>
                <a:gd name="connsiteX2720" fmla="*/ 4829600 w 4919004"/>
                <a:gd name="connsiteY2720" fmla="*/ 813178 h 2455817"/>
                <a:gd name="connsiteX2721" fmla="*/ 4840011 w 4919004"/>
                <a:gd name="connsiteY2721" fmla="*/ 819642 h 2455817"/>
                <a:gd name="connsiteX2722" fmla="*/ 4833745 w 4919004"/>
                <a:gd name="connsiteY2722" fmla="*/ 824576 h 2455817"/>
                <a:gd name="connsiteX2723" fmla="*/ 4844155 w 4919004"/>
                <a:gd name="connsiteY2723" fmla="*/ 835875 h 2455817"/>
                <a:gd name="connsiteX2724" fmla="*/ 4850372 w 4919004"/>
                <a:gd name="connsiteY2724" fmla="*/ 837454 h 2455817"/>
                <a:gd name="connsiteX2725" fmla="*/ 4860783 w 4919004"/>
                <a:gd name="connsiteY2725" fmla="*/ 850381 h 2455817"/>
                <a:gd name="connsiteX2726" fmla="*/ 4860783 w 4919004"/>
                <a:gd name="connsiteY2726" fmla="*/ 868094 h 2455817"/>
                <a:gd name="connsiteX2727" fmla="*/ 4856638 w 4919004"/>
                <a:gd name="connsiteY2727" fmla="*/ 869722 h 2455817"/>
                <a:gd name="connsiteX2728" fmla="*/ 4856638 w 4919004"/>
                <a:gd name="connsiteY2728" fmla="*/ 872930 h 2455817"/>
                <a:gd name="connsiteX2729" fmla="*/ 4862855 w 4919004"/>
                <a:gd name="connsiteY2729" fmla="*/ 876186 h 2455817"/>
                <a:gd name="connsiteX2730" fmla="*/ 4867000 w 4919004"/>
                <a:gd name="connsiteY2730" fmla="*/ 884228 h 2455817"/>
                <a:gd name="connsiteX2731" fmla="*/ 4862855 w 4919004"/>
                <a:gd name="connsiteY2731" fmla="*/ 885857 h 2455817"/>
                <a:gd name="connsiteX2732" fmla="*/ 4858710 w 4919004"/>
                <a:gd name="connsiteY2732" fmla="*/ 882600 h 2455817"/>
                <a:gd name="connsiteX2733" fmla="*/ 4833745 w 4919004"/>
                <a:gd name="connsiteY2733" fmla="*/ 882600 h 2455817"/>
                <a:gd name="connsiteX2734" fmla="*/ 4825455 w 4919004"/>
                <a:gd name="connsiteY2734" fmla="*/ 877666 h 2455817"/>
                <a:gd name="connsiteX2735" fmla="*/ 4819189 w 4919004"/>
                <a:gd name="connsiteY2735" fmla="*/ 880923 h 2455817"/>
                <a:gd name="connsiteX2736" fmla="*/ 4812922 w 4919004"/>
                <a:gd name="connsiteY2736" fmla="*/ 879294 h 2455817"/>
                <a:gd name="connsiteX2737" fmla="*/ 4810900 w 4919004"/>
                <a:gd name="connsiteY2737" fmla="*/ 872831 h 2455817"/>
                <a:gd name="connsiteX2738" fmla="*/ 4806707 w 4919004"/>
                <a:gd name="connsiteY2738" fmla="*/ 871252 h 2455817"/>
                <a:gd name="connsiteX2739" fmla="*/ 4806707 w 4919004"/>
                <a:gd name="connsiteY2739" fmla="*/ 874459 h 2455817"/>
                <a:gd name="connsiteX2740" fmla="*/ 4808779 w 4919004"/>
                <a:gd name="connsiteY2740" fmla="*/ 879393 h 2455817"/>
                <a:gd name="connsiteX2741" fmla="*/ 4798367 w 4919004"/>
                <a:gd name="connsiteY2741" fmla="*/ 884327 h 2455817"/>
                <a:gd name="connsiteX2742" fmla="*/ 4788006 w 4919004"/>
                <a:gd name="connsiteY2742" fmla="*/ 884327 h 2455817"/>
                <a:gd name="connsiteX2743" fmla="*/ 4785933 w 4919004"/>
                <a:gd name="connsiteY2743" fmla="*/ 887534 h 2455817"/>
                <a:gd name="connsiteX2744" fmla="*/ 4792150 w 4919004"/>
                <a:gd name="connsiteY2744" fmla="*/ 890791 h 2455817"/>
                <a:gd name="connsiteX2745" fmla="*/ 4779667 w 4919004"/>
                <a:gd name="connsiteY2745" fmla="*/ 898833 h 2455817"/>
                <a:gd name="connsiteX2746" fmla="*/ 4771378 w 4919004"/>
                <a:gd name="connsiteY2746" fmla="*/ 900461 h 2455817"/>
                <a:gd name="connsiteX2747" fmla="*/ 4771378 w 4919004"/>
                <a:gd name="connsiteY2747" fmla="*/ 905395 h 2455817"/>
                <a:gd name="connsiteX2748" fmla="*/ 4777595 w 4919004"/>
                <a:gd name="connsiteY2748" fmla="*/ 907024 h 2455817"/>
                <a:gd name="connsiteX2749" fmla="*/ 4765112 w 4919004"/>
                <a:gd name="connsiteY2749" fmla="*/ 918273 h 2455817"/>
                <a:gd name="connsiteX2750" fmla="*/ 4760968 w 4919004"/>
                <a:gd name="connsiteY2750" fmla="*/ 923207 h 2455817"/>
                <a:gd name="connsiteX2751" fmla="*/ 4760968 w 4919004"/>
                <a:gd name="connsiteY2751" fmla="*/ 921628 h 2455817"/>
                <a:gd name="connsiteX2752" fmla="*/ 4754702 w 4919004"/>
                <a:gd name="connsiteY2752" fmla="*/ 920000 h 2455817"/>
                <a:gd name="connsiteX2753" fmla="*/ 4754702 w 4919004"/>
                <a:gd name="connsiteY2753" fmla="*/ 929868 h 2455817"/>
                <a:gd name="connsiteX2754" fmla="*/ 4758895 w 4919004"/>
                <a:gd name="connsiteY2754" fmla="*/ 937960 h 2455817"/>
                <a:gd name="connsiteX2755" fmla="*/ 4752678 w 4919004"/>
                <a:gd name="connsiteY2755" fmla="*/ 944374 h 2455817"/>
                <a:gd name="connsiteX2756" fmla="*/ 4748485 w 4919004"/>
                <a:gd name="connsiteY2756" fmla="*/ 941167 h 2455817"/>
                <a:gd name="connsiteX2757" fmla="*/ 4746412 w 4919004"/>
                <a:gd name="connsiteY2757" fmla="*/ 947631 h 2455817"/>
                <a:gd name="connsiteX2758" fmla="*/ 4750557 w 4919004"/>
                <a:gd name="connsiteY2758" fmla="*/ 950838 h 2455817"/>
                <a:gd name="connsiteX2759" fmla="*/ 4742268 w 4919004"/>
                <a:gd name="connsiteY2759" fmla="*/ 958880 h 2455817"/>
                <a:gd name="connsiteX2760" fmla="*/ 4736002 w 4919004"/>
                <a:gd name="connsiteY2760" fmla="*/ 960509 h 2455817"/>
                <a:gd name="connsiteX2761" fmla="*/ 4740145 w 4919004"/>
                <a:gd name="connsiteY2761" fmla="*/ 963716 h 2455817"/>
                <a:gd name="connsiteX2762" fmla="*/ 4738123 w 4919004"/>
                <a:gd name="connsiteY2762" fmla="*/ 966972 h 2455817"/>
                <a:gd name="connsiteX2763" fmla="*/ 4733930 w 4919004"/>
                <a:gd name="connsiteY2763" fmla="*/ 971906 h 2455817"/>
                <a:gd name="connsiteX2764" fmla="*/ 4729785 w 4919004"/>
                <a:gd name="connsiteY2764" fmla="*/ 970278 h 2455817"/>
                <a:gd name="connsiteX2765" fmla="*/ 4725590 w 4919004"/>
                <a:gd name="connsiteY2765" fmla="*/ 971906 h 2455817"/>
                <a:gd name="connsiteX2766" fmla="*/ 4729785 w 4919004"/>
                <a:gd name="connsiteY2766" fmla="*/ 976840 h 2455817"/>
                <a:gd name="connsiteX2767" fmla="*/ 4729785 w 4919004"/>
                <a:gd name="connsiteY2767" fmla="*/ 981774 h 2455817"/>
                <a:gd name="connsiteX2768" fmla="*/ 4721446 w 4919004"/>
                <a:gd name="connsiteY2768" fmla="*/ 986708 h 2455817"/>
                <a:gd name="connsiteX2769" fmla="*/ 4725590 w 4919004"/>
                <a:gd name="connsiteY2769" fmla="*/ 991642 h 2455817"/>
                <a:gd name="connsiteX2770" fmla="*/ 4723568 w 4919004"/>
                <a:gd name="connsiteY2770" fmla="*/ 996576 h 2455817"/>
                <a:gd name="connsiteX2771" fmla="*/ 4719373 w 4919004"/>
                <a:gd name="connsiteY2771" fmla="*/ 998205 h 2455817"/>
                <a:gd name="connsiteX2772" fmla="*/ 4715229 w 4919004"/>
                <a:gd name="connsiteY2772" fmla="*/ 994948 h 2455817"/>
                <a:gd name="connsiteX2773" fmla="*/ 4711134 w 4919004"/>
                <a:gd name="connsiteY2773" fmla="*/ 994948 h 2455817"/>
                <a:gd name="connsiteX2774" fmla="*/ 4715328 w 4919004"/>
                <a:gd name="connsiteY2774" fmla="*/ 1001412 h 2455817"/>
                <a:gd name="connsiteX2775" fmla="*/ 4725689 w 4919004"/>
                <a:gd name="connsiteY2775" fmla="*/ 1004619 h 2455817"/>
                <a:gd name="connsiteX2776" fmla="*/ 4721545 w 4919004"/>
                <a:gd name="connsiteY2776" fmla="*/ 1011083 h 2455817"/>
                <a:gd name="connsiteX2777" fmla="*/ 4711134 w 4919004"/>
                <a:gd name="connsiteY2777" fmla="*/ 1012711 h 2455817"/>
                <a:gd name="connsiteX2778" fmla="*/ 4711134 w 4919004"/>
                <a:gd name="connsiteY2778" fmla="*/ 1015918 h 2455817"/>
                <a:gd name="connsiteX2779" fmla="*/ 4717400 w 4919004"/>
                <a:gd name="connsiteY2779" fmla="*/ 1017546 h 2455817"/>
                <a:gd name="connsiteX2780" fmla="*/ 4721545 w 4919004"/>
                <a:gd name="connsiteY2780" fmla="*/ 1027414 h 2455817"/>
                <a:gd name="connsiteX2781" fmla="*/ 4717400 w 4919004"/>
                <a:gd name="connsiteY2781" fmla="*/ 1030621 h 2455817"/>
                <a:gd name="connsiteX2782" fmla="*/ 4719472 w 4919004"/>
                <a:gd name="connsiteY2782" fmla="*/ 1035555 h 2455817"/>
                <a:gd name="connsiteX2783" fmla="*/ 4713255 w 4919004"/>
                <a:gd name="connsiteY2783" fmla="*/ 1045423 h 2455817"/>
                <a:gd name="connsiteX2784" fmla="*/ 4715328 w 4919004"/>
                <a:gd name="connsiteY2784" fmla="*/ 1050357 h 2455817"/>
                <a:gd name="connsiteX2785" fmla="*/ 4709111 w 4919004"/>
                <a:gd name="connsiteY2785" fmla="*/ 1060226 h 2455817"/>
                <a:gd name="connsiteX2786" fmla="*/ 4706989 w 4919004"/>
                <a:gd name="connsiteY2786" fmla="*/ 1074732 h 2455817"/>
                <a:gd name="connsiteX2787" fmla="*/ 4702845 w 4919004"/>
                <a:gd name="connsiteY2787" fmla="*/ 1081195 h 2455817"/>
                <a:gd name="connsiteX2788" fmla="*/ 4702845 w 4919004"/>
                <a:gd name="connsiteY2788" fmla="*/ 1086129 h 2455817"/>
                <a:gd name="connsiteX2789" fmla="*/ 4706989 w 4919004"/>
                <a:gd name="connsiteY2789" fmla="*/ 1087757 h 2455817"/>
                <a:gd name="connsiteX2790" fmla="*/ 4709111 w 4919004"/>
                <a:gd name="connsiteY2790" fmla="*/ 1090964 h 2455817"/>
                <a:gd name="connsiteX2791" fmla="*/ 4706989 w 4919004"/>
                <a:gd name="connsiteY2791" fmla="*/ 1095899 h 2455817"/>
                <a:gd name="connsiteX2792" fmla="*/ 4717400 w 4919004"/>
                <a:gd name="connsiteY2792" fmla="*/ 1107198 h 2455817"/>
                <a:gd name="connsiteX2793" fmla="*/ 4717400 w 4919004"/>
                <a:gd name="connsiteY2793" fmla="*/ 1112132 h 2455817"/>
                <a:gd name="connsiteX2794" fmla="*/ 4711134 w 4919004"/>
                <a:gd name="connsiteY2794" fmla="*/ 1110503 h 2455817"/>
                <a:gd name="connsiteX2795" fmla="*/ 4702845 w 4919004"/>
                <a:gd name="connsiteY2795" fmla="*/ 1112132 h 2455817"/>
                <a:gd name="connsiteX2796" fmla="*/ 4696579 w 4919004"/>
                <a:gd name="connsiteY2796" fmla="*/ 1107198 h 2455817"/>
                <a:gd name="connsiteX2797" fmla="*/ 4692434 w 4919004"/>
                <a:gd name="connsiteY2797" fmla="*/ 1110405 h 2455817"/>
                <a:gd name="connsiteX2798" fmla="*/ 4682023 w 4919004"/>
                <a:gd name="connsiteY2798" fmla="*/ 1099155 h 2455817"/>
                <a:gd name="connsiteX2799" fmla="*/ 4686217 w 4919004"/>
                <a:gd name="connsiteY2799" fmla="*/ 1097527 h 2455817"/>
                <a:gd name="connsiteX2800" fmla="*/ 4682023 w 4919004"/>
                <a:gd name="connsiteY2800" fmla="*/ 1095899 h 2455817"/>
                <a:gd name="connsiteX2801" fmla="*/ 4675807 w 4919004"/>
                <a:gd name="connsiteY2801" fmla="*/ 1097527 h 2455817"/>
                <a:gd name="connsiteX2802" fmla="*/ 4669590 w 4919004"/>
                <a:gd name="connsiteY2802" fmla="*/ 1095899 h 2455817"/>
                <a:gd name="connsiteX2803" fmla="*/ 4669590 w 4919004"/>
                <a:gd name="connsiteY2803" fmla="*/ 1090964 h 2455817"/>
                <a:gd name="connsiteX2804" fmla="*/ 4650889 w 4919004"/>
                <a:gd name="connsiteY2804" fmla="*/ 1081096 h 2455817"/>
                <a:gd name="connsiteX2805" fmla="*/ 4640478 w 4919004"/>
                <a:gd name="connsiteY2805" fmla="*/ 1079518 h 2455817"/>
                <a:gd name="connsiteX2806" fmla="*/ 4627995 w 4919004"/>
                <a:gd name="connsiteY2806" fmla="*/ 1085932 h 2455817"/>
                <a:gd name="connsiteX2807" fmla="*/ 4623802 w 4919004"/>
                <a:gd name="connsiteY2807" fmla="*/ 1084353 h 2455817"/>
                <a:gd name="connsiteX2808" fmla="*/ 4617585 w 4919004"/>
                <a:gd name="connsiteY2808" fmla="*/ 1085932 h 2455817"/>
                <a:gd name="connsiteX2809" fmla="*/ 4609000 w 4919004"/>
                <a:gd name="connsiteY2809" fmla="*/ 1091803 h 2455817"/>
                <a:gd name="connsiteX2810" fmla="*/ 4600711 w 4919004"/>
                <a:gd name="connsiteY2810" fmla="*/ 1091803 h 2455817"/>
                <a:gd name="connsiteX2811" fmla="*/ 4598638 w 4919004"/>
                <a:gd name="connsiteY2811" fmla="*/ 1103053 h 2455817"/>
                <a:gd name="connsiteX2812" fmla="*/ 4592421 w 4919004"/>
                <a:gd name="connsiteY2812" fmla="*/ 1107987 h 2455817"/>
                <a:gd name="connsiteX2813" fmla="*/ 4586154 w 4919004"/>
                <a:gd name="connsiteY2813" fmla="*/ 1104780 h 2455817"/>
                <a:gd name="connsiteX2814" fmla="*/ 4592421 w 4919004"/>
                <a:gd name="connsiteY2814" fmla="*/ 1112872 h 2455817"/>
                <a:gd name="connsiteX2815" fmla="*/ 4588227 w 4919004"/>
                <a:gd name="connsiteY2815" fmla="*/ 1117806 h 2455817"/>
                <a:gd name="connsiteX2816" fmla="*/ 4588227 w 4919004"/>
                <a:gd name="connsiteY2816" fmla="*/ 1124220 h 2455817"/>
                <a:gd name="connsiteX2817" fmla="*/ 4586154 w 4919004"/>
                <a:gd name="connsiteY2817" fmla="*/ 1130684 h 2455817"/>
                <a:gd name="connsiteX2818" fmla="*/ 4584082 w 4919004"/>
                <a:gd name="connsiteY2818" fmla="*/ 1146818 h 2455817"/>
                <a:gd name="connsiteX2819" fmla="*/ 4579888 w 4919004"/>
                <a:gd name="connsiteY2819" fmla="*/ 1148397 h 2455817"/>
                <a:gd name="connsiteX2820" fmla="*/ 4575794 w 4919004"/>
                <a:gd name="connsiteY2820" fmla="*/ 1143463 h 2455817"/>
                <a:gd name="connsiteX2821" fmla="*/ 4567454 w 4919004"/>
                <a:gd name="connsiteY2821" fmla="*/ 1124121 h 2455817"/>
                <a:gd name="connsiteX2822" fmla="*/ 4567454 w 4919004"/>
                <a:gd name="connsiteY2822" fmla="*/ 1117707 h 2455817"/>
                <a:gd name="connsiteX2823" fmla="*/ 4561238 w 4919004"/>
                <a:gd name="connsiteY2823" fmla="*/ 1114451 h 2455817"/>
                <a:gd name="connsiteX2824" fmla="*/ 4554972 w 4919004"/>
                <a:gd name="connsiteY2824" fmla="*/ 1107987 h 2455817"/>
                <a:gd name="connsiteX2825" fmla="*/ 4554972 w 4919004"/>
                <a:gd name="connsiteY2825" fmla="*/ 1116079 h 2455817"/>
                <a:gd name="connsiteX2826" fmla="*/ 4544561 w 4919004"/>
                <a:gd name="connsiteY2826" fmla="*/ 1128957 h 2455817"/>
                <a:gd name="connsiteX2827" fmla="*/ 4540416 w 4919004"/>
                <a:gd name="connsiteY2827" fmla="*/ 1132164 h 2455817"/>
                <a:gd name="connsiteX2828" fmla="*/ 4538344 w 4919004"/>
                <a:gd name="connsiteY2828" fmla="*/ 1137098 h 2455817"/>
                <a:gd name="connsiteX2829" fmla="*/ 4546682 w 4919004"/>
                <a:gd name="connsiteY2829" fmla="*/ 1140305 h 2455817"/>
                <a:gd name="connsiteX2830" fmla="*/ 4538344 w 4919004"/>
                <a:gd name="connsiteY2830" fmla="*/ 1153183 h 2455817"/>
                <a:gd name="connsiteX2831" fmla="*/ 4532127 w 4919004"/>
                <a:gd name="connsiteY2831" fmla="*/ 1146769 h 2455817"/>
                <a:gd name="connsiteX2832" fmla="*/ 4530006 w 4919004"/>
                <a:gd name="connsiteY2832" fmla="*/ 1146769 h 2455817"/>
                <a:gd name="connsiteX2833" fmla="*/ 4525861 w 4919004"/>
                <a:gd name="connsiteY2833" fmla="*/ 1141835 h 2455817"/>
                <a:gd name="connsiteX2834" fmla="*/ 4519594 w 4919004"/>
                <a:gd name="connsiteY2834" fmla="*/ 1143413 h 2455817"/>
                <a:gd name="connsiteX2835" fmla="*/ 4517572 w 4919004"/>
                <a:gd name="connsiteY2835" fmla="*/ 1151505 h 2455817"/>
                <a:gd name="connsiteX2836" fmla="*/ 4513377 w 4919004"/>
                <a:gd name="connsiteY2836" fmla="*/ 1153084 h 2455817"/>
                <a:gd name="connsiteX2837" fmla="*/ 4505088 w 4919004"/>
                <a:gd name="connsiteY2837" fmla="*/ 1149877 h 2455817"/>
                <a:gd name="connsiteX2838" fmla="*/ 4500894 w 4919004"/>
                <a:gd name="connsiteY2838" fmla="*/ 1149877 h 2455817"/>
                <a:gd name="connsiteX2839" fmla="*/ 4498822 w 4919004"/>
                <a:gd name="connsiteY2839" fmla="*/ 1153084 h 2455817"/>
                <a:gd name="connsiteX2840" fmla="*/ 4505088 w 4919004"/>
                <a:gd name="connsiteY2840" fmla="*/ 1159548 h 2455817"/>
                <a:gd name="connsiteX2841" fmla="*/ 4500894 w 4919004"/>
                <a:gd name="connsiteY2841" fmla="*/ 1162755 h 2455817"/>
                <a:gd name="connsiteX2842" fmla="*/ 4498822 w 4919004"/>
                <a:gd name="connsiteY2842" fmla="*/ 1167689 h 2455817"/>
                <a:gd name="connsiteX2843" fmla="*/ 4496750 w 4919004"/>
                <a:gd name="connsiteY2843" fmla="*/ 1172623 h 2455817"/>
                <a:gd name="connsiteX2844" fmla="*/ 4505088 w 4919004"/>
                <a:gd name="connsiteY2844" fmla="*/ 1179086 h 2455817"/>
                <a:gd name="connsiteX2845" fmla="*/ 4505088 w 4919004"/>
                <a:gd name="connsiteY2845" fmla="*/ 1187129 h 2455817"/>
                <a:gd name="connsiteX2846" fmla="*/ 4503017 w 4919004"/>
                <a:gd name="connsiteY2846" fmla="*/ 1187129 h 2455817"/>
                <a:gd name="connsiteX2847" fmla="*/ 4505088 w 4919004"/>
                <a:gd name="connsiteY2847" fmla="*/ 1192063 h 2455817"/>
                <a:gd name="connsiteX2848" fmla="*/ 4511305 w 4919004"/>
                <a:gd name="connsiteY2848" fmla="*/ 1193642 h 2455817"/>
                <a:gd name="connsiteX2849" fmla="*/ 4517572 w 4919004"/>
                <a:gd name="connsiteY2849" fmla="*/ 1198576 h 2455817"/>
                <a:gd name="connsiteX2850" fmla="*/ 4517572 w 4919004"/>
                <a:gd name="connsiteY2850" fmla="*/ 1203510 h 2455817"/>
                <a:gd name="connsiteX2851" fmla="*/ 4515450 w 4919004"/>
                <a:gd name="connsiteY2851" fmla="*/ 1203510 h 2455817"/>
                <a:gd name="connsiteX2852" fmla="*/ 4513377 w 4919004"/>
                <a:gd name="connsiteY2852" fmla="*/ 1206766 h 2455817"/>
                <a:gd name="connsiteX2853" fmla="*/ 4519594 w 4919004"/>
                <a:gd name="connsiteY2853" fmla="*/ 1211700 h 2455817"/>
                <a:gd name="connsiteX2854" fmla="*/ 4523789 w 4919004"/>
                <a:gd name="connsiteY2854" fmla="*/ 1214908 h 2455817"/>
                <a:gd name="connsiteX2855" fmla="*/ 4523789 w 4919004"/>
                <a:gd name="connsiteY2855" fmla="*/ 1218115 h 2455817"/>
                <a:gd name="connsiteX2856" fmla="*/ 4517572 w 4919004"/>
                <a:gd name="connsiteY2856" fmla="*/ 1214908 h 2455817"/>
                <a:gd name="connsiteX2857" fmla="*/ 4511305 w 4919004"/>
                <a:gd name="connsiteY2857" fmla="*/ 1216536 h 2455817"/>
                <a:gd name="connsiteX2858" fmla="*/ 4511305 w 4919004"/>
                <a:gd name="connsiteY2858" fmla="*/ 1218115 h 2455817"/>
                <a:gd name="connsiteX2859" fmla="*/ 4517572 w 4919004"/>
                <a:gd name="connsiteY2859" fmla="*/ 1224578 h 2455817"/>
                <a:gd name="connsiteX2860" fmla="*/ 4521717 w 4919004"/>
                <a:gd name="connsiteY2860" fmla="*/ 1222999 h 2455817"/>
                <a:gd name="connsiteX2861" fmla="*/ 4521717 w 4919004"/>
                <a:gd name="connsiteY2861" fmla="*/ 1229463 h 2455817"/>
                <a:gd name="connsiteX2862" fmla="*/ 4519594 w 4919004"/>
                <a:gd name="connsiteY2862" fmla="*/ 1235877 h 2455817"/>
                <a:gd name="connsiteX2863" fmla="*/ 4521717 w 4919004"/>
                <a:gd name="connsiteY2863" fmla="*/ 1242341 h 2455817"/>
                <a:gd name="connsiteX2864" fmla="*/ 4515450 w 4919004"/>
                <a:gd name="connsiteY2864" fmla="*/ 1247275 h 2455817"/>
                <a:gd name="connsiteX2865" fmla="*/ 4519594 w 4919004"/>
                <a:gd name="connsiteY2865" fmla="*/ 1257143 h 2455817"/>
                <a:gd name="connsiteX2866" fmla="*/ 4517572 w 4919004"/>
                <a:gd name="connsiteY2866" fmla="*/ 1260350 h 2455817"/>
                <a:gd name="connsiteX2867" fmla="*/ 4521717 w 4919004"/>
                <a:gd name="connsiteY2867" fmla="*/ 1266814 h 2455817"/>
                <a:gd name="connsiteX2868" fmla="*/ 4521717 w 4919004"/>
                <a:gd name="connsiteY2868" fmla="*/ 1276682 h 2455817"/>
                <a:gd name="connsiteX2869" fmla="*/ 4525861 w 4919004"/>
                <a:gd name="connsiteY2869" fmla="*/ 1287981 h 2455817"/>
                <a:gd name="connsiteX2870" fmla="*/ 4523789 w 4919004"/>
                <a:gd name="connsiteY2870" fmla="*/ 1291188 h 2455817"/>
                <a:gd name="connsiteX2871" fmla="*/ 4530006 w 4919004"/>
                <a:gd name="connsiteY2871" fmla="*/ 1294444 h 2455817"/>
                <a:gd name="connsiteX2872" fmla="*/ 4536272 w 4919004"/>
                <a:gd name="connsiteY2872" fmla="*/ 1300858 h 2455817"/>
                <a:gd name="connsiteX2873" fmla="*/ 4546682 w 4919004"/>
                <a:gd name="connsiteY2873" fmla="*/ 1312157 h 2455817"/>
                <a:gd name="connsiteX2874" fmla="*/ 4554972 w 4919004"/>
                <a:gd name="connsiteY2874" fmla="*/ 1315364 h 2455817"/>
                <a:gd name="connsiteX2875" fmla="*/ 4557044 w 4919004"/>
                <a:gd name="connsiteY2875" fmla="*/ 1312157 h 2455817"/>
                <a:gd name="connsiteX2876" fmla="*/ 4559116 w 4919004"/>
                <a:gd name="connsiteY2876" fmla="*/ 1307223 h 2455817"/>
                <a:gd name="connsiteX2877" fmla="*/ 4548755 w 4919004"/>
                <a:gd name="connsiteY2877" fmla="*/ 1299131 h 2455817"/>
                <a:gd name="connsiteX2878" fmla="*/ 4548755 w 4919004"/>
                <a:gd name="connsiteY2878" fmla="*/ 1294197 h 2455817"/>
                <a:gd name="connsiteX2879" fmla="*/ 4554972 w 4919004"/>
                <a:gd name="connsiteY2879" fmla="*/ 1290941 h 2455817"/>
                <a:gd name="connsiteX2880" fmla="*/ 4561238 w 4919004"/>
                <a:gd name="connsiteY2880" fmla="*/ 1290941 h 2455817"/>
                <a:gd name="connsiteX2881" fmla="*/ 4573671 w 4919004"/>
                <a:gd name="connsiteY2881" fmla="*/ 1298983 h 2455817"/>
                <a:gd name="connsiteX2882" fmla="*/ 4579888 w 4919004"/>
                <a:gd name="connsiteY2882" fmla="*/ 1297405 h 2455817"/>
                <a:gd name="connsiteX2883" fmla="*/ 4584082 w 4919004"/>
                <a:gd name="connsiteY2883" fmla="*/ 1300612 h 2455817"/>
                <a:gd name="connsiteX2884" fmla="*/ 4586154 w 4919004"/>
                <a:gd name="connsiteY2884" fmla="*/ 1305546 h 2455817"/>
                <a:gd name="connsiteX2885" fmla="*/ 4584082 w 4919004"/>
                <a:gd name="connsiteY2885" fmla="*/ 1308802 h 2455817"/>
                <a:gd name="connsiteX2886" fmla="*/ 4588227 w 4919004"/>
                <a:gd name="connsiteY2886" fmla="*/ 1313736 h 2455817"/>
                <a:gd name="connsiteX2887" fmla="*/ 4584082 w 4919004"/>
                <a:gd name="connsiteY2887" fmla="*/ 1320200 h 2455817"/>
                <a:gd name="connsiteX2888" fmla="*/ 4586154 w 4919004"/>
                <a:gd name="connsiteY2888" fmla="*/ 1325134 h 2455817"/>
                <a:gd name="connsiteX2889" fmla="*/ 4584082 w 4919004"/>
                <a:gd name="connsiteY2889" fmla="*/ 1326713 h 2455817"/>
                <a:gd name="connsiteX2890" fmla="*/ 4577865 w 4919004"/>
                <a:gd name="connsiteY2890" fmla="*/ 1331647 h 2455817"/>
                <a:gd name="connsiteX2891" fmla="*/ 4584082 w 4919004"/>
                <a:gd name="connsiteY2891" fmla="*/ 1342946 h 2455817"/>
                <a:gd name="connsiteX2892" fmla="*/ 4590349 w 4919004"/>
                <a:gd name="connsiteY2892" fmla="*/ 1350988 h 2455817"/>
                <a:gd name="connsiteX2893" fmla="*/ 4590349 w 4919004"/>
                <a:gd name="connsiteY2893" fmla="*/ 1362287 h 2455817"/>
                <a:gd name="connsiteX2894" fmla="*/ 4596566 w 4919004"/>
                <a:gd name="connsiteY2894" fmla="*/ 1365494 h 2455817"/>
                <a:gd name="connsiteX2895" fmla="*/ 4600711 w 4919004"/>
                <a:gd name="connsiteY2895" fmla="*/ 1363915 h 2455817"/>
                <a:gd name="connsiteX2896" fmla="*/ 4600711 w 4919004"/>
                <a:gd name="connsiteY2896" fmla="*/ 1360659 h 2455817"/>
                <a:gd name="connsiteX2897" fmla="*/ 4606976 w 4919004"/>
                <a:gd name="connsiteY2897" fmla="*/ 1357452 h 2455817"/>
                <a:gd name="connsiteX2898" fmla="*/ 4609000 w 4919004"/>
                <a:gd name="connsiteY2898" fmla="*/ 1354195 h 2455817"/>
                <a:gd name="connsiteX2899" fmla="*/ 4611121 w 4919004"/>
                <a:gd name="connsiteY2899" fmla="*/ 1355873 h 2455817"/>
                <a:gd name="connsiteX2900" fmla="*/ 4617338 w 4919004"/>
                <a:gd name="connsiteY2900" fmla="*/ 1359080 h 2455817"/>
                <a:gd name="connsiteX2901" fmla="*/ 4617338 w 4919004"/>
                <a:gd name="connsiteY2901" fmla="*/ 1373586 h 2455817"/>
                <a:gd name="connsiteX2902" fmla="*/ 4633966 w 4919004"/>
                <a:gd name="connsiteY2902" fmla="*/ 1384836 h 2455817"/>
                <a:gd name="connsiteX2903" fmla="*/ 4640231 w 4919004"/>
                <a:gd name="connsiteY2903" fmla="*/ 1396135 h 2455817"/>
                <a:gd name="connsiteX2904" fmla="*/ 4636087 w 4919004"/>
                <a:gd name="connsiteY2904" fmla="*/ 1399342 h 2455817"/>
                <a:gd name="connsiteX2905" fmla="*/ 4636087 w 4919004"/>
                <a:gd name="connsiteY2905" fmla="*/ 1407434 h 2455817"/>
                <a:gd name="connsiteX2906" fmla="*/ 4629821 w 4919004"/>
                <a:gd name="connsiteY2906" fmla="*/ 1409012 h 2455817"/>
                <a:gd name="connsiteX2907" fmla="*/ 4621532 w 4919004"/>
                <a:gd name="connsiteY2907" fmla="*/ 1404078 h 2455817"/>
                <a:gd name="connsiteX2908" fmla="*/ 4611121 w 4919004"/>
                <a:gd name="connsiteY2908" fmla="*/ 1399144 h 2455817"/>
                <a:gd name="connsiteX2909" fmla="*/ 4609000 w 4919004"/>
                <a:gd name="connsiteY2909" fmla="*/ 1391102 h 2455817"/>
                <a:gd name="connsiteX2910" fmla="*/ 4613193 w 4919004"/>
                <a:gd name="connsiteY2910" fmla="*/ 1384638 h 2455817"/>
                <a:gd name="connsiteX2911" fmla="*/ 4613193 w 4919004"/>
                <a:gd name="connsiteY2911" fmla="*/ 1376596 h 2455817"/>
                <a:gd name="connsiteX2912" fmla="*/ 4611121 w 4919004"/>
                <a:gd name="connsiteY2912" fmla="*/ 1371662 h 2455817"/>
                <a:gd name="connsiteX2913" fmla="*/ 4606976 w 4919004"/>
                <a:gd name="connsiteY2913" fmla="*/ 1374869 h 2455817"/>
                <a:gd name="connsiteX2914" fmla="*/ 4609000 w 4919004"/>
                <a:gd name="connsiteY2914" fmla="*/ 1376497 h 2455817"/>
                <a:gd name="connsiteX2915" fmla="*/ 4609000 w 4919004"/>
                <a:gd name="connsiteY2915" fmla="*/ 1381431 h 2455817"/>
                <a:gd name="connsiteX2916" fmla="*/ 4602783 w 4919004"/>
                <a:gd name="connsiteY2916" fmla="*/ 1383059 h 2455817"/>
                <a:gd name="connsiteX2917" fmla="*/ 4596566 w 4919004"/>
                <a:gd name="connsiteY2917" fmla="*/ 1391102 h 2455817"/>
                <a:gd name="connsiteX2918" fmla="*/ 4598638 w 4919004"/>
                <a:gd name="connsiteY2918" fmla="*/ 1396036 h 2455817"/>
                <a:gd name="connsiteX2919" fmla="*/ 4606976 w 4919004"/>
                <a:gd name="connsiteY2919" fmla="*/ 1394408 h 2455817"/>
                <a:gd name="connsiteX2920" fmla="*/ 4606976 w 4919004"/>
                <a:gd name="connsiteY2920" fmla="*/ 1400871 h 2455817"/>
                <a:gd name="connsiteX2921" fmla="*/ 4600711 w 4919004"/>
                <a:gd name="connsiteY2921" fmla="*/ 1407335 h 2455817"/>
                <a:gd name="connsiteX2922" fmla="*/ 4604904 w 4919004"/>
                <a:gd name="connsiteY2922" fmla="*/ 1417203 h 2455817"/>
                <a:gd name="connsiteX2923" fmla="*/ 4602783 w 4919004"/>
                <a:gd name="connsiteY2923" fmla="*/ 1420459 h 2455817"/>
                <a:gd name="connsiteX2924" fmla="*/ 4602783 w 4919004"/>
                <a:gd name="connsiteY2924" fmla="*/ 1441380 h 2455817"/>
                <a:gd name="connsiteX2925" fmla="*/ 4609000 w 4919004"/>
                <a:gd name="connsiteY2925" fmla="*/ 1446314 h 2455817"/>
                <a:gd name="connsiteX2926" fmla="*/ 4606976 w 4919004"/>
                <a:gd name="connsiteY2926" fmla="*/ 1451248 h 2455817"/>
                <a:gd name="connsiteX2927" fmla="*/ 4625676 w 4919004"/>
                <a:gd name="connsiteY2927" fmla="*/ 1475425 h 2455817"/>
                <a:gd name="connsiteX2928" fmla="*/ 4631893 w 4919004"/>
                <a:gd name="connsiteY2928" fmla="*/ 1475425 h 2455817"/>
                <a:gd name="connsiteX2929" fmla="*/ 4644376 w 4919004"/>
                <a:gd name="connsiteY2929" fmla="*/ 1489881 h 2455817"/>
                <a:gd name="connsiteX2930" fmla="*/ 4652665 w 4919004"/>
                <a:gd name="connsiteY2930" fmla="*/ 1493138 h 2455817"/>
                <a:gd name="connsiteX2931" fmla="*/ 4646448 w 4919004"/>
                <a:gd name="connsiteY2931" fmla="*/ 1498072 h 2455817"/>
                <a:gd name="connsiteX2932" fmla="*/ 4648521 w 4919004"/>
                <a:gd name="connsiteY2932" fmla="*/ 1506164 h 2455817"/>
                <a:gd name="connsiteX2933" fmla="*/ 4627749 w 4919004"/>
                <a:gd name="connsiteY2933" fmla="*/ 1514206 h 2455817"/>
                <a:gd name="connsiteX2934" fmla="*/ 4625676 w 4919004"/>
                <a:gd name="connsiteY2934" fmla="*/ 1510950 h 2455817"/>
                <a:gd name="connsiteX2935" fmla="*/ 4613193 w 4919004"/>
                <a:gd name="connsiteY2935" fmla="*/ 1517413 h 2455817"/>
                <a:gd name="connsiteX2936" fmla="*/ 4609000 w 4919004"/>
                <a:gd name="connsiteY2936" fmla="*/ 1515834 h 2455817"/>
                <a:gd name="connsiteX2937" fmla="*/ 4611121 w 4919004"/>
                <a:gd name="connsiteY2937" fmla="*/ 1519041 h 2455817"/>
                <a:gd name="connsiteX2938" fmla="*/ 4604904 w 4919004"/>
                <a:gd name="connsiteY2938" fmla="*/ 1530340 h 2455817"/>
                <a:gd name="connsiteX2939" fmla="*/ 4602783 w 4919004"/>
                <a:gd name="connsiteY2939" fmla="*/ 1538383 h 2455817"/>
                <a:gd name="connsiteX2940" fmla="*/ 4598638 w 4919004"/>
                <a:gd name="connsiteY2940" fmla="*/ 1543317 h 2455817"/>
                <a:gd name="connsiteX2941" fmla="*/ 4604904 w 4919004"/>
                <a:gd name="connsiteY2941" fmla="*/ 1548251 h 2455817"/>
                <a:gd name="connsiteX2942" fmla="*/ 4600711 w 4919004"/>
                <a:gd name="connsiteY2942" fmla="*/ 1564385 h 2455817"/>
                <a:gd name="connsiteX2943" fmla="*/ 4606976 w 4919004"/>
                <a:gd name="connsiteY2943" fmla="*/ 1582098 h 2455817"/>
                <a:gd name="connsiteX2944" fmla="*/ 4617338 w 4919004"/>
                <a:gd name="connsiteY2944" fmla="*/ 1587032 h 2455817"/>
                <a:gd name="connsiteX2945" fmla="*/ 4615266 w 4919004"/>
                <a:gd name="connsiteY2945" fmla="*/ 1593496 h 2455817"/>
                <a:gd name="connsiteX2946" fmla="*/ 4625676 w 4919004"/>
                <a:gd name="connsiteY2946" fmla="*/ 1598430 h 2455817"/>
                <a:gd name="connsiteX2947" fmla="*/ 4631893 w 4919004"/>
                <a:gd name="connsiteY2947" fmla="*/ 1604894 h 2455817"/>
                <a:gd name="connsiteX2948" fmla="*/ 4623555 w 4919004"/>
                <a:gd name="connsiteY2948" fmla="*/ 1603265 h 2455817"/>
                <a:gd name="connsiteX2949" fmla="*/ 4621532 w 4919004"/>
                <a:gd name="connsiteY2949" fmla="*/ 1601686 h 2455817"/>
                <a:gd name="connsiteX2950" fmla="*/ 4615266 w 4919004"/>
                <a:gd name="connsiteY2950" fmla="*/ 1604894 h 2455817"/>
                <a:gd name="connsiteX2951" fmla="*/ 4609000 w 4919004"/>
                <a:gd name="connsiteY2951" fmla="*/ 1609828 h 2455817"/>
                <a:gd name="connsiteX2952" fmla="*/ 4602585 w 4919004"/>
                <a:gd name="connsiteY2952" fmla="*/ 1609828 h 2455817"/>
                <a:gd name="connsiteX2953" fmla="*/ 4592223 w 4919004"/>
                <a:gd name="connsiteY2953" fmla="*/ 1617870 h 2455817"/>
                <a:gd name="connsiteX2954" fmla="*/ 4585957 w 4919004"/>
                <a:gd name="connsiteY2954" fmla="*/ 1612936 h 2455817"/>
                <a:gd name="connsiteX2955" fmla="*/ 4581813 w 4919004"/>
                <a:gd name="connsiteY2955" fmla="*/ 1619400 h 2455817"/>
                <a:gd name="connsiteX2956" fmla="*/ 4585957 w 4919004"/>
                <a:gd name="connsiteY2956" fmla="*/ 1622607 h 2455817"/>
                <a:gd name="connsiteX2957" fmla="*/ 4592223 w 4919004"/>
                <a:gd name="connsiteY2957" fmla="*/ 1622607 h 2455817"/>
                <a:gd name="connsiteX2958" fmla="*/ 4592223 w 4919004"/>
                <a:gd name="connsiteY2958" fmla="*/ 1629070 h 2455817"/>
                <a:gd name="connsiteX2959" fmla="*/ 4590151 w 4919004"/>
                <a:gd name="connsiteY2959" fmla="*/ 1632278 h 2455817"/>
                <a:gd name="connsiteX2960" fmla="*/ 4596368 w 4919004"/>
                <a:gd name="connsiteY2960" fmla="*/ 1638741 h 2455817"/>
                <a:gd name="connsiteX2961" fmla="*/ 4594247 w 4919004"/>
                <a:gd name="connsiteY2961" fmla="*/ 1641948 h 2455817"/>
                <a:gd name="connsiteX2962" fmla="*/ 4590151 w 4919004"/>
                <a:gd name="connsiteY2962" fmla="*/ 1640320 h 2455817"/>
                <a:gd name="connsiteX2963" fmla="*/ 4594247 w 4919004"/>
                <a:gd name="connsiteY2963" fmla="*/ 1650188 h 2455817"/>
                <a:gd name="connsiteX2964" fmla="*/ 4592223 w 4919004"/>
                <a:gd name="connsiteY2964" fmla="*/ 1655122 h 2455817"/>
                <a:gd name="connsiteX2965" fmla="*/ 4596368 w 4919004"/>
                <a:gd name="connsiteY2965" fmla="*/ 1655122 h 2455817"/>
                <a:gd name="connsiteX2966" fmla="*/ 4600513 w 4919004"/>
                <a:gd name="connsiteY2966" fmla="*/ 1653543 h 2455817"/>
                <a:gd name="connsiteX2967" fmla="*/ 4606779 w 4919004"/>
                <a:gd name="connsiteY2967" fmla="*/ 1660007 h 2455817"/>
                <a:gd name="connsiteX2968" fmla="*/ 4602585 w 4919004"/>
                <a:gd name="connsiteY2968" fmla="*/ 1664941 h 2455817"/>
                <a:gd name="connsiteX2969" fmla="*/ 4600513 w 4919004"/>
                <a:gd name="connsiteY2969" fmla="*/ 1672983 h 2455817"/>
                <a:gd name="connsiteX2970" fmla="*/ 4604706 w 4919004"/>
                <a:gd name="connsiteY2970" fmla="*/ 1679447 h 2455817"/>
                <a:gd name="connsiteX2971" fmla="*/ 4602585 w 4919004"/>
                <a:gd name="connsiteY2971" fmla="*/ 1692325 h 2455817"/>
                <a:gd name="connsiteX2972" fmla="*/ 4598440 w 4919004"/>
                <a:gd name="connsiteY2972" fmla="*/ 1697259 h 2455817"/>
                <a:gd name="connsiteX2973" fmla="*/ 4600513 w 4919004"/>
                <a:gd name="connsiteY2973" fmla="*/ 1700466 h 2455817"/>
                <a:gd name="connsiteX2974" fmla="*/ 4598440 w 4919004"/>
                <a:gd name="connsiteY2974" fmla="*/ 1705400 h 2455817"/>
                <a:gd name="connsiteX2975" fmla="*/ 4590151 w 4919004"/>
                <a:gd name="connsiteY2975" fmla="*/ 1711814 h 2455817"/>
                <a:gd name="connsiteX2976" fmla="*/ 4590151 w 4919004"/>
                <a:gd name="connsiteY2976" fmla="*/ 1718278 h 2455817"/>
                <a:gd name="connsiteX2977" fmla="*/ 4588030 w 4919004"/>
                <a:gd name="connsiteY2977" fmla="*/ 1719857 h 2455817"/>
                <a:gd name="connsiteX2978" fmla="*/ 4583885 w 4919004"/>
                <a:gd name="connsiteY2978" fmla="*/ 1732784 h 2455817"/>
                <a:gd name="connsiteX2979" fmla="*/ 4575596 w 4919004"/>
                <a:gd name="connsiteY2979" fmla="*/ 1747290 h 2455817"/>
                <a:gd name="connsiteX2980" fmla="*/ 4577915 w 4919004"/>
                <a:gd name="connsiteY2980" fmla="*/ 1738162 h 2455817"/>
                <a:gd name="connsiteX2981" fmla="*/ 4575843 w 4919004"/>
                <a:gd name="connsiteY2981" fmla="*/ 1733228 h 2455817"/>
                <a:gd name="connsiteX2982" fmla="*/ 4575843 w 4919004"/>
                <a:gd name="connsiteY2982" fmla="*/ 1726764 h 2455817"/>
                <a:gd name="connsiteX2983" fmla="*/ 4573720 w 4919004"/>
                <a:gd name="connsiteY2983" fmla="*/ 1723508 h 2455817"/>
                <a:gd name="connsiteX2984" fmla="*/ 4559165 w 4919004"/>
                <a:gd name="connsiteY2984" fmla="*/ 1721929 h 2455817"/>
                <a:gd name="connsiteX2985" fmla="*/ 4552948 w 4919004"/>
                <a:gd name="connsiteY2985" fmla="*/ 1712061 h 2455817"/>
                <a:gd name="connsiteX2986" fmla="*/ 4550876 w 4919004"/>
                <a:gd name="connsiteY2986" fmla="*/ 1700762 h 2455817"/>
                <a:gd name="connsiteX2987" fmla="*/ 4536074 w 4919004"/>
                <a:gd name="connsiteY2987" fmla="*/ 1674957 h 2455817"/>
                <a:gd name="connsiteX2988" fmla="*/ 4527736 w 4919004"/>
                <a:gd name="connsiteY2988" fmla="*/ 1662079 h 2455817"/>
                <a:gd name="connsiteX2989" fmla="*/ 4531929 w 4919004"/>
                <a:gd name="connsiteY2989" fmla="*/ 1662079 h 2455817"/>
                <a:gd name="connsiteX2990" fmla="*/ 4538146 w 4919004"/>
                <a:gd name="connsiteY2990" fmla="*/ 1660451 h 2455817"/>
                <a:gd name="connsiteX2991" fmla="*/ 4540219 w 4919004"/>
                <a:gd name="connsiteY2991" fmla="*/ 1654037 h 2455817"/>
                <a:gd name="connsiteX2992" fmla="*/ 4536074 w 4919004"/>
                <a:gd name="connsiteY2992" fmla="*/ 1657244 h 2455817"/>
                <a:gd name="connsiteX2993" fmla="*/ 4525663 w 4919004"/>
                <a:gd name="connsiteY2993" fmla="*/ 1657244 h 2455817"/>
                <a:gd name="connsiteX2994" fmla="*/ 4513180 w 4919004"/>
                <a:gd name="connsiteY2994" fmla="*/ 1650780 h 2455817"/>
                <a:gd name="connsiteX2995" fmla="*/ 4486141 w 4919004"/>
                <a:gd name="connsiteY2995" fmla="*/ 1607262 h 2455817"/>
                <a:gd name="connsiteX2996" fmla="*/ 4459152 w 4919004"/>
                <a:gd name="connsiteY2996" fmla="*/ 1583085 h 2455817"/>
                <a:gd name="connsiteX2997" fmla="*/ 4459152 w 4919004"/>
                <a:gd name="connsiteY2997" fmla="*/ 1573217 h 2455817"/>
                <a:gd name="connsiteX2998" fmla="*/ 4450814 w 4919004"/>
                <a:gd name="connsiteY2998" fmla="*/ 1563349 h 2455817"/>
                <a:gd name="connsiteX2999" fmla="*/ 4430042 w 4919004"/>
                <a:gd name="connsiteY2999" fmla="*/ 1537593 h 2455817"/>
                <a:gd name="connsiteX3000" fmla="*/ 4411292 w 4919004"/>
                <a:gd name="connsiteY3000" fmla="*/ 1503746 h 2455817"/>
                <a:gd name="connsiteX3001" fmla="*/ 4394665 w 4919004"/>
                <a:gd name="connsiteY3001" fmla="*/ 1473106 h 2455817"/>
                <a:gd name="connsiteX3002" fmla="*/ 4394665 w 4919004"/>
                <a:gd name="connsiteY3002" fmla="*/ 1461757 h 2455817"/>
                <a:gd name="connsiteX3003" fmla="*/ 4386375 w 4919004"/>
                <a:gd name="connsiteY3003" fmla="*/ 1448929 h 2455817"/>
                <a:gd name="connsiteX3004" fmla="*/ 4382182 w 4919004"/>
                <a:gd name="connsiteY3004" fmla="*/ 1427910 h 2455817"/>
                <a:gd name="connsiteX3005" fmla="*/ 4375965 w 4919004"/>
                <a:gd name="connsiteY3005" fmla="*/ 1416660 h 2455817"/>
                <a:gd name="connsiteX3006" fmla="*/ 4378037 w 4919004"/>
                <a:gd name="connsiteY3006" fmla="*/ 1403733 h 2455817"/>
                <a:gd name="connsiteX3007" fmla="*/ 4386375 w 4919004"/>
                <a:gd name="connsiteY3007" fmla="*/ 1395691 h 2455817"/>
                <a:gd name="connsiteX3008" fmla="*/ 4388399 w 4919004"/>
                <a:gd name="connsiteY3008" fmla="*/ 1384392 h 2455817"/>
                <a:gd name="connsiteX3009" fmla="*/ 4392592 w 4919004"/>
                <a:gd name="connsiteY3009" fmla="*/ 1382763 h 2455817"/>
                <a:gd name="connsiteX3010" fmla="*/ 4390520 w 4919004"/>
                <a:gd name="connsiteY3010" fmla="*/ 1379556 h 2455817"/>
                <a:gd name="connsiteX3011" fmla="*/ 4392592 w 4919004"/>
                <a:gd name="connsiteY3011" fmla="*/ 1374622 h 2455817"/>
                <a:gd name="connsiteX3012" fmla="*/ 4392592 w 4919004"/>
                <a:gd name="connsiteY3012" fmla="*/ 1360116 h 2455817"/>
                <a:gd name="connsiteX3013" fmla="*/ 4380109 w 4919004"/>
                <a:gd name="connsiteY3013" fmla="*/ 1343982 h 2455817"/>
                <a:gd name="connsiteX3014" fmla="*/ 4369699 w 4919004"/>
                <a:gd name="connsiteY3014" fmla="*/ 1343982 h 2455817"/>
                <a:gd name="connsiteX3015" fmla="*/ 4369699 w 4919004"/>
                <a:gd name="connsiteY3015" fmla="*/ 1339048 h 2455817"/>
                <a:gd name="connsiteX3016" fmla="*/ 4375965 w 4919004"/>
                <a:gd name="connsiteY3016" fmla="*/ 1334114 h 2455817"/>
                <a:gd name="connsiteX3017" fmla="*/ 4390520 w 4919004"/>
                <a:gd name="connsiteY3017" fmla="*/ 1339048 h 2455817"/>
                <a:gd name="connsiteX3018" fmla="*/ 4398809 w 4919004"/>
                <a:gd name="connsiteY3018" fmla="*/ 1332584 h 2455817"/>
                <a:gd name="connsiteX3019" fmla="*/ 4396737 w 4919004"/>
                <a:gd name="connsiteY3019" fmla="*/ 1326170 h 2455817"/>
                <a:gd name="connsiteX3020" fmla="*/ 4396737 w 4919004"/>
                <a:gd name="connsiteY3020" fmla="*/ 1315808 h 2455817"/>
                <a:gd name="connsiteX3021" fmla="*/ 4409221 w 4919004"/>
                <a:gd name="connsiteY3021" fmla="*/ 1314180 h 2455817"/>
                <a:gd name="connsiteX3022" fmla="*/ 4415487 w 4919004"/>
                <a:gd name="connsiteY3022" fmla="*/ 1315808 h 2455817"/>
                <a:gd name="connsiteX3023" fmla="*/ 4409221 w 4919004"/>
                <a:gd name="connsiteY3023" fmla="*/ 1309345 h 2455817"/>
                <a:gd name="connsiteX3024" fmla="*/ 4421704 w 4919004"/>
                <a:gd name="connsiteY3024" fmla="*/ 1290004 h 2455817"/>
                <a:gd name="connsiteX3025" fmla="*/ 4417509 w 4919004"/>
                <a:gd name="connsiteY3025" fmla="*/ 1278705 h 2455817"/>
                <a:gd name="connsiteX3026" fmla="*/ 4417509 w 4919004"/>
                <a:gd name="connsiteY3026" fmla="*/ 1267455 h 2455817"/>
                <a:gd name="connsiteX3027" fmla="*/ 4413364 w 4919004"/>
                <a:gd name="connsiteY3027" fmla="*/ 1260991 h 2455817"/>
                <a:gd name="connsiteX3028" fmla="*/ 4420026 w 4919004"/>
                <a:gd name="connsiteY3028" fmla="*/ 1254626 h 2455817"/>
                <a:gd name="connsiteX3029" fmla="*/ 4420026 w 4919004"/>
                <a:gd name="connsiteY3029" fmla="*/ 1246584 h 2455817"/>
                <a:gd name="connsiteX3030" fmla="*/ 4415881 w 4919004"/>
                <a:gd name="connsiteY3030" fmla="*/ 1243328 h 2455817"/>
                <a:gd name="connsiteX3031" fmla="*/ 4417904 w 4919004"/>
                <a:gd name="connsiteY3031" fmla="*/ 1233459 h 2455817"/>
                <a:gd name="connsiteX3032" fmla="*/ 4424171 w 4919004"/>
                <a:gd name="connsiteY3032" fmla="*/ 1233459 h 2455817"/>
                <a:gd name="connsiteX3033" fmla="*/ 4417904 w 4919004"/>
                <a:gd name="connsiteY3033" fmla="*/ 1226996 h 2455817"/>
                <a:gd name="connsiteX3034" fmla="*/ 4415881 w 4919004"/>
                <a:gd name="connsiteY3034" fmla="*/ 1222062 h 2455817"/>
                <a:gd name="connsiteX3035" fmla="*/ 4417904 w 4919004"/>
                <a:gd name="connsiteY3035" fmla="*/ 1218805 h 2455817"/>
                <a:gd name="connsiteX3036" fmla="*/ 4420026 w 4919004"/>
                <a:gd name="connsiteY3036" fmla="*/ 1207507 h 2455817"/>
                <a:gd name="connsiteX3037" fmla="*/ 4417904 w 4919004"/>
                <a:gd name="connsiteY3037" fmla="*/ 1205928 h 2455817"/>
                <a:gd name="connsiteX3038" fmla="*/ 4417904 w 4919004"/>
                <a:gd name="connsiteY3038" fmla="*/ 1199464 h 2455817"/>
                <a:gd name="connsiteX3039" fmla="*/ 4426243 w 4919004"/>
                <a:gd name="connsiteY3039" fmla="*/ 1196257 h 2455817"/>
                <a:gd name="connsiteX3040" fmla="*/ 4430437 w 4919004"/>
                <a:gd name="connsiteY3040" fmla="*/ 1191323 h 2455817"/>
                <a:gd name="connsiteX3041" fmla="*/ 4428315 w 4919004"/>
                <a:gd name="connsiteY3041" fmla="*/ 1181455 h 2455817"/>
                <a:gd name="connsiteX3042" fmla="*/ 4430437 w 4919004"/>
                <a:gd name="connsiteY3042" fmla="*/ 1168528 h 2455817"/>
                <a:gd name="connsiteX3043" fmla="*/ 4426243 w 4919004"/>
                <a:gd name="connsiteY3043" fmla="*/ 1166949 h 2455817"/>
                <a:gd name="connsiteX3044" fmla="*/ 4424171 w 4919004"/>
                <a:gd name="connsiteY3044" fmla="*/ 1162015 h 2455817"/>
                <a:gd name="connsiteX3045" fmla="*/ 4430437 w 4919004"/>
                <a:gd name="connsiteY3045" fmla="*/ 1152147 h 2455817"/>
                <a:gd name="connsiteX3046" fmla="*/ 4432460 w 4919004"/>
                <a:gd name="connsiteY3046" fmla="*/ 1144104 h 2455817"/>
                <a:gd name="connsiteX3047" fmla="*/ 4426243 w 4919004"/>
                <a:gd name="connsiteY3047" fmla="*/ 1145732 h 2455817"/>
                <a:gd name="connsiteX3048" fmla="*/ 4424171 w 4919004"/>
                <a:gd name="connsiteY3048" fmla="*/ 1137641 h 2455817"/>
                <a:gd name="connsiteX3049" fmla="*/ 4428315 w 4919004"/>
                <a:gd name="connsiteY3049" fmla="*/ 1132707 h 2455817"/>
                <a:gd name="connsiteX3050" fmla="*/ 4428315 w 4919004"/>
                <a:gd name="connsiteY3050" fmla="*/ 1127773 h 2455817"/>
                <a:gd name="connsiteX3051" fmla="*/ 4434581 w 4919004"/>
                <a:gd name="connsiteY3051" fmla="*/ 1126194 h 2455817"/>
                <a:gd name="connsiteX3052" fmla="*/ 4434581 w 4919004"/>
                <a:gd name="connsiteY3052" fmla="*/ 1122937 h 2455817"/>
                <a:gd name="connsiteX3053" fmla="*/ 4442870 w 4919004"/>
                <a:gd name="connsiteY3053" fmla="*/ 1118003 h 2455817"/>
                <a:gd name="connsiteX3054" fmla="*/ 4444992 w 4919004"/>
                <a:gd name="connsiteY3054" fmla="*/ 1111589 h 2455817"/>
                <a:gd name="connsiteX3055" fmla="*/ 4453281 w 4919004"/>
                <a:gd name="connsiteY3055" fmla="*/ 1105125 h 2455817"/>
                <a:gd name="connsiteX3056" fmla="*/ 4455353 w 4919004"/>
                <a:gd name="connsiteY3056" fmla="*/ 1105125 h 2455817"/>
                <a:gd name="connsiteX3057" fmla="*/ 4461570 w 4919004"/>
                <a:gd name="connsiteY3057" fmla="*/ 1100191 h 2455817"/>
                <a:gd name="connsiteX3058" fmla="*/ 4465764 w 4919004"/>
                <a:gd name="connsiteY3058" fmla="*/ 1100191 h 2455817"/>
                <a:gd name="connsiteX3059" fmla="*/ 4467836 w 4919004"/>
                <a:gd name="connsiteY3059" fmla="*/ 1096935 h 2455817"/>
                <a:gd name="connsiteX3060" fmla="*/ 4465764 w 4919004"/>
                <a:gd name="connsiteY3060" fmla="*/ 1093728 h 2455817"/>
                <a:gd name="connsiteX3061" fmla="*/ 4459498 w 4919004"/>
                <a:gd name="connsiteY3061" fmla="*/ 1093728 h 2455817"/>
                <a:gd name="connsiteX3062" fmla="*/ 4455304 w 4919004"/>
                <a:gd name="connsiteY3062" fmla="*/ 1095356 h 2455817"/>
                <a:gd name="connsiteX3063" fmla="*/ 4449087 w 4919004"/>
                <a:gd name="connsiteY3063" fmla="*/ 1092099 h 2455817"/>
                <a:gd name="connsiteX3064" fmla="*/ 4449087 w 4919004"/>
                <a:gd name="connsiteY3064" fmla="*/ 1081935 h 2455817"/>
                <a:gd name="connsiteX3065" fmla="*/ 4453232 w 4919004"/>
                <a:gd name="connsiteY3065" fmla="*/ 1072067 h 2455817"/>
                <a:gd name="connsiteX3066" fmla="*/ 4451160 w 4919004"/>
                <a:gd name="connsiteY3066" fmla="*/ 1068860 h 2455817"/>
                <a:gd name="connsiteX3067" fmla="*/ 4446965 w 4919004"/>
                <a:gd name="connsiteY3067" fmla="*/ 1062397 h 2455817"/>
                <a:gd name="connsiteX3068" fmla="*/ 4444943 w 4919004"/>
                <a:gd name="connsiteY3068" fmla="*/ 1060818 h 2455817"/>
                <a:gd name="connsiteX3069" fmla="*/ 4442822 w 4919004"/>
                <a:gd name="connsiteY3069" fmla="*/ 1065752 h 2455817"/>
                <a:gd name="connsiteX3070" fmla="*/ 4438677 w 4919004"/>
                <a:gd name="connsiteY3070" fmla="*/ 1064123 h 2455817"/>
                <a:gd name="connsiteX3071" fmla="*/ 4438677 w 4919004"/>
                <a:gd name="connsiteY3071" fmla="*/ 1049617 h 2455817"/>
                <a:gd name="connsiteX3072" fmla="*/ 4440748 w 4919004"/>
                <a:gd name="connsiteY3072" fmla="*/ 1046410 h 2455817"/>
                <a:gd name="connsiteX3073" fmla="*/ 4440748 w 4919004"/>
                <a:gd name="connsiteY3073" fmla="*/ 1043154 h 2455817"/>
                <a:gd name="connsiteX3074" fmla="*/ 4438677 w 4919004"/>
                <a:gd name="connsiteY3074" fmla="*/ 1036739 h 2455817"/>
                <a:gd name="connsiteX3075" fmla="*/ 4432410 w 4919004"/>
                <a:gd name="connsiteY3075" fmla="*/ 1033483 h 2455817"/>
                <a:gd name="connsiteX3076" fmla="*/ 4432410 w 4919004"/>
                <a:gd name="connsiteY3076" fmla="*/ 1030276 h 2455817"/>
                <a:gd name="connsiteX3077" fmla="*/ 4432410 w 4919004"/>
                <a:gd name="connsiteY3077" fmla="*/ 1027069 h 2455817"/>
                <a:gd name="connsiteX3078" fmla="*/ 4424121 w 4919004"/>
                <a:gd name="connsiteY3078" fmla="*/ 1018977 h 2455817"/>
                <a:gd name="connsiteX3079" fmla="*/ 4422048 w 4919004"/>
                <a:gd name="connsiteY3079" fmla="*/ 1014043 h 2455817"/>
                <a:gd name="connsiteX3080" fmla="*/ 4417855 w 4919004"/>
                <a:gd name="connsiteY3080" fmla="*/ 1010836 h 2455817"/>
                <a:gd name="connsiteX3081" fmla="*/ 4417855 w 4919004"/>
                <a:gd name="connsiteY3081" fmla="*/ 1004372 h 2455817"/>
                <a:gd name="connsiteX3082" fmla="*/ 4413710 w 4919004"/>
                <a:gd name="connsiteY3082" fmla="*/ 996330 h 2455817"/>
                <a:gd name="connsiteX3083" fmla="*/ 4413710 w 4919004"/>
                <a:gd name="connsiteY3083" fmla="*/ 991396 h 2455817"/>
                <a:gd name="connsiteX3084" fmla="*/ 4424121 w 4919004"/>
                <a:gd name="connsiteY3084" fmla="*/ 983304 h 2455817"/>
                <a:gd name="connsiteX3085" fmla="*/ 4432410 w 4919004"/>
                <a:gd name="connsiteY3085" fmla="*/ 984932 h 2455817"/>
                <a:gd name="connsiteX3086" fmla="*/ 4440748 w 4919004"/>
                <a:gd name="connsiteY3086" fmla="*/ 983304 h 2455817"/>
                <a:gd name="connsiteX3087" fmla="*/ 4434532 w 4919004"/>
                <a:gd name="connsiteY3087" fmla="*/ 980097 h 2455817"/>
                <a:gd name="connsiteX3088" fmla="*/ 4444943 w 4919004"/>
                <a:gd name="connsiteY3088" fmla="*/ 975163 h 2455817"/>
                <a:gd name="connsiteX3089" fmla="*/ 4432410 w 4919004"/>
                <a:gd name="connsiteY3089" fmla="*/ 975163 h 2455817"/>
                <a:gd name="connsiteX3090" fmla="*/ 4428265 w 4919004"/>
                <a:gd name="connsiteY3090" fmla="*/ 973535 h 2455817"/>
                <a:gd name="connsiteX3091" fmla="*/ 4420026 w 4919004"/>
                <a:gd name="connsiteY3091" fmla="*/ 973535 h 2455817"/>
                <a:gd name="connsiteX3092" fmla="*/ 4409614 w 4919004"/>
                <a:gd name="connsiteY3092" fmla="*/ 967071 h 2455817"/>
                <a:gd name="connsiteX3093" fmla="*/ 4405471 w 4919004"/>
                <a:gd name="connsiteY3093" fmla="*/ 968699 h 2455817"/>
                <a:gd name="connsiteX3094" fmla="*/ 4397132 w 4919004"/>
                <a:gd name="connsiteY3094" fmla="*/ 968699 h 2455817"/>
                <a:gd name="connsiteX3095" fmla="*/ 4390915 w 4919004"/>
                <a:gd name="connsiteY3095" fmla="*/ 975163 h 2455817"/>
                <a:gd name="connsiteX3096" fmla="*/ 4382576 w 4919004"/>
                <a:gd name="connsiteY3096" fmla="*/ 975163 h 2455817"/>
                <a:gd name="connsiteX3097" fmla="*/ 4372215 w 4919004"/>
                <a:gd name="connsiteY3097" fmla="*/ 983205 h 2455817"/>
                <a:gd name="connsiteX3098" fmla="*/ 4376359 w 4919004"/>
                <a:gd name="connsiteY3098" fmla="*/ 986462 h 2455817"/>
                <a:gd name="connsiteX3099" fmla="*/ 4376359 w 4919004"/>
                <a:gd name="connsiteY3099" fmla="*/ 991396 h 2455817"/>
                <a:gd name="connsiteX3100" fmla="*/ 4382576 w 4919004"/>
                <a:gd name="connsiteY3100" fmla="*/ 996330 h 2455817"/>
                <a:gd name="connsiteX3101" fmla="*/ 4384649 w 4919004"/>
                <a:gd name="connsiteY3101" fmla="*/ 1002744 h 2455817"/>
                <a:gd name="connsiteX3102" fmla="*/ 4382576 w 4919004"/>
                <a:gd name="connsiteY3102" fmla="*/ 1006000 h 2455817"/>
                <a:gd name="connsiteX3103" fmla="*/ 4384649 w 4919004"/>
                <a:gd name="connsiteY3103" fmla="*/ 1015868 h 2455817"/>
                <a:gd name="connsiteX3104" fmla="*/ 4390915 w 4919004"/>
                <a:gd name="connsiteY3104" fmla="*/ 1019076 h 2455817"/>
                <a:gd name="connsiteX3105" fmla="*/ 4390915 w 4919004"/>
                <a:gd name="connsiteY3105" fmla="*/ 1022283 h 2455817"/>
                <a:gd name="connsiteX3106" fmla="*/ 4397132 w 4919004"/>
                <a:gd name="connsiteY3106" fmla="*/ 1025539 h 2455817"/>
                <a:gd name="connsiteX3107" fmla="*/ 4399204 w 4919004"/>
                <a:gd name="connsiteY3107" fmla="*/ 1038417 h 2455817"/>
                <a:gd name="connsiteX3108" fmla="*/ 4411688 w 4919004"/>
                <a:gd name="connsiteY3108" fmla="*/ 1043351 h 2455817"/>
                <a:gd name="connsiteX3109" fmla="*/ 4409614 w 4919004"/>
                <a:gd name="connsiteY3109" fmla="*/ 1048285 h 2455817"/>
                <a:gd name="connsiteX3110" fmla="*/ 4413759 w 4919004"/>
                <a:gd name="connsiteY3110" fmla="*/ 1053219 h 2455817"/>
                <a:gd name="connsiteX3111" fmla="*/ 4411688 w 4919004"/>
                <a:gd name="connsiteY3111" fmla="*/ 1058153 h 2455817"/>
                <a:gd name="connsiteX3112" fmla="*/ 4405471 w 4919004"/>
                <a:gd name="connsiteY3112" fmla="*/ 1053219 h 2455817"/>
                <a:gd name="connsiteX3113" fmla="*/ 4403349 w 4919004"/>
                <a:gd name="connsiteY3113" fmla="*/ 1048285 h 2455817"/>
                <a:gd name="connsiteX3114" fmla="*/ 4392987 w 4919004"/>
                <a:gd name="connsiteY3114" fmla="*/ 1049913 h 2455817"/>
                <a:gd name="connsiteX3115" fmla="*/ 4388793 w 4919004"/>
                <a:gd name="connsiteY3115" fmla="*/ 1054847 h 2455817"/>
                <a:gd name="connsiteX3116" fmla="*/ 4384649 w 4919004"/>
                <a:gd name="connsiteY3116" fmla="*/ 1062890 h 2455817"/>
                <a:gd name="connsiteX3117" fmla="*/ 4388793 w 4919004"/>
                <a:gd name="connsiteY3117" fmla="*/ 1067824 h 2455817"/>
                <a:gd name="connsiteX3118" fmla="*/ 4386770 w 4919004"/>
                <a:gd name="connsiteY3118" fmla="*/ 1075916 h 2455817"/>
                <a:gd name="connsiteX3119" fmla="*/ 4384649 w 4919004"/>
                <a:gd name="connsiteY3119" fmla="*/ 1079123 h 2455817"/>
                <a:gd name="connsiteX3120" fmla="*/ 4384649 w 4919004"/>
                <a:gd name="connsiteY3120" fmla="*/ 1080751 h 2455817"/>
                <a:gd name="connsiteX3121" fmla="*/ 4386770 w 4919004"/>
                <a:gd name="connsiteY3121" fmla="*/ 1082379 h 2455817"/>
                <a:gd name="connsiteX3122" fmla="*/ 4386770 w 4919004"/>
                <a:gd name="connsiteY3122" fmla="*/ 1087313 h 2455817"/>
                <a:gd name="connsiteX3123" fmla="*/ 4380504 w 4919004"/>
                <a:gd name="connsiteY3123" fmla="*/ 1092247 h 2455817"/>
                <a:gd name="connsiteX3124" fmla="*/ 4384649 w 4919004"/>
                <a:gd name="connsiteY3124" fmla="*/ 1095454 h 2455817"/>
                <a:gd name="connsiteX3125" fmla="*/ 4380504 w 4919004"/>
                <a:gd name="connsiteY3125" fmla="*/ 1100389 h 2455817"/>
                <a:gd name="connsiteX3126" fmla="*/ 4380504 w 4919004"/>
                <a:gd name="connsiteY3126" fmla="*/ 1116523 h 2455817"/>
                <a:gd name="connsiteX3127" fmla="*/ 4376359 w 4919004"/>
                <a:gd name="connsiteY3127" fmla="*/ 1119730 h 2455817"/>
                <a:gd name="connsiteX3128" fmla="*/ 4376359 w 4919004"/>
                <a:gd name="connsiteY3128" fmla="*/ 1122937 h 2455817"/>
                <a:gd name="connsiteX3129" fmla="*/ 4372215 w 4919004"/>
                <a:gd name="connsiteY3129" fmla="*/ 1126194 h 2455817"/>
                <a:gd name="connsiteX3130" fmla="*/ 4368021 w 4919004"/>
                <a:gd name="connsiteY3130" fmla="*/ 1136062 h 2455817"/>
                <a:gd name="connsiteX3131" fmla="*/ 4365949 w 4919004"/>
                <a:gd name="connsiteY3131" fmla="*/ 1128019 h 2455817"/>
                <a:gd name="connsiteX3132" fmla="*/ 4357660 w 4919004"/>
                <a:gd name="connsiteY3132" fmla="*/ 1123085 h 2455817"/>
                <a:gd name="connsiteX3133" fmla="*/ 4363877 w 4919004"/>
                <a:gd name="connsiteY3133" fmla="*/ 1115043 h 2455817"/>
                <a:gd name="connsiteX3134" fmla="*/ 4361804 w 4919004"/>
                <a:gd name="connsiteY3134" fmla="*/ 1111836 h 2455817"/>
                <a:gd name="connsiteX3135" fmla="*/ 4357660 w 4919004"/>
                <a:gd name="connsiteY3135" fmla="*/ 1110207 h 2455817"/>
                <a:gd name="connsiteX3136" fmla="*/ 4349321 w 4919004"/>
                <a:gd name="connsiteY3136" fmla="*/ 1115141 h 2455817"/>
                <a:gd name="connsiteX3137" fmla="*/ 4349321 w 4919004"/>
                <a:gd name="connsiteY3137" fmla="*/ 1120075 h 2455817"/>
                <a:gd name="connsiteX3138" fmla="*/ 4347249 w 4919004"/>
                <a:gd name="connsiteY3138" fmla="*/ 1123283 h 2455817"/>
                <a:gd name="connsiteX3139" fmla="*/ 4345127 w 4919004"/>
                <a:gd name="connsiteY3139" fmla="*/ 1112033 h 2455817"/>
                <a:gd name="connsiteX3140" fmla="*/ 4336837 w 4919004"/>
                <a:gd name="connsiteY3140" fmla="*/ 1110405 h 2455817"/>
                <a:gd name="connsiteX3141" fmla="*/ 4334765 w 4919004"/>
                <a:gd name="connsiteY3141" fmla="*/ 1107198 h 2455817"/>
                <a:gd name="connsiteX3142" fmla="*/ 4328548 w 4919004"/>
                <a:gd name="connsiteY3142" fmla="*/ 1112132 h 2455817"/>
                <a:gd name="connsiteX3143" fmla="*/ 4326427 w 4919004"/>
                <a:gd name="connsiteY3143" fmla="*/ 1108875 h 2455817"/>
                <a:gd name="connsiteX3144" fmla="*/ 4328548 w 4919004"/>
                <a:gd name="connsiteY3144" fmla="*/ 1105668 h 2455817"/>
                <a:gd name="connsiteX3145" fmla="*/ 4332693 w 4919004"/>
                <a:gd name="connsiteY3145" fmla="*/ 1102461 h 2455817"/>
                <a:gd name="connsiteX3146" fmla="*/ 4330572 w 4919004"/>
                <a:gd name="connsiteY3146" fmla="*/ 1099204 h 2455817"/>
                <a:gd name="connsiteX3147" fmla="*/ 4330572 w 4919004"/>
                <a:gd name="connsiteY3147" fmla="*/ 1094270 h 2455817"/>
                <a:gd name="connsiteX3148" fmla="*/ 4332693 w 4919004"/>
                <a:gd name="connsiteY3148" fmla="*/ 1094270 h 2455817"/>
                <a:gd name="connsiteX3149" fmla="*/ 4330572 w 4919004"/>
                <a:gd name="connsiteY3149" fmla="*/ 1087856 h 2455817"/>
                <a:gd name="connsiteX3150" fmla="*/ 4326427 w 4919004"/>
                <a:gd name="connsiteY3150" fmla="*/ 1086228 h 2455817"/>
                <a:gd name="connsiteX3151" fmla="*/ 4330572 w 4919004"/>
                <a:gd name="connsiteY3151" fmla="*/ 1081294 h 2455817"/>
                <a:gd name="connsiteX3152" fmla="*/ 4328548 w 4919004"/>
                <a:gd name="connsiteY3152" fmla="*/ 1076360 h 2455817"/>
                <a:gd name="connsiteX3153" fmla="*/ 4326427 w 4919004"/>
                <a:gd name="connsiteY3153" fmla="*/ 1073103 h 2455817"/>
                <a:gd name="connsiteX3154" fmla="*/ 4328548 w 4919004"/>
                <a:gd name="connsiteY3154" fmla="*/ 1069896 h 2455817"/>
                <a:gd name="connsiteX3155" fmla="*/ 4328548 w 4919004"/>
                <a:gd name="connsiteY3155" fmla="*/ 1061854 h 2455817"/>
                <a:gd name="connsiteX3156" fmla="*/ 4320210 w 4919004"/>
                <a:gd name="connsiteY3156" fmla="*/ 1058597 h 2455817"/>
                <a:gd name="connsiteX3157" fmla="*/ 4318138 w 4919004"/>
                <a:gd name="connsiteY3157" fmla="*/ 1052183 h 2455817"/>
                <a:gd name="connsiteX3158" fmla="*/ 4313993 w 4919004"/>
                <a:gd name="connsiteY3158" fmla="*/ 1053762 h 2455817"/>
                <a:gd name="connsiteX3159" fmla="*/ 4313993 w 4919004"/>
                <a:gd name="connsiteY3159" fmla="*/ 1060226 h 2455817"/>
                <a:gd name="connsiteX3160" fmla="*/ 4307727 w 4919004"/>
                <a:gd name="connsiteY3160" fmla="*/ 1061854 h 2455817"/>
                <a:gd name="connsiteX3161" fmla="*/ 4309799 w 4919004"/>
                <a:gd name="connsiteY3161" fmla="*/ 1069896 h 2455817"/>
                <a:gd name="connsiteX3162" fmla="*/ 4303582 w 4919004"/>
                <a:gd name="connsiteY3162" fmla="*/ 1076360 h 2455817"/>
                <a:gd name="connsiteX3163" fmla="*/ 4301461 w 4919004"/>
                <a:gd name="connsiteY3163" fmla="*/ 1076360 h 2455817"/>
                <a:gd name="connsiteX3164" fmla="*/ 4297316 w 4919004"/>
                <a:gd name="connsiteY3164" fmla="*/ 1068268 h 2455817"/>
                <a:gd name="connsiteX3165" fmla="*/ 4293172 w 4919004"/>
                <a:gd name="connsiteY3165" fmla="*/ 1068268 h 2455817"/>
                <a:gd name="connsiteX3166" fmla="*/ 4291100 w 4919004"/>
                <a:gd name="connsiteY3166" fmla="*/ 1069896 h 2455817"/>
                <a:gd name="connsiteX3167" fmla="*/ 4289027 w 4919004"/>
                <a:gd name="connsiteY3167" fmla="*/ 1063433 h 2455817"/>
                <a:gd name="connsiteX3168" fmla="*/ 4280689 w 4919004"/>
                <a:gd name="connsiteY3168" fmla="*/ 1063433 h 2455817"/>
                <a:gd name="connsiteX3169" fmla="*/ 4278617 w 4919004"/>
                <a:gd name="connsiteY3169" fmla="*/ 1066689 h 2455817"/>
                <a:gd name="connsiteX3170" fmla="*/ 4274472 w 4919004"/>
                <a:gd name="connsiteY3170" fmla="*/ 1066689 h 2455817"/>
                <a:gd name="connsiteX3171" fmla="*/ 4274472 w 4919004"/>
                <a:gd name="connsiteY3171" fmla="*/ 1071623 h 2455817"/>
                <a:gd name="connsiteX3172" fmla="*/ 4268255 w 4919004"/>
                <a:gd name="connsiteY3172" fmla="*/ 1073202 h 2455817"/>
                <a:gd name="connsiteX3173" fmla="*/ 4266133 w 4919004"/>
                <a:gd name="connsiteY3173" fmla="*/ 1076459 h 2455817"/>
                <a:gd name="connsiteX3174" fmla="*/ 4253700 w 4919004"/>
                <a:gd name="connsiteY3174" fmla="*/ 1076459 h 2455817"/>
                <a:gd name="connsiteX3175" fmla="*/ 4249505 w 4919004"/>
                <a:gd name="connsiteY3175" fmla="*/ 1081393 h 2455817"/>
                <a:gd name="connsiteX3176" fmla="*/ 4245361 w 4919004"/>
                <a:gd name="connsiteY3176" fmla="*/ 1079764 h 2455817"/>
                <a:gd name="connsiteX3177" fmla="*/ 4241216 w 4919004"/>
                <a:gd name="connsiteY3177" fmla="*/ 1083021 h 2455817"/>
                <a:gd name="connsiteX3178" fmla="*/ 4232878 w 4919004"/>
                <a:gd name="connsiteY3178" fmla="*/ 1081393 h 2455817"/>
                <a:gd name="connsiteX3179" fmla="*/ 4224588 w 4919004"/>
                <a:gd name="connsiteY3179" fmla="*/ 1092691 h 2455817"/>
                <a:gd name="connsiteX3180" fmla="*/ 4220395 w 4919004"/>
                <a:gd name="connsiteY3180" fmla="*/ 1094270 h 2455817"/>
                <a:gd name="connsiteX3181" fmla="*/ 4220395 w 4919004"/>
                <a:gd name="connsiteY3181" fmla="*/ 1104138 h 2455817"/>
                <a:gd name="connsiteX3182" fmla="*/ 4214178 w 4919004"/>
                <a:gd name="connsiteY3182" fmla="*/ 1107395 h 2455817"/>
                <a:gd name="connsiteX3183" fmla="*/ 4214178 w 4919004"/>
                <a:gd name="connsiteY3183" fmla="*/ 1110602 h 2455817"/>
                <a:gd name="connsiteX3184" fmla="*/ 4218323 w 4919004"/>
                <a:gd name="connsiteY3184" fmla="*/ 1113858 h 2455817"/>
                <a:gd name="connsiteX3185" fmla="*/ 4220395 w 4919004"/>
                <a:gd name="connsiteY3185" fmla="*/ 1121901 h 2455817"/>
                <a:gd name="connsiteX3186" fmla="*/ 4226661 w 4919004"/>
                <a:gd name="connsiteY3186" fmla="*/ 1129943 h 2455817"/>
                <a:gd name="connsiteX3187" fmla="*/ 4222467 w 4919004"/>
                <a:gd name="connsiteY3187" fmla="*/ 1134878 h 2455817"/>
                <a:gd name="connsiteX3188" fmla="*/ 4218323 w 4919004"/>
                <a:gd name="connsiteY3188" fmla="*/ 1155798 h 2455817"/>
                <a:gd name="connsiteX3189" fmla="*/ 4226661 w 4919004"/>
                <a:gd name="connsiteY3189" fmla="*/ 1165666 h 2455817"/>
                <a:gd name="connsiteX3190" fmla="*/ 4220395 w 4919004"/>
                <a:gd name="connsiteY3190" fmla="*/ 1167294 h 2455817"/>
                <a:gd name="connsiteX3191" fmla="*/ 4222467 w 4919004"/>
                <a:gd name="connsiteY3191" fmla="*/ 1168922 h 2455817"/>
                <a:gd name="connsiteX3192" fmla="*/ 4222467 w 4919004"/>
                <a:gd name="connsiteY3192" fmla="*/ 1175337 h 2455817"/>
                <a:gd name="connsiteX3193" fmla="*/ 4214178 w 4919004"/>
                <a:gd name="connsiteY3193" fmla="*/ 1181800 h 2455817"/>
                <a:gd name="connsiteX3194" fmla="*/ 4214178 w 4919004"/>
                <a:gd name="connsiteY3194" fmla="*/ 1191668 h 2455817"/>
                <a:gd name="connsiteX3195" fmla="*/ 4210033 w 4919004"/>
                <a:gd name="connsiteY3195" fmla="*/ 1198132 h 2455817"/>
                <a:gd name="connsiteX3196" fmla="*/ 4207912 w 4919004"/>
                <a:gd name="connsiteY3196" fmla="*/ 1204546 h 2455817"/>
                <a:gd name="connsiteX3197" fmla="*/ 4205840 w 4919004"/>
                <a:gd name="connsiteY3197" fmla="*/ 1214414 h 2455817"/>
                <a:gd name="connsiteX3198" fmla="*/ 4212057 w 4919004"/>
                <a:gd name="connsiteY3198" fmla="*/ 1222457 h 2455817"/>
                <a:gd name="connsiteX3199" fmla="*/ 4205840 w 4919004"/>
                <a:gd name="connsiteY3199" fmla="*/ 1227391 h 2455817"/>
                <a:gd name="connsiteX3200" fmla="*/ 4216250 w 4919004"/>
                <a:gd name="connsiteY3200" fmla="*/ 1238690 h 2455817"/>
                <a:gd name="connsiteX3201" fmla="*/ 4212057 w 4919004"/>
                <a:gd name="connsiteY3201" fmla="*/ 1240268 h 2455817"/>
                <a:gd name="connsiteX3202" fmla="*/ 4210033 w 4919004"/>
                <a:gd name="connsiteY3202" fmla="*/ 1245202 h 2455817"/>
                <a:gd name="connsiteX3203" fmla="*/ 4216250 w 4919004"/>
                <a:gd name="connsiteY3203" fmla="*/ 1248459 h 2455817"/>
                <a:gd name="connsiteX3204" fmla="*/ 4218323 w 4919004"/>
                <a:gd name="connsiteY3204" fmla="*/ 1245202 h 2455817"/>
                <a:gd name="connsiteX3205" fmla="*/ 4226661 w 4919004"/>
                <a:gd name="connsiteY3205" fmla="*/ 1245202 h 2455817"/>
                <a:gd name="connsiteX3206" fmla="*/ 4224588 w 4919004"/>
                <a:gd name="connsiteY3206" fmla="*/ 1241995 h 2455817"/>
                <a:gd name="connsiteX3207" fmla="*/ 4226661 w 4919004"/>
                <a:gd name="connsiteY3207" fmla="*/ 1241995 h 2455817"/>
                <a:gd name="connsiteX3208" fmla="*/ 4232878 w 4919004"/>
                <a:gd name="connsiteY3208" fmla="*/ 1245202 h 2455817"/>
                <a:gd name="connsiteX3209" fmla="*/ 4237022 w 4919004"/>
                <a:gd name="connsiteY3209" fmla="*/ 1245202 h 2455817"/>
                <a:gd name="connsiteX3210" fmla="*/ 4237022 w 4919004"/>
                <a:gd name="connsiteY3210" fmla="*/ 1240268 h 2455817"/>
                <a:gd name="connsiteX3211" fmla="*/ 4241216 w 4919004"/>
                <a:gd name="connsiteY3211" fmla="*/ 1243525 h 2455817"/>
                <a:gd name="connsiteX3212" fmla="*/ 4249505 w 4919004"/>
                <a:gd name="connsiteY3212" fmla="*/ 1245104 h 2455817"/>
                <a:gd name="connsiteX3213" fmla="*/ 4249505 w 4919004"/>
                <a:gd name="connsiteY3213" fmla="*/ 1249692 h 2455817"/>
                <a:gd name="connsiteX3214" fmla="*/ 4255771 w 4919004"/>
                <a:gd name="connsiteY3214" fmla="*/ 1254626 h 2455817"/>
                <a:gd name="connsiteX3215" fmla="*/ 4253700 w 4919004"/>
                <a:gd name="connsiteY3215" fmla="*/ 1257834 h 2455817"/>
                <a:gd name="connsiteX3216" fmla="*/ 4249505 w 4919004"/>
                <a:gd name="connsiteY3216" fmla="*/ 1257834 h 2455817"/>
                <a:gd name="connsiteX3217" fmla="*/ 4243288 w 4919004"/>
                <a:gd name="connsiteY3217" fmla="*/ 1259462 h 2455817"/>
                <a:gd name="connsiteX3218" fmla="*/ 4239144 w 4919004"/>
                <a:gd name="connsiteY3218" fmla="*/ 1257834 h 2455817"/>
                <a:gd name="connsiteX3219" fmla="*/ 4232878 w 4919004"/>
                <a:gd name="connsiteY3219" fmla="*/ 1261090 h 2455817"/>
                <a:gd name="connsiteX3220" fmla="*/ 4232878 w 4919004"/>
                <a:gd name="connsiteY3220" fmla="*/ 1262718 h 2455817"/>
                <a:gd name="connsiteX3221" fmla="*/ 4237022 w 4919004"/>
                <a:gd name="connsiteY3221" fmla="*/ 1267652 h 2455817"/>
                <a:gd name="connsiteX3222" fmla="*/ 4228733 w 4919004"/>
                <a:gd name="connsiteY3222" fmla="*/ 1274067 h 2455817"/>
                <a:gd name="connsiteX3223" fmla="*/ 4222467 w 4919004"/>
                <a:gd name="connsiteY3223" fmla="*/ 1272438 h 2455817"/>
                <a:gd name="connsiteX3224" fmla="*/ 4222467 w 4919004"/>
                <a:gd name="connsiteY3224" fmla="*/ 1267504 h 2455817"/>
                <a:gd name="connsiteX3225" fmla="*/ 4218323 w 4919004"/>
                <a:gd name="connsiteY3225" fmla="*/ 1264248 h 2455817"/>
                <a:gd name="connsiteX3226" fmla="*/ 4212057 w 4919004"/>
                <a:gd name="connsiteY3226" fmla="*/ 1267504 h 2455817"/>
                <a:gd name="connsiteX3227" fmla="*/ 4207912 w 4919004"/>
                <a:gd name="connsiteY3227" fmla="*/ 1264248 h 2455817"/>
                <a:gd name="connsiteX3228" fmla="*/ 4203766 w 4919004"/>
                <a:gd name="connsiteY3228" fmla="*/ 1265876 h 2455817"/>
                <a:gd name="connsiteX3229" fmla="*/ 4205840 w 4919004"/>
                <a:gd name="connsiteY3229" fmla="*/ 1270810 h 2455817"/>
                <a:gd name="connsiteX3230" fmla="*/ 4203766 w 4919004"/>
                <a:gd name="connsiteY3230" fmla="*/ 1275744 h 2455817"/>
                <a:gd name="connsiteX3231" fmla="*/ 4201695 w 4919004"/>
                <a:gd name="connsiteY3231" fmla="*/ 1275744 h 2455817"/>
                <a:gd name="connsiteX3232" fmla="*/ 4199623 w 4919004"/>
                <a:gd name="connsiteY3232" fmla="*/ 1280678 h 2455817"/>
                <a:gd name="connsiteX3233" fmla="*/ 4193356 w 4919004"/>
                <a:gd name="connsiteY3233" fmla="*/ 1282257 h 2455817"/>
                <a:gd name="connsiteX3234" fmla="*/ 4197550 w 4919004"/>
                <a:gd name="connsiteY3234" fmla="*/ 1285514 h 2455817"/>
                <a:gd name="connsiteX3235" fmla="*/ 4193356 w 4919004"/>
                <a:gd name="connsiteY3235" fmla="*/ 1290448 h 2455817"/>
                <a:gd name="connsiteX3236" fmla="*/ 4189211 w 4919004"/>
                <a:gd name="connsiteY3236" fmla="*/ 1288819 h 2455817"/>
                <a:gd name="connsiteX3237" fmla="*/ 4180922 w 4919004"/>
                <a:gd name="connsiteY3237" fmla="*/ 1280777 h 2455817"/>
                <a:gd name="connsiteX3238" fmla="*/ 4176728 w 4919004"/>
                <a:gd name="connsiteY3238" fmla="*/ 1280777 h 2455817"/>
                <a:gd name="connsiteX3239" fmla="*/ 4180922 w 4919004"/>
                <a:gd name="connsiteY3239" fmla="*/ 1287240 h 2455817"/>
                <a:gd name="connsiteX3240" fmla="*/ 4174656 w 4919004"/>
                <a:gd name="connsiteY3240" fmla="*/ 1290448 h 2455817"/>
                <a:gd name="connsiteX3241" fmla="*/ 4174656 w 4919004"/>
                <a:gd name="connsiteY3241" fmla="*/ 1293704 h 2455817"/>
                <a:gd name="connsiteX3242" fmla="*/ 4170511 w 4919004"/>
                <a:gd name="connsiteY3242" fmla="*/ 1298638 h 2455817"/>
                <a:gd name="connsiteX3243" fmla="*/ 4160101 w 4919004"/>
                <a:gd name="connsiteY3243" fmla="*/ 1301894 h 2455817"/>
                <a:gd name="connsiteX3244" fmla="*/ 4155956 w 4919004"/>
                <a:gd name="connsiteY3244" fmla="*/ 1305102 h 2455817"/>
                <a:gd name="connsiteX3245" fmla="*/ 4147618 w 4919004"/>
                <a:gd name="connsiteY3245" fmla="*/ 1293852 h 2455817"/>
                <a:gd name="connsiteX3246" fmla="*/ 4141401 w 4919004"/>
                <a:gd name="connsiteY3246" fmla="*/ 1293852 h 2455817"/>
                <a:gd name="connsiteX3247" fmla="*/ 4139280 w 4919004"/>
                <a:gd name="connsiteY3247" fmla="*/ 1292224 h 2455817"/>
                <a:gd name="connsiteX3248" fmla="*/ 4141401 w 4919004"/>
                <a:gd name="connsiteY3248" fmla="*/ 1288967 h 2455817"/>
                <a:gd name="connsiteX3249" fmla="*/ 4147618 w 4919004"/>
                <a:gd name="connsiteY3249" fmla="*/ 1288967 h 2455817"/>
                <a:gd name="connsiteX3250" fmla="*/ 4145546 w 4919004"/>
                <a:gd name="connsiteY3250" fmla="*/ 1282504 h 2455817"/>
                <a:gd name="connsiteX3251" fmla="*/ 4147618 w 4919004"/>
                <a:gd name="connsiteY3251" fmla="*/ 1279297 h 2455817"/>
                <a:gd name="connsiteX3252" fmla="*/ 4160101 w 4919004"/>
                <a:gd name="connsiteY3252" fmla="*/ 1279297 h 2455817"/>
                <a:gd name="connsiteX3253" fmla="*/ 4172584 w 4919004"/>
                <a:gd name="connsiteY3253" fmla="*/ 1271254 h 2455817"/>
                <a:gd name="connsiteX3254" fmla="*/ 4170511 w 4919004"/>
                <a:gd name="connsiteY3254" fmla="*/ 1266320 h 2455817"/>
                <a:gd name="connsiteX3255" fmla="*/ 4164245 w 4919004"/>
                <a:gd name="connsiteY3255" fmla="*/ 1266320 h 2455817"/>
                <a:gd name="connsiteX3256" fmla="*/ 4158028 w 4919004"/>
                <a:gd name="connsiteY3256" fmla="*/ 1271254 h 2455817"/>
                <a:gd name="connsiteX3257" fmla="*/ 4149690 w 4919004"/>
                <a:gd name="connsiteY3257" fmla="*/ 1269626 h 2455817"/>
                <a:gd name="connsiteX3258" fmla="*/ 4149690 w 4919004"/>
                <a:gd name="connsiteY3258" fmla="*/ 1266419 h 2455817"/>
                <a:gd name="connsiteX3259" fmla="*/ 4141401 w 4919004"/>
                <a:gd name="connsiteY3259" fmla="*/ 1263212 h 2455817"/>
                <a:gd name="connsiteX3260" fmla="*/ 4135135 w 4919004"/>
                <a:gd name="connsiteY3260" fmla="*/ 1261584 h 2455817"/>
                <a:gd name="connsiteX3261" fmla="*/ 4124723 w 4919004"/>
                <a:gd name="connsiteY3261" fmla="*/ 1259955 h 2455817"/>
                <a:gd name="connsiteX3262" fmla="*/ 4114362 w 4919004"/>
                <a:gd name="connsiteY3262" fmla="*/ 1261584 h 2455817"/>
                <a:gd name="connsiteX3263" fmla="*/ 4118506 w 4919004"/>
                <a:gd name="connsiteY3263" fmla="*/ 1264791 h 2455817"/>
                <a:gd name="connsiteX3264" fmla="*/ 4112289 w 4919004"/>
                <a:gd name="connsiteY3264" fmla="*/ 1266419 h 2455817"/>
                <a:gd name="connsiteX3265" fmla="*/ 4108145 w 4919004"/>
                <a:gd name="connsiteY3265" fmla="*/ 1263212 h 2455817"/>
                <a:gd name="connsiteX3266" fmla="*/ 4110168 w 4919004"/>
                <a:gd name="connsiteY3266" fmla="*/ 1259955 h 2455817"/>
                <a:gd name="connsiteX3267" fmla="*/ 4099807 w 4919004"/>
                <a:gd name="connsiteY3267" fmla="*/ 1261584 h 2455817"/>
                <a:gd name="connsiteX3268" fmla="*/ 4087324 w 4919004"/>
                <a:gd name="connsiteY3268" fmla="*/ 1258327 h 2455817"/>
                <a:gd name="connsiteX3269" fmla="*/ 4081058 w 4919004"/>
                <a:gd name="connsiteY3269" fmla="*/ 1261584 h 2455817"/>
                <a:gd name="connsiteX3270" fmla="*/ 4074841 w 4919004"/>
                <a:gd name="connsiteY3270" fmla="*/ 1258327 h 2455817"/>
                <a:gd name="connsiteX3271" fmla="*/ 4064479 w 4919004"/>
                <a:gd name="connsiteY3271" fmla="*/ 1256748 h 2455817"/>
                <a:gd name="connsiteX3272" fmla="*/ 4056141 w 4919004"/>
                <a:gd name="connsiteY3272" fmla="*/ 1266616 h 2455817"/>
                <a:gd name="connsiteX3273" fmla="*/ 4051946 w 4919004"/>
                <a:gd name="connsiteY3273" fmla="*/ 1266616 h 2455817"/>
                <a:gd name="connsiteX3274" fmla="*/ 4049924 w 4919004"/>
                <a:gd name="connsiteY3274" fmla="*/ 1271550 h 2455817"/>
                <a:gd name="connsiteX3275" fmla="*/ 4060286 w 4919004"/>
                <a:gd name="connsiteY3275" fmla="*/ 1276484 h 2455817"/>
                <a:gd name="connsiteX3276" fmla="*/ 4049924 w 4919004"/>
                <a:gd name="connsiteY3276" fmla="*/ 1279691 h 2455817"/>
                <a:gd name="connsiteX3277" fmla="*/ 4047802 w 4919004"/>
                <a:gd name="connsiteY3277" fmla="*/ 1276484 h 2455817"/>
                <a:gd name="connsiteX3278" fmla="*/ 4043657 w 4919004"/>
                <a:gd name="connsiteY3278" fmla="*/ 1282899 h 2455817"/>
                <a:gd name="connsiteX3279" fmla="*/ 4051946 w 4919004"/>
                <a:gd name="connsiteY3279" fmla="*/ 1287833 h 2455817"/>
                <a:gd name="connsiteX3280" fmla="*/ 4054069 w 4919004"/>
                <a:gd name="connsiteY3280" fmla="*/ 1284625 h 2455817"/>
                <a:gd name="connsiteX3281" fmla="*/ 4058212 w 4919004"/>
                <a:gd name="connsiteY3281" fmla="*/ 1287833 h 2455817"/>
                <a:gd name="connsiteX3282" fmla="*/ 4058212 w 4919004"/>
                <a:gd name="connsiteY3282" fmla="*/ 1291040 h 2455817"/>
                <a:gd name="connsiteX3283" fmla="*/ 4045729 w 4919004"/>
                <a:gd name="connsiteY3283" fmla="*/ 1295974 h 2455817"/>
                <a:gd name="connsiteX3284" fmla="*/ 4039512 w 4919004"/>
                <a:gd name="connsiteY3284" fmla="*/ 1291040 h 2455817"/>
                <a:gd name="connsiteX3285" fmla="*/ 4029102 w 4919004"/>
                <a:gd name="connsiteY3285" fmla="*/ 1291040 h 2455817"/>
                <a:gd name="connsiteX3286" fmla="*/ 4024957 w 4919004"/>
                <a:gd name="connsiteY3286" fmla="*/ 1294296 h 2455817"/>
                <a:gd name="connsiteX3287" fmla="*/ 4024957 w 4919004"/>
                <a:gd name="connsiteY3287" fmla="*/ 1299230 h 2455817"/>
                <a:gd name="connsiteX3288" fmla="*/ 4020813 w 4919004"/>
                <a:gd name="connsiteY3288" fmla="*/ 1297651 h 2455817"/>
                <a:gd name="connsiteX3289" fmla="*/ 4016619 w 4919004"/>
                <a:gd name="connsiteY3289" fmla="*/ 1302585 h 2455817"/>
                <a:gd name="connsiteX3290" fmla="*/ 4012474 w 4919004"/>
                <a:gd name="connsiteY3290" fmla="*/ 1302585 h 2455817"/>
                <a:gd name="connsiteX3291" fmla="*/ 4010402 w 4919004"/>
                <a:gd name="connsiteY3291" fmla="*/ 1297651 h 2455817"/>
                <a:gd name="connsiteX3292" fmla="*/ 3995600 w 4919004"/>
                <a:gd name="connsiteY3292" fmla="*/ 1296023 h 2455817"/>
                <a:gd name="connsiteX3293" fmla="*/ 3989334 w 4919004"/>
                <a:gd name="connsiteY3293" fmla="*/ 1299230 h 2455817"/>
                <a:gd name="connsiteX3294" fmla="*/ 3974828 w 4919004"/>
                <a:gd name="connsiteY3294" fmla="*/ 1297651 h 2455817"/>
                <a:gd name="connsiteX3295" fmla="*/ 3966490 w 4919004"/>
                <a:gd name="connsiteY3295" fmla="*/ 1302585 h 2455817"/>
                <a:gd name="connsiteX3296" fmla="*/ 3966490 w 4919004"/>
                <a:gd name="connsiteY3296" fmla="*/ 1305792 h 2455817"/>
                <a:gd name="connsiteX3297" fmla="*/ 3976900 w 4919004"/>
                <a:gd name="connsiteY3297" fmla="*/ 1312256 h 2455817"/>
                <a:gd name="connsiteX3298" fmla="*/ 3972706 w 4919004"/>
                <a:gd name="connsiteY3298" fmla="*/ 1315463 h 2455817"/>
                <a:gd name="connsiteX3299" fmla="*/ 3968561 w 4919004"/>
                <a:gd name="connsiteY3299" fmla="*/ 1321927 h 2455817"/>
                <a:gd name="connsiteX3300" fmla="*/ 3962345 w 4919004"/>
                <a:gd name="connsiteY3300" fmla="*/ 1316993 h 2455817"/>
                <a:gd name="connsiteX3301" fmla="*/ 3956078 w 4919004"/>
                <a:gd name="connsiteY3301" fmla="*/ 1315364 h 2455817"/>
                <a:gd name="connsiteX3302" fmla="*/ 3960273 w 4919004"/>
                <a:gd name="connsiteY3302" fmla="*/ 1308950 h 2455817"/>
                <a:gd name="connsiteX3303" fmla="*/ 3954006 w 4919004"/>
                <a:gd name="connsiteY3303" fmla="*/ 1304016 h 2455817"/>
                <a:gd name="connsiteX3304" fmla="*/ 3949812 w 4919004"/>
                <a:gd name="connsiteY3304" fmla="*/ 1308950 h 2455817"/>
                <a:gd name="connsiteX3305" fmla="*/ 3943595 w 4919004"/>
                <a:gd name="connsiteY3305" fmla="*/ 1310529 h 2455817"/>
                <a:gd name="connsiteX3306" fmla="*/ 3937378 w 4919004"/>
                <a:gd name="connsiteY3306" fmla="*/ 1310529 h 2455817"/>
                <a:gd name="connsiteX3307" fmla="*/ 3931161 w 4919004"/>
                <a:gd name="connsiteY3307" fmla="*/ 1313736 h 2455817"/>
                <a:gd name="connsiteX3308" fmla="*/ 3922823 w 4919004"/>
                <a:gd name="connsiteY3308" fmla="*/ 1313736 h 2455817"/>
                <a:gd name="connsiteX3309" fmla="*/ 3912413 w 4919004"/>
                <a:gd name="connsiteY3309" fmla="*/ 1320200 h 2455817"/>
                <a:gd name="connsiteX3310" fmla="*/ 3901952 w 4919004"/>
                <a:gd name="connsiteY3310" fmla="*/ 1320200 h 2455817"/>
                <a:gd name="connsiteX3311" fmla="*/ 3889469 w 4919004"/>
                <a:gd name="connsiteY3311" fmla="*/ 1328292 h 2455817"/>
                <a:gd name="connsiteX3312" fmla="*/ 3881130 w 4919004"/>
                <a:gd name="connsiteY3312" fmla="*/ 1329871 h 2455817"/>
                <a:gd name="connsiteX3313" fmla="*/ 3876985 w 4919004"/>
                <a:gd name="connsiteY3313" fmla="*/ 1324936 h 2455817"/>
                <a:gd name="connsiteX3314" fmla="*/ 3872842 w 4919004"/>
                <a:gd name="connsiteY3314" fmla="*/ 1324936 h 2455817"/>
                <a:gd name="connsiteX3315" fmla="*/ 3870719 w 4919004"/>
                <a:gd name="connsiteY3315" fmla="*/ 1331351 h 2455817"/>
                <a:gd name="connsiteX3316" fmla="*/ 3856164 w 4919004"/>
                <a:gd name="connsiteY3316" fmla="*/ 1339393 h 2455817"/>
                <a:gd name="connsiteX3317" fmla="*/ 3854092 w 4919004"/>
                <a:gd name="connsiteY3317" fmla="*/ 1345857 h 2455817"/>
                <a:gd name="connsiteX3318" fmla="*/ 3847875 w 4919004"/>
                <a:gd name="connsiteY3318" fmla="*/ 1352320 h 2455817"/>
                <a:gd name="connsiteX3319" fmla="*/ 3847875 w 4919004"/>
                <a:gd name="connsiteY3319" fmla="*/ 1358784 h 2455817"/>
                <a:gd name="connsiteX3320" fmla="*/ 3856164 w 4919004"/>
                <a:gd name="connsiteY3320" fmla="*/ 1371662 h 2455817"/>
                <a:gd name="connsiteX3321" fmla="*/ 3854092 w 4919004"/>
                <a:gd name="connsiteY3321" fmla="*/ 1382961 h 2455817"/>
                <a:gd name="connsiteX3322" fmla="*/ 3843730 w 4919004"/>
                <a:gd name="connsiteY3322" fmla="*/ 1394210 h 2455817"/>
                <a:gd name="connsiteX3323" fmla="*/ 3837464 w 4919004"/>
                <a:gd name="connsiteY3323" fmla="*/ 1404078 h 2455817"/>
                <a:gd name="connsiteX3324" fmla="*/ 3839537 w 4919004"/>
                <a:gd name="connsiteY3324" fmla="*/ 1410493 h 2455817"/>
                <a:gd name="connsiteX3325" fmla="*/ 3839537 w 4919004"/>
                <a:gd name="connsiteY3325" fmla="*/ 1422384 h 2455817"/>
                <a:gd name="connsiteX3326" fmla="*/ 3843730 w 4919004"/>
                <a:gd name="connsiteY3326" fmla="*/ 1427318 h 2455817"/>
                <a:gd name="connsiteX3327" fmla="*/ 3843730 w 4919004"/>
                <a:gd name="connsiteY3327" fmla="*/ 1433781 h 2455817"/>
                <a:gd name="connsiteX3328" fmla="*/ 3839537 w 4919004"/>
                <a:gd name="connsiteY3328" fmla="*/ 1433781 h 2455817"/>
                <a:gd name="connsiteX3329" fmla="*/ 3835392 w 4919004"/>
                <a:gd name="connsiteY3329" fmla="*/ 1435360 h 2455817"/>
                <a:gd name="connsiteX3330" fmla="*/ 3835392 w 4919004"/>
                <a:gd name="connsiteY3330" fmla="*/ 1443452 h 2455817"/>
                <a:gd name="connsiteX3331" fmla="*/ 3831197 w 4919004"/>
                <a:gd name="connsiteY3331" fmla="*/ 1445031 h 2455817"/>
                <a:gd name="connsiteX3332" fmla="*/ 3835392 w 4919004"/>
                <a:gd name="connsiteY3332" fmla="*/ 1456330 h 2455817"/>
                <a:gd name="connsiteX3333" fmla="*/ 3829175 w 4919004"/>
                <a:gd name="connsiteY3333" fmla="*/ 1461264 h 2455817"/>
                <a:gd name="connsiteX3334" fmla="*/ 3827054 w 4919004"/>
                <a:gd name="connsiteY3334" fmla="*/ 1469306 h 2455817"/>
                <a:gd name="connsiteX3335" fmla="*/ 3816642 w 4919004"/>
                <a:gd name="connsiteY3335" fmla="*/ 1479174 h 2455817"/>
                <a:gd name="connsiteX3336" fmla="*/ 3818764 w 4919004"/>
                <a:gd name="connsiteY3336" fmla="*/ 1485638 h 2455817"/>
                <a:gd name="connsiteX3337" fmla="*/ 3812499 w 4919004"/>
                <a:gd name="connsiteY3337" fmla="*/ 1488845 h 2455817"/>
                <a:gd name="connsiteX3338" fmla="*/ 3810425 w 4919004"/>
                <a:gd name="connsiteY3338" fmla="*/ 1500144 h 2455817"/>
                <a:gd name="connsiteX3339" fmla="*/ 3808353 w 4919004"/>
                <a:gd name="connsiteY3339" fmla="*/ 1500144 h 2455817"/>
                <a:gd name="connsiteX3340" fmla="*/ 3804208 w 4919004"/>
                <a:gd name="connsiteY3340" fmla="*/ 1514946 h 2455817"/>
                <a:gd name="connsiteX3341" fmla="*/ 3804208 w 4919004"/>
                <a:gd name="connsiteY3341" fmla="*/ 1526196 h 2455817"/>
                <a:gd name="connsiteX3342" fmla="*/ 3802087 w 4919004"/>
                <a:gd name="connsiteY3342" fmla="*/ 1529452 h 2455817"/>
                <a:gd name="connsiteX3343" fmla="*/ 3806282 w 4919004"/>
                <a:gd name="connsiteY3343" fmla="*/ 1537495 h 2455817"/>
                <a:gd name="connsiteX3344" fmla="*/ 3800065 w 4919004"/>
                <a:gd name="connsiteY3344" fmla="*/ 1543909 h 2455817"/>
                <a:gd name="connsiteX3345" fmla="*/ 3800065 w 4919004"/>
                <a:gd name="connsiteY3345" fmla="*/ 1550373 h 2455817"/>
                <a:gd name="connsiteX3346" fmla="*/ 3791725 w 4919004"/>
                <a:gd name="connsiteY3346" fmla="*/ 1560241 h 2455817"/>
                <a:gd name="connsiteX3347" fmla="*/ 3793798 w 4919004"/>
                <a:gd name="connsiteY3347" fmla="*/ 1563497 h 2455817"/>
                <a:gd name="connsiteX3348" fmla="*/ 3789653 w 4919004"/>
                <a:gd name="connsiteY3348" fmla="*/ 1565076 h 2455817"/>
                <a:gd name="connsiteX3349" fmla="*/ 3789653 w 4919004"/>
                <a:gd name="connsiteY3349" fmla="*/ 1573168 h 2455817"/>
                <a:gd name="connsiteX3350" fmla="*/ 3779242 w 4919004"/>
                <a:gd name="connsiteY3350" fmla="*/ 1579631 h 2455817"/>
                <a:gd name="connsiteX3351" fmla="*/ 3777170 w 4919004"/>
                <a:gd name="connsiteY3351" fmla="*/ 1590881 h 2455817"/>
                <a:gd name="connsiteX3352" fmla="*/ 3766760 w 4919004"/>
                <a:gd name="connsiteY3352" fmla="*/ 1598923 h 2455817"/>
                <a:gd name="connsiteX3353" fmla="*/ 3766760 w 4919004"/>
                <a:gd name="connsiteY3353" fmla="*/ 1603857 h 2455817"/>
                <a:gd name="connsiteX3354" fmla="*/ 3760543 w 4919004"/>
                <a:gd name="connsiteY3354" fmla="*/ 1611900 h 2455817"/>
                <a:gd name="connsiteX3355" fmla="*/ 3758420 w 4919004"/>
                <a:gd name="connsiteY3355" fmla="*/ 1619942 h 2455817"/>
                <a:gd name="connsiteX3356" fmla="*/ 3754277 w 4919004"/>
                <a:gd name="connsiteY3356" fmla="*/ 1624877 h 2455817"/>
                <a:gd name="connsiteX3357" fmla="*/ 3758420 w 4919004"/>
                <a:gd name="connsiteY3357" fmla="*/ 1629811 h 2455817"/>
                <a:gd name="connsiteX3358" fmla="*/ 3764687 w 4919004"/>
                <a:gd name="connsiteY3358" fmla="*/ 1634745 h 2455817"/>
                <a:gd name="connsiteX3359" fmla="*/ 3772977 w 4919004"/>
                <a:gd name="connsiteY3359" fmla="*/ 1633116 h 2455817"/>
                <a:gd name="connsiteX3360" fmla="*/ 3779242 w 4919004"/>
                <a:gd name="connsiteY3360" fmla="*/ 1636323 h 2455817"/>
                <a:gd name="connsiteX3361" fmla="*/ 3785508 w 4919004"/>
                <a:gd name="connsiteY3361" fmla="*/ 1637952 h 2455817"/>
                <a:gd name="connsiteX3362" fmla="*/ 3793798 w 4919004"/>
                <a:gd name="connsiteY3362" fmla="*/ 1631488 h 2455817"/>
                <a:gd name="connsiteX3363" fmla="*/ 3800065 w 4919004"/>
                <a:gd name="connsiteY3363" fmla="*/ 1629860 h 2455817"/>
                <a:gd name="connsiteX3364" fmla="*/ 3806282 w 4919004"/>
                <a:gd name="connsiteY3364" fmla="*/ 1626653 h 2455817"/>
                <a:gd name="connsiteX3365" fmla="*/ 3808353 w 4919004"/>
                <a:gd name="connsiteY3365" fmla="*/ 1626653 h 2455817"/>
                <a:gd name="connsiteX3366" fmla="*/ 3816642 w 4919004"/>
                <a:gd name="connsiteY3366" fmla="*/ 1625074 h 2455817"/>
                <a:gd name="connsiteX3367" fmla="*/ 3816642 w 4919004"/>
                <a:gd name="connsiteY3367" fmla="*/ 1641159 h 2455817"/>
                <a:gd name="connsiteX3368" fmla="*/ 3824981 w 4919004"/>
                <a:gd name="connsiteY3368" fmla="*/ 1651027 h 2455817"/>
                <a:gd name="connsiteX3369" fmla="*/ 3829175 w 4919004"/>
                <a:gd name="connsiteY3369" fmla="*/ 1660895 h 2455817"/>
                <a:gd name="connsiteX3370" fmla="*/ 3827054 w 4919004"/>
                <a:gd name="connsiteY3370" fmla="*/ 1668987 h 2455817"/>
                <a:gd name="connsiteX3371" fmla="*/ 3835392 w 4919004"/>
                <a:gd name="connsiteY3371" fmla="*/ 1675401 h 2455817"/>
                <a:gd name="connsiteX3372" fmla="*/ 3841609 w 4919004"/>
                <a:gd name="connsiteY3372" fmla="*/ 1670467 h 2455817"/>
                <a:gd name="connsiteX3373" fmla="*/ 3843730 w 4919004"/>
                <a:gd name="connsiteY3373" fmla="*/ 1670467 h 2455817"/>
                <a:gd name="connsiteX3374" fmla="*/ 3847875 w 4919004"/>
                <a:gd name="connsiteY3374" fmla="*/ 1668888 h 2455817"/>
                <a:gd name="connsiteX3375" fmla="*/ 3849947 w 4919004"/>
                <a:gd name="connsiteY3375" fmla="*/ 1662424 h 2455817"/>
                <a:gd name="connsiteX3376" fmla="*/ 3856164 w 4919004"/>
                <a:gd name="connsiteY3376" fmla="*/ 1660796 h 2455817"/>
                <a:gd name="connsiteX3377" fmla="*/ 3858285 w 4919004"/>
                <a:gd name="connsiteY3377" fmla="*/ 1664053 h 2455817"/>
                <a:gd name="connsiteX3378" fmla="*/ 3862430 w 4919004"/>
                <a:gd name="connsiteY3378" fmla="*/ 1660796 h 2455817"/>
                <a:gd name="connsiteX3379" fmla="*/ 3870719 w 4919004"/>
                <a:gd name="connsiteY3379" fmla="*/ 1660796 h 2455817"/>
                <a:gd name="connsiteX3380" fmla="*/ 3866575 w 4919004"/>
                <a:gd name="connsiteY3380" fmla="*/ 1664053 h 2455817"/>
                <a:gd name="connsiteX3381" fmla="*/ 3864502 w 4919004"/>
                <a:gd name="connsiteY3381" fmla="*/ 1668987 h 2455817"/>
                <a:gd name="connsiteX3382" fmla="*/ 3864502 w 4919004"/>
                <a:gd name="connsiteY3382" fmla="*/ 1677029 h 2455817"/>
                <a:gd name="connsiteX3383" fmla="*/ 3860309 w 4919004"/>
                <a:gd name="connsiteY3383" fmla="*/ 1677029 h 2455817"/>
                <a:gd name="connsiteX3384" fmla="*/ 3854092 w 4919004"/>
                <a:gd name="connsiteY3384" fmla="*/ 1681963 h 2455817"/>
                <a:gd name="connsiteX3385" fmla="*/ 3856164 w 4919004"/>
                <a:gd name="connsiteY3385" fmla="*/ 1685170 h 2455817"/>
                <a:gd name="connsiteX3386" fmla="*/ 3872842 w 4919004"/>
                <a:gd name="connsiteY3386" fmla="*/ 1683591 h 2455817"/>
                <a:gd name="connsiteX3387" fmla="*/ 3881130 w 4919004"/>
                <a:gd name="connsiteY3387" fmla="*/ 1678657 h 2455817"/>
                <a:gd name="connsiteX3388" fmla="*/ 3885276 w 4919004"/>
                <a:gd name="connsiteY3388" fmla="*/ 1668789 h 2455817"/>
                <a:gd name="connsiteX3389" fmla="*/ 3883202 w 4919004"/>
                <a:gd name="connsiteY3389" fmla="*/ 1662326 h 2455817"/>
                <a:gd name="connsiteX3390" fmla="*/ 3885276 w 4919004"/>
                <a:gd name="connsiteY3390" fmla="*/ 1659119 h 2455817"/>
                <a:gd name="connsiteX3391" fmla="*/ 3889469 w 4919004"/>
                <a:gd name="connsiteY3391" fmla="*/ 1667161 h 2455817"/>
                <a:gd name="connsiteX3392" fmla="*/ 3889469 w 4919004"/>
                <a:gd name="connsiteY3392" fmla="*/ 1681667 h 2455817"/>
                <a:gd name="connsiteX3393" fmla="*/ 3893614 w 4919004"/>
                <a:gd name="connsiteY3393" fmla="*/ 1680088 h 2455817"/>
                <a:gd name="connsiteX3394" fmla="*/ 3897758 w 4919004"/>
                <a:gd name="connsiteY3394" fmla="*/ 1671996 h 2455817"/>
                <a:gd name="connsiteX3395" fmla="*/ 3893614 w 4919004"/>
                <a:gd name="connsiteY3395" fmla="*/ 1660697 h 2455817"/>
                <a:gd name="connsiteX3396" fmla="*/ 3895686 w 4919004"/>
                <a:gd name="connsiteY3396" fmla="*/ 1655763 h 2455817"/>
                <a:gd name="connsiteX3397" fmla="*/ 3889469 w 4919004"/>
                <a:gd name="connsiteY3397" fmla="*/ 1649300 h 2455817"/>
                <a:gd name="connsiteX3398" fmla="*/ 3887397 w 4919004"/>
                <a:gd name="connsiteY3398" fmla="*/ 1639432 h 2455817"/>
                <a:gd name="connsiteX3399" fmla="*/ 3893614 w 4919004"/>
                <a:gd name="connsiteY3399" fmla="*/ 1639432 h 2455817"/>
                <a:gd name="connsiteX3400" fmla="*/ 3899831 w 4919004"/>
                <a:gd name="connsiteY3400" fmla="*/ 1642688 h 2455817"/>
                <a:gd name="connsiteX3401" fmla="*/ 3899831 w 4919004"/>
                <a:gd name="connsiteY3401" fmla="*/ 1644317 h 2455817"/>
                <a:gd name="connsiteX3402" fmla="*/ 3901952 w 4919004"/>
                <a:gd name="connsiteY3402" fmla="*/ 1647524 h 2455817"/>
                <a:gd name="connsiteX3403" fmla="*/ 3906097 w 4919004"/>
                <a:gd name="connsiteY3403" fmla="*/ 1647524 h 2455817"/>
                <a:gd name="connsiteX3404" fmla="*/ 3910241 w 4919004"/>
                <a:gd name="connsiteY3404" fmla="*/ 1644317 h 2455817"/>
                <a:gd name="connsiteX3405" fmla="*/ 3916507 w 4919004"/>
                <a:gd name="connsiteY3405" fmla="*/ 1642688 h 2455817"/>
                <a:gd name="connsiteX3406" fmla="*/ 3924796 w 4919004"/>
                <a:gd name="connsiteY3406" fmla="*/ 1637754 h 2455817"/>
                <a:gd name="connsiteX3407" fmla="*/ 3933135 w 4919004"/>
                <a:gd name="connsiteY3407" fmla="*/ 1644218 h 2455817"/>
                <a:gd name="connsiteX3408" fmla="*/ 3941424 w 4919004"/>
                <a:gd name="connsiteY3408" fmla="*/ 1644218 h 2455817"/>
                <a:gd name="connsiteX3409" fmla="*/ 3945619 w 4919004"/>
                <a:gd name="connsiteY3409" fmla="*/ 1647425 h 2455817"/>
                <a:gd name="connsiteX3410" fmla="*/ 3949713 w 4919004"/>
                <a:gd name="connsiteY3410" fmla="*/ 1655517 h 2455817"/>
                <a:gd name="connsiteX3411" fmla="*/ 3953908 w 4919004"/>
                <a:gd name="connsiteY3411" fmla="*/ 1658724 h 2455817"/>
                <a:gd name="connsiteX3412" fmla="*/ 3964268 w 4919004"/>
                <a:gd name="connsiteY3412" fmla="*/ 1658724 h 2455817"/>
                <a:gd name="connsiteX3413" fmla="*/ 3968463 w 4919004"/>
                <a:gd name="connsiteY3413" fmla="*/ 1663658 h 2455817"/>
                <a:gd name="connsiteX3414" fmla="*/ 3983018 w 4919004"/>
                <a:gd name="connsiteY3414" fmla="*/ 1668592 h 2455817"/>
                <a:gd name="connsiteX3415" fmla="*/ 3985091 w 4919004"/>
                <a:gd name="connsiteY3415" fmla="*/ 1673526 h 2455817"/>
                <a:gd name="connsiteX3416" fmla="*/ 3991357 w 4919004"/>
                <a:gd name="connsiteY3416" fmla="*/ 1673526 h 2455817"/>
                <a:gd name="connsiteX3417" fmla="*/ 3997573 w 4919004"/>
                <a:gd name="connsiteY3417" fmla="*/ 1678460 h 2455817"/>
                <a:gd name="connsiteX3418" fmla="*/ 4001718 w 4919004"/>
                <a:gd name="connsiteY3418" fmla="*/ 1678460 h 2455817"/>
                <a:gd name="connsiteX3419" fmla="*/ 4005912 w 4919004"/>
                <a:gd name="connsiteY3419" fmla="*/ 1688328 h 2455817"/>
                <a:gd name="connsiteX3420" fmla="*/ 4003790 w 4919004"/>
                <a:gd name="connsiteY3420" fmla="*/ 1693262 h 2455817"/>
                <a:gd name="connsiteX3421" fmla="*/ 4001718 w 4919004"/>
                <a:gd name="connsiteY3421" fmla="*/ 1698196 h 2455817"/>
                <a:gd name="connsiteX3422" fmla="*/ 3997573 w 4919004"/>
                <a:gd name="connsiteY3422" fmla="*/ 1701403 h 2455817"/>
                <a:gd name="connsiteX3423" fmla="*/ 4003790 w 4919004"/>
                <a:gd name="connsiteY3423" fmla="*/ 1707867 h 2455817"/>
                <a:gd name="connsiteX3424" fmla="*/ 4010056 w 4919004"/>
                <a:gd name="connsiteY3424" fmla="*/ 1707867 h 2455817"/>
                <a:gd name="connsiteX3425" fmla="*/ 4018346 w 4919004"/>
                <a:gd name="connsiteY3425" fmla="*/ 1719117 h 2455817"/>
                <a:gd name="connsiteX3426" fmla="*/ 4020468 w 4919004"/>
                <a:gd name="connsiteY3426" fmla="*/ 1724051 h 2455817"/>
                <a:gd name="connsiteX3427" fmla="*/ 4016273 w 4919004"/>
                <a:gd name="connsiteY3427" fmla="*/ 1728985 h 2455817"/>
                <a:gd name="connsiteX3428" fmla="*/ 4016273 w 4919004"/>
                <a:gd name="connsiteY3428" fmla="*/ 1733228 h 2455817"/>
                <a:gd name="connsiteX3429" fmla="*/ 4022490 w 4919004"/>
                <a:gd name="connsiteY3429" fmla="*/ 1738162 h 2455817"/>
                <a:gd name="connsiteX3430" fmla="*/ 4028756 w 4919004"/>
                <a:gd name="connsiteY3430" fmla="*/ 1739790 h 2455817"/>
                <a:gd name="connsiteX3431" fmla="*/ 4032901 w 4919004"/>
                <a:gd name="connsiteY3431" fmla="*/ 1736583 h 2455817"/>
                <a:gd name="connsiteX3432" fmla="*/ 4035023 w 4919004"/>
                <a:gd name="connsiteY3432" fmla="*/ 1741517 h 2455817"/>
                <a:gd name="connsiteX3433" fmla="*/ 4030830 w 4919004"/>
                <a:gd name="connsiteY3433" fmla="*/ 1744724 h 2455817"/>
                <a:gd name="connsiteX3434" fmla="*/ 4032901 w 4919004"/>
                <a:gd name="connsiteY3434" fmla="*/ 1752816 h 2455817"/>
                <a:gd name="connsiteX3435" fmla="*/ 4039168 w 4919004"/>
                <a:gd name="connsiteY3435" fmla="*/ 1757750 h 2455817"/>
                <a:gd name="connsiteX3436" fmla="*/ 4035023 w 4919004"/>
                <a:gd name="connsiteY3436" fmla="*/ 1760957 h 2455817"/>
                <a:gd name="connsiteX3437" fmla="*/ 4032901 w 4919004"/>
                <a:gd name="connsiteY3437" fmla="*/ 1765891 h 2455817"/>
                <a:gd name="connsiteX3438" fmla="*/ 4037045 w 4919004"/>
                <a:gd name="connsiteY3438" fmla="*/ 1770825 h 2455817"/>
                <a:gd name="connsiteX3439" fmla="*/ 4032901 w 4919004"/>
                <a:gd name="connsiteY3439" fmla="*/ 1777289 h 2455817"/>
                <a:gd name="connsiteX3440" fmla="*/ 4035023 w 4919004"/>
                <a:gd name="connsiteY3440" fmla="*/ 1778868 h 2455817"/>
                <a:gd name="connsiteX3441" fmla="*/ 4035023 w 4919004"/>
                <a:gd name="connsiteY3441" fmla="*/ 1783802 h 2455817"/>
                <a:gd name="connsiteX3442" fmla="*/ 4032901 w 4919004"/>
                <a:gd name="connsiteY3442" fmla="*/ 1787009 h 2455817"/>
                <a:gd name="connsiteX3443" fmla="*/ 4037045 w 4919004"/>
                <a:gd name="connsiteY3443" fmla="*/ 1788588 h 2455817"/>
                <a:gd name="connsiteX3444" fmla="*/ 4032901 w 4919004"/>
                <a:gd name="connsiteY3444" fmla="*/ 1793522 h 2455817"/>
                <a:gd name="connsiteX3445" fmla="*/ 4039168 w 4919004"/>
                <a:gd name="connsiteY3445" fmla="*/ 1808028 h 2455817"/>
                <a:gd name="connsiteX3446" fmla="*/ 4037045 w 4919004"/>
                <a:gd name="connsiteY3446" fmla="*/ 1811235 h 2455817"/>
                <a:gd name="connsiteX3447" fmla="*/ 4037045 w 4919004"/>
                <a:gd name="connsiteY3447" fmla="*/ 1824162 h 2455817"/>
                <a:gd name="connsiteX3448" fmla="*/ 4039168 w 4919004"/>
                <a:gd name="connsiteY3448" fmla="*/ 1827369 h 2455817"/>
                <a:gd name="connsiteX3449" fmla="*/ 4039168 w 4919004"/>
                <a:gd name="connsiteY3449" fmla="*/ 1833784 h 2455817"/>
                <a:gd name="connsiteX3450" fmla="*/ 4045385 w 4919004"/>
                <a:gd name="connsiteY3450" fmla="*/ 1853174 h 2455817"/>
                <a:gd name="connsiteX3451" fmla="*/ 4051602 w 4919004"/>
                <a:gd name="connsiteY3451" fmla="*/ 1854803 h 2455817"/>
                <a:gd name="connsiteX3452" fmla="*/ 4057868 w 4919004"/>
                <a:gd name="connsiteY3452" fmla="*/ 1849869 h 2455817"/>
                <a:gd name="connsiteX3453" fmla="*/ 4057868 w 4919004"/>
                <a:gd name="connsiteY3453" fmla="*/ 1853125 h 2455817"/>
                <a:gd name="connsiteX3454" fmla="*/ 4053723 w 4919004"/>
                <a:gd name="connsiteY3454" fmla="*/ 1861167 h 2455817"/>
                <a:gd name="connsiteX3455" fmla="*/ 4049578 w 4919004"/>
                <a:gd name="connsiteY3455" fmla="*/ 1864374 h 2455817"/>
                <a:gd name="connsiteX3456" fmla="*/ 4053723 w 4919004"/>
                <a:gd name="connsiteY3456" fmla="*/ 1869308 h 2455817"/>
                <a:gd name="connsiteX3457" fmla="*/ 4057868 w 4919004"/>
                <a:gd name="connsiteY3457" fmla="*/ 1869308 h 2455817"/>
                <a:gd name="connsiteX3458" fmla="*/ 4066157 w 4919004"/>
                <a:gd name="connsiteY3458" fmla="*/ 1879177 h 2455817"/>
                <a:gd name="connsiteX3459" fmla="*/ 4066157 w 4919004"/>
                <a:gd name="connsiteY3459" fmla="*/ 1890426 h 2455817"/>
                <a:gd name="connsiteX3460" fmla="*/ 4068278 w 4919004"/>
                <a:gd name="connsiteY3460" fmla="*/ 1895360 h 2455817"/>
                <a:gd name="connsiteX3461" fmla="*/ 4068278 w 4919004"/>
                <a:gd name="connsiteY3461" fmla="*/ 1898567 h 2455817"/>
                <a:gd name="connsiteX3462" fmla="*/ 4070350 w 4919004"/>
                <a:gd name="connsiteY3462" fmla="*/ 1914702 h 2455817"/>
                <a:gd name="connsiteX3463" fmla="*/ 4076567 w 4919004"/>
                <a:gd name="connsiteY3463" fmla="*/ 1913123 h 2455817"/>
                <a:gd name="connsiteX3464" fmla="*/ 4076567 w 4919004"/>
                <a:gd name="connsiteY3464" fmla="*/ 1921165 h 2455817"/>
                <a:gd name="connsiteX3465" fmla="*/ 4072423 w 4919004"/>
                <a:gd name="connsiteY3465" fmla="*/ 1922794 h 2455817"/>
                <a:gd name="connsiteX3466" fmla="*/ 4074495 w 4919004"/>
                <a:gd name="connsiteY3466" fmla="*/ 1932662 h 2455817"/>
                <a:gd name="connsiteX3467" fmla="*/ 4076567 w 4919004"/>
                <a:gd name="connsiteY3467" fmla="*/ 1939076 h 2455817"/>
                <a:gd name="connsiteX3468" fmla="*/ 4078689 w 4919004"/>
                <a:gd name="connsiteY3468" fmla="*/ 1947168 h 2455817"/>
                <a:gd name="connsiteX3469" fmla="*/ 4068278 w 4919004"/>
                <a:gd name="connsiteY3469" fmla="*/ 1955259 h 2455817"/>
                <a:gd name="connsiteX3470" fmla="*/ 4066157 w 4919004"/>
                <a:gd name="connsiteY3470" fmla="*/ 1965127 h 2455817"/>
                <a:gd name="connsiteX3471" fmla="*/ 4062012 w 4919004"/>
                <a:gd name="connsiteY3471" fmla="*/ 1974996 h 2455817"/>
                <a:gd name="connsiteX3472" fmla="*/ 4064134 w 4919004"/>
                <a:gd name="connsiteY3472" fmla="*/ 1984864 h 2455817"/>
                <a:gd name="connsiteX3473" fmla="*/ 4066157 w 4919004"/>
                <a:gd name="connsiteY3473" fmla="*/ 1986443 h 2455817"/>
                <a:gd name="connsiteX3474" fmla="*/ 4064134 w 4919004"/>
                <a:gd name="connsiteY3474" fmla="*/ 1996311 h 2455817"/>
                <a:gd name="connsiteX3475" fmla="*/ 4057868 w 4919004"/>
                <a:gd name="connsiteY3475" fmla="*/ 2001245 h 2455817"/>
                <a:gd name="connsiteX3476" fmla="*/ 4057868 w 4919004"/>
                <a:gd name="connsiteY3476" fmla="*/ 2009336 h 2455817"/>
                <a:gd name="connsiteX3477" fmla="*/ 4053723 w 4919004"/>
                <a:gd name="connsiteY3477" fmla="*/ 2019204 h 2455817"/>
                <a:gd name="connsiteX3478" fmla="*/ 4055795 w 4919004"/>
                <a:gd name="connsiteY3478" fmla="*/ 2020833 h 2455817"/>
                <a:gd name="connsiteX3479" fmla="*/ 4055795 w 4919004"/>
                <a:gd name="connsiteY3479" fmla="*/ 2025767 h 2455817"/>
                <a:gd name="connsiteX3480" fmla="*/ 4049578 w 4919004"/>
                <a:gd name="connsiteY3480" fmla="*/ 2032230 h 2455817"/>
                <a:gd name="connsiteX3481" fmla="*/ 4053723 w 4919004"/>
                <a:gd name="connsiteY3481" fmla="*/ 2045158 h 2455817"/>
                <a:gd name="connsiteX3482" fmla="*/ 4045385 w 4919004"/>
                <a:gd name="connsiteY3482" fmla="*/ 2051621 h 2455817"/>
                <a:gd name="connsiteX3483" fmla="*/ 4049578 w 4919004"/>
                <a:gd name="connsiteY3483" fmla="*/ 2059664 h 2455817"/>
                <a:gd name="connsiteX3484" fmla="*/ 4051602 w 4919004"/>
                <a:gd name="connsiteY3484" fmla="*/ 2061292 h 2455817"/>
                <a:gd name="connsiteX3485" fmla="*/ 4051602 w 4919004"/>
                <a:gd name="connsiteY3485" fmla="*/ 2067755 h 2455817"/>
                <a:gd name="connsiteX3486" fmla="*/ 4043312 w 4919004"/>
                <a:gd name="connsiteY3486" fmla="*/ 2075798 h 2455817"/>
                <a:gd name="connsiteX3487" fmla="*/ 4041240 w 4919004"/>
                <a:gd name="connsiteY3487" fmla="*/ 2083840 h 2455817"/>
                <a:gd name="connsiteX3488" fmla="*/ 4032901 w 4919004"/>
                <a:gd name="connsiteY3488" fmla="*/ 2088774 h 2455817"/>
                <a:gd name="connsiteX3489" fmla="*/ 4032901 w 4919004"/>
                <a:gd name="connsiteY3489" fmla="*/ 2095238 h 2455817"/>
                <a:gd name="connsiteX3490" fmla="*/ 4026685 w 4919004"/>
                <a:gd name="connsiteY3490" fmla="*/ 2103281 h 2455817"/>
                <a:gd name="connsiteX3491" fmla="*/ 4018346 w 4919004"/>
                <a:gd name="connsiteY3491" fmla="*/ 2129086 h 2455817"/>
                <a:gd name="connsiteX3492" fmla="*/ 4014201 w 4919004"/>
                <a:gd name="connsiteY3492" fmla="*/ 2132342 h 2455817"/>
                <a:gd name="connsiteX3493" fmla="*/ 4014201 w 4919004"/>
                <a:gd name="connsiteY3493" fmla="*/ 2138756 h 2455817"/>
                <a:gd name="connsiteX3494" fmla="*/ 4016273 w 4919004"/>
                <a:gd name="connsiteY3494" fmla="*/ 2141963 h 2455817"/>
                <a:gd name="connsiteX3495" fmla="*/ 4016273 w 4919004"/>
                <a:gd name="connsiteY3495" fmla="*/ 2143592 h 2455817"/>
                <a:gd name="connsiteX3496" fmla="*/ 4005912 w 4919004"/>
                <a:gd name="connsiteY3496" fmla="*/ 2150055 h 2455817"/>
                <a:gd name="connsiteX3497" fmla="*/ 4005912 w 4919004"/>
                <a:gd name="connsiteY3497" fmla="*/ 2156519 h 2455817"/>
                <a:gd name="connsiteX3498" fmla="*/ 3999646 w 4919004"/>
                <a:gd name="connsiteY3498" fmla="*/ 2159726 h 2455817"/>
                <a:gd name="connsiteX3499" fmla="*/ 3999646 w 4919004"/>
                <a:gd name="connsiteY3499" fmla="*/ 2169594 h 2455817"/>
                <a:gd name="connsiteX3500" fmla="*/ 3995699 w 4919004"/>
                <a:gd name="connsiteY3500" fmla="*/ 2169594 h 2455817"/>
                <a:gd name="connsiteX3501" fmla="*/ 3999844 w 4919004"/>
                <a:gd name="connsiteY3501" fmla="*/ 2176058 h 2455817"/>
                <a:gd name="connsiteX3502" fmla="*/ 3991554 w 4919004"/>
                <a:gd name="connsiteY3502" fmla="*/ 2185679 h 2455817"/>
                <a:gd name="connsiteX3503" fmla="*/ 3991554 w 4919004"/>
                <a:gd name="connsiteY3503" fmla="*/ 2184100 h 2455817"/>
                <a:gd name="connsiteX3504" fmla="*/ 3985287 w 4919004"/>
                <a:gd name="connsiteY3504" fmla="*/ 2182472 h 2455817"/>
                <a:gd name="connsiteX3505" fmla="*/ 3987360 w 4919004"/>
                <a:gd name="connsiteY3505" fmla="*/ 2188935 h 2455817"/>
                <a:gd name="connsiteX3506" fmla="*/ 3987360 w 4919004"/>
                <a:gd name="connsiteY3506" fmla="*/ 2197027 h 2455817"/>
                <a:gd name="connsiteX3507" fmla="*/ 3979022 w 4919004"/>
                <a:gd name="connsiteY3507" fmla="*/ 2200234 h 2455817"/>
                <a:gd name="connsiteX3508" fmla="*/ 3981143 w 4919004"/>
                <a:gd name="connsiteY3508" fmla="*/ 2203441 h 2455817"/>
                <a:gd name="connsiteX3509" fmla="*/ 3968660 w 4919004"/>
                <a:gd name="connsiteY3509" fmla="*/ 2216319 h 2455817"/>
                <a:gd name="connsiteX3510" fmla="*/ 3964466 w 4919004"/>
                <a:gd name="connsiteY3510" fmla="*/ 2224411 h 2455817"/>
                <a:gd name="connsiteX3511" fmla="*/ 3958249 w 4919004"/>
                <a:gd name="connsiteY3511" fmla="*/ 2224411 h 2455817"/>
                <a:gd name="connsiteX3512" fmla="*/ 3958249 w 4919004"/>
                <a:gd name="connsiteY3512" fmla="*/ 2229345 h 2455817"/>
                <a:gd name="connsiteX3513" fmla="*/ 3947888 w 4919004"/>
                <a:gd name="connsiteY3513" fmla="*/ 2229345 h 2455817"/>
                <a:gd name="connsiteX3514" fmla="*/ 3939550 w 4919004"/>
                <a:gd name="connsiteY3514" fmla="*/ 2237388 h 2455817"/>
                <a:gd name="connsiteX3515" fmla="*/ 3935405 w 4919004"/>
                <a:gd name="connsiteY3515" fmla="*/ 2232454 h 2455817"/>
                <a:gd name="connsiteX3516" fmla="*/ 3931260 w 4919004"/>
                <a:gd name="connsiteY3516" fmla="*/ 2237388 h 2455817"/>
                <a:gd name="connsiteX3517" fmla="*/ 3918777 w 4919004"/>
                <a:gd name="connsiteY3517" fmla="*/ 2230973 h 2455817"/>
                <a:gd name="connsiteX3518" fmla="*/ 3908366 w 4919004"/>
                <a:gd name="connsiteY3518" fmla="*/ 2227766 h 2455817"/>
                <a:gd name="connsiteX3519" fmla="*/ 3908366 w 4919004"/>
                <a:gd name="connsiteY3519" fmla="*/ 2216418 h 2455817"/>
                <a:gd name="connsiteX3520" fmla="*/ 3904221 w 4919004"/>
                <a:gd name="connsiteY3520" fmla="*/ 2214839 h 2455817"/>
                <a:gd name="connsiteX3521" fmla="*/ 3895883 w 4919004"/>
                <a:gd name="connsiteY3521" fmla="*/ 2218095 h 2455817"/>
                <a:gd name="connsiteX3522" fmla="*/ 3887594 w 4919004"/>
                <a:gd name="connsiteY3522" fmla="*/ 2213161 h 2455817"/>
                <a:gd name="connsiteX3523" fmla="*/ 3885472 w 4919004"/>
                <a:gd name="connsiteY3523" fmla="*/ 2216369 h 2455817"/>
                <a:gd name="connsiteX3524" fmla="*/ 3885472 w 4919004"/>
                <a:gd name="connsiteY3524" fmla="*/ 2221303 h 2455817"/>
                <a:gd name="connsiteX3525" fmla="*/ 3879255 w 4919004"/>
                <a:gd name="connsiteY3525" fmla="*/ 2226237 h 2455817"/>
                <a:gd name="connsiteX3526" fmla="*/ 3877183 w 4919004"/>
                <a:gd name="connsiteY3526" fmla="*/ 2237486 h 2455817"/>
                <a:gd name="connsiteX3527" fmla="*/ 3873038 w 4919004"/>
                <a:gd name="connsiteY3527" fmla="*/ 2240743 h 2455817"/>
                <a:gd name="connsiteX3528" fmla="*/ 3870917 w 4919004"/>
                <a:gd name="connsiteY3528" fmla="*/ 2250611 h 2455817"/>
                <a:gd name="connsiteX3529" fmla="*/ 3866773 w 4919004"/>
                <a:gd name="connsiteY3529" fmla="*/ 2248983 h 2455817"/>
                <a:gd name="connsiteX3530" fmla="*/ 3858483 w 4919004"/>
                <a:gd name="connsiteY3530" fmla="*/ 2248983 h 2455817"/>
                <a:gd name="connsiteX3531" fmla="*/ 3856362 w 4919004"/>
                <a:gd name="connsiteY3531" fmla="*/ 2258851 h 2455817"/>
                <a:gd name="connsiteX3532" fmla="*/ 3854240 w 4919004"/>
                <a:gd name="connsiteY3532" fmla="*/ 2255841 h 2455817"/>
                <a:gd name="connsiteX3533" fmla="*/ 3852167 w 4919004"/>
                <a:gd name="connsiteY3533" fmla="*/ 2254163 h 2455817"/>
                <a:gd name="connsiteX3534" fmla="*/ 3845901 w 4919004"/>
                <a:gd name="connsiteY3534" fmla="*/ 2249229 h 2455817"/>
                <a:gd name="connsiteX3535" fmla="*/ 3848023 w 4919004"/>
                <a:gd name="connsiteY3535" fmla="*/ 2245973 h 2455817"/>
                <a:gd name="connsiteX3536" fmla="*/ 3848023 w 4919004"/>
                <a:gd name="connsiteY3536" fmla="*/ 2242766 h 2455817"/>
                <a:gd name="connsiteX3537" fmla="*/ 3845901 w 4919004"/>
                <a:gd name="connsiteY3537" fmla="*/ 2241137 h 2455817"/>
                <a:gd name="connsiteX3538" fmla="*/ 3843878 w 4919004"/>
                <a:gd name="connsiteY3538" fmla="*/ 2236203 h 2455817"/>
                <a:gd name="connsiteX3539" fmla="*/ 3843878 w 4919004"/>
                <a:gd name="connsiteY3539" fmla="*/ 2232996 h 2455817"/>
                <a:gd name="connsiteX3540" fmla="*/ 3848023 w 4919004"/>
                <a:gd name="connsiteY3540" fmla="*/ 2231368 h 2455817"/>
                <a:gd name="connsiteX3541" fmla="*/ 3856312 w 4919004"/>
                <a:gd name="connsiteY3541" fmla="*/ 2232996 h 2455817"/>
                <a:gd name="connsiteX3542" fmla="*/ 3860457 w 4919004"/>
                <a:gd name="connsiteY3542" fmla="*/ 2231368 h 2455817"/>
                <a:gd name="connsiteX3543" fmla="*/ 3860457 w 4919004"/>
                <a:gd name="connsiteY3543" fmla="*/ 2226434 h 2455817"/>
                <a:gd name="connsiteX3544" fmla="*/ 3858433 w 4919004"/>
                <a:gd name="connsiteY3544" fmla="*/ 2223227 h 2455817"/>
                <a:gd name="connsiteX3545" fmla="*/ 3858433 w 4919004"/>
                <a:gd name="connsiteY3545" fmla="*/ 2218293 h 2455817"/>
                <a:gd name="connsiteX3546" fmla="*/ 3860457 w 4919004"/>
                <a:gd name="connsiteY3546" fmla="*/ 2216665 h 2455817"/>
                <a:gd name="connsiteX3547" fmla="*/ 3860457 w 4919004"/>
                <a:gd name="connsiteY3547" fmla="*/ 2205366 h 2455817"/>
                <a:gd name="connsiteX3548" fmla="*/ 3856312 w 4919004"/>
                <a:gd name="connsiteY3548" fmla="*/ 2202159 h 2455817"/>
                <a:gd name="connsiteX3549" fmla="*/ 3856312 w 4919004"/>
                <a:gd name="connsiteY3549" fmla="*/ 2192291 h 2455817"/>
                <a:gd name="connsiteX3550" fmla="*/ 3854240 w 4919004"/>
                <a:gd name="connsiteY3550" fmla="*/ 2185827 h 2455817"/>
                <a:gd name="connsiteX3551" fmla="*/ 3854240 w 4919004"/>
                <a:gd name="connsiteY3551" fmla="*/ 2172949 h 2455817"/>
                <a:gd name="connsiteX3552" fmla="*/ 3850095 w 4919004"/>
                <a:gd name="connsiteY3552" fmla="*/ 2168015 h 2455817"/>
                <a:gd name="connsiteX3553" fmla="*/ 3848023 w 4919004"/>
                <a:gd name="connsiteY3553" fmla="*/ 2164759 h 2455817"/>
                <a:gd name="connsiteX3554" fmla="*/ 3845901 w 4919004"/>
                <a:gd name="connsiteY3554" fmla="*/ 2159825 h 2455817"/>
                <a:gd name="connsiteX3555" fmla="*/ 3837612 w 4919004"/>
                <a:gd name="connsiteY3555" fmla="*/ 2148476 h 2455817"/>
                <a:gd name="connsiteX3556" fmla="*/ 3835540 w 4919004"/>
                <a:gd name="connsiteY3556" fmla="*/ 2143542 h 2455817"/>
                <a:gd name="connsiteX3557" fmla="*/ 3835540 w 4919004"/>
                <a:gd name="connsiteY3557" fmla="*/ 2140286 h 2455817"/>
                <a:gd name="connsiteX3558" fmla="*/ 3841757 w 4919004"/>
                <a:gd name="connsiteY3558" fmla="*/ 2137079 h 2455817"/>
                <a:gd name="connsiteX3559" fmla="*/ 3845901 w 4919004"/>
                <a:gd name="connsiteY3559" fmla="*/ 2137079 h 2455817"/>
                <a:gd name="connsiteX3560" fmla="*/ 3848023 w 4919004"/>
                <a:gd name="connsiteY3560" fmla="*/ 2133822 h 2455817"/>
                <a:gd name="connsiteX3561" fmla="*/ 3850095 w 4919004"/>
                <a:gd name="connsiteY3561" fmla="*/ 2128888 h 2455817"/>
                <a:gd name="connsiteX3562" fmla="*/ 3856312 w 4919004"/>
                <a:gd name="connsiteY3562" fmla="*/ 2120796 h 2455817"/>
                <a:gd name="connsiteX3563" fmla="*/ 3858433 w 4919004"/>
                <a:gd name="connsiteY3563" fmla="*/ 2119218 h 2455817"/>
                <a:gd name="connsiteX3564" fmla="*/ 3864650 w 4919004"/>
                <a:gd name="connsiteY3564" fmla="*/ 2120796 h 2455817"/>
                <a:gd name="connsiteX3565" fmla="*/ 3868795 w 4919004"/>
                <a:gd name="connsiteY3565" fmla="*/ 2122425 h 2455817"/>
                <a:gd name="connsiteX3566" fmla="*/ 3891689 w 4919004"/>
                <a:gd name="connsiteY3566" fmla="*/ 2125632 h 2455817"/>
                <a:gd name="connsiteX3567" fmla="*/ 3895834 w 4919004"/>
                <a:gd name="connsiteY3567" fmla="*/ 2127260 h 2455817"/>
                <a:gd name="connsiteX3568" fmla="*/ 3899979 w 4919004"/>
                <a:gd name="connsiteY3568" fmla="*/ 2127260 h 2455817"/>
                <a:gd name="connsiteX3569" fmla="*/ 3902100 w 4919004"/>
                <a:gd name="connsiteY3569" fmla="*/ 2124004 h 2455817"/>
                <a:gd name="connsiteX3570" fmla="*/ 3902100 w 4919004"/>
                <a:gd name="connsiteY3570" fmla="*/ 2119069 h 2455817"/>
                <a:gd name="connsiteX3571" fmla="*/ 3899979 w 4919004"/>
                <a:gd name="connsiteY3571" fmla="*/ 2115813 h 2455817"/>
                <a:gd name="connsiteX3572" fmla="*/ 3899979 w 4919004"/>
                <a:gd name="connsiteY3572" fmla="*/ 2105945 h 2455817"/>
                <a:gd name="connsiteX3573" fmla="*/ 3897906 w 4919004"/>
                <a:gd name="connsiteY3573" fmla="*/ 2102688 h 2455817"/>
                <a:gd name="connsiteX3574" fmla="*/ 3902100 w 4919004"/>
                <a:gd name="connsiteY3574" fmla="*/ 2097754 h 2455817"/>
                <a:gd name="connsiteX3575" fmla="*/ 3904172 w 4919004"/>
                <a:gd name="connsiteY3575" fmla="*/ 2094498 h 2455817"/>
                <a:gd name="connsiteX3576" fmla="*/ 3902100 w 4919004"/>
                <a:gd name="connsiteY3576" fmla="*/ 2089564 h 2455817"/>
                <a:gd name="connsiteX3577" fmla="*/ 3899979 w 4919004"/>
                <a:gd name="connsiteY3577" fmla="*/ 2086307 h 2455817"/>
                <a:gd name="connsiteX3578" fmla="*/ 3902100 w 4919004"/>
                <a:gd name="connsiteY3578" fmla="*/ 2084728 h 2455817"/>
                <a:gd name="connsiteX3579" fmla="*/ 3906245 w 4919004"/>
                <a:gd name="connsiteY3579" fmla="*/ 2083100 h 2455817"/>
                <a:gd name="connsiteX3580" fmla="*/ 3904172 w 4919004"/>
                <a:gd name="connsiteY3580" fmla="*/ 2079893 h 2455817"/>
                <a:gd name="connsiteX3581" fmla="*/ 3904172 w 4919004"/>
                <a:gd name="connsiteY3581" fmla="*/ 2078610 h 2455817"/>
                <a:gd name="connsiteX3582" fmla="*/ 3902100 w 4919004"/>
                <a:gd name="connsiteY3582" fmla="*/ 2075354 h 2455817"/>
                <a:gd name="connsiteX3583" fmla="*/ 3904172 w 4919004"/>
                <a:gd name="connsiteY3583" fmla="*/ 2070420 h 2455817"/>
                <a:gd name="connsiteX3584" fmla="*/ 3908317 w 4919004"/>
                <a:gd name="connsiteY3584" fmla="*/ 2068841 h 2455817"/>
                <a:gd name="connsiteX3585" fmla="*/ 3908317 w 4919004"/>
                <a:gd name="connsiteY3585" fmla="*/ 2065634 h 2455817"/>
                <a:gd name="connsiteX3586" fmla="*/ 3906245 w 4919004"/>
                <a:gd name="connsiteY3586" fmla="*/ 2062377 h 2455817"/>
                <a:gd name="connsiteX3587" fmla="*/ 3902100 w 4919004"/>
                <a:gd name="connsiteY3587" fmla="*/ 2055914 h 2455817"/>
                <a:gd name="connsiteX3588" fmla="*/ 3902100 w 4919004"/>
                <a:gd name="connsiteY3588" fmla="*/ 2049500 h 2455817"/>
                <a:gd name="connsiteX3589" fmla="*/ 3904172 w 4919004"/>
                <a:gd name="connsiteY3589" fmla="*/ 2047871 h 2455817"/>
                <a:gd name="connsiteX3590" fmla="*/ 3906245 w 4919004"/>
                <a:gd name="connsiteY3590" fmla="*/ 2047871 h 2455817"/>
                <a:gd name="connsiteX3591" fmla="*/ 3906245 w 4919004"/>
                <a:gd name="connsiteY3591" fmla="*/ 2044664 h 2455817"/>
                <a:gd name="connsiteX3592" fmla="*/ 3904172 w 4919004"/>
                <a:gd name="connsiteY3592" fmla="*/ 2043036 h 2455817"/>
                <a:gd name="connsiteX3593" fmla="*/ 3904172 w 4919004"/>
                <a:gd name="connsiteY3593" fmla="*/ 2039779 h 2455817"/>
                <a:gd name="connsiteX3594" fmla="*/ 3902100 w 4919004"/>
                <a:gd name="connsiteY3594" fmla="*/ 2036572 h 2455817"/>
                <a:gd name="connsiteX3595" fmla="*/ 3899979 w 4919004"/>
                <a:gd name="connsiteY3595" fmla="*/ 2034993 h 2455817"/>
                <a:gd name="connsiteX3596" fmla="*/ 3902100 w 4919004"/>
                <a:gd name="connsiteY3596" fmla="*/ 2030059 h 2455817"/>
                <a:gd name="connsiteX3597" fmla="*/ 3902100 w 4919004"/>
                <a:gd name="connsiteY3597" fmla="*/ 2025125 h 2455817"/>
                <a:gd name="connsiteX3598" fmla="*/ 3899979 w 4919004"/>
                <a:gd name="connsiteY3598" fmla="*/ 2023497 h 2455817"/>
                <a:gd name="connsiteX3599" fmla="*/ 3897906 w 4919004"/>
                <a:gd name="connsiteY3599" fmla="*/ 2018563 h 2455817"/>
                <a:gd name="connsiteX3600" fmla="*/ 3897906 w 4919004"/>
                <a:gd name="connsiteY3600" fmla="*/ 2016935 h 2455817"/>
                <a:gd name="connsiteX3601" fmla="*/ 3902100 w 4919004"/>
                <a:gd name="connsiteY3601" fmla="*/ 2012001 h 2455817"/>
                <a:gd name="connsiteX3602" fmla="*/ 3908317 w 4919004"/>
                <a:gd name="connsiteY3602" fmla="*/ 2010373 h 2455817"/>
                <a:gd name="connsiteX3603" fmla="*/ 3908317 w 4919004"/>
                <a:gd name="connsiteY3603" fmla="*/ 2002330 h 2455817"/>
                <a:gd name="connsiteX3604" fmla="*/ 3910389 w 4919004"/>
                <a:gd name="connsiteY3604" fmla="*/ 1995867 h 2455817"/>
                <a:gd name="connsiteX3605" fmla="*/ 3906245 w 4919004"/>
                <a:gd name="connsiteY3605" fmla="*/ 1994288 h 2455817"/>
                <a:gd name="connsiteX3606" fmla="*/ 3902100 w 4919004"/>
                <a:gd name="connsiteY3606" fmla="*/ 1991031 h 2455817"/>
                <a:gd name="connsiteX3607" fmla="*/ 3902100 w 4919004"/>
                <a:gd name="connsiteY3607" fmla="*/ 1986097 h 2455817"/>
                <a:gd name="connsiteX3608" fmla="*/ 3895834 w 4919004"/>
                <a:gd name="connsiteY3608" fmla="*/ 1981163 h 2455817"/>
                <a:gd name="connsiteX3609" fmla="*/ 3895834 w 4919004"/>
                <a:gd name="connsiteY3609" fmla="*/ 1977956 h 2455817"/>
                <a:gd name="connsiteX3610" fmla="*/ 3897906 w 4919004"/>
                <a:gd name="connsiteY3610" fmla="*/ 1974700 h 2455817"/>
                <a:gd name="connsiteX3611" fmla="*/ 3895834 w 4919004"/>
                <a:gd name="connsiteY3611" fmla="*/ 1968236 h 2455817"/>
                <a:gd name="connsiteX3612" fmla="*/ 3893762 w 4919004"/>
                <a:gd name="connsiteY3612" fmla="*/ 1965029 h 2455817"/>
                <a:gd name="connsiteX3613" fmla="*/ 3887545 w 4919004"/>
                <a:gd name="connsiteY3613" fmla="*/ 1965029 h 2455817"/>
                <a:gd name="connsiteX3614" fmla="*/ 3883351 w 4919004"/>
                <a:gd name="connsiteY3614" fmla="*/ 1963450 h 2455817"/>
                <a:gd name="connsiteX3615" fmla="*/ 3877134 w 4919004"/>
                <a:gd name="connsiteY3615" fmla="*/ 1960193 h 2455817"/>
                <a:gd name="connsiteX3616" fmla="*/ 3872989 w 4919004"/>
                <a:gd name="connsiteY3616" fmla="*/ 1963450 h 2455817"/>
                <a:gd name="connsiteX3617" fmla="*/ 3866723 w 4919004"/>
                <a:gd name="connsiteY3617" fmla="*/ 1965029 h 2455817"/>
                <a:gd name="connsiteX3618" fmla="*/ 3862578 w 4919004"/>
                <a:gd name="connsiteY3618" fmla="*/ 1966657 h 2455817"/>
                <a:gd name="connsiteX3619" fmla="*/ 3862578 w 4919004"/>
                <a:gd name="connsiteY3619" fmla="*/ 1971591 h 2455817"/>
                <a:gd name="connsiteX3620" fmla="*/ 3858433 w 4919004"/>
                <a:gd name="connsiteY3620" fmla="*/ 1973219 h 2455817"/>
                <a:gd name="connsiteX3621" fmla="*/ 3854240 w 4919004"/>
                <a:gd name="connsiteY3621" fmla="*/ 1973219 h 2455817"/>
                <a:gd name="connsiteX3622" fmla="*/ 3852167 w 4919004"/>
                <a:gd name="connsiteY3622" fmla="*/ 1979683 h 2455817"/>
                <a:gd name="connsiteX3623" fmla="*/ 3845901 w 4919004"/>
                <a:gd name="connsiteY3623" fmla="*/ 1979683 h 2455817"/>
                <a:gd name="connsiteX3624" fmla="*/ 3839684 w 4919004"/>
                <a:gd name="connsiteY3624" fmla="*/ 1981262 h 2455817"/>
                <a:gd name="connsiteX3625" fmla="*/ 3837612 w 4919004"/>
                <a:gd name="connsiteY3625" fmla="*/ 1984469 h 2455817"/>
                <a:gd name="connsiteX3626" fmla="*/ 3837612 w 4919004"/>
                <a:gd name="connsiteY3626" fmla="*/ 1989403 h 2455817"/>
                <a:gd name="connsiteX3627" fmla="*/ 3833468 w 4919004"/>
                <a:gd name="connsiteY3627" fmla="*/ 1992610 h 2455817"/>
                <a:gd name="connsiteX3628" fmla="*/ 3831346 w 4919004"/>
                <a:gd name="connsiteY3628" fmla="*/ 1997544 h 2455817"/>
                <a:gd name="connsiteX3629" fmla="*/ 3833468 w 4919004"/>
                <a:gd name="connsiteY3629" fmla="*/ 2000751 h 2455817"/>
                <a:gd name="connsiteX3630" fmla="*/ 3829323 w 4919004"/>
                <a:gd name="connsiteY3630" fmla="*/ 2002379 h 2455817"/>
                <a:gd name="connsiteX3631" fmla="*/ 3825129 w 4919004"/>
                <a:gd name="connsiteY3631" fmla="*/ 2005587 h 2455817"/>
                <a:gd name="connsiteX3632" fmla="*/ 3814768 w 4919004"/>
                <a:gd name="connsiteY3632" fmla="*/ 2007215 h 2455817"/>
                <a:gd name="connsiteX3633" fmla="*/ 3810574 w 4919004"/>
                <a:gd name="connsiteY3633" fmla="*/ 2008794 h 2455817"/>
                <a:gd name="connsiteX3634" fmla="*/ 3804357 w 4919004"/>
                <a:gd name="connsiteY3634" fmla="*/ 2007215 h 2455817"/>
                <a:gd name="connsiteX3635" fmla="*/ 3802235 w 4919004"/>
                <a:gd name="connsiteY3635" fmla="*/ 2010422 h 2455817"/>
                <a:gd name="connsiteX3636" fmla="*/ 3798090 w 4919004"/>
                <a:gd name="connsiteY3636" fmla="*/ 2012050 h 2455817"/>
                <a:gd name="connsiteX3637" fmla="*/ 3796018 w 4919004"/>
                <a:gd name="connsiteY3637" fmla="*/ 2007116 h 2455817"/>
                <a:gd name="connsiteX3638" fmla="*/ 3791873 w 4919004"/>
                <a:gd name="connsiteY3638" fmla="*/ 2003909 h 2455817"/>
                <a:gd name="connsiteX3639" fmla="*/ 3787680 w 4919004"/>
                <a:gd name="connsiteY3639" fmla="*/ 2003909 h 2455817"/>
                <a:gd name="connsiteX3640" fmla="*/ 3783535 w 4919004"/>
                <a:gd name="connsiteY3640" fmla="*/ 2007116 h 2455817"/>
                <a:gd name="connsiteX3641" fmla="*/ 3777318 w 4919004"/>
                <a:gd name="connsiteY3641" fmla="*/ 2008695 h 2455817"/>
                <a:gd name="connsiteX3642" fmla="*/ 3775246 w 4919004"/>
                <a:gd name="connsiteY3642" fmla="*/ 2005488 h 2455817"/>
                <a:gd name="connsiteX3643" fmla="*/ 3768980 w 4919004"/>
                <a:gd name="connsiteY3643" fmla="*/ 1999024 h 2455817"/>
                <a:gd name="connsiteX3644" fmla="*/ 3766907 w 4919004"/>
                <a:gd name="connsiteY3644" fmla="*/ 1997445 h 2455817"/>
                <a:gd name="connsiteX3645" fmla="*/ 3760691 w 4919004"/>
                <a:gd name="connsiteY3645" fmla="*/ 1989354 h 2455817"/>
                <a:gd name="connsiteX3646" fmla="*/ 3760691 w 4919004"/>
                <a:gd name="connsiteY3646" fmla="*/ 1982939 h 2455817"/>
                <a:gd name="connsiteX3647" fmla="*/ 3762763 w 4919004"/>
                <a:gd name="connsiteY3647" fmla="*/ 1978005 h 2455817"/>
                <a:gd name="connsiteX3648" fmla="*/ 3760691 w 4919004"/>
                <a:gd name="connsiteY3648" fmla="*/ 1971542 h 2455817"/>
                <a:gd name="connsiteX3649" fmla="*/ 3758569 w 4919004"/>
                <a:gd name="connsiteY3649" fmla="*/ 1966608 h 2455817"/>
                <a:gd name="connsiteX3650" fmla="*/ 3752352 w 4919004"/>
                <a:gd name="connsiteY3650" fmla="*/ 1966608 h 2455817"/>
                <a:gd name="connsiteX3651" fmla="*/ 3752352 w 4919004"/>
                <a:gd name="connsiteY3651" fmla="*/ 1958516 h 2455817"/>
                <a:gd name="connsiteX3652" fmla="*/ 3754425 w 4919004"/>
                <a:gd name="connsiteY3652" fmla="*/ 1955309 h 2455817"/>
                <a:gd name="connsiteX3653" fmla="*/ 3756546 w 4919004"/>
                <a:gd name="connsiteY3653" fmla="*/ 1952102 h 2455817"/>
                <a:gd name="connsiteX3654" fmla="*/ 3752352 w 4919004"/>
                <a:gd name="connsiteY3654" fmla="*/ 1950473 h 2455817"/>
                <a:gd name="connsiteX3655" fmla="*/ 3750280 w 4919004"/>
                <a:gd name="connsiteY3655" fmla="*/ 1950473 h 2455817"/>
                <a:gd name="connsiteX3656" fmla="*/ 3746135 w 4919004"/>
                <a:gd name="connsiteY3656" fmla="*/ 1953730 h 2455817"/>
                <a:gd name="connsiteX3657" fmla="*/ 3741991 w 4919004"/>
                <a:gd name="connsiteY3657" fmla="*/ 1953730 h 2455817"/>
                <a:gd name="connsiteX3658" fmla="*/ 3737797 w 4919004"/>
                <a:gd name="connsiteY3658" fmla="*/ 1955309 h 2455817"/>
                <a:gd name="connsiteX3659" fmla="*/ 3733652 w 4919004"/>
                <a:gd name="connsiteY3659" fmla="*/ 1953730 h 2455817"/>
                <a:gd name="connsiteX3660" fmla="*/ 3729458 w 4919004"/>
                <a:gd name="connsiteY3660" fmla="*/ 1952102 h 2455817"/>
                <a:gd name="connsiteX3661" fmla="*/ 3727435 w 4919004"/>
                <a:gd name="connsiteY3661" fmla="*/ 1950473 h 2455817"/>
                <a:gd name="connsiteX3662" fmla="*/ 3725313 w 4919004"/>
                <a:gd name="connsiteY3662" fmla="*/ 1948894 h 2455817"/>
                <a:gd name="connsiteX3663" fmla="*/ 3717024 w 4919004"/>
                <a:gd name="connsiteY3663" fmla="*/ 1947266 h 2455817"/>
                <a:gd name="connsiteX3664" fmla="*/ 3717024 w 4919004"/>
                <a:gd name="connsiteY3664" fmla="*/ 1944010 h 2455817"/>
                <a:gd name="connsiteX3665" fmla="*/ 3712879 w 4919004"/>
                <a:gd name="connsiteY3665" fmla="*/ 1940803 h 2455817"/>
                <a:gd name="connsiteX3666" fmla="*/ 3710758 w 4919004"/>
                <a:gd name="connsiteY3666" fmla="*/ 1940803 h 2455817"/>
                <a:gd name="connsiteX3667" fmla="*/ 3706613 w 4919004"/>
                <a:gd name="connsiteY3667" fmla="*/ 1937546 h 2455817"/>
                <a:gd name="connsiteX3668" fmla="*/ 3706613 w 4919004"/>
                <a:gd name="connsiteY3668" fmla="*/ 1934339 h 2455817"/>
                <a:gd name="connsiteX3669" fmla="*/ 3702469 w 4919004"/>
                <a:gd name="connsiteY3669" fmla="*/ 1934339 h 2455817"/>
                <a:gd name="connsiteX3670" fmla="*/ 3698324 w 4919004"/>
                <a:gd name="connsiteY3670" fmla="*/ 1931132 h 2455817"/>
                <a:gd name="connsiteX3671" fmla="*/ 3696203 w 4919004"/>
                <a:gd name="connsiteY3671" fmla="*/ 1927876 h 2455817"/>
                <a:gd name="connsiteX3672" fmla="*/ 3694130 w 4919004"/>
                <a:gd name="connsiteY3672" fmla="*/ 1924668 h 2455817"/>
                <a:gd name="connsiteX3673" fmla="*/ 3689986 w 4919004"/>
                <a:gd name="connsiteY3673" fmla="*/ 1926297 h 2455817"/>
                <a:gd name="connsiteX3674" fmla="*/ 3689986 w 4919004"/>
                <a:gd name="connsiteY3674" fmla="*/ 1929504 h 2455817"/>
                <a:gd name="connsiteX3675" fmla="*/ 3685792 w 4919004"/>
                <a:gd name="connsiteY3675" fmla="*/ 1927876 h 2455817"/>
                <a:gd name="connsiteX3676" fmla="*/ 3681648 w 4919004"/>
                <a:gd name="connsiteY3676" fmla="*/ 1929504 h 2455817"/>
                <a:gd name="connsiteX3677" fmla="*/ 3681648 w 4919004"/>
                <a:gd name="connsiteY3677" fmla="*/ 1932760 h 2455817"/>
                <a:gd name="connsiteX3678" fmla="*/ 3675431 w 4919004"/>
                <a:gd name="connsiteY3678" fmla="*/ 1929504 h 2455817"/>
                <a:gd name="connsiteX3679" fmla="*/ 3673358 w 4919004"/>
                <a:gd name="connsiteY3679" fmla="*/ 1927876 h 2455817"/>
                <a:gd name="connsiteX3680" fmla="*/ 3671236 w 4919004"/>
                <a:gd name="connsiteY3680" fmla="*/ 1926297 h 2455817"/>
                <a:gd name="connsiteX3681" fmla="*/ 3662948 w 4919004"/>
                <a:gd name="connsiteY3681" fmla="*/ 1924668 h 2455817"/>
                <a:gd name="connsiteX3682" fmla="*/ 3660875 w 4919004"/>
                <a:gd name="connsiteY3682" fmla="*/ 1923090 h 2455817"/>
                <a:gd name="connsiteX3683" fmla="*/ 3662948 w 4919004"/>
                <a:gd name="connsiteY3683" fmla="*/ 1919833 h 2455817"/>
                <a:gd name="connsiteX3684" fmla="*/ 3662948 w 4919004"/>
                <a:gd name="connsiteY3684" fmla="*/ 1918254 h 2455817"/>
                <a:gd name="connsiteX3685" fmla="*/ 3658803 w 4919004"/>
                <a:gd name="connsiteY3685" fmla="*/ 1918254 h 2455817"/>
                <a:gd name="connsiteX3686" fmla="*/ 3654658 w 4919004"/>
                <a:gd name="connsiteY3686" fmla="*/ 1921461 h 2455817"/>
                <a:gd name="connsiteX3687" fmla="*/ 3644247 w 4919004"/>
                <a:gd name="connsiteY3687" fmla="*/ 1921461 h 2455817"/>
                <a:gd name="connsiteX3688" fmla="*/ 3640102 w 4919004"/>
                <a:gd name="connsiteY3688" fmla="*/ 1919833 h 2455817"/>
                <a:gd name="connsiteX3689" fmla="*/ 3635909 w 4919004"/>
                <a:gd name="connsiteY3689" fmla="*/ 1921461 h 2455817"/>
                <a:gd name="connsiteX3690" fmla="*/ 3631764 w 4919004"/>
                <a:gd name="connsiteY3690" fmla="*/ 1921461 h 2455817"/>
                <a:gd name="connsiteX3691" fmla="*/ 3629692 w 4919004"/>
                <a:gd name="connsiteY3691" fmla="*/ 1916527 h 2455817"/>
                <a:gd name="connsiteX3692" fmla="*/ 3623475 w 4919004"/>
                <a:gd name="connsiteY3692" fmla="*/ 1914948 h 2455817"/>
                <a:gd name="connsiteX3693" fmla="*/ 3615137 w 4919004"/>
                <a:gd name="connsiteY3693" fmla="*/ 1908485 h 2455817"/>
                <a:gd name="connsiteX3694" fmla="*/ 3610992 w 4919004"/>
                <a:gd name="connsiteY3694" fmla="*/ 1902021 h 2455817"/>
                <a:gd name="connsiteX3695" fmla="*/ 3610992 w 4919004"/>
                <a:gd name="connsiteY3695" fmla="*/ 1892153 h 2455817"/>
                <a:gd name="connsiteX3696" fmla="*/ 3606798 w 4919004"/>
                <a:gd name="connsiteY3696" fmla="*/ 1890525 h 2455817"/>
                <a:gd name="connsiteX3697" fmla="*/ 3602654 w 4919004"/>
                <a:gd name="connsiteY3697" fmla="*/ 1888897 h 2455817"/>
                <a:gd name="connsiteX3698" fmla="*/ 3602654 w 4919004"/>
                <a:gd name="connsiteY3698" fmla="*/ 1882482 h 2455817"/>
                <a:gd name="connsiteX3699" fmla="*/ 3598509 w 4919004"/>
                <a:gd name="connsiteY3699" fmla="*/ 1880854 h 2455817"/>
                <a:gd name="connsiteX3700" fmla="*/ 3598509 w 4919004"/>
                <a:gd name="connsiteY3700" fmla="*/ 1874391 h 2455817"/>
                <a:gd name="connsiteX3701" fmla="*/ 3596437 w 4919004"/>
                <a:gd name="connsiteY3701" fmla="*/ 1869456 h 2455817"/>
                <a:gd name="connsiteX3702" fmla="*/ 3581881 w 4919004"/>
                <a:gd name="connsiteY3702" fmla="*/ 1861414 h 2455817"/>
                <a:gd name="connsiteX3703" fmla="*/ 3575615 w 4919004"/>
                <a:gd name="connsiteY3703" fmla="*/ 1853372 h 2455817"/>
                <a:gd name="connsiteX3704" fmla="*/ 3575615 w 4919004"/>
                <a:gd name="connsiteY3704" fmla="*/ 1850115 h 2455817"/>
                <a:gd name="connsiteX3705" fmla="*/ 3571470 w 4919004"/>
                <a:gd name="connsiteY3705" fmla="*/ 1845181 h 2455817"/>
                <a:gd name="connsiteX3706" fmla="*/ 3567276 w 4919004"/>
                <a:gd name="connsiteY3706" fmla="*/ 1846809 h 2455817"/>
                <a:gd name="connsiteX3707" fmla="*/ 3565253 w 4919004"/>
                <a:gd name="connsiteY3707" fmla="*/ 1845181 h 2455817"/>
                <a:gd name="connsiteX3708" fmla="*/ 3567276 w 4919004"/>
                <a:gd name="connsiteY3708" fmla="*/ 1841925 h 2455817"/>
                <a:gd name="connsiteX3709" fmla="*/ 3567276 w 4919004"/>
                <a:gd name="connsiteY3709" fmla="*/ 1838718 h 2455817"/>
                <a:gd name="connsiteX3710" fmla="*/ 3563132 w 4919004"/>
                <a:gd name="connsiteY3710" fmla="*/ 1837139 h 2455817"/>
                <a:gd name="connsiteX3711" fmla="*/ 3561059 w 4919004"/>
                <a:gd name="connsiteY3711" fmla="*/ 1830675 h 2455817"/>
                <a:gd name="connsiteX3712" fmla="*/ 3556915 w 4919004"/>
                <a:gd name="connsiteY3712" fmla="*/ 1830675 h 2455817"/>
                <a:gd name="connsiteX3713" fmla="*/ 3554842 w 4919004"/>
                <a:gd name="connsiteY3713" fmla="*/ 1825741 h 2455817"/>
                <a:gd name="connsiteX3714" fmla="*/ 3550698 w 4919004"/>
                <a:gd name="connsiteY3714" fmla="*/ 1820807 h 2455817"/>
                <a:gd name="connsiteX3715" fmla="*/ 3548576 w 4919004"/>
                <a:gd name="connsiteY3715" fmla="*/ 1815873 h 2455817"/>
                <a:gd name="connsiteX3716" fmla="*/ 3540287 w 4919004"/>
                <a:gd name="connsiteY3716" fmla="*/ 1810939 h 2455817"/>
                <a:gd name="connsiteX3717" fmla="*/ 3538166 w 4919004"/>
                <a:gd name="connsiteY3717" fmla="*/ 1807682 h 2455817"/>
                <a:gd name="connsiteX3718" fmla="*/ 3540287 w 4919004"/>
                <a:gd name="connsiteY3718" fmla="*/ 1802748 h 2455817"/>
                <a:gd name="connsiteX3719" fmla="*/ 3540287 w 4919004"/>
                <a:gd name="connsiteY3719" fmla="*/ 1799492 h 2455817"/>
                <a:gd name="connsiteX3720" fmla="*/ 3529877 w 4919004"/>
                <a:gd name="connsiteY3720" fmla="*/ 1799492 h 2455817"/>
                <a:gd name="connsiteX3721" fmla="*/ 3529877 w 4919004"/>
                <a:gd name="connsiteY3721" fmla="*/ 1794558 h 2455817"/>
                <a:gd name="connsiteX3722" fmla="*/ 3527804 w 4919004"/>
                <a:gd name="connsiteY3722" fmla="*/ 1789624 h 2455817"/>
                <a:gd name="connsiteX3723" fmla="*/ 3527804 w 4919004"/>
                <a:gd name="connsiteY3723" fmla="*/ 1786367 h 2455817"/>
                <a:gd name="connsiteX3724" fmla="*/ 3525732 w 4919004"/>
                <a:gd name="connsiteY3724" fmla="*/ 1783160 h 2455817"/>
                <a:gd name="connsiteX3725" fmla="*/ 3521587 w 4919004"/>
                <a:gd name="connsiteY3725" fmla="*/ 1781581 h 2455817"/>
                <a:gd name="connsiteX3726" fmla="*/ 3521587 w 4919004"/>
                <a:gd name="connsiteY3726" fmla="*/ 1778325 h 2455817"/>
                <a:gd name="connsiteX3727" fmla="*/ 3519466 w 4919004"/>
                <a:gd name="connsiteY3727" fmla="*/ 1776697 h 2455817"/>
                <a:gd name="connsiteX3728" fmla="*/ 3515320 w 4919004"/>
                <a:gd name="connsiteY3728" fmla="*/ 1776697 h 2455817"/>
                <a:gd name="connsiteX3729" fmla="*/ 3509055 w 4919004"/>
                <a:gd name="connsiteY3729" fmla="*/ 1775118 h 2455817"/>
                <a:gd name="connsiteX3730" fmla="*/ 3507032 w 4919004"/>
                <a:gd name="connsiteY3730" fmla="*/ 1771911 h 2455817"/>
                <a:gd name="connsiteX3731" fmla="*/ 3509055 w 4919004"/>
                <a:gd name="connsiteY3731" fmla="*/ 1768654 h 2455817"/>
                <a:gd name="connsiteX3732" fmla="*/ 3509055 w 4919004"/>
                <a:gd name="connsiteY3732" fmla="*/ 1767026 h 2455817"/>
                <a:gd name="connsiteX3733" fmla="*/ 3502838 w 4919004"/>
                <a:gd name="connsiteY3733" fmla="*/ 1765447 h 2455817"/>
                <a:gd name="connsiteX3734" fmla="*/ 3498693 w 4919004"/>
                <a:gd name="connsiteY3734" fmla="*/ 1768654 h 2455817"/>
                <a:gd name="connsiteX3735" fmla="*/ 3498693 w 4919004"/>
                <a:gd name="connsiteY3735" fmla="*/ 1765447 h 2455817"/>
                <a:gd name="connsiteX3736" fmla="*/ 3494499 w 4919004"/>
                <a:gd name="connsiteY3736" fmla="*/ 1765447 h 2455817"/>
                <a:gd name="connsiteX3737" fmla="*/ 3492476 w 4919004"/>
                <a:gd name="connsiteY3737" fmla="*/ 1762191 h 2455817"/>
                <a:gd name="connsiteX3738" fmla="*/ 3494499 w 4919004"/>
                <a:gd name="connsiteY3738" fmla="*/ 1758984 h 2455817"/>
                <a:gd name="connsiteX3739" fmla="*/ 3492476 w 4919004"/>
                <a:gd name="connsiteY3739" fmla="*/ 1755776 h 2455817"/>
                <a:gd name="connsiteX3740" fmla="*/ 3486210 w 4919004"/>
                <a:gd name="connsiteY3740" fmla="*/ 1754148 h 2455817"/>
                <a:gd name="connsiteX3741" fmla="*/ 3484138 w 4919004"/>
                <a:gd name="connsiteY3741" fmla="*/ 1755776 h 2455817"/>
                <a:gd name="connsiteX3742" fmla="*/ 3479944 w 4919004"/>
                <a:gd name="connsiteY3742" fmla="*/ 1750842 h 2455817"/>
                <a:gd name="connsiteX3743" fmla="*/ 3475799 w 4919004"/>
                <a:gd name="connsiteY3743" fmla="*/ 1752421 h 2455817"/>
                <a:gd name="connsiteX3744" fmla="*/ 3471655 w 4919004"/>
                <a:gd name="connsiteY3744" fmla="*/ 1752421 h 2455817"/>
                <a:gd name="connsiteX3745" fmla="*/ 3467757 w 4919004"/>
                <a:gd name="connsiteY3745" fmla="*/ 1752964 h 2455817"/>
                <a:gd name="connsiteX3746" fmla="*/ 3465636 w 4919004"/>
                <a:gd name="connsiteY3746" fmla="*/ 1756171 h 2455817"/>
                <a:gd name="connsiteX3747" fmla="*/ 3465636 w 4919004"/>
                <a:gd name="connsiteY3747" fmla="*/ 1759428 h 2455817"/>
                <a:gd name="connsiteX3748" fmla="*/ 3463612 w 4919004"/>
                <a:gd name="connsiteY3748" fmla="*/ 1761006 h 2455817"/>
                <a:gd name="connsiteX3749" fmla="*/ 3457346 w 4919004"/>
                <a:gd name="connsiteY3749" fmla="*/ 1757799 h 2455817"/>
                <a:gd name="connsiteX3750" fmla="*/ 3455274 w 4919004"/>
                <a:gd name="connsiteY3750" fmla="*/ 1756171 h 2455817"/>
                <a:gd name="connsiteX3751" fmla="*/ 3449057 w 4919004"/>
                <a:gd name="connsiteY3751" fmla="*/ 1757799 h 2455817"/>
                <a:gd name="connsiteX3752" fmla="*/ 3440718 w 4919004"/>
                <a:gd name="connsiteY3752" fmla="*/ 1757799 h 2455817"/>
                <a:gd name="connsiteX3753" fmla="*/ 3440718 w 4919004"/>
                <a:gd name="connsiteY3753" fmla="*/ 1754543 h 2455817"/>
                <a:gd name="connsiteX3754" fmla="*/ 3434502 w 4919004"/>
                <a:gd name="connsiteY3754" fmla="*/ 1751336 h 2455817"/>
                <a:gd name="connsiteX3755" fmla="*/ 3424090 w 4919004"/>
                <a:gd name="connsiteY3755" fmla="*/ 1749757 h 2455817"/>
                <a:gd name="connsiteX3756" fmla="*/ 3419946 w 4919004"/>
                <a:gd name="connsiteY3756" fmla="*/ 1746500 h 2455817"/>
                <a:gd name="connsiteX3757" fmla="*/ 3413483 w 4919004"/>
                <a:gd name="connsiteY3757" fmla="*/ 1746500 h 2455817"/>
                <a:gd name="connsiteX3758" fmla="*/ 3409338 w 4919004"/>
                <a:gd name="connsiteY3758" fmla="*/ 1744872 h 2455817"/>
                <a:gd name="connsiteX3759" fmla="*/ 3407216 w 4919004"/>
                <a:gd name="connsiteY3759" fmla="*/ 1746500 h 2455817"/>
                <a:gd name="connsiteX3760" fmla="*/ 3396854 w 4919004"/>
                <a:gd name="connsiteY3760" fmla="*/ 1748079 h 2455817"/>
                <a:gd name="connsiteX3761" fmla="*/ 3394782 w 4919004"/>
                <a:gd name="connsiteY3761" fmla="*/ 1753013 h 2455817"/>
                <a:gd name="connsiteX3762" fmla="*/ 3392661 w 4919004"/>
                <a:gd name="connsiteY3762" fmla="*/ 1753013 h 2455817"/>
                <a:gd name="connsiteX3763" fmla="*/ 3388516 w 4919004"/>
                <a:gd name="connsiteY3763" fmla="*/ 1754592 h 2455817"/>
                <a:gd name="connsiteX3764" fmla="*/ 3369816 w 4919004"/>
                <a:gd name="connsiteY3764" fmla="*/ 1754592 h 2455817"/>
                <a:gd name="connsiteX3765" fmla="*/ 3365672 w 4919004"/>
                <a:gd name="connsiteY3765" fmla="*/ 1757849 h 2455817"/>
                <a:gd name="connsiteX3766" fmla="*/ 3359208 w 4919004"/>
                <a:gd name="connsiteY3766" fmla="*/ 1757849 h 2455817"/>
                <a:gd name="connsiteX3767" fmla="*/ 3355063 w 4919004"/>
                <a:gd name="connsiteY3767" fmla="*/ 1762783 h 2455817"/>
                <a:gd name="connsiteX3768" fmla="*/ 3350919 w 4919004"/>
                <a:gd name="connsiteY3768" fmla="*/ 1764362 h 2455817"/>
                <a:gd name="connsiteX3769" fmla="*/ 3344702 w 4919004"/>
                <a:gd name="connsiteY3769" fmla="*/ 1764362 h 2455817"/>
                <a:gd name="connsiteX3770" fmla="*/ 3342580 w 4919004"/>
                <a:gd name="connsiteY3770" fmla="*/ 1765990 h 2455817"/>
                <a:gd name="connsiteX3771" fmla="*/ 3338436 w 4919004"/>
                <a:gd name="connsiteY3771" fmla="*/ 1765990 h 2455817"/>
                <a:gd name="connsiteX3772" fmla="*/ 3334242 w 4919004"/>
                <a:gd name="connsiteY3772" fmla="*/ 1767618 h 2455817"/>
                <a:gd name="connsiteX3773" fmla="*/ 3325953 w 4919004"/>
                <a:gd name="connsiteY3773" fmla="*/ 1767618 h 2455817"/>
                <a:gd name="connsiteX3774" fmla="*/ 3321808 w 4919004"/>
                <a:gd name="connsiteY3774" fmla="*/ 1770825 h 2455817"/>
                <a:gd name="connsiteX3775" fmla="*/ 3321808 w 4919004"/>
                <a:gd name="connsiteY3775" fmla="*/ 1774082 h 2455817"/>
                <a:gd name="connsiteX3776" fmla="*/ 3315591 w 4919004"/>
                <a:gd name="connsiteY3776" fmla="*/ 1780496 h 2455817"/>
                <a:gd name="connsiteX3777" fmla="*/ 3313470 w 4919004"/>
                <a:gd name="connsiteY3777" fmla="*/ 1785430 h 2455817"/>
                <a:gd name="connsiteX3778" fmla="*/ 3311398 w 4919004"/>
                <a:gd name="connsiteY3778" fmla="*/ 1788637 h 2455817"/>
                <a:gd name="connsiteX3779" fmla="*/ 3311398 w 4919004"/>
                <a:gd name="connsiteY3779" fmla="*/ 1791894 h 2455817"/>
                <a:gd name="connsiteX3780" fmla="*/ 3309325 w 4919004"/>
                <a:gd name="connsiteY3780" fmla="*/ 1795101 h 2455817"/>
                <a:gd name="connsiteX3781" fmla="*/ 3309325 w 4919004"/>
                <a:gd name="connsiteY3781" fmla="*/ 1803143 h 2455817"/>
                <a:gd name="connsiteX3782" fmla="*/ 3311398 w 4919004"/>
                <a:gd name="connsiteY3782" fmla="*/ 1804821 h 2455817"/>
                <a:gd name="connsiteX3783" fmla="*/ 3315591 w 4919004"/>
                <a:gd name="connsiteY3783" fmla="*/ 1804821 h 2455817"/>
                <a:gd name="connsiteX3784" fmla="*/ 3321808 w 4919004"/>
                <a:gd name="connsiteY3784" fmla="*/ 1801564 h 2455817"/>
                <a:gd name="connsiteX3785" fmla="*/ 3328025 w 4919004"/>
                <a:gd name="connsiteY3785" fmla="*/ 1799936 h 2455817"/>
                <a:gd name="connsiteX3786" fmla="*/ 3332219 w 4919004"/>
                <a:gd name="connsiteY3786" fmla="*/ 1799936 h 2455817"/>
                <a:gd name="connsiteX3787" fmla="*/ 3336364 w 4919004"/>
                <a:gd name="connsiteY3787" fmla="*/ 1808028 h 2455817"/>
                <a:gd name="connsiteX3788" fmla="*/ 3340508 w 4919004"/>
                <a:gd name="connsiteY3788" fmla="*/ 1812962 h 2455817"/>
                <a:gd name="connsiteX3789" fmla="*/ 3344702 w 4919004"/>
                <a:gd name="connsiteY3789" fmla="*/ 1816169 h 2455817"/>
                <a:gd name="connsiteX3790" fmla="*/ 3344702 w 4919004"/>
                <a:gd name="connsiteY3790" fmla="*/ 1821103 h 2455817"/>
                <a:gd name="connsiteX3791" fmla="*/ 3346774 w 4919004"/>
                <a:gd name="connsiteY3791" fmla="*/ 1826037 h 2455817"/>
                <a:gd name="connsiteX3792" fmla="*/ 3346774 w 4919004"/>
                <a:gd name="connsiteY3792" fmla="*/ 1831909 h 2455817"/>
                <a:gd name="connsiteX3793" fmla="*/ 3342580 w 4919004"/>
                <a:gd name="connsiteY3793" fmla="*/ 1835116 h 2455817"/>
                <a:gd name="connsiteX3794" fmla="*/ 3336364 w 4919004"/>
                <a:gd name="connsiteY3794" fmla="*/ 1841579 h 2455817"/>
                <a:gd name="connsiteX3795" fmla="*/ 3336364 w 4919004"/>
                <a:gd name="connsiteY3795" fmla="*/ 1848043 h 2455817"/>
                <a:gd name="connsiteX3796" fmla="*/ 3332219 w 4919004"/>
                <a:gd name="connsiteY3796" fmla="*/ 1851250 h 2455817"/>
                <a:gd name="connsiteX3797" fmla="*/ 3328025 w 4919004"/>
                <a:gd name="connsiteY3797" fmla="*/ 1857714 h 2455817"/>
                <a:gd name="connsiteX3798" fmla="*/ 3325953 w 4919004"/>
                <a:gd name="connsiteY3798" fmla="*/ 1862648 h 2455817"/>
                <a:gd name="connsiteX3799" fmla="*/ 3330147 w 4919004"/>
                <a:gd name="connsiteY3799" fmla="*/ 1867582 h 2455817"/>
                <a:gd name="connsiteX3800" fmla="*/ 3328025 w 4919004"/>
                <a:gd name="connsiteY3800" fmla="*/ 1870789 h 2455817"/>
                <a:gd name="connsiteX3801" fmla="*/ 3330147 w 4919004"/>
                <a:gd name="connsiteY3801" fmla="*/ 1878881 h 2455817"/>
                <a:gd name="connsiteX3802" fmla="*/ 3334242 w 4919004"/>
                <a:gd name="connsiteY3802" fmla="*/ 1882088 h 2455817"/>
                <a:gd name="connsiteX3803" fmla="*/ 3334242 w 4919004"/>
                <a:gd name="connsiteY3803" fmla="*/ 1887022 h 2455817"/>
                <a:gd name="connsiteX3804" fmla="*/ 3330147 w 4919004"/>
                <a:gd name="connsiteY3804" fmla="*/ 1890229 h 2455817"/>
                <a:gd name="connsiteX3805" fmla="*/ 3328025 w 4919004"/>
                <a:gd name="connsiteY3805" fmla="*/ 1893485 h 2455817"/>
                <a:gd name="connsiteX3806" fmla="*/ 3330147 w 4919004"/>
                <a:gd name="connsiteY3806" fmla="*/ 1898419 h 2455817"/>
                <a:gd name="connsiteX3807" fmla="*/ 3330147 w 4919004"/>
                <a:gd name="connsiteY3807" fmla="*/ 1908287 h 2455817"/>
                <a:gd name="connsiteX3808" fmla="*/ 3328025 w 4919004"/>
                <a:gd name="connsiteY3808" fmla="*/ 1909916 h 2455817"/>
                <a:gd name="connsiteX3809" fmla="*/ 3330147 w 4919004"/>
                <a:gd name="connsiteY3809" fmla="*/ 1919784 h 2455817"/>
                <a:gd name="connsiteX3810" fmla="*/ 3332219 w 4919004"/>
                <a:gd name="connsiteY3810" fmla="*/ 1919784 h 2455817"/>
                <a:gd name="connsiteX3811" fmla="*/ 3336364 w 4919004"/>
                <a:gd name="connsiteY3811" fmla="*/ 1921363 h 2455817"/>
                <a:gd name="connsiteX3812" fmla="*/ 3338436 w 4919004"/>
                <a:gd name="connsiteY3812" fmla="*/ 1919784 h 2455817"/>
                <a:gd name="connsiteX3813" fmla="*/ 3340508 w 4919004"/>
                <a:gd name="connsiteY3813" fmla="*/ 1921363 h 2455817"/>
                <a:gd name="connsiteX3814" fmla="*/ 3342580 w 4919004"/>
                <a:gd name="connsiteY3814" fmla="*/ 1927826 h 2455817"/>
                <a:gd name="connsiteX3815" fmla="*/ 3340508 w 4919004"/>
                <a:gd name="connsiteY3815" fmla="*/ 1934290 h 2455817"/>
                <a:gd name="connsiteX3816" fmla="*/ 3334242 w 4919004"/>
                <a:gd name="connsiteY3816" fmla="*/ 1939224 h 2455817"/>
                <a:gd name="connsiteX3817" fmla="*/ 3321808 w 4919004"/>
                <a:gd name="connsiteY3817" fmla="*/ 1940901 h 2455817"/>
                <a:gd name="connsiteX3818" fmla="*/ 3313470 w 4919004"/>
                <a:gd name="connsiteY3818" fmla="*/ 1945835 h 2455817"/>
                <a:gd name="connsiteX3819" fmla="*/ 3296842 w 4919004"/>
                <a:gd name="connsiteY3819" fmla="*/ 1958763 h 2455817"/>
                <a:gd name="connsiteX3820" fmla="*/ 3292697 w 4919004"/>
                <a:gd name="connsiteY3820" fmla="*/ 1960341 h 2455817"/>
                <a:gd name="connsiteX3821" fmla="*/ 3288552 w 4919004"/>
                <a:gd name="connsiteY3821" fmla="*/ 1955407 h 2455817"/>
                <a:gd name="connsiteX3822" fmla="*/ 3269803 w 4919004"/>
                <a:gd name="connsiteY3822" fmla="*/ 1955407 h 2455817"/>
                <a:gd name="connsiteX3823" fmla="*/ 3269803 w 4919004"/>
                <a:gd name="connsiteY3823" fmla="*/ 1953779 h 2455817"/>
                <a:gd name="connsiteX3824" fmla="*/ 3259442 w 4919004"/>
                <a:gd name="connsiteY3824" fmla="*/ 1953779 h 2455817"/>
                <a:gd name="connsiteX3825" fmla="*/ 3257370 w 4919004"/>
                <a:gd name="connsiteY3825" fmla="*/ 1950572 h 2455817"/>
                <a:gd name="connsiteX3826" fmla="*/ 3242814 w 4919004"/>
                <a:gd name="connsiteY3826" fmla="*/ 1947316 h 2455817"/>
                <a:gd name="connsiteX3827" fmla="*/ 3232404 w 4919004"/>
                <a:gd name="connsiteY3827" fmla="*/ 1948944 h 2455817"/>
                <a:gd name="connsiteX3828" fmla="*/ 3230282 w 4919004"/>
                <a:gd name="connsiteY3828" fmla="*/ 1952151 h 2455817"/>
                <a:gd name="connsiteX3829" fmla="*/ 3224065 w 4919004"/>
                <a:gd name="connsiteY3829" fmla="*/ 1957085 h 2455817"/>
                <a:gd name="connsiteX3830" fmla="*/ 3216121 w 4919004"/>
                <a:gd name="connsiteY3830" fmla="*/ 1957085 h 2455817"/>
                <a:gd name="connsiteX3831" fmla="*/ 3214099 w 4919004"/>
                <a:gd name="connsiteY3831" fmla="*/ 1953878 h 2455817"/>
                <a:gd name="connsiteX3832" fmla="*/ 3205759 w 4919004"/>
                <a:gd name="connsiteY3832" fmla="*/ 1957085 h 2455817"/>
                <a:gd name="connsiteX3833" fmla="*/ 3201566 w 4919004"/>
                <a:gd name="connsiteY3833" fmla="*/ 1955506 h 2455817"/>
                <a:gd name="connsiteX3834" fmla="*/ 3197421 w 4919004"/>
                <a:gd name="connsiteY3834" fmla="*/ 1950572 h 2455817"/>
                <a:gd name="connsiteX3835" fmla="*/ 3189132 w 4919004"/>
                <a:gd name="connsiteY3835" fmla="*/ 1945638 h 2455817"/>
                <a:gd name="connsiteX3836" fmla="*/ 3180794 w 4919004"/>
                <a:gd name="connsiteY3836" fmla="*/ 1945638 h 2455817"/>
                <a:gd name="connsiteX3837" fmla="*/ 3170432 w 4919004"/>
                <a:gd name="connsiteY3837" fmla="*/ 1947266 h 2455817"/>
                <a:gd name="connsiteX3838" fmla="*/ 3168311 w 4919004"/>
                <a:gd name="connsiteY3838" fmla="*/ 1945638 h 2455817"/>
                <a:gd name="connsiteX3839" fmla="*/ 3161847 w 4919004"/>
                <a:gd name="connsiteY3839" fmla="*/ 1945638 h 2455817"/>
                <a:gd name="connsiteX3840" fmla="*/ 3157652 w 4919004"/>
                <a:gd name="connsiteY3840" fmla="*/ 1950572 h 2455817"/>
                <a:gd name="connsiteX3841" fmla="*/ 3153509 w 4919004"/>
                <a:gd name="connsiteY3841" fmla="*/ 1956986 h 2455817"/>
                <a:gd name="connsiteX3842" fmla="*/ 3149364 w 4919004"/>
                <a:gd name="connsiteY3842" fmla="*/ 1961920 h 2455817"/>
                <a:gd name="connsiteX3843" fmla="*/ 3141075 w 4919004"/>
                <a:gd name="connsiteY3843" fmla="*/ 1963549 h 2455817"/>
                <a:gd name="connsiteX3844" fmla="*/ 3136880 w 4919004"/>
                <a:gd name="connsiteY3844" fmla="*/ 1969963 h 2455817"/>
                <a:gd name="connsiteX3845" fmla="*/ 3136880 w 4919004"/>
                <a:gd name="connsiteY3845" fmla="*/ 1973219 h 2455817"/>
                <a:gd name="connsiteX3846" fmla="*/ 3134808 w 4919004"/>
                <a:gd name="connsiteY3846" fmla="*/ 1979683 h 2455817"/>
                <a:gd name="connsiteX3847" fmla="*/ 3126519 w 4919004"/>
                <a:gd name="connsiteY3847" fmla="*/ 1984617 h 2455817"/>
                <a:gd name="connsiteX3848" fmla="*/ 3105697 w 4919004"/>
                <a:gd name="connsiteY3848" fmla="*/ 1984617 h 2455817"/>
                <a:gd name="connsiteX3849" fmla="*/ 3099431 w 4919004"/>
                <a:gd name="connsiteY3849" fmla="*/ 1991031 h 2455817"/>
                <a:gd name="connsiteX3850" fmla="*/ 3091142 w 4919004"/>
                <a:gd name="connsiteY3850" fmla="*/ 1991031 h 2455817"/>
                <a:gd name="connsiteX3851" fmla="*/ 3076340 w 4919004"/>
                <a:gd name="connsiteY3851" fmla="*/ 1997495 h 2455817"/>
                <a:gd name="connsiteX3852" fmla="*/ 3072195 w 4919004"/>
                <a:gd name="connsiteY3852" fmla="*/ 2005587 h 2455817"/>
                <a:gd name="connsiteX3853" fmla="*/ 3068100 w 4919004"/>
                <a:gd name="connsiteY3853" fmla="*/ 2005587 h 2455817"/>
                <a:gd name="connsiteX3854" fmla="*/ 3059762 w 4919004"/>
                <a:gd name="connsiteY3854" fmla="*/ 2002330 h 2455817"/>
                <a:gd name="connsiteX3855" fmla="*/ 3053545 w 4919004"/>
                <a:gd name="connsiteY3855" fmla="*/ 2002330 h 2455817"/>
                <a:gd name="connsiteX3856" fmla="*/ 3049351 w 4919004"/>
                <a:gd name="connsiteY3856" fmla="*/ 2005587 h 2455817"/>
                <a:gd name="connsiteX3857" fmla="*/ 3018168 w 4919004"/>
                <a:gd name="connsiteY3857" fmla="*/ 2005587 h 2455817"/>
                <a:gd name="connsiteX3858" fmla="*/ 3003366 w 4919004"/>
                <a:gd name="connsiteY3858" fmla="*/ 2002330 h 2455817"/>
                <a:gd name="connsiteX3859" fmla="*/ 2986738 w 4919004"/>
                <a:gd name="connsiteY3859" fmla="*/ 2003958 h 2455817"/>
                <a:gd name="connsiteX3860" fmla="*/ 2982593 w 4919004"/>
                <a:gd name="connsiteY3860" fmla="*/ 2003958 h 2455817"/>
                <a:gd name="connsiteX3861" fmla="*/ 2976327 w 4919004"/>
                <a:gd name="connsiteY3861" fmla="*/ 1997495 h 2455817"/>
                <a:gd name="connsiteX3862" fmla="*/ 2970110 w 4919004"/>
                <a:gd name="connsiteY3862" fmla="*/ 1997495 h 2455817"/>
                <a:gd name="connsiteX3863" fmla="*/ 2965966 w 4919004"/>
                <a:gd name="connsiteY3863" fmla="*/ 1994238 h 2455817"/>
                <a:gd name="connsiteX3864" fmla="*/ 2959699 w 4919004"/>
                <a:gd name="connsiteY3864" fmla="*/ 1991031 h 2455817"/>
                <a:gd name="connsiteX3865" fmla="*/ 2955554 w 4919004"/>
                <a:gd name="connsiteY3865" fmla="*/ 1981410 h 2455817"/>
                <a:gd name="connsiteX3866" fmla="*/ 2951410 w 4919004"/>
                <a:gd name="connsiteY3866" fmla="*/ 1978153 h 2455817"/>
                <a:gd name="connsiteX3867" fmla="*/ 2945144 w 4919004"/>
                <a:gd name="connsiteY3867" fmla="*/ 1979782 h 2455817"/>
                <a:gd name="connsiteX3868" fmla="*/ 2934782 w 4919004"/>
                <a:gd name="connsiteY3868" fmla="*/ 1979782 h 2455817"/>
                <a:gd name="connsiteX3869" fmla="*/ 2922250 w 4919004"/>
                <a:gd name="connsiteY3869" fmla="*/ 1974848 h 2455817"/>
                <a:gd name="connsiteX3870" fmla="*/ 2913961 w 4919004"/>
                <a:gd name="connsiteY3870" fmla="*/ 1966756 h 2455817"/>
                <a:gd name="connsiteX3871" fmla="*/ 2899406 w 4919004"/>
                <a:gd name="connsiteY3871" fmla="*/ 1966756 h 2455817"/>
                <a:gd name="connsiteX3872" fmla="*/ 2888994 w 4919004"/>
                <a:gd name="connsiteY3872" fmla="*/ 1965177 h 2455817"/>
                <a:gd name="connsiteX3873" fmla="*/ 2880706 w 4919004"/>
                <a:gd name="connsiteY3873" fmla="*/ 1961920 h 2455817"/>
                <a:gd name="connsiteX3874" fmla="*/ 2872367 w 4919004"/>
                <a:gd name="connsiteY3874" fmla="*/ 1963549 h 2455817"/>
                <a:gd name="connsiteX3875" fmla="*/ 2862005 w 4919004"/>
                <a:gd name="connsiteY3875" fmla="*/ 1965177 h 2455817"/>
                <a:gd name="connsiteX3876" fmla="*/ 2855739 w 4919004"/>
                <a:gd name="connsiteY3876" fmla="*/ 1968384 h 2455817"/>
                <a:gd name="connsiteX3877" fmla="*/ 2840937 w 4919004"/>
                <a:gd name="connsiteY3877" fmla="*/ 1968384 h 2455817"/>
                <a:gd name="connsiteX3878" fmla="*/ 2830526 w 4919004"/>
                <a:gd name="connsiteY3878" fmla="*/ 1971640 h 2455817"/>
                <a:gd name="connsiteX3879" fmla="*/ 2824309 w 4919004"/>
                <a:gd name="connsiteY3879" fmla="*/ 1978055 h 2455817"/>
                <a:gd name="connsiteX3880" fmla="*/ 2820115 w 4919004"/>
                <a:gd name="connsiteY3880" fmla="*/ 1979683 h 2455817"/>
                <a:gd name="connsiteX3881" fmla="*/ 2815971 w 4919004"/>
                <a:gd name="connsiteY3881" fmla="*/ 1978055 h 2455817"/>
                <a:gd name="connsiteX3882" fmla="*/ 2809754 w 4919004"/>
                <a:gd name="connsiteY3882" fmla="*/ 1978055 h 2455817"/>
                <a:gd name="connsiteX3883" fmla="*/ 2805560 w 4919004"/>
                <a:gd name="connsiteY3883" fmla="*/ 1979683 h 2455817"/>
                <a:gd name="connsiteX3884" fmla="*/ 2795198 w 4919004"/>
                <a:gd name="connsiteY3884" fmla="*/ 1979683 h 2455817"/>
                <a:gd name="connsiteX3885" fmla="*/ 2791005 w 4919004"/>
                <a:gd name="connsiteY3885" fmla="*/ 1981311 h 2455817"/>
                <a:gd name="connsiteX3886" fmla="*/ 2786860 w 4919004"/>
                <a:gd name="connsiteY3886" fmla="*/ 1981311 h 2455817"/>
                <a:gd name="connsiteX3887" fmla="*/ 2774426 w 4919004"/>
                <a:gd name="connsiteY3887" fmla="*/ 1976377 h 2455817"/>
                <a:gd name="connsiteX3888" fmla="*/ 2764016 w 4919004"/>
                <a:gd name="connsiteY3888" fmla="*/ 1974798 h 2455817"/>
                <a:gd name="connsiteX3889" fmla="*/ 2761894 w 4919004"/>
                <a:gd name="connsiteY3889" fmla="*/ 1971591 h 2455817"/>
                <a:gd name="connsiteX3890" fmla="*/ 2755677 w 4919004"/>
                <a:gd name="connsiteY3890" fmla="*/ 1965127 h 2455817"/>
                <a:gd name="connsiteX3891" fmla="*/ 2752322 w 4919004"/>
                <a:gd name="connsiteY3891" fmla="*/ 1965127 h 2455817"/>
                <a:gd name="connsiteX3892" fmla="*/ 2748128 w 4919004"/>
                <a:gd name="connsiteY3892" fmla="*/ 1961871 h 2455817"/>
                <a:gd name="connsiteX3893" fmla="*/ 2748128 w 4919004"/>
                <a:gd name="connsiteY3893" fmla="*/ 1956937 h 2455817"/>
                <a:gd name="connsiteX3894" fmla="*/ 2743984 w 4919004"/>
                <a:gd name="connsiteY3894" fmla="*/ 1948894 h 2455817"/>
                <a:gd name="connsiteX3895" fmla="*/ 2739839 w 4919004"/>
                <a:gd name="connsiteY3895" fmla="*/ 1945638 h 2455817"/>
                <a:gd name="connsiteX3896" fmla="*/ 2739839 w 4919004"/>
                <a:gd name="connsiteY3896" fmla="*/ 1940704 h 2455817"/>
                <a:gd name="connsiteX3897" fmla="*/ 2737767 w 4919004"/>
                <a:gd name="connsiteY3897" fmla="*/ 1937448 h 2455817"/>
                <a:gd name="connsiteX3898" fmla="*/ 2737767 w 4919004"/>
                <a:gd name="connsiteY3898" fmla="*/ 1932514 h 2455817"/>
                <a:gd name="connsiteX3899" fmla="*/ 2733572 w 4919004"/>
                <a:gd name="connsiteY3899" fmla="*/ 1927580 h 2455817"/>
                <a:gd name="connsiteX3900" fmla="*/ 2729428 w 4919004"/>
                <a:gd name="connsiteY3900" fmla="*/ 1925951 h 2455817"/>
                <a:gd name="connsiteX3901" fmla="*/ 2706583 w 4919004"/>
                <a:gd name="connsiteY3901" fmla="*/ 1925951 h 2455817"/>
                <a:gd name="connsiteX3902" fmla="*/ 2702439 w 4919004"/>
                <a:gd name="connsiteY3902" fmla="*/ 1922744 h 2455817"/>
                <a:gd name="connsiteX3903" fmla="*/ 2692028 w 4919004"/>
                <a:gd name="connsiteY3903" fmla="*/ 1922744 h 2455817"/>
                <a:gd name="connsiteX3904" fmla="*/ 2689906 w 4919004"/>
                <a:gd name="connsiteY3904" fmla="*/ 1919537 h 2455817"/>
                <a:gd name="connsiteX3905" fmla="*/ 2683689 w 4919004"/>
                <a:gd name="connsiteY3905" fmla="*/ 1916330 h 2455817"/>
                <a:gd name="connsiteX3906" fmla="*/ 2671255 w 4919004"/>
                <a:gd name="connsiteY3906" fmla="*/ 1917909 h 2455817"/>
                <a:gd name="connsiteX3907" fmla="*/ 2662917 w 4919004"/>
                <a:gd name="connsiteY3907" fmla="*/ 1916330 h 2455817"/>
                <a:gd name="connsiteX3908" fmla="*/ 2654578 w 4919004"/>
                <a:gd name="connsiteY3908" fmla="*/ 1914652 h 2455817"/>
                <a:gd name="connsiteX3909" fmla="*/ 2652506 w 4919004"/>
                <a:gd name="connsiteY3909" fmla="*/ 1911445 h 2455817"/>
                <a:gd name="connsiteX3910" fmla="*/ 2644217 w 4919004"/>
                <a:gd name="connsiteY3910" fmla="*/ 1908238 h 2455817"/>
                <a:gd name="connsiteX3911" fmla="*/ 2633905 w 4919004"/>
                <a:gd name="connsiteY3911" fmla="*/ 1905919 h 2455817"/>
                <a:gd name="connsiteX3912" fmla="*/ 2629711 w 4919004"/>
                <a:gd name="connsiteY3912" fmla="*/ 1902712 h 2455817"/>
                <a:gd name="connsiteX3913" fmla="*/ 2621422 w 4919004"/>
                <a:gd name="connsiteY3913" fmla="*/ 1902712 h 2455817"/>
                <a:gd name="connsiteX3914" fmla="*/ 2617277 w 4919004"/>
                <a:gd name="connsiteY3914" fmla="*/ 1905919 h 2455817"/>
                <a:gd name="connsiteX3915" fmla="*/ 2617277 w 4919004"/>
                <a:gd name="connsiteY3915" fmla="*/ 1910853 h 2455817"/>
                <a:gd name="connsiteX3916" fmla="*/ 2619350 w 4919004"/>
                <a:gd name="connsiteY3916" fmla="*/ 1915787 h 2455817"/>
                <a:gd name="connsiteX3917" fmla="*/ 2617277 w 4919004"/>
                <a:gd name="connsiteY3917" fmla="*/ 1920721 h 2455817"/>
                <a:gd name="connsiteX3918" fmla="*/ 2613133 w 4919004"/>
                <a:gd name="connsiteY3918" fmla="*/ 1920721 h 2455817"/>
                <a:gd name="connsiteX3919" fmla="*/ 2606867 w 4919004"/>
                <a:gd name="connsiteY3919" fmla="*/ 1922349 h 2455817"/>
                <a:gd name="connsiteX3920" fmla="*/ 2602722 w 4919004"/>
                <a:gd name="connsiteY3920" fmla="*/ 1927283 h 2455817"/>
                <a:gd name="connsiteX3921" fmla="*/ 2602722 w 4919004"/>
                <a:gd name="connsiteY3921" fmla="*/ 1932217 h 2455817"/>
                <a:gd name="connsiteX3922" fmla="*/ 2596456 w 4919004"/>
                <a:gd name="connsiteY3922" fmla="*/ 1938632 h 2455817"/>
                <a:gd name="connsiteX3923" fmla="*/ 2596456 w 4919004"/>
                <a:gd name="connsiteY3923" fmla="*/ 1954815 h 2455817"/>
                <a:gd name="connsiteX3924" fmla="*/ 2598577 w 4919004"/>
                <a:gd name="connsiteY3924" fmla="*/ 1961230 h 2455817"/>
                <a:gd name="connsiteX3925" fmla="*/ 2608939 w 4919004"/>
                <a:gd name="connsiteY3925" fmla="*/ 1964486 h 2455817"/>
                <a:gd name="connsiteX3926" fmla="*/ 2613133 w 4919004"/>
                <a:gd name="connsiteY3926" fmla="*/ 1967693 h 2455817"/>
                <a:gd name="connsiteX3927" fmla="*/ 2619350 w 4919004"/>
                <a:gd name="connsiteY3927" fmla="*/ 1970950 h 2455817"/>
                <a:gd name="connsiteX3928" fmla="*/ 2621422 w 4919004"/>
                <a:gd name="connsiteY3928" fmla="*/ 1974157 h 2455817"/>
                <a:gd name="connsiteX3929" fmla="*/ 2617277 w 4919004"/>
                <a:gd name="connsiteY3929" fmla="*/ 1984025 h 2455817"/>
                <a:gd name="connsiteX3930" fmla="*/ 2617277 w 4919004"/>
                <a:gd name="connsiteY3930" fmla="*/ 1993646 h 2455817"/>
                <a:gd name="connsiteX3931" fmla="*/ 2625567 w 4919004"/>
                <a:gd name="connsiteY3931" fmla="*/ 1998580 h 2455817"/>
                <a:gd name="connsiteX3932" fmla="*/ 2629711 w 4919004"/>
                <a:gd name="connsiteY3932" fmla="*/ 2001787 h 2455817"/>
                <a:gd name="connsiteX3933" fmla="*/ 2621422 w 4919004"/>
                <a:gd name="connsiteY3933" fmla="*/ 2011655 h 2455817"/>
                <a:gd name="connsiteX3934" fmla="*/ 2611011 w 4919004"/>
                <a:gd name="connsiteY3934" fmla="*/ 2013284 h 2455817"/>
                <a:gd name="connsiteX3935" fmla="*/ 2602722 w 4919004"/>
                <a:gd name="connsiteY3935" fmla="*/ 2011655 h 2455817"/>
                <a:gd name="connsiteX3936" fmla="*/ 2602722 w 4919004"/>
                <a:gd name="connsiteY3936" fmla="*/ 2013284 h 2455817"/>
                <a:gd name="connsiteX3937" fmla="*/ 2594433 w 4919004"/>
                <a:gd name="connsiteY3937" fmla="*/ 2013284 h 2455817"/>
                <a:gd name="connsiteX3938" fmla="*/ 2590288 w 4919004"/>
                <a:gd name="connsiteY3938" fmla="*/ 2011655 h 2455817"/>
                <a:gd name="connsiteX3939" fmla="*/ 2573661 w 4919004"/>
                <a:gd name="connsiteY3939" fmla="*/ 2011655 h 2455817"/>
                <a:gd name="connsiteX3940" fmla="*/ 2567394 w 4919004"/>
                <a:gd name="connsiteY3940" fmla="*/ 2013284 h 2455817"/>
                <a:gd name="connsiteX3941" fmla="*/ 2563250 w 4919004"/>
                <a:gd name="connsiteY3941" fmla="*/ 2010027 h 2455817"/>
                <a:gd name="connsiteX3942" fmla="*/ 2554960 w 4919004"/>
                <a:gd name="connsiteY3942" fmla="*/ 2008448 h 2455817"/>
                <a:gd name="connsiteX3943" fmla="*/ 2548694 w 4919004"/>
                <a:gd name="connsiteY3943" fmla="*/ 2008448 h 2455817"/>
                <a:gd name="connsiteX3944" fmla="*/ 2542428 w 4919004"/>
                <a:gd name="connsiteY3944" fmla="*/ 2013382 h 2455817"/>
                <a:gd name="connsiteX3945" fmla="*/ 2534139 w 4919004"/>
                <a:gd name="connsiteY3945" fmla="*/ 2015011 h 2455817"/>
                <a:gd name="connsiteX3946" fmla="*/ 2529994 w 4919004"/>
                <a:gd name="connsiteY3946" fmla="*/ 2018218 h 2455817"/>
                <a:gd name="connsiteX3947" fmla="*/ 2517511 w 4919004"/>
                <a:gd name="connsiteY3947" fmla="*/ 2013284 h 2455817"/>
                <a:gd name="connsiteX3948" fmla="*/ 2509172 w 4919004"/>
                <a:gd name="connsiteY3948" fmla="*/ 2008350 h 2455817"/>
                <a:gd name="connsiteX3949" fmla="*/ 2492545 w 4919004"/>
                <a:gd name="connsiteY3949" fmla="*/ 1998482 h 2455817"/>
                <a:gd name="connsiteX3950" fmla="*/ 2490473 w 4919004"/>
                <a:gd name="connsiteY3950" fmla="*/ 1995274 h 2455817"/>
                <a:gd name="connsiteX3951" fmla="*/ 2488400 w 4919004"/>
                <a:gd name="connsiteY3951" fmla="*/ 1990340 h 2455817"/>
                <a:gd name="connsiteX3952" fmla="*/ 2486328 w 4919004"/>
                <a:gd name="connsiteY3952" fmla="*/ 1985406 h 2455817"/>
                <a:gd name="connsiteX3953" fmla="*/ 2475917 w 4919004"/>
                <a:gd name="connsiteY3953" fmla="*/ 1985406 h 2455817"/>
                <a:gd name="connsiteX3954" fmla="*/ 2469651 w 4919004"/>
                <a:gd name="connsiteY3954" fmla="*/ 1988663 h 2455817"/>
                <a:gd name="connsiteX3955" fmla="*/ 2459289 w 4919004"/>
                <a:gd name="connsiteY3955" fmla="*/ 1988663 h 2455817"/>
                <a:gd name="connsiteX3956" fmla="*/ 2453073 w 4919004"/>
                <a:gd name="connsiteY3956" fmla="*/ 1990242 h 2455817"/>
                <a:gd name="connsiteX3957" fmla="*/ 2448879 w 4919004"/>
                <a:gd name="connsiteY3957" fmla="*/ 1985308 h 2455817"/>
                <a:gd name="connsiteX3958" fmla="*/ 2446806 w 4919004"/>
                <a:gd name="connsiteY3958" fmla="*/ 1982101 h 2455817"/>
                <a:gd name="connsiteX3959" fmla="*/ 2442662 w 4919004"/>
                <a:gd name="connsiteY3959" fmla="*/ 1977167 h 2455817"/>
                <a:gd name="connsiteX3960" fmla="*/ 2440540 w 4919004"/>
                <a:gd name="connsiteY3960" fmla="*/ 1977167 h 2455817"/>
                <a:gd name="connsiteX3961" fmla="*/ 2436395 w 4919004"/>
                <a:gd name="connsiteY3961" fmla="*/ 1980423 h 2455817"/>
                <a:gd name="connsiteX3962" fmla="*/ 2428107 w 4919004"/>
                <a:gd name="connsiteY3962" fmla="*/ 1978795 h 2455817"/>
                <a:gd name="connsiteX3963" fmla="*/ 2421742 w 4919004"/>
                <a:gd name="connsiteY3963" fmla="*/ 1978795 h 2455817"/>
                <a:gd name="connsiteX3964" fmla="*/ 2413452 w 4919004"/>
                <a:gd name="connsiteY3964" fmla="*/ 1980423 h 2455817"/>
                <a:gd name="connsiteX3965" fmla="*/ 2400969 w 4919004"/>
                <a:gd name="connsiteY3965" fmla="*/ 1982002 h 2455817"/>
                <a:gd name="connsiteX3966" fmla="*/ 2394753 w 4919004"/>
                <a:gd name="connsiteY3966" fmla="*/ 1983630 h 2455817"/>
                <a:gd name="connsiteX3967" fmla="*/ 2392680 w 4919004"/>
                <a:gd name="connsiteY3967" fmla="*/ 1991673 h 2455817"/>
                <a:gd name="connsiteX3968" fmla="*/ 2386414 w 4919004"/>
                <a:gd name="connsiteY3968" fmla="*/ 1994929 h 2455817"/>
                <a:gd name="connsiteX3969" fmla="*/ 2376003 w 4919004"/>
                <a:gd name="connsiteY3969" fmla="*/ 1991673 h 2455817"/>
                <a:gd name="connsiteX3970" fmla="*/ 2371859 w 4919004"/>
                <a:gd name="connsiteY3970" fmla="*/ 1994929 h 2455817"/>
                <a:gd name="connsiteX3971" fmla="*/ 2373931 w 4919004"/>
                <a:gd name="connsiteY3971" fmla="*/ 1998136 h 2455817"/>
                <a:gd name="connsiteX3972" fmla="*/ 2376003 w 4919004"/>
                <a:gd name="connsiteY3972" fmla="*/ 2001343 h 2455817"/>
                <a:gd name="connsiteX3973" fmla="*/ 2373931 w 4919004"/>
                <a:gd name="connsiteY3973" fmla="*/ 2002972 h 2455817"/>
                <a:gd name="connsiteX3974" fmla="*/ 2369786 w 4919004"/>
                <a:gd name="connsiteY3974" fmla="*/ 2009386 h 2455817"/>
                <a:gd name="connsiteX3975" fmla="*/ 2363569 w 4919004"/>
                <a:gd name="connsiteY3975" fmla="*/ 2011014 h 2455817"/>
                <a:gd name="connsiteX3976" fmla="*/ 2357303 w 4919004"/>
                <a:gd name="connsiteY3976" fmla="*/ 2015948 h 2455817"/>
                <a:gd name="connsiteX3977" fmla="*/ 2357303 w 4919004"/>
                <a:gd name="connsiteY3977" fmla="*/ 2020882 h 2455817"/>
                <a:gd name="connsiteX3978" fmla="*/ 2346892 w 4919004"/>
                <a:gd name="connsiteY3978" fmla="*/ 2024089 h 2455817"/>
                <a:gd name="connsiteX3979" fmla="*/ 2344820 w 4919004"/>
                <a:gd name="connsiteY3979" fmla="*/ 2030553 h 2455817"/>
                <a:gd name="connsiteX3980" fmla="*/ 2344820 w 4919004"/>
                <a:gd name="connsiteY3980" fmla="*/ 2037016 h 2455817"/>
                <a:gd name="connsiteX3981" fmla="*/ 2332337 w 4919004"/>
                <a:gd name="connsiteY3981" fmla="*/ 2040224 h 2455817"/>
                <a:gd name="connsiteX3982" fmla="*/ 2326120 w 4919004"/>
                <a:gd name="connsiteY3982" fmla="*/ 2046687 h 2455817"/>
                <a:gd name="connsiteX3983" fmla="*/ 2324047 w 4919004"/>
                <a:gd name="connsiteY3983" fmla="*/ 2049944 h 2455817"/>
                <a:gd name="connsiteX3984" fmla="*/ 2307420 w 4919004"/>
                <a:gd name="connsiteY3984" fmla="*/ 2048315 h 2455817"/>
                <a:gd name="connsiteX3985" fmla="*/ 2301154 w 4919004"/>
                <a:gd name="connsiteY3985" fmla="*/ 2051522 h 2455817"/>
                <a:gd name="connsiteX3986" fmla="*/ 2294937 w 4919004"/>
                <a:gd name="connsiteY3986" fmla="*/ 2062821 h 2455817"/>
                <a:gd name="connsiteX3987" fmla="*/ 2292815 w 4919004"/>
                <a:gd name="connsiteY3987" fmla="*/ 2062821 h 2455817"/>
                <a:gd name="connsiteX3988" fmla="*/ 2284526 w 4919004"/>
                <a:gd name="connsiteY3988" fmla="*/ 2061193 h 2455817"/>
                <a:gd name="connsiteX3989" fmla="*/ 2280381 w 4919004"/>
                <a:gd name="connsiteY3989" fmla="*/ 2061193 h 2455817"/>
                <a:gd name="connsiteX3990" fmla="*/ 2278260 w 4919004"/>
                <a:gd name="connsiteY3990" fmla="*/ 2059614 h 2455817"/>
                <a:gd name="connsiteX3991" fmla="*/ 2267898 w 4919004"/>
                <a:gd name="connsiteY3991" fmla="*/ 2056358 h 2455817"/>
                <a:gd name="connsiteX3992" fmla="*/ 2259560 w 4919004"/>
                <a:gd name="connsiteY3992" fmla="*/ 2049944 h 2455817"/>
                <a:gd name="connsiteX3993" fmla="*/ 2255415 w 4919004"/>
                <a:gd name="connsiteY3993" fmla="*/ 2049944 h 2455817"/>
                <a:gd name="connsiteX3994" fmla="*/ 2253343 w 4919004"/>
                <a:gd name="connsiteY3994" fmla="*/ 2043480 h 2455817"/>
                <a:gd name="connsiteX3995" fmla="*/ 2255415 w 4919004"/>
                <a:gd name="connsiteY3995" fmla="*/ 2037016 h 2455817"/>
                <a:gd name="connsiteX3996" fmla="*/ 2253343 w 4919004"/>
                <a:gd name="connsiteY3996" fmla="*/ 2035437 h 2455817"/>
                <a:gd name="connsiteX3997" fmla="*/ 2245005 w 4919004"/>
                <a:gd name="connsiteY3997" fmla="*/ 2038645 h 2455817"/>
                <a:gd name="connsiteX3998" fmla="*/ 2240860 w 4919004"/>
                <a:gd name="connsiteY3998" fmla="*/ 2043579 h 2455817"/>
                <a:gd name="connsiteX3999" fmla="*/ 2234593 w 4919004"/>
                <a:gd name="connsiteY3999" fmla="*/ 2045207 h 2455817"/>
                <a:gd name="connsiteX4000" fmla="*/ 2215894 w 4919004"/>
                <a:gd name="connsiteY4000" fmla="*/ 2046786 h 2455817"/>
                <a:gd name="connsiteX4001" fmla="*/ 2211749 w 4919004"/>
                <a:gd name="connsiteY4001" fmla="*/ 2050042 h 2455817"/>
                <a:gd name="connsiteX4002" fmla="*/ 2209677 w 4919004"/>
                <a:gd name="connsiteY4002" fmla="*/ 2051621 h 2455817"/>
                <a:gd name="connsiteX4003" fmla="*/ 2203460 w 4919004"/>
                <a:gd name="connsiteY4003" fmla="*/ 2050042 h 2455817"/>
                <a:gd name="connsiteX4004" fmla="*/ 2197193 w 4919004"/>
                <a:gd name="connsiteY4004" fmla="*/ 2046786 h 2455817"/>
                <a:gd name="connsiteX4005" fmla="*/ 2193049 w 4919004"/>
                <a:gd name="connsiteY4005" fmla="*/ 2046786 h 2455817"/>
                <a:gd name="connsiteX4006" fmla="*/ 2190927 w 4919004"/>
                <a:gd name="connsiteY4006" fmla="*/ 2045207 h 2455817"/>
                <a:gd name="connsiteX4007" fmla="*/ 2188905 w 4919004"/>
                <a:gd name="connsiteY4007" fmla="*/ 2043579 h 2455817"/>
                <a:gd name="connsiteX4008" fmla="*/ 2186783 w 4919004"/>
                <a:gd name="connsiteY4008" fmla="*/ 2038645 h 2455817"/>
                <a:gd name="connsiteX4009" fmla="*/ 2186783 w 4919004"/>
                <a:gd name="connsiteY4009" fmla="*/ 2027346 h 2455817"/>
                <a:gd name="connsiteX4010" fmla="*/ 2182638 w 4919004"/>
                <a:gd name="connsiteY4010" fmla="*/ 2025717 h 2455817"/>
                <a:gd name="connsiteX4011" fmla="*/ 2178493 w 4919004"/>
                <a:gd name="connsiteY4011" fmla="*/ 2025717 h 2455817"/>
                <a:gd name="connsiteX4012" fmla="*/ 2170155 w 4919004"/>
                <a:gd name="connsiteY4012" fmla="*/ 2020783 h 2455817"/>
                <a:gd name="connsiteX4013" fmla="*/ 2163938 w 4919004"/>
                <a:gd name="connsiteY4013" fmla="*/ 2019204 h 2455817"/>
                <a:gd name="connsiteX4014" fmla="*/ 2159794 w 4919004"/>
                <a:gd name="connsiteY4014" fmla="*/ 2019204 h 2455817"/>
                <a:gd name="connsiteX4015" fmla="*/ 2155600 w 4919004"/>
                <a:gd name="connsiteY4015" fmla="*/ 2011113 h 2455817"/>
                <a:gd name="connsiteX4016" fmla="*/ 2149383 w 4919004"/>
                <a:gd name="connsiteY4016" fmla="*/ 2003070 h 2455817"/>
                <a:gd name="connsiteX4017" fmla="*/ 2138972 w 4919004"/>
                <a:gd name="connsiteY4017" fmla="*/ 1995028 h 2455817"/>
                <a:gd name="connsiteX4018" fmla="*/ 2128561 w 4919004"/>
                <a:gd name="connsiteY4018" fmla="*/ 1993350 h 2455817"/>
                <a:gd name="connsiteX4019" fmla="*/ 2115831 w 4919004"/>
                <a:gd name="connsiteY4019" fmla="*/ 1993350 h 2455817"/>
                <a:gd name="connsiteX4020" fmla="*/ 2103299 w 4919004"/>
                <a:gd name="connsiteY4020" fmla="*/ 1995028 h 2455817"/>
                <a:gd name="connsiteX4021" fmla="*/ 2101276 w 4919004"/>
                <a:gd name="connsiteY4021" fmla="*/ 1998235 h 2455817"/>
                <a:gd name="connsiteX4022" fmla="*/ 2105421 w 4919004"/>
                <a:gd name="connsiteY4022" fmla="*/ 2001442 h 2455817"/>
                <a:gd name="connsiteX4023" fmla="*/ 2103299 w 4919004"/>
                <a:gd name="connsiteY4023" fmla="*/ 2004698 h 2455817"/>
                <a:gd name="connsiteX4024" fmla="*/ 2095010 w 4919004"/>
                <a:gd name="connsiteY4024" fmla="*/ 2006277 h 2455817"/>
                <a:gd name="connsiteX4025" fmla="*/ 2088744 w 4919004"/>
                <a:gd name="connsiteY4025" fmla="*/ 2004698 h 2455817"/>
                <a:gd name="connsiteX4026" fmla="*/ 2082527 w 4919004"/>
                <a:gd name="connsiteY4026" fmla="*/ 2007906 h 2455817"/>
                <a:gd name="connsiteX4027" fmla="*/ 2072165 w 4919004"/>
                <a:gd name="connsiteY4027" fmla="*/ 2002972 h 2455817"/>
                <a:gd name="connsiteX4028" fmla="*/ 2065899 w 4919004"/>
                <a:gd name="connsiteY4028" fmla="*/ 2004600 h 2455817"/>
                <a:gd name="connsiteX4029" fmla="*/ 2061754 w 4919004"/>
                <a:gd name="connsiteY4029" fmla="*/ 2007807 h 2455817"/>
                <a:gd name="connsiteX4030" fmla="*/ 2055538 w 4919004"/>
                <a:gd name="connsiteY4030" fmla="*/ 2007807 h 2455817"/>
                <a:gd name="connsiteX4031" fmla="*/ 2049271 w 4919004"/>
                <a:gd name="connsiteY4031" fmla="*/ 2002873 h 2455817"/>
                <a:gd name="connsiteX4032" fmla="*/ 2040982 w 4919004"/>
                <a:gd name="connsiteY4032" fmla="*/ 2001245 h 2455817"/>
                <a:gd name="connsiteX4033" fmla="*/ 2040982 w 4919004"/>
                <a:gd name="connsiteY4033" fmla="*/ 1996311 h 2455817"/>
                <a:gd name="connsiteX4034" fmla="*/ 2043054 w 4919004"/>
                <a:gd name="connsiteY4034" fmla="*/ 1991377 h 2455817"/>
                <a:gd name="connsiteX4035" fmla="*/ 2032644 w 4919004"/>
                <a:gd name="connsiteY4035" fmla="*/ 1988169 h 2455817"/>
                <a:gd name="connsiteX4036" fmla="*/ 2026427 w 4919004"/>
                <a:gd name="connsiteY4036" fmla="*/ 1989748 h 2455817"/>
                <a:gd name="connsiteX4037" fmla="*/ 2026427 w 4919004"/>
                <a:gd name="connsiteY4037" fmla="*/ 1996212 h 2455817"/>
                <a:gd name="connsiteX4038" fmla="*/ 2028499 w 4919004"/>
                <a:gd name="connsiteY4038" fmla="*/ 1997840 h 2455817"/>
                <a:gd name="connsiteX4039" fmla="*/ 2026427 w 4919004"/>
                <a:gd name="connsiteY4039" fmla="*/ 2002774 h 2455817"/>
                <a:gd name="connsiteX4040" fmla="*/ 2020160 w 4919004"/>
                <a:gd name="connsiteY4040" fmla="*/ 2005981 h 2455817"/>
                <a:gd name="connsiteX4041" fmla="*/ 2012217 w 4919004"/>
                <a:gd name="connsiteY4041" fmla="*/ 2005981 h 2455817"/>
                <a:gd name="connsiteX4042" fmla="*/ 1924687 w 4919004"/>
                <a:gd name="connsiteY4042" fmla="*/ 1910853 h 2455817"/>
                <a:gd name="connsiteX4043" fmla="*/ 1860199 w 4919004"/>
                <a:gd name="connsiteY4043" fmla="*/ 1870542 h 2455817"/>
                <a:gd name="connsiteX4044" fmla="*/ 1856054 w 4919004"/>
                <a:gd name="connsiteY4044" fmla="*/ 1865608 h 2455817"/>
                <a:gd name="connsiteX4045" fmla="*/ 1862271 w 4919004"/>
                <a:gd name="connsiteY4045" fmla="*/ 1863980 h 2455817"/>
                <a:gd name="connsiteX4046" fmla="*/ 1868488 w 4919004"/>
                <a:gd name="connsiteY4046" fmla="*/ 1857566 h 2455817"/>
                <a:gd name="connsiteX4047" fmla="*/ 1868488 w 4919004"/>
                <a:gd name="connsiteY4047" fmla="*/ 1852632 h 2455817"/>
                <a:gd name="connsiteX4048" fmla="*/ 1864344 w 4919004"/>
                <a:gd name="connsiteY4048" fmla="*/ 1851003 h 2455817"/>
                <a:gd name="connsiteX4049" fmla="*/ 1856054 w 4919004"/>
                <a:gd name="connsiteY4049" fmla="*/ 1852632 h 2455817"/>
                <a:gd name="connsiteX4050" fmla="*/ 1847716 w 4919004"/>
                <a:gd name="connsiteY4050" fmla="*/ 1854260 h 2455817"/>
                <a:gd name="connsiteX4051" fmla="*/ 1841499 w 4919004"/>
                <a:gd name="connsiteY4051" fmla="*/ 1859194 h 2455817"/>
                <a:gd name="connsiteX4052" fmla="*/ 1835233 w 4919004"/>
                <a:gd name="connsiteY4052" fmla="*/ 1860822 h 2455817"/>
                <a:gd name="connsiteX4053" fmla="*/ 1829016 w 4919004"/>
                <a:gd name="connsiteY4053" fmla="*/ 1868914 h 2455817"/>
                <a:gd name="connsiteX4054" fmla="*/ 1826943 w 4919004"/>
                <a:gd name="connsiteY4054" fmla="*/ 1872121 h 2455817"/>
                <a:gd name="connsiteX4055" fmla="*/ 1822799 w 4919004"/>
                <a:gd name="connsiteY4055" fmla="*/ 1877055 h 2455817"/>
                <a:gd name="connsiteX4056" fmla="*/ 1818605 w 4919004"/>
                <a:gd name="connsiteY4056" fmla="*/ 1881989 h 2455817"/>
                <a:gd name="connsiteX4057" fmla="*/ 1812388 w 4919004"/>
                <a:gd name="connsiteY4057" fmla="*/ 1886923 h 2455817"/>
                <a:gd name="connsiteX4058" fmla="*/ 1801977 w 4919004"/>
                <a:gd name="connsiteY4058" fmla="*/ 1886923 h 2455817"/>
                <a:gd name="connsiteX4059" fmla="*/ 1795711 w 4919004"/>
                <a:gd name="connsiteY4059" fmla="*/ 1890130 h 2455817"/>
                <a:gd name="connsiteX4060" fmla="*/ 1795711 w 4919004"/>
                <a:gd name="connsiteY4060" fmla="*/ 1896051 h 2455817"/>
                <a:gd name="connsiteX4061" fmla="*/ 1791567 w 4919004"/>
                <a:gd name="connsiteY4061" fmla="*/ 1899307 h 2455817"/>
                <a:gd name="connsiteX4062" fmla="*/ 1787422 w 4919004"/>
                <a:gd name="connsiteY4062" fmla="*/ 1896051 h 2455817"/>
                <a:gd name="connsiteX4063" fmla="*/ 1774939 w 4919004"/>
                <a:gd name="connsiteY4063" fmla="*/ 1894423 h 2455817"/>
                <a:gd name="connsiteX4064" fmla="*/ 1766600 w 4919004"/>
                <a:gd name="connsiteY4064" fmla="*/ 1896051 h 2455817"/>
                <a:gd name="connsiteX4065" fmla="*/ 1762505 w 4919004"/>
                <a:gd name="connsiteY4065" fmla="*/ 1899307 h 2455817"/>
                <a:gd name="connsiteX4066" fmla="*/ 1756239 w 4919004"/>
                <a:gd name="connsiteY4066" fmla="*/ 1900886 h 2455817"/>
                <a:gd name="connsiteX4067" fmla="*/ 1752045 w 4919004"/>
                <a:gd name="connsiteY4067" fmla="*/ 1894423 h 2455817"/>
                <a:gd name="connsiteX4068" fmla="*/ 1752045 w 4919004"/>
                <a:gd name="connsiteY4068" fmla="*/ 1886380 h 2455817"/>
                <a:gd name="connsiteX4069" fmla="*/ 1756239 w 4919004"/>
                <a:gd name="connsiteY4069" fmla="*/ 1883173 h 2455817"/>
                <a:gd name="connsiteX4070" fmla="*/ 1758311 w 4919004"/>
                <a:gd name="connsiteY4070" fmla="*/ 1876710 h 2455817"/>
                <a:gd name="connsiteX4071" fmla="*/ 1756239 w 4919004"/>
                <a:gd name="connsiteY4071" fmla="*/ 1875081 h 2455817"/>
                <a:gd name="connsiteX4072" fmla="*/ 1750022 w 4919004"/>
                <a:gd name="connsiteY4072" fmla="*/ 1880015 h 2455817"/>
                <a:gd name="connsiteX4073" fmla="*/ 1745779 w 4919004"/>
                <a:gd name="connsiteY4073" fmla="*/ 1880015 h 2455817"/>
                <a:gd name="connsiteX4074" fmla="*/ 1730977 w 4919004"/>
                <a:gd name="connsiteY4074" fmla="*/ 1873552 h 2455817"/>
                <a:gd name="connsiteX4075" fmla="*/ 1722687 w 4919004"/>
                <a:gd name="connsiteY4075" fmla="*/ 1875180 h 2455817"/>
                <a:gd name="connsiteX4076" fmla="*/ 1724760 w 4919004"/>
                <a:gd name="connsiteY4076" fmla="*/ 1878436 h 2455817"/>
                <a:gd name="connsiteX4077" fmla="*/ 1728904 w 4919004"/>
                <a:gd name="connsiteY4077" fmla="*/ 1880015 h 2455817"/>
                <a:gd name="connsiteX4078" fmla="*/ 1724760 w 4919004"/>
                <a:gd name="connsiteY4078" fmla="*/ 1884949 h 2455817"/>
                <a:gd name="connsiteX4079" fmla="*/ 1721109 w 4919004"/>
                <a:gd name="connsiteY4079" fmla="*/ 1884949 h 2455817"/>
                <a:gd name="connsiteX4080" fmla="*/ 1714842 w 4919004"/>
                <a:gd name="connsiteY4080" fmla="*/ 1878486 h 2455817"/>
                <a:gd name="connsiteX4081" fmla="*/ 1714842 w 4919004"/>
                <a:gd name="connsiteY4081" fmla="*/ 1867187 h 2455817"/>
                <a:gd name="connsiteX4082" fmla="*/ 1702359 w 4919004"/>
                <a:gd name="connsiteY4082" fmla="*/ 1860723 h 2455817"/>
                <a:gd name="connsiteX4083" fmla="*/ 1700287 w 4919004"/>
                <a:gd name="connsiteY4083" fmla="*/ 1860723 h 2455817"/>
                <a:gd name="connsiteX4084" fmla="*/ 1702359 w 4919004"/>
                <a:gd name="connsiteY4084" fmla="*/ 1867187 h 2455817"/>
                <a:gd name="connsiteX4085" fmla="*/ 1702359 w 4919004"/>
                <a:gd name="connsiteY4085" fmla="*/ 1872121 h 2455817"/>
                <a:gd name="connsiteX4086" fmla="*/ 1696142 w 4919004"/>
                <a:gd name="connsiteY4086" fmla="*/ 1872121 h 2455817"/>
                <a:gd name="connsiteX4087" fmla="*/ 1694070 w 4919004"/>
                <a:gd name="connsiteY4087" fmla="*/ 1865657 h 2455817"/>
                <a:gd name="connsiteX4088" fmla="*/ 1689926 w 4919004"/>
                <a:gd name="connsiteY4088" fmla="*/ 1867286 h 2455817"/>
                <a:gd name="connsiteX4089" fmla="*/ 1689926 w 4919004"/>
                <a:gd name="connsiteY4089" fmla="*/ 1873700 h 2455817"/>
                <a:gd name="connsiteX4090" fmla="*/ 1685731 w 4919004"/>
                <a:gd name="connsiteY4090" fmla="*/ 1875328 h 2455817"/>
                <a:gd name="connsiteX4091" fmla="*/ 1679514 w 4919004"/>
                <a:gd name="connsiteY4091" fmla="*/ 1870394 h 2455817"/>
                <a:gd name="connsiteX4092" fmla="*/ 1671176 w 4919004"/>
                <a:gd name="connsiteY4092" fmla="*/ 1875328 h 2455817"/>
                <a:gd name="connsiteX4093" fmla="*/ 1667032 w 4919004"/>
                <a:gd name="connsiteY4093" fmla="*/ 1872121 h 2455817"/>
                <a:gd name="connsiteX4094" fmla="*/ 1662837 w 4919004"/>
                <a:gd name="connsiteY4094" fmla="*/ 1867187 h 2455817"/>
                <a:gd name="connsiteX4095" fmla="*/ 1669104 w 4919004"/>
                <a:gd name="connsiteY4095" fmla="*/ 1865559 h 2455817"/>
                <a:gd name="connsiteX4096" fmla="*/ 1669104 w 4919004"/>
                <a:gd name="connsiteY4096" fmla="*/ 1857566 h 2455817"/>
                <a:gd name="connsiteX4097" fmla="*/ 1671176 w 4919004"/>
                <a:gd name="connsiteY4097" fmla="*/ 1852632 h 2455817"/>
                <a:gd name="connsiteX4098" fmla="*/ 1669104 w 4919004"/>
                <a:gd name="connsiteY4098" fmla="*/ 1847698 h 2455817"/>
                <a:gd name="connsiteX4099" fmla="*/ 1664959 w 4919004"/>
                <a:gd name="connsiteY4099" fmla="*/ 1846069 h 2455817"/>
                <a:gd name="connsiteX4100" fmla="*/ 1658693 w 4919004"/>
                <a:gd name="connsiteY4100" fmla="*/ 1841135 h 2455817"/>
                <a:gd name="connsiteX4101" fmla="*/ 1656621 w 4919004"/>
                <a:gd name="connsiteY4101" fmla="*/ 1834672 h 2455817"/>
                <a:gd name="connsiteX4102" fmla="*/ 1654548 w 4919004"/>
                <a:gd name="connsiteY4102" fmla="*/ 1833043 h 2455817"/>
                <a:gd name="connsiteX4103" fmla="*/ 1650404 w 4919004"/>
                <a:gd name="connsiteY4103" fmla="*/ 1825001 h 2455817"/>
                <a:gd name="connsiteX4104" fmla="*/ 1644138 w 4919004"/>
                <a:gd name="connsiteY4104" fmla="*/ 1825001 h 2455817"/>
                <a:gd name="connsiteX4105" fmla="*/ 1635848 w 4919004"/>
                <a:gd name="connsiteY4105" fmla="*/ 1826629 h 2455817"/>
                <a:gd name="connsiteX4106" fmla="*/ 1627362 w 4919004"/>
                <a:gd name="connsiteY4106" fmla="*/ 1826629 h 2455817"/>
                <a:gd name="connsiteX4107" fmla="*/ 1619024 w 4919004"/>
                <a:gd name="connsiteY4107" fmla="*/ 1821695 h 2455817"/>
                <a:gd name="connsiteX4108" fmla="*/ 1608662 w 4919004"/>
                <a:gd name="connsiteY4108" fmla="*/ 1823323 h 2455817"/>
                <a:gd name="connsiteX4109" fmla="*/ 1600323 w 4919004"/>
                <a:gd name="connsiteY4109" fmla="*/ 1820116 h 2455817"/>
                <a:gd name="connsiteX4110" fmla="*/ 1594107 w 4919004"/>
                <a:gd name="connsiteY4110" fmla="*/ 1821695 h 2455817"/>
                <a:gd name="connsiteX4111" fmla="*/ 1589913 w 4919004"/>
                <a:gd name="connsiteY4111" fmla="*/ 1820116 h 2455817"/>
                <a:gd name="connsiteX4112" fmla="*/ 1583696 w 4919004"/>
                <a:gd name="connsiteY4112" fmla="*/ 1823323 h 2455817"/>
                <a:gd name="connsiteX4113" fmla="*/ 1581623 w 4919004"/>
                <a:gd name="connsiteY4113" fmla="*/ 1829738 h 2455817"/>
                <a:gd name="connsiteX4114" fmla="*/ 1571213 w 4919004"/>
                <a:gd name="connsiteY4114" fmla="*/ 1829738 h 2455817"/>
                <a:gd name="connsiteX4115" fmla="*/ 1567068 w 4919004"/>
                <a:gd name="connsiteY4115" fmla="*/ 1831366 h 2455817"/>
                <a:gd name="connsiteX4116" fmla="*/ 1571213 w 4919004"/>
                <a:gd name="connsiteY4116" fmla="*/ 1836300 h 2455817"/>
                <a:gd name="connsiteX4117" fmla="*/ 1571213 w 4919004"/>
                <a:gd name="connsiteY4117" fmla="*/ 1841234 h 2455817"/>
                <a:gd name="connsiteX4118" fmla="*/ 1562923 w 4919004"/>
                <a:gd name="connsiteY4118" fmla="*/ 1842813 h 2455817"/>
                <a:gd name="connsiteX4119" fmla="*/ 1556657 w 4919004"/>
                <a:gd name="connsiteY4119" fmla="*/ 1842813 h 2455817"/>
                <a:gd name="connsiteX4120" fmla="*/ 1552512 w 4919004"/>
                <a:gd name="connsiteY4120" fmla="*/ 1847747 h 2455817"/>
                <a:gd name="connsiteX4121" fmla="*/ 1544224 w 4919004"/>
                <a:gd name="connsiteY4121" fmla="*/ 1849326 h 2455817"/>
                <a:gd name="connsiteX4122" fmla="*/ 1540030 w 4919004"/>
                <a:gd name="connsiteY4122" fmla="*/ 1850954 h 2455817"/>
                <a:gd name="connsiteX4123" fmla="*/ 1537957 w 4919004"/>
                <a:gd name="connsiteY4123" fmla="*/ 1850954 h 2455817"/>
                <a:gd name="connsiteX4124" fmla="*/ 1521330 w 4919004"/>
                <a:gd name="connsiteY4124" fmla="*/ 1860822 h 2455817"/>
                <a:gd name="connsiteX4125" fmla="*/ 1512991 w 4919004"/>
                <a:gd name="connsiteY4125" fmla="*/ 1862450 h 2455817"/>
                <a:gd name="connsiteX4126" fmla="*/ 1506774 w 4919004"/>
                <a:gd name="connsiteY4126" fmla="*/ 1865657 h 2455817"/>
                <a:gd name="connsiteX4127" fmla="*/ 1502580 w 4919004"/>
                <a:gd name="connsiteY4127" fmla="*/ 1865657 h 2455817"/>
                <a:gd name="connsiteX4128" fmla="*/ 1498436 w 4919004"/>
                <a:gd name="connsiteY4128" fmla="*/ 1862450 h 2455817"/>
                <a:gd name="connsiteX4129" fmla="*/ 1492219 w 4919004"/>
                <a:gd name="connsiteY4129" fmla="*/ 1865657 h 2455817"/>
                <a:gd name="connsiteX4130" fmla="*/ 1492219 w 4919004"/>
                <a:gd name="connsiteY4130" fmla="*/ 1868914 h 2455817"/>
                <a:gd name="connsiteX4131" fmla="*/ 1483880 w 4919004"/>
                <a:gd name="connsiteY4131" fmla="*/ 1868914 h 2455817"/>
                <a:gd name="connsiteX4132" fmla="*/ 1479735 w 4919004"/>
                <a:gd name="connsiteY4132" fmla="*/ 1872121 h 2455817"/>
                <a:gd name="connsiteX4133" fmla="*/ 1479735 w 4919004"/>
                <a:gd name="connsiteY4133" fmla="*/ 1878584 h 2455817"/>
                <a:gd name="connsiteX4134" fmla="*/ 1477663 w 4919004"/>
                <a:gd name="connsiteY4134" fmla="*/ 1880163 h 2455817"/>
                <a:gd name="connsiteX4135" fmla="*/ 1473470 w 4919004"/>
                <a:gd name="connsiteY4135" fmla="*/ 1878584 h 2455817"/>
                <a:gd name="connsiteX4136" fmla="*/ 1467253 w 4919004"/>
                <a:gd name="connsiteY4136" fmla="*/ 1880163 h 2455817"/>
                <a:gd name="connsiteX4137" fmla="*/ 1461036 w 4919004"/>
                <a:gd name="connsiteY4137" fmla="*/ 1883420 h 2455817"/>
                <a:gd name="connsiteX4138" fmla="*/ 1452697 w 4919004"/>
                <a:gd name="connsiteY4138" fmla="*/ 1883420 h 2455817"/>
                <a:gd name="connsiteX4139" fmla="*/ 1444359 w 4919004"/>
                <a:gd name="connsiteY4139" fmla="*/ 1888354 h 2455817"/>
                <a:gd name="connsiteX4140" fmla="*/ 1442336 w 4919004"/>
                <a:gd name="connsiteY4140" fmla="*/ 1891561 h 2455817"/>
                <a:gd name="connsiteX4141" fmla="*/ 1431925 w 4919004"/>
                <a:gd name="connsiteY4141" fmla="*/ 1891561 h 2455817"/>
                <a:gd name="connsiteX4142" fmla="*/ 1423586 w 4919004"/>
                <a:gd name="connsiteY4142" fmla="*/ 1894768 h 2455817"/>
                <a:gd name="connsiteX4143" fmla="*/ 1415198 w 4919004"/>
                <a:gd name="connsiteY4143" fmla="*/ 1896051 h 2455817"/>
                <a:gd name="connsiteX4144" fmla="*/ 1402715 w 4919004"/>
                <a:gd name="connsiteY4144" fmla="*/ 1899307 h 2455817"/>
                <a:gd name="connsiteX4145" fmla="*/ 1400643 w 4919004"/>
                <a:gd name="connsiteY4145" fmla="*/ 1904242 h 2455817"/>
                <a:gd name="connsiteX4146" fmla="*/ 1398571 w 4919004"/>
                <a:gd name="connsiteY4146" fmla="*/ 1907498 h 2455817"/>
                <a:gd name="connsiteX4147" fmla="*/ 1394377 w 4919004"/>
                <a:gd name="connsiteY4147" fmla="*/ 1902564 h 2455817"/>
                <a:gd name="connsiteX4148" fmla="*/ 1388160 w 4919004"/>
                <a:gd name="connsiteY4148" fmla="*/ 1902564 h 2455817"/>
                <a:gd name="connsiteX4149" fmla="*/ 1381943 w 4919004"/>
                <a:gd name="connsiteY4149" fmla="*/ 1905771 h 2455817"/>
                <a:gd name="connsiteX4150" fmla="*/ 1381943 w 4919004"/>
                <a:gd name="connsiteY4150" fmla="*/ 1909028 h 2455817"/>
                <a:gd name="connsiteX4151" fmla="*/ 1377749 w 4919004"/>
                <a:gd name="connsiteY4151" fmla="*/ 1912235 h 2455817"/>
                <a:gd name="connsiteX4152" fmla="*/ 1371532 w 4919004"/>
                <a:gd name="connsiteY4152" fmla="*/ 1907301 h 2455817"/>
                <a:gd name="connsiteX4153" fmla="*/ 1363193 w 4919004"/>
                <a:gd name="connsiteY4153" fmla="*/ 1908929 h 2455817"/>
                <a:gd name="connsiteX4154" fmla="*/ 1361122 w 4919004"/>
                <a:gd name="connsiteY4154" fmla="*/ 1905672 h 2455817"/>
                <a:gd name="connsiteX4155" fmla="*/ 1354855 w 4919004"/>
                <a:gd name="connsiteY4155" fmla="*/ 1905672 h 2455817"/>
                <a:gd name="connsiteX4156" fmla="*/ 1352832 w 4919004"/>
                <a:gd name="connsiteY4156" fmla="*/ 1908929 h 2455817"/>
                <a:gd name="connsiteX4157" fmla="*/ 1344494 w 4919004"/>
                <a:gd name="connsiteY4157" fmla="*/ 1908929 h 2455817"/>
                <a:gd name="connsiteX4158" fmla="*/ 1342421 w 4919004"/>
                <a:gd name="connsiteY4158" fmla="*/ 1912136 h 2455817"/>
                <a:gd name="connsiteX4159" fmla="*/ 1346566 w 4919004"/>
                <a:gd name="connsiteY4159" fmla="*/ 1918600 h 2455817"/>
                <a:gd name="connsiteX4160" fmla="*/ 1342421 w 4919004"/>
                <a:gd name="connsiteY4160" fmla="*/ 1921807 h 2455817"/>
                <a:gd name="connsiteX4161" fmla="*/ 1348638 w 4919004"/>
                <a:gd name="connsiteY4161" fmla="*/ 1923435 h 2455817"/>
                <a:gd name="connsiteX4162" fmla="*/ 1356977 w 4919004"/>
                <a:gd name="connsiteY4162" fmla="*/ 1921807 h 2455817"/>
                <a:gd name="connsiteX4163" fmla="*/ 1361122 w 4919004"/>
                <a:gd name="connsiteY4163" fmla="*/ 1929849 h 2455817"/>
                <a:gd name="connsiteX4164" fmla="*/ 1350711 w 4919004"/>
                <a:gd name="connsiteY4164" fmla="*/ 1929849 h 2455817"/>
                <a:gd name="connsiteX4165" fmla="*/ 1348638 w 4919004"/>
                <a:gd name="connsiteY4165" fmla="*/ 1931477 h 2455817"/>
                <a:gd name="connsiteX4166" fmla="*/ 1348638 w 4919004"/>
                <a:gd name="connsiteY4166" fmla="*/ 1936411 h 2455817"/>
                <a:gd name="connsiteX4167" fmla="*/ 1356977 w 4919004"/>
                <a:gd name="connsiteY4167" fmla="*/ 1936411 h 2455817"/>
                <a:gd name="connsiteX4168" fmla="*/ 1365266 w 4919004"/>
                <a:gd name="connsiteY4168" fmla="*/ 1939668 h 2455817"/>
                <a:gd name="connsiteX4169" fmla="*/ 1369460 w 4919004"/>
                <a:gd name="connsiteY4169" fmla="*/ 1936411 h 2455817"/>
                <a:gd name="connsiteX4170" fmla="*/ 1375726 w 4919004"/>
                <a:gd name="connsiteY4170" fmla="*/ 1936411 h 2455817"/>
                <a:gd name="connsiteX4171" fmla="*/ 1381992 w 4919004"/>
                <a:gd name="connsiteY4171" fmla="*/ 1941345 h 2455817"/>
                <a:gd name="connsiteX4172" fmla="*/ 1388209 w 4919004"/>
                <a:gd name="connsiteY4172" fmla="*/ 1942974 h 2455817"/>
                <a:gd name="connsiteX4173" fmla="*/ 1388209 w 4919004"/>
                <a:gd name="connsiteY4173" fmla="*/ 1949437 h 2455817"/>
                <a:gd name="connsiteX4174" fmla="*/ 1384064 w 4919004"/>
                <a:gd name="connsiteY4174" fmla="*/ 1951016 h 2455817"/>
                <a:gd name="connsiteX4175" fmla="*/ 1377799 w 4919004"/>
                <a:gd name="connsiteY4175" fmla="*/ 1949437 h 2455817"/>
                <a:gd name="connsiteX4176" fmla="*/ 1362997 w 4919004"/>
                <a:gd name="connsiteY4176" fmla="*/ 1951016 h 2455817"/>
                <a:gd name="connsiteX4177" fmla="*/ 1354658 w 4919004"/>
                <a:gd name="connsiteY4177" fmla="*/ 1957480 h 2455817"/>
                <a:gd name="connsiteX4178" fmla="*/ 1346369 w 4919004"/>
                <a:gd name="connsiteY4178" fmla="*/ 1967348 h 2455817"/>
                <a:gd name="connsiteX4179" fmla="*/ 1346369 w 4919004"/>
                <a:gd name="connsiteY4179" fmla="*/ 1973811 h 2455817"/>
                <a:gd name="connsiteX4180" fmla="*/ 1352635 w 4919004"/>
                <a:gd name="connsiteY4180" fmla="*/ 1975390 h 2455817"/>
                <a:gd name="connsiteX4181" fmla="*/ 1354658 w 4919004"/>
                <a:gd name="connsiteY4181" fmla="*/ 1981854 h 2455817"/>
                <a:gd name="connsiteX4182" fmla="*/ 1348441 w 4919004"/>
                <a:gd name="connsiteY4182" fmla="*/ 1986788 h 2455817"/>
                <a:gd name="connsiteX4183" fmla="*/ 1346369 w 4919004"/>
                <a:gd name="connsiteY4183" fmla="*/ 1993202 h 2455817"/>
                <a:gd name="connsiteX4184" fmla="*/ 1340103 w 4919004"/>
                <a:gd name="connsiteY4184" fmla="*/ 1994880 h 2455817"/>
                <a:gd name="connsiteX4185" fmla="*/ 1340103 w 4919004"/>
                <a:gd name="connsiteY4185" fmla="*/ 1998087 h 2455817"/>
                <a:gd name="connsiteX4186" fmla="*/ 1342224 w 4919004"/>
                <a:gd name="connsiteY4186" fmla="*/ 2001294 h 2455817"/>
                <a:gd name="connsiteX4187" fmla="*/ 1342224 w 4919004"/>
                <a:gd name="connsiteY4187" fmla="*/ 2006228 h 2455817"/>
                <a:gd name="connsiteX4188" fmla="*/ 1350513 w 4919004"/>
                <a:gd name="connsiteY4188" fmla="*/ 2006228 h 2455817"/>
                <a:gd name="connsiteX4189" fmla="*/ 1356780 w 4919004"/>
                <a:gd name="connsiteY4189" fmla="*/ 2009435 h 2455817"/>
                <a:gd name="connsiteX4190" fmla="*/ 1362997 w 4919004"/>
                <a:gd name="connsiteY4190" fmla="*/ 2011063 h 2455817"/>
                <a:gd name="connsiteX4191" fmla="*/ 1365068 w 4919004"/>
                <a:gd name="connsiteY4191" fmla="*/ 2014320 h 2455817"/>
                <a:gd name="connsiteX4192" fmla="*/ 1371335 w 4919004"/>
                <a:gd name="connsiteY4192" fmla="*/ 2019254 h 2455817"/>
                <a:gd name="connsiteX4193" fmla="*/ 1381745 w 4919004"/>
                <a:gd name="connsiteY4193" fmla="*/ 2019254 h 2455817"/>
                <a:gd name="connsiteX4194" fmla="*/ 1385890 w 4919004"/>
                <a:gd name="connsiteY4194" fmla="*/ 2022461 h 2455817"/>
                <a:gd name="connsiteX4195" fmla="*/ 1387962 w 4919004"/>
                <a:gd name="connsiteY4195" fmla="*/ 2046638 h 2455817"/>
                <a:gd name="connsiteX4196" fmla="*/ 1383818 w 4919004"/>
                <a:gd name="connsiteY4196" fmla="*/ 2051572 h 2455817"/>
                <a:gd name="connsiteX4197" fmla="*/ 1371335 w 4919004"/>
                <a:gd name="connsiteY4197" fmla="*/ 2054779 h 2455817"/>
                <a:gd name="connsiteX4198" fmla="*/ 1362997 w 4919004"/>
                <a:gd name="connsiteY4198" fmla="*/ 2054779 h 2455817"/>
                <a:gd name="connsiteX4199" fmla="*/ 1350513 w 4919004"/>
                <a:gd name="connsiteY4199" fmla="*/ 2048365 h 2455817"/>
                <a:gd name="connsiteX4200" fmla="*/ 1346369 w 4919004"/>
                <a:gd name="connsiteY4200" fmla="*/ 2051572 h 2455817"/>
                <a:gd name="connsiteX4201" fmla="*/ 1346369 w 4919004"/>
                <a:gd name="connsiteY4201" fmla="*/ 2056506 h 2455817"/>
                <a:gd name="connsiteX4202" fmla="*/ 1342224 w 4919004"/>
                <a:gd name="connsiteY4202" fmla="*/ 2062969 h 2455817"/>
                <a:gd name="connsiteX4203" fmla="*/ 1336254 w 4919004"/>
                <a:gd name="connsiteY4203" fmla="*/ 2063808 h 2455817"/>
                <a:gd name="connsiteX4204" fmla="*/ 1321452 w 4919004"/>
                <a:gd name="connsiteY4204" fmla="*/ 2058874 h 2455817"/>
                <a:gd name="connsiteX4205" fmla="*/ 1311041 w 4919004"/>
                <a:gd name="connsiteY4205" fmla="*/ 2058874 h 2455817"/>
                <a:gd name="connsiteX4206" fmla="*/ 1306897 w 4919004"/>
                <a:gd name="connsiteY4206" fmla="*/ 2055618 h 2455817"/>
                <a:gd name="connsiteX4207" fmla="*/ 1302752 w 4919004"/>
                <a:gd name="connsiteY4207" fmla="*/ 2057246 h 2455817"/>
                <a:gd name="connsiteX4208" fmla="*/ 1296485 w 4919004"/>
                <a:gd name="connsiteY4208" fmla="*/ 2055618 h 2455817"/>
                <a:gd name="connsiteX4209" fmla="*/ 1290269 w 4919004"/>
                <a:gd name="connsiteY4209" fmla="*/ 2049203 h 2455817"/>
                <a:gd name="connsiteX4210" fmla="*/ 1294463 w 4919004"/>
                <a:gd name="connsiteY4210" fmla="*/ 2045947 h 2455817"/>
                <a:gd name="connsiteX4211" fmla="*/ 1298607 w 4919004"/>
                <a:gd name="connsiteY4211" fmla="*/ 2042740 h 2455817"/>
                <a:gd name="connsiteX4212" fmla="*/ 1292341 w 4919004"/>
                <a:gd name="connsiteY4212" fmla="*/ 2039483 h 2455817"/>
                <a:gd name="connsiteX4213" fmla="*/ 1284052 w 4919004"/>
                <a:gd name="connsiteY4213" fmla="*/ 2036276 h 2455817"/>
                <a:gd name="connsiteX4214" fmla="*/ 1279907 w 4919004"/>
                <a:gd name="connsiteY4214" fmla="*/ 2039483 h 2455817"/>
                <a:gd name="connsiteX4215" fmla="*/ 1271569 w 4919004"/>
                <a:gd name="connsiteY4215" fmla="*/ 2039483 h 2455817"/>
                <a:gd name="connsiteX4216" fmla="*/ 1267375 w 4919004"/>
                <a:gd name="connsiteY4216" fmla="*/ 2041112 h 2455817"/>
                <a:gd name="connsiteX4217" fmla="*/ 1267375 w 4919004"/>
                <a:gd name="connsiteY4217" fmla="*/ 2049203 h 2455817"/>
                <a:gd name="connsiteX4218" fmla="*/ 1257309 w 4919004"/>
                <a:gd name="connsiteY4218" fmla="*/ 2049203 h 2455817"/>
                <a:gd name="connsiteX4219" fmla="*/ 1255237 w 4919004"/>
                <a:gd name="connsiteY4219" fmla="*/ 2045947 h 2455817"/>
                <a:gd name="connsiteX4220" fmla="*/ 1244826 w 4919004"/>
                <a:gd name="connsiteY4220" fmla="*/ 2037905 h 2455817"/>
                <a:gd name="connsiteX4221" fmla="*/ 1236537 w 4919004"/>
                <a:gd name="connsiteY4221" fmla="*/ 2039483 h 2455817"/>
                <a:gd name="connsiteX4222" fmla="*/ 1234415 w 4919004"/>
                <a:gd name="connsiteY4222" fmla="*/ 2044417 h 2455817"/>
                <a:gd name="connsiteX4223" fmla="*/ 1230271 w 4919004"/>
                <a:gd name="connsiteY4223" fmla="*/ 2039483 h 2455817"/>
                <a:gd name="connsiteX4224" fmla="*/ 1224005 w 4919004"/>
                <a:gd name="connsiteY4224" fmla="*/ 2041112 h 2455817"/>
                <a:gd name="connsiteX4225" fmla="*/ 1224005 w 4919004"/>
                <a:gd name="connsiteY4225" fmla="*/ 2047575 h 2455817"/>
                <a:gd name="connsiteX4226" fmla="*/ 1215715 w 4919004"/>
                <a:gd name="connsiteY4226" fmla="*/ 2047575 h 2455817"/>
                <a:gd name="connsiteX4227" fmla="*/ 1215715 w 4919004"/>
                <a:gd name="connsiteY4227" fmla="*/ 2058874 h 2455817"/>
                <a:gd name="connsiteX4228" fmla="*/ 1207426 w 4919004"/>
                <a:gd name="connsiteY4228" fmla="*/ 2065338 h 2455817"/>
                <a:gd name="connsiteX4229" fmla="*/ 1201160 w 4919004"/>
                <a:gd name="connsiteY4229" fmla="*/ 2063660 h 2455817"/>
                <a:gd name="connsiteX4230" fmla="*/ 1197015 w 4919004"/>
                <a:gd name="connsiteY4230" fmla="*/ 2057246 h 2455817"/>
                <a:gd name="connsiteX4231" fmla="*/ 1182213 w 4919004"/>
                <a:gd name="connsiteY4231" fmla="*/ 2055618 h 2455817"/>
                <a:gd name="connsiteX4232" fmla="*/ 1178068 w 4919004"/>
                <a:gd name="connsiteY4232" fmla="*/ 2049203 h 2455817"/>
                <a:gd name="connsiteX4233" fmla="*/ 1169730 w 4919004"/>
                <a:gd name="connsiteY4233" fmla="*/ 2052411 h 2455817"/>
                <a:gd name="connsiteX4234" fmla="*/ 1171803 w 4919004"/>
                <a:gd name="connsiteY4234" fmla="*/ 2060453 h 2455817"/>
                <a:gd name="connsiteX4235" fmla="*/ 1167658 w 4919004"/>
                <a:gd name="connsiteY4235" fmla="*/ 2066917 h 2455817"/>
                <a:gd name="connsiteX4236" fmla="*/ 1163513 w 4919004"/>
                <a:gd name="connsiteY4236" fmla="*/ 2065338 h 2455817"/>
                <a:gd name="connsiteX4237" fmla="*/ 1161392 w 4919004"/>
                <a:gd name="connsiteY4237" fmla="*/ 2058874 h 2455817"/>
                <a:gd name="connsiteX4238" fmla="*/ 1159319 w 4919004"/>
                <a:gd name="connsiteY4238" fmla="*/ 2053940 h 2455817"/>
                <a:gd name="connsiteX4239" fmla="*/ 1153102 w 4919004"/>
                <a:gd name="connsiteY4239" fmla="*/ 2053940 h 2455817"/>
                <a:gd name="connsiteX4240" fmla="*/ 1142692 w 4919004"/>
                <a:gd name="connsiteY4240" fmla="*/ 2047526 h 2455817"/>
                <a:gd name="connsiteX4241" fmla="*/ 1138547 w 4919004"/>
                <a:gd name="connsiteY4241" fmla="*/ 2041062 h 2455817"/>
                <a:gd name="connsiteX4242" fmla="*/ 1130208 w 4919004"/>
                <a:gd name="connsiteY4242" fmla="*/ 2041062 h 2455817"/>
                <a:gd name="connsiteX4243" fmla="*/ 1121920 w 4919004"/>
                <a:gd name="connsiteY4243" fmla="*/ 2033020 h 2455817"/>
                <a:gd name="connsiteX4244" fmla="*/ 1117775 w 4919004"/>
                <a:gd name="connsiteY4244" fmla="*/ 2033020 h 2455817"/>
                <a:gd name="connsiteX4245" fmla="*/ 1115653 w 4919004"/>
                <a:gd name="connsiteY4245" fmla="*/ 2028086 h 2455817"/>
                <a:gd name="connsiteX4246" fmla="*/ 1109436 w 4919004"/>
                <a:gd name="connsiteY4246" fmla="*/ 2028086 h 2455817"/>
                <a:gd name="connsiteX4247" fmla="*/ 1096953 w 4919004"/>
                <a:gd name="connsiteY4247" fmla="*/ 2031293 h 2455817"/>
                <a:gd name="connsiteX4248" fmla="*/ 1088664 w 4919004"/>
                <a:gd name="connsiteY4248" fmla="*/ 2026359 h 2455817"/>
                <a:gd name="connsiteX4249" fmla="*/ 1084470 w 4919004"/>
                <a:gd name="connsiteY4249" fmla="*/ 2018316 h 2455817"/>
                <a:gd name="connsiteX4250" fmla="*/ 1078253 w 4919004"/>
                <a:gd name="connsiteY4250" fmla="*/ 2018316 h 2455817"/>
                <a:gd name="connsiteX4251" fmla="*/ 1069915 w 4919004"/>
                <a:gd name="connsiteY4251" fmla="*/ 2023250 h 2455817"/>
                <a:gd name="connsiteX4252" fmla="*/ 1063698 w 4919004"/>
                <a:gd name="connsiteY4252" fmla="*/ 2023250 h 2455817"/>
                <a:gd name="connsiteX4253" fmla="*/ 1061625 w 4919004"/>
                <a:gd name="connsiteY4253" fmla="*/ 2028184 h 2455817"/>
                <a:gd name="connsiteX4254" fmla="*/ 1057431 w 4919004"/>
                <a:gd name="connsiteY4254" fmla="*/ 2031392 h 2455817"/>
                <a:gd name="connsiteX4255" fmla="*/ 1057431 w 4919004"/>
                <a:gd name="connsiteY4255" fmla="*/ 2026458 h 2455817"/>
                <a:gd name="connsiteX4256" fmla="*/ 1051214 w 4919004"/>
                <a:gd name="connsiteY4256" fmla="*/ 2029665 h 2455817"/>
                <a:gd name="connsiteX4257" fmla="*/ 1051214 w 4919004"/>
                <a:gd name="connsiteY4257" fmla="*/ 2032921 h 2455817"/>
                <a:gd name="connsiteX4258" fmla="*/ 1042876 w 4919004"/>
                <a:gd name="connsiteY4258" fmla="*/ 2037855 h 2455817"/>
                <a:gd name="connsiteX4259" fmla="*/ 1040804 w 4919004"/>
                <a:gd name="connsiteY4259" fmla="*/ 2034648 h 2455817"/>
                <a:gd name="connsiteX4260" fmla="*/ 1044998 w 4919004"/>
                <a:gd name="connsiteY4260" fmla="*/ 2028184 h 2455817"/>
                <a:gd name="connsiteX4261" fmla="*/ 1044998 w 4919004"/>
                <a:gd name="connsiteY4261" fmla="*/ 2024928 h 2455817"/>
                <a:gd name="connsiteX4262" fmla="*/ 1036659 w 4919004"/>
                <a:gd name="connsiteY4262" fmla="*/ 2021721 h 2455817"/>
                <a:gd name="connsiteX4263" fmla="*/ 1026249 w 4919004"/>
                <a:gd name="connsiteY4263" fmla="*/ 2016787 h 2455817"/>
                <a:gd name="connsiteX4264" fmla="*/ 1024176 w 4919004"/>
                <a:gd name="connsiteY4264" fmla="*/ 2019994 h 2455817"/>
                <a:gd name="connsiteX4265" fmla="*/ 1026249 w 4919004"/>
                <a:gd name="connsiteY4265" fmla="*/ 2026458 h 2455817"/>
                <a:gd name="connsiteX4266" fmla="*/ 1026249 w 4919004"/>
                <a:gd name="connsiteY4266" fmla="*/ 2031392 h 2455817"/>
                <a:gd name="connsiteX4267" fmla="*/ 1017910 w 4919004"/>
                <a:gd name="connsiteY4267" fmla="*/ 2029763 h 2455817"/>
                <a:gd name="connsiteX4268" fmla="*/ 1011693 w 4919004"/>
                <a:gd name="connsiteY4268" fmla="*/ 2033020 h 2455817"/>
                <a:gd name="connsiteX4269" fmla="*/ 1009621 w 4919004"/>
                <a:gd name="connsiteY4269" fmla="*/ 2041062 h 2455817"/>
                <a:gd name="connsiteX4270" fmla="*/ 1003355 w 4919004"/>
                <a:gd name="connsiteY4270" fmla="*/ 2041062 h 2455817"/>
                <a:gd name="connsiteX4271" fmla="*/ 992993 w 4919004"/>
                <a:gd name="connsiteY4271" fmla="*/ 2047526 h 2455817"/>
                <a:gd name="connsiteX4272" fmla="*/ 990921 w 4919004"/>
                <a:gd name="connsiteY4272" fmla="*/ 2053940 h 2455817"/>
                <a:gd name="connsiteX4273" fmla="*/ 997138 w 4919004"/>
                <a:gd name="connsiteY4273" fmla="*/ 2060404 h 2455817"/>
                <a:gd name="connsiteX4274" fmla="*/ 997138 w 4919004"/>
                <a:gd name="connsiteY4274" fmla="*/ 2066867 h 2455817"/>
                <a:gd name="connsiteX4275" fmla="*/ 984654 w 4919004"/>
                <a:gd name="connsiteY4275" fmla="*/ 2066867 h 2455817"/>
                <a:gd name="connsiteX4276" fmla="*/ 974244 w 4919004"/>
                <a:gd name="connsiteY4276" fmla="*/ 2068496 h 2455817"/>
                <a:gd name="connsiteX4277" fmla="*/ 982582 w 4919004"/>
                <a:gd name="connsiteY4277" fmla="*/ 2092672 h 2455817"/>
                <a:gd name="connsiteX4278" fmla="*/ 978437 w 4919004"/>
                <a:gd name="connsiteY4278" fmla="*/ 2095879 h 2455817"/>
                <a:gd name="connsiteX4279" fmla="*/ 978437 w 4919004"/>
                <a:gd name="connsiteY4279" fmla="*/ 2105748 h 2455817"/>
                <a:gd name="connsiteX4280" fmla="*/ 968027 w 4919004"/>
                <a:gd name="connsiteY4280" fmla="*/ 2107376 h 2455817"/>
                <a:gd name="connsiteX4281" fmla="*/ 957665 w 4919004"/>
                <a:gd name="connsiteY4281" fmla="*/ 2100912 h 2455817"/>
                <a:gd name="connsiteX4282" fmla="*/ 953472 w 4919004"/>
                <a:gd name="connsiteY4282" fmla="*/ 2095978 h 2455817"/>
                <a:gd name="connsiteX4283" fmla="*/ 934771 w 4919004"/>
                <a:gd name="connsiteY4283" fmla="*/ 2079844 h 2455817"/>
                <a:gd name="connsiteX4284" fmla="*/ 930578 w 4919004"/>
                <a:gd name="connsiteY4284" fmla="*/ 2086307 h 2455817"/>
                <a:gd name="connsiteX4285" fmla="*/ 930578 w 4919004"/>
                <a:gd name="connsiteY4285" fmla="*/ 2094350 h 2455817"/>
                <a:gd name="connsiteX4286" fmla="*/ 920216 w 4919004"/>
                <a:gd name="connsiteY4286" fmla="*/ 2104218 h 2455817"/>
                <a:gd name="connsiteX4287" fmla="*/ 913999 w 4919004"/>
                <a:gd name="connsiteY4287" fmla="*/ 2107474 h 2455817"/>
                <a:gd name="connsiteX4288" fmla="*/ 916022 w 4919004"/>
                <a:gd name="connsiteY4288" fmla="*/ 2121981 h 2455817"/>
                <a:gd name="connsiteX4289" fmla="*/ 920216 w 4919004"/>
                <a:gd name="connsiteY4289" fmla="*/ 2126915 h 2455817"/>
                <a:gd name="connsiteX4290" fmla="*/ 918144 w 4919004"/>
                <a:gd name="connsiteY4290" fmla="*/ 2146256 h 2455817"/>
                <a:gd name="connsiteX4291" fmla="*/ 911927 w 4919004"/>
                <a:gd name="connsiteY4291" fmla="*/ 2157555 h 2455817"/>
                <a:gd name="connsiteX4292" fmla="*/ 926729 w 4919004"/>
                <a:gd name="connsiteY4292" fmla="*/ 2162489 h 2455817"/>
                <a:gd name="connsiteX4293" fmla="*/ 932995 w 4919004"/>
                <a:gd name="connsiteY4293" fmla="*/ 2170531 h 2455817"/>
                <a:gd name="connsiteX4294" fmla="*/ 930873 w 4919004"/>
                <a:gd name="connsiteY4294" fmla="*/ 2175465 h 2455817"/>
                <a:gd name="connsiteX4295" fmla="*/ 943406 w 4919004"/>
                <a:gd name="connsiteY4295" fmla="*/ 2183508 h 2455817"/>
                <a:gd name="connsiteX4296" fmla="*/ 945429 w 4919004"/>
                <a:gd name="connsiteY4296" fmla="*/ 2180301 h 2455817"/>
                <a:gd name="connsiteX4297" fmla="*/ 968323 w 4919004"/>
                <a:gd name="connsiteY4297" fmla="*/ 2185235 h 2455817"/>
                <a:gd name="connsiteX4298" fmla="*/ 984951 w 4919004"/>
                <a:gd name="connsiteY4298" fmla="*/ 2198113 h 2455817"/>
                <a:gd name="connsiteX4299" fmla="*/ 999753 w 4919004"/>
                <a:gd name="connsiteY4299" fmla="*/ 2219082 h 2455817"/>
                <a:gd name="connsiteX4300" fmla="*/ 987319 w 4919004"/>
                <a:gd name="connsiteY4300" fmla="*/ 2219082 h 2455817"/>
                <a:gd name="connsiteX4301" fmla="*/ 985197 w 4919004"/>
                <a:gd name="connsiteY4301" fmla="*/ 2224016 h 2455817"/>
                <a:gd name="connsiteX4302" fmla="*/ 999999 w 4919004"/>
                <a:gd name="connsiteY4302" fmla="*/ 2232059 h 2455817"/>
                <a:gd name="connsiteX4303" fmla="*/ 1008338 w 4919004"/>
                <a:gd name="connsiteY4303" fmla="*/ 2228852 h 2455817"/>
                <a:gd name="connsiteX4304" fmla="*/ 1016676 w 4919004"/>
                <a:gd name="connsiteY4304" fmla="*/ 2233786 h 2455817"/>
                <a:gd name="connsiteX4305" fmla="*/ 1016676 w 4919004"/>
                <a:gd name="connsiteY4305" fmla="*/ 2235365 h 2455817"/>
                <a:gd name="connsiteX4306" fmla="*/ 1016676 w 4919004"/>
                <a:gd name="connsiteY4306" fmla="*/ 2240299 h 2455817"/>
                <a:gd name="connsiteX4307" fmla="*/ 1010410 w 4919004"/>
                <a:gd name="connsiteY4307" fmla="*/ 2241878 h 2455817"/>
                <a:gd name="connsiteX4308" fmla="*/ 1014555 w 4919004"/>
                <a:gd name="connsiteY4308" fmla="*/ 2243506 h 2455817"/>
                <a:gd name="connsiteX4309" fmla="*/ 1014555 w 4919004"/>
                <a:gd name="connsiteY4309" fmla="*/ 2246368 h 2455817"/>
                <a:gd name="connsiteX4310" fmla="*/ 1010410 w 4919004"/>
                <a:gd name="connsiteY4310" fmla="*/ 2246368 h 2455817"/>
                <a:gd name="connsiteX4311" fmla="*/ 1014555 w 4919004"/>
                <a:gd name="connsiteY4311" fmla="*/ 2249624 h 2455817"/>
                <a:gd name="connsiteX4312" fmla="*/ 1014555 w 4919004"/>
                <a:gd name="connsiteY4312" fmla="*/ 2252831 h 2455817"/>
                <a:gd name="connsiteX4313" fmla="*/ 1008338 w 4919004"/>
                <a:gd name="connsiteY4313" fmla="*/ 2251203 h 2455817"/>
                <a:gd name="connsiteX4314" fmla="*/ 1006266 w 4919004"/>
                <a:gd name="connsiteY4314" fmla="*/ 2252831 h 2455817"/>
                <a:gd name="connsiteX4315" fmla="*/ 997927 w 4919004"/>
                <a:gd name="connsiteY4315" fmla="*/ 2251203 h 2455817"/>
                <a:gd name="connsiteX4316" fmla="*/ 993782 w 4919004"/>
                <a:gd name="connsiteY4316" fmla="*/ 2251203 h 2455817"/>
                <a:gd name="connsiteX4317" fmla="*/ 1004144 w 4919004"/>
                <a:gd name="connsiteY4317" fmla="*/ 2256137 h 2455817"/>
                <a:gd name="connsiteX4318" fmla="*/ 1006266 w 4919004"/>
                <a:gd name="connsiteY4318" fmla="*/ 2259344 h 2455817"/>
                <a:gd name="connsiteX4319" fmla="*/ 1004144 w 4919004"/>
                <a:gd name="connsiteY4319" fmla="*/ 2262551 h 2455817"/>
                <a:gd name="connsiteX4320" fmla="*/ 999999 w 4919004"/>
                <a:gd name="connsiteY4320" fmla="*/ 2259344 h 2455817"/>
                <a:gd name="connsiteX4321" fmla="*/ 993782 w 4919004"/>
                <a:gd name="connsiteY4321" fmla="*/ 2260923 h 2455817"/>
                <a:gd name="connsiteX4322" fmla="*/ 991710 w 4919004"/>
                <a:gd name="connsiteY4322" fmla="*/ 2259344 h 2455817"/>
                <a:gd name="connsiteX4323" fmla="*/ 987565 w 4919004"/>
                <a:gd name="connsiteY4323" fmla="*/ 2259344 h 2455817"/>
                <a:gd name="connsiteX4324" fmla="*/ 993782 w 4919004"/>
                <a:gd name="connsiteY4324" fmla="*/ 2260923 h 2455817"/>
                <a:gd name="connsiteX4325" fmla="*/ 993782 w 4919004"/>
                <a:gd name="connsiteY4325" fmla="*/ 2264179 h 2455817"/>
                <a:gd name="connsiteX4326" fmla="*/ 989588 w 4919004"/>
                <a:gd name="connsiteY4326" fmla="*/ 2267387 h 2455817"/>
                <a:gd name="connsiteX4327" fmla="*/ 983372 w 4919004"/>
                <a:gd name="connsiteY4327" fmla="*/ 2267387 h 2455817"/>
                <a:gd name="connsiteX4328" fmla="*/ 981300 w 4919004"/>
                <a:gd name="connsiteY4328" fmla="*/ 2269015 h 2455817"/>
                <a:gd name="connsiteX4329" fmla="*/ 977155 w 4919004"/>
                <a:gd name="connsiteY4329" fmla="*/ 2265758 h 2455817"/>
                <a:gd name="connsiteX4330" fmla="*/ 977155 w 4919004"/>
                <a:gd name="connsiteY4330" fmla="*/ 2270692 h 2455817"/>
                <a:gd name="connsiteX4331" fmla="*/ 973010 w 4919004"/>
                <a:gd name="connsiteY4331" fmla="*/ 2272271 h 2455817"/>
                <a:gd name="connsiteX4332" fmla="*/ 968816 w 4919004"/>
                <a:gd name="connsiteY4332" fmla="*/ 2269064 h 2455817"/>
                <a:gd name="connsiteX4333" fmla="*/ 966744 w 4919004"/>
                <a:gd name="connsiteY4333" fmla="*/ 2267436 h 2455817"/>
                <a:gd name="connsiteX4334" fmla="*/ 966744 w 4919004"/>
                <a:gd name="connsiteY4334" fmla="*/ 2272370 h 2455817"/>
                <a:gd name="connsiteX4335" fmla="*/ 962599 w 4919004"/>
                <a:gd name="connsiteY4335" fmla="*/ 2277304 h 2455817"/>
                <a:gd name="connsiteX4336" fmla="*/ 960478 w 4919004"/>
                <a:gd name="connsiteY4336" fmla="*/ 2283768 h 2455817"/>
                <a:gd name="connsiteX4337" fmla="*/ 956333 w 4919004"/>
                <a:gd name="connsiteY4337" fmla="*/ 2285347 h 2455817"/>
                <a:gd name="connsiteX4338" fmla="*/ 954261 w 4919004"/>
                <a:gd name="connsiteY4338" fmla="*/ 2291810 h 2455817"/>
                <a:gd name="connsiteX4339" fmla="*/ 952189 w 4919004"/>
                <a:gd name="connsiteY4339" fmla="*/ 2296744 h 2455817"/>
                <a:gd name="connsiteX4340" fmla="*/ 952189 w 4919004"/>
                <a:gd name="connsiteY4340" fmla="*/ 2309622 h 2455817"/>
                <a:gd name="connsiteX4341" fmla="*/ 948044 w 4919004"/>
                <a:gd name="connsiteY4341" fmla="*/ 2311299 h 2455817"/>
                <a:gd name="connsiteX4342" fmla="*/ 945922 w 4919004"/>
                <a:gd name="connsiteY4342" fmla="*/ 2317714 h 2455817"/>
                <a:gd name="connsiteX4343" fmla="*/ 950116 w 4919004"/>
                <a:gd name="connsiteY4343" fmla="*/ 2327582 h 2455817"/>
                <a:gd name="connsiteX4344" fmla="*/ 954261 w 4919004"/>
                <a:gd name="connsiteY4344" fmla="*/ 2329210 h 2455817"/>
                <a:gd name="connsiteX4345" fmla="*/ 960478 w 4919004"/>
                <a:gd name="connsiteY4345" fmla="*/ 2327582 h 2455817"/>
                <a:gd name="connsiteX4346" fmla="*/ 964671 w 4919004"/>
                <a:gd name="connsiteY4346" fmla="*/ 2332516 h 2455817"/>
                <a:gd name="connsiteX4347" fmla="*/ 970888 w 4919004"/>
                <a:gd name="connsiteY4347" fmla="*/ 2334144 h 2455817"/>
                <a:gd name="connsiteX4348" fmla="*/ 970888 w 4919004"/>
                <a:gd name="connsiteY4348" fmla="*/ 2344012 h 2455817"/>
                <a:gd name="connsiteX4349" fmla="*/ 979227 w 4919004"/>
                <a:gd name="connsiteY4349" fmla="*/ 2348946 h 2455817"/>
                <a:gd name="connsiteX4350" fmla="*/ 983372 w 4919004"/>
                <a:gd name="connsiteY4350" fmla="*/ 2345739 h 2455817"/>
                <a:gd name="connsiteX4351" fmla="*/ 987565 w 4919004"/>
                <a:gd name="connsiteY4351" fmla="*/ 2345739 h 2455817"/>
                <a:gd name="connsiteX4352" fmla="*/ 983372 w 4919004"/>
                <a:gd name="connsiteY4352" fmla="*/ 2350673 h 2455817"/>
                <a:gd name="connsiteX4353" fmla="*/ 983372 w 4919004"/>
                <a:gd name="connsiteY4353" fmla="*/ 2357087 h 2455817"/>
                <a:gd name="connsiteX4354" fmla="*/ 979227 w 4919004"/>
                <a:gd name="connsiteY4354" fmla="*/ 2355508 h 2455817"/>
                <a:gd name="connsiteX4355" fmla="*/ 977155 w 4919004"/>
                <a:gd name="connsiteY4355" fmla="*/ 2360442 h 2455817"/>
                <a:gd name="connsiteX4356" fmla="*/ 983372 w 4919004"/>
                <a:gd name="connsiteY4356" fmla="*/ 2360442 h 2455817"/>
                <a:gd name="connsiteX4357" fmla="*/ 983372 w 4919004"/>
                <a:gd name="connsiteY4357" fmla="*/ 2365376 h 2455817"/>
                <a:gd name="connsiteX4358" fmla="*/ 985444 w 4919004"/>
                <a:gd name="connsiteY4358" fmla="*/ 2368633 h 2455817"/>
                <a:gd name="connsiteX4359" fmla="*/ 987565 w 4919004"/>
                <a:gd name="connsiteY4359" fmla="*/ 2378501 h 2455817"/>
                <a:gd name="connsiteX4360" fmla="*/ 991710 w 4919004"/>
                <a:gd name="connsiteY4360" fmla="*/ 2383435 h 2455817"/>
                <a:gd name="connsiteX4361" fmla="*/ 993782 w 4919004"/>
                <a:gd name="connsiteY4361" fmla="*/ 2393303 h 2455817"/>
                <a:gd name="connsiteX4362" fmla="*/ 1008584 w 4919004"/>
                <a:gd name="connsiteY4362" fmla="*/ 2406181 h 2455817"/>
                <a:gd name="connsiteX4363" fmla="*/ 1027285 w 4919004"/>
                <a:gd name="connsiteY4363" fmla="*/ 2420736 h 2455817"/>
                <a:gd name="connsiteX4364" fmla="*/ 1031478 w 4919004"/>
                <a:gd name="connsiteY4364" fmla="*/ 2422364 h 2455817"/>
                <a:gd name="connsiteX4365" fmla="*/ 1018946 w 4919004"/>
                <a:gd name="connsiteY4365" fmla="*/ 2435243 h 2455817"/>
                <a:gd name="connsiteX4366" fmla="*/ 1008584 w 4919004"/>
                <a:gd name="connsiteY4366" fmla="*/ 2440177 h 2455817"/>
                <a:gd name="connsiteX4367" fmla="*/ 1004391 w 4919004"/>
                <a:gd name="connsiteY4367" fmla="*/ 2445111 h 2455817"/>
                <a:gd name="connsiteX4368" fmla="*/ 987812 w 4919004"/>
                <a:gd name="connsiteY4368" fmla="*/ 2445111 h 2455817"/>
                <a:gd name="connsiteX4369" fmla="*/ 983618 w 4919004"/>
                <a:gd name="connsiteY4369" fmla="*/ 2437019 h 2455817"/>
                <a:gd name="connsiteX4370" fmla="*/ 966201 w 4919004"/>
                <a:gd name="connsiteY4370" fmla="*/ 2423499 h 2455817"/>
                <a:gd name="connsiteX4371" fmla="*/ 955790 w 4919004"/>
                <a:gd name="connsiteY4371" fmla="*/ 2421871 h 2455817"/>
                <a:gd name="connsiteX4372" fmla="*/ 951646 w 4919004"/>
                <a:gd name="connsiteY4372" fmla="*/ 2433170 h 2455817"/>
                <a:gd name="connsiteX4373" fmla="*/ 962057 w 4919004"/>
                <a:gd name="connsiteY4373" fmla="*/ 2438104 h 2455817"/>
                <a:gd name="connsiteX4374" fmla="*/ 966201 w 4919004"/>
                <a:gd name="connsiteY4374" fmla="*/ 2444568 h 2455817"/>
                <a:gd name="connsiteX4375" fmla="*/ 964129 w 4919004"/>
                <a:gd name="connsiteY4375" fmla="*/ 2455817 h 2455817"/>
                <a:gd name="connsiteX4376" fmla="*/ 951646 w 4919004"/>
                <a:gd name="connsiteY4376" fmla="*/ 2449403 h 2455817"/>
                <a:gd name="connsiteX4377" fmla="*/ 936844 w 4919004"/>
                <a:gd name="connsiteY4377" fmla="*/ 2449403 h 2455817"/>
                <a:gd name="connsiteX4378" fmla="*/ 918144 w 4919004"/>
                <a:gd name="connsiteY4378" fmla="*/ 2439535 h 2455817"/>
                <a:gd name="connsiteX4379" fmla="*/ 903342 w 4919004"/>
                <a:gd name="connsiteY4379" fmla="*/ 2444469 h 2455817"/>
                <a:gd name="connsiteX4380" fmla="*/ 903342 w 4919004"/>
                <a:gd name="connsiteY4380" fmla="*/ 2449403 h 2455817"/>
                <a:gd name="connsiteX4381" fmla="*/ 909559 w 4919004"/>
                <a:gd name="connsiteY4381" fmla="*/ 2454337 h 2455817"/>
                <a:gd name="connsiteX4382" fmla="*/ 901220 w 4919004"/>
                <a:gd name="connsiteY4382" fmla="*/ 2447874 h 2455817"/>
                <a:gd name="connsiteX4383" fmla="*/ 876303 w 4919004"/>
                <a:gd name="connsiteY4383" fmla="*/ 2447874 h 2455817"/>
                <a:gd name="connsiteX4384" fmla="*/ 859676 w 4919004"/>
                <a:gd name="connsiteY4384" fmla="*/ 2451081 h 2455817"/>
                <a:gd name="connsiteX4385" fmla="*/ 849265 w 4919004"/>
                <a:gd name="connsiteY4385" fmla="*/ 2454337 h 2455817"/>
                <a:gd name="connsiteX4386" fmla="*/ 849265 w 4919004"/>
                <a:gd name="connsiteY4386" fmla="*/ 2452709 h 2455817"/>
                <a:gd name="connsiteX4387" fmla="*/ 840975 w 4919004"/>
                <a:gd name="connsiteY4387" fmla="*/ 2451081 h 2455817"/>
                <a:gd name="connsiteX4388" fmla="*/ 826173 w 4919004"/>
                <a:gd name="connsiteY4388" fmla="*/ 2441213 h 2455817"/>
                <a:gd name="connsiteX4389" fmla="*/ 819907 w 4919004"/>
                <a:gd name="connsiteY4389" fmla="*/ 2439634 h 2455817"/>
                <a:gd name="connsiteX4390" fmla="*/ 815763 w 4919004"/>
                <a:gd name="connsiteY4390" fmla="*/ 2442841 h 2455817"/>
                <a:gd name="connsiteX4391" fmla="*/ 811618 w 4919004"/>
                <a:gd name="connsiteY4391" fmla="*/ 2444469 h 2455817"/>
                <a:gd name="connsiteX4392" fmla="*/ 801207 w 4919004"/>
                <a:gd name="connsiteY4392" fmla="*/ 2441213 h 2455817"/>
                <a:gd name="connsiteX4393" fmla="*/ 799135 w 4919004"/>
                <a:gd name="connsiteY4393" fmla="*/ 2444469 h 2455817"/>
                <a:gd name="connsiteX4394" fmla="*/ 794990 w 4919004"/>
                <a:gd name="connsiteY4394" fmla="*/ 2442841 h 2455817"/>
                <a:gd name="connsiteX4395" fmla="*/ 792869 w 4919004"/>
                <a:gd name="connsiteY4395" fmla="*/ 2437907 h 2455817"/>
                <a:gd name="connsiteX4396" fmla="*/ 788724 w 4919004"/>
                <a:gd name="connsiteY4396" fmla="*/ 2437907 h 2455817"/>
                <a:gd name="connsiteX4397" fmla="*/ 788724 w 4919004"/>
                <a:gd name="connsiteY4397" fmla="*/ 2436328 h 2455817"/>
                <a:gd name="connsiteX4398" fmla="*/ 786652 w 4919004"/>
                <a:gd name="connsiteY4398" fmla="*/ 2429864 h 2455817"/>
                <a:gd name="connsiteX4399" fmla="*/ 790796 w 4919004"/>
                <a:gd name="connsiteY4399" fmla="*/ 2426608 h 2455817"/>
                <a:gd name="connsiteX4400" fmla="*/ 784579 w 4919004"/>
                <a:gd name="connsiteY4400" fmla="*/ 2416740 h 2455817"/>
                <a:gd name="connsiteX4401" fmla="*/ 782507 w 4919004"/>
                <a:gd name="connsiteY4401" fmla="*/ 2403812 h 2455817"/>
                <a:gd name="connsiteX4402" fmla="*/ 778313 w 4919004"/>
                <a:gd name="connsiteY4402" fmla="*/ 2398878 h 2455817"/>
                <a:gd name="connsiteX4403" fmla="*/ 770024 w 4919004"/>
                <a:gd name="connsiteY4403" fmla="*/ 2389010 h 2455817"/>
                <a:gd name="connsiteX4404" fmla="*/ 761686 w 4919004"/>
                <a:gd name="connsiteY4404" fmla="*/ 2387382 h 2455817"/>
                <a:gd name="connsiteX4405" fmla="*/ 759613 w 4919004"/>
                <a:gd name="connsiteY4405" fmla="*/ 2384175 h 2455817"/>
                <a:gd name="connsiteX4406" fmla="*/ 751324 w 4919004"/>
                <a:gd name="connsiteY4406" fmla="*/ 2377712 h 2455817"/>
                <a:gd name="connsiteX4407" fmla="*/ 747130 w 4919004"/>
                <a:gd name="connsiteY4407" fmla="*/ 2379290 h 2455817"/>
                <a:gd name="connsiteX4408" fmla="*/ 742985 w 4919004"/>
                <a:gd name="connsiteY4408" fmla="*/ 2377712 h 2455817"/>
                <a:gd name="connsiteX4409" fmla="*/ 736769 w 4919004"/>
                <a:gd name="connsiteY4409" fmla="*/ 2376083 h 2455817"/>
                <a:gd name="connsiteX4410" fmla="*/ 730502 w 4919004"/>
                <a:gd name="connsiteY4410" fmla="*/ 2369620 h 2455817"/>
                <a:gd name="connsiteX4411" fmla="*/ 726358 w 4919004"/>
                <a:gd name="connsiteY4411" fmla="*/ 2369620 h 2455817"/>
                <a:gd name="connsiteX4412" fmla="*/ 720091 w 4919004"/>
                <a:gd name="connsiteY4412" fmla="*/ 2366413 h 2455817"/>
                <a:gd name="connsiteX4413" fmla="*/ 718019 w 4919004"/>
                <a:gd name="connsiteY4413" fmla="*/ 2363156 h 2455817"/>
                <a:gd name="connsiteX4414" fmla="*/ 711802 w 4919004"/>
                <a:gd name="connsiteY4414" fmla="*/ 2363156 h 2455817"/>
                <a:gd name="connsiteX4415" fmla="*/ 707658 w 4919004"/>
                <a:gd name="connsiteY4415" fmla="*/ 2358222 h 2455817"/>
                <a:gd name="connsiteX4416" fmla="*/ 705536 w 4919004"/>
                <a:gd name="connsiteY4416" fmla="*/ 2354966 h 2455817"/>
                <a:gd name="connsiteX4417" fmla="*/ 697247 w 4919004"/>
                <a:gd name="connsiteY4417" fmla="*/ 2353387 h 2455817"/>
                <a:gd name="connsiteX4418" fmla="*/ 693102 w 4919004"/>
                <a:gd name="connsiteY4418" fmla="*/ 2345295 h 2455817"/>
                <a:gd name="connsiteX4419" fmla="*/ 670208 w 4919004"/>
                <a:gd name="connsiteY4419" fmla="*/ 2330789 h 2455817"/>
                <a:gd name="connsiteX4420" fmla="*/ 659798 w 4919004"/>
                <a:gd name="connsiteY4420" fmla="*/ 2329161 h 2455817"/>
                <a:gd name="connsiteX4421" fmla="*/ 647314 w 4919004"/>
                <a:gd name="connsiteY4421" fmla="*/ 2321118 h 2455817"/>
                <a:gd name="connsiteX4422" fmla="*/ 632512 w 4919004"/>
                <a:gd name="connsiteY4422" fmla="*/ 2322746 h 2455817"/>
                <a:gd name="connsiteX4423" fmla="*/ 626295 w 4919004"/>
                <a:gd name="connsiteY4423" fmla="*/ 2314655 h 2455817"/>
                <a:gd name="connsiteX4424" fmla="*/ 624223 w 4919004"/>
                <a:gd name="connsiteY4424" fmla="*/ 2309721 h 2455817"/>
                <a:gd name="connsiteX4425" fmla="*/ 615885 w 4919004"/>
                <a:gd name="connsiteY4425" fmla="*/ 2303257 h 2455817"/>
                <a:gd name="connsiteX4426" fmla="*/ 603401 w 4919004"/>
                <a:gd name="connsiteY4426" fmla="*/ 2303257 h 2455817"/>
                <a:gd name="connsiteX4427" fmla="*/ 607546 w 4919004"/>
                <a:gd name="connsiteY4427" fmla="*/ 2298323 h 2455817"/>
                <a:gd name="connsiteX4428" fmla="*/ 613812 w 4919004"/>
                <a:gd name="connsiteY4428" fmla="*/ 2296744 h 2455817"/>
                <a:gd name="connsiteX4429" fmla="*/ 609668 w 4919004"/>
                <a:gd name="connsiteY4429" fmla="*/ 2291810 h 2455817"/>
                <a:gd name="connsiteX4430" fmla="*/ 609668 w 4919004"/>
                <a:gd name="connsiteY4430" fmla="*/ 2290182 h 2455817"/>
                <a:gd name="connsiteX4431" fmla="*/ 617957 w 4919004"/>
                <a:gd name="connsiteY4431" fmla="*/ 2291810 h 2455817"/>
                <a:gd name="connsiteX4432" fmla="*/ 624223 w 4919004"/>
                <a:gd name="connsiteY4432" fmla="*/ 2295017 h 2455817"/>
                <a:gd name="connsiteX4433" fmla="*/ 626295 w 4919004"/>
                <a:gd name="connsiteY4433" fmla="*/ 2293438 h 2455817"/>
                <a:gd name="connsiteX4434" fmla="*/ 632512 w 4919004"/>
                <a:gd name="connsiteY4434" fmla="*/ 2295017 h 2455817"/>
                <a:gd name="connsiteX4435" fmla="*/ 634634 w 4919004"/>
                <a:gd name="connsiteY4435" fmla="*/ 2286975 h 2455817"/>
                <a:gd name="connsiteX4436" fmla="*/ 630440 w 4919004"/>
                <a:gd name="connsiteY4436" fmla="*/ 2283718 h 2455817"/>
                <a:gd name="connsiteX4437" fmla="*/ 630440 w 4919004"/>
                <a:gd name="connsiteY4437" fmla="*/ 2277304 h 2455817"/>
                <a:gd name="connsiteX4438" fmla="*/ 638779 w 4919004"/>
                <a:gd name="connsiteY4438" fmla="*/ 2270840 h 2455817"/>
                <a:gd name="connsiteX4439" fmla="*/ 638779 w 4919004"/>
                <a:gd name="connsiteY4439" fmla="*/ 2269262 h 2455817"/>
                <a:gd name="connsiteX4440" fmla="*/ 640851 w 4919004"/>
                <a:gd name="connsiteY4440" fmla="*/ 2266005 h 2455817"/>
                <a:gd name="connsiteX4441" fmla="*/ 647068 w 4919004"/>
                <a:gd name="connsiteY4441" fmla="*/ 2267633 h 2455817"/>
                <a:gd name="connsiteX4442" fmla="*/ 649189 w 4919004"/>
                <a:gd name="connsiteY4442" fmla="*/ 2262699 h 2455817"/>
                <a:gd name="connsiteX4443" fmla="*/ 653334 w 4919004"/>
                <a:gd name="connsiteY4443" fmla="*/ 2262699 h 2455817"/>
                <a:gd name="connsiteX4444" fmla="*/ 653334 w 4919004"/>
                <a:gd name="connsiteY4444" fmla="*/ 2259443 h 2455817"/>
                <a:gd name="connsiteX4445" fmla="*/ 647068 w 4919004"/>
                <a:gd name="connsiteY4445" fmla="*/ 2257864 h 2455817"/>
                <a:gd name="connsiteX4446" fmla="*/ 644996 w 4919004"/>
                <a:gd name="connsiteY4446" fmla="*/ 2254657 h 2455817"/>
                <a:gd name="connsiteX4447" fmla="*/ 640851 w 4919004"/>
                <a:gd name="connsiteY4447" fmla="*/ 2257864 h 2455817"/>
                <a:gd name="connsiteX4448" fmla="*/ 636657 w 4919004"/>
                <a:gd name="connsiteY4448" fmla="*/ 2252930 h 2455817"/>
                <a:gd name="connsiteX4449" fmla="*/ 630440 w 4919004"/>
                <a:gd name="connsiteY4449" fmla="*/ 2243062 h 2455817"/>
                <a:gd name="connsiteX4450" fmla="*/ 651213 w 4919004"/>
                <a:gd name="connsiteY4450" fmla="*/ 2243062 h 2455817"/>
                <a:gd name="connsiteX4451" fmla="*/ 657479 w 4919004"/>
                <a:gd name="connsiteY4451" fmla="*/ 2239855 h 2455817"/>
                <a:gd name="connsiteX4452" fmla="*/ 651213 w 4919004"/>
                <a:gd name="connsiteY4452" fmla="*/ 2239855 h 2455817"/>
                <a:gd name="connsiteX4453" fmla="*/ 649189 w 4919004"/>
                <a:gd name="connsiteY4453" fmla="*/ 2236647 h 2455817"/>
                <a:gd name="connsiteX4454" fmla="*/ 655406 w 4919004"/>
                <a:gd name="connsiteY4454" fmla="*/ 2231713 h 2455817"/>
                <a:gd name="connsiteX4455" fmla="*/ 674107 w 4919004"/>
                <a:gd name="connsiteY4455" fmla="*/ 2223671 h 2455817"/>
                <a:gd name="connsiteX4456" fmla="*/ 676178 w 4919004"/>
                <a:gd name="connsiteY4456" fmla="*/ 2218737 h 2455817"/>
                <a:gd name="connsiteX4457" fmla="*/ 674107 w 4919004"/>
                <a:gd name="connsiteY4457" fmla="*/ 2215530 h 2455817"/>
                <a:gd name="connsiteX4458" fmla="*/ 665768 w 4919004"/>
                <a:gd name="connsiteY4458" fmla="*/ 2215530 h 2455817"/>
                <a:gd name="connsiteX4459" fmla="*/ 657479 w 4919004"/>
                <a:gd name="connsiteY4459" fmla="*/ 2220464 h 2455817"/>
                <a:gd name="connsiteX4460" fmla="*/ 649410 w 4919004"/>
                <a:gd name="connsiteY4460" fmla="*/ 2218880 h 2455817"/>
                <a:gd name="connsiteX4461" fmla="*/ 651213 w 4919004"/>
                <a:gd name="connsiteY4461" fmla="*/ 2205958 h 2455817"/>
                <a:gd name="connsiteX4462" fmla="*/ 655406 w 4919004"/>
                <a:gd name="connsiteY4462" fmla="*/ 2204330 h 2455817"/>
                <a:gd name="connsiteX4463" fmla="*/ 663745 w 4919004"/>
                <a:gd name="connsiteY4463" fmla="*/ 2193080 h 2455817"/>
                <a:gd name="connsiteX4464" fmla="*/ 680323 w 4919004"/>
                <a:gd name="connsiteY4464" fmla="*/ 2193080 h 2455817"/>
                <a:gd name="connsiteX4465" fmla="*/ 686589 w 4919004"/>
                <a:gd name="connsiteY4465" fmla="*/ 2188146 h 2455817"/>
                <a:gd name="connsiteX4466" fmla="*/ 684517 w 4919004"/>
                <a:gd name="connsiteY4466" fmla="*/ 2180103 h 2455817"/>
                <a:gd name="connsiteX4467" fmla="*/ 690734 w 4919004"/>
                <a:gd name="connsiteY4467" fmla="*/ 2168804 h 2455817"/>
                <a:gd name="connsiteX4468" fmla="*/ 688662 w 4919004"/>
                <a:gd name="connsiteY4468" fmla="*/ 2160762 h 2455817"/>
                <a:gd name="connsiteX4469" fmla="*/ 678300 w 4919004"/>
                <a:gd name="connsiteY4469" fmla="*/ 2154298 h 2455817"/>
                <a:gd name="connsiteX4470" fmla="*/ 680323 w 4919004"/>
                <a:gd name="connsiteY4470" fmla="*/ 2139792 h 2455817"/>
                <a:gd name="connsiteX4471" fmla="*/ 688662 w 4919004"/>
                <a:gd name="connsiteY4471" fmla="*/ 2139792 h 2455817"/>
                <a:gd name="connsiteX4472" fmla="*/ 692856 w 4919004"/>
                <a:gd name="connsiteY4472" fmla="*/ 2131750 h 2455817"/>
                <a:gd name="connsiteX4473" fmla="*/ 692856 w 4919004"/>
                <a:gd name="connsiteY4473" fmla="*/ 2123658 h 2455817"/>
                <a:gd name="connsiteX4474" fmla="*/ 688662 w 4919004"/>
                <a:gd name="connsiteY4474" fmla="*/ 2122079 h 2455817"/>
                <a:gd name="connsiteX4475" fmla="*/ 684517 w 4919004"/>
                <a:gd name="connsiteY4475" fmla="*/ 2113987 h 2455817"/>
                <a:gd name="connsiteX4476" fmla="*/ 680323 w 4919004"/>
                <a:gd name="connsiteY4476" fmla="*/ 2118921 h 2455817"/>
                <a:gd name="connsiteX4477" fmla="*/ 669962 w 4919004"/>
                <a:gd name="connsiteY4477" fmla="*/ 2117244 h 2455817"/>
                <a:gd name="connsiteX4478" fmla="*/ 659551 w 4919004"/>
                <a:gd name="connsiteY4478" fmla="*/ 2112310 h 2455817"/>
                <a:gd name="connsiteX4479" fmla="*/ 651213 w 4919004"/>
                <a:gd name="connsiteY4479" fmla="*/ 2113889 h 2455817"/>
                <a:gd name="connsiteX4480" fmla="*/ 644996 w 4919004"/>
                <a:gd name="connsiteY4480" fmla="*/ 2110682 h 2455817"/>
                <a:gd name="connsiteX4481" fmla="*/ 634634 w 4919004"/>
                <a:gd name="connsiteY4481" fmla="*/ 2109053 h 2455817"/>
                <a:gd name="connsiteX4482" fmla="*/ 622102 w 4919004"/>
                <a:gd name="connsiteY4482" fmla="*/ 2107474 h 2455817"/>
                <a:gd name="connsiteX4483" fmla="*/ 617957 w 4919004"/>
                <a:gd name="connsiteY4483" fmla="*/ 2110682 h 2455817"/>
                <a:gd name="connsiteX4484" fmla="*/ 613812 w 4919004"/>
                <a:gd name="connsiteY4484" fmla="*/ 2105748 h 2455817"/>
                <a:gd name="connsiteX4485" fmla="*/ 603401 w 4919004"/>
                <a:gd name="connsiteY4485" fmla="*/ 2099284 h 2455817"/>
                <a:gd name="connsiteX4486" fmla="*/ 596149 w 4919004"/>
                <a:gd name="connsiteY4486" fmla="*/ 2086505 h 2455817"/>
                <a:gd name="connsiteX4487" fmla="*/ 589882 w 4919004"/>
                <a:gd name="connsiteY4487" fmla="*/ 2086505 h 2455817"/>
                <a:gd name="connsiteX4488" fmla="*/ 577448 w 4919004"/>
                <a:gd name="connsiteY4488" fmla="*/ 2094547 h 2455817"/>
                <a:gd name="connsiteX4489" fmla="*/ 571182 w 4919004"/>
                <a:gd name="connsiteY4489" fmla="*/ 2092968 h 2455817"/>
                <a:gd name="connsiteX4490" fmla="*/ 562893 w 4919004"/>
                <a:gd name="connsiteY4490" fmla="*/ 2094547 h 2455817"/>
                <a:gd name="connsiteX4491" fmla="*/ 552482 w 4919004"/>
                <a:gd name="connsiteY4491" fmla="*/ 2091340 h 2455817"/>
                <a:gd name="connsiteX4492" fmla="*/ 546216 w 4919004"/>
                <a:gd name="connsiteY4492" fmla="*/ 2096274 h 2455817"/>
                <a:gd name="connsiteX4493" fmla="*/ 529588 w 4919004"/>
                <a:gd name="connsiteY4493" fmla="*/ 2083396 h 2455817"/>
                <a:gd name="connsiteX4494" fmla="*/ 525444 w 4919004"/>
                <a:gd name="connsiteY4494" fmla="*/ 2073528 h 2455817"/>
                <a:gd name="connsiteX4495" fmla="*/ 525444 w 4919004"/>
                <a:gd name="connsiteY4495" fmla="*/ 2065486 h 2455817"/>
                <a:gd name="connsiteX4496" fmla="*/ 519227 w 4919004"/>
                <a:gd name="connsiteY4496" fmla="*/ 2063808 h 2455817"/>
                <a:gd name="connsiteX4497" fmla="*/ 517155 w 4919004"/>
                <a:gd name="connsiteY4497" fmla="*/ 2057394 h 2455817"/>
                <a:gd name="connsiteX4498" fmla="*/ 510888 w 4919004"/>
                <a:gd name="connsiteY4498" fmla="*/ 2052460 h 2455817"/>
                <a:gd name="connsiteX4499" fmla="*/ 490116 w 4919004"/>
                <a:gd name="connsiteY4499" fmla="*/ 2054039 h 2455817"/>
                <a:gd name="connsiteX4500" fmla="*/ 479705 w 4919004"/>
                <a:gd name="connsiteY4500" fmla="*/ 2042789 h 2455817"/>
                <a:gd name="connsiteX4501" fmla="*/ 483850 w 4919004"/>
                <a:gd name="connsiteY4501" fmla="*/ 2036326 h 2455817"/>
                <a:gd name="connsiteX4502" fmla="*/ 477633 w 4919004"/>
                <a:gd name="connsiteY4502" fmla="*/ 2031392 h 2455817"/>
                <a:gd name="connsiteX4503" fmla="*/ 471367 w 4919004"/>
                <a:gd name="connsiteY4503" fmla="*/ 2016885 h 2455817"/>
                <a:gd name="connsiteX4504" fmla="*/ 462930 w 4919004"/>
                <a:gd name="connsiteY4504" fmla="*/ 2016885 h 2455817"/>
                <a:gd name="connsiteX4505" fmla="*/ 454591 w 4919004"/>
                <a:gd name="connsiteY4505" fmla="*/ 2020093 h 2455817"/>
                <a:gd name="connsiteX4506" fmla="*/ 435891 w 4919004"/>
                <a:gd name="connsiteY4506" fmla="*/ 2020093 h 2455817"/>
                <a:gd name="connsiteX4507" fmla="*/ 417142 w 4919004"/>
                <a:gd name="connsiteY4507" fmla="*/ 2015159 h 2455817"/>
                <a:gd name="connsiteX4508" fmla="*/ 412997 w 4919004"/>
                <a:gd name="connsiteY4508" fmla="*/ 2020093 h 2455817"/>
                <a:gd name="connsiteX4509" fmla="*/ 412997 w 4919004"/>
                <a:gd name="connsiteY4509" fmla="*/ 2026556 h 2455817"/>
                <a:gd name="connsiteX4510" fmla="*/ 404708 w 4919004"/>
                <a:gd name="connsiteY4510" fmla="*/ 2028184 h 2455817"/>
                <a:gd name="connsiteX4511" fmla="*/ 398442 w 4919004"/>
                <a:gd name="connsiteY4511" fmla="*/ 2026556 h 2455817"/>
                <a:gd name="connsiteX4512" fmla="*/ 398442 w 4919004"/>
                <a:gd name="connsiteY4512" fmla="*/ 2018514 h 2455817"/>
                <a:gd name="connsiteX4513" fmla="*/ 390153 w 4919004"/>
                <a:gd name="connsiteY4513" fmla="*/ 2010422 h 2455817"/>
                <a:gd name="connsiteX4514" fmla="*/ 392225 w 4919004"/>
                <a:gd name="connsiteY4514" fmla="*/ 2002379 h 2455817"/>
                <a:gd name="connsiteX4515" fmla="*/ 383886 w 4919004"/>
                <a:gd name="connsiteY4515" fmla="*/ 1992511 h 2455817"/>
                <a:gd name="connsiteX4516" fmla="*/ 383886 w 4919004"/>
                <a:gd name="connsiteY4516" fmla="*/ 1984864 h 2455817"/>
                <a:gd name="connsiteX4517" fmla="*/ 386008 w 4919004"/>
                <a:gd name="connsiteY4517" fmla="*/ 1979930 h 2455817"/>
                <a:gd name="connsiteX4518" fmla="*/ 394297 w 4919004"/>
                <a:gd name="connsiteY4518" fmla="*/ 1986344 h 2455817"/>
                <a:gd name="connsiteX4519" fmla="*/ 412997 w 4919004"/>
                <a:gd name="connsiteY4519" fmla="*/ 1983137 h 2455817"/>
                <a:gd name="connsiteX4520" fmla="*/ 421335 w 4919004"/>
                <a:gd name="connsiteY4520" fmla="*/ 1973269 h 2455817"/>
                <a:gd name="connsiteX4521" fmla="*/ 425480 w 4919004"/>
                <a:gd name="connsiteY4521" fmla="*/ 1970062 h 2455817"/>
                <a:gd name="connsiteX4522" fmla="*/ 415119 w 4919004"/>
                <a:gd name="connsiteY4522" fmla="*/ 1965127 h 2455817"/>
                <a:gd name="connsiteX4523" fmla="*/ 415119 w 4919004"/>
                <a:gd name="connsiteY4523" fmla="*/ 1958664 h 2455817"/>
                <a:gd name="connsiteX4524" fmla="*/ 400317 w 4919004"/>
                <a:gd name="connsiteY4524" fmla="*/ 1949042 h 2455817"/>
                <a:gd name="connsiteX4525" fmla="*/ 387784 w 4919004"/>
                <a:gd name="connsiteY4525" fmla="*/ 1945786 h 2455817"/>
                <a:gd name="connsiteX4526" fmla="*/ 385761 w 4919004"/>
                <a:gd name="connsiteY4526" fmla="*/ 1935918 h 2455817"/>
                <a:gd name="connsiteX4527" fmla="*/ 377423 w 4919004"/>
                <a:gd name="connsiteY4527" fmla="*/ 1930984 h 2455817"/>
                <a:gd name="connsiteX4528" fmla="*/ 369084 w 4919004"/>
                <a:gd name="connsiteY4528" fmla="*/ 1919685 h 2455817"/>
                <a:gd name="connsiteX4529" fmla="*/ 364940 w 4919004"/>
                <a:gd name="connsiteY4529" fmla="*/ 1911643 h 2455817"/>
                <a:gd name="connsiteX4530" fmla="*/ 356650 w 4919004"/>
                <a:gd name="connsiteY4530" fmla="*/ 1903551 h 2455817"/>
                <a:gd name="connsiteX4531" fmla="*/ 356650 w 4919004"/>
                <a:gd name="connsiteY4531" fmla="*/ 1893683 h 2455817"/>
                <a:gd name="connsiteX4532" fmla="*/ 350384 w 4919004"/>
                <a:gd name="connsiteY4532" fmla="*/ 1887268 h 2455817"/>
                <a:gd name="connsiteX4533" fmla="*/ 352456 w 4919004"/>
                <a:gd name="connsiteY4533" fmla="*/ 1880805 h 2455817"/>
                <a:gd name="connsiteX4534" fmla="*/ 350384 w 4919004"/>
                <a:gd name="connsiteY4534" fmla="*/ 1872713 h 2455817"/>
                <a:gd name="connsiteX4535" fmla="*/ 335582 w 4919004"/>
                <a:gd name="connsiteY4535" fmla="*/ 1867779 h 2455817"/>
                <a:gd name="connsiteX4536" fmla="*/ 329711 w 4919004"/>
                <a:gd name="connsiteY4536" fmla="*/ 1867779 h 2455817"/>
                <a:gd name="connsiteX4537" fmla="*/ 325566 w 4919004"/>
                <a:gd name="connsiteY4537" fmla="*/ 1862845 h 2455817"/>
                <a:gd name="connsiteX4538" fmla="*/ 315155 w 4919004"/>
                <a:gd name="connsiteY4538" fmla="*/ 1866101 h 2455817"/>
                <a:gd name="connsiteX4539" fmla="*/ 306866 w 4919004"/>
                <a:gd name="connsiteY4539" fmla="*/ 1872516 h 2455817"/>
                <a:gd name="connsiteX4540" fmla="*/ 300600 w 4919004"/>
                <a:gd name="connsiteY4540" fmla="*/ 1861266 h 2455817"/>
                <a:gd name="connsiteX4541" fmla="*/ 292311 w 4919004"/>
                <a:gd name="connsiteY4541" fmla="*/ 1861266 h 2455817"/>
                <a:gd name="connsiteX4542" fmla="*/ 284021 w 4919004"/>
                <a:gd name="connsiteY4542" fmla="*/ 1864473 h 2455817"/>
                <a:gd name="connsiteX4543" fmla="*/ 275683 w 4919004"/>
                <a:gd name="connsiteY4543" fmla="*/ 1854605 h 2455817"/>
                <a:gd name="connsiteX4544" fmla="*/ 267344 w 4919004"/>
                <a:gd name="connsiteY4544" fmla="*/ 1859539 h 2455817"/>
                <a:gd name="connsiteX4545" fmla="*/ 261127 w 4919004"/>
                <a:gd name="connsiteY4545" fmla="*/ 1854605 h 2455817"/>
                <a:gd name="connsiteX4546" fmla="*/ 259056 w 4919004"/>
                <a:gd name="connsiteY4546" fmla="*/ 1856233 h 2455817"/>
                <a:gd name="connsiteX4547" fmla="*/ 256934 w 4919004"/>
                <a:gd name="connsiteY4547" fmla="*/ 1846365 h 2455817"/>
                <a:gd name="connsiteX4548" fmla="*/ 252789 w 4919004"/>
                <a:gd name="connsiteY4548" fmla="*/ 1841431 h 2455817"/>
                <a:gd name="connsiteX4549" fmla="*/ 248644 w 4919004"/>
                <a:gd name="connsiteY4549" fmla="*/ 1831563 h 2455817"/>
                <a:gd name="connsiteX4550" fmla="*/ 246572 w 4919004"/>
                <a:gd name="connsiteY4550" fmla="*/ 1828356 h 2455817"/>
                <a:gd name="connsiteX4551" fmla="*/ 242378 w 4919004"/>
                <a:gd name="connsiteY4551" fmla="*/ 1821942 h 2455817"/>
                <a:gd name="connsiteX4552" fmla="*/ 242378 w 4919004"/>
                <a:gd name="connsiteY4552" fmla="*/ 1817008 h 2455817"/>
                <a:gd name="connsiteX4553" fmla="*/ 240355 w 4919004"/>
                <a:gd name="connsiteY4553" fmla="*/ 1812074 h 2455817"/>
                <a:gd name="connsiteX4554" fmla="*/ 238233 w 4919004"/>
                <a:gd name="connsiteY4554" fmla="*/ 1808817 h 2455817"/>
                <a:gd name="connsiteX4555" fmla="*/ 238233 w 4919004"/>
                <a:gd name="connsiteY4555" fmla="*/ 1800725 h 2455817"/>
                <a:gd name="connsiteX4556" fmla="*/ 229945 w 4919004"/>
                <a:gd name="connsiteY4556" fmla="*/ 1800725 h 2455817"/>
                <a:gd name="connsiteX4557" fmla="*/ 236162 w 4919004"/>
                <a:gd name="connsiteY4557" fmla="*/ 1792683 h 2455817"/>
                <a:gd name="connsiteX4558" fmla="*/ 236162 w 4919004"/>
                <a:gd name="connsiteY4558" fmla="*/ 1787749 h 2455817"/>
                <a:gd name="connsiteX4559" fmla="*/ 240355 w 4919004"/>
                <a:gd name="connsiteY4559" fmla="*/ 1782815 h 2455817"/>
                <a:gd name="connsiteX4560" fmla="*/ 240355 w 4919004"/>
                <a:gd name="connsiteY4560" fmla="*/ 1776351 h 2455817"/>
                <a:gd name="connsiteX4561" fmla="*/ 223728 w 4919004"/>
                <a:gd name="connsiteY4561" fmla="*/ 1750596 h 2455817"/>
                <a:gd name="connsiteX4562" fmla="*/ 227823 w 4919004"/>
                <a:gd name="connsiteY4562" fmla="*/ 1727998 h 2455817"/>
                <a:gd name="connsiteX4563" fmla="*/ 232017 w 4919004"/>
                <a:gd name="connsiteY4563" fmla="*/ 1724791 h 2455817"/>
                <a:gd name="connsiteX4564" fmla="*/ 234089 w 4919004"/>
                <a:gd name="connsiteY4564" fmla="*/ 1716748 h 2455817"/>
                <a:gd name="connsiteX4565" fmla="*/ 238233 w 4919004"/>
                <a:gd name="connsiteY4565" fmla="*/ 1710285 h 2455817"/>
                <a:gd name="connsiteX4566" fmla="*/ 240355 w 4919004"/>
                <a:gd name="connsiteY4566" fmla="*/ 1708656 h 2455817"/>
                <a:gd name="connsiteX4567" fmla="*/ 240355 w 4919004"/>
                <a:gd name="connsiteY4567" fmla="*/ 1707028 h 2455817"/>
                <a:gd name="connsiteX4568" fmla="*/ 236162 w 4919004"/>
                <a:gd name="connsiteY4568" fmla="*/ 1702094 h 2455817"/>
                <a:gd name="connsiteX4569" fmla="*/ 238233 w 4919004"/>
                <a:gd name="connsiteY4569" fmla="*/ 1695680 h 2455817"/>
                <a:gd name="connsiteX4570" fmla="*/ 236162 w 4919004"/>
                <a:gd name="connsiteY4570" fmla="*/ 1690746 h 2455817"/>
                <a:gd name="connsiteX4571" fmla="*/ 236162 w 4919004"/>
                <a:gd name="connsiteY4571" fmla="*/ 1687539 h 2455817"/>
                <a:gd name="connsiteX4572" fmla="*/ 238233 w 4919004"/>
                <a:gd name="connsiteY4572" fmla="*/ 1685960 h 2455817"/>
                <a:gd name="connsiteX4573" fmla="*/ 242378 w 4919004"/>
                <a:gd name="connsiteY4573" fmla="*/ 1690894 h 2455817"/>
                <a:gd name="connsiteX4574" fmla="*/ 248644 w 4919004"/>
                <a:gd name="connsiteY4574" fmla="*/ 1689315 h 2455817"/>
                <a:gd name="connsiteX4575" fmla="*/ 248644 w 4919004"/>
                <a:gd name="connsiteY4575" fmla="*/ 1682851 h 2455817"/>
                <a:gd name="connsiteX4576" fmla="*/ 250717 w 4919004"/>
                <a:gd name="connsiteY4576" fmla="*/ 1681223 h 2455817"/>
                <a:gd name="connsiteX4577" fmla="*/ 259056 w 4919004"/>
                <a:gd name="connsiteY4577" fmla="*/ 1684480 h 2455817"/>
                <a:gd name="connsiteX4578" fmla="*/ 267344 w 4919004"/>
                <a:gd name="connsiteY4578" fmla="*/ 1679546 h 2455817"/>
                <a:gd name="connsiteX4579" fmla="*/ 269466 w 4919004"/>
                <a:gd name="connsiteY4579" fmla="*/ 1673082 h 2455817"/>
                <a:gd name="connsiteX4580" fmla="*/ 273611 w 4919004"/>
                <a:gd name="connsiteY4580" fmla="*/ 1671454 h 2455817"/>
                <a:gd name="connsiteX4581" fmla="*/ 284021 w 4919004"/>
                <a:gd name="connsiteY4581" fmla="*/ 1674710 h 2455817"/>
                <a:gd name="connsiteX4582" fmla="*/ 288166 w 4919004"/>
                <a:gd name="connsiteY4582" fmla="*/ 1669776 h 2455817"/>
                <a:gd name="connsiteX4583" fmla="*/ 281900 w 4919004"/>
                <a:gd name="connsiteY4583" fmla="*/ 1663313 h 2455817"/>
                <a:gd name="connsiteX4584" fmla="*/ 265568 w 4919004"/>
                <a:gd name="connsiteY4584" fmla="*/ 1663313 h 2455817"/>
                <a:gd name="connsiteX4585" fmla="*/ 261424 w 4919004"/>
                <a:gd name="connsiteY4585" fmla="*/ 1658378 h 2455817"/>
                <a:gd name="connsiteX4586" fmla="*/ 253085 w 4919004"/>
                <a:gd name="connsiteY4586" fmla="*/ 1656750 h 2455817"/>
                <a:gd name="connsiteX4587" fmla="*/ 244796 w 4919004"/>
                <a:gd name="connsiteY4587" fmla="*/ 1648708 h 2455817"/>
                <a:gd name="connsiteX4588" fmla="*/ 244796 w 4919004"/>
                <a:gd name="connsiteY4588" fmla="*/ 1645501 h 2455817"/>
                <a:gd name="connsiteX4589" fmla="*/ 253085 w 4919004"/>
                <a:gd name="connsiteY4589" fmla="*/ 1650435 h 2455817"/>
                <a:gd name="connsiteX4590" fmla="*/ 253085 w 4919004"/>
                <a:gd name="connsiteY4590" fmla="*/ 1645501 h 2455817"/>
                <a:gd name="connsiteX4591" fmla="*/ 251013 w 4919004"/>
                <a:gd name="connsiteY4591" fmla="*/ 1642244 h 2455817"/>
                <a:gd name="connsiteX4592" fmla="*/ 255207 w 4919004"/>
                <a:gd name="connsiteY4592" fmla="*/ 1637310 h 2455817"/>
                <a:gd name="connsiteX4593" fmla="*/ 248941 w 4919004"/>
                <a:gd name="connsiteY4593" fmla="*/ 1638939 h 2455817"/>
                <a:gd name="connsiteX4594" fmla="*/ 238530 w 4919004"/>
                <a:gd name="connsiteY4594" fmla="*/ 1643873 h 2455817"/>
                <a:gd name="connsiteX4595" fmla="*/ 236457 w 4919004"/>
                <a:gd name="connsiteY4595" fmla="*/ 1645501 h 2455817"/>
                <a:gd name="connsiteX4596" fmla="*/ 234385 w 4919004"/>
                <a:gd name="connsiteY4596" fmla="*/ 1637409 h 2455817"/>
                <a:gd name="connsiteX4597" fmla="*/ 251013 w 4919004"/>
                <a:gd name="connsiteY4597" fmla="*/ 1622903 h 2455817"/>
                <a:gd name="connsiteX4598" fmla="*/ 259351 w 4919004"/>
                <a:gd name="connsiteY4598" fmla="*/ 1619646 h 2455817"/>
                <a:gd name="connsiteX4599" fmla="*/ 269762 w 4919004"/>
                <a:gd name="connsiteY4599" fmla="*/ 1605190 h 2455817"/>
                <a:gd name="connsiteX4600" fmla="*/ 280123 w 4919004"/>
                <a:gd name="connsiteY4600" fmla="*/ 1592262 h 2455817"/>
                <a:gd name="connsiteX4601" fmla="*/ 288462 w 4919004"/>
                <a:gd name="connsiteY4601" fmla="*/ 1576178 h 2455817"/>
                <a:gd name="connsiteX4602" fmla="*/ 303264 w 4919004"/>
                <a:gd name="connsiteY4602" fmla="*/ 1555159 h 2455817"/>
                <a:gd name="connsiteX4603" fmla="*/ 313675 w 4919004"/>
                <a:gd name="connsiteY4603" fmla="*/ 1534238 h 2455817"/>
                <a:gd name="connsiteX4604" fmla="*/ 309481 w 4919004"/>
                <a:gd name="connsiteY4604" fmla="*/ 1524370 h 2455817"/>
                <a:gd name="connsiteX4605" fmla="*/ 294679 w 4919004"/>
                <a:gd name="connsiteY4605" fmla="*/ 1508285 h 2455817"/>
                <a:gd name="connsiteX4606" fmla="*/ 284318 w 4919004"/>
                <a:gd name="connsiteY4606" fmla="*/ 1506657 h 2455817"/>
                <a:gd name="connsiteX4607" fmla="*/ 267641 w 4919004"/>
                <a:gd name="connsiteY4607" fmla="*/ 1485687 h 2455817"/>
                <a:gd name="connsiteX4608" fmla="*/ 271785 w 4919004"/>
                <a:gd name="connsiteY4608" fmla="*/ 1477645 h 2455817"/>
                <a:gd name="connsiteX4609" fmla="*/ 278051 w 4919004"/>
                <a:gd name="connsiteY4609" fmla="*/ 1469553 h 2455817"/>
                <a:gd name="connsiteX4610" fmla="*/ 278051 w 4919004"/>
                <a:gd name="connsiteY4610" fmla="*/ 1459685 h 2455817"/>
                <a:gd name="connsiteX4611" fmla="*/ 265568 w 4919004"/>
                <a:gd name="connsiteY4611" fmla="*/ 1453271 h 2455817"/>
                <a:gd name="connsiteX4612" fmla="*/ 263496 w 4919004"/>
                <a:gd name="connsiteY4612" fmla="*/ 1445179 h 2455817"/>
                <a:gd name="connsiteX4613" fmla="*/ 261424 w 4919004"/>
                <a:gd name="connsiteY4613" fmla="*/ 1433929 h 2455817"/>
                <a:gd name="connsiteX4614" fmla="*/ 265568 w 4919004"/>
                <a:gd name="connsiteY4614" fmla="*/ 1432301 h 2455817"/>
                <a:gd name="connsiteX4615" fmla="*/ 261424 w 4919004"/>
                <a:gd name="connsiteY4615" fmla="*/ 1425838 h 2455817"/>
                <a:gd name="connsiteX4616" fmla="*/ 253085 w 4919004"/>
                <a:gd name="connsiteY4616" fmla="*/ 1424259 h 2455817"/>
                <a:gd name="connsiteX4617" fmla="*/ 248941 w 4919004"/>
                <a:gd name="connsiteY4617" fmla="*/ 1419325 h 2455817"/>
                <a:gd name="connsiteX4618" fmla="*/ 248941 w 4919004"/>
                <a:gd name="connsiteY4618" fmla="*/ 1409457 h 2455817"/>
                <a:gd name="connsiteX4619" fmla="*/ 253085 w 4919004"/>
                <a:gd name="connsiteY4619" fmla="*/ 1402993 h 2455817"/>
                <a:gd name="connsiteX4620" fmla="*/ 246868 w 4919004"/>
                <a:gd name="connsiteY4620" fmla="*/ 1401365 h 2455817"/>
                <a:gd name="connsiteX4621" fmla="*/ 246868 w 4919004"/>
                <a:gd name="connsiteY4621" fmla="*/ 1375609 h 2455817"/>
                <a:gd name="connsiteX4622" fmla="*/ 253085 w 4919004"/>
                <a:gd name="connsiteY4622" fmla="*/ 1375609 h 2455817"/>
                <a:gd name="connsiteX4623" fmla="*/ 238283 w 4919004"/>
                <a:gd name="connsiteY4623" fmla="*/ 1343340 h 2455817"/>
                <a:gd name="connsiteX4624" fmla="*/ 223777 w 4919004"/>
                <a:gd name="connsiteY4624" fmla="*/ 1319114 h 2455817"/>
                <a:gd name="connsiteX4625" fmla="*/ 219583 w 4919004"/>
                <a:gd name="connsiteY4625" fmla="*/ 1311072 h 2455817"/>
                <a:gd name="connsiteX4626" fmla="*/ 211294 w 4919004"/>
                <a:gd name="connsiteY4626" fmla="*/ 1303029 h 2455817"/>
                <a:gd name="connsiteX4627" fmla="*/ 217511 w 4919004"/>
                <a:gd name="connsiteY4627" fmla="*/ 1288523 h 2455817"/>
                <a:gd name="connsiteX4628" fmla="*/ 223777 w 4919004"/>
                <a:gd name="connsiteY4628" fmla="*/ 1278655 h 2455817"/>
                <a:gd name="connsiteX4629" fmla="*/ 227872 w 4919004"/>
                <a:gd name="connsiteY4629" fmla="*/ 1268787 h 2455817"/>
                <a:gd name="connsiteX4630" fmla="*/ 223777 w 4919004"/>
                <a:gd name="connsiteY4630" fmla="*/ 1265580 h 2455817"/>
                <a:gd name="connsiteX4631" fmla="*/ 207100 w 4919004"/>
                <a:gd name="connsiteY4631" fmla="*/ 1255712 h 2455817"/>
                <a:gd name="connsiteX4632" fmla="*/ 205027 w 4919004"/>
                <a:gd name="connsiteY4632" fmla="*/ 1250778 h 2455817"/>
                <a:gd name="connsiteX4633" fmla="*/ 198761 w 4919004"/>
                <a:gd name="connsiteY4633" fmla="*/ 1242735 h 2455817"/>
                <a:gd name="connsiteX4634" fmla="*/ 188400 w 4919004"/>
                <a:gd name="connsiteY4634" fmla="*/ 1237801 h 2455817"/>
                <a:gd name="connsiteX4635" fmla="*/ 184255 w 4919004"/>
                <a:gd name="connsiteY4635" fmla="*/ 1237801 h 2455817"/>
                <a:gd name="connsiteX4636" fmla="*/ 177989 w 4919004"/>
                <a:gd name="connsiteY4636" fmla="*/ 1223246 h 2455817"/>
                <a:gd name="connsiteX4637" fmla="*/ 173845 w 4919004"/>
                <a:gd name="connsiteY4637" fmla="*/ 1218312 h 2455817"/>
                <a:gd name="connsiteX4638" fmla="*/ 175917 w 4919004"/>
                <a:gd name="connsiteY4638" fmla="*/ 1207013 h 2455817"/>
                <a:gd name="connsiteX4639" fmla="*/ 177989 w 4919004"/>
                <a:gd name="connsiteY4639" fmla="*/ 1198921 h 2455817"/>
                <a:gd name="connsiteX4640" fmla="*/ 171772 w 4919004"/>
                <a:gd name="connsiteY4640" fmla="*/ 1197342 h 2455817"/>
                <a:gd name="connsiteX4641" fmla="*/ 177989 w 4919004"/>
                <a:gd name="connsiteY4641" fmla="*/ 1194135 h 2455817"/>
                <a:gd name="connsiteX4642" fmla="*/ 186327 w 4919004"/>
                <a:gd name="connsiteY4642" fmla="*/ 1190879 h 2455817"/>
                <a:gd name="connsiteX4643" fmla="*/ 190472 w 4919004"/>
                <a:gd name="connsiteY4643" fmla="*/ 1190879 h 2455817"/>
                <a:gd name="connsiteX4644" fmla="*/ 190472 w 4919004"/>
                <a:gd name="connsiteY4644" fmla="*/ 1183576 h 2455817"/>
                <a:gd name="connsiteX4645" fmla="*/ 200883 w 4919004"/>
                <a:gd name="connsiteY4645" fmla="*/ 1175534 h 2455817"/>
                <a:gd name="connsiteX4646" fmla="*/ 209221 w 4919004"/>
                <a:gd name="connsiteY4646" fmla="*/ 1173906 h 2455817"/>
                <a:gd name="connsiteX4647" fmla="*/ 215438 w 4919004"/>
                <a:gd name="connsiteY4647" fmla="*/ 1167491 h 2455817"/>
                <a:gd name="connsiteX4648" fmla="*/ 213317 w 4919004"/>
                <a:gd name="connsiteY4648" fmla="*/ 1159400 h 2455817"/>
                <a:gd name="connsiteX4649" fmla="*/ 219583 w 4919004"/>
                <a:gd name="connsiteY4649" fmla="*/ 1159400 h 2455817"/>
                <a:gd name="connsiteX4650" fmla="*/ 227872 w 4919004"/>
                <a:gd name="connsiteY4650" fmla="*/ 1161028 h 2455817"/>
                <a:gd name="connsiteX4651" fmla="*/ 232066 w 4919004"/>
                <a:gd name="connsiteY4651" fmla="*/ 1156094 h 2455817"/>
                <a:gd name="connsiteX4652" fmla="*/ 232066 w 4919004"/>
                <a:gd name="connsiteY4652" fmla="*/ 1149680 h 2455817"/>
                <a:gd name="connsiteX4653" fmla="*/ 240405 w 4919004"/>
                <a:gd name="connsiteY4653" fmla="*/ 1151308 h 2455817"/>
                <a:gd name="connsiteX4654" fmla="*/ 242428 w 4919004"/>
                <a:gd name="connsiteY4654" fmla="*/ 1152887 h 2455817"/>
                <a:gd name="connsiteX4655" fmla="*/ 242428 w 4919004"/>
                <a:gd name="connsiteY4655" fmla="*/ 1159350 h 2455817"/>
                <a:gd name="connsiteX4656" fmla="*/ 244549 w 4919004"/>
                <a:gd name="connsiteY4656" fmla="*/ 1162557 h 2455817"/>
                <a:gd name="connsiteX4657" fmla="*/ 246622 w 4919004"/>
                <a:gd name="connsiteY4657" fmla="*/ 1154515 h 2455817"/>
                <a:gd name="connsiteX4658" fmla="*/ 248694 w 4919004"/>
                <a:gd name="connsiteY4658" fmla="*/ 1151308 h 2455817"/>
                <a:gd name="connsiteX4659" fmla="*/ 254960 w 4919004"/>
                <a:gd name="connsiteY4659" fmla="*/ 1151308 h 2455817"/>
                <a:gd name="connsiteX4660" fmla="*/ 256983 w 4919004"/>
                <a:gd name="connsiteY4660" fmla="*/ 1149680 h 2455817"/>
                <a:gd name="connsiteX4661" fmla="*/ 250766 w 4919004"/>
                <a:gd name="connsiteY4661" fmla="*/ 1146472 h 2455817"/>
                <a:gd name="connsiteX4662" fmla="*/ 250766 w 4919004"/>
                <a:gd name="connsiteY4662" fmla="*/ 1144844 h 2455817"/>
                <a:gd name="connsiteX4663" fmla="*/ 259104 w 4919004"/>
                <a:gd name="connsiteY4663" fmla="*/ 1144844 h 2455817"/>
                <a:gd name="connsiteX4664" fmla="*/ 259104 w 4919004"/>
                <a:gd name="connsiteY4664" fmla="*/ 1141637 h 2455817"/>
                <a:gd name="connsiteX4665" fmla="*/ 256983 w 4919004"/>
                <a:gd name="connsiteY4665" fmla="*/ 1141637 h 2455817"/>
                <a:gd name="connsiteX4666" fmla="*/ 254960 w 4919004"/>
                <a:gd name="connsiteY4666" fmla="*/ 1138381 h 2455817"/>
                <a:gd name="connsiteX4667" fmla="*/ 256983 w 4919004"/>
                <a:gd name="connsiteY4667" fmla="*/ 1135174 h 2455817"/>
                <a:gd name="connsiteX4668" fmla="*/ 263249 w 4919004"/>
                <a:gd name="connsiteY4668" fmla="*/ 1136802 h 2455817"/>
                <a:gd name="connsiteX4669" fmla="*/ 269516 w 4919004"/>
                <a:gd name="connsiteY4669" fmla="*/ 1140009 h 2455817"/>
                <a:gd name="connsiteX4670" fmla="*/ 273660 w 4919004"/>
                <a:gd name="connsiteY4670" fmla="*/ 1143216 h 2455817"/>
                <a:gd name="connsiteX4671" fmla="*/ 277805 w 4919004"/>
                <a:gd name="connsiteY4671" fmla="*/ 1146472 h 2455817"/>
                <a:gd name="connsiteX4672" fmla="*/ 281949 w 4919004"/>
                <a:gd name="connsiteY4672" fmla="*/ 1144844 h 2455817"/>
                <a:gd name="connsiteX4673" fmla="*/ 286094 w 4919004"/>
                <a:gd name="connsiteY4673" fmla="*/ 1146472 h 2455817"/>
                <a:gd name="connsiteX4674" fmla="*/ 288215 w 4919004"/>
                <a:gd name="connsiteY4674" fmla="*/ 1148051 h 2455817"/>
                <a:gd name="connsiteX4675" fmla="*/ 292360 w 4919004"/>
                <a:gd name="connsiteY4675" fmla="*/ 1151308 h 2455817"/>
                <a:gd name="connsiteX4676" fmla="*/ 292360 w 4919004"/>
                <a:gd name="connsiteY4676" fmla="*/ 1154515 h 2455817"/>
                <a:gd name="connsiteX4677" fmla="*/ 286094 w 4919004"/>
                <a:gd name="connsiteY4677" fmla="*/ 1157771 h 2455817"/>
                <a:gd name="connsiteX4678" fmla="*/ 281949 w 4919004"/>
                <a:gd name="connsiteY4678" fmla="*/ 1156094 h 2455817"/>
                <a:gd name="connsiteX4679" fmla="*/ 273660 w 4919004"/>
                <a:gd name="connsiteY4679" fmla="*/ 1157771 h 2455817"/>
                <a:gd name="connsiteX4680" fmla="*/ 267394 w 4919004"/>
                <a:gd name="connsiteY4680" fmla="*/ 1152837 h 2455817"/>
                <a:gd name="connsiteX4681" fmla="*/ 267394 w 4919004"/>
                <a:gd name="connsiteY4681" fmla="*/ 1147903 h 2455817"/>
                <a:gd name="connsiteX4682" fmla="*/ 263249 w 4919004"/>
                <a:gd name="connsiteY4682" fmla="*/ 1152837 h 2455817"/>
                <a:gd name="connsiteX4683" fmla="*/ 263249 w 4919004"/>
                <a:gd name="connsiteY4683" fmla="*/ 1159301 h 2455817"/>
                <a:gd name="connsiteX4684" fmla="*/ 265321 w 4919004"/>
                <a:gd name="connsiteY4684" fmla="*/ 1164235 h 2455817"/>
                <a:gd name="connsiteX4685" fmla="*/ 269516 w 4919004"/>
                <a:gd name="connsiteY4685" fmla="*/ 1161028 h 2455817"/>
                <a:gd name="connsiteX4686" fmla="*/ 273660 w 4919004"/>
                <a:gd name="connsiteY4686" fmla="*/ 1162607 h 2455817"/>
                <a:gd name="connsiteX4687" fmla="*/ 275733 w 4919004"/>
                <a:gd name="connsiteY4687" fmla="*/ 1167541 h 2455817"/>
                <a:gd name="connsiteX4688" fmla="*/ 279877 w 4919004"/>
                <a:gd name="connsiteY4688" fmla="*/ 1164284 h 2455817"/>
                <a:gd name="connsiteX4689" fmla="*/ 286094 w 4919004"/>
                <a:gd name="connsiteY4689" fmla="*/ 1165912 h 2455817"/>
                <a:gd name="connsiteX4690" fmla="*/ 286094 w 4919004"/>
                <a:gd name="connsiteY4690" fmla="*/ 1170847 h 2455817"/>
                <a:gd name="connsiteX4691" fmla="*/ 288215 w 4919004"/>
                <a:gd name="connsiteY4691" fmla="*/ 1169218 h 2455817"/>
                <a:gd name="connsiteX4692" fmla="*/ 292360 w 4919004"/>
                <a:gd name="connsiteY4692" fmla="*/ 1166011 h 2455817"/>
                <a:gd name="connsiteX4693" fmla="*/ 294432 w 4919004"/>
                <a:gd name="connsiteY4693" fmla="*/ 1167639 h 2455817"/>
                <a:gd name="connsiteX4694" fmla="*/ 292360 w 4919004"/>
                <a:gd name="connsiteY4694" fmla="*/ 1170847 h 2455817"/>
                <a:gd name="connsiteX4695" fmla="*/ 292360 w 4919004"/>
                <a:gd name="connsiteY4695" fmla="*/ 1174054 h 2455817"/>
                <a:gd name="connsiteX4696" fmla="*/ 298626 w 4919004"/>
                <a:gd name="connsiteY4696" fmla="*/ 1167639 h 2455817"/>
                <a:gd name="connsiteX4697" fmla="*/ 302771 w 4919004"/>
                <a:gd name="connsiteY4697" fmla="*/ 1164383 h 2455817"/>
                <a:gd name="connsiteX4698" fmla="*/ 304843 w 4919004"/>
                <a:gd name="connsiteY4698" fmla="*/ 1166011 h 2455817"/>
                <a:gd name="connsiteX4699" fmla="*/ 302771 w 4919004"/>
                <a:gd name="connsiteY4699" fmla="*/ 1169218 h 2455817"/>
                <a:gd name="connsiteX4700" fmla="*/ 302771 w 4919004"/>
                <a:gd name="connsiteY4700" fmla="*/ 1172425 h 2455817"/>
                <a:gd name="connsiteX4701" fmla="*/ 306915 w 4919004"/>
                <a:gd name="connsiteY4701" fmla="*/ 1172425 h 2455817"/>
                <a:gd name="connsiteX4702" fmla="*/ 311060 w 4919004"/>
                <a:gd name="connsiteY4702" fmla="*/ 1174054 h 2455817"/>
                <a:gd name="connsiteX4703" fmla="*/ 304843 w 4919004"/>
                <a:gd name="connsiteY4703" fmla="*/ 1177310 h 2455817"/>
                <a:gd name="connsiteX4704" fmla="*/ 300649 w 4919004"/>
                <a:gd name="connsiteY4704" fmla="*/ 1183724 h 2455817"/>
                <a:gd name="connsiteX4705" fmla="*/ 308988 w 4919004"/>
                <a:gd name="connsiteY4705" fmla="*/ 1182146 h 2455817"/>
                <a:gd name="connsiteX4706" fmla="*/ 313182 w 4919004"/>
                <a:gd name="connsiteY4706" fmla="*/ 1174054 h 2455817"/>
                <a:gd name="connsiteX4707" fmla="*/ 313182 w 4919004"/>
                <a:gd name="connsiteY4707" fmla="*/ 1170748 h 2455817"/>
                <a:gd name="connsiteX4708" fmla="*/ 315205 w 4919004"/>
                <a:gd name="connsiteY4708" fmla="*/ 1169120 h 2455817"/>
                <a:gd name="connsiteX4709" fmla="*/ 321471 w 4919004"/>
                <a:gd name="connsiteY4709" fmla="*/ 1167541 h 2455817"/>
                <a:gd name="connsiteX4710" fmla="*/ 327737 w 4919004"/>
                <a:gd name="connsiteY4710" fmla="*/ 1170748 h 2455817"/>
                <a:gd name="connsiteX4711" fmla="*/ 327737 w 4919004"/>
                <a:gd name="connsiteY4711" fmla="*/ 1167541 h 2455817"/>
                <a:gd name="connsiteX4712" fmla="*/ 323543 w 4919004"/>
                <a:gd name="connsiteY4712" fmla="*/ 1164284 h 2455817"/>
                <a:gd name="connsiteX4713" fmla="*/ 325616 w 4919004"/>
                <a:gd name="connsiteY4713" fmla="*/ 1162656 h 2455817"/>
                <a:gd name="connsiteX4714" fmla="*/ 331881 w 4919004"/>
                <a:gd name="connsiteY4714" fmla="*/ 1164284 h 2455817"/>
                <a:gd name="connsiteX4715" fmla="*/ 336026 w 4919004"/>
                <a:gd name="connsiteY4715" fmla="*/ 1169218 h 2455817"/>
                <a:gd name="connsiteX4716" fmla="*/ 346437 w 4919004"/>
                <a:gd name="connsiteY4716" fmla="*/ 1170847 h 2455817"/>
                <a:gd name="connsiteX4717" fmla="*/ 354726 w 4919004"/>
                <a:gd name="connsiteY4717" fmla="*/ 1172425 h 2455817"/>
                <a:gd name="connsiteX4718" fmla="*/ 358871 w 4919004"/>
                <a:gd name="connsiteY4718" fmla="*/ 1170847 h 2455817"/>
                <a:gd name="connsiteX4719" fmla="*/ 358871 w 4919004"/>
                <a:gd name="connsiteY4719" fmla="*/ 1167639 h 2455817"/>
                <a:gd name="connsiteX4720" fmla="*/ 367209 w 4919004"/>
                <a:gd name="connsiteY4720" fmla="*/ 1169218 h 2455817"/>
                <a:gd name="connsiteX4721" fmla="*/ 375548 w 4919004"/>
                <a:gd name="connsiteY4721" fmla="*/ 1172425 h 2455817"/>
                <a:gd name="connsiteX4722" fmla="*/ 375548 w 4919004"/>
                <a:gd name="connsiteY4722" fmla="*/ 1170748 h 2455817"/>
                <a:gd name="connsiteX4723" fmla="*/ 383837 w 4919004"/>
                <a:gd name="connsiteY4723" fmla="*/ 1172327 h 2455817"/>
                <a:gd name="connsiteX4724" fmla="*/ 421287 w 4919004"/>
                <a:gd name="connsiteY4724" fmla="*/ 1190089 h 2455817"/>
                <a:gd name="connsiteX4725" fmla="*/ 446253 w 4919004"/>
                <a:gd name="connsiteY4725" fmla="*/ 1204595 h 2455817"/>
                <a:gd name="connsiteX4726" fmla="*/ 450397 w 4919004"/>
                <a:gd name="connsiteY4726" fmla="*/ 1209529 h 2455817"/>
                <a:gd name="connsiteX4727" fmla="*/ 458736 w 4919004"/>
                <a:gd name="connsiteY4727" fmla="*/ 1211158 h 2455817"/>
                <a:gd name="connsiteX4728" fmla="*/ 467025 w 4919004"/>
                <a:gd name="connsiteY4728" fmla="*/ 1222457 h 2455817"/>
                <a:gd name="connsiteX4729" fmla="*/ 471170 w 4919004"/>
                <a:gd name="connsiteY4729" fmla="*/ 1222457 h 2455817"/>
                <a:gd name="connsiteX4730" fmla="*/ 471170 w 4919004"/>
                <a:gd name="connsiteY4730" fmla="*/ 1217523 h 2455817"/>
                <a:gd name="connsiteX4731" fmla="*/ 473291 w 4919004"/>
                <a:gd name="connsiteY4731" fmla="*/ 1217523 h 2455817"/>
                <a:gd name="connsiteX4732" fmla="*/ 483652 w 4919004"/>
                <a:gd name="connsiteY4732" fmla="*/ 1225614 h 2455817"/>
                <a:gd name="connsiteX4733" fmla="*/ 489919 w 4919004"/>
                <a:gd name="connsiteY4733" fmla="*/ 1225614 h 2455817"/>
                <a:gd name="connsiteX4734" fmla="*/ 498208 w 4919004"/>
                <a:gd name="connsiteY4734" fmla="*/ 1232078 h 2455817"/>
                <a:gd name="connsiteX4735" fmla="*/ 504474 w 4919004"/>
                <a:gd name="connsiteY4735" fmla="*/ 1230450 h 2455817"/>
                <a:gd name="connsiteX4736" fmla="*/ 498208 w 4919004"/>
                <a:gd name="connsiteY4736" fmla="*/ 1223986 h 2455817"/>
                <a:gd name="connsiteX4737" fmla="*/ 496136 w 4919004"/>
                <a:gd name="connsiteY4737" fmla="*/ 1220779 h 2455817"/>
                <a:gd name="connsiteX4738" fmla="*/ 500280 w 4919004"/>
                <a:gd name="connsiteY4738" fmla="*/ 1220779 h 2455817"/>
                <a:gd name="connsiteX4739" fmla="*/ 508619 w 4919004"/>
                <a:gd name="connsiteY4739" fmla="*/ 1227193 h 2455817"/>
                <a:gd name="connsiteX4740" fmla="*/ 508619 w 4919004"/>
                <a:gd name="connsiteY4740" fmla="*/ 1232127 h 2455817"/>
                <a:gd name="connsiteX4741" fmla="*/ 521053 w 4919004"/>
                <a:gd name="connsiteY4741" fmla="*/ 1241995 h 2455817"/>
                <a:gd name="connsiteX4742" fmla="*/ 521053 w 4919004"/>
                <a:gd name="connsiteY4742" fmla="*/ 1244758 h 2455817"/>
                <a:gd name="connsiteX4743" fmla="*/ 529391 w 4919004"/>
                <a:gd name="connsiteY4743" fmla="*/ 1247966 h 2455817"/>
                <a:gd name="connsiteX4744" fmla="*/ 531513 w 4919004"/>
                <a:gd name="connsiteY4744" fmla="*/ 1246387 h 2455817"/>
                <a:gd name="connsiteX4745" fmla="*/ 537730 w 4919004"/>
                <a:gd name="connsiteY4745" fmla="*/ 1246387 h 2455817"/>
                <a:gd name="connsiteX4746" fmla="*/ 543947 w 4919004"/>
                <a:gd name="connsiteY4746" fmla="*/ 1254429 h 2455817"/>
                <a:gd name="connsiteX4747" fmla="*/ 548140 w 4919004"/>
                <a:gd name="connsiteY4747" fmla="*/ 1260893 h 2455817"/>
                <a:gd name="connsiteX4748" fmla="*/ 552285 w 4919004"/>
                <a:gd name="connsiteY4748" fmla="*/ 1264100 h 2455817"/>
                <a:gd name="connsiteX4749" fmla="*/ 558502 w 4919004"/>
                <a:gd name="connsiteY4749" fmla="*/ 1272142 h 2455817"/>
                <a:gd name="connsiteX4750" fmla="*/ 560574 w 4919004"/>
                <a:gd name="connsiteY4750" fmla="*/ 1270563 h 2455817"/>
                <a:gd name="connsiteX4751" fmla="*/ 562696 w 4919004"/>
                <a:gd name="connsiteY4751" fmla="*/ 1273771 h 2455817"/>
                <a:gd name="connsiteX4752" fmla="*/ 562696 w 4919004"/>
                <a:gd name="connsiteY4752" fmla="*/ 1296368 h 2455817"/>
                <a:gd name="connsiteX4753" fmla="*/ 558502 w 4919004"/>
                <a:gd name="connsiteY4753" fmla="*/ 1301302 h 2455817"/>
                <a:gd name="connsiteX4754" fmla="*/ 558502 w 4919004"/>
                <a:gd name="connsiteY4754" fmla="*/ 1306236 h 2455817"/>
                <a:gd name="connsiteX4755" fmla="*/ 552285 w 4919004"/>
                <a:gd name="connsiteY4755" fmla="*/ 1314279 h 2455817"/>
                <a:gd name="connsiteX4756" fmla="*/ 550164 w 4919004"/>
                <a:gd name="connsiteY4756" fmla="*/ 1319213 h 2455817"/>
                <a:gd name="connsiteX4757" fmla="*/ 535362 w 4919004"/>
                <a:gd name="connsiteY4757" fmla="*/ 1335347 h 2455817"/>
                <a:gd name="connsiteX4758" fmla="*/ 527072 w 4919004"/>
                <a:gd name="connsiteY4758" fmla="*/ 1340281 h 2455817"/>
                <a:gd name="connsiteX4759" fmla="*/ 514589 w 4919004"/>
                <a:gd name="connsiteY4759" fmla="*/ 1341910 h 2455817"/>
                <a:gd name="connsiteX4760" fmla="*/ 510444 w 4919004"/>
                <a:gd name="connsiteY4760" fmla="*/ 1345117 h 2455817"/>
                <a:gd name="connsiteX4761" fmla="*/ 497961 w 4919004"/>
                <a:gd name="connsiteY4761" fmla="*/ 1345117 h 2455817"/>
                <a:gd name="connsiteX4762" fmla="*/ 495889 w 4919004"/>
                <a:gd name="connsiteY4762" fmla="*/ 1348373 h 2455817"/>
                <a:gd name="connsiteX4763" fmla="*/ 481087 w 4919004"/>
                <a:gd name="connsiteY4763" fmla="*/ 1349952 h 2455817"/>
                <a:gd name="connsiteX4764" fmla="*/ 460314 w 4919004"/>
                <a:gd name="connsiteY4764" fmla="*/ 1348373 h 2455817"/>
                <a:gd name="connsiteX4765" fmla="*/ 447831 w 4919004"/>
                <a:gd name="connsiteY4765" fmla="*/ 1345117 h 2455817"/>
                <a:gd name="connsiteX4766" fmla="*/ 439493 w 4919004"/>
                <a:gd name="connsiteY4766" fmla="*/ 1340183 h 2455817"/>
                <a:gd name="connsiteX4767" fmla="*/ 433276 w 4919004"/>
                <a:gd name="connsiteY4767" fmla="*/ 1343390 h 2455817"/>
                <a:gd name="connsiteX4768" fmla="*/ 427010 w 4919004"/>
                <a:gd name="connsiteY4768" fmla="*/ 1341811 h 2455817"/>
                <a:gd name="connsiteX4769" fmla="*/ 418721 w 4919004"/>
                <a:gd name="connsiteY4769" fmla="*/ 1341811 h 2455817"/>
                <a:gd name="connsiteX4770" fmla="*/ 416599 w 4919004"/>
                <a:gd name="connsiteY4770" fmla="*/ 1338554 h 2455817"/>
                <a:gd name="connsiteX4771" fmla="*/ 410382 w 4919004"/>
                <a:gd name="connsiteY4771" fmla="*/ 1336926 h 2455817"/>
                <a:gd name="connsiteX4772" fmla="*/ 404165 w 4919004"/>
                <a:gd name="connsiteY4772" fmla="*/ 1340183 h 2455817"/>
                <a:gd name="connsiteX4773" fmla="*/ 395827 w 4919004"/>
                <a:gd name="connsiteY4773" fmla="*/ 1332140 h 2455817"/>
                <a:gd name="connsiteX4774" fmla="*/ 395827 w 4919004"/>
                <a:gd name="connsiteY4774" fmla="*/ 1328637 h 2455817"/>
                <a:gd name="connsiteX4775" fmla="*/ 389610 w 4919004"/>
                <a:gd name="connsiteY4775" fmla="*/ 1330265 h 2455817"/>
                <a:gd name="connsiteX4776" fmla="*/ 383985 w 4919004"/>
                <a:gd name="connsiteY4776" fmla="*/ 1328637 h 2455817"/>
                <a:gd name="connsiteX4777" fmla="*/ 386107 w 4919004"/>
                <a:gd name="connsiteY4777" fmla="*/ 1327058 h 2455817"/>
                <a:gd name="connsiteX4778" fmla="*/ 375696 w 4919004"/>
                <a:gd name="connsiteY4778" fmla="*/ 1327058 h 2455817"/>
                <a:gd name="connsiteX4779" fmla="*/ 371551 w 4919004"/>
                <a:gd name="connsiteY4779" fmla="*/ 1330265 h 2455817"/>
                <a:gd name="connsiteX4780" fmla="*/ 365285 w 4919004"/>
                <a:gd name="connsiteY4780" fmla="*/ 1330265 h 2455817"/>
                <a:gd name="connsiteX4781" fmla="*/ 365285 w 4919004"/>
                <a:gd name="connsiteY4781" fmla="*/ 1327058 h 2455817"/>
                <a:gd name="connsiteX4782" fmla="*/ 361140 w 4919004"/>
                <a:gd name="connsiteY4782" fmla="*/ 1325430 h 2455817"/>
                <a:gd name="connsiteX4783" fmla="*/ 367357 w 4919004"/>
                <a:gd name="connsiteY4783" fmla="*/ 1322173 h 2455817"/>
                <a:gd name="connsiteX4784" fmla="*/ 361140 w 4919004"/>
                <a:gd name="connsiteY4784" fmla="*/ 1317239 h 2455817"/>
                <a:gd name="connsiteX4785" fmla="*/ 361140 w 4919004"/>
                <a:gd name="connsiteY4785" fmla="*/ 1320447 h 2455817"/>
                <a:gd name="connsiteX4786" fmla="*/ 348657 w 4919004"/>
                <a:gd name="connsiteY4786" fmla="*/ 1320447 h 2455817"/>
                <a:gd name="connsiteX4787" fmla="*/ 340319 w 4919004"/>
                <a:gd name="connsiteY4787" fmla="*/ 1315512 h 2455817"/>
                <a:gd name="connsiteX4788" fmla="*/ 340319 w 4919004"/>
                <a:gd name="connsiteY4788" fmla="*/ 1317141 h 2455817"/>
                <a:gd name="connsiteX4789" fmla="*/ 334102 w 4919004"/>
                <a:gd name="connsiteY4789" fmla="*/ 1317141 h 2455817"/>
                <a:gd name="connsiteX4790" fmla="*/ 319546 w 4919004"/>
                <a:gd name="connsiteY4790" fmla="*/ 1305842 h 2455817"/>
                <a:gd name="connsiteX4791" fmla="*/ 317474 w 4919004"/>
                <a:gd name="connsiteY4791" fmla="*/ 1300908 h 2455817"/>
                <a:gd name="connsiteX4792" fmla="*/ 309136 w 4919004"/>
                <a:gd name="connsiteY4792" fmla="*/ 1299279 h 2455817"/>
                <a:gd name="connsiteX4793" fmla="*/ 307064 w 4919004"/>
                <a:gd name="connsiteY4793" fmla="*/ 1297651 h 2455817"/>
                <a:gd name="connsiteX4794" fmla="*/ 300797 w 4919004"/>
                <a:gd name="connsiteY4794" fmla="*/ 1297651 h 2455817"/>
                <a:gd name="connsiteX4795" fmla="*/ 298774 w 4919004"/>
                <a:gd name="connsiteY4795" fmla="*/ 1299279 h 2455817"/>
                <a:gd name="connsiteX4796" fmla="*/ 307064 w 4919004"/>
                <a:gd name="connsiteY4796" fmla="*/ 1304213 h 2455817"/>
                <a:gd name="connsiteX4797" fmla="*/ 307064 w 4919004"/>
                <a:gd name="connsiteY4797" fmla="*/ 1314082 h 2455817"/>
                <a:gd name="connsiteX4798" fmla="*/ 317474 w 4919004"/>
                <a:gd name="connsiteY4798" fmla="*/ 1319016 h 2455817"/>
                <a:gd name="connsiteX4799" fmla="*/ 317474 w 4919004"/>
                <a:gd name="connsiteY4799" fmla="*/ 1322223 h 2455817"/>
                <a:gd name="connsiteX4800" fmla="*/ 329908 w 4919004"/>
                <a:gd name="connsiteY4800" fmla="*/ 1325479 h 2455817"/>
                <a:gd name="connsiteX4801" fmla="*/ 332030 w 4919004"/>
                <a:gd name="connsiteY4801" fmla="*/ 1327107 h 2455817"/>
                <a:gd name="connsiteX4802" fmla="*/ 323691 w 4919004"/>
                <a:gd name="connsiteY4802" fmla="*/ 1330315 h 2455817"/>
                <a:gd name="connsiteX4803" fmla="*/ 321619 w 4919004"/>
                <a:gd name="connsiteY4803" fmla="*/ 1333522 h 2455817"/>
                <a:gd name="connsiteX4804" fmla="*/ 321619 w 4919004"/>
                <a:gd name="connsiteY4804" fmla="*/ 1335150 h 2455817"/>
                <a:gd name="connsiteX4805" fmla="*/ 334102 w 4919004"/>
                <a:gd name="connsiteY4805" fmla="*/ 1333522 h 2455817"/>
                <a:gd name="connsiteX4806" fmla="*/ 338246 w 4919004"/>
                <a:gd name="connsiteY4806" fmla="*/ 1330315 h 2455817"/>
                <a:gd name="connsiteX4807" fmla="*/ 344463 w 4919004"/>
                <a:gd name="connsiteY4807" fmla="*/ 1333522 h 2455817"/>
                <a:gd name="connsiteX4808" fmla="*/ 338246 w 4919004"/>
                <a:gd name="connsiteY4808" fmla="*/ 1335150 h 2455817"/>
                <a:gd name="connsiteX4809" fmla="*/ 338246 w 4919004"/>
                <a:gd name="connsiteY4809" fmla="*/ 1336729 h 2455817"/>
                <a:gd name="connsiteX4810" fmla="*/ 346585 w 4919004"/>
                <a:gd name="connsiteY4810" fmla="*/ 1338357 h 2455817"/>
                <a:gd name="connsiteX4811" fmla="*/ 344463 w 4919004"/>
                <a:gd name="connsiteY4811" fmla="*/ 1341614 h 2455817"/>
                <a:gd name="connsiteX4812" fmla="*/ 338246 w 4919004"/>
                <a:gd name="connsiteY4812" fmla="*/ 1343192 h 2455817"/>
                <a:gd name="connsiteX4813" fmla="*/ 334102 w 4919004"/>
                <a:gd name="connsiteY4813" fmla="*/ 1346449 h 2455817"/>
                <a:gd name="connsiteX4814" fmla="*/ 342440 w 4919004"/>
                <a:gd name="connsiteY4814" fmla="*/ 1348077 h 2455817"/>
                <a:gd name="connsiteX4815" fmla="*/ 346585 w 4919004"/>
                <a:gd name="connsiteY4815" fmla="*/ 1346449 h 2455817"/>
                <a:gd name="connsiteX4816" fmla="*/ 352802 w 4919004"/>
                <a:gd name="connsiteY4816" fmla="*/ 1346449 h 2455817"/>
                <a:gd name="connsiteX4817" fmla="*/ 354874 w 4919004"/>
                <a:gd name="connsiteY4817" fmla="*/ 1349656 h 2455817"/>
                <a:gd name="connsiteX4818" fmla="*/ 359019 w 4919004"/>
                <a:gd name="connsiteY4818" fmla="*/ 1346449 h 2455817"/>
                <a:gd name="connsiteX4819" fmla="*/ 375696 w 4919004"/>
                <a:gd name="connsiteY4819" fmla="*/ 1352863 h 2455817"/>
                <a:gd name="connsiteX4820" fmla="*/ 383985 w 4919004"/>
                <a:gd name="connsiteY4820" fmla="*/ 1360955 h 2455817"/>
                <a:gd name="connsiteX4821" fmla="*/ 388129 w 4919004"/>
                <a:gd name="connsiteY4821" fmla="*/ 1362583 h 2455817"/>
                <a:gd name="connsiteX4822" fmla="*/ 386107 w 4919004"/>
                <a:gd name="connsiteY4822" fmla="*/ 1365790 h 2455817"/>
                <a:gd name="connsiteX4823" fmla="*/ 383985 w 4919004"/>
                <a:gd name="connsiteY4823" fmla="*/ 1370724 h 2455817"/>
                <a:gd name="connsiteX4824" fmla="*/ 388129 w 4919004"/>
                <a:gd name="connsiteY4824" fmla="*/ 1370724 h 2455817"/>
                <a:gd name="connsiteX4825" fmla="*/ 388129 w 4919004"/>
                <a:gd name="connsiteY4825" fmla="*/ 1377139 h 2455817"/>
                <a:gd name="connsiteX4826" fmla="*/ 386107 w 4919004"/>
                <a:gd name="connsiteY4826" fmla="*/ 1387007 h 2455817"/>
                <a:gd name="connsiteX4827" fmla="*/ 381913 w 4919004"/>
                <a:gd name="connsiteY4827" fmla="*/ 1388635 h 2455817"/>
                <a:gd name="connsiteX4828" fmla="*/ 379841 w 4919004"/>
                <a:gd name="connsiteY4828" fmla="*/ 1393569 h 2455817"/>
                <a:gd name="connsiteX4829" fmla="*/ 386107 w 4919004"/>
                <a:gd name="connsiteY4829" fmla="*/ 1395197 h 2455817"/>
                <a:gd name="connsiteX4830" fmla="*/ 386107 w 4919004"/>
                <a:gd name="connsiteY4830" fmla="*/ 1403289 h 2455817"/>
                <a:gd name="connsiteX4831" fmla="*/ 396468 w 4919004"/>
                <a:gd name="connsiteY4831" fmla="*/ 1411331 h 2455817"/>
                <a:gd name="connsiteX4832" fmla="*/ 396468 w 4919004"/>
                <a:gd name="connsiteY4832" fmla="*/ 1416266 h 2455817"/>
                <a:gd name="connsiteX4833" fmla="*/ 402685 w 4919004"/>
                <a:gd name="connsiteY4833" fmla="*/ 1421200 h 2455817"/>
                <a:gd name="connsiteX4834" fmla="*/ 402685 w 4919004"/>
                <a:gd name="connsiteY4834" fmla="*/ 1426134 h 2455817"/>
                <a:gd name="connsiteX4835" fmla="*/ 404807 w 4919004"/>
                <a:gd name="connsiteY4835" fmla="*/ 1434225 h 2455817"/>
                <a:gd name="connsiteX4836" fmla="*/ 400662 w 4919004"/>
                <a:gd name="connsiteY4836" fmla="*/ 1439159 h 2455817"/>
                <a:gd name="connsiteX4837" fmla="*/ 404807 w 4919004"/>
                <a:gd name="connsiteY4837" fmla="*/ 1442416 h 2455817"/>
                <a:gd name="connsiteX4838" fmla="*/ 408952 w 4919004"/>
                <a:gd name="connsiteY4838" fmla="*/ 1447350 h 2455817"/>
                <a:gd name="connsiteX4839" fmla="*/ 421434 w 4919004"/>
                <a:gd name="connsiteY4839" fmla="*/ 1452284 h 2455817"/>
                <a:gd name="connsiteX4840" fmla="*/ 429773 w 4919004"/>
                <a:gd name="connsiteY4840" fmla="*/ 1447350 h 2455817"/>
                <a:gd name="connsiteX4841" fmla="*/ 431845 w 4919004"/>
                <a:gd name="connsiteY4841" fmla="*/ 1447350 h 2455817"/>
                <a:gd name="connsiteX4842" fmla="*/ 435990 w 4919004"/>
                <a:gd name="connsiteY4842" fmla="*/ 1453813 h 2455817"/>
                <a:gd name="connsiteX4843" fmla="*/ 442207 w 4919004"/>
                <a:gd name="connsiteY4843" fmla="*/ 1457021 h 2455817"/>
                <a:gd name="connsiteX4844" fmla="*/ 444328 w 4919004"/>
                <a:gd name="connsiteY4844" fmla="*/ 1463435 h 2455817"/>
                <a:gd name="connsiteX4845" fmla="*/ 446401 w 4919004"/>
                <a:gd name="connsiteY4845" fmla="*/ 1466691 h 2455817"/>
                <a:gd name="connsiteX4846" fmla="*/ 458884 w 4919004"/>
                <a:gd name="connsiteY4846" fmla="*/ 1466691 h 2455817"/>
                <a:gd name="connsiteX4847" fmla="*/ 463028 w 4919004"/>
                <a:gd name="connsiteY4847" fmla="*/ 1469898 h 2455817"/>
                <a:gd name="connsiteX4848" fmla="*/ 473439 w 4919004"/>
                <a:gd name="connsiteY4848" fmla="*/ 1469898 h 2455817"/>
                <a:gd name="connsiteX4849" fmla="*/ 479656 w 4919004"/>
                <a:gd name="connsiteY4849" fmla="*/ 1474832 h 2455817"/>
                <a:gd name="connsiteX4850" fmla="*/ 483800 w 4919004"/>
                <a:gd name="connsiteY4850" fmla="*/ 1474832 h 2455817"/>
                <a:gd name="connsiteX4851" fmla="*/ 492139 w 4919004"/>
                <a:gd name="connsiteY4851" fmla="*/ 1468369 h 2455817"/>
                <a:gd name="connsiteX4852" fmla="*/ 496284 w 4919004"/>
                <a:gd name="connsiteY4852" fmla="*/ 1468369 h 2455817"/>
                <a:gd name="connsiteX4853" fmla="*/ 502550 w 4919004"/>
                <a:gd name="connsiteY4853" fmla="*/ 1466741 h 2455817"/>
                <a:gd name="connsiteX4854" fmla="*/ 502550 w 4919004"/>
                <a:gd name="connsiteY4854" fmla="*/ 1456873 h 2455817"/>
                <a:gd name="connsiteX4855" fmla="*/ 496284 w 4919004"/>
                <a:gd name="connsiteY4855" fmla="*/ 1451938 h 2455817"/>
                <a:gd name="connsiteX4856" fmla="*/ 498356 w 4919004"/>
                <a:gd name="connsiteY4856" fmla="*/ 1448682 h 2455817"/>
                <a:gd name="connsiteX4857" fmla="*/ 498356 w 4919004"/>
                <a:gd name="connsiteY4857" fmla="*/ 1447103 h 2455817"/>
                <a:gd name="connsiteX4858" fmla="*/ 490067 w 4919004"/>
                <a:gd name="connsiteY4858" fmla="*/ 1443896 h 2455817"/>
                <a:gd name="connsiteX4859" fmla="*/ 490067 w 4919004"/>
                <a:gd name="connsiteY4859" fmla="*/ 1438962 h 2455817"/>
                <a:gd name="connsiteX4860" fmla="*/ 483800 w 4919004"/>
                <a:gd name="connsiteY4860" fmla="*/ 1442218 h 2455817"/>
                <a:gd name="connsiteX4861" fmla="*/ 479656 w 4919004"/>
                <a:gd name="connsiteY4861" fmla="*/ 1442218 h 2455817"/>
                <a:gd name="connsiteX4862" fmla="*/ 473439 w 4919004"/>
                <a:gd name="connsiteY4862" fmla="*/ 1445426 h 2455817"/>
                <a:gd name="connsiteX4863" fmla="*/ 465100 w 4919004"/>
                <a:gd name="connsiteY4863" fmla="*/ 1440492 h 2455817"/>
                <a:gd name="connsiteX4864" fmla="*/ 458884 w 4919004"/>
                <a:gd name="connsiteY4864" fmla="*/ 1434077 h 2455817"/>
                <a:gd name="connsiteX4865" fmla="*/ 448473 w 4919004"/>
                <a:gd name="connsiteY4865" fmla="*/ 1429143 h 2455817"/>
                <a:gd name="connsiteX4866" fmla="*/ 446401 w 4919004"/>
                <a:gd name="connsiteY4866" fmla="*/ 1422729 h 2455817"/>
                <a:gd name="connsiteX4867" fmla="*/ 442207 w 4919004"/>
                <a:gd name="connsiteY4867" fmla="*/ 1414637 h 2455817"/>
                <a:gd name="connsiteX4868" fmla="*/ 448473 w 4919004"/>
                <a:gd name="connsiteY4868" fmla="*/ 1414637 h 2455817"/>
                <a:gd name="connsiteX4869" fmla="*/ 452618 w 4919004"/>
                <a:gd name="connsiteY4869" fmla="*/ 1411430 h 2455817"/>
                <a:gd name="connsiteX4870" fmla="*/ 450545 w 4919004"/>
                <a:gd name="connsiteY4870" fmla="*/ 1408174 h 2455817"/>
                <a:gd name="connsiteX4871" fmla="*/ 452618 w 4919004"/>
                <a:gd name="connsiteY4871" fmla="*/ 1404967 h 2455817"/>
                <a:gd name="connsiteX4872" fmla="*/ 450545 w 4919004"/>
                <a:gd name="connsiteY4872" fmla="*/ 1400033 h 2455817"/>
                <a:gd name="connsiteX4873" fmla="*/ 452618 w 4919004"/>
                <a:gd name="connsiteY4873" fmla="*/ 1396825 h 2455817"/>
                <a:gd name="connsiteX4874" fmla="*/ 460956 w 4919004"/>
                <a:gd name="connsiteY4874" fmla="*/ 1396825 h 2455817"/>
                <a:gd name="connsiteX4875" fmla="*/ 469245 w 4919004"/>
                <a:gd name="connsiteY4875" fmla="*/ 1400033 h 2455817"/>
                <a:gd name="connsiteX4876" fmla="*/ 477584 w 4919004"/>
                <a:gd name="connsiteY4876" fmla="*/ 1401611 h 2455817"/>
                <a:gd name="connsiteX4877" fmla="*/ 483800 w 4919004"/>
                <a:gd name="connsiteY4877" fmla="*/ 1408075 h 2455817"/>
                <a:gd name="connsiteX4878" fmla="*/ 490067 w 4919004"/>
                <a:gd name="connsiteY4878" fmla="*/ 1413009 h 2455817"/>
                <a:gd name="connsiteX4879" fmla="*/ 502550 w 4919004"/>
                <a:gd name="connsiteY4879" fmla="*/ 1414588 h 2455817"/>
                <a:gd name="connsiteX4880" fmla="*/ 504622 w 4919004"/>
                <a:gd name="connsiteY4880" fmla="*/ 1417844 h 2455817"/>
                <a:gd name="connsiteX4881" fmla="*/ 512911 w 4919004"/>
                <a:gd name="connsiteY4881" fmla="*/ 1419473 h 2455817"/>
                <a:gd name="connsiteX4882" fmla="*/ 535756 w 4919004"/>
                <a:gd name="connsiteY4882" fmla="*/ 1427515 h 2455817"/>
                <a:gd name="connsiteX4883" fmla="*/ 544094 w 4919004"/>
                <a:gd name="connsiteY4883" fmla="*/ 1435558 h 2455817"/>
                <a:gd name="connsiteX4884" fmla="*/ 548289 w 4919004"/>
                <a:gd name="connsiteY4884" fmla="*/ 1430624 h 2455817"/>
                <a:gd name="connsiteX4885" fmla="*/ 554506 w 4919004"/>
                <a:gd name="connsiteY4885" fmla="*/ 1425690 h 2455817"/>
                <a:gd name="connsiteX4886" fmla="*/ 554506 w 4919004"/>
                <a:gd name="connsiteY4886" fmla="*/ 1419275 h 2455817"/>
                <a:gd name="connsiteX4887" fmla="*/ 560722 w 4919004"/>
                <a:gd name="connsiteY4887" fmla="*/ 1419275 h 2455817"/>
                <a:gd name="connsiteX4888" fmla="*/ 564867 w 4919004"/>
                <a:gd name="connsiteY4888" fmla="*/ 1414341 h 2455817"/>
                <a:gd name="connsiteX4889" fmla="*/ 556577 w 4919004"/>
                <a:gd name="connsiteY4889" fmla="*/ 1401414 h 2455817"/>
                <a:gd name="connsiteX4890" fmla="*/ 539950 w 4919004"/>
                <a:gd name="connsiteY4890" fmla="*/ 1388586 h 2455817"/>
                <a:gd name="connsiteX4891" fmla="*/ 535756 w 4919004"/>
                <a:gd name="connsiteY4891" fmla="*/ 1378717 h 2455817"/>
                <a:gd name="connsiteX4892" fmla="*/ 537877 w 4919004"/>
                <a:gd name="connsiteY4892" fmla="*/ 1373783 h 2455817"/>
                <a:gd name="connsiteX4893" fmla="*/ 548289 w 4919004"/>
                <a:gd name="connsiteY4893" fmla="*/ 1365741 h 2455817"/>
                <a:gd name="connsiteX4894" fmla="*/ 554506 w 4919004"/>
                <a:gd name="connsiteY4894" fmla="*/ 1357699 h 2455817"/>
                <a:gd name="connsiteX4895" fmla="*/ 556577 w 4919004"/>
                <a:gd name="connsiteY4895" fmla="*/ 1349607 h 2455817"/>
                <a:gd name="connsiteX4896" fmla="*/ 562844 w 4919004"/>
                <a:gd name="connsiteY4896" fmla="*/ 1344673 h 2455817"/>
                <a:gd name="connsiteX4897" fmla="*/ 571133 w 4919004"/>
                <a:gd name="connsiteY4897" fmla="*/ 1343044 h 2455817"/>
                <a:gd name="connsiteX4898" fmla="*/ 583616 w 4919004"/>
                <a:gd name="connsiteY4898" fmla="*/ 1335002 h 2455817"/>
                <a:gd name="connsiteX4899" fmla="*/ 591955 w 4919004"/>
                <a:gd name="connsiteY4899" fmla="*/ 1320496 h 2455817"/>
                <a:gd name="connsiteX4900" fmla="*/ 596099 w 4919004"/>
                <a:gd name="connsiteY4900" fmla="*/ 1317289 h 2455817"/>
                <a:gd name="connsiteX4901" fmla="*/ 606510 w 4919004"/>
                <a:gd name="connsiteY4901" fmla="*/ 1317289 h 2455817"/>
                <a:gd name="connsiteX4902" fmla="*/ 612727 w 4919004"/>
                <a:gd name="connsiteY4902" fmla="*/ 1322223 h 2455817"/>
                <a:gd name="connsiteX4903" fmla="*/ 633499 w 4919004"/>
                <a:gd name="connsiteY4903" fmla="*/ 1322223 h 2455817"/>
                <a:gd name="connsiteX4904" fmla="*/ 637644 w 4919004"/>
                <a:gd name="connsiteY4904" fmla="*/ 1327157 h 2455817"/>
                <a:gd name="connsiteX4905" fmla="*/ 637644 w 4919004"/>
                <a:gd name="connsiteY4905" fmla="*/ 1333571 h 2455817"/>
                <a:gd name="connsiteX4906" fmla="*/ 645982 w 4919004"/>
                <a:gd name="connsiteY4906" fmla="*/ 1327157 h 2455817"/>
                <a:gd name="connsiteX4907" fmla="*/ 654321 w 4919004"/>
                <a:gd name="connsiteY4907" fmla="*/ 1332091 h 2455817"/>
                <a:gd name="connsiteX4908" fmla="*/ 656393 w 4919004"/>
                <a:gd name="connsiteY4908" fmla="*/ 1340133 h 2455817"/>
                <a:gd name="connsiteX4909" fmla="*/ 662610 w 4919004"/>
                <a:gd name="connsiteY4909" fmla="*/ 1343340 h 2455817"/>
                <a:gd name="connsiteX4910" fmla="*/ 660538 w 4919004"/>
                <a:gd name="connsiteY4910" fmla="*/ 1332091 h 2455817"/>
                <a:gd name="connsiteX4911" fmla="*/ 656393 w 4919004"/>
                <a:gd name="connsiteY4911" fmla="*/ 1324048 h 2455817"/>
                <a:gd name="connsiteX4912" fmla="*/ 658465 w 4919004"/>
                <a:gd name="connsiteY4912" fmla="*/ 1320792 h 2455817"/>
                <a:gd name="connsiteX4913" fmla="*/ 658465 w 4919004"/>
                <a:gd name="connsiteY4913" fmla="*/ 1306286 h 2455817"/>
                <a:gd name="connsiteX4914" fmla="*/ 660538 w 4919004"/>
                <a:gd name="connsiteY4914" fmla="*/ 1301352 h 2455817"/>
                <a:gd name="connsiteX4915" fmla="*/ 658465 w 4919004"/>
                <a:gd name="connsiteY4915" fmla="*/ 1299724 h 2455817"/>
                <a:gd name="connsiteX4916" fmla="*/ 658465 w 4919004"/>
                <a:gd name="connsiteY4916" fmla="*/ 1286846 h 2455817"/>
                <a:gd name="connsiteX4917" fmla="*/ 654321 w 4919004"/>
                <a:gd name="connsiteY4917" fmla="*/ 1280382 h 2455817"/>
                <a:gd name="connsiteX4918" fmla="*/ 645982 w 4919004"/>
                <a:gd name="connsiteY4918" fmla="*/ 1277175 h 2455817"/>
                <a:gd name="connsiteX4919" fmla="*/ 635621 w 4919004"/>
                <a:gd name="connsiteY4919" fmla="*/ 1277175 h 2455817"/>
                <a:gd name="connsiteX4920" fmla="*/ 631427 w 4919004"/>
                <a:gd name="connsiteY4920" fmla="*/ 1270711 h 2455817"/>
                <a:gd name="connsiteX4921" fmla="*/ 635621 w 4919004"/>
                <a:gd name="connsiteY4921" fmla="*/ 1262669 h 2455817"/>
                <a:gd name="connsiteX4922" fmla="*/ 635621 w 4919004"/>
                <a:gd name="connsiteY4922" fmla="*/ 1248114 h 2455817"/>
                <a:gd name="connsiteX4923" fmla="*/ 637644 w 4919004"/>
                <a:gd name="connsiteY4923" fmla="*/ 1246535 h 2455817"/>
                <a:gd name="connsiteX4924" fmla="*/ 635621 w 4919004"/>
                <a:gd name="connsiteY4924" fmla="*/ 1241601 h 2455817"/>
                <a:gd name="connsiteX4925" fmla="*/ 635621 w 4919004"/>
                <a:gd name="connsiteY4925" fmla="*/ 1235137 h 2455817"/>
                <a:gd name="connsiteX4926" fmla="*/ 639765 w 4919004"/>
                <a:gd name="connsiteY4926" fmla="*/ 1233509 h 2455817"/>
                <a:gd name="connsiteX4927" fmla="*/ 635621 w 4919004"/>
                <a:gd name="connsiteY4927" fmla="*/ 1228575 h 2455817"/>
                <a:gd name="connsiteX4928" fmla="*/ 635621 w 4919004"/>
                <a:gd name="connsiteY4928" fmla="*/ 1222111 h 2455817"/>
                <a:gd name="connsiteX4929" fmla="*/ 629355 w 4919004"/>
                <a:gd name="connsiteY4929" fmla="*/ 1209184 h 2455817"/>
                <a:gd name="connsiteX4930" fmla="*/ 618944 w 4919004"/>
                <a:gd name="connsiteY4930" fmla="*/ 1202721 h 2455817"/>
                <a:gd name="connsiteX4931" fmla="*/ 602316 w 4919004"/>
                <a:gd name="connsiteY4931" fmla="*/ 1189843 h 2455817"/>
                <a:gd name="connsiteX4932" fmla="*/ 602316 w 4919004"/>
                <a:gd name="connsiteY4932" fmla="*/ 1186586 h 2455817"/>
                <a:gd name="connsiteX4933" fmla="*/ 610654 w 4919004"/>
                <a:gd name="connsiteY4933" fmla="*/ 1186586 h 2455817"/>
                <a:gd name="connsiteX4934" fmla="*/ 625210 w 4919004"/>
                <a:gd name="connsiteY4934" fmla="*/ 1196454 h 2455817"/>
                <a:gd name="connsiteX4935" fmla="*/ 633499 w 4919004"/>
                <a:gd name="connsiteY4935" fmla="*/ 1194826 h 2455817"/>
                <a:gd name="connsiteX4936" fmla="*/ 639765 w 4919004"/>
                <a:gd name="connsiteY4936" fmla="*/ 1193198 h 2455817"/>
                <a:gd name="connsiteX4937" fmla="*/ 652199 w 4919004"/>
                <a:gd name="connsiteY4937" fmla="*/ 1191619 h 2455817"/>
                <a:gd name="connsiteX4938" fmla="*/ 670949 w 4919004"/>
                <a:gd name="connsiteY4938" fmla="*/ 1193198 h 2455817"/>
                <a:gd name="connsiteX4939" fmla="*/ 681310 w 4919004"/>
                <a:gd name="connsiteY4939" fmla="*/ 1198132 h 2455817"/>
                <a:gd name="connsiteX4940" fmla="*/ 681310 w 4919004"/>
                <a:gd name="connsiteY4940" fmla="*/ 1204546 h 2455817"/>
                <a:gd name="connsiteX4941" fmla="*/ 687576 w 4919004"/>
                <a:gd name="connsiteY4941" fmla="*/ 1212638 h 2455817"/>
                <a:gd name="connsiteX4942" fmla="*/ 695865 w 4919004"/>
                <a:gd name="connsiteY4942" fmla="*/ 1212638 h 2455817"/>
                <a:gd name="connsiteX4943" fmla="*/ 697987 w 4919004"/>
                <a:gd name="connsiteY4943" fmla="*/ 1217572 h 2455817"/>
                <a:gd name="connsiteX4944" fmla="*/ 708398 w 4919004"/>
                <a:gd name="connsiteY4944" fmla="*/ 1228920 h 2455817"/>
                <a:gd name="connsiteX4945" fmla="*/ 706276 w 4919004"/>
                <a:gd name="connsiteY4945" fmla="*/ 1233854 h 2455817"/>
                <a:gd name="connsiteX4946" fmla="*/ 693843 w 4919004"/>
                <a:gd name="connsiteY4946" fmla="*/ 1233854 h 2455817"/>
                <a:gd name="connsiteX4947" fmla="*/ 689648 w 4919004"/>
                <a:gd name="connsiteY4947" fmla="*/ 1237111 h 2455817"/>
                <a:gd name="connsiteX4948" fmla="*/ 679287 w 4919004"/>
                <a:gd name="connsiteY4948" fmla="*/ 1238690 h 2455817"/>
                <a:gd name="connsiteX4949" fmla="*/ 675093 w 4919004"/>
                <a:gd name="connsiteY4949" fmla="*/ 1241946 h 2455817"/>
                <a:gd name="connsiteX4950" fmla="*/ 677166 w 4919004"/>
                <a:gd name="connsiteY4950" fmla="*/ 1245153 h 2455817"/>
                <a:gd name="connsiteX4951" fmla="*/ 673021 w 4919004"/>
                <a:gd name="connsiteY4951" fmla="*/ 1248360 h 2455817"/>
                <a:gd name="connsiteX4952" fmla="*/ 668876 w 4919004"/>
                <a:gd name="connsiteY4952" fmla="*/ 1246781 h 2455817"/>
                <a:gd name="connsiteX4953" fmla="*/ 668876 w 4919004"/>
                <a:gd name="connsiteY4953" fmla="*/ 1249692 h 2455817"/>
                <a:gd name="connsiteX4954" fmla="*/ 666755 w 4919004"/>
                <a:gd name="connsiteY4954" fmla="*/ 1259561 h 2455817"/>
                <a:gd name="connsiteX4955" fmla="*/ 673021 w 4919004"/>
                <a:gd name="connsiteY4955" fmla="*/ 1262817 h 2455817"/>
                <a:gd name="connsiteX4956" fmla="*/ 687823 w 4919004"/>
                <a:gd name="connsiteY4956" fmla="*/ 1272438 h 2455817"/>
                <a:gd name="connsiteX4957" fmla="*/ 702625 w 4919004"/>
                <a:gd name="connsiteY4957" fmla="*/ 1288573 h 2455817"/>
                <a:gd name="connsiteX4958" fmla="*/ 708891 w 4919004"/>
                <a:gd name="connsiteY4958" fmla="*/ 1288573 h 2455817"/>
                <a:gd name="connsiteX4959" fmla="*/ 719252 w 4919004"/>
                <a:gd name="connsiteY4959" fmla="*/ 1283639 h 2455817"/>
                <a:gd name="connsiteX4960" fmla="*/ 723447 w 4919004"/>
                <a:gd name="connsiteY4960" fmla="*/ 1290053 h 2455817"/>
                <a:gd name="connsiteX4961" fmla="*/ 725469 w 4919004"/>
                <a:gd name="connsiteY4961" fmla="*/ 1286846 h 2455817"/>
                <a:gd name="connsiteX4962" fmla="*/ 733808 w 4919004"/>
                <a:gd name="connsiteY4962" fmla="*/ 1286846 h 2455817"/>
                <a:gd name="connsiteX4963" fmla="*/ 735880 w 4919004"/>
                <a:gd name="connsiteY4963" fmla="*/ 1283639 h 2455817"/>
                <a:gd name="connsiteX4964" fmla="*/ 748363 w 4919004"/>
                <a:gd name="connsiteY4964" fmla="*/ 1277175 h 2455817"/>
                <a:gd name="connsiteX4965" fmla="*/ 750436 w 4919004"/>
                <a:gd name="connsiteY4965" fmla="*/ 1270711 h 2455817"/>
                <a:gd name="connsiteX4966" fmla="*/ 748363 w 4919004"/>
                <a:gd name="connsiteY4966" fmla="*/ 1262669 h 2455817"/>
                <a:gd name="connsiteX4967" fmla="*/ 752557 w 4919004"/>
                <a:gd name="connsiteY4967" fmla="*/ 1254577 h 2455817"/>
                <a:gd name="connsiteX4968" fmla="*/ 752557 w 4919004"/>
                <a:gd name="connsiteY4968" fmla="*/ 1249643 h 2455817"/>
                <a:gd name="connsiteX4969" fmla="*/ 746292 w 4919004"/>
                <a:gd name="connsiteY4969" fmla="*/ 1243179 h 2455817"/>
                <a:gd name="connsiteX4970" fmla="*/ 750436 w 4919004"/>
                <a:gd name="connsiteY4970" fmla="*/ 1241601 h 2455817"/>
                <a:gd name="connsiteX4971" fmla="*/ 769185 w 4919004"/>
                <a:gd name="connsiteY4971" fmla="*/ 1238344 h 2455817"/>
                <a:gd name="connsiteX4972" fmla="*/ 773330 w 4919004"/>
                <a:gd name="connsiteY4972" fmla="*/ 1235137 h 2455817"/>
                <a:gd name="connsiteX4973" fmla="*/ 783741 w 4919004"/>
                <a:gd name="connsiteY4973" fmla="*/ 1240071 h 2455817"/>
                <a:gd name="connsiteX4974" fmla="*/ 783741 w 4919004"/>
                <a:gd name="connsiteY4974" fmla="*/ 1235137 h 2455817"/>
                <a:gd name="connsiteX4975" fmla="*/ 773330 w 4919004"/>
                <a:gd name="connsiteY4975" fmla="*/ 1228723 h 2455817"/>
                <a:gd name="connsiteX4976" fmla="*/ 771257 w 4919004"/>
                <a:gd name="connsiteY4976" fmla="*/ 1222259 h 2455817"/>
                <a:gd name="connsiteX4977" fmla="*/ 773330 w 4919004"/>
                <a:gd name="connsiteY4977" fmla="*/ 1222259 h 2455817"/>
                <a:gd name="connsiteX4978" fmla="*/ 779547 w 4919004"/>
                <a:gd name="connsiteY4978" fmla="*/ 1227193 h 2455817"/>
                <a:gd name="connsiteX4979" fmla="*/ 785813 w 4919004"/>
                <a:gd name="connsiteY4979" fmla="*/ 1223986 h 2455817"/>
                <a:gd name="connsiteX4980" fmla="*/ 798296 w 4919004"/>
                <a:gd name="connsiteY4980" fmla="*/ 1209480 h 2455817"/>
                <a:gd name="connsiteX4981" fmla="*/ 802441 w 4919004"/>
                <a:gd name="connsiteY4981" fmla="*/ 1209480 h 2455817"/>
                <a:gd name="connsiteX4982" fmla="*/ 817243 w 4919004"/>
                <a:gd name="connsiteY4982" fmla="*/ 1193346 h 2455817"/>
                <a:gd name="connsiteX4983" fmla="*/ 817243 w 4919004"/>
                <a:gd name="connsiteY4983" fmla="*/ 1190139 h 2455817"/>
                <a:gd name="connsiteX4984" fmla="*/ 821387 w 4919004"/>
                <a:gd name="connsiteY4984" fmla="*/ 1188560 h 2455817"/>
                <a:gd name="connsiteX4985" fmla="*/ 829676 w 4919004"/>
                <a:gd name="connsiteY4985" fmla="*/ 1190139 h 2455817"/>
                <a:gd name="connsiteX4986" fmla="*/ 840136 w 4919004"/>
                <a:gd name="connsiteY4986" fmla="*/ 1185205 h 2455817"/>
                <a:gd name="connsiteX4987" fmla="*/ 842209 w 4919004"/>
                <a:gd name="connsiteY4987" fmla="*/ 1181997 h 2455817"/>
                <a:gd name="connsiteX4988" fmla="*/ 854643 w 4919004"/>
                <a:gd name="connsiteY4988" fmla="*/ 1177063 h 2455817"/>
                <a:gd name="connsiteX4989" fmla="*/ 856764 w 4919004"/>
                <a:gd name="connsiteY4989" fmla="*/ 1181997 h 2455817"/>
                <a:gd name="connsiteX4990" fmla="*/ 858787 w 4919004"/>
                <a:gd name="connsiteY4990" fmla="*/ 1181997 h 2455817"/>
                <a:gd name="connsiteX4991" fmla="*/ 860909 w 4919004"/>
                <a:gd name="connsiteY4991" fmla="*/ 1186932 h 2455817"/>
                <a:gd name="connsiteX4992" fmla="*/ 856764 w 4919004"/>
                <a:gd name="connsiteY4992" fmla="*/ 1191866 h 2455817"/>
                <a:gd name="connsiteX4993" fmla="*/ 860909 w 4919004"/>
                <a:gd name="connsiteY4993" fmla="*/ 1193444 h 2455817"/>
                <a:gd name="connsiteX4994" fmla="*/ 869198 w 4919004"/>
                <a:gd name="connsiteY4994" fmla="*/ 1186981 h 2455817"/>
                <a:gd name="connsiteX4995" fmla="*/ 871320 w 4919004"/>
                <a:gd name="connsiteY4995" fmla="*/ 1182047 h 2455817"/>
                <a:gd name="connsiteX4996" fmla="*/ 867126 w 4919004"/>
                <a:gd name="connsiteY4996" fmla="*/ 1180419 h 2455817"/>
                <a:gd name="connsiteX4997" fmla="*/ 860909 w 4919004"/>
                <a:gd name="connsiteY4997" fmla="*/ 1175485 h 2455817"/>
                <a:gd name="connsiteX4998" fmla="*/ 860909 w 4919004"/>
                <a:gd name="connsiteY4998" fmla="*/ 1172228 h 2455817"/>
                <a:gd name="connsiteX4999" fmla="*/ 872455 w 4919004"/>
                <a:gd name="connsiteY4999" fmla="*/ 1160880 h 2455817"/>
                <a:gd name="connsiteX5000" fmla="*/ 874576 w 4919004"/>
                <a:gd name="connsiteY5000" fmla="*/ 1160880 h 2455817"/>
                <a:gd name="connsiteX5001" fmla="*/ 876648 w 4919004"/>
                <a:gd name="connsiteY5001" fmla="*/ 1165814 h 2455817"/>
                <a:gd name="connsiteX5002" fmla="*/ 874576 w 4919004"/>
                <a:gd name="connsiteY5002" fmla="*/ 1167442 h 2455817"/>
                <a:gd name="connsiteX5003" fmla="*/ 872455 w 4919004"/>
                <a:gd name="connsiteY5003" fmla="*/ 1169021 h 2455817"/>
                <a:gd name="connsiteX5004" fmla="*/ 878721 w 4919004"/>
                <a:gd name="connsiteY5004" fmla="*/ 1175485 h 2455817"/>
                <a:gd name="connsiteX5005" fmla="*/ 882865 w 4919004"/>
                <a:gd name="connsiteY5005" fmla="*/ 1175485 h 2455817"/>
                <a:gd name="connsiteX5006" fmla="*/ 887010 w 4919004"/>
                <a:gd name="connsiteY5006" fmla="*/ 1170551 h 2455817"/>
                <a:gd name="connsiteX5007" fmla="*/ 882865 w 4919004"/>
                <a:gd name="connsiteY5007" fmla="*/ 1165616 h 2455817"/>
                <a:gd name="connsiteX5008" fmla="*/ 880793 w 4919004"/>
                <a:gd name="connsiteY5008" fmla="*/ 1160682 h 2455817"/>
                <a:gd name="connsiteX5009" fmla="*/ 878721 w 4919004"/>
                <a:gd name="connsiteY5009" fmla="*/ 1157475 h 2455817"/>
                <a:gd name="connsiteX5010" fmla="*/ 884987 w 4919004"/>
                <a:gd name="connsiteY5010" fmla="*/ 1154219 h 2455817"/>
                <a:gd name="connsiteX5011" fmla="*/ 903687 w 4919004"/>
                <a:gd name="connsiteY5011" fmla="*/ 1146176 h 2455817"/>
                <a:gd name="connsiteX5012" fmla="*/ 916121 w 4919004"/>
                <a:gd name="connsiteY5012" fmla="*/ 1144548 h 2455817"/>
                <a:gd name="connsiteX5013" fmla="*/ 918242 w 4919004"/>
                <a:gd name="connsiteY5013" fmla="*/ 1147755 h 2455817"/>
                <a:gd name="connsiteX5014" fmla="*/ 909904 w 4919004"/>
                <a:gd name="connsiteY5014" fmla="*/ 1151012 h 2455817"/>
                <a:gd name="connsiteX5015" fmla="*/ 905759 w 4919004"/>
                <a:gd name="connsiteY5015" fmla="*/ 1151012 h 2455817"/>
                <a:gd name="connsiteX5016" fmla="*/ 890957 w 4919004"/>
                <a:gd name="connsiteY5016" fmla="*/ 1155946 h 2455817"/>
                <a:gd name="connsiteX5017" fmla="*/ 895102 w 4919004"/>
                <a:gd name="connsiteY5017" fmla="*/ 1159202 h 2455817"/>
                <a:gd name="connsiteX5018" fmla="*/ 899295 w 4919004"/>
                <a:gd name="connsiteY5018" fmla="*/ 1160830 h 2455817"/>
                <a:gd name="connsiteX5019" fmla="*/ 903440 w 4919004"/>
                <a:gd name="connsiteY5019" fmla="*/ 1159202 h 2455817"/>
                <a:gd name="connsiteX5020" fmla="*/ 911927 w 4919004"/>
                <a:gd name="connsiteY5020" fmla="*/ 1165814 h 2455817"/>
                <a:gd name="connsiteX5021" fmla="*/ 907782 w 4919004"/>
                <a:gd name="connsiteY5021" fmla="*/ 1167442 h 2455817"/>
                <a:gd name="connsiteX5022" fmla="*/ 905710 w 4919004"/>
                <a:gd name="connsiteY5022" fmla="*/ 1170649 h 2455817"/>
                <a:gd name="connsiteX5023" fmla="*/ 909854 w 4919004"/>
                <a:gd name="connsiteY5023" fmla="*/ 1177113 h 2455817"/>
                <a:gd name="connsiteX5024" fmla="*/ 907782 w 4919004"/>
                <a:gd name="connsiteY5024" fmla="*/ 1180320 h 2455817"/>
                <a:gd name="connsiteX5025" fmla="*/ 899493 w 4919004"/>
                <a:gd name="connsiteY5025" fmla="*/ 1181948 h 2455817"/>
                <a:gd name="connsiteX5026" fmla="*/ 893227 w 4919004"/>
                <a:gd name="connsiteY5026" fmla="*/ 1186882 h 2455817"/>
                <a:gd name="connsiteX5027" fmla="*/ 895299 w 4919004"/>
                <a:gd name="connsiteY5027" fmla="*/ 1191816 h 2455817"/>
                <a:gd name="connsiteX5028" fmla="*/ 899493 w 4919004"/>
                <a:gd name="connsiteY5028" fmla="*/ 1193395 h 2455817"/>
                <a:gd name="connsiteX5029" fmla="*/ 905710 w 4919004"/>
                <a:gd name="connsiteY5029" fmla="*/ 1191816 h 2455817"/>
                <a:gd name="connsiteX5030" fmla="*/ 909854 w 4919004"/>
                <a:gd name="connsiteY5030" fmla="*/ 1191816 h 2455817"/>
                <a:gd name="connsiteX5031" fmla="*/ 914049 w 4919004"/>
                <a:gd name="connsiteY5031" fmla="*/ 1190188 h 2455817"/>
                <a:gd name="connsiteX5032" fmla="*/ 922338 w 4919004"/>
                <a:gd name="connsiteY5032" fmla="*/ 1191816 h 2455817"/>
                <a:gd name="connsiteX5033" fmla="*/ 922338 w 4919004"/>
                <a:gd name="connsiteY5033" fmla="*/ 1199859 h 2455817"/>
                <a:gd name="connsiteX5034" fmla="*/ 926482 w 4919004"/>
                <a:gd name="connsiteY5034" fmla="*/ 1191816 h 2455817"/>
                <a:gd name="connsiteX5035" fmla="*/ 932748 w 4919004"/>
                <a:gd name="connsiteY5035" fmla="*/ 1183724 h 2455817"/>
                <a:gd name="connsiteX5036" fmla="*/ 936893 w 4919004"/>
                <a:gd name="connsiteY5036" fmla="*/ 1183724 h 2455817"/>
                <a:gd name="connsiteX5037" fmla="*/ 941038 w 4919004"/>
                <a:gd name="connsiteY5037" fmla="*/ 1188658 h 2455817"/>
                <a:gd name="connsiteX5038" fmla="*/ 945182 w 4919004"/>
                <a:gd name="connsiteY5038" fmla="*/ 1191866 h 2455817"/>
                <a:gd name="connsiteX5039" fmla="*/ 947304 w 4919004"/>
                <a:gd name="connsiteY5039" fmla="*/ 1188658 h 2455817"/>
                <a:gd name="connsiteX5040" fmla="*/ 947304 w 4919004"/>
                <a:gd name="connsiteY5040" fmla="*/ 1185402 h 2455817"/>
                <a:gd name="connsiteX5041" fmla="*/ 949376 w 4919004"/>
                <a:gd name="connsiteY5041" fmla="*/ 1182195 h 2455817"/>
                <a:gd name="connsiteX5042" fmla="*/ 943159 w 4919004"/>
                <a:gd name="connsiteY5042" fmla="*/ 1178938 h 2455817"/>
                <a:gd name="connsiteX5043" fmla="*/ 943159 w 4919004"/>
                <a:gd name="connsiteY5043" fmla="*/ 1175682 h 2455817"/>
                <a:gd name="connsiteX5044" fmla="*/ 949376 w 4919004"/>
                <a:gd name="connsiteY5044" fmla="*/ 1170748 h 2455817"/>
                <a:gd name="connsiteX5045" fmla="*/ 955593 w 4919004"/>
                <a:gd name="connsiteY5045" fmla="*/ 1169120 h 2455817"/>
                <a:gd name="connsiteX5046" fmla="*/ 957715 w 4919004"/>
                <a:gd name="connsiteY5046" fmla="*/ 1165912 h 2455817"/>
                <a:gd name="connsiteX5047" fmla="*/ 968076 w 4919004"/>
                <a:gd name="connsiteY5047" fmla="*/ 1160978 h 2455817"/>
                <a:gd name="connsiteX5048" fmla="*/ 972270 w 4919004"/>
                <a:gd name="connsiteY5048" fmla="*/ 1162557 h 2455817"/>
                <a:gd name="connsiteX5049" fmla="*/ 976414 w 4919004"/>
                <a:gd name="connsiteY5049" fmla="*/ 1164186 h 2455817"/>
                <a:gd name="connsiteX5050" fmla="*/ 980559 w 4919004"/>
                <a:gd name="connsiteY5050" fmla="*/ 1162557 h 2455817"/>
                <a:gd name="connsiteX5051" fmla="*/ 984704 w 4919004"/>
                <a:gd name="connsiteY5051" fmla="*/ 1164186 h 2455817"/>
                <a:gd name="connsiteX5052" fmla="*/ 1001381 w 4919004"/>
                <a:gd name="connsiteY5052" fmla="*/ 1164186 h 2455817"/>
                <a:gd name="connsiteX5053" fmla="*/ 1007598 w 4919004"/>
                <a:gd name="connsiteY5053" fmla="*/ 1160978 h 2455817"/>
                <a:gd name="connsiteX5054" fmla="*/ 1007598 w 4919004"/>
                <a:gd name="connsiteY5054" fmla="*/ 1156044 h 2455817"/>
                <a:gd name="connsiteX5055" fmla="*/ 1009670 w 4919004"/>
                <a:gd name="connsiteY5055" fmla="*/ 1152837 h 2455817"/>
                <a:gd name="connsiteX5056" fmla="*/ 1020081 w 4919004"/>
                <a:gd name="connsiteY5056" fmla="*/ 1151258 h 2455817"/>
                <a:gd name="connsiteX5057" fmla="*/ 1020081 w 4919004"/>
                <a:gd name="connsiteY5057" fmla="*/ 1148002 h 2455817"/>
                <a:gd name="connsiteX5058" fmla="*/ 1026298 w 4919004"/>
                <a:gd name="connsiteY5058" fmla="*/ 1143068 h 2455817"/>
                <a:gd name="connsiteX5059" fmla="*/ 1032514 w 4919004"/>
                <a:gd name="connsiteY5059" fmla="*/ 1143068 h 2455817"/>
                <a:gd name="connsiteX5060" fmla="*/ 1042926 w 4919004"/>
                <a:gd name="connsiteY5060" fmla="*/ 1135026 h 2455817"/>
                <a:gd name="connsiteX5061" fmla="*/ 1045047 w 4919004"/>
                <a:gd name="connsiteY5061" fmla="*/ 1133447 h 2455817"/>
                <a:gd name="connsiteX5062" fmla="*/ 1051264 w 4919004"/>
                <a:gd name="connsiteY5062" fmla="*/ 1131769 h 2455817"/>
                <a:gd name="connsiteX5063" fmla="*/ 1053336 w 4919004"/>
                <a:gd name="connsiteY5063" fmla="*/ 1133447 h 2455817"/>
                <a:gd name="connsiteX5064" fmla="*/ 1047070 w 4919004"/>
                <a:gd name="connsiteY5064" fmla="*/ 1139861 h 2455817"/>
                <a:gd name="connsiteX5065" fmla="*/ 1053336 w 4919004"/>
                <a:gd name="connsiteY5065" fmla="*/ 1141489 h 2455817"/>
                <a:gd name="connsiteX5066" fmla="*/ 1059603 w 4919004"/>
                <a:gd name="connsiteY5066" fmla="*/ 1146423 h 2455817"/>
                <a:gd name="connsiteX5067" fmla="*/ 1059603 w 4919004"/>
                <a:gd name="connsiteY5067" fmla="*/ 1151357 h 2455817"/>
                <a:gd name="connsiteX5068" fmla="*/ 1053336 w 4919004"/>
                <a:gd name="connsiteY5068" fmla="*/ 1154564 h 2455817"/>
                <a:gd name="connsiteX5069" fmla="*/ 1057481 w 4919004"/>
                <a:gd name="connsiteY5069" fmla="*/ 1161028 h 2455817"/>
                <a:gd name="connsiteX5070" fmla="*/ 1055408 w 4919004"/>
                <a:gd name="connsiteY5070" fmla="*/ 1165962 h 2455817"/>
                <a:gd name="connsiteX5071" fmla="*/ 1059603 w 4919004"/>
                <a:gd name="connsiteY5071" fmla="*/ 1170896 h 2455817"/>
                <a:gd name="connsiteX5072" fmla="*/ 1078302 w 4919004"/>
                <a:gd name="connsiteY5072" fmla="*/ 1170896 h 2455817"/>
                <a:gd name="connsiteX5073" fmla="*/ 1082447 w 4919004"/>
                <a:gd name="connsiteY5073" fmla="*/ 1167689 h 2455817"/>
                <a:gd name="connsiteX5074" fmla="*/ 1082447 w 4919004"/>
                <a:gd name="connsiteY5074" fmla="*/ 1164432 h 2455817"/>
                <a:gd name="connsiteX5075" fmla="*/ 1080375 w 4919004"/>
                <a:gd name="connsiteY5075" fmla="*/ 1162804 h 2455817"/>
                <a:gd name="connsiteX5076" fmla="*/ 1072036 w 4919004"/>
                <a:gd name="connsiteY5076" fmla="*/ 1154762 h 2455817"/>
                <a:gd name="connsiteX5077" fmla="*/ 1072036 w 4919004"/>
                <a:gd name="connsiteY5077" fmla="*/ 1151554 h 2455817"/>
                <a:gd name="connsiteX5078" fmla="*/ 1078302 w 4919004"/>
                <a:gd name="connsiteY5078" fmla="*/ 1146620 h 2455817"/>
                <a:gd name="connsiteX5079" fmla="*/ 1086592 w 4919004"/>
                <a:gd name="connsiteY5079" fmla="*/ 1151554 h 2455817"/>
                <a:gd name="connsiteX5080" fmla="*/ 1094930 w 4919004"/>
                <a:gd name="connsiteY5080" fmla="*/ 1146620 h 2455817"/>
                <a:gd name="connsiteX5081" fmla="*/ 1097002 w 4919004"/>
                <a:gd name="connsiteY5081" fmla="*/ 1136752 h 2455817"/>
                <a:gd name="connsiteX5082" fmla="*/ 1103269 w 4919004"/>
                <a:gd name="connsiteY5082" fmla="*/ 1136752 h 2455817"/>
                <a:gd name="connsiteX5083" fmla="*/ 1105341 w 4919004"/>
                <a:gd name="connsiteY5083" fmla="*/ 1138331 h 2455817"/>
                <a:gd name="connsiteX5084" fmla="*/ 1115703 w 4919004"/>
                <a:gd name="connsiteY5084" fmla="*/ 1139960 h 2455817"/>
                <a:gd name="connsiteX5085" fmla="*/ 1105341 w 4919004"/>
                <a:gd name="connsiteY5085" fmla="*/ 1130092 h 2455817"/>
                <a:gd name="connsiteX5086" fmla="*/ 1097002 w 4919004"/>
                <a:gd name="connsiteY5086" fmla="*/ 1128463 h 2455817"/>
                <a:gd name="connsiteX5087" fmla="*/ 1097002 w 4919004"/>
                <a:gd name="connsiteY5087" fmla="*/ 1123529 h 2455817"/>
                <a:gd name="connsiteX5088" fmla="*/ 1090786 w 4919004"/>
                <a:gd name="connsiteY5088" fmla="*/ 1113661 h 2455817"/>
                <a:gd name="connsiteX5089" fmla="*/ 1086592 w 4919004"/>
                <a:gd name="connsiteY5089" fmla="*/ 1112082 h 2455817"/>
                <a:gd name="connsiteX5090" fmla="*/ 1084519 w 4919004"/>
                <a:gd name="connsiteY5090" fmla="*/ 1118496 h 2455817"/>
                <a:gd name="connsiteX5091" fmla="*/ 1082447 w 4919004"/>
                <a:gd name="connsiteY5091" fmla="*/ 1112082 h 2455817"/>
                <a:gd name="connsiteX5092" fmla="*/ 1078302 w 4919004"/>
                <a:gd name="connsiteY5092" fmla="*/ 1100783 h 2455817"/>
                <a:gd name="connsiteX5093" fmla="*/ 1072036 w 4919004"/>
                <a:gd name="connsiteY5093" fmla="*/ 1099155 h 2455817"/>
                <a:gd name="connsiteX5094" fmla="*/ 1067892 w 4919004"/>
                <a:gd name="connsiteY5094" fmla="*/ 1092691 h 2455817"/>
                <a:gd name="connsiteX5095" fmla="*/ 1067892 w 4919004"/>
                <a:gd name="connsiteY5095" fmla="*/ 1089484 h 2455817"/>
                <a:gd name="connsiteX5096" fmla="*/ 1076230 w 4919004"/>
                <a:gd name="connsiteY5096" fmla="*/ 1087856 h 2455817"/>
                <a:gd name="connsiteX5097" fmla="*/ 1076230 w 4919004"/>
                <a:gd name="connsiteY5097" fmla="*/ 1081935 h 2455817"/>
                <a:gd name="connsiteX5098" fmla="*/ 1072036 w 4919004"/>
                <a:gd name="connsiteY5098" fmla="*/ 1075472 h 2455817"/>
                <a:gd name="connsiteX5099" fmla="*/ 1076230 w 4919004"/>
                <a:gd name="connsiteY5099" fmla="*/ 1072215 h 2455817"/>
                <a:gd name="connsiteX5100" fmla="*/ 1082447 w 4919004"/>
                <a:gd name="connsiteY5100" fmla="*/ 1073843 h 2455817"/>
                <a:gd name="connsiteX5101" fmla="*/ 1084519 w 4919004"/>
                <a:gd name="connsiteY5101" fmla="*/ 1072215 h 2455817"/>
                <a:gd name="connsiteX5102" fmla="*/ 1090786 w 4919004"/>
                <a:gd name="connsiteY5102" fmla="*/ 1075472 h 2455817"/>
                <a:gd name="connsiteX5103" fmla="*/ 1099420 w 4919004"/>
                <a:gd name="connsiteY5103" fmla="*/ 1075472 h 2455817"/>
                <a:gd name="connsiteX5104" fmla="*/ 1105686 w 4919004"/>
                <a:gd name="connsiteY5104" fmla="*/ 1077100 h 2455817"/>
                <a:gd name="connsiteX5105" fmla="*/ 1132725 w 4919004"/>
                <a:gd name="connsiteY5105" fmla="*/ 1073843 h 2455817"/>
                <a:gd name="connsiteX5106" fmla="*/ 1168053 w 4919004"/>
                <a:gd name="connsiteY5106" fmla="*/ 1075472 h 2455817"/>
                <a:gd name="connsiteX5107" fmla="*/ 1178365 w 4919004"/>
                <a:gd name="connsiteY5107" fmla="*/ 1081935 h 2455817"/>
                <a:gd name="connsiteX5108" fmla="*/ 1201209 w 4919004"/>
                <a:gd name="connsiteY5108" fmla="*/ 1088349 h 2455817"/>
                <a:gd name="connsiteX5109" fmla="*/ 1201209 w 4919004"/>
                <a:gd name="connsiteY5109" fmla="*/ 1093284 h 2455817"/>
                <a:gd name="connsiteX5110" fmla="*/ 1199137 w 4919004"/>
                <a:gd name="connsiteY5110" fmla="*/ 1096540 h 2455817"/>
                <a:gd name="connsiteX5111" fmla="*/ 1203282 w 4919004"/>
                <a:gd name="connsiteY5111" fmla="*/ 1102954 h 2455817"/>
                <a:gd name="connsiteX5112" fmla="*/ 1209499 w 4919004"/>
                <a:gd name="connsiteY5112" fmla="*/ 1098020 h 2455817"/>
                <a:gd name="connsiteX5113" fmla="*/ 1219909 w 4919004"/>
                <a:gd name="connsiteY5113" fmla="*/ 1094813 h 2455817"/>
                <a:gd name="connsiteX5114" fmla="*/ 1226175 w 4919004"/>
                <a:gd name="connsiteY5114" fmla="*/ 1099747 h 2455817"/>
                <a:gd name="connsiteX5115" fmla="*/ 1232392 w 4919004"/>
                <a:gd name="connsiteY5115" fmla="*/ 1099747 h 2455817"/>
                <a:gd name="connsiteX5116" fmla="*/ 1232392 w 4919004"/>
                <a:gd name="connsiteY5116" fmla="*/ 1104681 h 2455817"/>
                <a:gd name="connsiteX5117" fmla="*/ 1244875 w 4919004"/>
                <a:gd name="connsiteY5117" fmla="*/ 1106309 h 2455817"/>
                <a:gd name="connsiteX5118" fmla="*/ 1265697 w 4919004"/>
                <a:gd name="connsiteY5118" fmla="*/ 1116177 h 2455817"/>
                <a:gd name="connsiteX5119" fmla="*/ 1284397 w 4919004"/>
                <a:gd name="connsiteY5119" fmla="*/ 1117806 h 2455817"/>
                <a:gd name="connsiteX5120" fmla="*/ 1292687 w 4919004"/>
                <a:gd name="connsiteY5120" fmla="*/ 1124220 h 2455817"/>
                <a:gd name="connsiteX5121" fmla="*/ 1296831 w 4919004"/>
                <a:gd name="connsiteY5121" fmla="*/ 1132262 h 2455817"/>
                <a:gd name="connsiteX5122" fmla="*/ 1307242 w 4919004"/>
                <a:gd name="connsiteY5122" fmla="*/ 1133940 h 2455817"/>
                <a:gd name="connsiteX5123" fmla="*/ 1317652 w 4919004"/>
                <a:gd name="connsiteY5123" fmla="*/ 1140354 h 2455817"/>
                <a:gd name="connsiteX5124" fmla="*/ 1325942 w 4919004"/>
                <a:gd name="connsiteY5124" fmla="*/ 1154860 h 2455817"/>
                <a:gd name="connsiteX5125" fmla="*/ 1334280 w 4919004"/>
                <a:gd name="connsiteY5125" fmla="*/ 1156439 h 2455817"/>
                <a:gd name="connsiteX5126" fmla="*/ 1334280 w 4919004"/>
                <a:gd name="connsiteY5126" fmla="*/ 1151505 h 2455817"/>
                <a:gd name="connsiteX5127" fmla="*/ 1332208 w 4919004"/>
                <a:gd name="connsiteY5127" fmla="*/ 1143413 h 2455817"/>
                <a:gd name="connsiteX5128" fmla="*/ 1336353 w 4919004"/>
                <a:gd name="connsiteY5128" fmla="*/ 1143413 h 2455817"/>
                <a:gd name="connsiteX5129" fmla="*/ 1338474 w 4919004"/>
                <a:gd name="connsiteY5129" fmla="*/ 1140206 h 2455817"/>
                <a:gd name="connsiteX5130" fmla="*/ 1334280 w 4919004"/>
                <a:gd name="connsiteY5130" fmla="*/ 1132114 h 2455817"/>
                <a:gd name="connsiteX5131" fmla="*/ 1336353 w 4919004"/>
                <a:gd name="connsiteY5131" fmla="*/ 1128907 h 2455817"/>
                <a:gd name="connsiteX5132" fmla="*/ 1334280 w 4919004"/>
                <a:gd name="connsiteY5132" fmla="*/ 1112822 h 2455817"/>
                <a:gd name="connsiteX5133" fmla="*/ 1342619 w 4919004"/>
                <a:gd name="connsiteY5133" fmla="*/ 1107888 h 2455817"/>
                <a:gd name="connsiteX5134" fmla="*/ 1334280 w 4919004"/>
                <a:gd name="connsiteY5134" fmla="*/ 1107888 h 2455817"/>
                <a:gd name="connsiteX5135" fmla="*/ 1334280 w 4919004"/>
                <a:gd name="connsiteY5135" fmla="*/ 1104681 h 2455817"/>
                <a:gd name="connsiteX5136" fmla="*/ 1328063 w 4919004"/>
                <a:gd name="connsiteY5136" fmla="*/ 1104681 h 2455817"/>
                <a:gd name="connsiteX5137" fmla="*/ 1321797 w 4919004"/>
                <a:gd name="connsiteY5137" fmla="*/ 1107888 h 2455817"/>
                <a:gd name="connsiteX5138" fmla="*/ 1313508 w 4919004"/>
                <a:gd name="connsiteY5138" fmla="*/ 1106309 h 2455817"/>
                <a:gd name="connsiteX5139" fmla="*/ 1298952 w 4919004"/>
                <a:gd name="connsiteY5139" fmla="*/ 1091803 h 2455817"/>
                <a:gd name="connsiteX5140" fmla="*/ 1294808 w 4919004"/>
                <a:gd name="connsiteY5140" fmla="*/ 1090175 h 2455817"/>
                <a:gd name="connsiteX5141" fmla="*/ 1290614 w 4919004"/>
                <a:gd name="connsiteY5141" fmla="*/ 1085241 h 2455817"/>
                <a:gd name="connsiteX5142" fmla="*/ 1290614 w 4919004"/>
                <a:gd name="connsiteY5142" fmla="*/ 1073942 h 2455817"/>
                <a:gd name="connsiteX5143" fmla="*/ 1286470 w 4919004"/>
                <a:gd name="connsiteY5143" fmla="*/ 1070735 h 2455817"/>
                <a:gd name="connsiteX5144" fmla="*/ 1280253 w 4919004"/>
                <a:gd name="connsiteY5144" fmla="*/ 1078777 h 2455817"/>
                <a:gd name="connsiteX5145" fmla="*/ 1271914 w 4919004"/>
                <a:gd name="connsiteY5145" fmla="*/ 1073843 h 2455817"/>
                <a:gd name="connsiteX5146" fmla="*/ 1263576 w 4919004"/>
                <a:gd name="connsiteY5146" fmla="*/ 1073843 h 2455817"/>
                <a:gd name="connsiteX5147" fmla="*/ 1257359 w 4919004"/>
                <a:gd name="connsiteY5147" fmla="*/ 1070636 h 2455817"/>
                <a:gd name="connsiteX5148" fmla="*/ 1253165 w 4919004"/>
                <a:gd name="connsiteY5148" fmla="*/ 1075570 h 2455817"/>
                <a:gd name="connsiteX5149" fmla="*/ 1251142 w 4919004"/>
                <a:gd name="connsiteY5149" fmla="*/ 1065702 h 2455817"/>
                <a:gd name="connsiteX5150" fmla="*/ 1244875 w 4919004"/>
                <a:gd name="connsiteY5150" fmla="*/ 1060768 h 2455817"/>
                <a:gd name="connsiteX5151" fmla="*/ 1238609 w 4919004"/>
                <a:gd name="connsiteY5151" fmla="*/ 1047841 h 2455817"/>
                <a:gd name="connsiteX5152" fmla="*/ 1238609 w 4919004"/>
                <a:gd name="connsiteY5152" fmla="*/ 1042907 h 2455817"/>
                <a:gd name="connsiteX5153" fmla="*/ 1244875 w 4919004"/>
                <a:gd name="connsiteY5153" fmla="*/ 1046163 h 2455817"/>
                <a:gd name="connsiteX5154" fmla="*/ 1251142 w 4919004"/>
                <a:gd name="connsiteY5154" fmla="*/ 1041229 h 2455817"/>
                <a:gd name="connsiteX5155" fmla="*/ 1251142 w 4919004"/>
                <a:gd name="connsiteY5155" fmla="*/ 1034766 h 2455817"/>
                <a:gd name="connsiteX5156" fmla="*/ 1238609 w 4919004"/>
                <a:gd name="connsiteY5156" fmla="*/ 1026723 h 2455817"/>
                <a:gd name="connsiteX5157" fmla="*/ 1238609 w 4919004"/>
                <a:gd name="connsiteY5157" fmla="*/ 1020753 h 2455817"/>
                <a:gd name="connsiteX5158" fmla="*/ 1242803 w 4919004"/>
                <a:gd name="connsiteY5158" fmla="*/ 1014290 h 2455817"/>
                <a:gd name="connsiteX5159" fmla="*/ 1249020 w 4919004"/>
                <a:gd name="connsiteY5159" fmla="*/ 1015918 h 2455817"/>
                <a:gd name="connsiteX5160" fmla="*/ 1242803 w 4919004"/>
                <a:gd name="connsiteY5160" fmla="*/ 1010984 h 2455817"/>
                <a:gd name="connsiteX5161" fmla="*/ 1234465 w 4919004"/>
                <a:gd name="connsiteY5161" fmla="*/ 1009356 h 2455817"/>
                <a:gd name="connsiteX5162" fmla="*/ 1228248 w 4919004"/>
                <a:gd name="connsiteY5162" fmla="*/ 998057 h 2455817"/>
                <a:gd name="connsiteX5163" fmla="*/ 1224054 w 4919004"/>
                <a:gd name="connsiteY5163" fmla="*/ 994850 h 2455817"/>
                <a:gd name="connsiteX5164" fmla="*/ 1219909 w 4919004"/>
                <a:gd name="connsiteY5164" fmla="*/ 996478 h 2455817"/>
                <a:gd name="connsiteX5165" fmla="*/ 1211620 w 4919004"/>
                <a:gd name="connsiteY5165" fmla="*/ 990014 h 2455817"/>
                <a:gd name="connsiteX5166" fmla="*/ 1211620 w 4919004"/>
                <a:gd name="connsiteY5166" fmla="*/ 980146 h 2455817"/>
                <a:gd name="connsiteX5167" fmla="*/ 1215764 w 4919004"/>
                <a:gd name="connsiteY5167" fmla="*/ 973683 h 2455817"/>
                <a:gd name="connsiteX5168" fmla="*/ 1211620 w 4919004"/>
                <a:gd name="connsiteY5168" fmla="*/ 968748 h 2455817"/>
                <a:gd name="connsiteX5169" fmla="*/ 1209499 w 4919004"/>
                <a:gd name="connsiteY5169" fmla="*/ 962285 h 2455817"/>
                <a:gd name="connsiteX5170" fmla="*/ 1215764 w 4919004"/>
                <a:gd name="connsiteY5170" fmla="*/ 960706 h 2455817"/>
                <a:gd name="connsiteX5171" fmla="*/ 1228248 w 4919004"/>
                <a:gd name="connsiteY5171" fmla="*/ 942944 h 2455817"/>
                <a:gd name="connsiteX5172" fmla="*/ 1234465 w 4919004"/>
                <a:gd name="connsiteY5172" fmla="*/ 938009 h 2455817"/>
                <a:gd name="connsiteX5173" fmla="*/ 1236587 w 4919004"/>
                <a:gd name="connsiteY5173" fmla="*/ 934802 h 2455817"/>
                <a:gd name="connsiteX5174" fmla="*/ 1234465 w 4919004"/>
                <a:gd name="connsiteY5174" fmla="*/ 926710 h 2455817"/>
                <a:gd name="connsiteX5175" fmla="*/ 1232392 w 4919004"/>
                <a:gd name="connsiteY5175" fmla="*/ 921776 h 2455817"/>
                <a:gd name="connsiteX5176" fmla="*/ 1238609 w 4919004"/>
                <a:gd name="connsiteY5176" fmla="*/ 913734 h 2455817"/>
                <a:gd name="connsiteX5177" fmla="*/ 1232392 w 4919004"/>
                <a:gd name="connsiteY5177" fmla="*/ 905692 h 2455817"/>
                <a:gd name="connsiteX5178" fmla="*/ 1232392 w 4919004"/>
                <a:gd name="connsiteY5178" fmla="*/ 897600 h 2455817"/>
                <a:gd name="connsiteX5179" fmla="*/ 1234465 w 4919004"/>
                <a:gd name="connsiteY5179" fmla="*/ 892666 h 2455817"/>
                <a:gd name="connsiteX5180" fmla="*/ 1232392 w 4919004"/>
                <a:gd name="connsiteY5180" fmla="*/ 887732 h 2455817"/>
                <a:gd name="connsiteX5181" fmla="*/ 1232392 w 4919004"/>
                <a:gd name="connsiteY5181" fmla="*/ 879689 h 2455817"/>
                <a:gd name="connsiteX5182" fmla="*/ 1228248 w 4919004"/>
                <a:gd name="connsiteY5182" fmla="*/ 876433 h 2455817"/>
                <a:gd name="connsiteX5183" fmla="*/ 1232392 w 4919004"/>
                <a:gd name="connsiteY5183" fmla="*/ 865183 h 2455817"/>
                <a:gd name="connsiteX5184" fmla="*/ 1234465 w 4919004"/>
                <a:gd name="connsiteY5184" fmla="*/ 861927 h 2455817"/>
                <a:gd name="connsiteX5185" fmla="*/ 1228248 w 4919004"/>
                <a:gd name="connsiteY5185" fmla="*/ 855512 h 2455817"/>
                <a:gd name="connsiteX5186" fmla="*/ 1230320 w 4919004"/>
                <a:gd name="connsiteY5186" fmla="*/ 844213 h 2455817"/>
                <a:gd name="connsiteX5187" fmla="*/ 1228248 w 4919004"/>
                <a:gd name="connsiteY5187" fmla="*/ 831286 h 2455817"/>
                <a:gd name="connsiteX5188" fmla="*/ 1234465 w 4919004"/>
                <a:gd name="connsiteY5188" fmla="*/ 831286 h 2455817"/>
                <a:gd name="connsiteX5189" fmla="*/ 1240731 w 4919004"/>
                <a:gd name="connsiteY5189" fmla="*/ 832915 h 2455817"/>
                <a:gd name="connsiteX5190" fmla="*/ 1238609 w 4919004"/>
                <a:gd name="connsiteY5190" fmla="*/ 836122 h 2455817"/>
                <a:gd name="connsiteX5191" fmla="*/ 1240731 w 4919004"/>
                <a:gd name="connsiteY5191" fmla="*/ 837750 h 2455817"/>
                <a:gd name="connsiteX5192" fmla="*/ 1249020 w 4919004"/>
                <a:gd name="connsiteY5192" fmla="*/ 836122 h 2455817"/>
                <a:gd name="connsiteX5193" fmla="*/ 1259431 w 4919004"/>
                <a:gd name="connsiteY5193" fmla="*/ 834543 h 2455817"/>
                <a:gd name="connsiteX5194" fmla="*/ 1267720 w 4919004"/>
                <a:gd name="connsiteY5194" fmla="*/ 831286 h 2455817"/>
                <a:gd name="connsiteX5195" fmla="*/ 1273986 w 4919004"/>
                <a:gd name="connsiteY5195" fmla="*/ 831286 h 2455817"/>
                <a:gd name="connsiteX5196" fmla="*/ 1280253 w 4919004"/>
                <a:gd name="connsiteY5196" fmla="*/ 834543 h 2455817"/>
                <a:gd name="connsiteX5197" fmla="*/ 1284397 w 4919004"/>
                <a:gd name="connsiteY5197" fmla="*/ 831286 h 2455817"/>
                <a:gd name="connsiteX5198" fmla="*/ 1292687 w 4919004"/>
                <a:gd name="connsiteY5198" fmla="*/ 831286 h 2455817"/>
                <a:gd name="connsiteX5199" fmla="*/ 1313508 w 4919004"/>
                <a:gd name="connsiteY5199" fmla="*/ 839378 h 2455817"/>
                <a:gd name="connsiteX5200" fmla="*/ 1323919 w 4919004"/>
                <a:gd name="connsiteY5200" fmla="*/ 839378 h 2455817"/>
                <a:gd name="connsiteX5201" fmla="*/ 1332208 w 4919004"/>
                <a:gd name="connsiteY5201" fmla="*/ 840957 h 2455817"/>
                <a:gd name="connsiteX5202" fmla="*/ 1334280 w 4919004"/>
                <a:gd name="connsiteY5202" fmla="*/ 845891 h 2455817"/>
                <a:gd name="connsiteX5203" fmla="*/ 1328063 w 4919004"/>
                <a:gd name="connsiteY5203" fmla="*/ 847470 h 2455817"/>
                <a:gd name="connsiteX5204" fmla="*/ 1334280 w 4919004"/>
                <a:gd name="connsiteY5204" fmla="*/ 855562 h 2455817"/>
                <a:gd name="connsiteX5205" fmla="*/ 1334280 w 4919004"/>
                <a:gd name="connsiteY5205" fmla="*/ 861976 h 2455817"/>
                <a:gd name="connsiteX5206" fmla="*/ 1336353 w 4919004"/>
                <a:gd name="connsiteY5206" fmla="*/ 866910 h 2455817"/>
                <a:gd name="connsiteX5207" fmla="*/ 1338474 w 4919004"/>
                <a:gd name="connsiteY5207" fmla="*/ 876778 h 2455817"/>
                <a:gd name="connsiteX5208" fmla="*/ 1342619 w 4919004"/>
                <a:gd name="connsiteY5208" fmla="*/ 886646 h 2455817"/>
                <a:gd name="connsiteX5209" fmla="*/ 1338474 w 4919004"/>
                <a:gd name="connsiteY5209" fmla="*/ 904409 h 2455817"/>
                <a:gd name="connsiteX5210" fmla="*/ 1342619 w 4919004"/>
                <a:gd name="connsiteY5210" fmla="*/ 909343 h 2455817"/>
                <a:gd name="connsiteX5211" fmla="*/ 1340497 w 4919004"/>
                <a:gd name="connsiteY5211" fmla="*/ 912550 h 2455817"/>
                <a:gd name="connsiteX5212" fmla="*/ 1344691 w 4919004"/>
                <a:gd name="connsiteY5212" fmla="*/ 919013 h 2455817"/>
                <a:gd name="connsiteX5213" fmla="*/ 1342619 w 4919004"/>
                <a:gd name="connsiteY5213" fmla="*/ 923947 h 2455817"/>
                <a:gd name="connsiteX5214" fmla="*/ 1338474 w 4919004"/>
                <a:gd name="connsiteY5214" fmla="*/ 927155 h 2455817"/>
                <a:gd name="connsiteX5215" fmla="*/ 1340497 w 4919004"/>
                <a:gd name="connsiteY5215" fmla="*/ 933618 h 2455817"/>
                <a:gd name="connsiteX5216" fmla="*/ 1348836 w 4919004"/>
                <a:gd name="connsiteY5216" fmla="*/ 940082 h 2455817"/>
                <a:gd name="connsiteX5217" fmla="*/ 1353030 w 4919004"/>
                <a:gd name="connsiteY5217" fmla="*/ 948124 h 2455817"/>
                <a:gd name="connsiteX5218" fmla="*/ 1361318 w 4919004"/>
                <a:gd name="connsiteY5218" fmla="*/ 949752 h 2455817"/>
                <a:gd name="connsiteX5219" fmla="*/ 1361318 w 4919004"/>
                <a:gd name="connsiteY5219" fmla="*/ 951381 h 2455817"/>
                <a:gd name="connsiteX5220" fmla="*/ 1367585 w 4919004"/>
                <a:gd name="connsiteY5220" fmla="*/ 949752 h 2455817"/>
                <a:gd name="connsiteX5221" fmla="*/ 1371729 w 4919004"/>
                <a:gd name="connsiteY5221" fmla="*/ 952960 h 2455817"/>
                <a:gd name="connsiteX5222" fmla="*/ 1373802 w 4919004"/>
                <a:gd name="connsiteY5222" fmla="*/ 964258 h 2455817"/>
                <a:gd name="connsiteX5223" fmla="*/ 1382141 w 4919004"/>
                <a:gd name="connsiteY5223" fmla="*/ 969193 h 2455817"/>
                <a:gd name="connsiteX5224" fmla="*/ 1388358 w 4919004"/>
                <a:gd name="connsiteY5224" fmla="*/ 975656 h 2455817"/>
                <a:gd name="connsiteX5225" fmla="*/ 1390429 w 4919004"/>
                <a:gd name="connsiteY5225" fmla="*/ 994998 h 2455817"/>
                <a:gd name="connsiteX5226" fmla="*/ 1396696 w 4919004"/>
                <a:gd name="connsiteY5226" fmla="*/ 999932 h 2455817"/>
                <a:gd name="connsiteX5227" fmla="*/ 1396696 w 4919004"/>
                <a:gd name="connsiteY5227" fmla="*/ 1004866 h 2455817"/>
                <a:gd name="connsiteX5228" fmla="*/ 1394574 w 4919004"/>
                <a:gd name="connsiteY5228" fmla="*/ 1008073 h 2455817"/>
                <a:gd name="connsiteX5229" fmla="*/ 1400840 w 4919004"/>
                <a:gd name="connsiteY5229" fmla="*/ 1016165 h 2455817"/>
                <a:gd name="connsiteX5230" fmla="*/ 1400840 w 4919004"/>
                <a:gd name="connsiteY5230" fmla="*/ 1026033 h 2455817"/>
                <a:gd name="connsiteX5231" fmla="*/ 1413323 w 4919004"/>
                <a:gd name="connsiteY5231" fmla="*/ 1038910 h 2455817"/>
                <a:gd name="connsiteX5232" fmla="*/ 1409130 w 4919004"/>
                <a:gd name="connsiteY5232" fmla="*/ 1047002 h 2455817"/>
                <a:gd name="connsiteX5233" fmla="*/ 1413323 w 4919004"/>
                <a:gd name="connsiteY5233" fmla="*/ 1055045 h 2455817"/>
                <a:gd name="connsiteX5234" fmla="*/ 1421613 w 4919004"/>
                <a:gd name="connsiteY5234" fmla="*/ 1058252 h 2455817"/>
                <a:gd name="connsiteX5235" fmla="*/ 1417468 w 4919004"/>
                <a:gd name="connsiteY5235" fmla="*/ 1063186 h 2455817"/>
                <a:gd name="connsiteX5236" fmla="*/ 1421613 w 4919004"/>
                <a:gd name="connsiteY5236" fmla="*/ 1066442 h 2455817"/>
                <a:gd name="connsiteX5237" fmla="*/ 1425807 w 4919004"/>
                <a:gd name="connsiteY5237" fmla="*/ 1080948 h 2455817"/>
                <a:gd name="connsiteX5238" fmla="*/ 1440609 w 4919004"/>
                <a:gd name="connsiteY5238" fmla="*/ 1095454 h 2455817"/>
                <a:gd name="connsiteX5239" fmla="*/ 1450970 w 4919004"/>
                <a:gd name="connsiteY5239" fmla="*/ 1098662 h 2455817"/>
                <a:gd name="connsiteX5240" fmla="*/ 1455164 w 4919004"/>
                <a:gd name="connsiteY5240" fmla="*/ 1105125 h 2455817"/>
                <a:gd name="connsiteX5241" fmla="*/ 1461381 w 4919004"/>
                <a:gd name="connsiteY5241" fmla="*/ 1105125 h 2455817"/>
                <a:gd name="connsiteX5242" fmla="*/ 1471792 w 4919004"/>
                <a:gd name="connsiteY5242" fmla="*/ 1114993 h 2455817"/>
                <a:gd name="connsiteX5243" fmla="*/ 1471792 w 4919004"/>
                <a:gd name="connsiteY5243" fmla="*/ 1119927 h 2455817"/>
                <a:gd name="connsiteX5244" fmla="*/ 1467598 w 4919004"/>
                <a:gd name="connsiteY5244" fmla="*/ 1118348 h 2455817"/>
                <a:gd name="connsiteX5245" fmla="*/ 1467598 w 4919004"/>
                <a:gd name="connsiteY5245" fmla="*/ 1124763 h 2455817"/>
                <a:gd name="connsiteX5246" fmla="*/ 1465525 w 4919004"/>
                <a:gd name="connsiteY5246" fmla="*/ 1134631 h 2455817"/>
                <a:gd name="connsiteX5247" fmla="*/ 1471792 w 4919004"/>
                <a:gd name="connsiteY5247" fmla="*/ 1145880 h 2455817"/>
                <a:gd name="connsiteX5248" fmla="*/ 1480081 w 4919004"/>
                <a:gd name="connsiteY5248" fmla="*/ 1152344 h 2455817"/>
                <a:gd name="connsiteX5249" fmla="*/ 1480081 w 4919004"/>
                <a:gd name="connsiteY5249" fmla="*/ 1162212 h 2455817"/>
                <a:gd name="connsiteX5250" fmla="*/ 1473815 w 4919004"/>
                <a:gd name="connsiteY5250" fmla="*/ 1167146 h 2455817"/>
                <a:gd name="connsiteX5251" fmla="*/ 1473815 w 4919004"/>
                <a:gd name="connsiteY5251" fmla="*/ 1170353 h 2455817"/>
                <a:gd name="connsiteX5252" fmla="*/ 1469720 w 4919004"/>
                <a:gd name="connsiteY5252" fmla="*/ 1175287 h 2455817"/>
                <a:gd name="connsiteX5253" fmla="*/ 1471792 w 4919004"/>
                <a:gd name="connsiteY5253" fmla="*/ 1178544 h 2455817"/>
                <a:gd name="connsiteX5254" fmla="*/ 1471792 w 4919004"/>
                <a:gd name="connsiteY5254" fmla="*/ 1193050 h 2455817"/>
                <a:gd name="connsiteX5255" fmla="*/ 1463453 w 4919004"/>
                <a:gd name="connsiteY5255" fmla="*/ 1196257 h 2455817"/>
                <a:gd name="connsiteX5256" fmla="*/ 1465525 w 4919004"/>
                <a:gd name="connsiteY5256" fmla="*/ 1197885 h 2455817"/>
                <a:gd name="connsiteX5257" fmla="*/ 1471792 w 4919004"/>
                <a:gd name="connsiteY5257" fmla="*/ 1197885 h 2455817"/>
                <a:gd name="connsiteX5258" fmla="*/ 1471792 w 4919004"/>
                <a:gd name="connsiteY5258" fmla="*/ 1201092 h 2455817"/>
                <a:gd name="connsiteX5259" fmla="*/ 1463453 w 4919004"/>
                <a:gd name="connsiteY5259" fmla="*/ 1206026 h 2455817"/>
                <a:gd name="connsiteX5260" fmla="*/ 1463453 w 4919004"/>
                <a:gd name="connsiteY5260" fmla="*/ 1218904 h 2455817"/>
                <a:gd name="connsiteX5261" fmla="*/ 1459260 w 4919004"/>
                <a:gd name="connsiteY5261" fmla="*/ 1222161 h 2455817"/>
                <a:gd name="connsiteX5262" fmla="*/ 1450970 w 4919004"/>
                <a:gd name="connsiteY5262" fmla="*/ 1218904 h 2455817"/>
                <a:gd name="connsiteX5263" fmla="*/ 1450970 w 4919004"/>
                <a:gd name="connsiteY5263" fmla="*/ 1222161 h 2455817"/>
                <a:gd name="connsiteX5264" fmla="*/ 1459260 w 4919004"/>
                <a:gd name="connsiteY5264" fmla="*/ 1230252 h 2455817"/>
                <a:gd name="connsiteX5265" fmla="*/ 1459260 w 4919004"/>
                <a:gd name="connsiteY5265" fmla="*/ 1235186 h 2455817"/>
                <a:gd name="connsiteX5266" fmla="*/ 1450970 w 4919004"/>
                <a:gd name="connsiteY5266" fmla="*/ 1236815 h 2455817"/>
                <a:gd name="connsiteX5267" fmla="*/ 1446826 w 4919004"/>
                <a:gd name="connsiteY5267" fmla="*/ 1243278 h 2455817"/>
                <a:gd name="connsiteX5268" fmla="*/ 1432270 w 4919004"/>
                <a:gd name="connsiteY5268" fmla="*/ 1244857 h 2455817"/>
                <a:gd name="connsiteX5269" fmla="*/ 1426053 w 4919004"/>
                <a:gd name="connsiteY5269" fmla="*/ 1239923 h 2455817"/>
                <a:gd name="connsiteX5270" fmla="*/ 1436415 w 4919004"/>
                <a:gd name="connsiteY5270" fmla="*/ 1233509 h 2455817"/>
                <a:gd name="connsiteX5271" fmla="*/ 1436415 w 4919004"/>
                <a:gd name="connsiteY5271" fmla="*/ 1228575 h 2455817"/>
                <a:gd name="connsiteX5272" fmla="*/ 1430000 w 4919004"/>
                <a:gd name="connsiteY5272" fmla="*/ 1228575 h 2455817"/>
                <a:gd name="connsiteX5273" fmla="*/ 1427928 w 4919004"/>
                <a:gd name="connsiteY5273" fmla="*/ 1233509 h 2455817"/>
                <a:gd name="connsiteX5274" fmla="*/ 1421662 w 4919004"/>
                <a:gd name="connsiteY5274" fmla="*/ 1233509 h 2455817"/>
                <a:gd name="connsiteX5275" fmla="*/ 1405034 w 4919004"/>
                <a:gd name="connsiteY5275" fmla="*/ 1225417 h 2455817"/>
                <a:gd name="connsiteX5276" fmla="*/ 1402962 w 4919004"/>
                <a:gd name="connsiteY5276" fmla="*/ 1230351 h 2455817"/>
                <a:gd name="connsiteX5277" fmla="*/ 1382190 w 4919004"/>
                <a:gd name="connsiteY5277" fmla="*/ 1231930 h 2455817"/>
                <a:gd name="connsiteX5278" fmla="*/ 1371779 w 4919004"/>
                <a:gd name="connsiteY5278" fmla="*/ 1233558 h 2455817"/>
                <a:gd name="connsiteX5279" fmla="*/ 1365513 w 4919004"/>
                <a:gd name="connsiteY5279" fmla="*/ 1241601 h 2455817"/>
                <a:gd name="connsiteX5280" fmla="*/ 1371779 w 4919004"/>
                <a:gd name="connsiteY5280" fmla="*/ 1241601 h 2455817"/>
                <a:gd name="connsiteX5281" fmla="*/ 1373851 w 4919004"/>
                <a:gd name="connsiteY5281" fmla="*/ 1244808 h 2455817"/>
                <a:gd name="connsiteX5282" fmla="*/ 1377996 w 4919004"/>
                <a:gd name="connsiteY5282" fmla="*/ 1238393 h 2455817"/>
                <a:gd name="connsiteX5283" fmla="*/ 1388406 w 4919004"/>
                <a:gd name="connsiteY5283" fmla="*/ 1236765 h 2455817"/>
                <a:gd name="connsiteX5284" fmla="*/ 1392551 w 4919004"/>
                <a:gd name="connsiteY5284" fmla="*/ 1243229 h 2455817"/>
                <a:gd name="connsiteX5285" fmla="*/ 1400890 w 4919004"/>
                <a:gd name="connsiteY5285" fmla="*/ 1249643 h 2455817"/>
                <a:gd name="connsiteX5286" fmla="*/ 1427928 w 4919004"/>
                <a:gd name="connsiteY5286" fmla="*/ 1254577 h 2455817"/>
                <a:gd name="connsiteX5287" fmla="*/ 1440411 w 4919004"/>
                <a:gd name="connsiteY5287" fmla="*/ 1256156 h 2455817"/>
                <a:gd name="connsiteX5288" fmla="*/ 1452845 w 4919004"/>
                <a:gd name="connsiteY5288" fmla="*/ 1254577 h 2455817"/>
                <a:gd name="connsiteX5289" fmla="*/ 1465328 w 4919004"/>
                <a:gd name="connsiteY5289" fmla="*/ 1254577 h 2455817"/>
                <a:gd name="connsiteX5290" fmla="*/ 1467400 w 4919004"/>
                <a:gd name="connsiteY5290" fmla="*/ 1257784 h 2455817"/>
                <a:gd name="connsiteX5291" fmla="*/ 1482202 w 4919004"/>
                <a:gd name="connsiteY5291" fmla="*/ 1260991 h 2455817"/>
                <a:gd name="connsiteX5292" fmla="*/ 1492613 w 4919004"/>
                <a:gd name="connsiteY5292" fmla="*/ 1254577 h 2455817"/>
                <a:gd name="connsiteX5293" fmla="*/ 1492613 w 4919004"/>
                <a:gd name="connsiteY5293" fmla="*/ 1249643 h 2455817"/>
                <a:gd name="connsiteX5294" fmla="*/ 1488419 w 4919004"/>
                <a:gd name="connsiteY5294" fmla="*/ 1244709 h 2455817"/>
                <a:gd name="connsiteX5295" fmla="*/ 1488419 w 4919004"/>
                <a:gd name="connsiteY5295" fmla="*/ 1236667 h 2455817"/>
                <a:gd name="connsiteX5296" fmla="*/ 1492613 w 4919004"/>
                <a:gd name="connsiteY5296" fmla="*/ 1231733 h 2455817"/>
                <a:gd name="connsiteX5297" fmla="*/ 1500952 w 4919004"/>
                <a:gd name="connsiteY5297" fmla="*/ 1228476 h 2455817"/>
                <a:gd name="connsiteX5298" fmla="*/ 1500952 w 4919004"/>
                <a:gd name="connsiteY5298" fmla="*/ 1223542 h 2455817"/>
                <a:gd name="connsiteX5299" fmla="*/ 1511313 w 4919004"/>
                <a:gd name="connsiteY5299" fmla="*/ 1215450 h 2455817"/>
                <a:gd name="connsiteX5300" fmla="*/ 1511313 w 4919004"/>
                <a:gd name="connsiteY5300" fmla="*/ 1207753 h 2455817"/>
                <a:gd name="connsiteX5301" fmla="*/ 1517530 w 4919004"/>
                <a:gd name="connsiteY5301" fmla="*/ 1193247 h 2455817"/>
                <a:gd name="connsiteX5302" fmla="*/ 1511313 w 4919004"/>
                <a:gd name="connsiteY5302" fmla="*/ 1185205 h 2455817"/>
                <a:gd name="connsiteX5303" fmla="*/ 1513386 w 4919004"/>
                <a:gd name="connsiteY5303" fmla="*/ 1173906 h 2455817"/>
                <a:gd name="connsiteX5304" fmla="*/ 1523797 w 4919004"/>
                <a:gd name="connsiteY5304" fmla="*/ 1157821 h 2455817"/>
                <a:gd name="connsiteX5305" fmla="*/ 1525869 w 4919004"/>
                <a:gd name="connsiteY5305" fmla="*/ 1151357 h 2455817"/>
                <a:gd name="connsiteX5306" fmla="*/ 1515507 w 4919004"/>
                <a:gd name="connsiteY5306" fmla="*/ 1128759 h 2455817"/>
                <a:gd name="connsiteX5307" fmla="*/ 1498830 w 4919004"/>
                <a:gd name="connsiteY5307" fmla="*/ 1122296 h 2455817"/>
                <a:gd name="connsiteX5308" fmla="*/ 1494686 w 4919004"/>
                <a:gd name="connsiteY5308" fmla="*/ 1115881 h 2455817"/>
                <a:gd name="connsiteX5309" fmla="*/ 1494686 w 4919004"/>
                <a:gd name="connsiteY5309" fmla="*/ 1098119 h 2455817"/>
                <a:gd name="connsiteX5310" fmla="*/ 1505096 w 4919004"/>
                <a:gd name="connsiteY5310" fmla="*/ 1091705 h 2455817"/>
                <a:gd name="connsiteX5311" fmla="*/ 1511313 w 4919004"/>
                <a:gd name="connsiteY5311" fmla="*/ 1083613 h 2455817"/>
                <a:gd name="connsiteX5312" fmla="*/ 1521724 w 4919004"/>
                <a:gd name="connsiteY5312" fmla="*/ 1083613 h 2455817"/>
                <a:gd name="connsiteX5313" fmla="*/ 1536526 w 4919004"/>
                <a:gd name="connsiteY5313" fmla="*/ 1070735 h 2455817"/>
                <a:gd name="connsiteX5314" fmla="*/ 1544865 w 4919004"/>
                <a:gd name="connsiteY5314" fmla="*/ 1070735 h 2455817"/>
                <a:gd name="connsiteX5315" fmla="*/ 1557299 w 4919004"/>
                <a:gd name="connsiteY5315" fmla="*/ 1080603 h 2455817"/>
                <a:gd name="connsiteX5316" fmla="*/ 1557299 w 4919004"/>
                <a:gd name="connsiteY5316" fmla="*/ 1088645 h 2455817"/>
                <a:gd name="connsiteX5317" fmla="*/ 1567710 w 4919004"/>
                <a:gd name="connsiteY5317" fmla="*/ 1093580 h 2455817"/>
                <a:gd name="connsiteX5318" fmla="*/ 1571854 w 4919004"/>
                <a:gd name="connsiteY5318" fmla="*/ 1098514 h 2455817"/>
                <a:gd name="connsiteX5319" fmla="*/ 1573976 w 4919004"/>
                <a:gd name="connsiteY5319" fmla="*/ 1098514 h 2455817"/>
                <a:gd name="connsiteX5320" fmla="*/ 1584337 w 4919004"/>
                <a:gd name="connsiteY5320" fmla="*/ 1108382 h 2455817"/>
                <a:gd name="connsiteX5321" fmla="*/ 1582265 w 4919004"/>
                <a:gd name="connsiteY5321" fmla="*/ 1114845 h 2455817"/>
                <a:gd name="connsiteX5322" fmla="*/ 1588531 w 4919004"/>
                <a:gd name="connsiteY5322" fmla="*/ 1119779 h 2455817"/>
                <a:gd name="connsiteX5323" fmla="*/ 1590554 w 4919004"/>
                <a:gd name="connsiteY5323" fmla="*/ 1126243 h 2455817"/>
                <a:gd name="connsiteX5324" fmla="*/ 1596820 w 4919004"/>
                <a:gd name="connsiteY5324" fmla="*/ 1132657 h 2455817"/>
                <a:gd name="connsiteX5325" fmla="*/ 1598892 w 4919004"/>
                <a:gd name="connsiteY5325" fmla="*/ 1140749 h 2455817"/>
                <a:gd name="connsiteX5326" fmla="*/ 1594748 w 4919004"/>
                <a:gd name="connsiteY5326" fmla="*/ 1143956 h 2455817"/>
                <a:gd name="connsiteX5327" fmla="*/ 1600965 w 4919004"/>
                <a:gd name="connsiteY5327" fmla="*/ 1150420 h 2455817"/>
                <a:gd name="connsiteX5328" fmla="*/ 1609303 w 4919004"/>
                <a:gd name="connsiteY5328" fmla="*/ 1152048 h 2455817"/>
                <a:gd name="connsiteX5329" fmla="*/ 1619664 w 4919004"/>
                <a:gd name="connsiteY5329" fmla="*/ 1156982 h 2455817"/>
                <a:gd name="connsiteX5330" fmla="*/ 1628003 w 4919004"/>
                <a:gd name="connsiteY5330" fmla="*/ 1155403 h 2455817"/>
                <a:gd name="connsiteX5331" fmla="*/ 1634220 w 4919004"/>
                <a:gd name="connsiteY5331" fmla="*/ 1153775 h 2455817"/>
                <a:gd name="connsiteX5332" fmla="*/ 1644631 w 4919004"/>
                <a:gd name="connsiteY5332" fmla="*/ 1153775 h 2455817"/>
                <a:gd name="connsiteX5333" fmla="*/ 1648775 w 4919004"/>
                <a:gd name="connsiteY5333" fmla="*/ 1148841 h 2455817"/>
                <a:gd name="connsiteX5334" fmla="*/ 1652969 w 4919004"/>
                <a:gd name="connsiteY5334" fmla="*/ 1147262 h 2455817"/>
                <a:gd name="connsiteX5335" fmla="*/ 1646753 w 4919004"/>
                <a:gd name="connsiteY5335" fmla="*/ 1145634 h 2455817"/>
                <a:gd name="connsiteX5336" fmla="*/ 1640487 w 4919004"/>
                <a:gd name="connsiteY5336" fmla="*/ 1147262 h 2455817"/>
                <a:gd name="connsiteX5337" fmla="*/ 1638414 w 4919004"/>
                <a:gd name="connsiteY5337" fmla="*/ 1142328 h 2455817"/>
                <a:gd name="connsiteX5338" fmla="*/ 1632197 w 4919004"/>
                <a:gd name="connsiteY5338" fmla="*/ 1150370 h 2455817"/>
                <a:gd name="connsiteX5339" fmla="*/ 1621786 w 4919004"/>
                <a:gd name="connsiteY5339" fmla="*/ 1150370 h 2455817"/>
                <a:gd name="connsiteX5340" fmla="*/ 1617642 w 4919004"/>
                <a:gd name="connsiteY5340" fmla="*/ 1145436 h 2455817"/>
                <a:gd name="connsiteX5341" fmla="*/ 1609303 w 4919004"/>
                <a:gd name="connsiteY5341" fmla="*/ 1145436 h 2455817"/>
                <a:gd name="connsiteX5342" fmla="*/ 1605109 w 4919004"/>
                <a:gd name="connsiteY5342" fmla="*/ 1138973 h 2455817"/>
                <a:gd name="connsiteX5343" fmla="*/ 1607231 w 4919004"/>
                <a:gd name="connsiteY5343" fmla="*/ 1134039 h 2455817"/>
                <a:gd name="connsiteX5344" fmla="*/ 1603086 w 4919004"/>
                <a:gd name="connsiteY5344" fmla="*/ 1132361 h 2455817"/>
                <a:gd name="connsiteX5345" fmla="*/ 1596820 w 4919004"/>
                <a:gd name="connsiteY5345" fmla="*/ 1122493 h 2455817"/>
                <a:gd name="connsiteX5346" fmla="*/ 1598892 w 4919004"/>
                <a:gd name="connsiteY5346" fmla="*/ 1112872 h 2455817"/>
                <a:gd name="connsiteX5347" fmla="*/ 1605109 w 4919004"/>
                <a:gd name="connsiteY5347" fmla="*/ 1111243 h 2455817"/>
                <a:gd name="connsiteX5348" fmla="*/ 1611376 w 4919004"/>
                <a:gd name="connsiteY5348" fmla="*/ 1106309 h 2455817"/>
                <a:gd name="connsiteX5349" fmla="*/ 1607231 w 4919004"/>
                <a:gd name="connsiteY5349" fmla="*/ 1103053 h 2455817"/>
                <a:gd name="connsiteX5350" fmla="*/ 1605109 w 4919004"/>
                <a:gd name="connsiteY5350" fmla="*/ 1098119 h 2455817"/>
                <a:gd name="connsiteX5351" fmla="*/ 1603086 w 4919004"/>
                <a:gd name="connsiteY5351" fmla="*/ 1096540 h 2455817"/>
                <a:gd name="connsiteX5352" fmla="*/ 1598892 w 4919004"/>
                <a:gd name="connsiteY5352" fmla="*/ 1091606 h 2455817"/>
                <a:gd name="connsiteX5353" fmla="*/ 1588531 w 4919004"/>
                <a:gd name="connsiteY5353" fmla="*/ 1086672 h 2455817"/>
                <a:gd name="connsiteX5354" fmla="*/ 1588531 w 4919004"/>
                <a:gd name="connsiteY5354" fmla="*/ 1081738 h 2455817"/>
                <a:gd name="connsiteX5355" fmla="*/ 1580192 w 4919004"/>
                <a:gd name="connsiteY5355" fmla="*/ 1071870 h 2455817"/>
                <a:gd name="connsiteX5356" fmla="*/ 1567710 w 4919004"/>
                <a:gd name="connsiteY5356" fmla="*/ 1071870 h 2455817"/>
                <a:gd name="connsiteX5357" fmla="*/ 1551082 w 4919004"/>
                <a:gd name="connsiteY5357" fmla="*/ 1065456 h 2455817"/>
                <a:gd name="connsiteX5358" fmla="*/ 1546887 w 4919004"/>
                <a:gd name="connsiteY5358" fmla="*/ 1058992 h 2455817"/>
                <a:gd name="connsiteX5359" fmla="*/ 1538599 w 4919004"/>
                <a:gd name="connsiteY5359" fmla="*/ 1060620 h 2455817"/>
                <a:gd name="connsiteX5360" fmla="*/ 1526115 w 4919004"/>
                <a:gd name="connsiteY5360" fmla="*/ 1054157 h 2455817"/>
                <a:gd name="connsiteX5361" fmla="*/ 1519898 w 4919004"/>
                <a:gd name="connsiteY5361" fmla="*/ 1055785 h 2455817"/>
                <a:gd name="connsiteX5362" fmla="*/ 1511560 w 4919004"/>
                <a:gd name="connsiteY5362" fmla="*/ 1054157 h 2455817"/>
                <a:gd name="connsiteX5363" fmla="*/ 1501199 w 4919004"/>
                <a:gd name="connsiteY5363" fmla="*/ 1062199 h 2455817"/>
                <a:gd name="connsiteX5364" fmla="*/ 1499077 w 4919004"/>
                <a:gd name="connsiteY5364" fmla="*/ 1070291 h 2455817"/>
                <a:gd name="connsiteX5365" fmla="*/ 1494933 w 4919004"/>
                <a:gd name="connsiteY5365" fmla="*/ 1073498 h 2455817"/>
                <a:gd name="connsiteX5366" fmla="*/ 1482449 w 4919004"/>
                <a:gd name="connsiteY5366" fmla="*/ 1070291 h 2455817"/>
                <a:gd name="connsiteX5367" fmla="*/ 1472088 w 4919004"/>
                <a:gd name="connsiteY5367" fmla="*/ 1076755 h 2455817"/>
                <a:gd name="connsiteX5368" fmla="*/ 1461677 w 4919004"/>
                <a:gd name="connsiteY5368" fmla="*/ 1073498 h 2455817"/>
                <a:gd name="connsiteX5369" fmla="*/ 1457532 w 4919004"/>
                <a:gd name="connsiteY5369" fmla="*/ 1068564 h 2455817"/>
                <a:gd name="connsiteX5370" fmla="*/ 1457532 w 4919004"/>
                <a:gd name="connsiteY5370" fmla="*/ 1054058 h 2455817"/>
                <a:gd name="connsiteX5371" fmla="*/ 1442730 w 4919004"/>
                <a:gd name="connsiteY5371" fmla="*/ 1042759 h 2455817"/>
                <a:gd name="connsiteX5372" fmla="*/ 1438536 w 4919004"/>
                <a:gd name="connsiteY5372" fmla="*/ 1034717 h 2455817"/>
                <a:gd name="connsiteX5373" fmla="*/ 1440658 w 4919004"/>
                <a:gd name="connsiteY5373" fmla="*/ 1021789 h 2455817"/>
                <a:gd name="connsiteX5374" fmla="*/ 1432319 w 4919004"/>
                <a:gd name="connsiteY5374" fmla="*/ 1010540 h 2455817"/>
                <a:gd name="connsiteX5375" fmla="*/ 1434392 w 4919004"/>
                <a:gd name="connsiteY5375" fmla="*/ 1002448 h 2455817"/>
                <a:gd name="connsiteX5376" fmla="*/ 1436464 w 4919004"/>
                <a:gd name="connsiteY5376" fmla="*/ 983107 h 2455817"/>
                <a:gd name="connsiteX5377" fmla="*/ 1430247 w 4919004"/>
                <a:gd name="connsiteY5377" fmla="*/ 970229 h 2455817"/>
                <a:gd name="connsiteX5378" fmla="*/ 1421909 w 4919004"/>
                <a:gd name="connsiteY5378" fmla="*/ 962137 h 2455817"/>
                <a:gd name="connsiteX5379" fmla="*/ 1411547 w 4919004"/>
                <a:gd name="connsiteY5379" fmla="*/ 962137 h 2455817"/>
                <a:gd name="connsiteX5380" fmla="*/ 1409425 w 4919004"/>
                <a:gd name="connsiteY5380" fmla="*/ 954094 h 2455817"/>
                <a:gd name="connsiteX5381" fmla="*/ 1392798 w 4919004"/>
                <a:gd name="connsiteY5381" fmla="*/ 941217 h 2455817"/>
                <a:gd name="connsiteX5382" fmla="*/ 1378242 w 4919004"/>
                <a:gd name="connsiteY5382" fmla="*/ 934753 h 2455817"/>
                <a:gd name="connsiteX5383" fmla="*/ 1378242 w 4919004"/>
                <a:gd name="connsiteY5383" fmla="*/ 928980 h 2455817"/>
                <a:gd name="connsiteX5384" fmla="*/ 1382436 w 4919004"/>
                <a:gd name="connsiteY5384" fmla="*/ 916102 h 2455817"/>
                <a:gd name="connsiteX5385" fmla="*/ 1380315 w 4919004"/>
                <a:gd name="connsiteY5385" fmla="*/ 906234 h 2455817"/>
                <a:gd name="connsiteX5386" fmla="*/ 1376170 w 4919004"/>
                <a:gd name="connsiteY5386" fmla="*/ 901300 h 2455817"/>
                <a:gd name="connsiteX5387" fmla="*/ 1376170 w 4919004"/>
                <a:gd name="connsiteY5387" fmla="*/ 898044 h 2455817"/>
                <a:gd name="connsiteX5388" fmla="*/ 1382436 w 4919004"/>
                <a:gd name="connsiteY5388" fmla="*/ 891580 h 2455817"/>
                <a:gd name="connsiteX5389" fmla="*/ 1394870 w 4919004"/>
                <a:gd name="connsiteY5389" fmla="*/ 880331 h 2455817"/>
                <a:gd name="connsiteX5390" fmla="*/ 1399064 w 4919004"/>
                <a:gd name="connsiteY5390" fmla="*/ 865825 h 2455817"/>
                <a:gd name="connsiteX5391" fmla="*/ 1394870 w 4919004"/>
                <a:gd name="connsiteY5391" fmla="*/ 849690 h 2455817"/>
                <a:gd name="connsiteX5392" fmla="*/ 1378242 w 4919004"/>
                <a:gd name="connsiteY5392" fmla="*/ 825513 h 2455817"/>
                <a:gd name="connsiteX5393" fmla="*/ 1384509 w 4919004"/>
                <a:gd name="connsiteY5393" fmla="*/ 822257 h 2455817"/>
                <a:gd name="connsiteX5394" fmla="*/ 1394870 w 4919004"/>
                <a:gd name="connsiteY5394" fmla="*/ 828721 h 2455817"/>
                <a:gd name="connsiteX5395" fmla="*/ 1394870 w 4919004"/>
                <a:gd name="connsiteY5395" fmla="*/ 836763 h 2455817"/>
                <a:gd name="connsiteX5396" fmla="*/ 1401136 w 4919004"/>
                <a:gd name="connsiteY5396" fmla="*/ 838391 h 2455817"/>
                <a:gd name="connsiteX5397" fmla="*/ 1403208 w 4919004"/>
                <a:gd name="connsiteY5397" fmla="*/ 841598 h 2455817"/>
                <a:gd name="connsiteX5398" fmla="*/ 1405281 w 4919004"/>
                <a:gd name="connsiteY5398" fmla="*/ 851466 h 2455817"/>
                <a:gd name="connsiteX5399" fmla="*/ 1413620 w 4919004"/>
                <a:gd name="connsiteY5399" fmla="*/ 857881 h 2455817"/>
                <a:gd name="connsiteX5400" fmla="*/ 1411547 w 4919004"/>
                <a:gd name="connsiteY5400" fmla="*/ 872387 h 2455817"/>
                <a:gd name="connsiteX5401" fmla="*/ 1417764 w 4919004"/>
                <a:gd name="connsiteY5401" fmla="*/ 880479 h 2455817"/>
                <a:gd name="connsiteX5402" fmla="*/ 1413620 w 4919004"/>
                <a:gd name="connsiteY5402" fmla="*/ 888521 h 2455817"/>
                <a:gd name="connsiteX5403" fmla="*/ 1417764 w 4919004"/>
                <a:gd name="connsiteY5403" fmla="*/ 894985 h 2455817"/>
                <a:gd name="connsiteX5404" fmla="*/ 1430247 w 4919004"/>
                <a:gd name="connsiteY5404" fmla="*/ 903027 h 2455817"/>
                <a:gd name="connsiteX5405" fmla="*/ 1430247 w 4919004"/>
                <a:gd name="connsiteY5405" fmla="*/ 907961 h 2455817"/>
                <a:gd name="connsiteX5406" fmla="*/ 1436464 w 4919004"/>
                <a:gd name="connsiteY5406" fmla="*/ 912895 h 2455817"/>
                <a:gd name="connsiteX5407" fmla="*/ 1436464 w 4919004"/>
                <a:gd name="connsiteY5407" fmla="*/ 916152 h 2455817"/>
                <a:gd name="connsiteX5408" fmla="*/ 1430247 w 4919004"/>
                <a:gd name="connsiteY5408" fmla="*/ 921086 h 2455817"/>
                <a:gd name="connsiteX5409" fmla="*/ 1432319 w 4919004"/>
                <a:gd name="connsiteY5409" fmla="*/ 926020 h 2455817"/>
                <a:gd name="connsiteX5410" fmla="*/ 1442730 w 4919004"/>
                <a:gd name="connsiteY5410" fmla="*/ 924392 h 2455817"/>
                <a:gd name="connsiteX5411" fmla="*/ 1451020 w 4919004"/>
                <a:gd name="connsiteY5411" fmla="*/ 929326 h 2455817"/>
                <a:gd name="connsiteX5412" fmla="*/ 1463503 w 4919004"/>
                <a:gd name="connsiteY5412" fmla="*/ 929326 h 2455817"/>
                <a:gd name="connsiteX5413" fmla="*/ 1471841 w 4919004"/>
                <a:gd name="connsiteY5413" fmla="*/ 927697 h 2455817"/>
                <a:gd name="connsiteX5414" fmla="*/ 1478058 w 4919004"/>
                <a:gd name="connsiteY5414" fmla="*/ 930954 h 2455817"/>
                <a:gd name="connsiteX5415" fmla="*/ 1480130 w 4919004"/>
                <a:gd name="connsiteY5415" fmla="*/ 935888 h 2455817"/>
                <a:gd name="connsiteX5416" fmla="*/ 1486397 w 4919004"/>
                <a:gd name="connsiteY5416" fmla="*/ 929424 h 2455817"/>
                <a:gd name="connsiteX5417" fmla="*/ 1494143 w 4919004"/>
                <a:gd name="connsiteY5417" fmla="*/ 929424 h 2455817"/>
                <a:gd name="connsiteX5418" fmla="*/ 1500409 w 4919004"/>
                <a:gd name="connsiteY5418" fmla="*/ 926217 h 2455817"/>
                <a:gd name="connsiteX5419" fmla="*/ 1506626 w 4919004"/>
                <a:gd name="connsiteY5419" fmla="*/ 927796 h 2455817"/>
                <a:gd name="connsiteX5420" fmla="*/ 1516988 w 4919004"/>
                <a:gd name="connsiteY5420" fmla="*/ 935888 h 2455817"/>
                <a:gd name="connsiteX5421" fmla="*/ 1523254 w 4919004"/>
                <a:gd name="connsiteY5421" fmla="*/ 937516 h 2455817"/>
                <a:gd name="connsiteX5422" fmla="*/ 1533665 w 4919004"/>
                <a:gd name="connsiteY5422" fmla="*/ 942450 h 2455817"/>
                <a:gd name="connsiteX5423" fmla="*/ 1548467 w 4919004"/>
                <a:gd name="connsiteY5423" fmla="*/ 939194 h 2455817"/>
                <a:gd name="connsiteX5424" fmla="*/ 1554684 w 4919004"/>
                <a:gd name="connsiteY5424" fmla="*/ 934260 h 2455817"/>
                <a:gd name="connsiteX5425" fmla="*/ 1548467 w 4919004"/>
                <a:gd name="connsiteY5425" fmla="*/ 937516 h 2455817"/>
                <a:gd name="connsiteX5426" fmla="*/ 1533665 w 4919004"/>
                <a:gd name="connsiteY5426" fmla="*/ 935888 h 2455817"/>
                <a:gd name="connsiteX5427" fmla="*/ 1531543 w 4919004"/>
                <a:gd name="connsiteY5427" fmla="*/ 930954 h 2455817"/>
                <a:gd name="connsiteX5428" fmla="*/ 1525326 w 4919004"/>
                <a:gd name="connsiteY5428" fmla="*/ 929326 h 2455817"/>
                <a:gd name="connsiteX5429" fmla="*/ 1521181 w 4919004"/>
                <a:gd name="connsiteY5429" fmla="*/ 919458 h 2455817"/>
                <a:gd name="connsiteX5430" fmla="*/ 1510771 w 4919004"/>
                <a:gd name="connsiteY5430" fmla="*/ 919458 h 2455817"/>
                <a:gd name="connsiteX5431" fmla="*/ 1508698 w 4919004"/>
                <a:gd name="connsiteY5431" fmla="*/ 914523 h 2455817"/>
                <a:gd name="connsiteX5432" fmla="*/ 1504554 w 4919004"/>
                <a:gd name="connsiteY5432" fmla="*/ 914523 h 2455817"/>
                <a:gd name="connsiteX5433" fmla="*/ 1500409 w 4919004"/>
                <a:gd name="connsiteY5433" fmla="*/ 917731 h 2455817"/>
                <a:gd name="connsiteX5434" fmla="*/ 1483732 w 4919004"/>
                <a:gd name="connsiteY5434" fmla="*/ 917731 h 2455817"/>
                <a:gd name="connsiteX5435" fmla="*/ 1475443 w 4919004"/>
                <a:gd name="connsiteY5435" fmla="*/ 912797 h 2455817"/>
                <a:gd name="connsiteX5436" fmla="*/ 1465032 w 4919004"/>
                <a:gd name="connsiteY5436" fmla="*/ 911218 h 2455817"/>
                <a:gd name="connsiteX5437" fmla="*/ 1452549 w 4919004"/>
                <a:gd name="connsiteY5437" fmla="*/ 901350 h 2455817"/>
                <a:gd name="connsiteX5438" fmla="*/ 1448404 w 4919004"/>
                <a:gd name="connsiteY5438" fmla="*/ 894886 h 2455817"/>
                <a:gd name="connsiteX5439" fmla="*/ 1444211 w 4919004"/>
                <a:gd name="connsiteY5439" fmla="*/ 893258 h 2455817"/>
                <a:gd name="connsiteX5440" fmla="*/ 1433849 w 4919004"/>
                <a:gd name="connsiteY5440" fmla="*/ 880380 h 2455817"/>
                <a:gd name="connsiteX5441" fmla="*/ 1437994 w 4919004"/>
                <a:gd name="connsiteY5441" fmla="*/ 878752 h 2455817"/>
                <a:gd name="connsiteX5442" fmla="*/ 1442187 w 4919004"/>
                <a:gd name="connsiteY5442" fmla="*/ 875545 h 2455817"/>
                <a:gd name="connsiteX5443" fmla="*/ 1452549 w 4919004"/>
                <a:gd name="connsiteY5443" fmla="*/ 869081 h 2455817"/>
                <a:gd name="connsiteX5444" fmla="*/ 1458766 w 4919004"/>
                <a:gd name="connsiteY5444" fmla="*/ 869081 h 2455817"/>
                <a:gd name="connsiteX5445" fmla="*/ 1467105 w 4919004"/>
                <a:gd name="connsiteY5445" fmla="*/ 878949 h 2455817"/>
                <a:gd name="connsiteX5446" fmla="*/ 1483732 w 4919004"/>
                <a:gd name="connsiteY5446" fmla="*/ 883883 h 2455817"/>
                <a:gd name="connsiteX5447" fmla="*/ 1494143 w 4919004"/>
                <a:gd name="connsiteY5447" fmla="*/ 882255 h 2455817"/>
                <a:gd name="connsiteX5448" fmla="*/ 1502432 w 4919004"/>
                <a:gd name="connsiteY5448" fmla="*/ 869377 h 2455817"/>
                <a:gd name="connsiteX5449" fmla="*/ 1496215 w 4919004"/>
                <a:gd name="connsiteY5449" fmla="*/ 859509 h 2455817"/>
                <a:gd name="connsiteX5450" fmla="*/ 1481413 w 4919004"/>
                <a:gd name="connsiteY5450" fmla="*/ 856302 h 2455817"/>
                <a:gd name="connsiteX5451" fmla="*/ 1468979 w 4919004"/>
                <a:gd name="connsiteY5451" fmla="*/ 862716 h 2455817"/>
                <a:gd name="connsiteX5452" fmla="*/ 1464786 w 4919004"/>
                <a:gd name="connsiteY5452" fmla="*/ 857782 h 2455817"/>
                <a:gd name="connsiteX5453" fmla="*/ 1466858 w 4919004"/>
                <a:gd name="connsiteY5453" fmla="*/ 854575 h 2455817"/>
                <a:gd name="connsiteX5454" fmla="*/ 1471051 w 4919004"/>
                <a:gd name="connsiteY5454" fmla="*/ 856203 h 2455817"/>
                <a:gd name="connsiteX5455" fmla="*/ 1475196 w 4919004"/>
                <a:gd name="connsiteY5455" fmla="*/ 854575 h 2455817"/>
                <a:gd name="connsiteX5456" fmla="*/ 1475196 w 4919004"/>
                <a:gd name="connsiteY5456" fmla="*/ 846532 h 2455817"/>
                <a:gd name="connsiteX5457" fmla="*/ 1483485 w 4919004"/>
                <a:gd name="connsiteY5457" fmla="*/ 835234 h 2455817"/>
                <a:gd name="connsiteX5458" fmla="*/ 1491824 w 4919004"/>
                <a:gd name="connsiteY5458" fmla="*/ 830299 h 2455817"/>
                <a:gd name="connsiteX5459" fmla="*/ 1500162 w 4919004"/>
                <a:gd name="connsiteY5459" fmla="*/ 833507 h 2455817"/>
                <a:gd name="connsiteX5460" fmla="*/ 1524832 w 4919004"/>
                <a:gd name="connsiteY5460" fmla="*/ 833507 h 2455817"/>
                <a:gd name="connsiteX5461" fmla="*/ 1533171 w 4919004"/>
                <a:gd name="connsiteY5461" fmla="*/ 841549 h 2455817"/>
                <a:gd name="connsiteX5462" fmla="*/ 1541460 w 4919004"/>
                <a:gd name="connsiteY5462" fmla="*/ 846483 h 2455817"/>
                <a:gd name="connsiteX5463" fmla="*/ 1562282 w 4919004"/>
                <a:gd name="connsiteY5463" fmla="*/ 848062 h 2455817"/>
                <a:gd name="connsiteX5464" fmla="*/ 1564354 w 4919004"/>
                <a:gd name="connsiteY5464" fmla="*/ 854526 h 2455817"/>
                <a:gd name="connsiteX5465" fmla="*/ 1572693 w 4919004"/>
                <a:gd name="connsiteY5465" fmla="*/ 857733 h 2455817"/>
                <a:gd name="connsiteX5466" fmla="*/ 1587495 w 4919004"/>
                <a:gd name="connsiteY5466" fmla="*/ 872239 h 2455817"/>
                <a:gd name="connsiteX5467" fmla="*/ 1597856 w 4919004"/>
                <a:gd name="connsiteY5467" fmla="*/ 872239 h 2455817"/>
                <a:gd name="connsiteX5468" fmla="*/ 1616605 w 4919004"/>
                <a:gd name="connsiteY5468" fmla="*/ 869032 h 2455817"/>
                <a:gd name="connsiteX5469" fmla="*/ 1633184 w 4919004"/>
                <a:gd name="connsiteY5469" fmla="*/ 860989 h 2455817"/>
                <a:gd name="connsiteX5470" fmla="*/ 1637378 w 4919004"/>
                <a:gd name="connsiteY5470" fmla="*/ 865923 h 2455817"/>
                <a:gd name="connsiteX5471" fmla="*/ 1649861 w 4919004"/>
                <a:gd name="connsiteY5471" fmla="*/ 865923 h 2455817"/>
                <a:gd name="connsiteX5472" fmla="*/ 1647739 w 4919004"/>
                <a:gd name="connsiteY5472" fmla="*/ 877173 h 2455817"/>
                <a:gd name="connsiteX5473" fmla="*/ 1649861 w 4919004"/>
                <a:gd name="connsiteY5473" fmla="*/ 883636 h 2455817"/>
                <a:gd name="connsiteX5474" fmla="*/ 1647739 w 4919004"/>
                <a:gd name="connsiteY5474" fmla="*/ 888570 h 2455817"/>
                <a:gd name="connsiteX5475" fmla="*/ 1637378 w 4919004"/>
                <a:gd name="connsiteY5475" fmla="*/ 893504 h 2455817"/>
                <a:gd name="connsiteX5476" fmla="*/ 1637378 w 4919004"/>
                <a:gd name="connsiteY5476" fmla="*/ 901596 h 2455817"/>
                <a:gd name="connsiteX5477" fmla="*/ 1641523 w 4919004"/>
                <a:gd name="connsiteY5477" fmla="*/ 909639 h 2455817"/>
                <a:gd name="connsiteX5478" fmla="*/ 1643595 w 4919004"/>
                <a:gd name="connsiteY5478" fmla="*/ 919507 h 2455817"/>
                <a:gd name="connsiteX5479" fmla="*/ 1654006 w 4919004"/>
                <a:gd name="connsiteY5479" fmla="*/ 927549 h 2455817"/>
                <a:gd name="connsiteX5480" fmla="*/ 1656078 w 4919004"/>
                <a:gd name="connsiteY5480" fmla="*/ 934013 h 2455817"/>
                <a:gd name="connsiteX5481" fmla="*/ 1649861 w 4919004"/>
                <a:gd name="connsiteY5481" fmla="*/ 940476 h 2455817"/>
                <a:gd name="connsiteX5482" fmla="*/ 1654006 w 4919004"/>
                <a:gd name="connsiteY5482" fmla="*/ 959818 h 2455817"/>
                <a:gd name="connsiteX5483" fmla="*/ 1658150 w 4919004"/>
                <a:gd name="connsiteY5483" fmla="*/ 958190 h 2455817"/>
                <a:gd name="connsiteX5484" fmla="*/ 1660272 w 4919004"/>
                <a:gd name="connsiteY5484" fmla="*/ 951775 h 2455817"/>
                <a:gd name="connsiteX5485" fmla="*/ 1658150 w 4919004"/>
                <a:gd name="connsiteY5485" fmla="*/ 948519 h 2455817"/>
                <a:gd name="connsiteX5486" fmla="*/ 1662295 w 4919004"/>
                <a:gd name="connsiteY5486" fmla="*/ 943585 h 2455817"/>
                <a:gd name="connsiteX5487" fmla="*/ 1662295 w 4919004"/>
                <a:gd name="connsiteY5487" fmla="*/ 935542 h 2455817"/>
                <a:gd name="connsiteX5488" fmla="*/ 1666489 w 4919004"/>
                <a:gd name="connsiteY5488" fmla="*/ 933914 h 2455817"/>
                <a:gd name="connsiteX5489" fmla="*/ 1670633 w 4919004"/>
                <a:gd name="connsiteY5489" fmla="*/ 924046 h 2455817"/>
                <a:gd name="connsiteX5490" fmla="*/ 1676900 w 4919004"/>
                <a:gd name="connsiteY5490" fmla="*/ 927253 h 2455817"/>
                <a:gd name="connsiteX5491" fmla="*/ 1681044 w 4919004"/>
                <a:gd name="connsiteY5491" fmla="*/ 938552 h 2455817"/>
                <a:gd name="connsiteX5492" fmla="*/ 1683117 w 4919004"/>
                <a:gd name="connsiteY5492" fmla="*/ 953058 h 2455817"/>
                <a:gd name="connsiteX5493" fmla="*/ 1685189 w 4919004"/>
                <a:gd name="connsiteY5493" fmla="*/ 957992 h 2455817"/>
                <a:gd name="connsiteX5494" fmla="*/ 1678972 w 4919004"/>
                <a:gd name="connsiteY5494" fmla="*/ 959621 h 2455817"/>
                <a:gd name="connsiteX5495" fmla="*/ 1678972 w 4919004"/>
                <a:gd name="connsiteY5495" fmla="*/ 967663 h 2455817"/>
                <a:gd name="connsiteX5496" fmla="*/ 1676900 w 4919004"/>
                <a:gd name="connsiteY5496" fmla="*/ 969291 h 2455817"/>
                <a:gd name="connsiteX5497" fmla="*/ 1689382 w 4919004"/>
                <a:gd name="connsiteY5497" fmla="*/ 977383 h 2455817"/>
                <a:gd name="connsiteX5498" fmla="*/ 1699744 w 4919004"/>
                <a:gd name="connsiteY5498" fmla="*/ 977383 h 2455817"/>
                <a:gd name="connsiteX5499" fmla="*/ 1712227 w 4919004"/>
                <a:gd name="connsiteY5499" fmla="*/ 978962 h 2455817"/>
                <a:gd name="connsiteX5500" fmla="*/ 1718493 w 4919004"/>
                <a:gd name="connsiteY5500" fmla="*/ 987054 h 2455817"/>
                <a:gd name="connsiteX5501" fmla="*/ 1718493 w 4919004"/>
                <a:gd name="connsiteY5501" fmla="*/ 993123 h 2455817"/>
                <a:gd name="connsiteX5502" fmla="*/ 1726783 w 4919004"/>
                <a:gd name="connsiteY5502" fmla="*/ 998057 h 2455817"/>
                <a:gd name="connsiteX5503" fmla="*/ 1741585 w 4919004"/>
                <a:gd name="connsiteY5503" fmla="*/ 998057 h 2455817"/>
                <a:gd name="connsiteX5504" fmla="*/ 1756140 w 4919004"/>
                <a:gd name="connsiteY5504" fmla="*/ 1010984 h 2455817"/>
                <a:gd name="connsiteX5505" fmla="*/ 1754068 w 4919004"/>
                <a:gd name="connsiteY5505" fmla="*/ 1007727 h 2455817"/>
                <a:gd name="connsiteX5506" fmla="*/ 1754068 w 4919004"/>
                <a:gd name="connsiteY5506" fmla="*/ 997859 h 2455817"/>
                <a:gd name="connsiteX5507" fmla="*/ 1764479 w 4919004"/>
                <a:gd name="connsiteY5507" fmla="*/ 987991 h 2455817"/>
                <a:gd name="connsiteX5508" fmla="*/ 1772768 w 4919004"/>
                <a:gd name="connsiteY5508" fmla="*/ 987991 h 2455817"/>
                <a:gd name="connsiteX5509" fmla="*/ 1789395 w 4919004"/>
                <a:gd name="connsiteY5509" fmla="*/ 999290 h 2455817"/>
                <a:gd name="connsiteX5510" fmla="*/ 1800053 w 4919004"/>
                <a:gd name="connsiteY5510" fmla="*/ 999290 h 2455817"/>
                <a:gd name="connsiteX5511" fmla="*/ 1806270 w 4919004"/>
                <a:gd name="connsiteY5511" fmla="*/ 1004224 h 2455817"/>
                <a:gd name="connsiteX5512" fmla="*/ 1802126 w 4919004"/>
                <a:gd name="connsiteY5512" fmla="*/ 996182 h 2455817"/>
                <a:gd name="connsiteX5513" fmla="*/ 1795859 w 4919004"/>
                <a:gd name="connsiteY5513" fmla="*/ 996182 h 2455817"/>
                <a:gd name="connsiteX5514" fmla="*/ 1787570 w 4919004"/>
                <a:gd name="connsiteY5514" fmla="*/ 992925 h 2455817"/>
                <a:gd name="connsiteX5515" fmla="*/ 1772768 w 4919004"/>
                <a:gd name="connsiteY5515" fmla="*/ 984883 h 2455817"/>
                <a:gd name="connsiteX5516" fmla="*/ 1760284 w 4919004"/>
                <a:gd name="connsiteY5516" fmla="*/ 986511 h 2455817"/>
                <a:gd name="connsiteX5517" fmla="*/ 1749923 w 4919004"/>
                <a:gd name="connsiteY5517" fmla="*/ 994553 h 2455817"/>
                <a:gd name="connsiteX5518" fmla="*/ 1743657 w 4919004"/>
                <a:gd name="connsiteY5518" fmla="*/ 992925 h 2455817"/>
                <a:gd name="connsiteX5519" fmla="*/ 1741585 w 4919004"/>
                <a:gd name="connsiteY5519" fmla="*/ 994553 h 2455817"/>
                <a:gd name="connsiteX5520" fmla="*/ 1729102 w 4919004"/>
                <a:gd name="connsiteY5520" fmla="*/ 989619 h 2455817"/>
                <a:gd name="connsiteX5521" fmla="*/ 1716618 w 4919004"/>
                <a:gd name="connsiteY5521" fmla="*/ 976742 h 2455817"/>
                <a:gd name="connsiteX5522" fmla="*/ 1710401 w 4919004"/>
                <a:gd name="connsiteY5522" fmla="*/ 973485 h 2455817"/>
                <a:gd name="connsiteX5523" fmla="*/ 1697919 w 4919004"/>
                <a:gd name="connsiteY5523" fmla="*/ 971857 h 2455817"/>
                <a:gd name="connsiteX5524" fmla="*/ 1689629 w 4919004"/>
                <a:gd name="connsiteY5524" fmla="*/ 961989 h 2455817"/>
                <a:gd name="connsiteX5525" fmla="*/ 1695846 w 4919004"/>
                <a:gd name="connsiteY5525" fmla="*/ 965245 h 2455817"/>
                <a:gd name="connsiteX5526" fmla="*/ 1699991 w 4919004"/>
                <a:gd name="connsiteY5526" fmla="*/ 963617 h 2455817"/>
                <a:gd name="connsiteX5527" fmla="*/ 1708330 w 4919004"/>
                <a:gd name="connsiteY5527" fmla="*/ 950739 h 2455817"/>
                <a:gd name="connsiteX5528" fmla="*/ 1706257 w 4919004"/>
                <a:gd name="connsiteY5528" fmla="*/ 944276 h 2455817"/>
                <a:gd name="connsiteX5529" fmla="*/ 1695846 w 4919004"/>
                <a:gd name="connsiteY5529" fmla="*/ 936233 h 2455817"/>
                <a:gd name="connsiteX5530" fmla="*/ 1691702 w 4919004"/>
                <a:gd name="connsiteY5530" fmla="*/ 923306 h 2455817"/>
                <a:gd name="connsiteX5531" fmla="*/ 1681291 w 4919004"/>
                <a:gd name="connsiteY5531" fmla="*/ 908800 h 2455817"/>
                <a:gd name="connsiteX5532" fmla="*/ 1672952 w 4919004"/>
                <a:gd name="connsiteY5532" fmla="*/ 903866 h 2455817"/>
                <a:gd name="connsiteX5533" fmla="*/ 1664663 w 4919004"/>
                <a:gd name="connsiteY5533" fmla="*/ 895823 h 2455817"/>
                <a:gd name="connsiteX5534" fmla="*/ 1666735 w 4919004"/>
                <a:gd name="connsiteY5534" fmla="*/ 887732 h 2455817"/>
                <a:gd name="connsiteX5535" fmla="*/ 1664663 w 4919004"/>
                <a:gd name="connsiteY5535" fmla="*/ 881268 h 2455817"/>
                <a:gd name="connsiteX5536" fmla="*/ 1662542 w 4919004"/>
                <a:gd name="connsiteY5536" fmla="*/ 865183 h 2455817"/>
                <a:gd name="connsiteX5537" fmla="*/ 1656325 w 4919004"/>
                <a:gd name="connsiteY5537" fmla="*/ 858719 h 2455817"/>
                <a:gd name="connsiteX5538" fmla="*/ 1650108 w 4919004"/>
                <a:gd name="connsiteY5538" fmla="*/ 858719 h 2455817"/>
                <a:gd name="connsiteX5539" fmla="*/ 1637624 w 4919004"/>
                <a:gd name="connsiteY5539" fmla="*/ 850677 h 2455817"/>
                <a:gd name="connsiteX5540" fmla="*/ 1618875 w 4919004"/>
                <a:gd name="connsiteY5540" fmla="*/ 850677 h 2455817"/>
                <a:gd name="connsiteX5541" fmla="*/ 1612659 w 4919004"/>
                <a:gd name="connsiteY5541" fmla="*/ 842585 h 2455817"/>
                <a:gd name="connsiteX5542" fmla="*/ 1602297 w 4919004"/>
                <a:gd name="connsiteY5542" fmla="*/ 837651 h 2455817"/>
                <a:gd name="connsiteX5543" fmla="*/ 1602297 w 4919004"/>
                <a:gd name="connsiteY5543" fmla="*/ 830299 h 2455817"/>
                <a:gd name="connsiteX5544" fmla="*/ 1600175 w 4919004"/>
                <a:gd name="connsiteY5544" fmla="*/ 825365 h 2455817"/>
                <a:gd name="connsiteX5545" fmla="*/ 1600175 w 4919004"/>
                <a:gd name="connsiteY5545" fmla="*/ 820431 h 2455817"/>
                <a:gd name="connsiteX5546" fmla="*/ 1591886 w 4919004"/>
                <a:gd name="connsiteY5546" fmla="*/ 825365 h 2455817"/>
                <a:gd name="connsiteX5547" fmla="*/ 1566920 w 4919004"/>
                <a:gd name="connsiteY5547" fmla="*/ 823737 h 2455817"/>
                <a:gd name="connsiteX5548" fmla="*/ 1558630 w 4919004"/>
                <a:gd name="connsiteY5548" fmla="*/ 825365 h 2455817"/>
                <a:gd name="connsiteX5549" fmla="*/ 1548220 w 4919004"/>
                <a:gd name="connsiteY5549" fmla="*/ 818902 h 2455817"/>
                <a:gd name="connsiteX5550" fmla="*/ 1546098 w 4919004"/>
                <a:gd name="connsiteY5550" fmla="*/ 810859 h 2455817"/>
                <a:gd name="connsiteX5551" fmla="*/ 1541953 w 4919004"/>
                <a:gd name="connsiteY5551" fmla="*/ 810859 h 2455817"/>
                <a:gd name="connsiteX5552" fmla="*/ 1539882 w 4919004"/>
                <a:gd name="connsiteY5552" fmla="*/ 804396 h 2455817"/>
                <a:gd name="connsiteX5553" fmla="*/ 1539882 w 4919004"/>
                <a:gd name="connsiteY5553" fmla="*/ 794528 h 2455817"/>
                <a:gd name="connsiteX5554" fmla="*/ 1531543 w 4919004"/>
                <a:gd name="connsiteY5554" fmla="*/ 780022 h 2455817"/>
                <a:gd name="connsiteX5555" fmla="*/ 1519109 w 4919004"/>
                <a:gd name="connsiteY5555" fmla="*/ 773558 h 2455817"/>
                <a:gd name="connsiteX5556" fmla="*/ 1521181 w 4919004"/>
                <a:gd name="connsiteY5556" fmla="*/ 768624 h 2455817"/>
                <a:gd name="connsiteX5557" fmla="*/ 1519109 w 4919004"/>
                <a:gd name="connsiteY5557" fmla="*/ 765417 h 2455817"/>
                <a:gd name="connsiteX5558" fmla="*/ 1514964 w 4919004"/>
                <a:gd name="connsiteY5558" fmla="*/ 765417 h 2455817"/>
                <a:gd name="connsiteX5559" fmla="*/ 1508698 w 4919004"/>
                <a:gd name="connsiteY5559" fmla="*/ 760483 h 2455817"/>
                <a:gd name="connsiteX5560" fmla="*/ 1510771 w 4919004"/>
                <a:gd name="connsiteY5560" fmla="*/ 754019 h 2455817"/>
                <a:gd name="connsiteX5561" fmla="*/ 1512843 w 4919004"/>
                <a:gd name="connsiteY5561" fmla="*/ 747556 h 2455817"/>
                <a:gd name="connsiteX5562" fmla="*/ 1504554 w 4919004"/>
                <a:gd name="connsiteY5562" fmla="*/ 741092 h 2455817"/>
                <a:gd name="connsiteX5563" fmla="*/ 1508698 w 4919004"/>
                <a:gd name="connsiteY5563" fmla="*/ 737885 h 2455817"/>
                <a:gd name="connsiteX5564" fmla="*/ 1519109 w 4919004"/>
                <a:gd name="connsiteY5564" fmla="*/ 737885 h 2455817"/>
                <a:gd name="connsiteX5565" fmla="*/ 1527398 w 4919004"/>
                <a:gd name="connsiteY5565" fmla="*/ 729843 h 2455817"/>
                <a:gd name="connsiteX5566" fmla="*/ 1537809 w 4919004"/>
                <a:gd name="connsiteY5566" fmla="*/ 729843 h 2455817"/>
                <a:gd name="connsiteX5567" fmla="*/ 1556509 w 4919004"/>
                <a:gd name="connsiteY5567" fmla="*/ 726586 h 2455817"/>
                <a:gd name="connsiteX5568" fmla="*/ 1583548 w 4919004"/>
                <a:gd name="connsiteY5568" fmla="*/ 718544 h 2455817"/>
                <a:gd name="connsiteX5569" fmla="*/ 1593958 w 4919004"/>
                <a:gd name="connsiteY5569" fmla="*/ 710501 h 2455817"/>
                <a:gd name="connsiteX5570" fmla="*/ 1602297 w 4919004"/>
                <a:gd name="connsiteY5570" fmla="*/ 708873 h 2455817"/>
                <a:gd name="connsiteX5571" fmla="*/ 1610586 w 4919004"/>
                <a:gd name="connsiteY5571" fmla="*/ 710501 h 2455817"/>
                <a:gd name="connsiteX5572" fmla="*/ 1618875 w 4919004"/>
                <a:gd name="connsiteY5572" fmla="*/ 707245 h 2455817"/>
                <a:gd name="connsiteX5573" fmla="*/ 1623069 w 4919004"/>
                <a:gd name="connsiteY5573" fmla="*/ 700781 h 2455817"/>
                <a:gd name="connsiteX5574" fmla="*/ 1635553 w 4919004"/>
                <a:gd name="connsiteY5574" fmla="*/ 695847 h 2455817"/>
                <a:gd name="connsiteX5575" fmla="*/ 1660518 w 4919004"/>
                <a:gd name="connsiteY5575" fmla="*/ 685979 h 2455817"/>
                <a:gd name="connsiteX5576" fmla="*/ 1662542 w 4919004"/>
                <a:gd name="connsiteY5576" fmla="*/ 689235 h 2455817"/>
                <a:gd name="connsiteX5577" fmla="*/ 1658397 w 4919004"/>
                <a:gd name="connsiteY5577" fmla="*/ 695650 h 2455817"/>
                <a:gd name="connsiteX5578" fmla="*/ 1660518 w 4919004"/>
                <a:gd name="connsiteY5578" fmla="*/ 700584 h 2455817"/>
                <a:gd name="connsiteX5579" fmla="*/ 1654252 w 4919004"/>
                <a:gd name="connsiteY5579" fmla="*/ 703840 h 2455817"/>
                <a:gd name="connsiteX5580" fmla="*/ 1647986 w 4919004"/>
                <a:gd name="connsiteY5580" fmla="*/ 716718 h 2455817"/>
                <a:gd name="connsiteX5581" fmla="*/ 1647986 w 4919004"/>
                <a:gd name="connsiteY5581" fmla="*/ 723182 h 2455817"/>
                <a:gd name="connsiteX5582" fmla="*/ 1662789 w 4919004"/>
                <a:gd name="connsiteY5582" fmla="*/ 733050 h 2455817"/>
                <a:gd name="connsiteX5583" fmla="*/ 1677591 w 4919004"/>
                <a:gd name="connsiteY5583" fmla="*/ 733050 h 2455817"/>
                <a:gd name="connsiteX5584" fmla="*/ 1669252 w 4919004"/>
                <a:gd name="connsiteY5584" fmla="*/ 729843 h 2455817"/>
                <a:gd name="connsiteX5585" fmla="*/ 1656769 w 4919004"/>
                <a:gd name="connsiteY5585" fmla="*/ 719974 h 2455817"/>
                <a:gd name="connsiteX5586" fmla="*/ 1656769 w 4919004"/>
                <a:gd name="connsiteY5586" fmla="*/ 715040 h 2455817"/>
                <a:gd name="connsiteX5587" fmla="*/ 1660963 w 4919004"/>
                <a:gd name="connsiteY5587" fmla="*/ 708577 h 2455817"/>
                <a:gd name="connsiteX5588" fmla="*/ 1675765 w 4919004"/>
                <a:gd name="connsiteY5588" fmla="*/ 700485 h 2455817"/>
                <a:gd name="connsiteX5589" fmla="*/ 1681981 w 4919004"/>
                <a:gd name="connsiteY5589" fmla="*/ 689235 h 2455817"/>
                <a:gd name="connsiteX5590" fmla="*/ 1675765 w 4919004"/>
                <a:gd name="connsiteY5590" fmla="*/ 681144 h 2455817"/>
                <a:gd name="connsiteX5591" fmla="*/ 1666834 w 4919004"/>
                <a:gd name="connsiteY5591" fmla="*/ 681144 h 2455817"/>
                <a:gd name="connsiteX5592" fmla="*/ 1656423 w 4919004"/>
                <a:gd name="connsiteY5592" fmla="*/ 674729 h 2455817"/>
                <a:gd name="connsiteX5593" fmla="*/ 1658496 w 4919004"/>
                <a:gd name="connsiteY5593" fmla="*/ 669795 h 2455817"/>
                <a:gd name="connsiteX5594" fmla="*/ 1648085 w 4919004"/>
                <a:gd name="connsiteY5594" fmla="*/ 668167 h 2455817"/>
                <a:gd name="connsiteX5595" fmla="*/ 1643940 w 4919004"/>
                <a:gd name="connsiteY5595" fmla="*/ 673101 h 2455817"/>
                <a:gd name="connsiteX5596" fmla="*/ 1639796 w 4919004"/>
                <a:gd name="connsiteY5596" fmla="*/ 669894 h 2455817"/>
                <a:gd name="connsiteX5597" fmla="*/ 1635651 w 4919004"/>
                <a:gd name="connsiteY5597" fmla="*/ 661802 h 2455817"/>
                <a:gd name="connsiteX5598" fmla="*/ 1625240 w 4919004"/>
                <a:gd name="connsiteY5598" fmla="*/ 661802 h 2455817"/>
                <a:gd name="connsiteX5599" fmla="*/ 1618974 w 4919004"/>
                <a:gd name="connsiteY5599" fmla="*/ 663430 h 2455817"/>
                <a:gd name="connsiteX5600" fmla="*/ 1610685 w 4919004"/>
                <a:gd name="connsiteY5600" fmla="*/ 655339 h 2455817"/>
                <a:gd name="connsiteX5601" fmla="*/ 1612757 w 4919004"/>
                <a:gd name="connsiteY5601" fmla="*/ 653760 h 2455817"/>
                <a:gd name="connsiteX5602" fmla="*/ 1614829 w 4919004"/>
                <a:gd name="connsiteY5602" fmla="*/ 647296 h 2455817"/>
                <a:gd name="connsiteX5603" fmla="*/ 1618974 w 4919004"/>
                <a:gd name="connsiteY5603" fmla="*/ 645668 h 2455817"/>
                <a:gd name="connsiteX5604" fmla="*/ 1625240 w 4919004"/>
                <a:gd name="connsiteY5604" fmla="*/ 652131 h 2455817"/>
                <a:gd name="connsiteX5605" fmla="*/ 1633529 w 4919004"/>
                <a:gd name="connsiteY5605" fmla="*/ 652131 h 2455817"/>
                <a:gd name="connsiteX5606" fmla="*/ 1641868 w 4919004"/>
                <a:gd name="connsiteY5606" fmla="*/ 647197 h 2455817"/>
                <a:gd name="connsiteX5607" fmla="*/ 1639796 w 4919004"/>
                <a:gd name="connsiteY5607" fmla="*/ 643990 h 2455817"/>
                <a:gd name="connsiteX5608" fmla="*/ 1635651 w 4919004"/>
                <a:gd name="connsiteY5608" fmla="*/ 645569 h 2455817"/>
                <a:gd name="connsiteX5609" fmla="*/ 1629385 w 4919004"/>
                <a:gd name="connsiteY5609" fmla="*/ 647197 h 2455817"/>
                <a:gd name="connsiteX5610" fmla="*/ 1621096 w 4919004"/>
                <a:gd name="connsiteY5610" fmla="*/ 642263 h 2455817"/>
                <a:gd name="connsiteX5611" fmla="*/ 1618974 w 4919004"/>
                <a:gd name="connsiteY5611" fmla="*/ 637329 h 2455817"/>
                <a:gd name="connsiteX5612" fmla="*/ 1612757 w 4919004"/>
                <a:gd name="connsiteY5612" fmla="*/ 635701 h 2455817"/>
                <a:gd name="connsiteX5613" fmla="*/ 1600274 w 4919004"/>
                <a:gd name="connsiteY5613" fmla="*/ 632494 h 2455817"/>
                <a:gd name="connsiteX5614" fmla="*/ 1594057 w 4919004"/>
                <a:gd name="connsiteY5614" fmla="*/ 635701 h 2455817"/>
                <a:gd name="connsiteX5615" fmla="*/ 1587840 w 4919004"/>
                <a:gd name="connsiteY5615" fmla="*/ 629287 h 2455817"/>
                <a:gd name="connsiteX5616" fmla="*/ 1591985 w 4919004"/>
                <a:gd name="connsiteY5616" fmla="*/ 626030 h 2455817"/>
                <a:gd name="connsiteX5617" fmla="*/ 1591985 w 4919004"/>
                <a:gd name="connsiteY5617" fmla="*/ 619616 h 2455817"/>
                <a:gd name="connsiteX5618" fmla="*/ 1587840 w 4919004"/>
                <a:gd name="connsiteY5618" fmla="*/ 616360 h 2455817"/>
                <a:gd name="connsiteX5619" fmla="*/ 1589863 w 4919004"/>
                <a:gd name="connsiteY5619" fmla="*/ 613153 h 2455817"/>
                <a:gd name="connsiteX5620" fmla="*/ 1594057 w 4919004"/>
                <a:gd name="connsiteY5620" fmla="*/ 614781 h 2455817"/>
                <a:gd name="connsiteX5621" fmla="*/ 1602395 w 4919004"/>
                <a:gd name="connsiteY5621" fmla="*/ 624649 h 2455817"/>
                <a:gd name="connsiteX5622" fmla="*/ 1608612 w 4919004"/>
                <a:gd name="connsiteY5622" fmla="*/ 623021 h 2455817"/>
                <a:gd name="connsiteX5623" fmla="*/ 1616951 w 4919004"/>
                <a:gd name="connsiteY5623" fmla="*/ 631063 h 2455817"/>
                <a:gd name="connsiteX5624" fmla="*/ 1616951 w 4919004"/>
                <a:gd name="connsiteY5624" fmla="*/ 621195 h 2455817"/>
                <a:gd name="connsiteX5625" fmla="*/ 1623168 w 4919004"/>
                <a:gd name="connsiteY5625" fmla="*/ 617988 h 2455817"/>
                <a:gd name="connsiteX5626" fmla="*/ 1623168 w 4919004"/>
                <a:gd name="connsiteY5626" fmla="*/ 605061 h 2455817"/>
                <a:gd name="connsiteX5627" fmla="*/ 1618974 w 4919004"/>
                <a:gd name="connsiteY5627" fmla="*/ 601854 h 2455817"/>
                <a:gd name="connsiteX5628" fmla="*/ 1621096 w 4919004"/>
                <a:gd name="connsiteY5628" fmla="*/ 598647 h 2455817"/>
                <a:gd name="connsiteX5629" fmla="*/ 1627312 w 4919004"/>
                <a:gd name="connsiteY5629" fmla="*/ 600225 h 2455817"/>
                <a:gd name="connsiteX5630" fmla="*/ 1631506 w 4919004"/>
                <a:gd name="connsiteY5630" fmla="*/ 595291 h 2455817"/>
                <a:gd name="connsiteX5631" fmla="*/ 1614829 w 4919004"/>
                <a:gd name="connsiteY5631" fmla="*/ 592084 h 2455817"/>
                <a:gd name="connsiteX5632" fmla="*/ 1610685 w 4919004"/>
                <a:gd name="connsiteY5632" fmla="*/ 595291 h 2455817"/>
                <a:gd name="connsiteX5633" fmla="*/ 1606540 w 4919004"/>
                <a:gd name="connsiteY5633" fmla="*/ 595291 h 2455817"/>
                <a:gd name="connsiteX5634" fmla="*/ 1606540 w 4919004"/>
                <a:gd name="connsiteY5634" fmla="*/ 590357 h 2455817"/>
                <a:gd name="connsiteX5635" fmla="*/ 1612757 w 4919004"/>
                <a:gd name="connsiteY5635" fmla="*/ 583943 h 2455817"/>
                <a:gd name="connsiteX5636" fmla="*/ 1625240 w 4919004"/>
                <a:gd name="connsiteY5636" fmla="*/ 583943 h 2455817"/>
                <a:gd name="connsiteX5637" fmla="*/ 1633529 w 4919004"/>
                <a:gd name="connsiteY5637" fmla="*/ 582315 h 2455817"/>
                <a:gd name="connsiteX5638" fmla="*/ 1633529 w 4919004"/>
                <a:gd name="connsiteY5638" fmla="*/ 575851 h 2455817"/>
                <a:gd name="connsiteX5639" fmla="*/ 1639796 w 4919004"/>
                <a:gd name="connsiteY5639" fmla="*/ 569437 h 2455817"/>
                <a:gd name="connsiteX5640" fmla="*/ 1639796 w 4919004"/>
                <a:gd name="connsiteY5640" fmla="*/ 562974 h 2455817"/>
                <a:gd name="connsiteX5641" fmla="*/ 1641868 w 4919004"/>
                <a:gd name="connsiteY5641" fmla="*/ 561345 h 2455817"/>
                <a:gd name="connsiteX5642" fmla="*/ 1641868 w 4919004"/>
                <a:gd name="connsiteY5642" fmla="*/ 558138 h 2455817"/>
                <a:gd name="connsiteX5643" fmla="*/ 1648085 w 4919004"/>
                <a:gd name="connsiteY5643" fmla="*/ 550046 h 2455817"/>
                <a:gd name="connsiteX5644" fmla="*/ 1650206 w 4919004"/>
                <a:gd name="connsiteY5644" fmla="*/ 550046 h 2455817"/>
                <a:gd name="connsiteX5645" fmla="*/ 1654351 w 4919004"/>
                <a:gd name="connsiteY5645" fmla="*/ 553303 h 2455817"/>
                <a:gd name="connsiteX5646" fmla="*/ 1658496 w 4919004"/>
                <a:gd name="connsiteY5646" fmla="*/ 551675 h 2455817"/>
                <a:gd name="connsiteX5647" fmla="*/ 1660617 w 4919004"/>
                <a:gd name="connsiteY5647" fmla="*/ 546741 h 2455817"/>
                <a:gd name="connsiteX5648" fmla="*/ 1662640 w 4919004"/>
                <a:gd name="connsiteY5648" fmla="*/ 546741 h 2455817"/>
                <a:gd name="connsiteX5649" fmla="*/ 1658496 w 4919004"/>
                <a:gd name="connsiteY5649" fmla="*/ 540277 h 2455817"/>
                <a:gd name="connsiteX5650" fmla="*/ 1660617 w 4919004"/>
                <a:gd name="connsiteY5650" fmla="*/ 537070 h 2455817"/>
                <a:gd name="connsiteX5651" fmla="*/ 1670979 w 4919004"/>
                <a:gd name="connsiteY5651" fmla="*/ 535442 h 2455817"/>
                <a:gd name="connsiteX5652" fmla="*/ 1675172 w 4919004"/>
                <a:gd name="connsiteY5652" fmla="*/ 533863 h 2455817"/>
                <a:gd name="connsiteX5653" fmla="*/ 1677245 w 4919004"/>
                <a:gd name="connsiteY5653" fmla="*/ 527399 h 2455817"/>
                <a:gd name="connsiteX5654" fmla="*/ 1681389 w 4919004"/>
                <a:gd name="connsiteY5654" fmla="*/ 527399 h 2455817"/>
                <a:gd name="connsiteX5655" fmla="*/ 1687606 w 4919004"/>
                <a:gd name="connsiteY5655" fmla="*/ 529027 h 2455817"/>
                <a:gd name="connsiteX5656" fmla="*/ 1700089 w 4919004"/>
                <a:gd name="connsiteY5656" fmla="*/ 527399 h 2455817"/>
                <a:gd name="connsiteX5657" fmla="*/ 1695945 w 4919004"/>
                <a:gd name="connsiteY5657" fmla="*/ 522465 h 2455817"/>
                <a:gd name="connsiteX5658" fmla="*/ 1698017 w 4919004"/>
                <a:gd name="connsiteY5658" fmla="*/ 517531 h 2455817"/>
                <a:gd name="connsiteX5659" fmla="*/ 1712819 w 4919004"/>
                <a:gd name="connsiteY5659" fmla="*/ 515903 h 2455817"/>
                <a:gd name="connsiteX5660" fmla="*/ 1723230 w 4919004"/>
                <a:gd name="connsiteY5660" fmla="*/ 510969 h 2455817"/>
                <a:gd name="connsiteX5661" fmla="*/ 1725302 w 4919004"/>
                <a:gd name="connsiteY5661" fmla="*/ 504505 h 2455817"/>
                <a:gd name="connsiteX5662" fmla="*/ 1746075 w 4919004"/>
                <a:gd name="connsiteY5662" fmla="*/ 498091 h 2455817"/>
                <a:gd name="connsiteX5663" fmla="*/ 1748196 w 4919004"/>
                <a:gd name="connsiteY5663" fmla="*/ 491627 h 2455817"/>
                <a:gd name="connsiteX5664" fmla="*/ 1744003 w 4919004"/>
                <a:gd name="connsiteY5664" fmla="*/ 489999 h 2455817"/>
                <a:gd name="connsiteX5665" fmla="*/ 1731519 w 4919004"/>
                <a:gd name="connsiteY5665" fmla="*/ 496463 h 2455817"/>
                <a:gd name="connsiteX5666" fmla="*/ 1727375 w 4919004"/>
                <a:gd name="connsiteY5666" fmla="*/ 493256 h 2455817"/>
                <a:gd name="connsiteX5667" fmla="*/ 1719085 w 4919004"/>
                <a:gd name="connsiteY5667" fmla="*/ 501298 h 2455817"/>
                <a:gd name="connsiteX5668" fmla="*/ 1714892 w 4919004"/>
                <a:gd name="connsiteY5668" fmla="*/ 496364 h 2455817"/>
                <a:gd name="connsiteX5669" fmla="*/ 1714892 w 4919004"/>
                <a:gd name="connsiteY5669" fmla="*/ 483486 h 2455817"/>
                <a:gd name="connsiteX5670" fmla="*/ 1719085 w 4919004"/>
                <a:gd name="connsiteY5670" fmla="*/ 480230 h 2455817"/>
                <a:gd name="connsiteX5671" fmla="*/ 1721158 w 4919004"/>
                <a:gd name="connsiteY5671" fmla="*/ 475296 h 2455817"/>
                <a:gd name="connsiteX5672" fmla="*/ 1725302 w 4919004"/>
                <a:gd name="connsiteY5672" fmla="*/ 475296 h 2455817"/>
                <a:gd name="connsiteX5673" fmla="*/ 1725302 w 4919004"/>
                <a:gd name="connsiteY5673" fmla="*/ 478552 h 2455817"/>
                <a:gd name="connsiteX5674" fmla="*/ 1727375 w 4919004"/>
                <a:gd name="connsiteY5674" fmla="*/ 480131 h 2455817"/>
                <a:gd name="connsiteX5675" fmla="*/ 1733641 w 4919004"/>
                <a:gd name="connsiteY5675" fmla="*/ 475197 h 2455817"/>
                <a:gd name="connsiteX5676" fmla="*/ 1725302 w 4919004"/>
                <a:gd name="connsiteY5676" fmla="*/ 468733 h 2455817"/>
                <a:gd name="connsiteX5677" fmla="*/ 1735713 w 4919004"/>
                <a:gd name="connsiteY5677" fmla="*/ 467154 h 2455817"/>
                <a:gd name="connsiteX5678" fmla="*/ 1741930 w 4919004"/>
                <a:gd name="connsiteY5678" fmla="*/ 472089 h 2455817"/>
                <a:gd name="connsiteX5679" fmla="*/ 1748196 w 4919004"/>
                <a:gd name="connsiteY5679" fmla="*/ 472089 h 2455817"/>
                <a:gd name="connsiteX5680" fmla="*/ 1758558 w 4919004"/>
                <a:gd name="connsiteY5680" fmla="*/ 465625 h 2455817"/>
                <a:gd name="connsiteX5681" fmla="*/ 1764824 w 4919004"/>
                <a:gd name="connsiteY5681" fmla="*/ 468832 h 2455817"/>
                <a:gd name="connsiteX5682" fmla="*/ 1783524 w 4919004"/>
                <a:gd name="connsiteY5682" fmla="*/ 462418 h 2455817"/>
                <a:gd name="connsiteX5683" fmla="*/ 1791813 w 4919004"/>
                <a:gd name="connsiteY5683" fmla="*/ 463997 h 2455817"/>
                <a:gd name="connsiteX5684" fmla="*/ 1793935 w 4919004"/>
                <a:gd name="connsiteY5684" fmla="*/ 468931 h 2455817"/>
                <a:gd name="connsiteX5685" fmla="*/ 1787669 w 4919004"/>
                <a:gd name="connsiteY5685" fmla="*/ 483733 h 2455817"/>
                <a:gd name="connsiteX5686" fmla="*/ 1787669 w 4919004"/>
                <a:gd name="connsiteY5686" fmla="*/ 486940 h 2455817"/>
                <a:gd name="connsiteX5687" fmla="*/ 1793935 w 4919004"/>
                <a:gd name="connsiteY5687" fmla="*/ 491874 h 2455817"/>
                <a:gd name="connsiteX5688" fmla="*/ 1798079 w 4919004"/>
                <a:gd name="connsiteY5688" fmla="*/ 482006 h 2455817"/>
                <a:gd name="connsiteX5689" fmla="*/ 1804296 w 4919004"/>
                <a:gd name="connsiteY5689" fmla="*/ 473963 h 2455817"/>
                <a:gd name="connsiteX5690" fmla="*/ 1802224 w 4919004"/>
                <a:gd name="connsiteY5690" fmla="*/ 467500 h 2455817"/>
                <a:gd name="connsiteX5691" fmla="*/ 1804296 w 4919004"/>
                <a:gd name="connsiteY5691" fmla="*/ 464243 h 2455817"/>
                <a:gd name="connsiteX5692" fmla="*/ 1810513 w 4919004"/>
                <a:gd name="connsiteY5692" fmla="*/ 470707 h 2455817"/>
                <a:gd name="connsiteX5693" fmla="*/ 1810513 w 4919004"/>
                <a:gd name="connsiteY5693" fmla="*/ 480575 h 2455817"/>
                <a:gd name="connsiteX5694" fmla="*/ 1816780 w 4919004"/>
                <a:gd name="connsiteY5694" fmla="*/ 480575 h 2455817"/>
                <a:gd name="connsiteX5695" fmla="*/ 1820924 w 4919004"/>
                <a:gd name="connsiteY5695" fmla="*/ 474161 h 2455817"/>
                <a:gd name="connsiteX5696" fmla="*/ 1816780 w 4919004"/>
                <a:gd name="connsiteY5696" fmla="*/ 467697 h 2455817"/>
                <a:gd name="connsiteX5697" fmla="*/ 1823046 w 4919004"/>
                <a:gd name="connsiteY5697" fmla="*/ 464441 h 2455817"/>
                <a:gd name="connsiteX5698" fmla="*/ 1825068 w 4919004"/>
                <a:gd name="connsiteY5698" fmla="*/ 464441 h 2455817"/>
                <a:gd name="connsiteX5699" fmla="*/ 1827190 w 4919004"/>
                <a:gd name="connsiteY5699" fmla="*/ 470904 h 2455817"/>
                <a:gd name="connsiteX5700" fmla="*/ 1837601 w 4919004"/>
                <a:gd name="connsiteY5700" fmla="*/ 464441 h 2455817"/>
                <a:gd name="connsiteX5701" fmla="*/ 1839624 w 4919004"/>
                <a:gd name="connsiteY5701" fmla="*/ 461234 h 2455817"/>
                <a:gd name="connsiteX5702" fmla="*/ 1833407 w 4919004"/>
                <a:gd name="connsiteY5702" fmla="*/ 454770 h 2455817"/>
                <a:gd name="connsiteX5703" fmla="*/ 1841745 w 4919004"/>
                <a:gd name="connsiteY5703" fmla="*/ 454770 h 2455817"/>
                <a:gd name="connsiteX5704" fmla="*/ 1845890 w 4919004"/>
                <a:gd name="connsiteY5704" fmla="*/ 451563 h 2455817"/>
                <a:gd name="connsiteX5705" fmla="*/ 1837601 w 4919004"/>
                <a:gd name="connsiteY5705" fmla="*/ 449935 h 2455817"/>
                <a:gd name="connsiteX5706" fmla="*/ 1845890 w 4919004"/>
                <a:gd name="connsiteY5706" fmla="*/ 441892 h 2455817"/>
                <a:gd name="connsiteX5707" fmla="*/ 1856301 w 4919004"/>
                <a:gd name="connsiteY5707" fmla="*/ 441892 h 2455817"/>
                <a:gd name="connsiteX5708" fmla="*/ 1862518 w 4919004"/>
                <a:gd name="connsiteY5708" fmla="*/ 438685 h 2455817"/>
                <a:gd name="connsiteX5709" fmla="*/ 1866712 w 4919004"/>
                <a:gd name="connsiteY5709" fmla="*/ 440264 h 2455817"/>
                <a:gd name="connsiteX5710" fmla="*/ 1866712 w 4919004"/>
                <a:gd name="connsiteY5710" fmla="*/ 443520 h 2455817"/>
                <a:gd name="connsiteX5711" fmla="*/ 1868735 w 4919004"/>
                <a:gd name="connsiteY5711" fmla="*/ 445099 h 2455817"/>
                <a:gd name="connsiteX5712" fmla="*/ 1881267 w 4919004"/>
                <a:gd name="connsiteY5712" fmla="*/ 446728 h 2455817"/>
                <a:gd name="connsiteX5713" fmla="*/ 1881267 w 4919004"/>
                <a:gd name="connsiteY5713" fmla="*/ 454770 h 2455817"/>
                <a:gd name="connsiteX5714" fmla="*/ 1885412 w 4919004"/>
                <a:gd name="connsiteY5714" fmla="*/ 459704 h 2455817"/>
                <a:gd name="connsiteX5715" fmla="*/ 1879146 w 4919004"/>
                <a:gd name="connsiteY5715" fmla="*/ 472631 h 2455817"/>
                <a:gd name="connsiteX5716" fmla="*/ 1889557 w 4919004"/>
                <a:gd name="connsiteY5716" fmla="*/ 469375 h 2455817"/>
                <a:gd name="connsiteX5717" fmla="*/ 1895823 w 4919004"/>
                <a:gd name="connsiteY5717" fmla="*/ 456497 h 2455817"/>
                <a:gd name="connsiteX5718" fmla="*/ 1887484 w 4919004"/>
                <a:gd name="connsiteY5718" fmla="*/ 443619 h 2455817"/>
                <a:gd name="connsiteX5719" fmla="*/ 1879146 w 4919004"/>
                <a:gd name="connsiteY5719" fmla="*/ 438685 h 2455817"/>
                <a:gd name="connsiteX5720" fmla="*/ 1870856 w 4919004"/>
                <a:gd name="connsiteY5720" fmla="*/ 430593 h 2455817"/>
                <a:gd name="connsiteX5721" fmla="*/ 1864590 w 4919004"/>
                <a:gd name="connsiteY5721" fmla="*/ 435527 h 2455817"/>
                <a:gd name="connsiteX5722" fmla="*/ 1860446 w 4919004"/>
                <a:gd name="connsiteY5722" fmla="*/ 432320 h 2455817"/>
                <a:gd name="connsiteX5723" fmla="*/ 1852157 w 4919004"/>
                <a:gd name="connsiteY5723" fmla="*/ 433948 h 2455817"/>
                <a:gd name="connsiteX5724" fmla="*/ 1850035 w 4919004"/>
                <a:gd name="connsiteY5724" fmla="*/ 427485 h 2455817"/>
                <a:gd name="connsiteX5725" fmla="*/ 1841745 w 4919004"/>
                <a:gd name="connsiteY5725" fmla="*/ 425857 h 2455817"/>
                <a:gd name="connsiteX5726" fmla="*/ 1841745 w 4919004"/>
                <a:gd name="connsiteY5726" fmla="*/ 425709 h 2455817"/>
                <a:gd name="connsiteX5727" fmla="*/ 1845890 w 4919004"/>
                <a:gd name="connsiteY5727" fmla="*/ 420775 h 2455817"/>
                <a:gd name="connsiteX5728" fmla="*/ 1860693 w 4919004"/>
                <a:gd name="connsiteY5728" fmla="*/ 420775 h 2455817"/>
                <a:gd name="connsiteX5729" fmla="*/ 1866959 w 4919004"/>
                <a:gd name="connsiteY5729" fmla="*/ 415841 h 2455817"/>
                <a:gd name="connsiteX5730" fmla="*/ 1873175 w 4919004"/>
                <a:gd name="connsiteY5730" fmla="*/ 415841 h 2455817"/>
                <a:gd name="connsiteX5731" fmla="*/ 1879392 w 4919004"/>
                <a:gd name="connsiteY5731" fmla="*/ 417469 h 2455817"/>
                <a:gd name="connsiteX5732" fmla="*/ 1885658 w 4919004"/>
                <a:gd name="connsiteY5732" fmla="*/ 414262 h 2455817"/>
                <a:gd name="connsiteX5733" fmla="*/ 1891875 w 4919004"/>
                <a:gd name="connsiteY5733" fmla="*/ 417469 h 2455817"/>
                <a:gd name="connsiteX5734" fmla="*/ 1908503 w 4919004"/>
                <a:gd name="connsiteY5734" fmla="*/ 411005 h 2455817"/>
                <a:gd name="connsiteX5735" fmla="*/ 1916842 w 4919004"/>
                <a:gd name="connsiteY5735" fmla="*/ 415939 h 2455817"/>
                <a:gd name="connsiteX5736" fmla="*/ 1923059 w 4919004"/>
                <a:gd name="connsiteY5736" fmla="*/ 414360 h 2455817"/>
                <a:gd name="connsiteX5737" fmla="*/ 1929325 w 4919004"/>
                <a:gd name="connsiteY5737" fmla="*/ 415939 h 2455817"/>
                <a:gd name="connsiteX5738" fmla="*/ 1933470 w 4919004"/>
                <a:gd name="connsiteY5738" fmla="*/ 412732 h 2455817"/>
                <a:gd name="connsiteX5739" fmla="*/ 1931397 w 4919004"/>
                <a:gd name="connsiteY5739" fmla="*/ 407798 h 2455817"/>
                <a:gd name="connsiteX5740" fmla="*/ 1920986 w 4919004"/>
                <a:gd name="connsiteY5740" fmla="*/ 407798 h 2455817"/>
                <a:gd name="connsiteX5741" fmla="*/ 1908503 w 4919004"/>
                <a:gd name="connsiteY5741" fmla="*/ 402864 h 2455817"/>
                <a:gd name="connsiteX5742" fmla="*/ 1900214 w 4919004"/>
                <a:gd name="connsiteY5742" fmla="*/ 406071 h 2455817"/>
                <a:gd name="connsiteX5743" fmla="*/ 1887731 w 4919004"/>
                <a:gd name="connsiteY5743" fmla="*/ 406071 h 2455817"/>
                <a:gd name="connsiteX5744" fmla="*/ 1887731 w 4919004"/>
                <a:gd name="connsiteY5744" fmla="*/ 401137 h 2455817"/>
                <a:gd name="connsiteX5745" fmla="*/ 1883537 w 4919004"/>
                <a:gd name="connsiteY5745" fmla="*/ 393095 h 2455817"/>
                <a:gd name="connsiteX5746" fmla="*/ 1893948 w 4919004"/>
                <a:gd name="connsiteY5746" fmla="*/ 388161 h 2455817"/>
                <a:gd name="connsiteX5747" fmla="*/ 1883537 w 4919004"/>
                <a:gd name="connsiteY5747" fmla="*/ 384954 h 2455817"/>
                <a:gd name="connsiteX5748" fmla="*/ 1875248 w 4919004"/>
                <a:gd name="connsiteY5748" fmla="*/ 376862 h 2455817"/>
                <a:gd name="connsiteX5749" fmla="*/ 1868981 w 4919004"/>
                <a:gd name="connsiteY5749" fmla="*/ 376862 h 2455817"/>
                <a:gd name="connsiteX5750" fmla="*/ 1862764 w 4919004"/>
                <a:gd name="connsiteY5750" fmla="*/ 368819 h 2455817"/>
                <a:gd name="connsiteX5751" fmla="*/ 1860693 w 4919004"/>
                <a:gd name="connsiteY5751" fmla="*/ 362356 h 2455817"/>
                <a:gd name="connsiteX5752" fmla="*/ 1866959 w 4919004"/>
                <a:gd name="connsiteY5752" fmla="*/ 362356 h 2455817"/>
                <a:gd name="connsiteX5753" fmla="*/ 1866959 w 4919004"/>
                <a:gd name="connsiteY5753" fmla="*/ 354313 h 2455817"/>
                <a:gd name="connsiteX5754" fmla="*/ 1858620 w 4919004"/>
                <a:gd name="connsiteY5754" fmla="*/ 347850 h 2455817"/>
                <a:gd name="connsiteX5755" fmla="*/ 1860693 w 4919004"/>
                <a:gd name="connsiteY5755" fmla="*/ 318837 h 2455817"/>
                <a:gd name="connsiteX5756" fmla="*/ 1866959 w 4919004"/>
                <a:gd name="connsiteY5756" fmla="*/ 312374 h 2455817"/>
                <a:gd name="connsiteX5757" fmla="*/ 1864837 w 4919004"/>
                <a:gd name="connsiteY5757" fmla="*/ 304331 h 2455817"/>
                <a:gd name="connsiteX5758" fmla="*/ 1866959 w 4919004"/>
                <a:gd name="connsiteY5758" fmla="*/ 294463 h 2455817"/>
                <a:gd name="connsiteX5759" fmla="*/ 1873175 w 4919004"/>
                <a:gd name="connsiteY5759" fmla="*/ 288000 h 2455817"/>
                <a:gd name="connsiteX5760" fmla="*/ 1868981 w 4919004"/>
                <a:gd name="connsiteY5760" fmla="*/ 281536 h 2455817"/>
                <a:gd name="connsiteX5761" fmla="*/ 1875248 w 4919004"/>
                <a:gd name="connsiteY5761" fmla="*/ 279908 h 2455817"/>
                <a:gd name="connsiteX5762" fmla="*/ 1877320 w 4919004"/>
                <a:gd name="connsiteY5762" fmla="*/ 274974 h 2455817"/>
                <a:gd name="connsiteX5763" fmla="*/ 1935246 w 4919004"/>
                <a:gd name="connsiteY5763" fmla="*/ 208019 h 2455817"/>
                <a:gd name="connsiteX5764" fmla="*/ 1939440 w 4919004"/>
                <a:gd name="connsiteY5764" fmla="*/ 209647 h 2455817"/>
                <a:gd name="connsiteX5765" fmla="*/ 1941463 w 4919004"/>
                <a:gd name="connsiteY5765" fmla="*/ 216061 h 2455817"/>
                <a:gd name="connsiteX5766" fmla="*/ 1937318 w 4919004"/>
                <a:gd name="connsiteY5766" fmla="*/ 222525 h 2455817"/>
                <a:gd name="connsiteX5767" fmla="*/ 1933173 w 4919004"/>
                <a:gd name="connsiteY5767" fmla="*/ 219318 h 2455817"/>
                <a:gd name="connsiteX5768" fmla="*/ 1929029 w 4919004"/>
                <a:gd name="connsiteY5768" fmla="*/ 222525 h 2455817"/>
                <a:gd name="connsiteX5769" fmla="*/ 1920690 w 4919004"/>
                <a:gd name="connsiteY5769" fmla="*/ 224153 h 2455817"/>
                <a:gd name="connsiteX5770" fmla="*/ 1908207 w 4919004"/>
                <a:gd name="connsiteY5770" fmla="*/ 222525 h 2455817"/>
                <a:gd name="connsiteX5771" fmla="*/ 1908207 w 4919004"/>
                <a:gd name="connsiteY5771" fmla="*/ 219417 h 2455817"/>
                <a:gd name="connsiteX5772" fmla="*/ 1912352 w 4919004"/>
                <a:gd name="connsiteY5772" fmla="*/ 214483 h 2455817"/>
                <a:gd name="connsiteX5773" fmla="*/ 1920690 w 4919004"/>
                <a:gd name="connsiteY5773" fmla="*/ 216061 h 2455817"/>
                <a:gd name="connsiteX5774" fmla="*/ 1924884 w 4919004"/>
                <a:gd name="connsiteY5774" fmla="*/ 209647 h 2455817"/>
                <a:gd name="connsiteX5775" fmla="*/ 1931101 w 4919004"/>
                <a:gd name="connsiteY5775" fmla="*/ 209647 h 2455817"/>
                <a:gd name="connsiteX5776" fmla="*/ 1908207 w 4919004"/>
                <a:gd name="connsiteY5776" fmla="*/ 201555 h 2455817"/>
                <a:gd name="connsiteX5777" fmla="*/ 1910329 w 4919004"/>
                <a:gd name="connsiteY5777" fmla="*/ 204812 h 2455817"/>
                <a:gd name="connsiteX5778" fmla="*/ 1906135 w 4919004"/>
                <a:gd name="connsiteY5778" fmla="*/ 206391 h 2455817"/>
                <a:gd name="connsiteX5779" fmla="*/ 1904062 w 4919004"/>
                <a:gd name="connsiteY5779" fmla="*/ 209647 h 2455817"/>
                <a:gd name="connsiteX5780" fmla="*/ 1906135 w 4919004"/>
                <a:gd name="connsiteY5780" fmla="*/ 211226 h 2455817"/>
                <a:gd name="connsiteX5781" fmla="*/ 1906135 w 4919004"/>
                <a:gd name="connsiteY5781" fmla="*/ 214483 h 2455817"/>
                <a:gd name="connsiteX5782" fmla="*/ 1899918 w 4919004"/>
                <a:gd name="connsiteY5782" fmla="*/ 219417 h 2455817"/>
                <a:gd name="connsiteX5783" fmla="*/ 1895773 w 4919004"/>
                <a:gd name="connsiteY5783" fmla="*/ 221094 h 2455817"/>
                <a:gd name="connsiteX5784" fmla="*/ 1891580 w 4919004"/>
                <a:gd name="connsiteY5784" fmla="*/ 217887 h 2455817"/>
                <a:gd name="connsiteX5785" fmla="*/ 1893652 w 4919004"/>
                <a:gd name="connsiteY5785" fmla="*/ 212953 h 2455817"/>
                <a:gd name="connsiteX5786" fmla="*/ 1897797 w 4919004"/>
                <a:gd name="connsiteY5786" fmla="*/ 211325 h 2455817"/>
                <a:gd name="connsiteX5787" fmla="*/ 1897797 w 4919004"/>
                <a:gd name="connsiteY5787" fmla="*/ 208118 h 2455817"/>
                <a:gd name="connsiteX5788" fmla="*/ 1901990 w 4919004"/>
                <a:gd name="connsiteY5788" fmla="*/ 203184 h 2455817"/>
                <a:gd name="connsiteX5789" fmla="*/ 2768801 w 4919004"/>
                <a:gd name="connsiteY5789" fmla="*/ 193513 h 2455817"/>
                <a:gd name="connsiteX5790" fmla="*/ 2772946 w 4919004"/>
                <a:gd name="connsiteY5790" fmla="*/ 195141 h 2455817"/>
                <a:gd name="connsiteX5791" fmla="*/ 2779212 w 4919004"/>
                <a:gd name="connsiteY5791" fmla="*/ 198348 h 2455817"/>
                <a:gd name="connsiteX5792" fmla="*/ 2785429 w 4919004"/>
                <a:gd name="connsiteY5792" fmla="*/ 206391 h 2455817"/>
                <a:gd name="connsiteX5793" fmla="*/ 2797912 w 4919004"/>
                <a:gd name="connsiteY5793" fmla="*/ 208019 h 2455817"/>
                <a:gd name="connsiteX5794" fmla="*/ 2804179 w 4919004"/>
                <a:gd name="connsiteY5794" fmla="*/ 211226 h 2455817"/>
                <a:gd name="connsiteX5795" fmla="*/ 2806202 w 4919004"/>
                <a:gd name="connsiteY5795" fmla="*/ 219318 h 2455817"/>
                <a:gd name="connsiteX5796" fmla="*/ 2814540 w 4919004"/>
                <a:gd name="connsiteY5796" fmla="*/ 233824 h 2455817"/>
                <a:gd name="connsiteX5797" fmla="*/ 2814540 w 4919004"/>
                <a:gd name="connsiteY5797" fmla="*/ 242163 h 2455817"/>
                <a:gd name="connsiteX5798" fmla="*/ 2810396 w 4919004"/>
                <a:gd name="connsiteY5798" fmla="*/ 243791 h 2455817"/>
                <a:gd name="connsiteX5799" fmla="*/ 2804179 w 4919004"/>
                <a:gd name="connsiteY5799" fmla="*/ 240534 h 2455817"/>
                <a:gd name="connsiteX5800" fmla="*/ 2797912 w 4919004"/>
                <a:gd name="connsiteY5800" fmla="*/ 227656 h 2455817"/>
                <a:gd name="connsiteX5801" fmla="*/ 2787502 w 4919004"/>
                <a:gd name="connsiteY5801" fmla="*/ 216358 h 2455817"/>
                <a:gd name="connsiteX5802" fmla="*/ 2777091 w 4919004"/>
                <a:gd name="connsiteY5802" fmla="*/ 206489 h 2455817"/>
                <a:gd name="connsiteX5803" fmla="*/ 2770874 w 4919004"/>
                <a:gd name="connsiteY5803" fmla="*/ 198447 h 2455817"/>
                <a:gd name="connsiteX5804" fmla="*/ 1464588 w 4919004"/>
                <a:gd name="connsiteY5804" fmla="*/ 138301 h 2455817"/>
                <a:gd name="connsiteX5805" fmla="*/ 1479390 w 4919004"/>
                <a:gd name="connsiteY5805" fmla="*/ 139880 h 2455817"/>
                <a:gd name="connsiteX5806" fmla="*/ 1494192 w 4919004"/>
                <a:gd name="connsiteY5806" fmla="*/ 146344 h 2455817"/>
                <a:gd name="connsiteX5807" fmla="*/ 1496265 w 4919004"/>
                <a:gd name="connsiteY5807" fmla="*/ 151278 h 2455817"/>
                <a:gd name="connsiteX5808" fmla="*/ 1492120 w 4919004"/>
                <a:gd name="connsiteY5808" fmla="*/ 161146 h 2455817"/>
                <a:gd name="connsiteX5809" fmla="*/ 1487926 w 4919004"/>
                <a:gd name="connsiteY5809" fmla="*/ 169237 h 2455817"/>
                <a:gd name="connsiteX5810" fmla="*/ 1483782 w 4919004"/>
                <a:gd name="connsiteY5810" fmla="*/ 170816 h 2455817"/>
                <a:gd name="connsiteX5811" fmla="*/ 1475492 w 4919004"/>
                <a:gd name="connsiteY5811" fmla="*/ 177280 h 2455817"/>
                <a:gd name="connsiteX5812" fmla="*/ 1467154 w 4919004"/>
                <a:gd name="connsiteY5812" fmla="*/ 182214 h 2455817"/>
                <a:gd name="connsiteX5813" fmla="*/ 1460937 w 4919004"/>
                <a:gd name="connsiteY5813" fmla="*/ 182214 h 2455817"/>
                <a:gd name="connsiteX5814" fmla="*/ 1454720 w 4919004"/>
                <a:gd name="connsiteY5814" fmla="*/ 179007 h 2455817"/>
                <a:gd name="connsiteX5815" fmla="*/ 1452598 w 4919004"/>
                <a:gd name="connsiteY5815" fmla="*/ 175750 h 2455817"/>
                <a:gd name="connsiteX5816" fmla="*/ 1460444 w 4919004"/>
                <a:gd name="connsiteY5816" fmla="*/ 175652 h 2455817"/>
                <a:gd name="connsiteX5817" fmla="*/ 1470854 w 4919004"/>
                <a:gd name="connsiteY5817" fmla="*/ 172445 h 2455817"/>
                <a:gd name="connsiteX5818" fmla="*/ 1474999 w 4919004"/>
                <a:gd name="connsiteY5818" fmla="*/ 170816 h 2455817"/>
                <a:gd name="connsiteX5819" fmla="*/ 1468782 w 4919004"/>
                <a:gd name="connsiteY5819" fmla="*/ 169237 h 2455817"/>
                <a:gd name="connsiteX5820" fmla="*/ 1456299 w 4919004"/>
                <a:gd name="connsiteY5820" fmla="*/ 170816 h 2455817"/>
                <a:gd name="connsiteX5821" fmla="*/ 1447960 w 4919004"/>
                <a:gd name="connsiteY5821" fmla="*/ 167609 h 2455817"/>
                <a:gd name="connsiteX5822" fmla="*/ 1441744 w 4919004"/>
                <a:gd name="connsiteY5822" fmla="*/ 161146 h 2455817"/>
                <a:gd name="connsiteX5823" fmla="*/ 1435477 w 4919004"/>
                <a:gd name="connsiteY5823" fmla="*/ 157939 h 2455817"/>
                <a:gd name="connsiteX5824" fmla="*/ 1431333 w 4919004"/>
                <a:gd name="connsiteY5824" fmla="*/ 153005 h 2455817"/>
                <a:gd name="connsiteX5825" fmla="*/ 1422994 w 4919004"/>
                <a:gd name="connsiteY5825" fmla="*/ 151376 h 2455817"/>
                <a:gd name="connsiteX5826" fmla="*/ 1418850 w 4919004"/>
                <a:gd name="connsiteY5826" fmla="*/ 146442 h 2455817"/>
                <a:gd name="connsiteX5827" fmla="*/ 1420922 w 4919004"/>
                <a:gd name="connsiteY5827" fmla="*/ 144814 h 2455817"/>
                <a:gd name="connsiteX5828" fmla="*/ 1431333 w 4919004"/>
                <a:gd name="connsiteY5828" fmla="*/ 144814 h 2455817"/>
                <a:gd name="connsiteX5829" fmla="*/ 1437550 w 4919004"/>
                <a:gd name="connsiteY5829" fmla="*/ 139880 h 2455817"/>
                <a:gd name="connsiteX5830" fmla="*/ 1441744 w 4919004"/>
                <a:gd name="connsiteY5830" fmla="*/ 139880 h 2455817"/>
                <a:gd name="connsiteX5831" fmla="*/ 1447960 w 4919004"/>
                <a:gd name="connsiteY5831" fmla="*/ 143136 h 2455817"/>
                <a:gd name="connsiteX5832" fmla="*/ 1454227 w 4919004"/>
                <a:gd name="connsiteY5832" fmla="*/ 139880 h 2455817"/>
                <a:gd name="connsiteX5833" fmla="*/ 1723181 w 4919004"/>
                <a:gd name="connsiteY5833" fmla="*/ 134058 h 2455817"/>
                <a:gd name="connsiteX5834" fmla="*/ 1729398 w 4919004"/>
                <a:gd name="connsiteY5834" fmla="*/ 134058 h 2455817"/>
                <a:gd name="connsiteX5835" fmla="*/ 1737736 w 4919004"/>
                <a:gd name="connsiteY5835" fmla="*/ 137265 h 2455817"/>
                <a:gd name="connsiteX5836" fmla="*/ 1743953 w 4919004"/>
                <a:gd name="connsiteY5836" fmla="*/ 138893 h 2455817"/>
                <a:gd name="connsiteX5837" fmla="*/ 1752243 w 4919004"/>
                <a:gd name="connsiteY5837" fmla="*/ 142100 h 2455817"/>
                <a:gd name="connsiteX5838" fmla="*/ 1754364 w 4919004"/>
                <a:gd name="connsiteY5838" fmla="*/ 161442 h 2455817"/>
                <a:gd name="connsiteX5839" fmla="*/ 1756436 w 4919004"/>
                <a:gd name="connsiteY5839" fmla="*/ 166376 h 2455817"/>
                <a:gd name="connsiteX5840" fmla="*/ 1760581 w 4919004"/>
                <a:gd name="connsiteY5840" fmla="*/ 166376 h 2455817"/>
                <a:gd name="connsiteX5841" fmla="*/ 1758508 w 4919004"/>
                <a:gd name="connsiteY5841" fmla="*/ 161442 h 2455817"/>
                <a:gd name="connsiteX5842" fmla="*/ 1764775 w 4919004"/>
                <a:gd name="connsiteY5842" fmla="*/ 158235 h 2455817"/>
                <a:gd name="connsiteX5843" fmla="*/ 1762703 w 4919004"/>
                <a:gd name="connsiteY5843" fmla="*/ 153301 h 2455817"/>
                <a:gd name="connsiteX5844" fmla="*/ 1758508 w 4919004"/>
                <a:gd name="connsiteY5844" fmla="*/ 148367 h 2455817"/>
                <a:gd name="connsiteX5845" fmla="*/ 1758508 w 4919004"/>
                <a:gd name="connsiteY5845" fmla="*/ 145110 h 2455817"/>
                <a:gd name="connsiteX5846" fmla="*/ 1762703 w 4919004"/>
                <a:gd name="connsiteY5846" fmla="*/ 146738 h 2455817"/>
                <a:gd name="connsiteX5847" fmla="*/ 1770992 w 4919004"/>
                <a:gd name="connsiteY5847" fmla="*/ 154830 h 2455817"/>
                <a:gd name="connsiteX5848" fmla="*/ 1773064 w 4919004"/>
                <a:gd name="connsiteY5848" fmla="*/ 154830 h 2455817"/>
                <a:gd name="connsiteX5849" fmla="*/ 1775136 w 4919004"/>
                <a:gd name="connsiteY5849" fmla="*/ 149896 h 2455817"/>
                <a:gd name="connsiteX5850" fmla="*/ 1779330 w 4919004"/>
                <a:gd name="connsiteY5850" fmla="*/ 149896 h 2455817"/>
                <a:gd name="connsiteX5851" fmla="*/ 1785547 w 4919004"/>
                <a:gd name="connsiteY5851" fmla="*/ 154830 h 2455817"/>
                <a:gd name="connsiteX5852" fmla="*/ 1787619 w 4919004"/>
                <a:gd name="connsiteY5852" fmla="*/ 159764 h 2455817"/>
                <a:gd name="connsiteX5853" fmla="*/ 1791764 w 4919004"/>
                <a:gd name="connsiteY5853" fmla="*/ 161343 h 2455817"/>
                <a:gd name="connsiteX5854" fmla="*/ 1793886 w 4919004"/>
                <a:gd name="connsiteY5854" fmla="*/ 158136 h 2455817"/>
                <a:gd name="connsiteX5855" fmla="*/ 1798030 w 4919004"/>
                <a:gd name="connsiteY5855" fmla="*/ 159764 h 2455817"/>
                <a:gd name="connsiteX5856" fmla="*/ 1806319 w 4919004"/>
                <a:gd name="connsiteY5856" fmla="*/ 166178 h 2455817"/>
                <a:gd name="connsiteX5857" fmla="*/ 1814658 w 4919004"/>
                <a:gd name="connsiteY5857" fmla="*/ 169435 h 2455817"/>
                <a:gd name="connsiteX5858" fmla="*/ 1820875 w 4919004"/>
                <a:gd name="connsiteY5858" fmla="*/ 172642 h 2455817"/>
                <a:gd name="connsiteX5859" fmla="*/ 1822996 w 4919004"/>
                <a:gd name="connsiteY5859" fmla="*/ 171014 h 2455817"/>
                <a:gd name="connsiteX5860" fmla="*/ 1831285 w 4919004"/>
                <a:gd name="connsiteY5860" fmla="*/ 171014 h 2455817"/>
                <a:gd name="connsiteX5861" fmla="*/ 1841696 w 4919004"/>
                <a:gd name="connsiteY5861" fmla="*/ 177477 h 2455817"/>
                <a:gd name="connsiteX5862" fmla="*/ 1841696 w 4919004"/>
                <a:gd name="connsiteY5862" fmla="*/ 183250 h 2455817"/>
                <a:gd name="connsiteX5863" fmla="*/ 1845841 w 4919004"/>
                <a:gd name="connsiteY5863" fmla="*/ 189664 h 2455817"/>
                <a:gd name="connsiteX5864" fmla="*/ 1856252 w 4919004"/>
                <a:gd name="connsiteY5864" fmla="*/ 199532 h 2455817"/>
                <a:gd name="connsiteX5865" fmla="*/ 1858324 w 4919004"/>
                <a:gd name="connsiteY5865" fmla="*/ 205947 h 2455817"/>
                <a:gd name="connsiteX5866" fmla="*/ 1852107 w 4919004"/>
                <a:gd name="connsiteY5866" fmla="*/ 218874 h 2455817"/>
                <a:gd name="connsiteX5867" fmla="*/ 1847913 w 4919004"/>
                <a:gd name="connsiteY5867" fmla="*/ 222081 h 2455817"/>
                <a:gd name="connsiteX5868" fmla="*/ 1845841 w 4919004"/>
                <a:gd name="connsiteY5868" fmla="*/ 227015 h 2455817"/>
                <a:gd name="connsiteX5869" fmla="*/ 1833358 w 4919004"/>
                <a:gd name="connsiteY5869" fmla="*/ 235058 h 2455817"/>
                <a:gd name="connsiteX5870" fmla="*/ 1825020 w 4919004"/>
                <a:gd name="connsiteY5870" fmla="*/ 236686 h 2455817"/>
                <a:gd name="connsiteX5871" fmla="*/ 1822996 w 4919004"/>
                <a:gd name="connsiteY5871" fmla="*/ 241620 h 2455817"/>
                <a:gd name="connsiteX5872" fmla="*/ 1818803 w 4919004"/>
                <a:gd name="connsiteY5872" fmla="*/ 248083 h 2455817"/>
                <a:gd name="connsiteX5873" fmla="*/ 1814658 w 4919004"/>
                <a:gd name="connsiteY5873" fmla="*/ 248083 h 2455817"/>
                <a:gd name="connsiteX5874" fmla="*/ 1810464 w 4919004"/>
                <a:gd name="connsiteY5874" fmla="*/ 244876 h 2455817"/>
                <a:gd name="connsiteX5875" fmla="*/ 1804247 w 4919004"/>
                <a:gd name="connsiteY5875" fmla="*/ 246455 h 2455817"/>
                <a:gd name="connsiteX5876" fmla="*/ 1787619 w 4919004"/>
                <a:gd name="connsiteY5876" fmla="*/ 254547 h 2455817"/>
                <a:gd name="connsiteX5877" fmla="*/ 1787619 w 4919004"/>
                <a:gd name="connsiteY5877" fmla="*/ 264415 h 2455817"/>
                <a:gd name="connsiteX5878" fmla="*/ 1783475 w 4919004"/>
                <a:gd name="connsiteY5878" fmla="*/ 267622 h 2455817"/>
                <a:gd name="connsiteX5879" fmla="*/ 1775136 w 4919004"/>
                <a:gd name="connsiteY5879" fmla="*/ 275665 h 2455817"/>
                <a:gd name="connsiteX5880" fmla="*/ 1770992 w 4919004"/>
                <a:gd name="connsiteY5880" fmla="*/ 285533 h 2455817"/>
                <a:gd name="connsiteX5881" fmla="*/ 1760581 w 4919004"/>
                <a:gd name="connsiteY5881" fmla="*/ 287112 h 2455817"/>
                <a:gd name="connsiteX5882" fmla="*/ 1756189 w 4919004"/>
                <a:gd name="connsiteY5882" fmla="*/ 284151 h 2455817"/>
                <a:gd name="connsiteX5883" fmla="*/ 1756189 w 4919004"/>
                <a:gd name="connsiteY5883" fmla="*/ 277688 h 2455817"/>
                <a:gd name="connsiteX5884" fmla="*/ 1749973 w 4919004"/>
                <a:gd name="connsiteY5884" fmla="*/ 272754 h 2455817"/>
                <a:gd name="connsiteX5885" fmla="*/ 1745779 w 4919004"/>
                <a:gd name="connsiteY5885" fmla="*/ 262885 h 2455817"/>
                <a:gd name="connsiteX5886" fmla="*/ 1741634 w 4919004"/>
                <a:gd name="connsiteY5886" fmla="*/ 255287 h 2455817"/>
                <a:gd name="connsiteX5887" fmla="*/ 1743706 w 4919004"/>
                <a:gd name="connsiteY5887" fmla="*/ 252031 h 2455817"/>
                <a:gd name="connsiteX5888" fmla="*/ 1743706 w 4919004"/>
                <a:gd name="connsiteY5888" fmla="*/ 245616 h 2455817"/>
                <a:gd name="connsiteX5889" fmla="*/ 1739562 w 4919004"/>
                <a:gd name="connsiteY5889" fmla="*/ 242360 h 2455817"/>
                <a:gd name="connsiteX5890" fmla="*/ 1739562 w 4919004"/>
                <a:gd name="connsiteY5890" fmla="*/ 235896 h 2455817"/>
                <a:gd name="connsiteX5891" fmla="*/ 1737489 w 4919004"/>
                <a:gd name="connsiteY5891" fmla="*/ 227854 h 2455817"/>
                <a:gd name="connsiteX5892" fmla="*/ 1731224 w 4919004"/>
                <a:gd name="connsiteY5892" fmla="*/ 216555 h 2455817"/>
                <a:gd name="connsiteX5893" fmla="*/ 1735417 w 4919004"/>
                <a:gd name="connsiteY5893" fmla="*/ 205305 h 2455817"/>
                <a:gd name="connsiteX5894" fmla="*/ 1741634 w 4919004"/>
                <a:gd name="connsiteY5894" fmla="*/ 205305 h 2455817"/>
                <a:gd name="connsiteX5895" fmla="*/ 1745779 w 4919004"/>
                <a:gd name="connsiteY5895" fmla="*/ 202049 h 2455817"/>
                <a:gd name="connsiteX5896" fmla="*/ 1739809 w 4919004"/>
                <a:gd name="connsiteY5896" fmla="*/ 202049 h 2455817"/>
                <a:gd name="connsiteX5897" fmla="*/ 1733592 w 4919004"/>
                <a:gd name="connsiteY5897" fmla="*/ 197115 h 2455817"/>
                <a:gd name="connsiteX5898" fmla="*/ 1727325 w 4919004"/>
                <a:gd name="connsiteY5898" fmla="*/ 180981 h 2455817"/>
                <a:gd name="connsiteX5899" fmla="*/ 1727325 w 4919004"/>
                <a:gd name="connsiteY5899" fmla="*/ 176046 h 2455817"/>
                <a:gd name="connsiteX5900" fmla="*/ 1725253 w 4919004"/>
                <a:gd name="connsiteY5900" fmla="*/ 172839 h 2455817"/>
                <a:gd name="connsiteX5901" fmla="*/ 1719036 w 4919004"/>
                <a:gd name="connsiteY5901" fmla="*/ 171211 h 2455817"/>
                <a:gd name="connsiteX5902" fmla="*/ 1714842 w 4919004"/>
                <a:gd name="connsiteY5902" fmla="*/ 168004 h 2455817"/>
                <a:gd name="connsiteX5903" fmla="*/ 1714842 w 4919004"/>
                <a:gd name="connsiteY5903" fmla="*/ 161540 h 2455817"/>
                <a:gd name="connsiteX5904" fmla="*/ 1716915 w 4919004"/>
                <a:gd name="connsiteY5904" fmla="*/ 158333 h 2455817"/>
                <a:gd name="connsiteX5905" fmla="*/ 1714842 w 4919004"/>
                <a:gd name="connsiteY5905" fmla="*/ 153399 h 2455817"/>
                <a:gd name="connsiteX5906" fmla="*/ 1714842 w 4919004"/>
                <a:gd name="connsiteY5906" fmla="*/ 150192 h 2455817"/>
                <a:gd name="connsiteX5907" fmla="*/ 1716915 w 4919004"/>
                <a:gd name="connsiteY5907" fmla="*/ 148564 h 2455817"/>
                <a:gd name="connsiteX5908" fmla="*/ 1721109 w 4919004"/>
                <a:gd name="connsiteY5908" fmla="*/ 153498 h 2455817"/>
                <a:gd name="connsiteX5909" fmla="*/ 1725253 w 4919004"/>
                <a:gd name="connsiteY5909" fmla="*/ 156705 h 2455817"/>
                <a:gd name="connsiteX5910" fmla="*/ 1729398 w 4919004"/>
                <a:gd name="connsiteY5910" fmla="*/ 156705 h 2455817"/>
                <a:gd name="connsiteX5911" fmla="*/ 1733592 w 4919004"/>
                <a:gd name="connsiteY5911" fmla="*/ 155126 h 2455817"/>
                <a:gd name="connsiteX5912" fmla="*/ 1727325 w 4919004"/>
                <a:gd name="connsiteY5912" fmla="*/ 148663 h 2455817"/>
                <a:gd name="connsiteX5913" fmla="*/ 1721109 w 4919004"/>
                <a:gd name="connsiteY5913" fmla="*/ 145406 h 2455817"/>
                <a:gd name="connsiteX5914" fmla="*/ 1719036 w 4919004"/>
                <a:gd name="connsiteY5914" fmla="*/ 138992 h 2455817"/>
                <a:gd name="connsiteX5915" fmla="*/ 2958021 w 4919004"/>
                <a:gd name="connsiteY5915" fmla="*/ 127397 h 2455817"/>
                <a:gd name="connsiteX5916" fmla="*/ 2987132 w 4919004"/>
                <a:gd name="connsiteY5916" fmla="*/ 127397 h 2455817"/>
                <a:gd name="connsiteX5917" fmla="*/ 3005833 w 4919004"/>
                <a:gd name="connsiteY5917" fmla="*/ 135439 h 2455817"/>
                <a:gd name="connsiteX5918" fmla="*/ 3020388 w 4919004"/>
                <a:gd name="connsiteY5918" fmla="*/ 135439 h 2455817"/>
                <a:gd name="connsiteX5919" fmla="*/ 3037065 w 4919004"/>
                <a:gd name="connsiteY5919" fmla="*/ 137068 h 2455817"/>
                <a:gd name="connsiteX5920" fmla="*/ 3055716 w 4919004"/>
                <a:gd name="connsiteY5920" fmla="*/ 142002 h 2455817"/>
                <a:gd name="connsiteX5921" fmla="*/ 3055716 w 4919004"/>
                <a:gd name="connsiteY5921" fmla="*/ 145209 h 2455817"/>
                <a:gd name="connsiteX5922" fmla="*/ 3047427 w 4919004"/>
                <a:gd name="connsiteY5922" fmla="*/ 146837 h 2455817"/>
                <a:gd name="connsiteX5923" fmla="*/ 3043282 w 4919004"/>
                <a:gd name="connsiteY5923" fmla="*/ 150093 h 2455817"/>
                <a:gd name="connsiteX5924" fmla="*/ 3043282 w 4919004"/>
                <a:gd name="connsiteY5924" fmla="*/ 156508 h 2455817"/>
                <a:gd name="connsiteX5925" fmla="*/ 3049499 w 4919004"/>
                <a:gd name="connsiteY5925" fmla="*/ 164600 h 2455817"/>
                <a:gd name="connsiteX5926" fmla="*/ 3057838 w 4919004"/>
                <a:gd name="connsiteY5926" fmla="*/ 166178 h 2455817"/>
                <a:gd name="connsiteX5927" fmla="*/ 3059909 w 4919004"/>
                <a:gd name="connsiteY5927" fmla="*/ 174270 h 2455817"/>
                <a:gd name="connsiteX5928" fmla="*/ 3059909 w 4919004"/>
                <a:gd name="connsiteY5928" fmla="*/ 179204 h 2455817"/>
                <a:gd name="connsiteX5929" fmla="*/ 3055716 w 4919004"/>
                <a:gd name="connsiteY5929" fmla="*/ 184138 h 2455817"/>
                <a:gd name="connsiteX5930" fmla="*/ 3055716 w 4919004"/>
                <a:gd name="connsiteY5930" fmla="*/ 192181 h 2455817"/>
                <a:gd name="connsiteX5931" fmla="*/ 3049499 w 4919004"/>
                <a:gd name="connsiteY5931" fmla="*/ 197115 h 2455817"/>
                <a:gd name="connsiteX5932" fmla="*/ 3047427 w 4919004"/>
                <a:gd name="connsiteY5932" fmla="*/ 202049 h 2455817"/>
                <a:gd name="connsiteX5933" fmla="*/ 3039137 w 4919004"/>
                <a:gd name="connsiteY5933" fmla="*/ 197115 h 2455817"/>
                <a:gd name="connsiteX5934" fmla="*/ 3034944 w 4919004"/>
                <a:gd name="connsiteY5934" fmla="*/ 197115 h 2455817"/>
                <a:gd name="connsiteX5935" fmla="*/ 3028727 w 4919004"/>
                <a:gd name="connsiteY5935" fmla="*/ 202049 h 2455817"/>
                <a:gd name="connsiteX5936" fmla="*/ 3020388 w 4919004"/>
                <a:gd name="connsiteY5936" fmla="*/ 202049 h 2455817"/>
                <a:gd name="connsiteX5937" fmla="*/ 3003760 w 4919004"/>
                <a:gd name="connsiteY5937" fmla="*/ 195635 h 2455817"/>
                <a:gd name="connsiteX5938" fmla="*/ 2995521 w 4919004"/>
                <a:gd name="connsiteY5938" fmla="*/ 188875 h 2455817"/>
                <a:gd name="connsiteX5939" fmla="*/ 2978893 w 4919004"/>
                <a:gd name="connsiteY5939" fmla="*/ 177576 h 2455817"/>
                <a:gd name="connsiteX5940" fmla="*/ 2976771 w 4919004"/>
                <a:gd name="connsiteY5940" fmla="*/ 169534 h 2455817"/>
                <a:gd name="connsiteX5941" fmla="*/ 2978893 w 4919004"/>
                <a:gd name="connsiteY5941" fmla="*/ 163070 h 2455817"/>
                <a:gd name="connsiteX5942" fmla="*/ 2980965 w 4919004"/>
                <a:gd name="connsiteY5942" fmla="*/ 158136 h 2455817"/>
                <a:gd name="connsiteX5943" fmla="*/ 2980965 w 4919004"/>
                <a:gd name="connsiteY5943" fmla="*/ 154929 h 2455817"/>
                <a:gd name="connsiteX5944" fmla="*/ 2978893 w 4919004"/>
                <a:gd name="connsiteY5944" fmla="*/ 148465 h 2455817"/>
                <a:gd name="connsiteX5945" fmla="*/ 2974699 w 4919004"/>
                <a:gd name="connsiteY5945" fmla="*/ 146837 h 2455817"/>
                <a:gd name="connsiteX5946" fmla="*/ 2972627 w 4919004"/>
                <a:gd name="connsiteY5946" fmla="*/ 140373 h 2455817"/>
                <a:gd name="connsiteX5947" fmla="*/ 2968482 w 4919004"/>
                <a:gd name="connsiteY5947" fmla="*/ 138794 h 2455817"/>
                <a:gd name="connsiteX5948" fmla="*/ 2964337 w 4919004"/>
                <a:gd name="connsiteY5948" fmla="*/ 133860 h 2455817"/>
                <a:gd name="connsiteX5949" fmla="*/ 3193228 w 4919004"/>
                <a:gd name="connsiteY5949" fmla="*/ 127249 h 2455817"/>
                <a:gd name="connsiteX5950" fmla="*/ 3203638 w 4919004"/>
                <a:gd name="connsiteY5950" fmla="*/ 130456 h 2455817"/>
                <a:gd name="connsiteX5951" fmla="*/ 3209855 w 4919004"/>
                <a:gd name="connsiteY5951" fmla="*/ 127249 h 2455817"/>
                <a:gd name="connsiteX5952" fmla="*/ 3211927 w 4919004"/>
                <a:gd name="connsiteY5952" fmla="*/ 130456 h 2455817"/>
                <a:gd name="connsiteX5953" fmla="*/ 3211927 w 4919004"/>
                <a:gd name="connsiteY5953" fmla="*/ 133712 h 2455817"/>
                <a:gd name="connsiteX5954" fmla="*/ 3214049 w 4919004"/>
                <a:gd name="connsiteY5954" fmla="*/ 138646 h 2455817"/>
                <a:gd name="connsiteX5955" fmla="*/ 3220266 w 4919004"/>
                <a:gd name="connsiteY5955" fmla="*/ 138646 h 2455817"/>
                <a:gd name="connsiteX5956" fmla="*/ 3226483 w 4919004"/>
                <a:gd name="connsiteY5956" fmla="*/ 140225 h 2455817"/>
                <a:gd name="connsiteX5957" fmla="*/ 3228604 w 4919004"/>
                <a:gd name="connsiteY5957" fmla="*/ 150093 h 2455817"/>
                <a:gd name="connsiteX5958" fmla="*/ 3222338 w 4919004"/>
                <a:gd name="connsiteY5958" fmla="*/ 156508 h 2455817"/>
                <a:gd name="connsiteX5959" fmla="*/ 3220266 w 4919004"/>
                <a:gd name="connsiteY5959" fmla="*/ 164600 h 2455817"/>
                <a:gd name="connsiteX5960" fmla="*/ 3205464 w 4919004"/>
                <a:gd name="connsiteY5960" fmla="*/ 171014 h 2455817"/>
                <a:gd name="connsiteX5961" fmla="*/ 3199247 w 4919004"/>
                <a:gd name="connsiteY5961" fmla="*/ 174270 h 2455817"/>
                <a:gd name="connsiteX5962" fmla="*/ 3188836 w 4919004"/>
                <a:gd name="connsiteY5962" fmla="*/ 171014 h 2455817"/>
                <a:gd name="connsiteX5963" fmla="*/ 3178426 w 4919004"/>
                <a:gd name="connsiteY5963" fmla="*/ 174270 h 2455817"/>
                <a:gd name="connsiteX5964" fmla="*/ 3168014 w 4919004"/>
                <a:gd name="connsiteY5964" fmla="*/ 172642 h 2455817"/>
                <a:gd name="connsiteX5965" fmla="*/ 3153212 w 4919004"/>
                <a:gd name="connsiteY5965" fmla="*/ 167708 h 2455817"/>
                <a:gd name="connsiteX5966" fmla="*/ 3136584 w 4919004"/>
                <a:gd name="connsiteY5966" fmla="*/ 166080 h 2455817"/>
                <a:gd name="connsiteX5967" fmla="*/ 3111914 w 4919004"/>
                <a:gd name="connsiteY5967" fmla="*/ 159665 h 2455817"/>
                <a:gd name="connsiteX5968" fmla="*/ 3107721 w 4919004"/>
                <a:gd name="connsiteY5968" fmla="*/ 153202 h 2455817"/>
                <a:gd name="connsiteX5969" fmla="*/ 3095237 w 4919004"/>
                <a:gd name="connsiteY5969" fmla="*/ 138696 h 2455817"/>
                <a:gd name="connsiteX5970" fmla="*/ 3091093 w 4919004"/>
                <a:gd name="connsiteY5970" fmla="*/ 127397 h 2455817"/>
                <a:gd name="connsiteX5971" fmla="*/ 3097606 w 4919004"/>
                <a:gd name="connsiteY5971" fmla="*/ 128877 h 2455817"/>
                <a:gd name="connsiteX5972" fmla="*/ 3099629 w 4919004"/>
                <a:gd name="connsiteY5972" fmla="*/ 132084 h 2455817"/>
                <a:gd name="connsiteX5973" fmla="*/ 3103822 w 4919004"/>
                <a:gd name="connsiteY5973" fmla="*/ 137018 h 2455817"/>
                <a:gd name="connsiteX5974" fmla="*/ 3116306 w 4919004"/>
                <a:gd name="connsiteY5974" fmla="*/ 140225 h 2455817"/>
                <a:gd name="connsiteX5975" fmla="*/ 3122523 w 4919004"/>
                <a:gd name="connsiteY5975" fmla="*/ 135291 h 2455817"/>
                <a:gd name="connsiteX5976" fmla="*/ 3122523 w 4919004"/>
                <a:gd name="connsiteY5976" fmla="*/ 130357 h 2455817"/>
                <a:gd name="connsiteX5977" fmla="*/ 3126716 w 4919004"/>
                <a:gd name="connsiteY5977" fmla="*/ 131986 h 2455817"/>
                <a:gd name="connsiteX5978" fmla="*/ 3139150 w 4919004"/>
                <a:gd name="connsiteY5978" fmla="*/ 131986 h 2455817"/>
                <a:gd name="connsiteX5979" fmla="*/ 3147489 w 4919004"/>
                <a:gd name="connsiteY5979" fmla="*/ 130357 h 2455817"/>
                <a:gd name="connsiteX5980" fmla="*/ 3151633 w 4919004"/>
                <a:gd name="connsiteY5980" fmla="*/ 130357 h 2455817"/>
                <a:gd name="connsiteX5981" fmla="*/ 3153706 w 4919004"/>
                <a:gd name="connsiteY5981" fmla="*/ 135291 h 2455817"/>
                <a:gd name="connsiteX5982" fmla="*/ 3155827 w 4919004"/>
                <a:gd name="connsiteY5982" fmla="*/ 138548 h 2455817"/>
                <a:gd name="connsiteX5983" fmla="*/ 3164116 w 4919004"/>
                <a:gd name="connsiteY5983" fmla="*/ 136920 h 2455817"/>
                <a:gd name="connsiteX5984" fmla="*/ 3174528 w 4919004"/>
                <a:gd name="connsiteY5984" fmla="*/ 130456 h 2455817"/>
                <a:gd name="connsiteX5985" fmla="*/ 2901873 w 4919004"/>
                <a:gd name="connsiteY5985" fmla="*/ 118121 h 2455817"/>
                <a:gd name="connsiteX5986" fmla="*/ 2910211 w 4919004"/>
                <a:gd name="connsiteY5986" fmla="*/ 121328 h 2455817"/>
                <a:gd name="connsiteX5987" fmla="*/ 2918451 w 4919004"/>
                <a:gd name="connsiteY5987" fmla="*/ 121328 h 2455817"/>
                <a:gd name="connsiteX5988" fmla="*/ 2924717 w 4919004"/>
                <a:gd name="connsiteY5988" fmla="*/ 126262 h 2455817"/>
                <a:gd name="connsiteX5989" fmla="*/ 2933006 w 4919004"/>
                <a:gd name="connsiteY5989" fmla="*/ 127890 h 2455817"/>
                <a:gd name="connsiteX5990" fmla="*/ 2945489 w 4919004"/>
                <a:gd name="connsiteY5990" fmla="*/ 127890 h 2455817"/>
                <a:gd name="connsiteX5991" fmla="*/ 2951756 w 4919004"/>
                <a:gd name="connsiteY5991" fmla="*/ 131097 h 2455817"/>
                <a:gd name="connsiteX5992" fmla="*/ 2955900 w 4919004"/>
                <a:gd name="connsiteY5992" fmla="*/ 132726 h 2455817"/>
                <a:gd name="connsiteX5993" fmla="*/ 2955900 w 4919004"/>
                <a:gd name="connsiteY5993" fmla="*/ 137660 h 2455817"/>
                <a:gd name="connsiteX5994" fmla="*/ 2953828 w 4919004"/>
                <a:gd name="connsiteY5994" fmla="*/ 139239 h 2455817"/>
                <a:gd name="connsiteX5995" fmla="*/ 2949683 w 4919004"/>
                <a:gd name="connsiteY5995" fmla="*/ 140867 h 2455817"/>
                <a:gd name="connsiteX5996" fmla="*/ 2953828 w 4919004"/>
                <a:gd name="connsiteY5996" fmla="*/ 145801 h 2455817"/>
                <a:gd name="connsiteX5997" fmla="*/ 2949683 w 4919004"/>
                <a:gd name="connsiteY5997" fmla="*/ 147429 h 2455817"/>
                <a:gd name="connsiteX5998" fmla="*/ 2949683 w 4919004"/>
                <a:gd name="connsiteY5998" fmla="*/ 150636 h 2455817"/>
                <a:gd name="connsiteX5999" fmla="*/ 2955900 w 4919004"/>
                <a:gd name="connsiteY5999" fmla="*/ 153893 h 2455817"/>
                <a:gd name="connsiteX6000" fmla="*/ 2957973 w 4919004"/>
                <a:gd name="connsiteY6000" fmla="*/ 160307 h 2455817"/>
                <a:gd name="connsiteX6001" fmla="*/ 2964238 w 4919004"/>
                <a:gd name="connsiteY6001" fmla="*/ 165241 h 2455817"/>
                <a:gd name="connsiteX6002" fmla="*/ 2964238 w 4919004"/>
                <a:gd name="connsiteY6002" fmla="*/ 170175 h 2455817"/>
                <a:gd name="connsiteX6003" fmla="*/ 2968383 w 4919004"/>
                <a:gd name="connsiteY6003" fmla="*/ 181474 h 2455817"/>
                <a:gd name="connsiteX6004" fmla="*/ 2974600 w 4919004"/>
                <a:gd name="connsiteY6004" fmla="*/ 183102 h 2455817"/>
                <a:gd name="connsiteX6005" fmla="*/ 2985011 w 4919004"/>
                <a:gd name="connsiteY6005" fmla="*/ 192970 h 2455817"/>
                <a:gd name="connsiteX6006" fmla="*/ 2987083 w 4919004"/>
                <a:gd name="connsiteY6006" fmla="*/ 196177 h 2455817"/>
                <a:gd name="connsiteX6007" fmla="*/ 2995422 w 4919004"/>
                <a:gd name="connsiteY6007" fmla="*/ 197806 h 2455817"/>
                <a:gd name="connsiteX6008" fmla="*/ 2999566 w 4919004"/>
                <a:gd name="connsiteY6008" fmla="*/ 201013 h 2455817"/>
                <a:gd name="connsiteX6009" fmla="*/ 3012000 w 4919004"/>
                <a:gd name="connsiteY6009" fmla="*/ 204269 h 2455817"/>
                <a:gd name="connsiteX6010" fmla="*/ 3020338 w 4919004"/>
                <a:gd name="connsiteY6010" fmla="*/ 209203 h 2455817"/>
                <a:gd name="connsiteX6011" fmla="*/ 3032822 w 4919004"/>
                <a:gd name="connsiteY6011" fmla="*/ 205947 h 2455817"/>
                <a:gd name="connsiteX6012" fmla="*/ 3041111 w 4919004"/>
                <a:gd name="connsiteY6012" fmla="*/ 204368 h 2455817"/>
                <a:gd name="connsiteX6013" fmla="*/ 3045305 w 4919004"/>
                <a:gd name="connsiteY6013" fmla="*/ 207575 h 2455817"/>
                <a:gd name="connsiteX6014" fmla="*/ 3039088 w 4919004"/>
                <a:gd name="connsiteY6014" fmla="*/ 212509 h 2455817"/>
                <a:gd name="connsiteX6015" fmla="*/ 3028677 w 4919004"/>
                <a:gd name="connsiteY6015" fmla="*/ 217443 h 2455817"/>
                <a:gd name="connsiteX6016" fmla="*/ 3028677 w 4919004"/>
                <a:gd name="connsiteY6016" fmla="*/ 222377 h 2455817"/>
                <a:gd name="connsiteX6017" fmla="*/ 3022460 w 4919004"/>
                <a:gd name="connsiteY6017" fmla="*/ 225584 h 2455817"/>
                <a:gd name="connsiteX6018" fmla="*/ 3016194 w 4919004"/>
                <a:gd name="connsiteY6018" fmla="*/ 222377 h 2455817"/>
                <a:gd name="connsiteX6019" fmla="*/ 3009977 w 4919004"/>
                <a:gd name="connsiteY6019" fmla="*/ 222377 h 2455817"/>
                <a:gd name="connsiteX6020" fmla="*/ 3012000 w 4919004"/>
                <a:gd name="connsiteY6020" fmla="*/ 217443 h 2455817"/>
                <a:gd name="connsiteX6021" fmla="*/ 3009977 w 4919004"/>
                <a:gd name="connsiteY6021" fmla="*/ 215815 h 2455817"/>
                <a:gd name="connsiteX6022" fmla="*/ 3001639 w 4919004"/>
                <a:gd name="connsiteY6022" fmla="*/ 220749 h 2455817"/>
                <a:gd name="connsiteX6023" fmla="*/ 2993349 w 4919004"/>
                <a:gd name="connsiteY6023" fmla="*/ 222377 h 2455817"/>
                <a:gd name="connsiteX6024" fmla="*/ 2982939 w 4919004"/>
                <a:gd name="connsiteY6024" fmla="*/ 232245 h 2455817"/>
                <a:gd name="connsiteX6025" fmla="*/ 2974600 w 4919004"/>
                <a:gd name="connsiteY6025" fmla="*/ 243544 h 2455817"/>
                <a:gd name="connsiteX6026" fmla="*/ 2968383 w 4919004"/>
                <a:gd name="connsiteY6026" fmla="*/ 251587 h 2455817"/>
                <a:gd name="connsiteX6027" fmla="*/ 2964238 w 4919004"/>
                <a:gd name="connsiteY6027" fmla="*/ 253215 h 2455817"/>
                <a:gd name="connsiteX6028" fmla="*/ 2964238 w 4919004"/>
                <a:gd name="connsiteY6028" fmla="*/ 250008 h 2455817"/>
                <a:gd name="connsiteX6029" fmla="*/ 2960045 w 4919004"/>
                <a:gd name="connsiteY6029" fmla="*/ 245074 h 2455817"/>
                <a:gd name="connsiteX6030" fmla="*/ 2953828 w 4919004"/>
                <a:gd name="connsiteY6030" fmla="*/ 243445 h 2455817"/>
                <a:gd name="connsiteX6031" fmla="*/ 2951756 w 4919004"/>
                <a:gd name="connsiteY6031" fmla="*/ 240189 h 2455817"/>
                <a:gd name="connsiteX6032" fmla="*/ 2947561 w 4919004"/>
                <a:gd name="connsiteY6032" fmla="*/ 236982 h 2455817"/>
                <a:gd name="connsiteX6033" fmla="*/ 2945489 w 4919004"/>
                <a:gd name="connsiteY6033" fmla="*/ 240189 h 2455817"/>
                <a:gd name="connsiteX6034" fmla="*/ 2945489 w 4919004"/>
                <a:gd name="connsiteY6034" fmla="*/ 245123 h 2455817"/>
                <a:gd name="connsiteX6035" fmla="*/ 2949683 w 4919004"/>
                <a:gd name="connsiteY6035" fmla="*/ 248330 h 2455817"/>
                <a:gd name="connsiteX6036" fmla="*/ 2955950 w 4919004"/>
                <a:gd name="connsiteY6036" fmla="*/ 248330 h 2455817"/>
                <a:gd name="connsiteX6037" fmla="*/ 2953877 w 4919004"/>
                <a:gd name="connsiteY6037" fmla="*/ 253363 h 2455817"/>
                <a:gd name="connsiteX6038" fmla="*/ 2958021 w 4919004"/>
                <a:gd name="connsiteY6038" fmla="*/ 259826 h 2455817"/>
                <a:gd name="connsiteX6039" fmla="*/ 2958021 w 4919004"/>
                <a:gd name="connsiteY6039" fmla="*/ 266241 h 2455817"/>
                <a:gd name="connsiteX6040" fmla="*/ 2955950 w 4919004"/>
                <a:gd name="connsiteY6040" fmla="*/ 271175 h 2455817"/>
                <a:gd name="connsiteX6041" fmla="*/ 2949733 w 4919004"/>
                <a:gd name="connsiteY6041" fmla="*/ 272803 h 2455817"/>
                <a:gd name="connsiteX6042" fmla="*/ 2941394 w 4919004"/>
                <a:gd name="connsiteY6042" fmla="*/ 267869 h 2455817"/>
                <a:gd name="connsiteX6043" fmla="*/ 2933056 w 4919004"/>
                <a:gd name="connsiteY6043" fmla="*/ 267869 h 2455817"/>
                <a:gd name="connsiteX6044" fmla="*/ 2922645 w 4919004"/>
                <a:gd name="connsiteY6044" fmla="*/ 271076 h 2455817"/>
                <a:gd name="connsiteX6045" fmla="*/ 2912283 w 4919004"/>
                <a:gd name="connsiteY6045" fmla="*/ 271076 h 2455817"/>
                <a:gd name="connsiteX6046" fmla="*/ 2906067 w 4919004"/>
                <a:gd name="connsiteY6046" fmla="*/ 266142 h 2455817"/>
                <a:gd name="connsiteX6047" fmla="*/ 2901873 w 4919004"/>
                <a:gd name="connsiteY6047" fmla="*/ 259728 h 2455817"/>
                <a:gd name="connsiteX6048" fmla="*/ 2895656 w 4919004"/>
                <a:gd name="connsiteY6048" fmla="*/ 256471 h 2455817"/>
                <a:gd name="connsiteX6049" fmla="*/ 2889389 w 4919004"/>
                <a:gd name="connsiteY6049" fmla="*/ 251537 h 2455817"/>
                <a:gd name="connsiteX6050" fmla="*/ 2878979 w 4919004"/>
                <a:gd name="connsiteY6050" fmla="*/ 253165 h 2455817"/>
                <a:gd name="connsiteX6051" fmla="*/ 2868617 w 4919004"/>
                <a:gd name="connsiteY6051" fmla="*/ 248231 h 2455817"/>
                <a:gd name="connsiteX6052" fmla="*/ 2845723 w 4919004"/>
                <a:gd name="connsiteY6052" fmla="*/ 236932 h 2455817"/>
                <a:gd name="connsiteX6053" fmla="*/ 2843651 w 4919004"/>
                <a:gd name="connsiteY6053" fmla="*/ 230469 h 2455817"/>
                <a:gd name="connsiteX6054" fmla="*/ 2845723 w 4919004"/>
                <a:gd name="connsiteY6054" fmla="*/ 227262 h 2455817"/>
                <a:gd name="connsiteX6055" fmla="*/ 2851989 w 4919004"/>
                <a:gd name="connsiteY6055" fmla="*/ 227262 h 2455817"/>
                <a:gd name="connsiteX6056" fmla="*/ 2854062 w 4919004"/>
                <a:gd name="connsiteY6056" fmla="*/ 228890 h 2455817"/>
                <a:gd name="connsiteX6057" fmla="*/ 2858206 w 4919004"/>
                <a:gd name="connsiteY6057" fmla="*/ 225633 h 2455817"/>
                <a:gd name="connsiteX6058" fmla="*/ 2856134 w 4919004"/>
                <a:gd name="connsiteY6058" fmla="*/ 222426 h 2455817"/>
                <a:gd name="connsiteX6059" fmla="*/ 2849868 w 4919004"/>
                <a:gd name="connsiteY6059" fmla="*/ 220798 h 2455817"/>
                <a:gd name="connsiteX6060" fmla="*/ 2847845 w 4919004"/>
                <a:gd name="connsiteY6060" fmla="*/ 222426 h 2455817"/>
                <a:gd name="connsiteX6061" fmla="*/ 2843651 w 4919004"/>
                <a:gd name="connsiteY6061" fmla="*/ 220798 h 2455817"/>
                <a:gd name="connsiteX6062" fmla="*/ 2845723 w 4919004"/>
                <a:gd name="connsiteY6062" fmla="*/ 217591 h 2455817"/>
                <a:gd name="connsiteX6063" fmla="*/ 2843651 w 4919004"/>
                <a:gd name="connsiteY6063" fmla="*/ 214384 h 2455817"/>
                <a:gd name="connsiteX6064" fmla="*/ 2835312 w 4919004"/>
                <a:gd name="connsiteY6064" fmla="*/ 211127 h 2455817"/>
                <a:gd name="connsiteX6065" fmla="*/ 2831168 w 4919004"/>
                <a:gd name="connsiteY6065" fmla="*/ 207920 h 2455817"/>
                <a:gd name="connsiteX6066" fmla="*/ 2831168 w 4919004"/>
                <a:gd name="connsiteY6066" fmla="*/ 204713 h 2455817"/>
                <a:gd name="connsiteX6067" fmla="*/ 2827023 w 4919004"/>
                <a:gd name="connsiteY6067" fmla="*/ 198250 h 2455817"/>
                <a:gd name="connsiteX6068" fmla="*/ 2822879 w 4919004"/>
                <a:gd name="connsiteY6068" fmla="*/ 198250 h 2455817"/>
                <a:gd name="connsiteX6069" fmla="*/ 2820757 w 4919004"/>
                <a:gd name="connsiteY6069" fmla="*/ 191786 h 2455817"/>
                <a:gd name="connsiteX6070" fmla="*/ 2824951 w 4919004"/>
                <a:gd name="connsiteY6070" fmla="*/ 190158 h 2455817"/>
                <a:gd name="connsiteX6071" fmla="*/ 2829096 w 4919004"/>
                <a:gd name="connsiteY6071" fmla="*/ 188579 h 2455817"/>
                <a:gd name="connsiteX6072" fmla="*/ 2822879 w 4919004"/>
                <a:gd name="connsiteY6072" fmla="*/ 185322 h 2455817"/>
                <a:gd name="connsiteX6073" fmla="*/ 2818734 w 4919004"/>
                <a:gd name="connsiteY6073" fmla="*/ 185322 h 2455817"/>
                <a:gd name="connsiteX6074" fmla="*/ 2810396 w 4919004"/>
                <a:gd name="connsiteY6074" fmla="*/ 174073 h 2455817"/>
                <a:gd name="connsiteX6075" fmla="*/ 2810396 w 4919004"/>
                <a:gd name="connsiteY6075" fmla="*/ 171112 h 2455817"/>
                <a:gd name="connsiteX6076" fmla="*/ 2818734 w 4919004"/>
                <a:gd name="connsiteY6076" fmla="*/ 164698 h 2455817"/>
                <a:gd name="connsiteX6077" fmla="*/ 2820757 w 4919004"/>
                <a:gd name="connsiteY6077" fmla="*/ 158235 h 2455817"/>
                <a:gd name="connsiteX6078" fmla="*/ 2820757 w 4919004"/>
                <a:gd name="connsiteY6078" fmla="*/ 148367 h 2455817"/>
                <a:gd name="connsiteX6079" fmla="*/ 2822879 w 4919004"/>
                <a:gd name="connsiteY6079" fmla="*/ 146738 h 2455817"/>
                <a:gd name="connsiteX6080" fmla="*/ 2822879 w 4919004"/>
                <a:gd name="connsiteY6080" fmla="*/ 138696 h 2455817"/>
                <a:gd name="connsiteX6081" fmla="*/ 2829096 w 4919004"/>
                <a:gd name="connsiteY6081" fmla="*/ 133762 h 2455817"/>
                <a:gd name="connsiteX6082" fmla="*/ 2835312 w 4919004"/>
                <a:gd name="connsiteY6082" fmla="*/ 130505 h 2455817"/>
                <a:gd name="connsiteX6083" fmla="*/ 2839506 w 4919004"/>
                <a:gd name="connsiteY6083" fmla="*/ 136969 h 2455817"/>
                <a:gd name="connsiteX6084" fmla="*/ 2843651 w 4919004"/>
                <a:gd name="connsiteY6084" fmla="*/ 138597 h 2455817"/>
                <a:gd name="connsiteX6085" fmla="*/ 2854062 w 4919004"/>
                <a:gd name="connsiteY6085" fmla="*/ 140176 h 2455817"/>
                <a:gd name="connsiteX6086" fmla="*/ 2862400 w 4919004"/>
                <a:gd name="connsiteY6086" fmla="*/ 145110 h 2455817"/>
                <a:gd name="connsiteX6087" fmla="*/ 2868617 w 4919004"/>
                <a:gd name="connsiteY6087" fmla="*/ 146738 h 2455817"/>
                <a:gd name="connsiteX6088" fmla="*/ 2870689 w 4919004"/>
                <a:gd name="connsiteY6088" fmla="*/ 151672 h 2455817"/>
                <a:gd name="connsiteX6089" fmla="*/ 2870689 w 4919004"/>
                <a:gd name="connsiteY6089" fmla="*/ 157198 h 2455817"/>
                <a:gd name="connsiteX6090" fmla="*/ 2878979 w 4919004"/>
                <a:gd name="connsiteY6090" fmla="*/ 158827 h 2455817"/>
                <a:gd name="connsiteX6091" fmla="*/ 2881100 w 4919004"/>
                <a:gd name="connsiteY6091" fmla="*/ 160406 h 2455817"/>
                <a:gd name="connsiteX6092" fmla="*/ 2885244 w 4919004"/>
                <a:gd name="connsiteY6092" fmla="*/ 158827 h 2455817"/>
                <a:gd name="connsiteX6093" fmla="*/ 2891511 w 4919004"/>
                <a:gd name="connsiteY6093" fmla="*/ 157198 h 2455817"/>
                <a:gd name="connsiteX6094" fmla="*/ 2897728 w 4919004"/>
                <a:gd name="connsiteY6094" fmla="*/ 160406 h 2455817"/>
                <a:gd name="connsiteX6095" fmla="*/ 2901873 w 4919004"/>
                <a:gd name="connsiteY6095" fmla="*/ 168497 h 2455817"/>
                <a:gd name="connsiteX6096" fmla="*/ 2908089 w 4919004"/>
                <a:gd name="connsiteY6096" fmla="*/ 176540 h 2455817"/>
                <a:gd name="connsiteX6097" fmla="*/ 2916428 w 4919004"/>
                <a:gd name="connsiteY6097" fmla="*/ 174912 h 2455817"/>
                <a:gd name="connsiteX6098" fmla="*/ 2920622 w 4919004"/>
                <a:gd name="connsiteY6098" fmla="*/ 173333 h 2455817"/>
                <a:gd name="connsiteX6099" fmla="*/ 2918500 w 4919004"/>
                <a:gd name="connsiteY6099" fmla="*/ 168399 h 2455817"/>
                <a:gd name="connsiteX6100" fmla="*/ 2908089 w 4919004"/>
                <a:gd name="connsiteY6100" fmla="*/ 158531 h 2455817"/>
                <a:gd name="connsiteX6101" fmla="*/ 2903945 w 4919004"/>
                <a:gd name="connsiteY6101" fmla="*/ 150439 h 2455817"/>
                <a:gd name="connsiteX6102" fmla="*/ 2899800 w 4919004"/>
                <a:gd name="connsiteY6102" fmla="*/ 143975 h 2455817"/>
                <a:gd name="connsiteX6103" fmla="*/ 2899800 w 4919004"/>
                <a:gd name="connsiteY6103" fmla="*/ 135933 h 2455817"/>
                <a:gd name="connsiteX6104" fmla="*/ 2901873 w 4919004"/>
                <a:gd name="connsiteY6104" fmla="*/ 130999 h 2455817"/>
                <a:gd name="connsiteX6105" fmla="*/ 2908089 w 4919004"/>
                <a:gd name="connsiteY6105" fmla="*/ 130999 h 2455817"/>
                <a:gd name="connsiteX6106" fmla="*/ 2910211 w 4919004"/>
                <a:gd name="connsiteY6106" fmla="*/ 132627 h 2455817"/>
                <a:gd name="connsiteX6107" fmla="*/ 2920622 w 4919004"/>
                <a:gd name="connsiteY6107" fmla="*/ 132627 h 2455817"/>
                <a:gd name="connsiteX6108" fmla="*/ 2916428 w 4919004"/>
                <a:gd name="connsiteY6108" fmla="*/ 129370 h 2455817"/>
                <a:gd name="connsiteX6109" fmla="*/ 2910211 w 4919004"/>
                <a:gd name="connsiteY6109" fmla="*/ 127792 h 2455817"/>
                <a:gd name="connsiteX6110" fmla="*/ 2899800 w 4919004"/>
                <a:gd name="connsiteY6110" fmla="*/ 119700 h 2455817"/>
                <a:gd name="connsiteX6111" fmla="*/ 1554535 w 4919004"/>
                <a:gd name="connsiteY6111" fmla="*/ 91132 h 2455817"/>
                <a:gd name="connsiteX6112" fmla="*/ 1567019 w 4919004"/>
                <a:gd name="connsiteY6112" fmla="*/ 92760 h 2455817"/>
                <a:gd name="connsiteX6113" fmla="*/ 1577429 w 4919004"/>
                <a:gd name="connsiteY6113" fmla="*/ 99224 h 2455817"/>
                <a:gd name="connsiteX6114" fmla="*/ 1589863 w 4919004"/>
                <a:gd name="connsiteY6114" fmla="*/ 112101 h 2455817"/>
                <a:gd name="connsiteX6115" fmla="*/ 1591985 w 4919004"/>
                <a:gd name="connsiteY6115" fmla="*/ 118565 h 2455817"/>
                <a:gd name="connsiteX6116" fmla="*/ 1587840 w 4919004"/>
                <a:gd name="connsiteY6116" fmla="*/ 128433 h 2455817"/>
                <a:gd name="connsiteX6117" fmla="*/ 1591985 w 4919004"/>
                <a:gd name="connsiteY6117" fmla="*/ 131640 h 2455817"/>
                <a:gd name="connsiteX6118" fmla="*/ 1589863 w 4919004"/>
                <a:gd name="connsiteY6118" fmla="*/ 136574 h 2455817"/>
                <a:gd name="connsiteX6119" fmla="*/ 1585719 w 4919004"/>
                <a:gd name="connsiteY6119" fmla="*/ 143038 h 2455817"/>
                <a:gd name="connsiteX6120" fmla="*/ 1587840 w 4919004"/>
                <a:gd name="connsiteY6120" fmla="*/ 146245 h 2455817"/>
                <a:gd name="connsiteX6121" fmla="*/ 1589863 w 4919004"/>
                <a:gd name="connsiteY6121" fmla="*/ 144617 h 2455817"/>
                <a:gd name="connsiteX6122" fmla="*/ 1596130 w 4919004"/>
                <a:gd name="connsiteY6122" fmla="*/ 136574 h 2455817"/>
                <a:gd name="connsiteX6123" fmla="*/ 1596130 w 4919004"/>
                <a:gd name="connsiteY6123" fmla="*/ 124288 h 2455817"/>
                <a:gd name="connsiteX6124" fmla="*/ 1600274 w 4919004"/>
                <a:gd name="connsiteY6124" fmla="*/ 119354 h 2455817"/>
                <a:gd name="connsiteX6125" fmla="*/ 1598202 w 4919004"/>
                <a:gd name="connsiteY6125" fmla="*/ 114420 h 2455817"/>
                <a:gd name="connsiteX6126" fmla="*/ 1589863 w 4919004"/>
                <a:gd name="connsiteY6126" fmla="*/ 106329 h 2455817"/>
                <a:gd name="connsiteX6127" fmla="*/ 1587840 w 4919004"/>
                <a:gd name="connsiteY6127" fmla="*/ 101394 h 2455817"/>
                <a:gd name="connsiteX6128" fmla="*/ 1589863 w 4919004"/>
                <a:gd name="connsiteY6128" fmla="*/ 96460 h 2455817"/>
                <a:gd name="connsiteX6129" fmla="*/ 1602395 w 4919004"/>
                <a:gd name="connsiteY6129" fmla="*/ 94882 h 2455817"/>
                <a:gd name="connsiteX6130" fmla="*/ 1614829 w 4919004"/>
                <a:gd name="connsiteY6130" fmla="*/ 96460 h 2455817"/>
                <a:gd name="connsiteX6131" fmla="*/ 1637723 w 4919004"/>
                <a:gd name="connsiteY6131" fmla="*/ 112595 h 2455817"/>
                <a:gd name="connsiteX6132" fmla="*/ 1641868 w 4919004"/>
                <a:gd name="connsiteY6132" fmla="*/ 114223 h 2455817"/>
                <a:gd name="connsiteX6133" fmla="*/ 1646062 w 4919004"/>
                <a:gd name="connsiteY6133" fmla="*/ 115802 h 2455817"/>
                <a:gd name="connsiteX6134" fmla="*/ 1646062 w 4919004"/>
                <a:gd name="connsiteY6134" fmla="*/ 123894 h 2455817"/>
                <a:gd name="connsiteX6135" fmla="*/ 1652279 w 4919004"/>
                <a:gd name="connsiteY6135" fmla="*/ 127101 h 2455817"/>
                <a:gd name="connsiteX6136" fmla="*/ 1654351 w 4919004"/>
                <a:gd name="connsiteY6136" fmla="*/ 135143 h 2455817"/>
                <a:gd name="connsiteX6137" fmla="*/ 1654351 w 4919004"/>
                <a:gd name="connsiteY6137" fmla="*/ 143235 h 2455817"/>
                <a:gd name="connsiteX6138" fmla="*/ 1664762 w 4919004"/>
                <a:gd name="connsiteY6138" fmla="*/ 153103 h 2455817"/>
                <a:gd name="connsiteX6139" fmla="*/ 1673051 w 4919004"/>
                <a:gd name="connsiteY6139" fmla="*/ 161146 h 2455817"/>
                <a:gd name="connsiteX6140" fmla="*/ 1670979 w 4919004"/>
                <a:gd name="connsiteY6140" fmla="*/ 166080 h 2455817"/>
                <a:gd name="connsiteX6141" fmla="*/ 1664762 w 4919004"/>
                <a:gd name="connsiteY6141" fmla="*/ 166080 h 2455817"/>
                <a:gd name="connsiteX6142" fmla="*/ 1660617 w 4919004"/>
                <a:gd name="connsiteY6142" fmla="*/ 162873 h 2455817"/>
                <a:gd name="connsiteX6143" fmla="*/ 1656423 w 4919004"/>
                <a:gd name="connsiteY6143" fmla="*/ 162873 h 2455817"/>
                <a:gd name="connsiteX6144" fmla="*/ 1656423 w 4919004"/>
                <a:gd name="connsiteY6144" fmla="*/ 170915 h 2455817"/>
                <a:gd name="connsiteX6145" fmla="*/ 1664762 w 4919004"/>
                <a:gd name="connsiteY6145" fmla="*/ 175849 h 2455817"/>
                <a:gd name="connsiteX6146" fmla="*/ 1675172 w 4919004"/>
                <a:gd name="connsiteY6146" fmla="*/ 177477 h 2455817"/>
                <a:gd name="connsiteX6147" fmla="*/ 1683462 w 4919004"/>
                <a:gd name="connsiteY6147" fmla="*/ 185520 h 2455817"/>
                <a:gd name="connsiteX6148" fmla="*/ 1687606 w 4919004"/>
                <a:gd name="connsiteY6148" fmla="*/ 185520 h 2455817"/>
                <a:gd name="connsiteX6149" fmla="*/ 1697968 w 4919004"/>
                <a:gd name="connsiteY6149" fmla="*/ 195141 h 2455817"/>
                <a:gd name="connsiteX6150" fmla="*/ 1697968 w 4919004"/>
                <a:gd name="connsiteY6150" fmla="*/ 200075 h 2455817"/>
                <a:gd name="connsiteX6151" fmla="*/ 1689679 w 4919004"/>
                <a:gd name="connsiteY6151" fmla="*/ 209943 h 2455817"/>
                <a:gd name="connsiteX6152" fmla="*/ 1679268 w 4919004"/>
                <a:gd name="connsiteY6152" fmla="*/ 211522 h 2455817"/>
                <a:gd name="connsiteX6153" fmla="*/ 1668857 w 4919004"/>
                <a:gd name="connsiteY6153" fmla="*/ 219614 h 2455817"/>
                <a:gd name="connsiteX6154" fmla="*/ 1662591 w 4919004"/>
                <a:gd name="connsiteY6154" fmla="*/ 224548 h 2455817"/>
                <a:gd name="connsiteX6155" fmla="*/ 1656374 w 4919004"/>
                <a:gd name="connsiteY6155" fmla="*/ 224548 h 2455817"/>
                <a:gd name="connsiteX6156" fmla="*/ 1650157 w 4919004"/>
                <a:gd name="connsiteY6156" fmla="*/ 219614 h 2455817"/>
                <a:gd name="connsiteX6157" fmla="*/ 1643891 w 4919004"/>
                <a:gd name="connsiteY6157" fmla="*/ 216358 h 2455817"/>
                <a:gd name="connsiteX6158" fmla="*/ 1637674 w 4919004"/>
                <a:gd name="connsiteY6158" fmla="*/ 216358 h 2455817"/>
                <a:gd name="connsiteX6159" fmla="*/ 1631457 w 4919004"/>
                <a:gd name="connsiteY6159" fmla="*/ 214779 h 2455817"/>
                <a:gd name="connsiteX6160" fmla="*/ 1625191 w 4919004"/>
                <a:gd name="connsiteY6160" fmla="*/ 216358 h 2455817"/>
                <a:gd name="connsiteX6161" fmla="*/ 1608563 w 4919004"/>
                <a:gd name="connsiteY6161" fmla="*/ 214779 h 2455817"/>
                <a:gd name="connsiteX6162" fmla="*/ 1598152 w 4919004"/>
                <a:gd name="connsiteY6162" fmla="*/ 211522 h 2455817"/>
                <a:gd name="connsiteX6163" fmla="*/ 1594008 w 4919004"/>
                <a:gd name="connsiteY6163" fmla="*/ 208315 h 2455817"/>
                <a:gd name="connsiteX6164" fmla="*/ 1583597 w 4919004"/>
                <a:gd name="connsiteY6164" fmla="*/ 211522 h 2455817"/>
                <a:gd name="connsiteX6165" fmla="*/ 1575258 w 4919004"/>
                <a:gd name="connsiteY6165" fmla="*/ 214779 h 2455817"/>
                <a:gd name="connsiteX6166" fmla="*/ 1569042 w 4919004"/>
                <a:gd name="connsiteY6166" fmla="*/ 213150 h 2455817"/>
                <a:gd name="connsiteX6167" fmla="*/ 1560703 w 4919004"/>
                <a:gd name="connsiteY6167" fmla="*/ 208216 h 2455817"/>
                <a:gd name="connsiteX6168" fmla="*/ 1552414 w 4919004"/>
                <a:gd name="connsiteY6168" fmla="*/ 208216 h 2455817"/>
                <a:gd name="connsiteX6169" fmla="*/ 1548269 w 4919004"/>
                <a:gd name="connsiteY6169" fmla="*/ 203282 h 2455817"/>
                <a:gd name="connsiteX6170" fmla="*/ 1544125 w 4919004"/>
                <a:gd name="connsiteY6170" fmla="*/ 191983 h 2455817"/>
                <a:gd name="connsiteX6171" fmla="*/ 1537858 w 4919004"/>
                <a:gd name="connsiteY6171" fmla="*/ 185520 h 2455817"/>
                <a:gd name="connsiteX6172" fmla="*/ 1533615 w 4919004"/>
                <a:gd name="connsiteY6172" fmla="*/ 185520 h 2455817"/>
                <a:gd name="connsiteX6173" fmla="*/ 1527349 w 4919004"/>
                <a:gd name="connsiteY6173" fmla="*/ 187148 h 2455817"/>
                <a:gd name="connsiteX6174" fmla="*/ 1521280 w 4919004"/>
                <a:gd name="connsiteY6174" fmla="*/ 183941 h 2455817"/>
                <a:gd name="connsiteX6175" fmla="*/ 1515063 w 4919004"/>
                <a:gd name="connsiteY6175" fmla="*/ 180684 h 2455817"/>
                <a:gd name="connsiteX6176" fmla="*/ 1512942 w 4919004"/>
                <a:gd name="connsiteY6176" fmla="*/ 183941 h 2455817"/>
                <a:gd name="connsiteX6177" fmla="*/ 1515063 w 4919004"/>
                <a:gd name="connsiteY6177" fmla="*/ 188875 h 2455817"/>
                <a:gd name="connsiteX6178" fmla="*/ 1510869 w 4919004"/>
                <a:gd name="connsiteY6178" fmla="*/ 190454 h 2455817"/>
                <a:gd name="connsiteX6179" fmla="*/ 1508797 w 4919004"/>
                <a:gd name="connsiteY6179" fmla="*/ 187247 h 2455817"/>
                <a:gd name="connsiteX6180" fmla="*/ 1500508 w 4919004"/>
                <a:gd name="connsiteY6180" fmla="*/ 184040 h 2455817"/>
                <a:gd name="connsiteX6181" fmla="*/ 1502531 w 4919004"/>
                <a:gd name="connsiteY6181" fmla="*/ 180783 h 2455817"/>
                <a:gd name="connsiteX6182" fmla="*/ 1510869 w 4919004"/>
                <a:gd name="connsiteY6182" fmla="*/ 175849 h 2455817"/>
                <a:gd name="connsiteX6183" fmla="*/ 1510869 w 4919004"/>
                <a:gd name="connsiteY6183" fmla="*/ 172642 h 2455817"/>
                <a:gd name="connsiteX6184" fmla="*/ 1508797 w 4919004"/>
                <a:gd name="connsiteY6184" fmla="*/ 162774 h 2455817"/>
                <a:gd name="connsiteX6185" fmla="*/ 1510869 w 4919004"/>
                <a:gd name="connsiteY6185" fmla="*/ 156310 h 2455817"/>
                <a:gd name="connsiteX6186" fmla="*/ 1519208 w 4919004"/>
                <a:gd name="connsiteY6186" fmla="*/ 149896 h 2455817"/>
                <a:gd name="connsiteX6187" fmla="*/ 1517086 w 4919004"/>
                <a:gd name="connsiteY6187" fmla="*/ 146640 h 2455817"/>
                <a:gd name="connsiteX6188" fmla="*/ 1510869 w 4919004"/>
                <a:gd name="connsiteY6188" fmla="*/ 146640 h 2455817"/>
                <a:gd name="connsiteX6189" fmla="*/ 1504652 w 4919004"/>
                <a:gd name="connsiteY6189" fmla="*/ 141706 h 2455817"/>
                <a:gd name="connsiteX6190" fmla="*/ 1504652 w 4919004"/>
                <a:gd name="connsiteY6190" fmla="*/ 136772 h 2455817"/>
                <a:gd name="connsiteX6191" fmla="*/ 1506725 w 4919004"/>
                <a:gd name="connsiteY6191" fmla="*/ 126903 h 2455817"/>
                <a:gd name="connsiteX6192" fmla="*/ 1512942 w 4919004"/>
                <a:gd name="connsiteY6192" fmla="*/ 121969 h 2455817"/>
                <a:gd name="connsiteX6193" fmla="*/ 1523353 w 4919004"/>
                <a:gd name="connsiteY6193" fmla="*/ 120341 h 2455817"/>
                <a:gd name="connsiteX6194" fmla="*/ 1523353 w 4919004"/>
                <a:gd name="connsiteY6194" fmla="*/ 115407 h 2455817"/>
                <a:gd name="connsiteX6195" fmla="*/ 1527497 w 4919004"/>
                <a:gd name="connsiteY6195" fmla="*/ 110473 h 2455817"/>
                <a:gd name="connsiteX6196" fmla="*/ 1535835 w 4919004"/>
                <a:gd name="connsiteY6196" fmla="*/ 107266 h 2455817"/>
                <a:gd name="connsiteX6197" fmla="*/ 1548319 w 4919004"/>
                <a:gd name="connsiteY6197" fmla="*/ 100802 h 2455817"/>
                <a:gd name="connsiteX6198" fmla="*/ 1550391 w 4919004"/>
                <a:gd name="connsiteY6198" fmla="*/ 92760 h 2455817"/>
                <a:gd name="connsiteX6199" fmla="*/ 1336155 w 4919004"/>
                <a:gd name="connsiteY6199" fmla="*/ 33798 h 2455817"/>
                <a:gd name="connsiteX6200" fmla="*/ 1346566 w 4919004"/>
                <a:gd name="connsiteY6200" fmla="*/ 33798 h 2455817"/>
                <a:gd name="connsiteX6201" fmla="*/ 1354855 w 4919004"/>
                <a:gd name="connsiteY6201" fmla="*/ 35377 h 2455817"/>
                <a:gd name="connsiteX6202" fmla="*/ 1352832 w 4919004"/>
                <a:gd name="connsiteY6202" fmla="*/ 38634 h 2455817"/>
                <a:gd name="connsiteX6203" fmla="*/ 1350711 w 4919004"/>
                <a:gd name="connsiteY6203" fmla="*/ 43568 h 2455817"/>
                <a:gd name="connsiteX6204" fmla="*/ 1344494 w 4919004"/>
                <a:gd name="connsiteY6204" fmla="*/ 48502 h 2455817"/>
                <a:gd name="connsiteX6205" fmla="*/ 1336155 w 4919004"/>
                <a:gd name="connsiteY6205" fmla="*/ 50081 h 2455817"/>
                <a:gd name="connsiteX6206" fmla="*/ 1329938 w 4919004"/>
                <a:gd name="connsiteY6206" fmla="*/ 48502 h 2455817"/>
                <a:gd name="connsiteX6207" fmla="*/ 1325744 w 4919004"/>
                <a:gd name="connsiteY6207" fmla="*/ 45147 h 2455817"/>
                <a:gd name="connsiteX6208" fmla="*/ 1332011 w 4919004"/>
                <a:gd name="connsiteY6208" fmla="*/ 40212 h 2455817"/>
                <a:gd name="connsiteX6209" fmla="*/ 1427139 w 4919004"/>
                <a:gd name="connsiteY6209" fmla="*/ 0 h 2455817"/>
                <a:gd name="connsiteX6210" fmla="*/ 1433356 w 4919004"/>
                <a:gd name="connsiteY6210" fmla="*/ 0 h 2455817"/>
                <a:gd name="connsiteX6211" fmla="*/ 1445839 w 4919004"/>
                <a:gd name="connsiteY6211" fmla="*/ 6464 h 2455817"/>
                <a:gd name="connsiteX6212" fmla="*/ 1456249 w 4919004"/>
                <a:gd name="connsiteY6212" fmla="*/ 12927 h 2455817"/>
                <a:gd name="connsiteX6213" fmla="*/ 1471051 w 4919004"/>
                <a:gd name="connsiteY6213" fmla="*/ 27433 h 2455817"/>
                <a:gd name="connsiteX6214" fmla="*/ 1479341 w 4919004"/>
                <a:gd name="connsiteY6214" fmla="*/ 33897 h 2455817"/>
                <a:gd name="connsiteX6215" fmla="*/ 1494143 w 4919004"/>
                <a:gd name="connsiteY6215" fmla="*/ 37104 h 2455817"/>
                <a:gd name="connsiteX6216" fmla="*/ 1511067 w 4919004"/>
                <a:gd name="connsiteY6216" fmla="*/ 37104 h 2455817"/>
                <a:gd name="connsiteX6217" fmla="*/ 1515261 w 4919004"/>
                <a:gd name="connsiteY6217" fmla="*/ 38732 h 2455817"/>
                <a:gd name="connsiteX6218" fmla="*/ 1515261 w 4919004"/>
                <a:gd name="connsiteY6218" fmla="*/ 43666 h 2455817"/>
                <a:gd name="connsiteX6219" fmla="*/ 1511067 w 4919004"/>
                <a:gd name="connsiteY6219" fmla="*/ 50081 h 2455817"/>
                <a:gd name="connsiteX6220" fmla="*/ 1511067 w 4919004"/>
                <a:gd name="connsiteY6220" fmla="*/ 57975 h 2455817"/>
                <a:gd name="connsiteX6221" fmla="*/ 1517283 w 4919004"/>
                <a:gd name="connsiteY6221" fmla="*/ 67843 h 2455817"/>
                <a:gd name="connsiteX6222" fmla="*/ 1527695 w 4919004"/>
                <a:gd name="connsiteY6222" fmla="*/ 75886 h 2455817"/>
                <a:gd name="connsiteX6223" fmla="*/ 1540177 w 4919004"/>
                <a:gd name="connsiteY6223" fmla="*/ 82349 h 2455817"/>
                <a:gd name="connsiteX6224" fmla="*/ 1540177 w 4919004"/>
                <a:gd name="connsiteY6224" fmla="*/ 88862 h 2455817"/>
                <a:gd name="connsiteX6225" fmla="*/ 1538105 w 4919004"/>
                <a:gd name="connsiteY6225" fmla="*/ 93796 h 2455817"/>
                <a:gd name="connsiteX6226" fmla="*/ 1527695 w 4919004"/>
                <a:gd name="connsiteY6226" fmla="*/ 98730 h 2455817"/>
                <a:gd name="connsiteX6227" fmla="*/ 1512893 w 4919004"/>
                <a:gd name="connsiteY6227" fmla="*/ 106773 h 2455817"/>
                <a:gd name="connsiteX6228" fmla="*/ 1504603 w 4919004"/>
                <a:gd name="connsiteY6228" fmla="*/ 114864 h 2455817"/>
                <a:gd name="connsiteX6229" fmla="*/ 1504603 w 4919004"/>
                <a:gd name="connsiteY6229" fmla="*/ 120835 h 2455817"/>
                <a:gd name="connsiteX6230" fmla="*/ 1498337 w 4919004"/>
                <a:gd name="connsiteY6230" fmla="*/ 127298 h 2455817"/>
                <a:gd name="connsiteX6231" fmla="*/ 1485903 w 4919004"/>
                <a:gd name="connsiteY6231" fmla="*/ 132232 h 2455817"/>
                <a:gd name="connsiteX6232" fmla="*/ 1477811 w 4919004"/>
                <a:gd name="connsiteY6232" fmla="*/ 134403 h 2455817"/>
                <a:gd name="connsiteX6233" fmla="*/ 1469522 w 4919004"/>
                <a:gd name="connsiteY6233" fmla="*/ 132775 h 2455817"/>
                <a:gd name="connsiteX6234" fmla="*/ 1461183 w 4919004"/>
                <a:gd name="connsiteY6234" fmla="*/ 127841 h 2455817"/>
                <a:gd name="connsiteX6235" fmla="*/ 1454967 w 4919004"/>
                <a:gd name="connsiteY6235" fmla="*/ 127841 h 2455817"/>
                <a:gd name="connsiteX6236" fmla="*/ 1450773 w 4919004"/>
                <a:gd name="connsiteY6236" fmla="*/ 131048 h 2455817"/>
                <a:gd name="connsiteX6237" fmla="*/ 1444506 w 4919004"/>
                <a:gd name="connsiteY6237" fmla="*/ 131048 h 2455817"/>
                <a:gd name="connsiteX6238" fmla="*/ 1434145 w 4919004"/>
                <a:gd name="connsiteY6238" fmla="*/ 123006 h 2455817"/>
                <a:gd name="connsiteX6239" fmla="*/ 1432073 w 4919004"/>
                <a:gd name="connsiteY6239" fmla="*/ 118072 h 2455817"/>
                <a:gd name="connsiteX6240" fmla="*/ 1430000 w 4919004"/>
                <a:gd name="connsiteY6240" fmla="*/ 114864 h 2455817"/>
                <a:gd name="connsiteX6241" fmla="*/ 1419343 w 4919004"/>
                <a:gd name="connsiteY6241" fmla="*/ 118170 h 2455817"/>
                <a:gd name="connsiteX6242" fmla="*/ 1415198 w 4919004"/>
                <a:gd name="connsiteY6242" fmla="*/ 124634 h 2455817"/>
                <a:gd name="connsiteX6243" fmla="*/ 1411054 w 4919004"/>
                <a:gd name="connsiteY6243" fmla="*/ 126213 h 2455817"/>
                <a:gd name="connsiteX6244" fmla="*/ 1408932 w 4919004"/>
                <a:gd name="connsiteY6244" fmla="*/ 121279 h 2455817"/>
                <a:gd name="connsiteX6245" fmla="*/ 1411054 w 4919004"/>
                <a:gd name="connsiteY6245" fmla="*/ 116345 h 2455817"/>
                <a:gd name="connsiteX6246" fmla="*/ 1415198 w 4919004"/>
                <a:gd name="connsiteY6246" fmla="*/ 109930 h 2455817"/>
                <a:gd name="connsiteX6247" fmla="*/ 1416728 w 4919004"/>
                <a:gd name="connsiteY6247" fmla="*/ 92119 h 2455817"/>
                <a:gd name="connsiteX6248" fmla="*/ 1416728 w 4919004"/>
                <a:gd name="connsiteY6248" fmla="*/ 85655 h 2455817"/>
                <a:gd name="connsiteX6249" fmla="*/ 1410511 w 4919004"/>
                <a:gd name="connsiteY6249" fmla="*/ 82448 h 2455817"/>
                <a:gd name="connsiteX6250" fmla="*/ 1406317 w 4919004"/>
                <a:gd name="connsiteY6250" fmla="*/ 77514 h 2455817"/>
                <a:gd name="connsiteX6251" fmla="*/ 1404245 w 4919004"/>
                <a:gd name="connsiteY6251" fmla="*/ 51709 h 2455817"/>
                <a:gd name="connsiteX6252" fmla="*/ 1404245 w 4919004"/>
                <a:gd name="connsiteY6252" fmla="*/ 45295 h 2455817"/>
                <a:gd name="connsiteX6253" fmla="*/ 1412583 w 4919004"/>
                <a:gd name="connsiteY6253" fmla="*/ 37252 h 2455817"/>
                <a:gd name="connsiteX6254" fmla="*/ 1418800 w 4919004"/>
                <a:gd name="connsiteY6254" fmla="*/ 29210 h 2455817"/>
                <a:gd name="connsiteX6255" fmla="*/ 1425066 w 4919004"/>
                <a:gd name="connsiteY6255" fmla="*/ 21118 h 2455817"/>
                <a:gd name="connsiteX6256" fmla="*/ 1425066 w 4919004"/>
                <a:gd name="connsiteY6256" fmla="*/ 13125 h 2455817"/>
                <a:gd name="connsiteX6257" fmla="*/ 1422945 w 4919004"/>
                <a:gd name="connsiteY6257" fmla="*/ 8191 h 2455817"/>
                <a:gd name="connsiteX6258" fmla="*/ 1425066 w 4919004"/>
                <a:gd name="connsiteY6258" fmla="*/ 3257 h 245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</a:cxnLst>
              <a:rect l="l" t="t" r="r" b="b"/>
              <a:pathLst>
                <a:path w="4919004" h="2455817">
                  <a:moveTo>
                    <a:pt x="1357075" y="2271827"/>
                  </a:moveTo>
                  <a:lnTo>
                    <a:pt x="1367486" y="2276761"/>
                  </a:lnTo>
                  <a:lnTo>
                    <a:pt x="1315482" y="2278291"/>
                  </a:lnTo>
                  <a:close/>
                  <a:moveTo>
                    <a:pt x="649189" y="2218836"/>
                  </a:moveTo>
                  <a:lnTo>
                    <a:pt x="649410" y="2218880"/>
                  </a:lnTo>
                  <a:lnTo>
                    <a:pt x="649189" y="2220464"/>
                  </a:lnTo>
                  <a:close/>
                  <a:moveTo>
                    <a:pt x="4394911" y="2139644"/>
                  </a:moveTo>
                  <a:lnTo>
                    <a:pt x="4394911" y="2144578"/>
                  </a:lnTo>
                  <a:lnTo>
                    <a:pt x="4386622" y="2147785"/>
                  </a:lnTo>
                  <a:lnTo>
                    <a:pt x="4384501" y="2146157"/>
                  </a:lnTo>
                  <a:lnTo>
                    <a:pt x="4390767" y="2141273"/>
                  </a:lnTo>
                  <a:close/>
                  <a:moveTo>
                    <a:pt x="4355242" y="2113987"/>
                  </a:moveTo>
                  <a:lnTo>
                    <a:pt x="4359386" y="2117195"/>
                  </a:lnTo>
                  <a:lnTo>
                    <a:pt x="4369798" y="2117195"/>
                  </a:lnTo>
                  <a:lnTo>
                    <a:pt x="4367725" y="2123658"/>
                  </a:lnTo>
                  <a:lnTo>
                    <a:pt x="4359386" y="2130122"/>
                  </a:lnTo>
                  <a:lnTo>
                    <a:pt x="4357364" y="2131701"/>
                  </a:lnTo>
                  <a:lnTo>
                    <a:pt x="4353169" y="2146207"/>
                  </a:lnTo>
                  <a:lnTo>
                    <a:pt x="4353169" y="2154298"/>
                  </a:lnTo>
                  <a:lnTo>
                    <a:pt x="4346952" y="2147835"/>
                  </a:lnTo>
                  <a:lnTo>
                    <a:pt x="4344831" y="2144628"/>
                  </a:lnTo>
                  <a:lnTo>
                    <a:pt x="4349025" y="2138164"/>
                  </a:lnTo>
                  <a:lnTo>
                    <a:pt x="4351097" y="2130122"/>
                  </a:lnTo>
                  <a:lnTo>
                    <a:pt x="4353169" y="2123658"/>
                  </a:lnTo>
                  <a:lnTo>
                    <a:pt x="4353169" y="2115566"/>
                  </a:lnTo>
                  <a:close/>
                  <a:moveTo>
                    <a:pt x="4382330" y="2113968"/>
                  </a:moveTo>
                  <a:lnTo>
                    <a:pt x="4382330" y="2113987"/>
                  </a:lnTo>
                  <a:lnTo>
                    <a:pt x="4382281" y="2113987"/>
                  </a:lnTo>
                  <a:close/>
                  <a:moveTo>
                    <a:pt x="4432163" y="2050733"/>
                  </a:moveTo>
                  <a:lnTo>
                    <a:pt x="4434285" y="2057197"/>
                  </a:lnTo>
                  <a:lnTo>
                    <a:pt x="4434285" y="2063611"/>
                  </a:lnTo>
                  <a:lnTo>
                    <a:pt x="4428019" y="2065288"/>
                  </a:lnTo>
                  <a:lnTo>
                    <a:pt x="4421803" y="2066867"/>
                  </a:lnTo>
                  <a:lnTo>
                    <a:pt x="4413463" y="2073331"/>
                  </a:lnTo>
                  <a:lnTo>
                    <a:pt x="4409319" y="2083199"/>
                  </a:lnTo>
                  <a:lnTo>
                    <a:pt x="4403053" y="2088133"/>
                  </a:lnTo>
                  <a:lnTo>
                    <a:pt x="4398908" y="2086554"/>
                  </a:lnTo>
                  <a:lnTo>
                    <a:pt x="4396836" y="2088133"/>
                  </a:lnTo>
                  <a:lnTo>
                    <a:pt x="4396836" y="2091389"/>
                  </a:lnTo>
                  <a:lnTo>
                    <a:pt x="4392691" y="2094597"/>
                  </a:lnTo>
                  <a:lnTo>
                    <a:pt x="4394763" y="2102688"/>
                  </a:lnTo>
                  <a:lnTo>
                    <a:pt x="4388498" y="2105896"/>
                  </a:lnTo>
                  <a:lnTo>
                    <a:pt x="4386474" y="2112359"/>
                  </a:lnTo>
                  <a:lnTo>
                    <a:pt x="4382330" y="2113968"/>
                  </a:lnTo>
                  <a:lnTo>
                    <a:pt x="4382330" y="2102688"/>
                  </a:lnTo>
                  <a:lnTo>
                    <a:pt x="4386523" y="2099481"/>
                  </a:lnTo>
                  <a:lnTo>
                    <a:pt x="4382330" y="2097853"/>
                  </a:lnTo>
                  <a:lnTo>
                    <a:pt x="4382330" y="2092919"/>
                  </a:lnTo>
                  <a:lnTo>
                    <a:pt x="4388547" y="2091291"/>
                  </a:lnTo>
                  <a:lnTo>
                    <a:pt x="4390668" y="2084827"/>
                  </a:lnTo>
                  <a:lnTo>
                    <a:pt x="4390668" y="2081620"/>
                  </a:lnTo>
                  <a:lnTo>
                    <a:pt x="4392740" y="2081620"/>
                  </a:lnTo>
                  <a:lnTo>
                    <a:pt x="4396885" y="2075156"/>
                  </a:lnTo>
                  <a:lnTo>
                    <a:pt x="4401079" y="2070222"/>
                  </a:lnTo>
                  <a:lnTo>
                    <a:pt x="4398957" y="2067015"/>
                  </a:lnTo>
                  <a:lnTo>
                    <a:pt x="4401079" y="2062081"/>
                  </a:lnTo>
                  <a:lnTo>
                    <a:pt x="4403102" y="2062081"/>
                  </a:lnTo>
                  <a:lnTo>
                    <a:pt x="4405224" y="2067015"/>
                  </a:lnTo>
                  <a:lnTo>
                    <a:pt x="4409319" y="2067015"/>
                  </a:lnTo>
                  <a:lnTo>
                    <a:pt x="4413463" y="2063759"/>
                  </a:lnTo>
                  <a:lnTo>
                    <a:pt x="4417608" y="2063759"/>
                  </a:lnTo>
                  <a:lnTo>
                    <a:pt x="4419729" y="2058825"/>
                  </a:lnTo>
                  <a:lnTo>
                    <a:pt x="4428019" y="2052361"/>
                  </a:lnTo>
                  <a:close/>
                  <a:moveTo>
                    <a:pt x="4482096" y="2009139"/>
                  </a:moveTo>
                  <a:lnTo>
                    <a:pt x="4473806" y="2017231"/>
                  </a:lnTo>
                  <a:lnTo>
                    <a:pt x="4471685" y="2023645"/>
                  </a:lnTo>
                  <a:lnTo>
                    <a:pt x="4471685" y="2030109"/>
                  </a:lnTo>
                  <a:lnTo>
                    <a:pt x="4467540" y="2033365"/>
                  </a:lnTo>
                  <a:lnTo>
                    <a:pt x="4461275" y="2039779"/>
                  </a:lnTo>
                  <a:lnTo>
                    <a:pt x="4455058" y="2047871"/>
                  </a:lnTo>
                  <a:lnTo>
                    <a:pt x="4450913" y="2046243"/>
                  </a:lnTo>
                  <a:lnTo>
                    <a:pt x="4452985" y="2036868"/>
                  </a:lnTo>
                  <a:lnTo>
                    <a:pt x="4459251" y="2031934"/>
                  </a:lnTo>
                  <a:lnTo>
                    <a:pt x="4459251" y="2028727"/>
                  </a:lnTo>
                  <a:lnTo>
                    <a:pt x="4461275" y="2025471"/>
                  </a:lnTo>
                  <a:lnTo>
                    <a:pt x="4463396" y="2020537"/>
                  </a:lnTo>
                  <a:lnTo>
                    <a:pt x="4467540" y="2017330"/>
                  </a:lnTo>
                  <a:lnTo>
                    <a:pt x="4471685" y="2012395"/>
                  </a:lnTo>
                  <a:lnTo>
                    <a:pt x="4477951" y="2010767"/>
                  </a:lnTo>
                  <a:close/>
                  <a:moveTo>
                    <a:pt x="4513279" y="1962216"/>
                  </a:moveTo>
                  <a:lnTo>
                    <a:pt x="4517473" y="1962216"/>
                  </a:lnTo>
                  <a:lnTo>
                    <a:pt x="4515352" y="1972084"/>
                  </a:lnTo>
                  <a:lnTo>
                    <a:pt x="4513279" y="1975292"/>
                  </a:lnTo>
                  <a:lnTo>
                    <a:pt x="4511207" y="1975193"/>
                  </a:lnTo>
                  <a:lnTo>
                    <a:pt x="4513279" y="1967150"/>
                  </a:lnTo>
                  <a:close/>
                  <a:moveTo>
                    <a:pt x="4519495" y="1947908"/>
                  </a:moveTo>
                  <a:lnTo>
                    <a:pt x="4523690" y="1949536"/>
                  </a:lnTo>
                  <a:lnTo>
                    <a:pt x="4523690" y="1952743"/>
                  </a:lnTo>
                  <a:lnTo>
                    <a:pt x="4519495" y="1951115"/>
                  </a:lnTo>
                  <a:lnTo>
                    <a:pt x="4519495" y="1949536"/>
                  </a:lnTo>
                  <a:close/>
                  <a:moveTo>
                    <a:pt x="4525762" y="1938188"/>
                  </a:moveTo>
                  <a:lnTo>
                    <a:pt x="4529907" y="1939915"/>
                  </a:lnTo>
                  <a:lnTo>
                    <a:pt x="4525762" y="1943122"/>
                  </a:lnTo>
                  <a:close/>
                  <a:moveTo>
                    <a:pt x="4527835" y="1926839"/>
                  </a:moveTo>
                  <a:lnTo>
                    <a:pt x="4529907" y="1930047"/>
                  </a:lnTo>
                  <a:lnTo>
                    <a:pt x="4527835" y="1934981"/>
                  </a:lnTo>
                  <a:lnTo>
                    <a:pt x="4525762" y="1928418"/>
                  </a:lnTo>
                  <a:close/>
                  <a:moveTo>
                    <a:pt x="4525762" y="1909225"/>
                  </a:moveTo>
                  <a:lnTo>
                    <a:pt x="4527835" y="1909225"/>
                  </a:lnTo>
                  <a:lnTo>
                    <a:pt x="4532028" y="1910804"/>
                  </a:lnTo>
                  <a:lnTo>
                    <a:pt x="4529907" y="1912432"/>
                  </a:lnTo>
                  <a:close/>
                  <a:moveTo>
                    <a:pt x="48872" y="1880413"/>
                  </a:moveTo>
                  <a:lnTo>
                    <a:pt x="59161" y="1893921"/>
                  </a:lnTo>
                  <a:lnTo>
                    <a:pt x="69450" y="1899772"/>
                  </a:lnTo>
                  <a:lnTo>
                    <a:pt x="83802" y="1895851"/>
                  </a:lnTo>
                  <a:lnTo>
                    <a:pt x="87866" y="1897780"/>
                  </a:lnTo>
                  <a:lnTo>
                    <a:pt x="89924" y="1905561"/>
                  </a:lnTo>
                  <a:lnTo>
                    <a:pt x="94091" y="1909421"/>
                  </a:lnTo>
                  <a:lnTo>
                    <a:pt x="98155" y="1913280"/>
                  </a:lnTo>
                  <a:lnTo>
                    <a:pt x="94091" y="1919131"/>
                  </a:lnTo>
                  <a:lnTo>
                    <a:pt x="94091" y="1930709"/>
                  </a:lnTo>
                  <a:lnTo>
                    <a:pt x="87587" y="1932323"/>
                  </a:lnTo>
                  <a:lnTo>
                    <a:pt x="55920" y="1936685"/>
                  </a:lnTo>
                  <a:lnTo>
                    <a:pt x="8437" y="1932639"/>
                  </a:lnTo>
                  <a:lnTo>
                    <a:pt x="6842" y="1933386"/>
                  </a:lnTo>
                  <a:cubicBezTo>
                    <a:pt x="7048" y="1931979"/>
                    <a:pt x="7563" y="1930653"/>
                    <a:pt x="8283" y="1929526"/>
                  </a:cubicBezTo>
                  <a:cubicBezTo>
                    <a:pt x="9724" y="1927410"/>
                    <a:pt x="11627" y="1927099"/>
                    <a:pt x="14456" y="1925294"/>
                  </a:cubicBezTo>
                  <a:cubicBezTo>
                    <a:pt x="17285" y="1923489"/>
                    <a:pt x="20989" y="1920252"/>
                    <a:pt x="20578" y="1919069"/>
                  </a:cubicBezTo>
                  <a:cubicBezTo>
                    <a:pt x="20166" y="1917886"/>
                    <a:pt x="16668" y="1920563"/>
                    <a:pt x="13118" y="1918509"/>
                  </a:cubicBezTo>
                  <a:cubicBezTo>
                    <a:pt x="13118" y="1918509"/>
                    <a:pt x="10032" y="1916704"/>
                    <a:pt x="8745" y="1917451"/>
                  </a:cubicBezTo>
                  <a:cubicBezTo>
                    <a:pt x="6019" y="1919131"/>
                    <a:pt x="1749" y="1926227"/>
                    <a:pt x="1286" y="1925916"/>
                  </a:cubicBezTo>
                  <a:cubicBezTo>
                    <a:pt x="2470" y="1922922"/>
                    <a:pt x="3241" y="1919698"/>
                    <a:pt x="3498" y="1916392"/>
                  </a:cubicBezTo>
                  <a:cubicBezTo>
                    <a:pt x="3550" y="1911724"/>
                    <a:pt x="1749" y="1906308"/>
                    <a:pt x="0" y="1906308"/>
                  </a:cubicBezTo>
                  <a:lnTo>
                    <a:pt x="7872" y="1905250"/>
                  </a:lnTo>
                  <a:cubicBezTo>
                    <a:pt x="11575" y="1904789"/>
                    <a:pt x="15228" y="1904080"/>
                    <a:pt x="18828" y="1903133"/>
                  </a:cubicBezTo>
                  <a:lnTo>
                    <a:pt x="24950" y="1903133"/>
                  </a:lnTo>
                  <a:cubicBezTo>
                    <a:pt x="27060" y="1904005"/>
                    <a:pt x="28088" y="1905810"/>
                    <a:pt x="30764" y="1905810"/>
                  </a:cubicBezTo>
                  <a:lnTo>
                    <a:pt x="31947" y="1905810"/>
                  </a:lnTo>
                  <a:cubicBezTo>
                    <a:pt x="34005" y="1905499"/>
                    <a:pt x="34725" y="1904067"/>
                    <a:pt x="36319" y="1903133"/>
                  </a:cubicBezTo>
                  <a:cubicBezTo>
                    <a:pt x="38840" y="1901702"/>
                    <a:pt x="40487" y="1903258"/>
                    <a:pt x="41155" y="1902075"/>
                  </a:cubicBezTo>
                  <a:cubicBezTo>
                    <a:pt x="41825" y="1900892"/>
                    <a:pt x="40024" y="1898216"/>
                    <a:pt x="38532" y="1895851"/>
                  </a:cubicBezTo>
                  <a:cubicBezTo>
                    <a:pt x="35805" y="1891680"/>
                    <a:pt x="34776" y="1891742"/>
                    <a:pt x="34159" y="1890062"/>
                  </a:cubicBezTo>
                  <a:cubicBezTo>
                    <a:pt x="33490" y="1887459"/>
                    <a:pt x="33850" y="1884639"/>
                    <a:pt x="35033" y="1882343"/>
                  </a:cubicBezTo>
                  <a:lnTo>
                    <a:pt x="36577" y="1882343"/>
                  </a:lnTo>
                  <a:close/>
                  <a:moveTo>
                    <a:pt x="4542390" y="1862401"/>
                  </a:moveTo>
                  <a:lnTo>
                    <a:pt x="4544462" y="1863980"/>
                  </a:lnTo>
                  <a:lnTo>
                    <a:pt x="4544462" y="1870493"/>
                  </a:lnTo>
                  <a:lnTo>
                    <a:pt x="4542390" y="1873700"/>
                  </a:lnTo>
                  <a:lnTo>
                    <a:pt x="4538245" y="1875328"/>
                  </a:lnTo>
                  <a:lnTo>
                    <a:pt x="4540317" y="1867335"/>
                  </a:lnTo>
                  <a:close/>
                  <a:moveTo>
                    <a:pt x="4532028" y="1855987"/>
                  </a:moveTo>
                  <a:lnTo>
                    <a:pt x="4534101" y="1857615"/>
                  </a:lnTo>
                  <a:lnTo>
                    <a:pt x="4536173" y="1859194"/>
                  </a:lnTo>
                  <a:lnTo>
                    <a:pt x="4534101" y="1860822"/>
                  </a:lnTo>
                  <a:lnTo>
                    <a:pt x="4529907" y="1859194"/>
                  </a:lnTo>
                  <a:close/>
                  <a:moveTo>
                    <a:pt x="4544462" y="1844540"/>
                  </a:moveTo>
                  <a:lnTo>
                    <a:pt x="4548656" y="1846119"/>
                  </a:lnTo>
                  <a:lnTo>
                    <a:pt x="4550728" y="1849326"/>
                  </a:lnTo>
                  <a:lnTo>
                    <a:pt x="4546583" y="1850954"/>
                  </a:lnTo>
                  <a:lnTo>
                    <a:pt x="4542390" y="1847747"/>
                  </a:lnTo>
                  <a:lnTo>
                    <a:pt x="4542390" y="1846119"/>
                  </a:lnTo>
                  <a:close/>
                  <a:moveTo>
                    <a:pt x="4542390" y="1823373"/>
                  </a:moveTo>
                  <a:lnTo>
                    <a:pt x="4544462" y="1823373"/>
                  </a:lnTo>
                  <a:lnTo>
                    <a:pt x="4544462" y="1829787"/>
                  </a:lnTo>
                  <a:lnTo>
                    <a:pt x="4548656" y="1834721"/>
                  </a:lnTo>
                  <a:cubicBezTo>
                    <a:pt x="4548656" y="1834721"/>
                    <a:pt x="4544462" y="1838076"/>
                    <a:pt x="4544462" y="1839655"/>
                  </a:cubicBezTo>
                  <a:lnTo>
                    <a:pt x="4540317" y="1834721"/>
                  </a:lnTo>
                  <a:lnTo>
                    <a:pt x="4542390" y="1828307"/>
                  </a:lnTo>
                  <a:close/>
                  <a:moveTo>
                    <a:pt x="4556945" y="1752520"/>
                  </a:moveTo>
                  <a:lnTo>
                    <a:pt x="4567357" y="1760562"/>
                  </a:lnTo>
                  <a:lnTo>
                    <a:pt x="4569428" y="1767026"/>
                  </a:lnTo>
                  <a:lnTo>
                    <a:pt x="4565283" y="1770233"/>
                  </a:lnTo>
                  <a:lnTo>
                    <a:pt x="4565283" y="1781532"/>
                  </a:lnTo>
                  <a:lnTo>
                    <a:pt x="4561140" y="1786466"/>
                  </a:lnTo>
                  <a:lnTo>
                    <a:pt x="4554873" y="1789723"/>
                  </a:lnTo>
                  <a:lnTo>
                    <a:pt x="4554873" y="1800972"/>
                  </a:lnTo>
                  <a:lnTo>
                    <a:pt x="4552800" y="1800972"/>
                  </a:lnTo>
                  <a:lnTo>
                    <a:pt x="4548656" y="1798061"/>
                  </a:lnTo>
                  <a:lnTo>
                    <a:pt x="4542390" y="1798061"/>
                  </a:lnTo>
                  <a:lnTo>
                    <a:pt x="4540317" y="1796433"/>
                  </a:lnTo>
                  <a:lnTo>
                    <a:pt x="4544462" y="1794805"/>
                  </a:lnTo>
                  <a:lnTo>
                    <a:pt x="4544462" y="1789871"/>
                  </a:lnTo>
                  <a:lnTo>
                    <a:pt x="4540317" y="1784937"/>
                  </a:lnTo>
                  <a:lnTo>
                    <a:pt x="4540317" y="1783358"/>
                  </a:lnTo>
                  <a:lnTo>
                    <a:pt x="4544462" y="1781729"/>
                  </a:lnTo>
                  <a:lnTo>
                    <a:pt x="4548656" y="1776795"/>
                  </a:lnTo>
                  <a:lnTo>
                    <a:pt x="4554873" y="1775167"/>
                  </a:lnTo>
                  <a:lnTo>
                    <a:pt x="4556945" y="1768704"/>
                  </a:lnTo>
                  <a:lnTo>
                    <a:pt x="4554873" y="1757454"/>
                  </a:lnTo>
                  <a:close/>
                  <a:moveTo>
                    <a:pt x="4536173" y="1748030"/>
                  </a:moveTo>
                  <a:lnTo>
                    <a:pt x="4542390" y="1752964"/>
                  </a:lnTo>
                  <a:lnTo>
                    <a:pt x="4542390" y="1755974"/>
                  </a:lnTo>
                  <a:lnTo>
                    <a:pt x="4534101" y="1757602"/>
                  </a:lnTo>
                  <a:lnTo>
                    <a:pt x="4532028" y="1754346"/>
                  </a:lnTo>
                  <a:lnTo>
                    <a:pt x="4532028" y="1749411"/>
                  </a:lnTo>
                  <a:close/>
                  <a:moveTo>
                    <a:pt x="4569428" y="1746007"/>
                  </a:moveTo>
                  <a:lnTo>
                    <a:pt x="4573573" y="1749263"/>
                  </a:lnTo>
                  <a:lnTo>
                    <a:pt x="4575695" y="1754198"/>
                  </a:lnTo>
                  <a:lnTo>
                    <a:pt x="4573573" y="1757454"/>
                  </a:lnTo>
                  <a:lnTo>
                    <a:pt x="4569428" y="1757454"/>
                  </a:lnTo>
                  <a:lnTo>
                    <a:pt x="4565283" y="1752964"/>
                  </a:lnTo>
                  <a:lnTo>
                    <a:pt x="4565283" y="1749263"/>
                  </a:lnTo>
                  <a:close/>
                  <a:moveTo>
                    <a:pt x="244599" y="1659217"/>
                  </a:moveTo>
                  <a:lnTo>
                    <a:pt x="252888" y="1664151"/>
                  </a:lnTo>
                  <a:lnTo>
                    <a:pt x="250815" y="1667358"/>
                  </a:lnTo>
                  <a:lnTo>
                    <a:pt x="242477" y="1664151"/>
                  </a:lnTo>
                  <a:close/>
                  <a:moveTo>
                    <a:pt x="3856213" y="1641109"/>
                  </a:moveTo>
                  <a:lnTo>
                    <a:pt x="3854141" y="1646043"/>
                  </a:lnTo>
                  <a:lnTo>
                    <a:pt x="3856213" y="1647672"/>
                  </a:lnTo>
                  <a:lnTo>
                    <a:pt x="3854141" y="1652606"/>
                  </a:lnTo>
                  <a:lnTo>
                    <a:pt x="3849996" y="1652606"/>
                  </a:lnTo>
                  <a:lnTo>
                    <a:pt x="3845803" y="1659069"/>
                  </a:lnTo>
                  <a:lnTo>
                    <a:pt x="3841658" y="1655714"/>
                  </a:lnTo>
                  <a:lnTo>
                    <a:pt x="3839586" y="1650780"/>
                  </a:lnTo>
                  <a:lnTo>
                    <a:pt x="3845803" y="1644317"/>
                  </a:lnTo>
                  <a:close/>
                  <a:moveTo>
                    <a:pt x="3843780" y="1630156"/>
                  </a:moveTo>
                  <a:lnTo>
                    <a:pt x="3847925" y="1630156"/>
                  </a:lnTo>
                  <a:lnTo>
                    <a:pt x="3847925" y="1638198"/>
                  </a:lnTo>
                  <a:lnTo>
                    <a:pt x="3843780" y="1634991"/>
                  </a:lnTo>
                  <a:close/>
                  <a:moveTo>
                    <a:pt x="3854141" y="1630057"/>
                  </a:moveTo>
                  <a:lnTo>
                    <a:pt x="3858335" y="1633314"/>
                  </a:lnTo>
                  <a:lnTo>
                    <a:pt x="3858335" y="1636521"/>
                  </a:lnTo>
                  <a:lnTo>
                    <a:pt x="3854141" y="1639728"/>
                  </a:lnTo>
                  <a:lnTo>
                    <a:pt x="3852068" y="1638100"/>
                  </a:lnTo>
                  <a:lnTo>
                    <a:pt x="3854141" y="1633314"/>
                  </a:lnTo>
                  <a:close/>
                  <a:moveTo>
                    <a:pt x="4015830" y="1609877"/>
                  </a:moveTo>
                  <a:lnTo>
                    <a:pt x="4017902" y="1613084"/>
                  </a:lnTo>
                  <a:lnTo>
                    <a:pt x="4022047" y="1621176"/>
                  </a:lnTo>
                  <a:lnTo>
                    <a:pt x="4034578" y="1624383"/>
                  </a:lnTo>
                  <a:lnTo>
                    <a:pt x="4038723" y="1629317"/>
                  </a:lnTo>
                  <a:lnTo>
                    <a:pt x="4036602" y="1639185"/>
                  </a:lnTo>
                  <a:lnTo>
                    <a:pt x="4042868" y="1647228"/>
                  </a:lnTo>
                  <a:lnTo>
                    <a:pt x="4057670" y="1657096"/>
                  </a:lnTo>
                  <a:lnTo>
                    <a:pt x="4059742" y="1662030"/>
                  </a:lnTo>
                  <a:lnTo>
                    <a:pt x="4061814" y="1662030"/>
                  </a:lnTo>
                  <a:lnTo>
                    <a:pt x="4070154" y="1670072"/>
                  </a:lnTo>
                  <a:lnTo>
                    <a:pt x="4078492" y="1679940"/>
                  </a:lnTo>
                  <a:lnTo>
                    <a:pt x="4082637" y="1687983"/>
                  </a:lnTo>
                  <a:lnTo>
                    <a:pt x="4076371" y="1679940"/>
                  </a:lnTo>
                  <a:lnTo>
                    <a:pt x="4068081" y="1673477"/>
                  </a:lnTo>
                  <a:lnTo>
                    <a:pt x="4065959" y="1675105"/>
                  </a:lnTo>
                  <a:lnTo>
                    <a:pt x="4065959" y="1678312"/>
                  </a:lnTo>
                  <a:lnTo>
                    <a:pt x="4070154" y="1681519"/>
                  </a:lnTo>
                  <a:lnTo>
                    <a:pt x="4070154" y="1684776"/>
                  </a:lnTo>
                  <a:lnTo>
                    <a:pt x="4078492" y="1692867"/>
                  </a:lnTo>
                  <a:lnTo>
                    <a:pt x="4084709" y="1694446"/>
                  </a:lnTo>
                  <a:lnTo>
                    <a:pt x="4086781" y="1702489"/>
                  </a:lnTo>
                  <a:lnTo>
                    <a:pt x="4088853" y="1712357"/>
                  </a:lnTo>
                  <a:lnTo>
                    <a:pt x="4090926" y="1720449"/>
                  </a:lnTo>
                  <a:lnTo>
                    <a:pt x="4088853" y="1720449"/>
                  </a:lnTo>
                  <a:lnTo>
                    <a:pt x="4086781" y="1725383"/>
                  </a:lnTo>
                  <a:lnTo>
                    <a:pt x="4086781" y="1731846"/>
                  </a:lnTo>
                  <a:lnTo>
                    <a:pt x="4090926" y="1736780"/>
                  </a:lnTo>
                  <a:lnTo>
                    <a:pt x="4095070" y="1744872"/>
                  </a:lnTo>
                  <a:lnTo>
                    <a:pt x="4101336" y="1751336"/>
                  </a:lnTo>
                  <a:lnTo>
                    <a:pt x="4107602" y="1754543"/>
                  </a:lnTo>
                  <a:lnTo>
                    <a:pt x="4109626" y="1759477"/>
                  </a:lnTo>
                  <a:lnTo>
                    <a:pt x="4109626" y="1767519"/>
                  </a:lnTo>
                  <a:lnTo>
                    <a:pt x="4113819" y="1767519"/>
                  </a:lnTo>
                  <a:lnTo>
                    <a:pt x="4115892" y="1765941"/>
                  </a:lnTo>
                  <a:lnTo>
                    <a:pt x="4120036" y="1765941"/>
                  </a:lnTo>
                  <a:lnTo>
                    <a:pt x="4124181" y="1772404"/>
                  </a:lnTo>
                  <a:lnTo>
                    <a:pt x="4124181" y="1778818"/>
                  </a:lnTo>
                  <a:lnTo>
                    <a:pt x="4128374" y="1782075"/>
                  </a:lnTo>
                  <a:lnTo>
                    <a:pt x="4134591" y="1793324"/>
                  </a:lnTo>
                  <a:lnTo>
                    <a:pt x="4149393" y="1807830"/>
                  </a:lnTo>
                  <a:lnTo>
                    <a:pt x="4151516" y="1814294"/>
                  </a:lnTo>
                  <a:lnTo>
                    <a:pt x="4159805" y="1830428"/>
                  </a:lnTo>
                  <a:lnTo>
                    <a:pt x="4172288" y="1840296"/>
                  </a:lnTo>
                  <a:lnTo>
                    <a:pt x="4172288" y="1846760"/>
                  </a:lnTo>
                  <a:lnTo>
                    <a:pt x="4176432" y="1849967"/>
                  </a:lnTo>
                  <a:lnTo>
                    <a:pt x="4180626" y="1856431"/>
                  </a:lnTo>
                  <a:lnTo>
                    <a:pt x="4186843" y="1867730"/>
                  </a:lnTo>
                  <a:lnTo>
                    <a:pt x="4190988" y="1870937"/>
                  </a:lnTo>
                  <a:lnTo>
                    <a:pt x="4190988" y="1874144"/>
                  </a:lnTo>
                  <a:lnTo>
                    <a:pt x="4197254" y="1882236"/>
                  </a:lnTo>
                  <a:lnTo>
                    <a:pt x="4203471" y="1890278"/>
                  </a:lnTo>
                  <a:lnTo>
                    <a:pt x="4213882" y="1896692"/>
                  </a:lnTo>
                  <a:lnTo>
                    <a:pt x="4220098" y="1904784"/>
                  </a:lnTo>
                  <a:lnTo>
                    <a:pt x="4224293" y="1912827"/>
                  </a:lnTo>
                  <a:lnTo>
                    <a:pt x="4220098" y="1911248"/>
                  </a:lnTo>
                  <a:lnTo>
                    <a:pt x="4213882" y="1903156"/>
                  </a:lnTo>
                  <a:lnTo>
                    <a:pt x="4207615" y="1898222"/>
                  </a:lnTo>
                  <a:lnTo>
                    <a:pt x="4199326" y="1896544"/>
                  </a:lnTo>
                  <a:lnTo>
                    <a:pt x="4195181" y="1886923"/>
                  </a:lnTo>
                  <a:lnTo>
                    <a:pt x="4186843" y="1883716"/>
                  </a:lnTo>
                  <a:lnTo>
                    <a:pt x="4178505" y="1882088"/>
                  </a:lnTo>
                  <a:lnTo>
                    <a:pt x="4170216" y="1883716"/>
                  </a:lnTo>
                  <a:lnTo>
                    <a:pt x="4161877" y="1883716"/>
                  </a:lnTo>
                  <a:lnTo>
                    <a:pt x="4161877" y="1891758"/>
                  </a:lnTo>
                  <a:lnTo>
                    <a:pt x="4157733" y="1894966"/>
                  </a:lnTo>
                  <a:lnTo>
                    <a:pt x="4163950" y="1903008"/>
                  </a:lnTo>
                  <a:lnTo>
                    <a:pt x="4163950" y="1909472"/>
                  </a:lnTo>
                  <a:lnTo>
                    <a:pt x="4161877" y="1920771"/>
                  </a:lnTo>
                  <a:lnTo>
                    <a:pt x="4166071" y="1925705"/>
                  </a:lnTo>
                  <a:lnTo>
                    <a:pt x="4168094" y="1938632"/>
                  </a:lnTo>
                  <a:lnTo>
                    <a:pt x="4168094" y="1948500"/>
                  </a:lnTo>
                  <a:lnTo>
                    <a:pt x="4170216" y="1956542"/>
                  </a:lnTo>
                  <a:lnTo>
                    <a:pt x="4176432" y="1964585"/>
                  </a:lnTo>
                  <a:lnTo>
                    <a:pt x="4178505" y="1974453"/>
                  </a:lnTo>
                  <a:lnTo>
                    <a:pt x="4184771" y="1980916"/>
                  </a:lnTo>
                  <a:lnTo>
                    <a:pt x="4190988" y="1982545"/>
                  </a:lnTo>
                  <a:lnTo>
                    <a:pt x="4199326" y="1988959"/>
                  </a:lnTo>
                  <a:lnTo>
                    <a:pt x="4203471" y="1995423"/>
                  </a:lnTo>
                  <a:lnTo>
                    <a:pt x="4205543" y="2005291"/>
                  </a:lnTo>
                  <a:lnTo>
                    <a:pt x="4215953" y="2010225"/>
                  </a:lnTo>
                  <a:lnTo>
                    <a:pt x="4220098" y="2010225"/>
                  </a:lnTo>
                  <a:lnTo>
                    <a:pt x="4224293" y="2008596"/>
                  </a:lnTo>
                  <a:lnTo>
                    <a:pt x="4226365" y="2013530"/>
                  </a:lnTo>
                  <a:lnTo>
                    <a:pt x="4228437" y="2021573"/>
                  </a:lnTo>
                  <a:lnTo>
                    <a:pt x="4236727" y="2026507"/>
                  </a:lnTo>
                  <a:lnTo>
                    <a:pt x="4236727" y="2034599"/>
                  </a:lnTo>
                  <a:lnTo>
                    <a:pt x="4234654" y="2041013"/>
                  </a:lnTo>
                  <a:lnTo>
                    <a:pt x="4236727" y="2044269"/>
                  </a:lnTo>
                  <a:lnTo>
                    <a:pt x="4236727" y="2047477"/>
                  </a:lnTo>
                  <a:lnTo>
                    <a:pt x="4232582" y="2044269"/>
                  </a:lnTo>
                  <a:lnTo>
                    <a:pt x="4230510" y="2039335"/>
                  </a:lnTo>
                  <a:lnTo>
                    <a:pt x="4224293" y="2031293"/>
                  </a:lnTo>
                  <a:lnTo>
                    <a:pt x="4224293" y="2024829"/>
                  </a:lnTo>
                  <a:lnTo>
                    <a:pt x="4222170" y="2021622"/>
                  </a:lnTo>
                  <a:lnTo>
                    <a:pt x="4220098" y="2023201"/>
                  </a:lnTo>
                  <a:lnTo>
                    <a:pt x="4218027" y="2024829"/>
                  </a:lnTo>
                  <a:lnTo>
                    <a:pt x="4203471" y="2026458"/>
                  </a:lnTo>
                  <a:lnTo>
                    <a:pt x="4199326" y="2023201"/>
                  </a:lnTo>
                  <a:lnTo>
                    <a:pt x="4199326" y="2019994"/>
                  </a:lnTo>
                  <a:lnTo>
                    <a:pt x="4197254" y="2018415"/>
                  </a:lnTo>
                  <a:lnTo>
                    <a:pt x="4190988" y="2023349"/>
                  </a:lnTo>
                  <a:lnTo>
                    <a:pt x="4188915" y="2033217"/>
                  </a:lnTo>
                  <a:lnTo>
                    <a:pt x="4190988" y="2041260"/>
                  </a:lnTo>
                  <a:lnTo>
                    <a:pt x="4193060" y="2046194"/>
                  </a:lnTo>
                  <a:lnTo>
                    <a:pt x="4193060" y="2060700"/>
                  </a:lnTo>
                  <a:lnTo>
                    <a:pt x="4184870" y="2057789"/>
                  </a:lnTo>
                  <a:lnTo>
                    <a:pt x="4178604" y="2047921"/>
                  </a:lnTo>
                  <a:lnTo>
                    <a:pt x="4172387" y="2042987"/>
                  </a:lnTo>
                  <a:lnTo>
                    <a:pt x="4168192" y="2034944"/>
                  </a:lnTo>
                  <a:lnTo>
                    <a:pt x="4170314" y="2022017"/>
                  </a:lnTo>
                  <a:lnTo>
                    <a:pt x="4172387" y="2012149"/>
                  </a:lnTo>
                  <a:lnTo>
                    <a:pt x="4170314" y="2007215"/>
                  </a:lnTo>
                  <a:lnTo>
                    <a:pt x="4161975" y="1997347"/>
                  </a:lnTo>
                  <a:lnTo>
                    <a:pt x="4159903" y="1990883"/>
                  </a:lnTo>
                  <a:lnTo>
                    <a:pt x="4153637" y="1981262"/>
                  </a:lnTo>
                  <a:lnTo>
                    <a:pt x="4151615" y="1969914"/>
                  </a:lnTo>
                  <a:lnTo>
                    <a:pt x="4153637" y="1957036"/>
                  </a:lnTo>
                  <a:lnTo>
                    <a:pt x="4147420" y="1948993"/>
                  </a:lnTo>
                  <a:lnTo>
                    <a:pt x="4147420" y="1942530"/>
                  </a:lnTo>
                  <a:lnTo>
                    <a:pt x="4134937" y="1928024"/>
                  </a:lnTo>
                  <a:lnTo>
                    <a:pt x="4126648" y="1923090"/>
                  </a:lnTo>
                  <a:lnTo>
                    <a:pt x="4126648" y="1914998"/>
                  </a:lnTo>
                  <a:lnTo>
                    <a:pt x="4128720" y="1910064"/>
                  </a:lnTo>
                  <a:lnTo>
                    <a:pt x="4122503" y="1898715"/>
                  </a:lnTo>
                  <a:lnTo>
                    <a:pt x="4120382" y="1887466"/>
                  </a:lnTo>
                  <a:lnTo>
                    <a:pt x="4122503" y="1882532"/>
                  </a:lnTo>
                  <a:lnTo>
                    <a:pt x="4118310" y="1877598"/>
                  </a:lnTo>
                  <a:lnTo>
                    <a:pt x="4118310" y="1866299"/>
                  </a:lnTo>
                  <a:lnTo>
                    <a:pt x="4114165" y="1858256"/>
                  </a:lnTo>
                  <a:lnTo>
                    <a:pt x="4112093" y="1851793"/>
                  </a:lnTo>
                  <a:lnTo>
                    <a:pt x="4103754" y="1840494"/>
                  </a:lnTo>
                  <a:lnTo>
                    <a:pt x="4103754" y="1835560"/>
                  </a:lnTo>
                  <a:lnTo>
                    <a:pt x="4105827" y="1833932"/>
                  </a:lnTo>
                  <a:lnTo>
                    <a:pt x="4099610" y="1827517"/>
                  </a:lnTo>
                  <a:lnTo>
                    <a:pt x="4093393" y="1824310"/>
                  </a:lnTo>
                  <a:lnTo>
                    <a:pt x="4093393" y="1817847"/>
                  </a:lnTo>
                  <a:lnTo>
                    <a:pt x="4087126" y="1809755"/>
                  </a:lnTo>
                  <a:lnTo>
                    <a:pt x="4087126" y="1801712"/>
                  </a:lnTo>
                  <a:lnTo>
                    <a:pt x="4085055" y="1790463"/>
                  </a:lnTo>
                  <a:lnTo>
                    <a:pt x="4076715" y="1780595"/>
                  </a:lnTo>
                  <a:lnTo>
                    <a:pt x="4070498" y="1778966"/>
                  </a:lnTo>
                  <a:lnTo>
                    <a:pt x="4053871" y="1762881"/>
                  </a:lnTo>
                  <a:lnTo>
                    <a:pt x="4058015" y="1761253"/>
                  </a:lnTo>
                  <a:lnTo>
                    <a:pt x="4055943" y="1758046"/>
                  </a:lnTo>
                  <a:lnTo>
                    <a:pt x="4049726" y="1754790"/>
                  </a:lnTo>
                  <a:lnTo>
                    <a:pt x="4043460" y="1744921"/>
                  </a:lnTo>
                  <a:lnTo>
                    <a:pt x="4039316" y="1730415"/>
                  </a:lnTo>
                  <a:lnTo>
                    <a:pt x="4037193" y="1720547"/>
                  </a:lnTo>
                  <a:lnTo>
                    <a:pt x="4035171" y="1717291"/>
                  </a:lnTo>
                  <a:lnTo>
                    <a:pt x="4033050" y="1704413"/>
                  </a:lnTo>
                  <a:lnTo>
                    <a:pt x="4026833" y="1694792"/>
                  </a:lnTo>
                  <a:lnTo>
                    <a:pt x="4020616" y="1686700"/>
                  </a:lnTo>
                  <a:lnTo>
                    <a:pt x="4018494" y="1680236"/>
                  </a:lnTo>
                  <a:lnTo>
                    <a:pt x="4012278" y="1673773"/>
                  </a:lnTo>
                  <a:lnTo>
                    <a:pt x="4014349" y="1665730"/>
                  </a:lnTo>
                  <a:lnTo>
                    <a:pt x="4020616" y="1660796"/>
                  </a:lnTo>
                  <a:lnTo>
                    <a:pt x="4024760" y="1665730"/>
                  </a:lnTo>
                  <a:lnTo>
                    <a:pt x="4028905" y="1667358"/>
                  </a:lnTo>
                  <a:lnTo>
                    <a:pt x="4035171" y="1664151"/>
                  </a:lnTo>
                  <a:lnTo>
                    <a:pt x="4032457" y="1655270"/>
                  </a:lnTo>
                  <a:lnTo>
                    <a:pt x="4028313" y="1655270"/>
                  </a:lnTo>
                  <a:lnTo>
                    <a:pt x="4026240" y="1652063"/>
                  </a:lnTo>
                  <a:lnTo>
                    <a:pt x="4030385" y="1650385"/>
                  </a:lnTo>
                  <a:lnTo>
                    <a:pt x="4034578" y="1647178"/>
                  </a:lnTo>
                  <a:lnTo>
                    <a:pt x="4032457" y="1642244"/>
                  </a:lnTo>
                  <a:lnTo>
                    <a:pt x="4028313" y="1643873"/>
                  </a:lnTo>
                  <a:lnTo>
                    <a:pt x="4024168" y="1645501"/>
                  </a:lnTo>
                  <a:lnTo>
                    <a:pt x="4026240" y="1639037"/>
                  </a:lnTo>
                  <a:lnTo>
                    <a:pt x="4022047" y="1634103"/>
                  </a:lnTo>
                  <a:lnTo>
                    <a:pt x="4009613" y="1627640"/>
                  </a:lnTo>
                  <a:lnTo>
                    <a:pt x="4001274" y="1619548"/>
                  </a:lnTo>
                  <a:lnTo>
                    <a:pt x="4005468" y="1617969"/>
                  </a:lnTo>
                  <a:lnTo>
                    <a:pt x="4011685" y="1621225"/>
                  </a:lnTo>
                  <a:lnTo>
                    <a:pt x="4015830" y="1621225"/>
                  </a:lnTo>
                  <a:lnTo>
                    <a:pt x="4015830" y="1616291"/>
                  </a:lnTo>
                  <a:lnTo>
                    <a:pt x="4013757" y="1613084"/>
                  </a:lnTo>
                  <a:close/>
                  <a:moveTo>
                    <a:pt x="3812547" y="1600848"/>
                  </a:moveTo>
                  <a:lnTo>
                    <a:pt x="3814669" y="1605782"/>
                  </a:lnTo>
                  <a:lnTo>
                    <a:pt x="3812547" y="1608989"/>
                  </a:lnTo>
                  <a:lnTo>
                    <a:pt x="3814669" y="1613923"/>
                  </a:lnTo>
                  <a:lnTo>
                    <a:pt x="3812547" y="1615551"/>
                  </a:lnTo>
                  <a:lnTo>
                    <a:pt x="3808403" y="1612344"/>
                  </a:lnTo>
                  <a:lnTo>
                    <a:pt x="3804258" y="1615551"/>
                  </a:lnTo>
                  <a:lnTo>
                    <a:pt x="3804258" y="1617179"/>
                  </a:lnTo>
                  <a:lnTo>
                    <a:pt x="3802137" y="1617179"/>
                  </a:lnTo>
                  <a:lnTo>
                    <a:pt x="3800114" y="1613824"/>
                  </a:lnTo>
                  <a:lnTo>
                    <a:pt x="3800114" y="1608890"/>
                  </a:lnTo>
                  <a:lnTo>
                    <a:pt x="3806331" y="1605683"/>
                  </a:lnTo>
                  <a:lnTo>
                    <a:pt x="3810475" y="1602476"/>
                  </a:lnTo>
                  <a:close/>
                  <a:moveTo>
                    <a:pt x="3831247" y="1597986"/>
                  </a:moveTo>
                  <a:lnTo>
                    <a:pt x="3835441" y="1599664"/>
                  </a:lnTo>
                  <a:lnTo>
                    <a:pt x="3843780" y="1597986"/>
                  </a:lnTo>
                  <a:lnTo>
                    <a:pt x="3845803" y="1599664"/>
                  </a:lnTo>
                  <a:lnTo>
                    <a:pt x="3845803" y="1602871"/>
                  </a:lnTo>
                  <a:lnTo>
                    <a:pt x="3841658" y="1606078"/>
                  </a:lnTo>
                  <a:lnTo>
                    <a:pt x="3843780" y="1607706"/>
                  </a:lnTo>
                  <a:lnTo>
                    <a:pt x="3847925" y="1606078"/>
                  </a:lnTo>
                  <a:lnTo>
                    <a:pt x="3847925" y="1602871"/>
                  </a:lnTo>
                  <a:lnTo>
                    <a:pt x="3854141" y="1602871"/>
                  </a:lnTo>
                  <a:lnTo>
                    <a:pt x="3854141" y="1606078"/>
                  </a:lnTo>
                  <a:lnTo>
                    <a:pt x="3849996" y="1609285"/>
                  </a:lnTo>
                  <a:lnTo>
                    <a:pt x="3849996" y="1612541"/>
                  </a:lnTo>
                  <a:lnTo>
                    <a:pt x="3852068" y="1615749"/>
                  </a:lnTo>
                  <a:lnTo>
                    <a:pt x="3849996" y="1620683"/>
                  </a:lnTo>
                  <a:lnTo>
                    <a:pt x="3845803" y="1623939"/>
                  </a:lnTo>
                  <a:lnTo>
                    <a:pt x="3839586" y="1622261"/>
                  </a:lnTo>
                  <a:lnTo>
                    <a:pt x="3835441" y="1617327"/>
                  </a:lnTo>
                  <a:lnTo>
                    <a:pt x="3831247" y="1617327"/>
                  </a:lnTo>
                  <a:lnTo>
                    <a:pt x="3829224" y="1618906"/>
                  </a:lnTo>
                  <a:lnTo>
                    <a:pt x="3829224" y="1622113"/>
                  </a:lnTo>
                  <a:lnTo>
                    <a:pt x="3827103" y="1622113"/>
                  </a:lnTo>
                  <a:lnTo>
                    <a:pt x="3820886" y="1614318"/>
                  </a:lnTo>
                  <a:lnTo>
                    <a:pt x="3820886" y="1609384"/>
                  </a:lnTo>
                  <a:lnTo>
                    <a:pt x="3825030" y="1606176"/>
                  </a:lnTo>
                  <a:lnTo>
                    <a:pt x="3827103" y="1601242"/>
                  </a:lnTo>
                  <a:close/>
                  <a:moveTo>
                    <a:pt x="4825209" y="1451050"/>
                  </a:moveTo>
                  <a:lnTo>
                    <a:pt x="4833498" y="1454257"/>
                  </a:lnTo>
                  <a:lnTo>
                    <a:pt x="4837642" y="1459192"/>
                  </a:lnTo>
                  <a:lnTo>
                    <a:pt x="4845981" y="1459192"/>
                  </a:lnTo>
                  <a:lnTo>
                    <a:pt x="4850125" y="1462399"/>
                  </a:lnTo>
                  <a:lnTo>
                    <a:pt x="4860537" y="1467333"/>
                  </a:lnTo>
                  <a:lnTo>
                    <a:pt x="4864682" y="1468912"/>
                  </a:lnTo>
                  <a:lnTo>
                    <a:pt x="4854320" y="1470540"/>
                  </a:lnTo>
                  <a:lnTo>
                    <a:pt x="4850125" y="1467333"/>
                  </a:lnTo>
                  <a:lnTo>
                    <a:pt x="4839764" y="1465704"/>
                  </a:lnTo>
                  <a:lnTo>
                    <a:pt x="4831425" y="1459241"/>
                  </a:lnTo>
                  <a:lnTo>
                    <a:pt x="4825209" y="1459241"/>
                  </a:lnTo>
                  <a:lnTo>
                    <a:pt x="4821015" y="1454307"/>
                  </a:lnTo>
                  <a:close/>
                  <a:moveTo>
                    <a:pt x="4760721" y="1428255"/>
                  </a:moveTo>
                  <a:lnTo>
                    <a:pt x="4769010" y="1428255"/>
                  </a:lnTo>
                  <a:lnTo>
                    <a:pt x="4764865" y="1431462"/>
                  </a:lnTo>
                  <a:lnTo>
                    <a:pt x="4764865" y="1433140"/>
                  </a:lnTo>
                  <a:lnTo>
                    <a:pt x="4771131" y="1443008"/>
                  </a:lnTo>
                  <a:lnTo>
                    <a:pt x="4779421" y="1443008"/>
                  </a:lnTo>
                  <a:lnTo>
                    <a:pt x="4781543" y="1447942"/>
                  </a:lnTo>
                  <a:lnTo>
                    <a:pt x="4791905" y="1454406"/>
                  </a:lnTo>
                  <a:lnTo>
                    <a:pt x="4798120" y="1457662"/>
                  </a:lnTo>
                  <a:lnTo>
                    <a:pt x="4802315" y="1464076"/>
                  </a:lnTo>
                  <a:lnTo>
                    <a:pt x="4800243" y="1465704"/>
                  </a:lnTo>
                  <a:lnTo>
                    <a:pt x="4793976" y="1465704"/>
                  </a:lnTo>
                  <a:lnTo>
                    <a:pt x="4785688" y="1459241"/>
                  </a:lnTo>
                  <a:lnTo>
                    <a:pt x="4783565" y="1460869"/>
                  </a:lnTo>
                  <a:lnTo>
                    <a:pt x="4779421" y="1460869"/>
                  </a:lnTo>
                  <a:lnTo>
                    <a:pt x="4773204" y="1454406"/>
                  </a:lnTo>
                  <a:lnTo>
                    <a:pt x="4769010" y="1454406"/>
                  </a:lnTo>
                  <a:lnTo>
                    <a:pt x="4762793" y="1446363"/>
                  </a:lnTo>
                  <a:lnTo>
                    <a:pt x="4762793" y="1444735"/>
                  </a:lnTo>
                  <a:lnTo>
                    <a:pt x="4758648" y="1439801"/>
                  </a:lnTo>
                  <a:lnTo>
                    <a:pt x="4752432" y="1441429"/>
                  </a:lnTo>
                  <a:lnTo>
                    <a:pt x="4746166" y="1438173"/>
                  </a:lnTo>
                  <a:lnTo>
                    <a:pt x="4746166" y="1434817"/>
                  </a:lnTo>
                  <a:lnTo>
                    <a:pt x="4752432" y="1429883"/>
                  </a:lnTo>
                  <a:lnTo>
                    <a:pt x="4756576" y="1429883"/>
                  </a:lnTo>
                  <a:close/>
                  <a:moveTo>
                    <a:pt x="417191" y="1397911"/>
                  </a:moveTo>
                  <a:lnTo>
                    <a:pt x="421385" y="1399539"/>
                  </a:lnTo>
                  <a:lnTo>
                    <a:pt x="423457" y="1402796"/>
                  </a:lnTo>
                  <a:lnTo>
                    <a:pt x="419313" y="1406003"/>
                  </a:lnTo>
                  <a:lnTo>
                    <a:pt x="423457" y="1410937"/>
                  </a:lnTo>
                  <a:lnTo>
                    <a:pt x="423457" y="1414193"/>
                  </a:lnTo>
                  <a:lnTo>
                    <a:pt x="419313" y="1414193"/>
                  </a:lnTo>
                  <a:lnTo>
                    <a:pt x="417191" y="1410986"/>
                  </a:lnTo>
                  <a:lnTo>
                    <a:pt x="413047" y="1406052"/>
                  </a:lnTo>
                  <a:lnTo>
                    <a:pt x="413047" y="1402845"/>
                  </a:lnTo>
                  <a:close/>
                  <a:moveTo>
                    <a:pt x="606461" y="1301302"/>
                  </a:moveTo>
                  <a:lnTo>
                    <a:pt x="608484" y="1301302"/>
                  </a:lnTo>
                  <a:lnTo>
                    <a:pt x="612677" y="1304510"/>
                  </a:lnTo>
                  <a:lnTo>
                    <a:pt x="612677" y="1307766"/>
                  </a:lnTo>
                  <a:lnTo>
                    <a:pt x="610606" y="1309345"/>
                  </a:lnTo>
                  <a:lnTo>
                    <a:pt x="604339" y="1304510"/>
                  </a:lnTo>
                  <a:close/>
                  <a:moveTo>
                    <a:pt x="4126549" y="1288227"/>
                  </a:moveTo>
                  <a:lnTo>
                    <a:pt x="4130694" y="1288227"/>
                  </a:lnTo>
                  <a:lnTo>
                    <a:pt x="4130694" y="1291484"/>
                  </a:lnTo>
                  <a:lnTo>
                    <a:pt x="4124428" y="1297898"/>
                  </a:lnTo>
                  <a:lnTo>
                    <a:pt x="4122404" y="1297898"/>
                  </a:lnTo>
                  <a:lnTo>
                    <a:pt x="4122404" y="1293161"/>
                  </a:lnTo>
                  <a:close/>
                  <a:moveTo>
                    <a:pt x="1394179" y="1231782"/>
                  </a:moveTo>
                  <a:lnTo>
                    <a:pt x="1398373" y="1231881"/>
                  </a:lnTo>
                  <a:lnTo>
                    <a:pt x="1402518" y="1233459"/>
                  </a:lnTo>
                  <a:lnTo>
                    <a:pt x="1415001" y="1233459"/>
                  </a:lnTo>
                  <a:lnTo>
                    <a:pt x="1417073" y="1239923"/>
                  </a:lnTo>
                  <a:lnTo>
                    <a:pt x="1415001" y="1243130"/>
                  </a:lnTo>
                  <a:lnTo>
                    <a:pt x="1406663" y="1244758"/>
                  </a:lnTo>
                  <a:lnTo>
                    <a:pt x="1398373" y="1239824"/>
                  </a:lnTo>
                  <a:lnTo>
                    <a:pt x="1398373" y="1236617"/>
                  </a:lnTo>
                  <a:lnTo>
                    <a:pt x="1394179" y="1234989"/>
                  </a:lnTo>
                  <a:close/>
                  <a:moveTo>
                    <a:pt x="4565283" y="1196257"/>
                  </a:moveTo>
                  <a:lnTo>
                    <a:pt x="4569428" y="1196257"/>
                  </a:lnTo>
                  <a:lnTo>
                    <a:pt x="4577767" y="1204299"/>
                  </a:lnTo>
                  <a:lnTo>
                    <a:pt x="4581912" y="1212391"/>
                  </a:lnTo>
                  <a:lnTo>
                    <a:pt x="4583984" y="1218805"/>
                  </a:lnTo>
                  <a:lnTo>
                    <a:pt x="4579789" y="1220434"/>
                  </a:lnTo>
                  <a:lnTo>
                    <a:pt x="4571500" y="1226848"/>
                  </a:lnTo>
                  <a:lnTo>
                    <a:pt x="4565283" y="1231782"/>
                  </a:lnTo>
                  <a:lnTo>
                    <a:pt x="4563212" y="1239824"/>
                  </a:lnTo>
                  <a:lnTo>
                    <a:pt x="4563212" y="1243081"/>
                  </a:lnTo>
                  <a:lnTo>
                    <a:pt x="4561140" y="1246337"/>
                  </a:lnTo>
                  <a:lnTo>
                    <a:pt x="4563212" y="1252801"/>
                  </a:lnTo>
                  <a:lnTo>
                    <a:pt x="4565283" y="1259215"/>
                  </a:lnTo>
                  <a:lnTo>
                    <a:pt x="4563212" y="1257587"/>
                  </a:lnTo>
                  <a:lnTo>
                    <a:pt x="4556945" y="1252949"/>
                  </a:lnTo>
                  <a:lnTo>
                    <a:pt x="4554873" y="1249692"/>
                  </a:lnTo>
                  <a:lnTo>
                    <a:pt x="4556945" y="1244758"/>
                  </a:lnTo>
                  <a:lnTo>
                    <a:pt x="4556945" y="1238541"/>
                  </a:lnTo>
                  <a:lnTo>
                    <a:pt x="4552800" y="1233607"/>
                  </a:lnTo>
                  <a:lnTo>
                    <a:pt x="4550728" y="1223739"/>
                  </a:lnTo>
                  <a:lnTo>
                    <a:pt x="4552800" y="1218805"/>
                  </a:lnTo>
                  <a:lnTo>
                    <a:pt x="4552800" y="1217177"/>
                  </a:lnTo>
                  <a:lnTo>
                    <a:pt x="4546583" y="1220434"/>
                  </a:lnTo>
                  <a:lnTo>
                    <a:pt x="4542390" y="1220434"/>
                  </a:lnTo>
                  <a:lnTo>
                    <a:pt x="4546583" y="1213970"/>
                  </a:lnTo>
                  <a:lnTo>
                    <a:pt x="4548656" y="1212391"/>
                  </a:lnTo>
                  <a:lnTo>
                    <a:pt x="4559017" y="1204299"/>
                  </a:lnTo>
                  <a:lnTo>
                    <a:pt x="4561140" y="1202671"/>
                  </a:lnTo>
                  <a:lnTo>
                    <a:pt x="4563212" y="1199464"/>
                  </a:lnTo>
                  <a:close/>
                  <a:moveTo>
                    <a:pt x="826815" y="1180369"/>
                  </a:moveTo>
                  <a:lnTo>
                    <a:pt x="835104" y="1180369"/>
                  </a:lnTo>
                  <a:lnTo>
                    <a:pt x="830959" y="1183576"/>
                  </a:lnTo>
                  <a:lnTo>
                    <a:pt x="824742" y="1183576"/>
                  </a:lnTo>
                  <a:lnTo>
                    <a:pt x="822621" y="1186784"/>
                  </a:lnTo>
                  <a:lnTo>
                    <a:pt x="820548" y="1186784"/>
                  </a:lnTo>
                  <a:lnTo>
                    <a:pt x="820548" y="1183576"/>
                  </a:lnTo>
                  <a:close/>
                  <a:moveTo>
                    <a:pt x="916170" y="1178593"/>
                  </a:moveTo>
                  <a:lnTo>
                    <a:pt x="918292" y="1181849"/>
                  </a:lnTo>
                  <a:lnTo>
                    <a:pt x="914147" y="1186784"/>
                  </a:lnTo>
                  <a:lnTo>
                    <a:pt x="909953" y="1185205"/>
                  </a:lnTo>
                  <a:lnTo>
                    <a:pt x="912026" y="1180221"/>
                  </a:lnTo>
                  <a:close/>
                  <a:moveTo>
                    <a:pt x="926729" y="1177162"/>
                  </a:moveTo>
                  <a:lnTo>
                    <a:pt x="930726" y="1177162"/>
                  </a:lnTo>
                  <a:lnTo>
                    <a:pt x="930726" y="1180369"/>
                  </a:lnTo>
                  <a:lnTo>
                    <a:pt x="926581" y="1186784"/>
                  </a:lnTo>
                  <a:lnTo>
                    <a:pt x="922436" y="1183576"/>
                  </a:lnTo>
                  <a:lnTo>
                    <a:pt x="922584" y="1182096"/>
                  </a:lnTo>
                  <a:close/>
                  <a:moveTo>
                    <a:pt x="964030" y="1146522"/>
                  </a:moveTo>
                  <a:lnTo>
                    <a:pt x="970247" y="1148101"/>
                  </a:lnTo>
                  <a:lnTo>
                    <a:pt x="968175" y="1151357"/>
                  </a:lnTo>
                  <a:lnTo>
                    <a:pt x="964030" y="1151357"/>
                  </a:lnTo>
                  <a:lnTo>
                    <a:pt x="959836" y="1148101"/>
                  </a:lnTo>
                  <a:close/>
                  <a:moveTo>
                    <a:pt x="1007697" y="1144894"/>
                  </a:moveTo>
                  <a:lnTo>
                    <a:pt x="1016035" y="1146522"/>
                  </a:lnTo>
                  <a:lnTo>
                    <a:pt x="1011841" y="1149729"/>
                  </a:lnTo>
                  <a:lnTo>
                    <a:pt x="1001480" y="1152936"/>
                  </a:lnTo>
                  <a:lnTo>
                    <a:pt x="999358" y="1154564"/>
                  </a:lnTo>
                  <a:lnTo>
                    <a:pt x="995213" y="1154564"/>
                  </a:lnTo>
                  <a:lnTo>
                    <a:pt x="999358" y="1149828"/>
                  </a:lnTo>
                  <a:close/>
                  <a:moveTo>
                    <a:pt x="932847" y="1144894"/>
                  </a:moveTo>
                  <a:lnTo>
                    <a:pt x="936991" y="1146522"/>
                  </a:lnTo>
                  <a:lnTo>
                    <a:pt x="932847" y="1149729"/>
                  </a:lnTo>
                  <a:lnTo>
                    <a:pt x="928703" y="1149729"/>
                  </a:lnTo>
                  <a:lnTo>
                    <a:pt x="928703" y="1146522"/>
                  </a:lnTo>
                  <a:close/>
                  <a:moveTo>
                    <a:pt x="945281" y="1143265"/>
                  </a:moveTo>
                  <a:lnTo>
                    <a:pt x="951547" y="1146522"/>
                  </a:lnTo>
                  <a:lnTo>
                    <a:pt x="953619" y="1152936"/>
                  </a:lnTo>
                  <a:lnTo>
                    <a:pt x="947402" y="1151357"/>
                  </a:lnTo>
                  <a:lnTo>
                    <a:pt x="943258" y="1148101"/>
                  </a:lnTo>
                  <a:lnTo>
                    <a:pt x="939064" y="1146522"/>
                  </a:lnTo>
                  <a:close/>
                  <a:moveTo>
                    <a:pt x="743627" y="1127082"/>
                  </a:moveTo>
                  <a:lnTo>
                    <a:pt x="756110" y="1128661"/>
                  </a:lnTo>
                  <a:lnTo>
                    <a:pt x="781076" y="1138529"/>
                  </a:lnTo>
                  <a:lnTo>
                    <a:pt x="789366" y="1144992"/>
                  </a:lnTo>
                  <a:lnTo>
                    <a:pt x="789366" y="1151456"/>
                  </a:lnTo>
                  <a:lnTo>
                    <a:pt x="783149" y="1159498"/>
                  </a:lnTo>
                  <a:lnTo>
                    <a:pt x="785221" y="1151456"/>
                  </a:lnTo>
                  <a:lnTo>
                    <a:pt x="783149" y="1146522"/>
                  </a:lnTo>
                  <a:lnTo>
                    <a:pt x="778955" y="1149729"/>
                  </a:lnTo>
                  <a:lnTo>
                    <a:pt x="778955" y="1161028"/>
                  </a:lnTo>
                  <a:lnTo>
                    <a:pt x="772738" y="1167491"/>
                  </a:lnTo>
                  <a:lnTo>
                    <a:pt x="762327" y="1173906"/>
                  </a:lnTo>
                  <a:lnTo>
                    <a:pt x="754038" y="1173906"/>
                  </a:lnTo>
                  <a:lnTo>
                    <a:pt x="749844" y="1178741"/>
                  </a:lnTo>
                  <a:lnTo>
                    <a:pt x="743627" y="1178741"/>
                  </a:lnTo>
                  <a:lnTo>
                    <a:pt x="745699" y="1173807"/>
                  </a:lnTo>
                  <a:lnTo>
                    <a:pt x="741554" y="1172179"/>
                  </a:lnTo>
                  <a:lnTo>
                    <a:pt x="737410" y="1173807"/>
                  </a:lnTo>
                  <a:lnTo>
                    <a:pt x="735288" y="1165764"/>
                  </a:lnTo>
                  <a:lnTo>
                    <a:pt x="731144" y="1159301"/>
                  </a:lnTo>
                  <a:lnTo>
                    <a:pt x="731144" y="1143167"/>
                  </a:lnTo>
                  <a:lnTo>
                    <a:pt x="737410" y="1130289"/>
                  </a:lnTo>
                  <a:close/>
                  <a:moveTo>
                    <a:pt x="1057333" y="1122246"/>
                  </a:moveTo>
                  <a:lnTo>
                    <a:pt x="1053188" y="1127180"/>
                  </a:lnTo>
                  <a:lnTo>
                    <a:pt x="1051116" y="1123875"/>
                  </a:lnTo>
                  <a:close/>
                  <a:moveTo>
                    <a:pt x="1030344" y="1100981"/>
                  </a:moveTo>
                  <a:lnTo>
                    <a:pt x="1034488" y="1105915"/>
                  </a:lnTo>
                  <a:lnTo>
                    <a:pt x="1044899" y="1110849"/>
                  </a:lnTo>
                  <a:lnTo>
                    <a:pt x="1046922" y="1117312"/>
                  </a:lnTo>
                  <a:lnTo>
                    <a:pt x="1034488" y="1110651"/>
                  </a:lnTo>
                  <a:lnTo>
                    <a:pt x="1028222" y="1104188"/>
                  </a:lnTo>
                  <a:close/>
                  <a:moveTo>
                    <a:pt x="1017811" y="1094813"/>
                  </a:moveTo>
                  <a:lnTo>
                    <a:pt x="1022005" y="1096441"/>
                  </a:lnTo>
                  <a:lnTo>
                    <a:pt x="1022005" y="1101375"/>
                  </a:lnTo>
                  <a:lnTo>
                    <a:pt x="1017811" y="1101375"/>
                  </a:lnTo>
                  <a:close/>
                  <a:moveTo>
                    <a:pt x="1265302" y="1076804"/>
                  </a:moveTo>
                  <a:lnTo>
                    <a:pt x="1269447" y="1080011"/>
                  </a:lnTo>
                  <a:lnTo>
                    <a:pt x="1269447" y="1084945"/>
                  </a:lnTo>
                  <a:lnTo>
                    <a:pt x="1265302" y="1089879"/>
                  </a:lnTo>
                  <a:lnTo>
                    <a:pt x="1261109" y="1088251"/>
                  </a:lnTo>
                  <a:lnTo>
                    <a:pt x="1259036" y="1085044"/>
                  </a:lnTo>
                  <a:lnTo>
                    <a:pt x="1261109" y="1083218"/>
                  </a:lnTo>
                  <a:lnTo>
                    <a:pt x="1261109" y="1080011"/>
                  </a:lnTo>
                  <a:close/>
                  <a:moveTo>
                    <a:pt x="4421900" y="1044831"/>
                  </a:moveTo>
                  <a:lnTo>
                    <a:pt x="4423973" y="1046460"/>
                  </a:lnTo>
                  <a:lnTo>
                    <a:pt x="4423973" y="1049667"/>
                  </a:lnTo>
                  <a:lnTo>
                    <a:pt x="4421900" y="1054601"/>
                  </a:lnTo>
                  <a:lnTo>
                    <a:pt x="4419828" y="1048137"/>
                  </a:lnTo>
                  <a:lnTo>
                    <a:pt x="4421900" y="1046558"/>
                  </a:lnTo>
                  <a:close/>
                  <a:moveTo>
                    <a:pt x="1007203" y="1034815"/>
                  </a:moveTo>
                  <a:lnTo>
                    <a:pt x="1011348" y="1034815"/>
                  </a:lnTo>
                  <a:lnTo>
                    <a:pt x="1019686" y="1041279"/>
                  </a:lnTo>
                  <a:lnTo>
                    <a:pt x="1023831" y="1046213"/>
                  </a:lnTo>
                  <a:lnTo>
                    <a:pt x="1030097" y="1049420"/>
                  </a:lnTo>
                  <a:lnTo>
                    <a:pt x="1038386" y="1055884"/>
                  </a:lnTo>
                  <a:lnTo>
                    <a:pt x="1044652" y="1057463"/>
                  </a:lnTo>
                  <a:lnTo>
                    <a:pt x="1052941" y="1065554"/>
                  </a:lnTo>
                  <a:lnTo>
                    <a:pt x="1067743" y="1071969"/>
                  </a:lnTo>
                  <a:lnTo>
                    <a:pt x="1069816" y="1081837"/>
                  </a:lnTo>
                  <a:lnTo>
                    <a:pt x="1065671" y="1088251"/>
                  </a:lnTo>
                  <a:lnTo>
                    <a:pt x="1057086" y="1086524"/>
                  </a:lnTo>
                  <a:lnTo>
                    <a:pt x="1055014" y="1089731"/>
                  </a:lnTo>
                  <a:lnTo>
                    <a:pt x="1044652" y="1088103"/>
                  </a:lnTo>
                  <a:lnTo>
                    <a:pt x="1040459" y="1084896"/>
                  </a:lnTo>
                  <a:lnTo>
                    <a:pt x="1042531" y="1083267"/>
                  </a:lnTo>
                  <a:lnTo>
                    <a:pt x="1040459" y="1075225"/>
                  </a:lnTo>
                  <a:lnTo>
                    <a:pt x="1038386" y="1071969"/>
                  </a:lnTo>
                  <a:lnTo>
                    <a:pt x="1032120" y="1073597"/>
                  </a:lnTo>
                  <a:lnTo>
                    <a:pt x="1025903" y="1071969"/>
                  </a:lnTo>
                  <a:lnTo>
                    <a:pt x="1025903" y="1078432"/>
                  </a:lnTo>
                  <a:lnTo>
                    <a:pt x="1021758" y="1078432"/>
                  </a:lnTo>
                  <a:lnTo>
                    <a:pt x="1017565" y="1071969"/>
                  </a:lnTo>
                  <a:lnTo>
                    <a:pt x="1011348" y="1068761"/>
                  </a:lnTo>
                  <a:lnTo>
                    <a:pt x="998864" y="1057463"/>
                  </a:lnTo>
                  <a:lnTo>
                    <a:pt x="994720" y="1051048"/>
                  </a:lnTo>
                  <a:lnTo>
                    <a:pt x="998864" y="1051048"/>
                  </a:lnTo>
                  <a:lnTo>
                    <a:pt x="1003009" y="1054255"/>
                  </a:lnTo>
                  <a:lnTo>
                    <a:pt x="1007203" y="1054255"/>
                  </a:lnTo>
                  <a:lnTo>
                    <a:pt x="1009275" y="1051048"/>
                  </a:lnTo>
                  <a:lnTo>
                    <a:pt x="1003009" y="1049420"/>
                  </a:lnTo>
                  <a:lnTo>
                    <a:pt x="998864" y="1044486"/>
                  </a:lnTo>
                  <a:lnTo>
                    <a:pt x="1003009" y="1041279"/>
                  </a:lnTo>
                  <a:lnTo>
                    <a:pt x="1003009" y="1038022"/>
                  </a:lnTo>
                  <a:close/>
                  <a:moveTo>
                    <a:pt x="4413562" y="1032052"/>
                  </a:moveTo>
                  <a:lnTo>
                    <a:pt x="4417707" y="1032052"/>
                  </a:lnTo>
                  <a:lnTo>
                    <a:pt x="4421900" y="1036986"/>
                  </a:lnTo>
                  <a:lnTo>
                    <a:pt x="4421900" y="1040193"/>
                  </a:lnTo>
                  <a:lnTo>
                    <a:pt x="4419828" y="1040193"/>
                  </a:lnTo>
                  <a:lnTo>
                    <a:pt x="4411490" y="1035259"/>
                  </a:lnTo>
                  <a:close/>
                  <a:moveTo>
                    <a:pt x="822818" y="999784"/>
                  </a:moveTo>
                  <a:lnTo>
                    <a:pt x="827012" y="1002991"/>
                  </a:lnTo>
                  <a:lnTo>
                    <a:pt x="829035" y="1006247"/>
                  </a:lnTo>
                  <a:lnTo>
                    <a:pt x="837374" y="1009454"/>
                  </a:lnTo>
                  <a:lnTo>
                    <a:pt x="839495" y="1012661"/>
                  </a:lnTo>
                  <a:lnTo>
                    <a:pt x="835301" y="1019125"/>
                  </a:lnTo>
                  <a:lnTo>
                    <a:pt x="839495" y="1022332"/>
                  </a:lnTo>
                  <a:lnTo>
                    <a:pt x="839495" y="1025589"/>
                  </a:lnTo>
                  <a:lnTo>
                    <a:pt x="835301" y="1023960"/>
                  </a:lnTo>
                  <a:lnTo>
                    <a:pt x="831157" y="1017595"/>
                  </a:lnTo>
                  <a:lnTo>
                    <a:pt x="824940" y="1017595"/>
                  </a:lnTo>
                  <a:lnTo>
                    <a:pt x="824940" y="1011181"/>
                  </a:lnTo>
                  <a:lnTo>
                    <a:pt x="818673" y="1009553"/>
                  </a:lnTo>
                  <a:lnTo>
                    <a:pt x="814480" y="1011181"/>
                  </a:lnTo>
                  <a:lnTo>
                    <a:pt x="810385" y="1007925"/>
                  </a:lnTo>
                  <a:lnTo>
                    <a:pt x="810385" y="1004619"/>
                  </a:lnTo>
                  <a:lnTo>
                    <a:pt x="814480" y="1001412"/>
                  </a:lnTo>
                  <a:close/>
                  <a:moveTo>
                    <a:pt x="1700089" y="946397"/>
                  </a:moveTo>
                  <a:lnTo>
                    <a:pt x="1704283" y="951331"/>
                  </a:lnTo>
                  <a:lnTo>
                    <a:pt x="1702162" y="956265"/>
                  </a:lnTo>
                  <a:lnTo>
                    <a:pt x="1698017" y="953009"/>
                  </a:lnTo>
                  <a:lnTo>
                    <a:pt x="1698017" y="946595"/>
                  </a:lnTo>
                  <a:close/>
                  <a:moveTo>
                    <a:pt x="1683215" y="927204"/>
                  </a:moveTo>
                  <a:lnTo>
                    <a:pt x="1685287" y="927401"/>
                  </a:lnTo>
                  <a:lnTo>
                    <a:pt x="1691554" y="935493"/>
                  </a:lnTo>
                  <a:lnTo>
                    <a:pt x="1693626" y="951627"/>
                  </a:lnTo>
                  <a:lnTo>
                    <a:pt x="1689481" y="958042"/>
                  </a:lnTo>
                  <a:lnTo>
                    <a:pt x="1687360" y="954835"/>
                  </a:lnTo>
                  <a:lnTo>
                    <a:pt x="1687360" y="944966"/>
                  </a:lnTo>
                  <a:lnTo>
                    <a:pt x="1683215" y="938503"/>
                  </a:lnTo>
                  <a:close/>
                  <a:moveTo>
                    <a:pt x="1676999" y="914129"/>
                  </a:moveTo>
                  <a:lnTo>
                    <a:pt x="1681143" y="919063"/>
                  </a:lnTo>
                  <a:lnTo>
                    <a:pt x="1681143" y="923997"/>
                  </a:lnTo>
                  <a:lnTo>
                    <a:pt x="1676999" y="922369"/>
                  </a:lnTo>
                  <a:lnTo>
                    <a:pt x="1674926" y="915954"/>
                  </a:lnTo>
                  <a:close/>
                  <a:moveTo>
                    <a:pt x="828541" y="852601"/>
                  </a:moveTo>
                  <a:lnTo>
                    <a:pt x="834808" y="852601"/>
                  </a:lnTo>
                  <a:lnTo>
                    <a:pt x="841074" y="857535"/>
                  </a:lnTo>
                  <a:lnTo>
                    <a:pt x="857652" y="859164"/>
                  </a:lnTo>
                  <a:lnTo>
                    <a:pt x="872455" y="859164"/>
                  </a:lnTo>
                  <a:lnTo>
                    <a:pt x="874576" y="862371"/>
                  </a:lnTo>
                  <a:lnTo>
                    <a:pt x="872455" y="865627"/>
                  </a:lnTo>
                  <a:lnTo>
                    <a:pt x="864165" y="868834"/>
                  </a:lnTo>
                  <a:lnTo>
                    <a:pt x="860021" y="870463"/>
                  </a:lnTo>
                  <a:lnTo>
                    <a:pt x="866238" y="870463"/>
                  </a:lnTo>
                  <a:lnTo>
                    <a:pt x="872455" y="868834"/>
                  </a:lnTo>
                  <a:lnTo>
                    <a:pt x="874576" y="873768"/>
                  </a:lnTo>
                  <a:lnTo>
                    <a:pt x="872455" y="885067"/>
                  </a:lnTo>
                  <a:lnTo>
                    <a:pt x="866238" y="890001"/>
                  </a:lnTo>
                  <a:lnTo>
                    <a:pt x="855876" y="890001"/>
                  </a:lnTo>
                  <a:lnTo>
                    <a:pt x="853754" y="891580"/>
                  </a:lnTo>
                  <a:lnTo>
                    <a:pt x="857899" y="894837"/>
                  </a:lnTo>
                  <a:lnTo>
                    <a:pt x="864165" y="891580"/>
                  </a:lnTo>
                  <a:lnTo>
                    <a:pt x="870431" y="893208"/>
                  </a:lnTo>
                  <a:lnTo>
                    <a:pt x="870431" y="898142"/>
                  </a:lnTo>
                  <a:lnTo>
                    <a:pt x="868310" y="903076"/>
                  </a:lnTo>
                  <a:lnTo>
                    <a:pt x="868310" y="906333"/>
                  </a:lnTo>
                  <a:lnTo>
                    <a:pt x="872455" y="924046"/>
                  </a:lnTo>
                  <a:lnTo>
                    <a:pt x="876895" y="931743"/>
                  </a:lnTo>
                  <a:lnTo>
                    <a:pt x="878967" y="947878"/>
                  </a:lnTo>
                  <a:lnTo>
                    <a:pt x="885233" y="957746"/>
                  </a:lnTo>
                  <a:lnTo>
                    <a:pt x="889379" y="970673"/>
                  </a:lnTo>
                  <a:lnTo>
                    <a:pt x="901812" y="983551"/>
                  </a:lnTo>
                  <a:lnTo>
                    <a:pt x="910151" y="996478"/>
                  </a:lnTo>
                  <a:lnTo>
                    <a:pt x="918489" y="996478"/>
                  </a:lnTo>
                  <a:lnTo>
                    <a:pt x="922634" y="1002892"/>
                  </a:lnTo>
                  <a:lnTo>
                    <a:pt x="935117" y="1010984"/>
                  </a:lnTo>
                  <a:lnTo>
                    <a:pt x="941333" y="1010984"/>
                  </a:lnTo>
                  <a:lnTo>
                    <a:pt x="947600" y="1019026"/>
                  </a:lnTo>
                  <a:lnTo>
                    <a:pt x="953817" y="1020654"/>
                  </a:lnTo>
                  <a:lnTo>
                    <a:pt x="958011" y="1019026"/>
                  </a:lnTo>
                  <a:lnTo>
                    <a:pt x="964227" y="1023960"/>
                  </a:lnTo>
                  <a:lnTo>
                    <a:pt x="966349" y="1027513"/>
                  </a:lnTo>
                  <a:lnTo>
                    <a:pt x="964277" y="1030720"/>
                  </a:lnTo>
                  <a:lnTo>
                    <a:pt x="958060" y="1037184"/>
                  </a:lnTo>
                  <a:lnTo>
                    <a:pt x="953866" y="1037184"/>
                  </a:lnTo>
                  <a:lnTo>
                    <a:pt x="951794" y="1035555"/>
                  </a:lnTo>
                  <a:lnTo>
                    <a:pt x="949722" y="1037184"/>
                  </a:lnTo>
                  <a:lnTo>
                    <a:pt x="953866" y="1040391"/>
                  </a:lnTo>
                  <a:lnTo>
                    <a:pt x="958060" y="1040391"/>
                  </a:lnTo>
                  <a:lnTo>
                    <a:pt x="960083" y="1045325"/>
                  </a:lnTo>
                  <a:lnTo>
                    <a:pt x="960083" y="1050259"/>
                  </a:lnTo>
                  <a:lnTo>
                    <a:pt x="955939" y="1051887"/>
                  </a:lnTo>
                  <a:lnTo>
                    <a:pt x="951794" y="1048631"/>
                  </a:lnTo>
                  <a:lnTo>
                    <a:pt x="949722" y="1042216"/>
                  </a:lnTo>
                  <a:lnTo>
                    <a:pt x="947649" y="1042216"/>
                  </a:lnTo>
                  <a:lnTo>
                    <a:pt x="945528" y="1040588"/>
                  </a:lnTo>
                  <a:lnTo>
                    <a:pt x="937238" y="1037381"/>
                  </a:lnTo>
                  <a:lnTo>
                    <a:pt x="935166" y="1037381"/>
                  </a:lnTo>
                  <a:lnTo>
                    <a:pt x="935166" y="1040588"/>
                  </a:lnTo>
                  <a:lnTo>
                    <a:pt x="941383" y="1043795"/>
                  </a:lnTo>
                  <a:lnTo>
                    <a:pt x="941383" y="1048729"/>
                  </a:lnTo>
                  <a:lnTo>
                    <a:pt x="935166" y="1048729"/>
                  </a:lnTo>
                  <a:lnTo>
                    <a:pt x="926828" y="1045522"/>
                  </a:lnTo>
                  <a:lnTo>
                    <a:pt x="922683" y="1040588"/>
                  </a:lnTo>
                  <a:lnTo>
                    <a:pt x="920611" y="1040588"/>
                  </a:lnTo>
                  <a:lnTo>
                    <a:pt x="918538" y="1047052"/>
                  </a:lnTo>
                  <a:lnTo>
                    <a:pt x="916417" y="1047052"/>
                  </a:lnTo>
                  <a:lnTo>
                    <a:pt x="912272" y="1040588"/>
                  </a:lnTo>
                  <a:lnTo>
                    <a:pt x="910200" y="1035654"/>
                  </a:lnTo>
                  <a:lnTo>
                    <a:pt x="903983" y="1032447"/>
                  </a:lnTo>
                  <a:lnTo>
                    <a:pt x="897717" y="1030819"/>
                  </a:lnTo>
                  <a:lnTo>
                    <a:pt x="895644" y="1032447"/>
                  </a:lnTo>
                  <a:lnTo>
                    <a:pt x="897717" y="1034026"/>
                  </a:lnTo>
                  <a:lnTo>
                    <a:pt x="908127" y="1038960"/>
                  </a:lnTo>
                  <a:lnTo>
                    <a:pt x="908127" y="1045423"/>
                  </a:lnTo>
                  <a:lnTo>
                    <a:pt x="903983" y="1050357"/>
                  </a:lnTo>
                  <a:lnTo>
                    <a:pt x="899839" y="1050357"/>
                  </a:lnTo>
                  <a:lnTo>
                    <a:pt x="893572" y="1047150"/>
                  </a:lnTo>
                  <a:lnTo>
                    <a:pt x="891500" y="1037282"/>
                  </a:lnTo>
                  <a:lnTo>
                    <a:pt x="887306" y="1034026"/>
                  </a:lnTo>
                  <a:lnTo>
                    <a:pt x="883162" y="1032447"/>
                  </a:lnTo>
                  <a:lnTo>
                    <a:pt x="885283" y="1038861"/>
                  </a:lnTo>
                  <a:lnTo>
                    <a:pt x="874872" y="1035654"/>
                  </a:lnTo>
                  <a:lnTo>
                    <a:pt x="868606" y="1037282"/>
                  </a:lnTo>
                  <a:lnTo>
                    <a:pt x="860317" y="1034026"/>
                  </a:lnTo>
                  <a:lnTo>
                    <a:pt x="849906" y="1032447"/>
                  </a:lnTo>
                  <a:lnTo>
                    <a:pt x="845761" y="1029190"/>
                  </a:lnTo>
                  <a:lnTo>
                    <a:pt x="845761" y="1025983"/>
                  </a:lnTo>
                  <a:lnTo>
                    <a:pt x="849906" y="1027611"/>
                  </a:lnTo>
                  <a:lnTo>
                    <a:pt x="854051" y="1025983"/>
                  </a:lnTo>
                  <a:lnTo>
                    <a:pt x="854051" y="1022727"/>
                  </a:lnTo>
                  <a:lnTo>
                    <a:pt x="847834" y="1017793"/>
                  </a:lnTo>
                  <a:lnTo>
                    <a:pt x="849906" y="1012859"/>
                  </a:lnTo>
                  <a:lnTo>
                    <a:pt x="854051" y="1011280"/>
                  </a:lnTo>
                  <a:lnTo>
                    <a:pt x="856172" y="1006346"/>
                  </a:lnTo>
                  <a:lnTo>
                    <a:pt x="860317" y="1006346"/>
                  </a:lnTo>
                  <a:lnTo>
                    <a:pt x="862389" y="1004718"/>
                  </a:lnTo>
                  <a:lnTo>
                    <a:pt x="858195" y="1003089"/>
                  </a:lnTo>
                  <a:lnTo>
                    <a:pt x="854051" y="1006346"/>
                  </a:lnTo>
                  <a:lnTo>
                    <a:pt x="847834" y="1006346"/>
                  </a:lnTo>
                  <a:lnTo>
                    <a:pt x="839544" y="1001412"/>
                  </a:lnTo>
                  <a:lnTo>
                    <a:pt x="833279" y="991544"/>
                  </a:lnTo>
                  <a:lnTo>
                    <a:pt x="833279" y="983452"/>
                  </a:lnTo>
                  <a:lnTo>
                    <a:pt x="831206" y="980245"/>
                  </a:lnTo>
                  <a:lnTo>
                    <a:pt x="827062" y="986708"/>
                  </a:lnTo>
                  <a:lnTo>
                    <a:pt x="827062" y="991642"/>
                  </a:lnTo>
                  <a:lnTo>
                    <a:pt x="822867" y="994850"/>
                  </a:lnTo>
                  <a:lnTo>
                    <a:pt x="818723" y="993221"/>
                  </a:lnTo>
                  <a:lnTo>
                    <a:pt x="816650" y="985179"/>
                  </a:lnTo>
                  <a:lnTo>
                    <a:pt x="812506" y="980245"/>
                  </a:lnTo>
                  <a:lnTo>
                    <a:pt x="812506" y="977038"/>
                  </a:lnTo>
                  <a:lnTo>
                    <a:pt x="816650" y="968946"/>
                  </a:lnTo>
                  <a:lnTo>
                    <a:pt x="812506" y="975409"/>
                  </a:lnTo>
                  <a:lnTo>
                    <a:pt x="810434" y="980343"/>
                  </a:lnTo>
                  <a:lnTo>
                    <a:pt x="812506" y="990212"/>
                  </a:lnTo>
                  <a:lnTo>
                    <a:pt x="806240" y="996675"/>
                  </a:lnTo>
                  <a:lnTo>
                    <a:pt x="802095" y="998254"/>
                  </a:lnTo>
                  <a:lnTo>
                    <a:pt x="797951" y="999882"/>
                  </a:lnTo>
                  <a:lnTo>
                    <a:pt x="791684" y="998254"/>
                  </a:lnTo>
                  <a:lnTo>
                    <a:pt x="781323" y="991840"/>
                  </a:lnTo>
                  <a:lnTo>
                    <a:pt x="781323" y="988583"/>
                  </a:lnTo>
                  <a:lnTo>
                    <a:pt x="770912" y="980541"/>
                  </a:lnTo>
                  <a:lnTo>
                    <a:pt x="768840" y="975607"/>
                  </a:lnTo>
                  <a:lnTo>
                    <a:pt x="770912" y="969143"/>
                  </a:lnTo>
                  <a:lnTo>
                    <a:pt x="768840" y="961101"/>
                  </a:lnTo>
                  <a:lnTo>
                    <a:pt x="768840" y="954637"/>
                  </a:lnTo>
                  <a:lnTo>
                    <a:pt x="775057" y="948124"/>
                  </a:lnTo>
                  <a:lnTo>
                    <a:pt x="779201" y="946545"/>
                  </a:lnTo>
                  <a:lnTo>
                    <a:pt x="785467" y="949752"/>
                  </a:lnTo>
                  <a:lnTo>
                    <a:pt x="791684" y="948124"/>
                  </a:lnTo>
                  <a:lnTo>
                    <a:pt x="795878" y="949752"/>
                  </a:lnTo>
                  <a:lnTo>
                    <a:pt x="797951" y="948124"/>
                  </a:lnTo>
                  <a:lnTo>
                    <a:pt x="793757" y="941710"/>
                  </a:lnTo>
                  <a:lnTo>
                    <a:pt x="793757" y="936776"/>
                  </a:lnTo>
                  <a:lnTo>
                    <a:pt x="797951" y="933519"/>
                  </a:lnTo>
                  <a:lnTo>
                    <a:pt x="804168" y="933519"/>
                  </a:lnTo>
                  <a:lnTo>
                    <a:pt x="808312" y="930312"/>
                  </a:lnTo>
                  <a:lnTo>
                    <a:pt x="799480" y="930312"/>
                  </a:lnTo>
                  <a:lnTo>
                    <a:pt x="795336" y="925378"/>
                  </a:lnTo>
                  <a:lnTo>
                    <a:pt x="795336" y="922122"/>
                  </a:lnTo>
                  <a:lnTo>
                    <a:pt x="801552" y="917188"/>
                  </a:lnTo>
                  <a:lnTo>
                    <a:pt x="799480" y="913981"/>
                  </a:lnTo>
                  <a:lnTo>
                    <a:pt x="795336" y="915609"/>
                  </a:lnTo>
                  <a:lnTo>
                    <a:pt x="791142" y="920543"/>
                  </a:lnTo>
                  <a:lnTo>
                    <a:pt x="786997" y="920543"/>
                  </a:lnTo>
                  <a:lnTo>
                    <a:pt x="789069" y="915609"/>
                  </a:lnTo>
                  <a:lnTo>
                    <a:pt x="795336" y="910675"/>
                  </a:lnTo>
                  <a:lnTo>
                    <a:pt x="793214" y="907418"/>
                  </a:lnTo>
                  <a:lnTo>
                    <a:pt x="784925" y="912353"/>
                  </a:lnTo>
                  <a:lnTo>
                    <a:pt x="778658" y="913981"/>
                  </a:lnTo>
                  <a:lnTo>
                    <a:pt x="774514" y="910774"/>
                  </a:lnTo>
                  <a:lnTo>
                    <a:pt x="776586" y="902682"/>
                  </a:lnTo>
                  <a:lnTo>
                    <a:pt x="780780" y="894639"/>
                  </a:lnTo>
                  <a:lnTo>
                    <a:pt x="789069" y="891383"/>
                  </a:lnTo>
                  <a:lnTo>
                    <a:pt x="795336" y="893011"/>
                  </a:lnTo>
                  <a:lnTo>
                    <a:pt x="797408" y="889804"/>
                  </a:lnTo>
                  <a:lnTo>
                    <a:pt x="795336" y="886547"/>
                  </a:lnTo>
                  <a:lnTo>
                    <a:pt x="789069" y="886547"/>
                  </a:lnTo>
                  <a:lnTo>
                    <a:pt x="786997" y="880133"/>
                  </a:lnTo>
                  <a:lnTo>
                    <a:pt x="789069" y="876877"/>
                  </a:lnTo>
                  <a:lnTo>
                    <a:pt x="789069" y="868834"/>
                  </a:lnTo>
                  <a:lnTo>
                    <a:pt x="799480" y="863900"/>
                  </a:lnTo>
                  <a:lnTo>
                    <a:pt x="803625" y="860693"/>
                  </a:lnTo>
                  <a:lnTo>
                    <a:pt x="816108" y="860693"/>
                  </a:lnTo>
                  <a:close/>
                  <a:moveTo>
                    <a:pt x="1473321" y="820629"/>
                  </a:moveTo>
                  <a:lnTo>
                    <a:pt x="1479588" y="822208"/>
                  </a:lnTo>
                  <a:lnTo>
                    <a:pt x="1483732" y="823836"/>
                  </a:lnTo>
                  <a:lnTo>
                    <a:pt x="1483732" y="828770"/>
                  </a:lnTo>
                  <a:lnTo>
                    <a:pt x="1477515" y="835234"/>
                  </a:lnTo>
                  <a:lnTo>
                    <a:pt x="1473321" y="836812"/>
                  </a:lnTo>
                  <a:lnTo>
                    <a:pt x="1467105" y="844904"/>
                  </a:lnTo>
                  <a:lnTo>
                    <a:pt x="1462960" y="846532"/>
                  </a:lnTo>
                  <a:lnTo>
                    <a:pt x="1456743" y="851466"/>
                  </a:lnTo>
                  <a:lnTo>
                    <a:pt x="1452549" y="851466"/>
                  </a:lnTo>
                  <a:lnTo>
                    <a:pt x="1448404" y="848210"/>
                  </a:lnTo>
                  <a:lnTo>
                    <a:pt x="1450477" y="841746"/>
                  </a:lnTo>
                  <a:lnTo>
                    <a:pt x="1454671" y="840168"/>
                  </a:lnTo>
                  <a:lnTo>
                    <a:pt x="1458864" y="833655"/>
                  </a:lnTo>
                  <a:lnTo>
                    <a:pt x="1458864" y="828721"/>
                  </a:lnTo>
                  <a:lnTo>
                    <a:pt x="1462960" y="823836"/>
                  </a:lnTo>
                  <a:close/>
                  <a:moveTo>
                    <a:pt x="1359098" y="799511"/>
                  </a:moveTo>
                  <a:lnTo>
                    <a:pt x="1365315" y="801139"/>
                  </a:lnTo>
                  <a:lnTo>
                    <a:pt x="1367437" y="806073"/>
                  </a:lnTo>
                  <a:lnTo>
                    <a:pt x="1363243" y="807652"/>
                  </a:lnTo>
                  <a:lnTo>
                    <a:pt x="1363243" y="812586"/>
                  </a:lnTo>
                  <a:lnTo>
                    <a:pt x="1367437" y="815843"/>
                  </a:lnTo>
                  <a:lnTo>
                    <a:pt x="1369509" y="822257"/>
                  </a:lnTo>
                  <a:lnTo>
                    <a:pt x="1363243" y="822454"/>
                  </a:lnTo>
                  <a:lnTo>
                    <a:pt x="1361171" y="817520"/>
                  </a:lnTo>
                  <a:lnTo>
                    <a:pt x="1354905" y="817520"/>
                  </a:lnTo>
                  <a:lnTo>
                    <a:pt x="1350760" y="812586"/>
                  </a:lnTo>
                  <a:lnTo>
                    <a:pt x="1352881" y="802718"/>
                  </a:lnTo>
                  <a:close/>
                  <a:moveTo>
                    <a:pt x="1250747" y="783278"/>
                  </a:moveTo>
                  <a:lnTo>
                    <a:pt x="1254892" y="784906"/>
                  </a:lnTo>
                  <a:lnTo>
                    <a:pt x="1261109" y="791321"/>
                  </a:lnTo>
                  <a:lnTo>
                    <a:pt x="1261109" y="796255"/>
                  </a:lnTo>
                  <a:lnTo>
                    <a:pt x="1271519" y="801189"/>
                  </a:lnTo>
                  <a:lnTo>
                    <a:pt x="1275664" y="807603"/>
                  </a:lnTo>
                  <a:lnTo>
                    <a:pt x="1273592" y="810859"/>
                  </a:lnTo>
                  <a:lnTo>
                    <a:pt x="1267325" y="812438"/>
                  </a:lnTo>
                  <a:lnTo>
                    <a:pt x="1261109" y="817372"/>
                  </a:lnTo>
                  <a:lnTo>
                    <a:pt x="1256964" y="822306"/>
                  </a:lnTo>
                  <a:lnTo>
                    <a:pt x="1252770" y="823935"/>
                  </a:lnTo>
                  <a:lnTo>
                    <a:pt x="1248625" y="822306"/>
                  </a:lnTo>
                  <a:lnTo>
                    <a:pt x="1246553" y="823935"/>
                  </a:lnTo>
                  <a:lnTo>
                    <a:pt x="1242408" y="819001"/>
                  </a:lnTo>
                  <a:lnTo>
                    <a:pt x="1238215" y="819001"/>
                  </a:lnTo>
                  <a:lnTo>
                    <a:pt x="1238215" y="822208"/>
                  </a:lnTo>
                  <a:lnTo>
                    <a:pt x="1240336" y="825464"/>
                  </a:lnTo>
                  <a:lnTo>
                    <a:pt x="1236191" y="825464"/>
                  </a:lnTo>
                  <a:lnTo>
                    <a:pt x="1229925" y="820678"/>
                  </a:lnTo>
                  <a:lnTo>
                    <a:pt x="1231998" y="812586"/>
                  </a:lnTo>
                  <a:lnTo>
                    <a:pt x="1229925" y="806172"/>
                  </a:lnTo>
                  <a:lnTo>
                    <a:pt x="1225781" y="801238"/>
                  </a:lnTo>
                  <a:lnTo>
                    <a:pt x="1225781" y="796304"/>
                  </a:lnTo>
                  <a:lnTo>
                    <a:pt x="1231998" y="789840"/>
                  </a:lnTo>
                  <a:lnTo>
                    <a:pt x="1238215" y="789840"/>
                  </a:lnTo>
                  <a:lnTo>
                    <a:pt x="1244481" y="784906"/>
                  </a:lnTo>
                  <a:close/>
                  <a:moveTo>
                    <a:pt x="1392354" y="781946"/>
                  </a:moveTo>
                  <a:lnTo>
                    <a:pt x="1398620" y="785202"/>
                  </a:lnTo>
                  <a:lnTo>
                    <a:pt x="1408981" y="786781"/>
                  </a:lnTo>
                  <a:lnTo>
                    <a:pt x="1408981" y="790038"/>
                  </a:lnTo>
                  <a:lnTo>
                    <a:pt x="1396548" y="790038"/>
                  </a:lnTo>
                  <a:lnTo>
                    <a:pt x="1388209" y="783574"/>
                  </a:lnTo>
                  <a:close/>
                  <a:moveTo>
                    <a:pt x="1483831" y="772275"/>
                  </a:moveTo>
                  <a:lnTo>
                    <a:pt x="1487975" y="778838"/>
                  </a:lnTo>
                  <a:lnTo>
                    <a:pt x="1496314" y="785301"/>
                  </a:lnTo>
                  <a:lnTo>
                    <a:pt x="1498386" y="793344"/>
                  </a:lnTo>
                  <a:lnTo>
                    <a:pt x="1502531" y="803212"/>
                  </a:lnTo>
                  <a:lnTo>
                    <a:pt x="1502531" y="806468"/>
                  </a:lnTo>
                  <a:lnTo>
                    <a:pt x="1496314" y="808047"/>
                  </a:lnTo>
                  <a:lnTo>
                    <a:pt x="1490097" y="806468"/>
                  </a:lnTo>
                  <a:lnTo>
                    <a:pt x="1483831" y="804840"/>
                  </a:lnTo>
                  <a:lnTo>
                    <a:pt x="1481758" y="801633"/>
                  </a:lnTo>
                  <a:lnTo>
                    <a:pt x="1473420" y="801633"/>
                  </a:lnTo>
                  <a:lnTo>
                    <a:pt x="1471397" y="796699"/>
                  </a:lnTo>
                  <a:lnTo>
                    <a:pt x="1475542" y="788607"/>
                  </a:lnTo>
                  <a:lnTo>
                    <a:pt x="1477614" y="778739"/>
                  </a:lnTo>
                  <a:close/>
                  <a:moveTo>
                    <a:pt x="1375726" y="757769"/>
                  </a:moveTo>
                  <a:lnTo>
                    <a:pt x="1377799" y="759397"/>
                  </a:lnTo>
                  <a:lnTo>
                    <a:pt x="1373654" y="762605"/>
                  </a:lnTo>
                  <a:lnTo>
                    <a:pt x="1373654" y="769068"/>
                  </a:lnTo>
                  <a:lnTo>
                    <a:pt x="1367437" y="772275"/>
                  </a:lnTo>
                  <a:lnTo>
                    <a:pt x="1363243" y="770696"/>
                  </a:lnTo>
                  <a:lnTo>
                    <a:pt x="1357026" y="777111"/>
                  </a:lnTo>
                  <a:lnTo>
                    <a:pt x="1357026" y="772275"/>
                  </a:lnTo>
                  <a:lnTo>
                    <a:pt x="1361171" y="765861"/>
                  </a:lnTo>
                  <a:lnTo>
                    <a:pt x="1371582" y="759397"/>
                  </a:lnTo>
                  <a:close/>
                  <a:moveTo>
                    <a:pt x="1577429" y="691653"/>
                  </a:moveTo>
                  <a:lnTo>
                    <a:pt x="1583646" y="694910"/>
                  </a:lnTo>
                  <a:lnTo>
                    <a:pt x="1581574" y="696488"/>
                  </a:lnTo>
                  <a:lnTo>
                    <a:pt x="1571163" y="696488"/>
                  </a:lnTo>
                  <a:lnTo>
                    <a:pt x="1569091" y="694910"/>
                  </a:lnTo>
                  <a:close/>
                  <a:moveTo>
                    <a:pt x="1529618" y="686818"/>
                  </a:moveTo>
                  <a:lnTo>
                    <a:pt x="1533763" y="690074"/>
                  </a:lnTo>
                  <a:lnTo>
                    <a:pt x="1527497" y="696488"/>
                  </a:lnTo>
                  <a:lnTo>
                    <a:pt x="1521280" y="696587"/>
                  </a:lnTo>
                  <a:lnTo>
                    <a:pt x="1519208" y="691653"/>
                  </a:lnTo>
                  <a:lnTo>
                    <a:pt x="1523353" y="688446"/>
                  </a:lnTo>
                  <a:close/>
                  <a:moveTo>
                    <a:pt x="1548319" y="683512"/>
                  </a:moveTo>
                  <a:lnTo>
                    <a:pt x="1554535" y="685140"/>
                  </a:lnTo>
                  <a:lnTo>
                    <a:pt x="1554535" y="688347"/>
                  </a:lnTo>
                  <a:lnTo>
                    <a:pt x="1548319" y="691554"/>
                  </a:lnTo>
                  <a:lnTo>
                    <a:pt x="1542052" y="689976"/>
                  </a:lnTo>
                  <a:lnTo>
                    <a:pt x="1537908" y="686719"/>
                  </a:lnTo>
                  <a:lnTo>
                    <a:pt x="1544174" y="685140"/>
                  </a:lnTo>
                  <a:close/>
                  <a:moveTo>
                    <a:pt x="1633529" y="681982"/>
                  </a:moveTo>
                  <a:lnTo>
                    <a:pt x="1637723" y="683512"/>
                  </a:lnTo>
                  <a:lnTo>
                    <a:pt x="1641868" y="688446"/>
                  </a:lnTo>
                  <a:lnTo>
                    <a:pt x="1639796" y="691653"/>
                  </a:lnTo>
                  <a:lnTo>
                    <a:pt x="1635651" y="690074"/>
                  </a:lnTo>
                  <a:close/>
                  <a:moveTo>
                    <a:pt x="1608612" y="670535"/>
                  </a:moveTo>
                  <a:lnTo>
                    <a:pt x="1614829" y="672114"/>
                  </a:lnTo>
                  <a:lnTo>
                    <a:pt x="1610685" y="677048"/>
                  </a:lnTo>
                  <a:lnTo>
                    <a:pt x="1602395" y="677048"/>
                  </a:lnTo>
                  <a:lnTo>
                    <a:pt x="1604418" y="675371"/>
                  </a:lnTo>
                  <a:lnTo>
                    <a:pt x="1604418" y="672114"/>
                  </a:lnTo>
                  <a:close/>
                  <a:moveTo>
                    <a:pt x="1427731" y="657608"/>
                  </a:moveTo>
                  <a:lnTo>
                    <a:pt x="1433948" y="659237"/>
                  </a:lnTo>
                  <a:lnTo>
                    <a:pt x="1431875" y="664171"/>
                  </a:lnTo>
                  <a:lnTo>
                    <a:pt x="1433948" y="669105"/>
                  </a:lnTo>
                  <a:lnTo>
                    <a:pt x="1429803" y="670634"/>
                  </a:lnTo>
                  <a:lnTo>
                    <a:pt x="1423537" y="669006"/>
                  </a:lnTo>
                  <a:lnTo>
                    <a:pt x="1423537" y="664072"/>
                  </a:lnTo>
                  <a:lnTo>
                    <a:pt x="1419392" y="662444"/>
                  </a:lnTo>
                  <a:lnTo>
                    <a:pt x="1421465" y="659237"/>
                  </a:lnTo>
                  <a:close/>
                  <a:moveTo>
                    <a:pt x="1575308" y="648036"/>
                  </a:moveTo>
                  <a:lnTo>
                    <a:pt x="1579502" y="648036"/>
                  </a:lnTo>
                  <a:lnTo>
                    <a:pt x="1579502" y="651243"/>
                  </a:lnTo>
                  <a:lnTo>
                    <a:pt x="1575308" y="654500"/>
                  </a:lnTo>
                  <a:lnTo>
                    <a:pt x="1573285" y="656079"/>
                  </a:lnTo>
                  <a:lnTo>
                    <a:pt x="1575308" y="657707"/>
                  </a:lnTo>
                  <a:lnTo>
                    <a:pt x="1573285" y="659335"/>
                  </a:lnTo>
                  <a:lnTo>
                    <a:pt x="1567019" y="657707"/>
                  </a:lnTo>
                  <a:lnTo>
                    <a:pt x="1567019" y="654500"/>
                  </a:lnTo>
                  <a:close/>
                  <a:moveTo>
                    <a:pt x="860268" y="644878"/>
                  </a:moveTo>
                  <a:lnTo>
                    <a:pt x="862339" y="644878"/>
                  </a:lnTo>
                  <a:lnTo>
                    <a:pt x="862339" y="649812"/>
                  </a:lnTo>
                  <a:lnTo>
                    <a:pt x="851929" y="654747"/>
                  </a:lnTo>
                  <a:lnTo>
                    <a:pt x="849857" y="657954"/>
                  </a:lnTo>
                  <a:lnTo>
                    <a:pt x="847784" y="659582"/>
                  </a:lnTo>
                  <a:lnTo>
                    <a:pt x="843591" y="654648"/>
                  </a:lnTo>
                  <a:lnTo>
                    <a:pt x="847784" y="651391"/>
                  </a:lnTo>
                  <a:lnTo>
                    <a:pt x="854001" y="649812"/>
                  </a:lnTo>
                  <a:close/>
                  <a:moveTo>
                    <a:pt x="1589863" y="643102"/>
                  </a:moveTo>
                  <a:lnTo>
                    <a:pt x="1596130" y="643102"/>
                  </a:lnTo>
                  <a:lnTo>
                    <a:pt x="1598202" y="646309"/>
                  </a:lnTo>
                  <a:lnTo>
                    <a:pt x="1598202" y="649664"/>
                  </a:lnTo>
                  <a:lnTo>
                    <a:pt x="1594057" y="651243"/>
                  </a:lnTo>
                  <a:lnTo>
                    <a:pt x="1587840" y="651243"/>
                  </a:lnTo>
                  <a:lnTo>
                    <a:pt x="1587840" y="646309"/>
                  </a:lnTo>
                  <a:close/>
                  <a:moveTo>
                    <a:pt x="1602395" y="638069"/>
                  </a:moveTo>
                  <a:lnTo>
                    <a:pt x="1608612" y="638069"/>
                  </a:lnTo>
                  <a:lnTo>
                    <a:pt x="1612757" y="641277"/>
                  </a:lnTo>
                  <a:lnTo>
                    <a:pt x="1612757" y="646211"/>
                  </a:lnTo>
                  <a:lnTo>
                    <a:pt x="1606540" y="651145"/>
                  </a:lnTo>
                  <a:lnTo>
                    <a:pt x="1602395" y="651145"/>
                  </a:lnTo>
                  <a:lnTo>
                    <a:pt x="1600274" y="649566"/>
                  </a:lnTo>
                  <a:lnTo>
                    <a:pt x="1604418" y="646211"/>
                  </a:lnTo>
                  <a:lnTo>
                    <a:pt x="1602395" y="643003"/>
                  </a:lnTo>
                  <a:close/>
                  <a:moveTo>
                    <a:pt x="1577429" y="622133"/>
                  </a:moveTo>
                  <a:lnTo>
                    <a:pt x="1583646" y="623761"/>
                  </a:lnTo>
                  <a:lnTo>
                    <a:pt x="1585719" y="625389"/>
                  </a:lnTo>
                  <a:lnTo>
                    <a:pt x="1579502" y="631803"/>
                  </a:lnTo>
                  <a:lnTo>
                    <a:pt x="1575308" y="628596"/>
                  </a:lnTo>
                  <a:lnTo>
                    <a:pt x="1567019" y="626968"/>
                  </a:lnTo>
                  <a:lnTo>
                    <a:pt x="1567019" y="625389"/>
                  </a:lnTo>
                  <a:lnTo>
                    <a:pt x="1573285" y="623761"/>
                  </a:lnTo>
                  <a:close/>
                  <a:moveTo>
                    <a:pt x="1606540" y="601163"/>
                  </a:moveTo>
                  <a:lnTo>
                    <a:pt x="1614829" y="602791"/>
                  </a:lnTo>
                  <a:lnTo>
                    <a:pt x="1618974" y="605998"/>
                  </a:lnTo>
                  <a:lnTo>
                    <a:pt x="1618974" y="609255"/>
                  </a:lnTo>
                  <a:lnTo>
                    <a:pt x="1612757" y="610883"/>
                  </a:lnTo>
                  <a:lnTo>
                    <a:pt x="1616951" y="614090"/>
                  </a:lnTo>
                  <a:lnTo>
                    <a:pt x="1616951" y="615718"/>
                  </a:lnTo>
                  <a:lnTo>
                    <a:pt x="1612757" y="617297"/>
                  </a:lnTo>
                  <a:lnTo>
                    <a:pt x="1608612" y="614238"/>
                  </a:lnTo>
                  <a:lnTo>
                    <a:pt x="1600274" y="614238"/>
                  </a:lnTo>
                  <a:lnTo>
                    <a:pt x="1596130" y="611031"/>
                  </a:lnTo>
                  <a:lnTo>
                    <a:pt x="1594057" y="606097"/>
                  </a:lnTo>
                  <a:lnTo>
                    <a:pt x="1596130" y="604518"/>
                  </a:lnTo>
                  <a:lnTo>
                    <a:pt x="1600274" y="607725"/>
                  </a:lnTo>
                  <a:lnTo>
                    <a:pt x="1602395" y="607725"/>
                  </a:lnTo>
                  <a:lnTo>
                    <a:pt x="1602395" y="602791"/>
                  </a:lnTo>
                  <a:close/>
                  <a:moveTo>
                    <a:pt x="1463058" y="577332"/>
                  </a:moveTo>
                  <a:lnTo>
                    <a:pt x="1465131" y="582266"/>
                  </a:lnTo>
                  <a:lnTo>
                    <a:pt x="1465131" y="585522"/>
                  </a:lnTo>
                  <a:lnTo>
                    <a:pt x="1469325" y="590456"/>
                  </a:lnTo>
                  <a:lnTo>
                    <a:pt x="1469325" y="593663"/>
                  </a:lnTo>
                  <a:lnTo>
                    <a:pt x="1465131" y="596870"/>
                  </a:lnTo>
                  <a:lnTo>
                    <a:pt x="1467203" y="603334"/>
                  </a:lnTo>
                  <a:lnTo>
                    <a:pt x="1467203" y="609699"/>
                  </a:lnTo>
                  <a:lnTo>
                    <a:pt x="1463058" y="606442"/>
                  </a:lnTo>
                  <a:lnTo>
                    <a:pt x="1460986" y="600028"/>
                  </a:lnTo>
                  <a:lnTo>
                    <a:pt x="1458864" y="598400"/>
                  </a:lnTo>
                  <a:lnTo>
                    <a:pt x="1454769" y="600028"/>
                  </a:lnTo>
                  <a:lnTo>
                    <a:pt x="1450576" y="598400"/>
                  </a:lnTo>
                  <a:lnTo>
                    <a:pt x="1450576" y="586854"/>
                  </a:lnTo>
                  <a:lnTo>
                    <a:pt x="1452648" y="590111"/>
                  </a:lnTo>
                  <a:lnTo>
                    <a:pt x="1456841" y="591690"/>
                  </a:lnTo>
                  <a:lnTo>
                    <a:pt x="1456743" y="587101"/>
                  </a:lnTo>
                  <a:lnTo>
                    <a:pt x="1452549" y="582167"/>
                  </a:lnTo>
                  <a:lnTo>
                    <a:pt x="1454671" y="578960"/>
                  </a:lnTo>
                  <a:lnTo>
                    <a:pt x="1456841" y="578960"/>
                  </a:lnTo>
                  <a:close/>
                  <a:moveTo>
                    <a:pt x="1430000" y="548073"/>
                  </a:moveTo>
                  <a:lnTo>
                    <a:pt x="1433948" y="548073"/>
                  </a:lnTo>
                  <a:lnTo>
                    <a:pt x="1436020" y="553007"/>
                  </a:lnTo>
                  <a:lnTo>
                    <a:pt x="1444309" y="554635"/>
                  </a:lnTo>
                  <a:lnTo>
                    <a:pt x="1442484" y="557842"/>
                  </a:lnTo>
                  <a:lnTo>
                    <a:pt x="1436217" y="557842"/>
                  </a:lnTo>
                  <a:lnTo>
                    <a:pt x="1427928" y="554635"/>
                  </a:lnTo>
                  <a:lnTo>
                    <a:pt x="1425856" y="549701"/>
                  </a:lnTo>
                  <a:close/>
                  <a:moveTo>
                    <a:pt x="1454769" y="540129"/>
                  </a:moveTo>
                  <a:lnTo>
                    <a:pt x="1458864" y="543336"/>
                  </a:lnTo>
                  <a:lnTo>
                    <a:pt x="1469325" y="544964"/>
                  </a:lnTo>
                  <a:lnTo>
                    <a:pt x="1469325" y="546543"/>
                  </a:lnTo>
                  <a:lnTo>
                    <a:pt x="1463058" y="549800"/>
                  </a:lnTo>
                  <a:lnTo>
                    <a:pt x="1456841" y="548171"/>
                  </a:lnTo>
                  <a:lnTo>
                    <a:pt x="1448503" y="549800"/>
                  </a:lnTo>
                  <a:lnTo>
                    <a:pt x="1446431" y="548171"/>
                  </a:lnTo>
                  <a:lnTo>
                    <a:pt x="1450576" y="541708"/>
                  </a:lnTo>
                  <a:close/>
                  <a:moveTo>
                    <a:pt x="2560930" y="538797"/>
                  </a:moveTo>
                  <a:lnTo>
                    <a:pt x="2567147" y="538797"/>
                  </a:lnTo>
                  <a:lnTo>
                    <a:pt x="2573414" y="543731"/>
                  </a:lnTo>
                  <a:lnTo>
                    <a:pt x="2577558" y="546938"/>
                  </a:lnTo>
                  <a:lnTo>
                    <a:pt x="2577558" y="550194"/>
                  </a:lnTo>
                  <a:lnTo>
                    <a:pt x="2575486" y="548566"/>
                  </a:lnTo>
                  <a:lnTo>
                    <a:pt x="2571292" y="551773"/>
                  </a:lnTo>
                  <a:lnTo>
                    <a:pt x="2563003" y="551773"/>
                  </a:lnTo>
                  <a:lnTo>
                    <a:pt x="2563003" y="546839"/>
                  </a:lnTo>
                  <a:lnTo>
                    <a:pt x="2558859" y="543632"/>
                  </a:lnTo>
                  <a:lnTo>
                    <a:pt x="2556737" y="540425"/>
                  </a:lnTo>
                  <a:close/>
                  <a:moveTo>
                    <a:pt x="1055951" y="526955"/>
                  </a:moveTo>
                  <a:lnTo>
                    <a:pt x="1060145" y="530211"/>
                  </a:lnTo>
                  <a:lnTo>
                    <a:pt x="1060145" y="535145"/>
                  </a:lnTo>
                  <a:lnTo>
                    <a:pt x="1064290" y="540080"/>
                  </a:lnTo>
                  <a:lnTo>
                    <a:pt x="1070507" y="541658"/>
                  </a:lnTo>
                  <a:lnTo>
                    <a:pt x="1074701" y="544915"/>
                  </a:lnTo>
                  <a:lnTo>
                    <a:pt x="1080917" y="544915"/>
                  </a:lnTo>
                  <a:lnTo>
                    <a:pt x="1082990" y="548122"/>
                  </a:lnTo>
                  <a:lnTo>
                    <a:pt x="1078845" y="556165"/>
                  </a:lnTo>
                  <a:lnTo>
                    <a:pt x="1080917" y="562628"/>
                  </a:lnTo>
                  <a:lnTo>
                    <a:pt x="1085062" y="564256"/>
                  </a:lnTo>
                  <a:lnTo>
                    <a:pt x="1087134" y="565885"/>
                  </a:lnTo>
                  <a:lnTo>
                    <a:pt x="1087134" y="573927"/>
                  </a:lnTo>
                  <a:lnTo>
                    <a:pt x="1089256" y="578861"/>
                  </a:lnTo>
                  <a:lnTo>
                    <a:pt x="1085062" y="585325"/>
                  </a:lnTo>
                  <a:lnTo>
                    <a:pt x="1087134" y="588532"/>
                  </a:lnTo>
                  <a:lnTo>
                    <a:pt x="1087134" y="591098"/>
                  </a:lnTo>
                  <a:lnTo>
                    <a:pt x="1080917" y="592726"/>
                  </a:lnTo>
                  <a:lnTo>
                    <a:pt x="1076773" y="592726"/>
                  </a:lnTo>
                  <a:lnTo>
                    <a:pt x="1070507" y="595933"/>
                  </a:lnTo>
                  <a:lnTo>
                    <a:pt x="1062217" y="605801"/>
                  </a:lnTo>
                  <a:lnTo>
                    <a:pt x="1053879" y="610735"/>
                  </a:lnTo>
                  <a:lnTo>
                    <a:pt x="1043468" y="613942"/>
                  </a:lnTo>
                  <a:lnTo>
                    <a:pt x="1033058" y="621985"/>
                  </a:lnTo>
                  <a:lnTo>
                    <a:pt x="1028913" y="621985"/>
                  </a:lnTo>
                  <a:lnTo>
                    <a:pt x="1018502" y="630076"/>
                  </a:lnTo>
                  <a:lnTo>
                    <a:pt x="1003700" y="644582"/>
                  </a:lnTo>
                  <a:lnTo>
                    <a:pt x="988898" y="652625"/>
                  </a:lnTo>
                  <a:lnTo>
                    <a:pt x="984753" y="652625"/>
                  </a:lnTo>
                  <a:lnTo>
                    <a:pt x="980609" y="663924"/>
                  </a:lnTo>
                  <a:lnTo>
                    <a:pt x="974342" y="673792"/>
                  </a:lnTo>
                  <a:lnTo>
                    <a:pt x="963981" y="678726"/>
                  </a:lnTo>
                  <a:lnTo>
                    <a:pt x="961909" y="686768"/>
                  </a:lnTo>
                  <a:lnTo>
                    <a:pt x="957764" y="690025"/>
                  </a:lnTo>
                  <a:lnTo>
                    <a:pt x="955642" y="696439"/>
                  </a:lnTo>
                  <a:lnTo>
                    <a:pt x="945232" y="707738"/>
                  </a:lnTo>
                  <a:lnTo>
                    <a:pt x="941087" y="710995"/>
                  </a:lnTo>
                  <a:lnTo>
                    <a:pt x="936942" y="706061"/>
                  </a:lnTo>
                  <a:lnTo>
                    <a:pt x="934870" y="710995"/>
                  </a:lnTo>
                  <a:lnTo>
                    <a:pt x="936942" y="715929"/>
                  </a:lnTo>
                  <a:lnTo>
                    <a:pt x="943208" y="719136"/>
                  </a:lnTo>
                  <a:lnTo>
                    <a:pt x="941087" y="724070"/>
                  </a:lnTo>
                  <a:lnTo>
                    <a:pt x="932798" y="727277"/>
                  </a:lnTo>
                  <a:lnTo>
                    <a:pt x="930676" y="728905"/>
                  </a:lnTo>
                  <a:lnTo>
                    <a:pt x="932798" y="732112"/>
                  </a:lnTo>
                  <a:lnTo>
                    <a:pt x="932798" y="738823"/>
                  </a:lnTo>
                  <a:lnTo>
                    <a:pt x="926531" y="742030"/>
                  </a:lnTo>
                  <a:lnTo>
                    <a:pt x="922387" y="740451"/>
                  </a:lnTo>
                  <a:lnTo>
                    <a:pt x="918242" y="740451"/>
                  </a:lnTo>
                  <a:lnTo>
                    <a:pt x="918242" y="743658"/>
                  </a:lnTo>
                  <a:lnTo>
                    <a:pt x="922387" y="746914"/>
                  </a:lnTo>
                  <a:lnTo>
                    <a:pt x="920314" y="750121"/>
                  </a:lnTo>
                  <a:lnTo>
                    <a:pt x="911976" y="746914"/>
                  </a:lnTo>
                  <a:lnTo>
                    <a:pt x="905759" y="743658"/>
                  </a:lnTo>
                  <a:lnTo>
                    <a:pt x="899542" y="743658"/>
                  </a:lnTo>
                  <a:lnTo>
                    <a:pt x="899542" y="751750"/>
                  </a:lnTo>
                  <a:lnTo>
                    <a:pt x="903687" y="751750"/>
                  </a:lnTo>
                  <a:lnTo>
                    <a:pt x="905759" y="753329"/>
                  </a:lnTo>
                  <a:lnTo>
                    <a:pt x="903687" y="761420"/>
                  </a:lnTo>
                  <a:lnTo>
                    <a:pt x="899542" y="761420"/>
                  </a:lnTo>
                  <a:lnTo>
                    <a:pt x="893276" y="756486"/>
                  </a:lnTo>
                  <a:lnTo>
                    <a:pt x="887010" y="758065"/>
                  </a:lnTo>
                  <a:lnTo>
                    <a:pt x="895349" y="766157"/>
                  </a:lnTo>
                  <a:lnTo>
                    <a:pt x="901565" y="771091"/>
                  </a:lnTo>
                  <a:lnTo>
                    <a:pt x="901565" y="777456"/>
                  </a:lnTo>
                  <a:lnTo>
                    <a:pt x="897421" y="783920"/>
                  </a:lnTo>
                  <a:lnTo>
                    <a:pt x="897421" y="787127"/>
                  </a:lnTo>
                  <a:lnTo>
                    <a:pt x="899542" y="790383"/>
                  </a:lnTo>
                  <a:lnTo>
                    <a:pt x="899542" y="796847"/>
                  </a:lnTo>
                  <a:lnTo>
                    <a:pt x="893276" y="796847"/>
                  </a:lnTo>
                  <a:lnTo>
                    <a:pt x="884987" y="793590"/>
                  </a:lnTo>
                  <a:lnTo>
                    <a:pt x="884987" y="788656"/>
                  </a:lnTo>
                  <a:lnTo>
                    <a:pt x="878721" y="783722"/>
                  </a:lnTo>
                  <a:lnTo>
                    <a:pt x="876648" y="786929"/>
                  </a:lnTo>
                  <a:lnTo>
                    <a:pt x="884987" y="795021"/>
                  </a:lnTo>
                  <a:lnTo>
                    <a:pt x="891204" y="804889"/>
                  </a:lnTo>
                  <a:lnTo>
                    <a:pt x="895349" y="812932"/>
                  </a:lnTo>
                  <a:lnTo>
                    <a:pt x="891204" y="817866"/>
                  </a:lnTo>
                  <a:lnTo>
                    <a:pt x="887010" y="816287"/>
                  </a:lnTo>
                  <a:lnTo>
                    <a:pt x="887010" y="811353"/>
                  </a:lnTo>
                  <a:lnTo>
                    <a:pt x="884987" y="806419"/>
                  </a:lnTo>
                  <a:lnTo>
                    <a:pt x="878721" y="807998"/>
                  </a:lnTo>
                  <a:lnTo>
                    <a:pt x="874576" y="806419"/>
                  </a:lnTo>
                  <a:lnTo>
                    <a:pt x="870431" y="809626"/>
                  </a:lnTo>
                  <a:lnTo>
                    <a:pt x="872455" y="811254"/>
                  </a:lnTo>
                  <a:lnTo>
                    <a:pt x="876648" y="811254"/>
                  </a:lnTo>
                  <a:lnTo>
                    <a:pt x="882865" y="812833"/>
                  </a:lnTo>
                  <a:lnTo>
                    <a:pt x="887010" y="820925"/>
                  </a:lnTo>
                  <a:lnTo>
                    <a:pt x="893276" y="824132"/>
                  </a:lnTo>
                  <a:lnTo>
                    <a:pt x="891204" y="830596"/>
                  </a:lnTo>
                  <a:lnTo>
                    <a:pt x="887010" y="837010"/>
                  </a:lnTo>
                  <a:lnTo>
                    <a:pt x="887010" y="843473"/>
                  </a:lnTo>
                  <a:lnTo>
                    <a:pt x="882865" y="851565"/>
                  </a:lnTo>
                  <a:lnTo>
                    <a:pt x="878721" y="851565"/>
                  </a:lnTo>
                  <a:lnTo>
                    <a:pt x="876648" y="854772"/>
                  </a:lnTo>
                  <a:lnTo>
                    <a:pt x="866238" y="854772"/>
                  </a:lnTo>
                  <a:lnTo>
                    <a:pt x="860021" y="853144"/>
                  </a:lnTo>
                  <a:lnTo>
                    <a:pt x="855876" y="846730"/>
                  </a:lnTo>
                  <a:lnTo>
                    <a:pt x="853754" y="845102"/>
                  </a:lnTo>
                  <a:lnTo>
                    <a:pt x="853754" y="850036"/>
                  </a:lnTo>
                  <a:lnTo>
                    <a:pt x="855876" y="853243"/>
                  </a:lnTo>
                  <a:lnTo>
                    <a:pt x="851682" y="856499"/>
                  </a:lnTo>
                  <a:lnTo>
                    <a:pt x="843344" y="854871"/>
                  </a:lnTo>
                  <a:lnTo>
                    <a:pt x="839249" y="851664"/>
                  </a:lnTo>
                  <a:lnTo>
                    <a:pt x="832982" y="850036"/>
                  </a:lnTo>
                  <a:lnTo>
                    <a:pt x="824940" y="852947"/>
                  </a:lnTo>
                  <a:lnTo>
                    <a:pt x="814480" y="857881"/>
                  </a:lnTo>
                  <a:lnTo>
                    <a:pt x="804118" y="857881"/>
                  </a:lnTo>
                  <a:lnTo>
                    <a:pt x="804168" y="854920"/>
                  </a:lnTo>
                  <a:lnTo>
                    <a:pt x="806240" y="851713"/>
                  </a:lnTo>
                  <a:lnTo>
                    <a:pt x="804168" y="846779"/>
                  </a:lnTo>
                  <a:lnTo>
                    <a:pt x="804168" y="841845"/>
                  </a:lnTo>
                  <a:lnTo>
                    <a:pt x="808312" y="836911"/>
                  </a:lnTo>
                  <a:lnTo>
                    <a:pt x="818723" y="831977"/>
                  </a:lnTo>
                  <a:lnTo>
                    <a:pt x="820795" y="827043"/>
                  </a:lnTo>
                  <a:lnTo>
                    <a:pt x="824989" y="827043"/>
                  </a:lnTo>
                  <a:lnTo>
                    <a:pt x="829084" y="830299"/>
                  </a:lnTo>
                  <a:lnTo>
                    <a:pt x="833279" y="830299"/>
                  </a:lnTo>
                  <a:lnTo>
                    <a:pt x="833279" y="826944"/>
                  </a:lnTo>
                  <a:lnTo>
                    <a:pt x="829084" y="825365"/>
                  </a:lnTo>
                  <a:lnTo>
                    <a:pt x="822867" y="823737"/>
                  </a:lnTo>
                  <a:lnTo>
                    <a:pt x="814529" y="826944"/>
                  </a:lnTo>
                  <a:lnTo>
                    <a:pt x="806240" y="831878"/>
                  </a:lnTo>
                  <a:lnTo>
                    <a:pt x="800023" y="835135"/>
                  </a:lnTo>
                  <a:lnTo>
                    <a:pt x="797951" y="838342"/>
                  </a:lnTo>
                  <a:lnTo>
                    <a:pt x="795878" y="839970"/>
                  </a:lnTo>
                  <a:lnTo>
                    <a:pt x="789612" y="836714"/>
                  </a:lnTo>
                  <a:lnTo>
                    <a:pt x="781323" y="830299"/>
                  </a:lnTo>
                  <a:lnTo>
                    <a:pt x="781323" y="829954"/>
                  </a:lnTo>
                  <a:lnTo>
                    <a:pt x="787540" y="828326"/>
                  </a:lnTo>
                  <a:lnTo>
                    <a:pt x="789612" y="826747"/>
                  </a:lnTo>
                  <a:lnTo>
                    <a:pt x="789612" y="823490"/>
                  </a:lnTo>
                  <a:lnTo>
                    <a:pt x="791684" y="818556"/>
                  </a:lnTo>
                  <a:lnTo>
                    <a:pt x="795878" y="813622"/>
                  </a:lnTo>
                  <a:lnTo>
                    <a:pt x="797951" y="815251"/>
                  </a:lnTo>
                  <a:lnTo>
                    <a:pt x="802095" y="813622"/>
                  </a:lnTo>
                  <a:lnTo>
                    <a:pt x="802095" y="810415"/>
                  </a:lnTo>
                  <a:lnTo>
                    <a:pt x="800023" y="808787"/>
                  </a:lnTo>
                  <a:lnTo>
                    <a:pt x="800023" y="805580"/>
                  </a:lnTo>
                  <a:lnTo>
                    <a:pt x="802095" y="802373"/>
                  </a:lnTo>
                  <a:lnTo>
                    <a:pt x="804168" y="799116"/>
                  </a:lnTo>
                  <a:lnTo>
                    <a:pt x="808312" y="795909"/>
                  </a:lnTo>
                  <a:lnTo>
                    <a:pt x="814727" y="795909"/>
                  </a:lnTo>
                  <a:lnTo>
                    <a:pt x="820992" y="799116"/>
                  </a:lnTo>
                  <a:lnTo>
                    <a:pt x="827259" y="799116"/>
                  </a:lnTo>
                  <a:lnTo>
                    <a:pt x="833476" y="800745"/>
                  </a:lnTo>
                  <a:lnTo>
                    <a:pt x="837620" y="805679"/>
                  </a:lnTo>
                  <a:lnTo>
                    <a:pt x="837620" y="800745"/>
                  </a:lnTo>
                  <a:lnTo>
                    <a:pt x="831404" y="799116"/>
                  </a:lnTo>
                  <a:lnTo>
                    <a:pt x="823065" y="792653"/>
                  </a:lnTo>
                  <a:lnTo>
                    <a:pt x="812703" y="792653"/>
                  </a:lnTo>
                  <a:lnTo>
                    <a:pt x="810631" y="791074"/>
                  </a:lnTo>
                  <a:lnTo>
                    <a:pt x="810631" y="787817"/>
                  </a:lnTo>
                  <a:lnTo>
                    <a:pt x="816848" y="786239"/>
                  </a:lnTo>
                  <a:lnTo>
                    <a:pt x="823065" y="784610"/>
                  </a:lnTo>
                  <a:lnTo>
                    <a:pt x="823065" y="782982"/>
                  </a:lnTo>
                  <a:lnTo>
                    <a:pt x="808263" y="782982"/>
                  </a:lnTo>
                  <a:lnTo>
                    <a:pt x="806190" y="781403"/>
                  </a:lnTo>
                  <a:lnTo>
                    <a:pt x="806190" y="778147"/>
                  </a:lnTo>
                  <a:lnTo>
                    <a:pt x="810385" y="774940"/>
                  </a:lnTo>
                  <a:lnTo>
                    <a:pt x="818673" y="774940"/>
                  </a:lnTo>
                  <a:lnTo>
                    <a:pt x="827012" y="773311"/>
                  </a:lnTo>
                  <a:lnTo>
                    <a:pt x="829035" y="770104"/>
                  </a:lnTo>
                  <a:lnTo>
                    <a:pt x="824940" y="768476"/>
                  </a:lnTo>
                  <a:lnTo>
                    <a:pt x="820746" y="770104"/>
                  </a:lnTo>
                  <a:lnTo>
                    <a:pt x="816602" y="768476"/>
                  </a:lnTo>
                  <a:lnTo>
                    <a:pt x="810385" y="766897"/>
                  </a:lnTo>
                  <a:lnTo>
                    <a:pt x="808263" y="760434"/>
                  </a:lnTo>
                  <a:lnTo>
                    <a:pt x="810385" y="755499"/>
                  </a:lnTo>
                  <a:lnTo>
                    <a:pt x="814480" y="757128"/>
                  </a:lnTo>
                  <a:lnTo>
                    <a:pt x="818673" y="753871"/>
                  </a:lnTo>
                  <a:lnTo>
                    <a:pt x="827012" y="753871"/>
                  </a:lnTo>
                  <a:lnTo>
                    <a:pt x="833229" y="752292"/>
                  </a:lnTo>
                  <a:lnTo>
                    <a:pt x="835301" y="749036"/>
                  </a:lnTo>
                  <a:lnTo>
                    <a:pt x="833229" y="747457"/>
                  </a:lnTo>
                  <a:lnTo>
                    <a:pt x="829035" y="749036"/>
                  </a:lnTo>
                  <a:lnTo>
                    <a:pt x="820746" y="749036"/>
                  </a:lnTo>
                  <a:lnTo>
                    <a:pt x="818673" y="747457"/>
                  </a:lnTo>
                  <a:lnTo>
                    <a:pt x="814480" y="747457"/>
                  </a:lnTo>
                  <a:lnTo>
                    <a:pt x="812456" y="750664"/>
                  </a:lnTo>
                  <a:lnTo>
                    <a:pt x="808263" y="749036"/>
                  </a:lnTo>
                  <a:lnTo>
                    <a:pt x="806190" y="745829"/>
                  </a:lnTo>
                  <a:lnTo>
                    <a:pt x="810385" y="739365"/>
                  </a:lnTo>
                  <a:lnTo>
                    <a:pt x="808263" y="736158"/>
                  </a:lnTo>
                  <a:lnTo>
                    <a:pt x="806190" y="734530"/>
                  </a:lnTo>
                  <a:lnTo>
                    <a:pt x="802046" y="736158"/>
                  </a:lnTo>
                  <a:lnTo>
                    <a:pt x="795829" y="731224"/>
                  </a:lnTo>
                  <a:lnTo>
                    <a:pt x="793708" y="724760"/>
                  </a:lnTo>
                  <a:lnTo>
                    <a:pt x="795829" y="716718"/>
                  </a:lnTo>
                  <a:lnTo>
                    <a:pt x="799974" y="716718"/>
                  </a:lnTo>
                  <a:lnTo>
                    <a:pt x="802046" y="719925"/>
                  </a:lnTo>
                  <a:lnTo>
                    <a:pt x="804118" y="724859"/>
                  </a:lnTo>
                  <a:lnTo>
                    <a:pt x="810385" y="726487"/>
                  </a:lnTo>
                  <a:lnTo>
                    <a:pt x="816602" y="721553"/>
                  </a:lnTo>
                  <a:lnTo>
                    <a:pt x="818673" y="716619"/>
                  </a:lnTo>
                  <a:lnTo>
                    <a:pt x="818673" y="711685"/>
                  </a:lnTo>
                  <a:lnTo>
                    <a:pt x="820746" y="708429"/>
                  </a:lnTo>
                  <a:lnTo>
                    <a:pt x="829035" y="705222"/>
                  </a:lnTo>
                  <a:lnTo>
                    <a:pt x="837374" y="706801"/>
                  </a:lnTo>
                  <a:lnTo>
                    <a:pt x="841567" y="708429"/>
                  </a:lnTo>
                  <a:lnTo>
                    <a:pt x="847784" y="703495"/>
                  </a:lnTo>
                  <a:lnTo>
                    <a:pt x="845712" y="698561"/>
                  </a:lnTo>
                  <a:lnTo>
                    <a:pt x="847784" y="695354"/>
                  </a:lnTo>
                  <a:lnTo>
                    <a:pt x="845712" y="693725"/>
                  </a:lnTo>
                  <a:lnTo>
                    <a:pt x="837374" y="693725"/>
                  </a:lnTo>
                  <a:lnTo>
                    <a:pt x="835301" y="688791"/>
                  </a:lnTo>
                  <a:lnTo>
                    <a:pt x="837374" y="680749"/>
                  </a:lnTo>
                  <a:lnTo>
                    <a:pt x="841567" y="679121"/>
                  </a:lnTo>
                  <a:lnTo>
                    <a:pt x="851929" y="679121"/>
                  </a:lnTo>
                  <a:lnTo>
                    <a:pt x="856123" y="674187"/>
                  </a:lnTo>
                  <a:lnTo>
                    <a:pt x="851929" y="672558"/>
                  </a:lnTo>
                  <a:lnTo>
                    <a:pt x="849857" y="670980"/>
                  </a:lnTo>
                  <a:lnTo>
                    <a:pt x="851929" y="662888"/>
                  </a:lnTo>
                  <a:lnTo>
                    <a:pt x="856123" y="659681"/>
                  </a:lnTo>
                  <a:lnTo>
                    <a:pt x="862339" y="656424"/>
                  </a:lnTo>
                  <a:lnTo>
                    <a:pt x="862339" y="653217"/>
                  </a:lnTo>
                  <a:lnTo>
                    <a:pt x="868556" y="650010"/>
                  </a:lnTo>
                  <a:lnTo>
                    <a:pt x="874823" y="650010"/>
                  </a:lnTo>
                  <a:lnTo>
                    <a:pt x="878967" y="645076"/>
                  </a:lnTo>
                  <a:lnTo>
                    <a:pt x="883112" y="643448"/>
                  </a:lnTo>
                  <a:lnTo>
                    <a:pt x="876895" y="640240"/>
                  </a:lnTo>
                  <a:lnTo>
                    <a:pt x="876895" y="636984"/>
                  </a:lnTo>
                  <a:lnTo>
                    <a:pt x="883112" y="633777"/>
                  </a:lnTo>
                  <a:lnTo>
                    <a:pt x="889379" y="625734"/>
                  </a:lnTo>
                  <a:lnTo>
                    <a:pt x="893523" y="625734"/>
                  </a:lnTo>
                  <a:lnTo>
                    <a:pt x="893523" y="630668"/>
                  </a:lnTo>
                  <a:lnTo>
                    <a:pt x="889379" y="633876"/>
                  </a:lnTo>
                  <a:lnTo>
                    <a:pt x="889379" y="637083"/>
                  </a:lnTo>
                  <a:lnTo>
                    <a:pt x="893523" y="637083"/>
                  </a:lnTo>
                  <a:lnTo>
                    <a:pt x="897667" y="632149"/>
                  </a:lnTo>
                  <a:lnTo>
                    <a:pt x="899789" y="630570"/>
                  </a:lnTo>
                  <a:lnTo>
                    <a:pt x="901812" y="628942"/>
                  </a:lnTo>
                  <a:lnTo>
                    <a:pt x="897667" y="625734"/>
                  </a:lnTo>
                  <a:lnTo>
                    <a:pt x="893523" y="617643"/>
                  </a:lnTo>
                  <a:lnTo>
                    <a:pt x="895595" y="614435"/>
                  </a:lnTo>
                  <a:lnTo>
                    <a:pt x="901812" y="614435"/>
                  </a:lnTo>
                  <a:lnTo>
                    <a:pt x="903934" y="611228"/>
                  </a:lnTo>
                  <a:lnTo>
                    <a:pt x="918736" y="607972"/>
                  </a:lnTo>
                  <a:lnTo>
                    <a:pt x="929147" y="607972"/>
                  </a:lnTo>
                  <a:lnTo>
                    <a:pt x="933291" y="612906"/>
                  </a:lnTo>
                  <a:lnTo>
                    <a:pt x="935363" y="617840"/>
                  </a:lnTo>
                  <a:lnTo>
                    <a:pt x="937436" y="616261"/>
                  </a:lnTo>
                  <a:lnTo>
                    <a:pt x="935363" y="609797"/>
                  </a:lnTo>
                  <a:lnTo>
                    <a:pt x="937436" y="604863"/>
                  </a:lnTo>
                  <a:lnTo>
                    <a:pt x="939508" y="604863"/>
                  </a:lnTo>
                  <a:lnTo>
                    <a:pt x="941580" y="609797"/>
                  </a:lnTo>
                  <a:lnTo>
                    <a:pt x="945725" y="611426"/>
                  </a:lnTo>
                  <a:lnTo>
                    <a:pt x="949919" y="608169"/>
                  </a:lnTo>
                  <a:lnTo>
                    <a:pt x="956136" y="600127"/>
                  </a:lnTo>
                  <a:lnTo>
                    <a:pt x="962402" y="596870"/>
                  </a:lnTo>
                  <a:lnTo>
                    <a:pt x="968619" y="596870"/>
                  </a:lnTo>
                  <a:lnTo>
                    <a:pt x="970691" y="598499"/>
                  </a:lnTo>
                  <a:lnTo>
                    <a:pt x="974836" y="595291"/>
                  </a:lnTo>
                  <a:lnTo>
                    <a:pt x="987368" y="588828"/>
                  </a:lnTo>
                  <a:lnTo>
                    <a:pt x="991513" y="583894"/>
                  </a:lnTo>
                  <a:lnTo>
                    <a:pt x="995657" y="580687"/>
                  </a:lnTo>
                  <a:lnTo>
                    <a:pt x="995657" y="577430"/>
                  </a:lnTo>
                  <a:lnTo>
                    <a:pt x="997730" y="574223"/>
                  </a:lnTo>
                  <a:lnTo>
                    <a:pt x="1003947" y="574223"/>
                  </a:lnTo>
                  <a:lnTo>
                    <a:pt x="1003947" y="569289"/>
                  </a:lnTo>
                  <a:lnTo>
                    <a:pt x="999802" y="562825"/>
                  </a:lnTo>
                  <a:lnTo>
                    <a:pt x="999802" y="559618"/>
                  </a:lnTo>
                  <a:lnTo>
                    <a:pt x="1006068" y="554684"/>
                  </a:lnTo>
                  <a:lnTo>
                    <a:pt x="1006068" y="551428"/>
                  </a:lnTo>
                  <a:lnTo>
                    <a:pt x="1010213" y="546494"/>
                  </a:lnTo>
                  <a:lnTo>
                    <a:pt x="1016479" y="546494"/>
                  </a:lnTo>
                  <a:lnTo>
                    <a:pt x="1020624" y="543287"/>
                  </a:lnTo>
                  <a:lnTo>
                    <a:pt x="1022696" y="538353"/>
                  </a:lnTo>
                  <a:lnTo>
                    <a:pt x="1031034" y="531889"/>
                  </a:lnTo>
                  <a:lnTo>
                    <a:pt x="1037251" y="531889"/>
                  </a:lnTo>
                  <a:lnTo>
                    <a:pt x="1043468" y="533517"/>
                  </a:lnTo>
                  <a:lnTo>
                    <a:pt x="1047613" y="535145"/>
                  </a:lnTo>
                  <a:lnTo>
                    <a:pt x="1047613" y="531889"/>
                  </a:lnTo>
                  <a:close/>
                  <a:moveTo>
                    <a:pt x="3143097" y="525919"/>
                  </a:moveTo>
                  <a:lnTo>
                    <a:pt x="3147292" y="532333"/>
                  </a:lnTo>
                  <a:lnTo>
                    <a:pt x="3149364" y="537267"/>
                  </a:lnTo>
                  <a:lnTo>
                    <a:pt x="3147292" y="540524"/>
                  </a:lnTo>
                  <a:lnTo>
                    <a:pt x="3136880" y="542102"/>
                  </a:lnTo>
                  <a:lnTo>
                    <a:pt x="3136880" y="545359"/>
                  </a:lnTo>
                  <a:lnTo>
                    <a:pt x="3130663" y="543731"/>
                  </a:lnTo>
                  <a:lnTo>
                    <a:pt x="3124397" y="537267"/>
                  </a:lnTo>
                  <a:lnTo>
                    <a:pt x="3132736" y="535688"/>
                  </a:lnTo>
                  <a:lnTo>
                    <a:pt x="3138953" y="532432"/>
                  </a:lnTo>
                  <a:lnTo>
                    <a:pt x="3141075" y="527498"/>
                  </a:lnTo>
                  <a:close/>
                  <a:moveTo>
                    <a:pt x="3916754" y="488914"/>
                  </a:moveTo>
                  <a:lnTo>
                    <a:pt x="3920800" y="488914"/>
                  </a:lnTo>
                  <a:lnTo>
                    <a:pt x="3927017" y="493848"/>
                  </a:lnTo>
                  <a:lnTo>
                    <a:pt x="3929089" y="501890"/>
                  </a:lnTo>
                  <a:lnTo>
                    <a:pt x="3927017" y="503518"/>
                  </a:lnTo>
                  <a:lnTo>
                    <a:pt x="3922872" y="498584"/>
                  </a:lnTo>
                  <a:lnTo>
                    <a:pt x="3916655" y="490542"/>
                  </a:lnTo>
                  <a:close/>
                  <a:moveTo>
                    <a:pt x="3906245" y="484078"/>
                  </a:moveTo>
                  <a:lnTo>
                    <a:pt x="3910389" y="485707"/>
                  </a:lnTo>
                  <a:lnTo>
                    <a:pt x="3912461" y="492121"/>
                  </a:lnTo>
                  <a:lnTo>
                    <a:pt x="3910389" y="493749"/>
                  </a:lnTo>
                  <a:lnTo>
                    <a:pt x="3908317" y="496956"/>
                  </a:lnTo>
                  <a:lnTo>
                    <a:pt x="3904172" y="493749"/>
                  </a:lnTo>
                  <a:lnTo>
                    <a:pt x="3899979" y="487285"/>
                  </a:lnTo>
                  <a:lnTo>
                    <a:pt x="3904172" y="485707"/>
                  </a:lnTo>
                  <a:close/>
                  <a:moveTo>
                    <a:pt x="3918727" y="479046"/>
                  </a:moveTo>
                  <a:lnTo>
                    <a:pt x="3922872" y="479046"/>
                  </a:lnTo>
                  <a:lnTo>
                    <a:pt x="3927017" y="483980"/>
                  </a:lnTo>
                  <a:lnTo>
                    <a:pt x="3927017" y="488914"/>
                  </a:lnTo>
                  <a:lnTo>
                    <a:pt x="3922872" y="488914"/>
                  </a:lnTo>
                  <a:lnTo>
                    <a:pt x="3918727" y="482253"/>
                  </a:lnTo>
                  <a:close/>
                  <a:moveTo>
                    <a:pt x="3927017" y="472582"/>
                  </a:moveTo>
                  <a:lnTo>
                    <a:pt x="3931210" y="472582"/>
                  </a:lnTo>
                  <a:lnTo>
                    <a:pt x="3933284" y="477516"/>
                  </a:lnTo>
                  <a:lnTo>
                    <a:pt x="3931210" y="482450"/>
                  </a:lnTo>
                  <a:lnTo>
                    <a:pt x="3929089" y="482450"/>
                  </a:lnTo>
                  <a:lnTo>
                    <a:pt x="3924944" y="474210"/>
                  </a:lnTo>
                  <a:close/>
                  <a:moveTo>
                    <a:pt x="2317634" y="472286"/>
                  </a:moveTo>
                  <a:lnTo>
                    <a:pt x="2321778" y="473914"/>
                  </a:lnTo>
                  <a:lnTo>
                    <a:pt x="2323900" y="477121"/>
                  </a:lnTo>
                  <a:lnTo>
                    <a:pt x="2325972" y="483585"/>
                  </a:lnTo>
                  <a:lnTo>
                    <a:pt x="2330117" y="488519"/>
                  </a:lnTo>
                  <a:lnTo>
                    <a:pt x="2330117" y="498387"/>
                  </a:lnTo>
                  <a:lnTo>
                    <a:pt x="2334311" y="503321"/>
                  </a:lnTo>
                  <a:lnTo>
                    <a:pt x="2334311" y="506528"/>
                  </a:lnTo>
                  <a:lnTo>
                    <a:pt x="2332189" y="509785"/>
                  </a:lnTo>
                  <a:lnTo>
                    <a:pt x="2330117" y="514719"/>
                  </a:lnTo>
                  <a:lnTo>
                    <a:pt x="2323900" y="516347"/>
                  </a:lnTo>
                  <a:lnTo>
                    <a:pt x="2319755" y="514719"/>
                  </a:lnTo>
                  <a:lnTo>
                    <a:pt x="2313489" y="513090"/>
                  </a:lnTo>
                  <a:lnTo>
                    <a:pt x="2294542" y="509489"/>
                  </a:lnTo>
                  <a:lnTo>
                    <a:pt x="2284131" y="507860"/>
                  </a:lnTo>
                  <a:lnTo>
                    <a:pt x="2279987" y="504653"/>
                  </a:lnTo>
                  <a:lnTo>
                    <a:pt x="2282059" y="503025"/>
                  </a:lnTo>
                  <a:lnTo>
                    <a:pt x="2288276" y="503025"/>
                  </a:lnTo>
                  <a:lnTo>
                    <a:pt x="2292421" y="499818"/>
                  </a:lnTo>
                  <a:lnTo>
                    <a:pt x="2290398" y="494884"/>
                  </a:lnTo>
                  <a:lnTo>
                    <a:pt x="2284131" y="491627"/>
                  </a:lnTo>
                  <a:lnTo>
                    <a:pt x="2282059" y="485213"/>
                  </a:lnTo>
                  <a:lnTo>
                    <a:pt x="2284131" y="483585"/>
                  </a:lnTo>
                  <a:lnTo>
                    <a:pt x="2290398" y="481957"/>
                  </a:lnTo>
                  <a:lnTo>
                    <a:pt x="2302831" y="475542"/>
                  </a:lnTo>
                  <a:close/>
                  <a:moveTo>
                    <a:pt x="2656601" y="451711"/>
                  </a:moveTo>
                  <a:lnTo>
                    <a:pt x="2658674" y="456645"/>
                  </a:lnTo>
                  <a:lnTo>
                    <a:pt x="2656601" y="463109"/>
                  </a:lnTo>
                  <a:lnTo>
                    <a:pt x="2652408" y="464737"/>
                  </a:lnTo>
                  <a:lnTo>
                    <a:pt x="2650335" y="463010"/>
                  </a:lnTo>
                  <a:lnTo>
                    <a:pt x="2646191" y="463010"/>
                  </a:lnTo>
                  <a:lnTo>
                    <a:pt x="2644118" y="456546"/>
                  </a:lnTo>
                  <a:lnTo>
                    <a:pt x="2646191" y="454967"/>
                  </a:lnTo>
                  <a:close/>
                  <a:moveTo>
                    <a:pt x="1791517" y="443323"/>
                  </a:moveTo>
                  <a:lnTo>
                    <a:pt x="1797784" y="443323"/>
                  </a:lnTo>
                  <a:lnTo>
                    <a:pt x="1799856" y="449787"/>
                  </a:lnTo>
                  <a:lnTo>
                    <a:pt x="1797784" y="451366"/>
                  </a:lnTo>
                  <a:lnTo>
                    <a:pt x="1801928" y="452994"/>
                  </a:lnTo>
                  <a:lnTo>
                    <a:pt x="1801928" y="454622"/>
                  </a:lnTo>
                  <a:lnTo>
                    <a:pt x="1797784" y="459556"/>
                  </a:lnTo>
                  <a:lnTo>
                    <a:pt x="1793639" y="461135"/>
                  </a:lnTo>
                  <a:lnTo>
                    <a:pt x="1785300" y="459556"/>
                  </a:lnTo>
                  <a:lnTo>
                    <a:pt x="1781107" y="461135"/>
                  </a:lnTo>
                  <a:lnTo>
                    <a:pt x="1774890" y="461135"/>
                  </a:lnTo>
                  <a:lnTo>
                    <a:pt x="1770745" y="457928"/>
                  </a:lnTo>
                  <a:lnTo>
                    <a:pt x="1764528" y="459556"/>
                  </a:lnTo>
                  <a:lnTo>
                    <a:pt x="1762456" y="456201"/>
                  </a:lnTo>
                  <a:lnTo>
                    <a:pt x="1766551" y="452994"/>
                  </a:lnTo>
                  <a:lnTo>
                    <a:pt x="1770745" y="452994"/>
                  </a:lnTo>
                  <a:lnTo>
                    <a:pt x="1774890" y="451366"/>
                  </a:lnTo>
                  <a:lnTo>
                    <a:pt x="1779083" y="448158"/>
                  </a:lnTo>
                  <a:lnTo>
                    <a:pt x="1781107" y="448158"/>
                  </a:lnTo>
                  <a:lnTo>
                    <a:pt x="1783228" y="451366"/>
                  </a:lnTo>
                  <a:lnTo>
                    <a:pt x="1787373" y="451366"/>
                  </a:lnTo>
                  <a:lnTo>
                    <a:pt x="1789445" y="449787"/>
                  </a:lnTo>
                  <a:lnTo>
                    <a:pt x="1789445" y="446530"/>
                  </a:lnTo>
                  <a:close/>
                  <a:moveTo>
                    <a:pt x="1729151" y="419146"/>
                  </a:moveTo>
                  <a:lnTo>
                    <a:pt x="1733345" y="420725"/>
                  </a:lnTo>
                  <a:lnTo>
                    <a:pt x="1733345" y="425659"/>
                  </a:lnTo>
                  <a:lnTo>
                    <a:pt x="1727079" y="427288"/>
                  </a:lnTo>
                  <a:lnTo>
                    <a:pt x="1720862" y="427189"/>
                  </a:lnTo>
                  <a:lnTo>
                    <a:pt x="1718790" y="425561"/>
                  </a:lnTo>
                  <a:lnTo>
                    <a:pt x="1725007" y="422354"/>
                  </a:lnTo>
                  <a:close/>
                  <a:moveTo>
                    <a:pt x="1760581" y="411055"/>
                  </a:moveTo>
                  <a:lnTo>
                    <a:pt x="1764528" y="411055"/>
                  </a:lnTo>
                  <a:lnTo>
                    <a:pt x="1762456" y="419146"/>
                  </a:lnTo>
                  <a:lnTo>
                    <a:pt x="1766551" y="420725"/>
                  </a:lnTo>
                  <a:lnTo>
                    <a:pt x="1764528" y="425659"/>
                  </a:lnTo>
                  <a:lnTo>
                    <a:pt x="1762456" y="428916"/>
                  </a:lnTo>
                  <a:lnTo>
                    <a:pt x="1760581" y="422452"/>
                  </a:lnTo>
                  <a:lnTo>
                    <a:pt x="1758508" y="420824"/>
                  </a:lnTo>
                  <a:lnTo>
                    <a:pt x="1754364" y="424080"/>
                  </a:lnTo>
                  <a:lnTo>
                    <a:pt x="1750219" y="425659"/>
                  </a:lnTo>
                  <a:lnTo>
                    <a:pt x="1748147" y="422452"/>
                  </a:lnTo>
                  <a:lnTo>
                    <a:pt x="1754364" y="419245"/>
                  </a:lnTo>
                  <a:lnTo>
                    <a:pt x="1756436" y="414311"/>
                  </a:lnTo>
                  <a:close/>
                  <a:moveTo>
                    <a:pt x="1785251" y="401384"/>
                  </a:moveTo>
                  <a:lnTo>
                    <a:pt x="1787373" y="401384"/>
                  </a:lnTo>
                  <a:lnTo>
                    <a:pt x="1789445" y="406318"/>
                  </a:lnTo>
                  <a:lnTo>
                    <a:pt x="1795662" y="407946"/>
                  </a:lnTo>
                  <a:lnTo>
                    <a:pt x="1795662" y="411153"/>
                  </a:lnTo>
                  <a:lnTo>
                    <a:pt x="1791517" y="412781"/>
                  </a:lnTo>
                  <a:lnTo>
                    <a:pt x="1789445" y="412781"/>
                  </a:lnTo>
                  <a:lnTo>
                    <a:pt x="1787323" y="407946"/>
                  </a:lnTo>
                  <a:lnTo>
                    <a:pt x="1783178" y="403012"/>
                  </a:lnTo>
                  <a:close/>
                  <a:moveTo>
                    <a:pt x="4149492" y="393687"/>
                  </a:moveTo>
                  <a:lnTo>
                    <a:pt x="4149492" y="398621"/>
                  </a:lnTo>
                  <a:lnTo>
                    <a:pt x="4145348" y="401828"/>
                  </a:lnTo>
                  <a:lnTo>
                    <a:pt x="4141203" y="398522"/>
                  </a:lnTo>
                  <a:lnTo>
                    <a:pt x="4143275" y="395315"/>
                  </a:lnTo>
                  <a:close/>
                  <a:moveTo>
                    <a:pt x="1783178" y="391713"/>
                  </a:moveTo>
                  <a:lnTo>
                    <a:pt x="1789395" y="393341"/>
                  </a:lnTo>
                  <a:lnTo>
                    <a:pt x="1785251" y="398275"/>
                  </a:lnTo>
                  <a:lnTo>
                    <a:pt x="1777011" y="398275"/>
                  </a:lnTo>
                  <a:lnTo>
                    <a:pt x="1776962" y="396548"/>
                  </a:lnTo>
                  <a:lnTo>
                    <a:pt x="1779034" y="393341"/>
                  </a:lnTo>
                  <a:close/>
                  <a:moveTo>
                    <a:pt x="1550490" y="390529"/>
                  </a:moveTo>
                  <a:lnTo>
                    <a:pt x="1554634" y="392108"/>
                  </a:lnTo>
                  <a:lnTo>
                    <a:pt x="1560851" y="395364"/>
                  </a:lnTo>
                  <a:lnTo>
                    <a:pt x="1560851" y="403407"/>
                  </a:lnTo>
                  <a:lnTo>
                    <a:pt x="1558828" y="406614"/>
                  </a:lnTo>
                  <a:lnTo>
                    <a:pt x="1552562" y="409870"/>
                  </a:lnTo>
                  <a:lnTo>
                    <a:pt x="1548417" y="409870"/>
                  </a:lnTo>
                  <a:lnTo>
                    <a:pt x="1548417" y="404936"/>
                  </a:lnTo>
                  <a:lnTo>
                    <a:pt x="1548417" y="400200"/>
                  </a:lnTo>
                  <a:lnTo>
                    <a:pt x="1546295" y="393736"/>
                  </a:lnTo>
                  <a:close/>
                  <a:moveTo>
                    <a:pt x="3802235" y="388703"/>
                  </a:moveTo>
                  <a:lnTo>
                    <a:pt x="3800212" y="390332"/>
                  </a:lnTo>
                  <a:lnTo>
                    <a:pt x="3796018" y="390332"/>
                  </a:lnTo>
                  <a:close/>
                  <a:moveTo>
                    <a:pt x="4082981" y="387026"/>
                  </a:moveTo>
                  <a:lnTo>
                    <a:pt x="4091271" y="387026"/>
                  </a:lnTo>
                  <a:lnTo>
                    <a:pt x="4097537" y="388654"/>
                  </a:lnTo>
                  <a:lnTo>
                    <a:pt x="4103754" y="390282"/>
                  </a:lnTo>
                  <a:lnTo>
                    <a:pt x="4105827" y="387026"/>
                  </a:lnTo>
                  <a:lnTo>
                    <a:pt x="4112093" y="391960"/>
                  </a:lnTo>
                  <a:lnTo>
                    <a:pt x="4116237" y="396894"/>
                  </a:lnTo>
                  <a:lnTo>
                    <a:pt x="4112093" y="400150"/>
                  </a:lnTo>
                  <a:lnTo>
                    <a:pt x="4118310" y="405084"/>
                  </a:lnTo>
                  <a:lnTo>
                    <a:pt x="4120382" y="411499"/>
                  </a:lnTo>
                  <a:lnTo>
                    <a:pt x="4116237" y="417962"/>
                  </a:lnTo>
                  <a:lnTo>
                    <a:pt x="4107948" y="419590"/>
                  </a:lnTo>
                  <a:lnTo>
                    <a:pt x="4099610" y="416334"/>
                  </a:lnTo>
                  <a:lnTo>
                    <a:pt x="4094936" y="413568"/>
                  </a:lnTo>
                  <a:lnTo>
                    <a:pt x="4094676" y="412535"/>
                  </a:lnTo>
                  <a:lnTo>
                    <a:pt x="4092771" y="412288"/>
                  </a:lnTo>
                  <a:lnTo>
                    <a:pt x="4091271" y="411400"/>
                  </a:lnTo>
                  <a:lnTo>
                    <a:pt x="4082981" y="409821"/>
                  </a:lnTo>
                  <a:lnTo>
                    <a:pt x="4074643" y="409821"/>
                  </a:lnTo>
                  <a:lnTo>
                    <a:pt x="4072571" y="408193"/>
                  </a:lnTo>
                  <a:lnTo>
                    <a:pt x="4070498" y="398325"/>
                  </a:lnTo>
                  <a:lnTo>
                    <a:pt x="4074643" y="391861"/>
                  </a:lnTo>
                  <a:lnTo>
                    <a:pt x="4078838" y="391861"/>
                  </a:lnTo>
                  <a:lnTo>
                    <a:pt x="4078838" y="390282"/>
                  </a:lnTo>
                  <a:lnTo>
                    <a:pt x="4082981" y="388654"/>
                  </a:lnTo>
                  <a:close/>
                  <a:moveTo>
                    <a:pt x="1739562" y="365711"/>
                  </a:moveTo>
                  <a:lnTo>
                    <a:pt x="1741634" y="367339"/>
                  </a:lnTo>
                  <a:lnTo>
                    <a:pt x="1741634" y="375381"/>
                  </a:lnTo>
                  <a:lnTo>
                    <a:pt x="1737489" y="377010"/>
                  </a:lnTo>
                  <a:lnTo>
                    <a:pt x="1737489" y="381944"/>
                  </a:lnTo>
                  <a:lnTo>
                    <a:pt x="1731224" y="388407"/>
                  </a:lnTo>
                  <a:lnTo>
                    <a:pt x="1722934" y="393341"/>
                  </a:lnTo>
                  <a:lnTo>
                    <a:pt x="1725007" y="390134"/>
                  </a:lnTo>
                  <a:lnTo>
                    <a:pt x="1725007" y="386878"/>
                  </a:lnTo>
                  <a:lnTo>
                    <a:pt x="1722934" y="386878"/>
                  </a:lnTo>
                  <a:lnTo>
                    <a:pt x="1716668" y="391812"/>
                  </a:lnTo>
                  <a:lnTo>
                    <a:pt x="1710451" y="395068"/>
                  </a:lnTo>
                  <a:lnTo>
                    <a:pt x="1706306" y="395068"/>
                  </a:lnTo>
                  <a:lnTo>
                    <a:pt x="1710451" y="386779"/>
                  </a:lnTo>
                  <a:lnTo>
                    <a:pt x="1716668" y="378737"/>
                  </a:lnTo>
                  <a:lnTo>
                    <a:pt x="1727079" y="375480"/>
                  </a:lnTo>
                  <a:lnTo>
                    <a:pt x="1733345" y="370546"/>
                  </a:lnTo>
                  <a:lnTo>
                    <a:pt x="1735417" y="367339"/>
                  </a:lnTo>
                  <a:close/>
                  <a:moveTo>
                    <a:pt x="1585768" y="345284"/>
                  </a:moveTo>
                  <a:lnTo>
                    <a:pt x="1589913" y="346863"/>
                  </a:lnTo>
                  <a:lnTo>
                    <a:pt x="1592034" y="350119"/>
                  </a:lnTo>
                  <a:lnTo>
                    <a:pt x="1587890" y="351698"/>
                  </a:lnTo>
                  <a:lnTo>
                    <a:pt x="1583696" y="346863"/>
                  </a:lnTo>
                  <a:close/>
                  <a:moveTo>
                    <a:pt x="2897728" y="339166"/>
                  </a:moveTo>
                  <a:lnTo>
                    <a:pt x="2901873" y="340794"/>
                  </a:lnTo>
                  <a:lnTo>
                    <a:pt x="2910211" y="347208"/>
                  </a:lnTo>
                  <a:lnTo>
                    <a:pt x="2918500" y="347208"/>
                  </a:lnTo>
                  <a:lnTo>
                    <a:pt x="2926839" y="350465"/>
                  </a:lnTo>
                  <a:lnTo>
                    <a:pt x="2937200" y="358507"/>
                  </a:lnTo>
                  <a:lnTo>
                    <a:pt x="2937200" y="361714"/>
                  </a:lnTo>
                  <a:lnTo>
                    <a:pt x="2930983" y="361714"/>
                  </a:lnTo>
                  <a:lnTo>
                    <a:pt x="2924766" y="356780"/>
                  </a:lnTo>
                  <a:lnTo>
                    <a:pt x="2916428" y="355201"/>
                  </a:lnTo>
                  <a:lnTo>
                    <a:pt x="2910211" y="351945"/>
                  </a:lnTo>
                  <a:lnTo>
                    <a:pt x="2901922" y="351945"/>
                  </a:lnTo>
                  <a:lnTo>
                    <a:pt x="2897777" y="347011"/>
                  </a:lnTo>
                  <a:lnTo>
                    <a:pt x="2895705" y="340597"/>
                  </a:lnTo>
                  <a:close/>
                  <a:moveTo>
                    <a:pt x="3087244" y="309364"/>
                  </a:moveTo>
                  <a:lnTo>
                    <a:pt x="3091389" y="309364"/>
                  </a:lnTo>
                  <a:lnTo>
                    <a:pt x="3101799" y="312571"/>
                  </a:lnTo>
                  <a:lnTo>
                    <a:pt x="3105944" y="309364"/>
                  </a:lnTo>
                  <a:lnTo>
                    <a:pt x="3112210" y="309364"/>
                  </a:lnTo>
                  <a:lnTo>
                    <a:pt x="3120500" y="315778"/>
                  </a:lnTo>
                  <a:lnTo>
                    <a:pt x="3130910" y="317407"/>
                  </a:lnTo>
                  <a:lnTo>
                    <a:pt x="3139199" y="319035"/>
                  </a:lnTo>
                  <a:lnTo>
                    <a:pt x="3153755" y="328903"/>
                  </a:lnTo>
                  <a:lnTo>
                    <a:pt x="3162094" y="338771"/>
                  </a:lnTo>
                  <a:lnTo>
                    <a:pt x="3166238" y="345235"/>
                  </a:lnTo>
                  <a:lnTo>
                    <a:pt x="3172454" y="348442"/>
                  </a:lnTo>
                  <a:lnTo>
                    <a:pt x="3166238" y="353376"/>
                  </a:lnTo>
                  <a:lnTo>
                    <a:pt x="3147539" y="353376"/>
                  </a:lnTo>
                  <a:lnTo>
                    <a:pt x="3141322" y="356583"/>
                  </a:lnTo>
                  <a:lnTo>
                    <a:pt x="3124644" y="356583"/>
                  </a:lnTo>
                  <a:lnTo>
                    <a:pt x="3114233" y="358211"/>
                  </a:lnTo>
                  <a:lnTo>
                    <a:pt x="3099431" y="358211"/>
                  </a:lnTo>
                  <a:lnTo>
                    <a:pt x="3089070" y="356583"/>
                  </a:lnTo>
                  <a:lnTo>
                    <a:pt x="3076586" y="361517"/>
                  </a:lnTo>
                  <a:lnTo>
                    <a:pt x="3072442" y="369609"/>
                  </a:lnTo>
                  <a:lnTo>
                    <a:pt x="3066176" y="371188"/>
                  </a:lnTo>
                  <a:lnTo>
                    <a:pt x="3062278" y="370891"/>
                  </a:lnTo>
                  <a:lnTo>
                    <a:pt x="3062278" y="365957"/>
                  </a:lnTo>
                  <a:lnTo>
                    <a:pt x="3070567" y="359543"/>
                  </a:lnTo>
                  <a:lnTo>
                    <a:pt x="3074761" y="345037"/>
                  </a:lnTo>
                  <a:lnTo>
                    <a:pt x="3074761" y="332110"/>
                  </a:lnTo>
                  <a:lnTo>
                    <a:pt x="3072689" y="325646"/>
                  </a:lnTo>
                  <a:lnTo>
                    <a:pt x="3080978" y="315778"/>
                  </a:lnTo>
                  <a:close/>
                  <a:moveTo>
                    <a:pt x="3034993" y="287260"/>
                  </a:moveTo>
                  <a:lnTo>
                    <a:pt x="3039187" y="287260"/>
                  </a:lnTo>
                  <a:lnTo>
                    <a:pt x="3043331" y="295351"/>
                  </a:lnTo>
                  <a:lnTo>
                    <a:pt x="3053742" y="303394"/>
                  </a:lnTo>
                  <a:lnTo>
                    <a:pt x="3053742" y="309857"/>
                  </a:lnTo>
                  <a:lnTo>
                    <a:pt x="3051621" y="314792"/>
                  </a:lnTo>
                  <a:lnTo>
                    <a:pt x="3047476" y="321206"/>
                  </a:lnTo>
                  <a:lnTo>
                    <a:pt x="3049548" y="322834"/>
                  </a:lnTo>
                  <a:lnTo>
                    <a:pt x="3045404" y="326041"/>
                  </a:lnTo>
                  <a:lnTo>
                    <a:pt x="3039187" y="322834"/>
                  </a:lnTo>
                  <a:lnTo>
                    <a:pt x="3032920" y="314792"/>
                  </a:lnTo>
                  <a:lnTo>
                    <a:pt x="3026654" y="313163"/>
                  </a:lnTo>
                  <a:lnTo>
                    <a:pt x="3024631" y="309956"/>
                  </a:lnTo>
                  <a:lnTo>
                    <a:pt x="3024631" y="306700"/>
                  </a:lnTo>
                  <a:lnTo>
                    <a:pt x="3020437" y="300285"/>
                  </a:lnTo>
                  <a:lnTo>
                    <a:pt x="3020437" y="293822"/>
                  </a:lnTo>
                  <a:lnTo>
                    <a:pt x="3026654" y="288888"/>
                  </a:lnTo>
                  <a:close/>
                  <a:moveTo>
                    <a:pt x="1980787" y="277589"/>
                  </a:moveTo>
                  <a:lnTo>
                    <a:pt x="1991198" y="277589"/>
                  </a:lnTo>
                  <a:lnTo>
                    <a:pt x="1997464" y="287457"/>
                  </a:lnTo>
                  <a:lnTo>
                    <a:pt x="1995342" y="293921"/>
                  </a:lnTo>
                  <a:lnTo>
                    <a:pt x="1987053" y="295549"/>
                  </a:lnTo>
                  <a:lnTo>
                    <a:pt x="1987053" y="293921"/>
                  </a:lnTo>
                  <a:lnTo>
                    <a:pt x="1989125" y="290713"/>
                  </a:lnTo>
                  <a:lnTo>
                    <a:pt x="1980787" y="282622"/>
                  </a:lnTo>
                  <a:lnTo>
                    <a:pt x="1980787" y="277688"/>
                  </a:lnTo>
                  <a:close/>
                  <a:moveTo>
                    <a:pt x="1117873" y="270879"/>
                  </a:moveTo>
                  <a:lnTo>
                    <a:pt x="1122018" y="270879"/>
                  </a:lnTo>
                  <a:lnTo>
                    <a:pt x="1126163" y="272507"/>
                  </a:lnTo>
                  <a:lnTo>
                    <a:pt x="1132429" y="274135"/>
                  </a:lnTo>
                  <a:lnTo>
                    <a:pt x="1142790" y="272507"/>
                  </a:lnTo>
                  <a:lnTo>
                    <a:pt x="1146984" y="274135"/>
                  </a:lnTo>
                  <a:lnTo>
                    <a:pt x="1144862" y="277342"/>
                  </a:lnTo>
                  <a:lnTo>
                    <a:pt x="1134501" y="280549"/>
                  </a:lnTo>
                  <a:lnTo>
                    <a:pt x="1130307" y="280549"/>
                  </a:lnTo>
                  <a:lnTo>
                    <a:pt x="1126163" y="277342"/>
                  </a:lnTo>
                  <a:lnTo>
                    <a:pt x="1117873" y="275714"/>
                  </a:lnTo>
                  <a:close/>
                  <a:moveTo>
                    <a:pt x="1887731" y="266931"/>
                  </a:moveTo>
                  <a:lnTo>
                    <a:pt x="1891875" y="266931"/>
                  </a:lnTo>
                  <a:lnTo>
                    <a:pt x="1900214" y="276799"/>
                  </a:lnTo>
                  <a:lnTo>
                    <a:pt x="1906431" y="270336"/>
                  </a:lnTo>
                  <a:lnTo>
                    <a:pt x="1912647" y="270336"/>
                  </a:lnTo>
                  <a:lnTo>
                    <a:pt x="1916842" y="278428"/>
                  </a:lnTo>
                  <a:lnTo>
                    <a:pt x="1927203" y="280007"/>
                  </a:lnTo>
                  <a:lnTo>
                    <a:pt x="1937614" y="273592"/>
                  </a:lnTo>
                  <a:lnTo>
                    <a:pt x="1939736" y="275171"/>
                  </a:lnTo>
                  <a:lnTo>
                    <a:pt x="1941758" y="283263"/>
                  </a:lnTo>
                  <a:lnTo>
                    <a:pt x="1943880" y="286470"/>
                  </a:lnTo>
                  <a:lnTo>
                    <a:pt x="1954291" y="288098"/>
                  </a:lnTo>
                  <a:lnTo>
                    <a:pt x="1956314" y="291306"/>
                  </a:lnTo>
                  <a:lnTo>
                    <a:pt x="1948025" y="294562"/>
                  </a:lnTo>
                  <a:lnTo>
                    <a:pt x="1948025" y="297769"/>
                  </a:lnTo>
                  <a:lnTo>
                    <a:pt x="1943880" y="302703"/>
                  </a:lnTo>
                  <a:lnTo>
                    <a:pt x="1945952" y="309167"/>
                  </a:lnTo>
                  <a:lnTo>
                    <a:pt x="1939736" y="320416"/>
                  </a:lnTo>
                  <a:lnTo>
                    <a:pt x="1931397" y="320416"/>
                  </a:lnTo>
                  <a:lnTo>
                    <a:pt x="1925180" y="328508"/>
                  </a:lnTo>
                  <a:lnTo>
                    <a:pt x="1931397" y="330136"/>
                  </a:lnTo>
                  <a:lnTo>
                    <a:pt x="1948025" y="325202"/>
                  </a:lnTo>
                  <a:lnTo>
                    <a:pt x="1958435" y="310696"/>
                  </a:lnTo>
                  <a:lnTo>
                    <a:pt x="1964652" y="310696"/>
                  </a:lnTo>
                  <a:lnTo>
                    <a:pt x="1964652" y="315630"/>
                  </a:lnTo>
                  <a:lnTo>
                    <a:pt x="1960508" y="322094"/>
                  </a:lnTo>
                  <a:lnTo>
                    <a:pt x="1960508" y="327028"/>
                  </a:lnTo>
                  <a:lnTo>
                    <a:pt x="1966725" y="327028"/>
                  </a:lnTo>
                  <a:lnTo>
                    <a:pt x="1972991" y="317160"/>
                  </a:lnTo>
                  <a:lnTo>
                    <a:pt x="1981280" y="313953"/>
                  </a:lnTo>
                  <a:lnTo>
                    <a:pt x="1983402" y="317160"/>
                  </a:lnTo>
                  <a:lnTo>
                    <a:pt x="1993763" y="317160"/>
                  </a:lnTo>
                  <a:lnTo>
                    <a:pt x="1995836" y="309117"/>
                  </a:lnTo>
                  <a:lnTo>
                    <a:pt x="1997957" y="309117"/>
                  </a:lnTo>
                  <a:lnTo>
                    <a:pt x="2004174" y="312324"/>
                  </a:lnTo>
                  <a:lnTo>
                    <a:pt x="2008319" y="309117"/>
                  </a:lnTo>
                  <a:lnTo>
                    <a:pt x="2018729" y="317160"/>
                  </a:lnTo>
                  <a:lnTo>
                    <a:pt x="2018729" y="323623"/>
                  </a:lnTo>
                  <a:lnTo>
                    <a:pt x="2022874" y="333492"/>
                  </a:lnTo>
                  <a:lnTo>
                    <a:pt x="2020802" y="336699"/>
                  </a:lnTo>
                  <a:lnTo>
                    <a:pt x="2020802" y="343162"/>
                  </a:lnTo>
                  <a:lnTo>
                    <a:pt x="2014585" y="351205"/>
                  </a:lnTo>
                  <a:lnTo>
                    <a:pt x="2024946" y="364132"/>
                  </a:lnTo>
                  <a:lnTo>
                    <a:pt x="2022874" y="370546"/>
                  </a:lnTo>
                  <a:lnTo>
                    <a:pt x="2016657" y="372174"/>
                  </a:lnTo>
                  <a:lnTo>
                    <a:pt x="2012513" y="377108"/>
                  </a:lnTo>
                  <a:lnTo>
                    <a:pt x="2016657" y="378737"/>
                  </a:lnTo>
                  <a:lnTo>
                    <a:pt x="2031459" y="375480"/>
                  </a:lnTo>
                  <a:lnTo>
                    <a:pt x="2039748" y="367438"/>
                  </a:lnTo>
                  <a:lnTo>
                    <a:pt x="2050159" y="367438"/>
                  </a:lnTo>
                  <a:lnTo>
                    <a:pt x="2054304" y="359395"/>
                  </a:lnTo>
                  <a:lnTo>
                    <a:pt x="2054304" y="348096"/>
                  </a:lnTo>
                  <a:lnTo>
                    <a:pt x="2050159" y="340054"/>
                  </a:lnTo>
                  <a:lnTo>
                    <a:pt x="2046015" y="340054"/>
                  </a:lnTo>
                  <a:lnTo>
                    <a:pt x="2039748" y="338426"/>
                  </a:lnTo>
                  <a:lnTo>
                    <a:pt x="2039748" y="331962"/>
                  </a:lnTo>
                  <a:lnTo>
                    <a:pt x="2043943" y="330383"/>
                  </a:lnTo>
                  <a:lnTo>
                    <a:pt x="2048087" y="330383"/>
                  </a:lnTo>
                  <a:lnTo>
                    <a:pt x="2052232" y="331962"/>
                  </a:lnTo>
                  <a:lnTo>
                    <a:pt x="2056425" y="330383"/>
                  </a:lnTo>
                  <a:lnTo>
                    <a:pt x="2068859" y="327127"/>
                  </a:lnTo>
                  <a:lnTo>
                    <a:pt x="2077198" y="319084"/>
                  </a:lnTo>
                  <a:lnTo>
                    <a:pt x="2083415" y="320663"/>
                  </a:lnTo>
                  <a:lnTo>
                    <a:pt x="2093826" y="320663"/>
                  </a:lnTo>
                  <a:lnTo>
                    <a:pt x="2095898" y="314249"/>
                  </a:lnTo>
                  <a:lnTo>
                    <a:pt x="2102164" y="309315"/>
                  </a:lnTo>
                  <a:lnTo>
                    <a:pt x="2104187" y="310894"/>
                  </a:lnTo>
                  <a:lnTo>
                    <a:pt x="2110453" y="305960"/>
                  </a:lnTo>
                  <a:lnTo>
                    <a:pt x="2116720" y="304381"/>
                  </a:lnTo>
                  <a:lnTo>
                    <a:pt x="2120864" y="305960"/>
                  </a:lnTo>
                  <a:lnTo>
                    <a:pt x="2127081" y="305960"/>
                  </a:lnTo>
                  <a:lnTo>
                    <a:pt x="2129153" y="309216"/>
                  </a:lnTo>
                  <a:lnTo>
                    <a:pt x="2127081" y="312423"/>
                  </a:lnTo>
                  <a:lnTo>
                    <a:pt x="2127081" y="317357"/>
                  </a:lnTo>
                  <a:lnTo>
                    <a:pt x="2143709" y="315729"/>
                  </a:lnTo>
                  <a:lnTo>
                    <a:pt x="2145830" y="318985"/>
                  </a:lnTo>
                  <a:lnTo>
                    <a:pt x="2154119" y="320564"/>
                  </a:lnTo>
                  <a:lnTo>
                    <a:pt x="2181158" y="333492"/>
                  </a:lnTo>
                  <a:lnTo>
                    <a:pt x="2187375" y="335120"/>
                  </a:lnTo>
                  <a:lnTo>
                    <a:pt x="2189497" y="341534"/>
                  </a:lnTo>
                  <a:lnTo>
                    <a:pt x="2189497" y="346468"/>
                  </a:lnTo>
                  <a:lnTo>
                    <a:pt x="2201930" y="359395"/>
                  </a:lnTo>
                  <a:lnTo>
                    <a:pt x="2206075" y="357767"/>
                  </a:lnTo>
                  <a:lnTo>
                    <a:pt x="2206075" y="352833"/>
                  </a:lnTo>
                  <a:lnTo>
                    <a:pt x="2210269" y="351205"/>
                  </a:lnTo>
                  <a:lnTo>
                    <a:pt x="2210269" y="347998"/>
                  </a:lnTo>
                  <a:lnTo>
                    <a:pt x="2206075" y="344790"/>
                  </a:lnTo>
                  <a:lnTo>
                    <a:pt x="2199858" y="344790"/>
                  </a:lnTo>
                  <a:lnTo>
                    <a:pt x="2199858" y="338327"/>
                  </a:lnTo>
                  <a:lnTo>
                    <a:pt x="2206075" y="335120"/>
                  </a:lnTo>
                  <a:lnTo>
                    <a:pt x="2210269" y="335120"/>
                  </a:lnTo>
                  <a:lnTo>
                    <a:pt x="2214413" y="340054"/>
                  </a:lnTo>
                  <a:lnTo>
                    <a:pt x="2220630" y="343261"/>
                  </a:lnTo>
                  <a:lnTo>
                    <a:pt x="2220630" y="349724"/>
                  </a:lnTo>
                  <a:lnTo>
                    <a:pt x="2228969" y="357767"/>
                  </a:lnTo>
                  <a:lnTo>
                    <a:pt x="2231041" y="364231"/>
                  </a:lnTo>
                  <a:lnTo>
                    <a:pt x="2235185" y="365809"/>
                  </a:lnTo>
                  <a:lnTo>
                    <a:pt x="2239380" y="364231"/>
                  </a:lnTo>
                  <a:lnTo>
                    <a:pt x="2243524" y="362602"/>
                  </a:lnTo>
                  <a:lnTo>
                    <a:pt x="2247718" y="365809"/>
                  </a:lnTo>
                  <a:lnTo>
                    <a:pt x="2251862" y="372273"/>
                  </a:lnTo>
                  <a:lnTo>
                    <a:pt x="2253935" y="377207"/>
                  </a:lnTo>
                  <a:lnTo>
                    <a:pt x="2258079" y="383671"/>
                  </a:lnTo>
                  <a:lnTo>
                    <a:pt x="2258079" y="388605"/>
                  </a:lnTo>
                  <a:lnTo>
                    <a:pt x="2256007" y="388605"/>
                  </a:lnTo>
                  <a:lnTo>
                    <a:pt x="2253935" y="385398"/>
                  </a:lnTo>
                  <a:lnTo>
                    <a:pt x="2251862" y="382141"/>
                  </a:lnTo>
                  <a:lnTo>
                    <a:pt x="2249050" y="382141"/>
                  </a:lnTo>
                  <a:lnTo>
                    <a:pt x="2244906" y="385398"/>
                  </a:lnTo>
                  <a:lnTo>
                    <a:pt x="2238689" y="380464"/>
                  </a:lnTo>
                  <a:lnTo>
                    <a:pt x="2226206" y="375529"/>
                  </a:lnTo>
                  <a:lnTo>
                    <a:pt x="2217916" y="377158"/>
                  </a:lnTo>
                  <a:lnTo>
                    <a:pt x="2215795" y="378786"/>
                  </a:lnTo>
                  <a:lnTo>
                    <a:pt x="2219939" y="383720"/>
                  </a:lnTo>
                  <a:lnTo>
                    <a:pt x="2230350" y="385348"/>
                  </a:lnTo>
                  <a:lnTo>
                    <a:pt x="2232472" y="386927"/>
                  </a:lnTo>
                  <a:lnTo>
                    <a:pt x="2232472" y="388555"/>
                  </a:lnTo>
                  <a:lnTo>
                    <a:pt x="2236616" y="396598"/>
                  </a:lnTo>
                  <a:lnTo>
                    <a:pt x="2240761" y="398226"/>
                  </a:lnTo>
                  <a:lnTo>
                    <a:pt x="2242833" y="396598"/>
                  </a:lnTo>
                  <a:lnTo>
                    <a:pt x="2247027" y="390184"/>
                  </a:lnTo>
                  <a:lnTo>
                    <a:pt x="2249050" y="390184"/>
                  </a:lnTo>
                  <a:lnTo>
                    <a:pt x="2253244" y="395118"/>
                  </a:lnTo>
                  <a:lnTo>
                    <a:pt x="2257388" y="396696"/>
                  </a:lnTo>
                  <a:lnTo>
                    <a:pt x="2261583" y="395118"/>
                  </a:lnTo>
                  <a:lnTo>
                    <a:pt x="2265727" y="396696"/>
                  </a:lnTo>
                  <a:lnTo>
                    <a:pt x="2267800" y="399953"/>
                  </a:lnTo>
                  <a:lnTo>
                    <a:pt x="2265727" y="403160"/>
                  </a:lnTo>
                  <a:lnTo>
                    <a:pt x="2271944" y="413028"/>
                  </a:lnTo>
                  <a:lnTo>
                    <a:pt x="2274017" y="424327"/>
                  </a:lnTo>
                  <a:lnTo>
                    <a:pt x="2274017" y="435577"/>
                  </a:lnTo>
                  <a:lnTo>
                    <a:pt x="2267800" y="446826"/>
                  </a:lnTo>
                  <a:lnTo>
                    <a:pt x="2265727" y="446826"/>
                  </a:lnTo>
                  <a:lnTo>
                    <a:pt x="2263605" y="451760"/>
                  </a:lnTo>
                  <a:lnTo>
                    <a:pt x="2263605" y="458224"/>
                  </a:lnTo>
                  <a:lnTo>
                    <a:pt x="2259461" y="466266"/>
                  </a:lnTo>
                  <a:lnTo>
                    <a:pt x="2259461" y="467895"/>
                  </a:lnTo>
                  <a:lnTo>
                    <a:pt x="2263605" y="472829"/>
                  </a:lnTo>
                  <a:lnTo>
                    <a:pt x="2263605" y="477763"/>
                  </a:lnTo>
                  <a:lnTo>
                    <a:pt x="2255317" y="481019"/>
                  </a:lnTo>
                  <a:lnTo>
                    <a:pt x="2253244" y="487433"/>
                  </a:lnTo>
                  <a:lnTo>
                    <a:pt x="2255317" y="490690"/>
                  </a:lnTo>
                  <a:lnTo>
                    <a:pt x="2249050" y="500558"/>
                  </a:lnTo>
                  <a:lnTo>
                    <a:pt x="2244906" y="505492"/>
                  </a:lnTo>
                  <a:lnTo>
                    <a:pt x="2247027" y="508699"/>
                  </a:lnTo>
                  <a:lnTo>
                    <a:pt x="2242833" y="515163"/>
                  </a:lnTo>
                  <a:lnTo>
                    <a:pt x="2236616" y="516791"/>
                  </a:lnTo>
                  <a:lnTo>
                    <a:pt x="2228278" y="523205"/>
                  </a:lnTo>
                  <a:lnTo>
                    <a:pt x="2219939" y="523205"/>
                  </a:lnTo>
                  <a:lnTo>
                    <a:pt x="2228278" y="526462"/>
                  </a:lnTo>
                  <a:lnTo>
                    <a:pt x="2234248" y="526462"/>
                  </a:lnTo>
                  <a:lnTo>
                    <a:pt x="2238442" y="521528"/>
                  </a:lnTo>
                  <a:lnTo>
                    <a:pt x="2240514" y="521528"/>
                  </a:lnTo>
                  <a:lnTo>
                    <a:pt x="2244659" y="529570"/>
                  </a:lnTo>
                  <a:lnTo>
                    <a:pt x="2238442" y="540869"/>
                  </a:lnTo>
                  <a:lnTo>
                    <a:pt x="2232225" y="547283"/>
                  </a:lnTo>
                  <a:lnTo>
                    <a:pt x="2228031" y="561839"/>
                  </a:lnTo>
                  <a:lnTo>
                    <a:pt x="2232225" y="568253"/>
                  </a:lnTo>
                  <a:lnTo>
                    <a:pt x="2234248" y="574716"/>
                  </a:lnTo>
                  <a:lnTo>
                    <a:pt x="2228031" y="587594"/>
                  </a:lnTo>
                  <a:lnTo>
                    <a:pt x="2217670" y="590851"/>
                  </a:lnTo>
                  <a:lnTo>
                    <a:pt x="2215548" y="589223"/>
                  </a:lnTo>
                  <a:lnTo>
                    <a:pt x="2209331" y="590851"/>
                  </a:lnTo>
                  <a:lnTo>
                    <a:pt x="2207259" y="594058"/>
                  </a:lnTo>
                  <a:lnTo>
                    <a:pt x="2209331" y="597265"/>
                  </a:lnTo>
                  <a:lnTo>
                    <a:pt x="2213476" y="610192"/>
                  </a:lnTo>
                  <a:lnTo>
                    <a:pt x="2211404" y="615126"/>
                  </a:lnTo>
                  <a:lnTo>
                    <a:pt x="2205137" y="618333"/>
                  </a:lnTo>
                  <a:lnTo>
                    <a:pt x="2200993" y="628201"/>
                  </a:lnTo>
                  <a:lnTo>
                    <a:pt x="2205137" y="636293"/>
                  </a:lnTo>
                  <a:lnTo>
                    <a:pt x="2205137" y="642707"/>
                  </a:lnTo>
                  <a:lnTo>
                    <a:pt x="2200993" y="647641"/>
                  </a:lnTo>
                  <a:lnTo>
                    <a:pt x="2203114" y="652576"/>
                  </a:lnTo>
                  <a:lnTo>
                    <a:pt x="2207259" y="654204"/>
                  </a:lnTo>
                  <a:lnTo>
                    <a:pt x="2203114" y="671966"/>
                  </a:lnTo>
                  <a:lnTo>
                    <a:pt x="2196848" y="675173"/>
                  </a:lnTo>
                  <a:lnTo>
                    <a:pt x="2194776" y="681637"/>
                  </a:lnTo>
                  <a:lnTo>
                    <a:pt x="2196848" y="676703"/>
                  </a:lnTo>
                  <a:lnTo>
                    <a:pt x="2205137" y="676703"/>
                  </a:lnTo>
                  <a:lnTo>
                    <a:pt x="2211404" y="670239"/>
                  </a:lnTo>
                  <a:lnTo>
                    <a:pt x="2213476" y="665305"/>
                  </a:lnTo>
                  <a:lnTo>
                    <a:pt x="2213476" y="662098"/>
                  </a:lnTo>
                  <a:lnTo>
                    <a:pt x="2215548" y="657164"/>
                  </a:lnTo>
                  <a:lnTo>
                    <a:pt x="2223887" y="657164"/>
                  </a:lnTo>
                  <a:lnTo>
                    <a:pt x="2230104" y="655585"/>
                  </a:lnTo>
                  <a:lnTo>
                    <a:pt x="2223887" y="655585"/>
                  </a:lnTo>
                  <a:lnTo>
                    <a:pt x="2211404" y="644286"/>
                  </a:lnTo>
                  <a:lnTo>
                    <a:pt x="2209331" y="636244"/>
                  </a:lnTo>
                  <a:lnTo>
                    <a:pt x="2213476" y="629780"/>
                  </a:lnTo>
                  <a:lnTo>
                    <a:pt x="2225959" y="628152"/>
                  </a:lnTo>
                  <a:lnTo>
                    <a:pt x="2238442" y="626573"/>
                  </a:lnTo>
                  <a:lnTo>
                    <a:pt x="2248803" y="618481"/>
                  </a:lnTo>
                  <a:lnTo>
                    <a:pt x="2252998" y="618481"/>
                  </a:lnTo>
                  <a:lnTo>
                    <a:pt x="2257142" y="615274"/>
                  </a:lnTo>
                  <a:lnTo>
                    <a:pt x="2252998" y="610340"/>
                  </a:lnTo>
                  <a:lnTo>
                    <a:pt x="2265480" y="603877"/>
                  </a:lnTo>
                  <a:lnTo>
                    <a:pt x="2269625" y="595834"/>
                  </a:lnTo>
                  <a:lnTo>
                    <a:pt x="2265480" y="589371"/>
                  </a:lnTo>
                  <a:lnTo>
                    <a:pt x="2265480" y="587742"/>
                  </a:lnTo>
                  <a:lnTo>
                    <a:pt x="2273770" y="590999"/>
                  </a:lnTo>
                  <a:lnTo>
                    <a:pt x="2282108" y="587742"/>
                  </a:lnTo>
                  <a:lnTo>
                    <a:pt x="2286253" y="581328"/>
                  </a:lnTo>
                  <a:lnTo>
                    <a:pt x="2282108" y="576394"/>
                  </a:lnTo>
                  <a:lnTo>
                    <a:pt x="2296910" y="568302"/>
                  </a:lnTo>
                  <a:lnTo>
                    <a:pt x="2296910" y="561888"/>
                  </a:lnTo>
                  <a:lnTo>
                    <a:pt x="2294838" y="556954"/>
                  </a:lnTo>
                  <a:lnTo>
                    <a:pt x="2280036" y="563418"/>
                  </a:lnTo>
                  <a:lnTo>
                    <a:pt x="2280036" y="566674"/>
                  </a:lnTo>
                  <a:lnTo>
                    <a:pt x="2269625" y="574716"/>
                  </a:lnTo>
                  <a:lnTo>
                    <a:pt x="2261336" y="571509"/>
                  </a:lnTo>
                  <a:lnTo>
                    <a:pt x="2257142" y="563418"/>
                  </a:lnTo>
                  <a:lnTo>
                    <a:pt x="2261336" y="555375"/>
                  </a:lnTo>
                  <a:lnTo>
                    <a:pt x="2259215" y="545507"/>
                  </a:lnTo>
                  <a:lnTo>
                    <a:pt x="2267553" y="540573"/>
                  </a:lnTo>
                  <a:lnTo>
                    <a:pt x="2277914" y="540573"/>
                  </a:lnTo>
                  <a:lnTo>
                    <a:pt x="2290447" y="546987"/>
                  </a:lnTo>
                  <a:lnTo>
                    <a:pt x="2294591" y="542053"/>
                  </a:lnTo>
                  <a:lnTo>
                    <a:pt x="2294591" y="534011"/>
                  </a:lnTo>
                  <a:lnTo>
                    <a:pt x="2305002" y="530804"/>
                  </a:lnTo>
                  <a:lnTo>
                    <a:pt x="2305002" y="535738"/>
                  </a:lnTo>
                  <a:lnTo>
                    <a:pt x="2300808" y="540672"/>
                  </a:lnTo>
                  <a:lnTo>
                    <a:pt x="2300808" y="547086"/>
                  </a:lnTo>
                  <a:lnTo>
                    <a:pt x="2321580" y="560013"/>
                  </a:lnTo>
                  <a:lnTo>
                    <a:pt x="2329919" y="560013"/>
                  </a:lnTo>
                  <a:lnTo>
                    <a:pt x="2336186" y="558385"/>
                  </a:lnTo>
                  <a:lnTo>
                    <a:pt x="2348668" y="556757"/>
                  </a:lnTo>
                  <a:lnTo>
                    <a:pt x="2354885" y="550342"/>
                  </a:lnTo>
                  <a:lnTo>
                    <a:pt x="2354885" y="543879"/>
                  </a:lnTo>
                  <a:lnTo>
                    <a:pt x="2342402" y="532580"/>
                  </a:lnTo>
                  <a:lnTo>
                    <a:pt x="2342402" y="529373"/>
                  </a:lnTo>
                  <a:lnTo>
                    <a:pt x="2346547" y="529373"/>
                  </a:lnTo>
                  <a:lnTo>
                    <a:pt x="2361349" y="542251"/>
                  </a:lnTo>
                  <a:lnTo>
                    <a:pt x="2365543" y="542251"/>
                  </a:lnTo>
                  <a:lnTo>
                    <a:pt x="2373832" y="548714"/>
                  </a:lnTo>
                  <a:lnTo>
                    <a:pt x="2371760" y="553648"/>
                  </a:lnTo>
                  <a:lnTo>
                    <a:pt x="2373832" y="556855"/>
                  </a:lnTo>
                  <a:lnTo>
                    <a:pt x="2382121" y="563319"/>
                  </a:lnTo>
                  <a:lnTo>
                    <a:pt x="2384243" y="576246"/>
                  </a:lnTo>
                  <a:lnTo>
                    <a:pt x="2386315" y="577825"/>
                  </a:lnTo>
                  <a:lnTo>
                    <a:pt x="2386315" y="574618"/>
                  </a:lnTo>
                  <a:lnTo>
                    <a:pt x="2392581" y="568154"/>
                  </a:lnTo>
                  <a:lnTo>
                    <a:pt x="2396677" y="568154"/>
                  </a:lnTo>
                  <a:lnTo>
                    <a:pt x="2400871" y="563220"/>
                  </a:lnTo>
                  <a:lnTo>
                    <a:pt x="2396677" y="561641"/>
                  </a:lnTo>
                  <a:lnTo>
                    <a:pt x="2392581" y="563220"/>
                  </a:lnTo>
                  <a:lnTo>
                    <a:pt x="2386315" y="561641"/>
                  </a:lnTo>
                  <a:lnTo>
                    <a:pt x="2382121" y="553549"/>
                  </a:lnTo>
                  <a:lnTo>
                    <a:pt x="2390460" y="547086"/>
                  </a:lnTo>
                  <a:lnTo>
                    <a:pt x="2398798" y="542152"/>
                  </a:lnTo>
                  <a:lnTo>
                    <a:pt x="2402943" y="538945"/>
                  </a:lnTo>
                  <a:lnTo>
                    <a:pt x="2407137" y="538945"/>
                  </a:lnTo>
                  <a:lnTo>
                    <a:pt x="2409209" y="534011"/>
                  </a:lnTo>
                  <a:lnTo>
                    <a:pt x="2424011" y="532382"/>
                  </a:lnTo>
                  <a:lnTo>
                    <a:pt x="2448681" y="525968"/>
                  </a:lnTo>
                  <a:lnTo>
                    <a:pt x="2477792" y="525968"/>
                  </a:lnTo>
                  <a:lnTo>
                    <a:pt x="2498564" y="516100"/>
                  </a:lnTo>
                  <a:lnTo>
                    <a:pt x="2508976" y="516100"/>
                  </a:lnTo>
                  <a:lnTo>
                    <a:pt x="2519386" y="519307"/>
                  </a:lnTo>
                  <a:lnTo>
                    <a:pt x="2519386" y="524241"/>
                  </a:lnTo>
                  <a:lnTo>
                    <a:pt x="2517314" y="525870"/>
                  </a:lnTo>
                  <a:lnTo>
                    <a:pt x="2513120" y="533912"/>
                  </a:lnTo>
                  <a:lnTo>
                    <a:pt x="2517314" y="545211"/>
                  </a:lnTo>
                  <a:lnTo>
                    <a:pt x="2525653" y="551625"/>
                  </a:lnTo>
                  <a:lnTo>
                    <a:pt x="2556786" y="553253"/>
                  </a:lnTo>
                  <a:lnTo>
                    <a:pt x="2563052" y="554882"/>
                  </a:lnTo>
                  <a:lnTo>
                    <a:pt x="2567197" y="553253"/>
                  </a:lnTo>
                  <a:lnTo>
                    <a:pt x="2577608" y="553253"/>
                  </a:lnTo>
                  <a:lnTo>
                    <a:pt x="2585897" y="556461"/>
                  </a:lnTo>
                  <a:lnTo>
                    <a:pt x="2608791" y="553253"/>
                  </a:lnTo>
                  <a:lnTo>
                    <a:pt x="2625419" y="545211"/>
                  </a:lnTo>
                  <a:lnTo>
                    <a:pt x="2629563" y="546790"/>
                  </a:lnTo>
                  <a:lnTo>
                    <a:pt x="2637902" y="546790"/>
                  </a:lnTo>
                  <a:lnTo>
                    <a:pt x="2642096" y="540376"/>
                  </a:lnTo>
                  <a:lnTo>
                    <a:pt x="2639974" y="535442"/>
                  </a:lnTo>
                  <a:lnTo>
                    <a:pt x="2646240" y="535442"/>
                  </a:lnTo>
                  <a:lnTo>
                    <a:pt x="2652457" y="537020"/>
                  </a:lnTo>
                  <a:lnTo>
                    <a:pt x="2662868" y="533813"/>
                  </a:lnTo>
                  <a:lnTo>
                    <a:pt x="2664940" y="538747"/>
                  </a:lnTo>
                  <a:lnTo>
                    <a:pt x="2667012" y="540376"/>
                  </a:lnTo>
                  <a:lnTo>
                    <a:pt x="2673279" y="533912"/>
                  </a:lnTo>
                  <a:lnTo>
                    <a:pt x="2671207" y="528978"/>
                  </a:lnTo>
                  <a:lnTo>
                    <a:pt x="2664940" y="524044"/>
                  </a:lnTo>
                  <a:lnTo>
                    <a:pt x="2664940" y="517580"/>
                  </a:lnTo>
                  <a:lnTo>
                    <a:pt x="2660795" y="512646"/>
                  </a:lnTo>
                  <a:lnTo>
                    <a:pt x="2652457" y="511018"/>
                  </a:lnTo>
                  <a:lnTo>
                    <a:pt x="2652457" y="503173"/>
                  </a:lnTo>
                  <a:lnTo>
                    <a:pt x="2648313" y="501545"/>
                  </a:lnTo>
                  <a:lnTo>
                    <a:pt x="2646240" y="496611"/>
                  </a:lnTo>
                  <a:lnTo>
                    <a:pt x="2642096" y="491677"/>
                  </a:lnTo>
                  <a:lnTo>
                    <a:pt x="2639974" y="483634"/>
                  </a:lnTo>
                  <a:lnTo>
                    <a:pt x="2644168" y="477171"/>
                  </a:lnTo>
                  <a:lnTo>
                    <a:pt x="2646240" y="480427"/>
                  </a:lnTo>
                  <a:lnTo>
                    <a:pt x="2648313" y="483634"/>
                  </a:lnTo>
                  <a:lnTo>
                    <a:pt x="2656651" y="477171"/>
                  </a:lnTo>
                  <a:lnTo>
                    <a:pt x="2654530" y="475592"/>
                  </a:lnTo>
                  <a:lnTo>
                    <a:pt x="2654530" y="469128"/>
                  </a:lnTo>
                  <a:lnTo>
                    <a:pt x="2658723" y="469128"/>
                  </a:lnTo>
                  <a:lnTo>
                    <a:pt x="2667012" y="474062"/>
                  </a:lnTo>
                  <a:lnTo>
                    <a:pt x="2673279" y="472434"/>
                  </a:lnTo>
                  <a:lnTo>
                    <a:pt x="2673279" y="467500"/>
                  </a:lnTo>
                  <a:lnTo>
                    <a:pt x="2677423" y="470707"/>
                  </a:lnTo>
                  <a:lnTo>
                    <a:pt x="2685762" y="470707"/>
                  </a:lnTo>
                  <a:lnTo>
                    <a:pt x="2691979" y="469128"/>
                  </a:lnTo>
                  <a:lnTo>
                    <a:pt x="2694051" y="465872"/>
                  </a:lnTo>
                  <a:lnTo>
                    <a:pt x="2700317" y="470806"/>
                  </a:lnTo>
                  <a:lnTo>
                    <a:pt x="2706534" y="472434"/>
                  </a:lnTo>
                  <a:lnTo>
                    <a:pt x="2710679" y="478898"/>
                  </a:lnTo>
                  <a:lnTo>
                    <a:pt x="2714873" y="475690"/>
                  </a:lnTo>
                  <a:lnTo>
                    <a:pt x="2714873" y="469227"/>
                  </a:lnTo>
                  <a:lnTo>
                    <a:pt x="2721090" y="470806"/>
                  </a:lnTo>
                  <a:lnTo>
                    <a:pt x="2725234" y="477269"/>
                  </a:lnTo>
                  <a:lnTo>
                    <a:pt x="2721090" y="480526"/>
                  </a:lnTo>
                  <a:lnTo>
                    <a:pt x="2716945" y="485460"/>
                  </a:lnTo>
                  <a:lnTo>
                    <a:pt x="2721090" y="487039"/>
                  </a:lnTo>
                  <a:lnTo>
                    <a:pt x="2727307" y="485460"/>
                  </a:lnTo>
                  <a:lnTo>
                    <a:pt x="2729378" y="487039"/>
                  </a:lnTo>
                  <a:lnTo>
                    <a:pt x="2729378" y="482105"/>
                  </a:lnTo>
                  <a:lnTo>
                    <a:pt x="2733523" y="480526"/>
                  </a:lnTo>
                  <a:lnTo>
                    <a:pt x="2737717" y="482105"/>
                  </a:lnTo>
                  <a:lnTo>
                    <a:pt x="2735645" y="475690"/>
                  </a:lnTo>
                  <a:lnTo>
                    <a:pt x="2731500" y="472434"/>
                  </a:lnTo>
                  <a:lnTo>
                    <a:pt x="2733523" y="469227"/>
                  </a:lnTo>
                  <a:lnTo>
                    <a:pt x="2739789" y="469227"/>
                  </a:lnTo>
                  <a:lnTo>
                    <a:pt x="2750200" y="467599"/>
                  </a:lnTo>
                  <a:lnTo>
                    <a:pt x="2754345" y="469227"/>
                  </a:lnTo>
                  <a:lnTo>
                    <a:pt x="2758489" y="467599"/>
                  </a:lnTo>
                  <a:lnTo>
                    <a:pt x="2768900" y="467599"/>
                  </a:lnTo>
                  <a:lnTo>
                    <a:pt x="2768900" y="472533"/>
                  </a:lnTo>
                  <a:lnTo>
                    <a:pt x="2770973" y="480624"/>
                  </a:lnTo>
                  <a:lnTo>
                    <a:pt x="2773045" y="475690"/>
                  </a:lnTo>
                  <a:lnTo>
                    <a:pt x="2775166" y="475690"/>
                  </a:lnTo>
                  <a:lnTo>
                    <a:pt x="2781383" y="470756"/>
                  </a:lnTo>
                  <a:lnTo>
                    <a:pt x="2785528" y="478848"/>
                  </a:lnTo>
                  <a:lnTo>
                    <a:pt x="2789722" y="478848"/>
                  </a:lnTo>
                  <a:lnTo>
                    <a:pt x="2795939" y="475641"/>
                  </a:lnTo>
                  <a:lnTo>
                    <a:pt x="2802155" y="480575"/>
                  </a:lnTo>
                  <a:lnTo>
                    <a:pt x="2804277" y="491825"/>
                  </a:lnTo>
                  <a:lnTo>
                    <a:pt x="2810494" y="485410"/>
                  </a:lnTo>
                  <a:lnTo>
                    <a:pt x="2814639" y="482154"/>
                  </a:lnTo>
                  <a:lnTo>
                    <a:pt x="2816711" y="483782"/>
                  </a:lnTo>
                  <a:lnTo>
                    <a:pt x="2812566" y="491825"/>
                  </a:lnTo>
                  <a:lnTo>
                    <a:pt x="2818833" y="496759"/>
                  </a:lnTo>
                  <a:lnTo>
                    <a:pt x="2820856" y="498387"/>
                  </a:lnTo>
                  <a:lnTo>
                    <a:pt x="2827122" y="498387"/>
                  </a:lnTo>
                  <a:lnTo>
                    <a:pt x="2829194" y="504851"/>
                  </a:lnTo>
                  <a:lnTo>
                    <a:pt x="2833388" y="503222"/>
                  </a:lnTo>
                  <a:lnTo>
                    <a:pt x="2835411" y="501594"/>
                  </a:lnTo>
                  <a:lnTo>
                    <a:pt x="2837533" y="508058"/>
                  </a:lnTo>
                  <a:lnTo>
                    <a:pt x="2833388" y="512992"/>
                  </a:lnTo>
                  <a:lnTo>
                    <a:pt x="2833388" y="521084"/>
                  </a:lnTo>
                  <a:lnTo>
                    <a:pt x="2843750" y="512992"/>
                  </a:lnTo>
                  <a:lnTo>
                    <a:pt x="2849967" y="512992"/>
                  </a:lnTo>
                  <a:lnTo>
                    <a:pt x="2849967" y="517926"/>
                  </a:lnTo>
                  <a:lnTo>
                    <a:pt x="2837533" y="527794"/>
                  </a:lnTo>
                  <a:lnTo>
                    <a:pt x="2837533" y="537662"/>
                  </a:lnTo>
                  <a:lnTo>
                    <a:pt x="2849967" y="537662"/>
                  </a:lnTo>
                  <a:lnTo>
                    <a:pt x="2852088" y="534455"/>
                  </a:lnTo>
                  <a:lnTo>
                    <a:pt x="2856233" y="532827"/>
                  </a:lnTo>
                  <a:lnTo>
                    <a:pt x="2860377" y="534455"/>
                  </a:lnTo>
                  <a:lnTo>
                    <a:pt x="2862499" y="539389"/>
                  </a:lnTo>
                  <a:lnTo>
                    <a:pt x="2868716" y="536182"/>
                  </a:lnTo>
                  <a:lnTo>
                    <a:pt x="2874933" y="544224"/>
                  </a:lnTo>
                  <a:lnTo>
                    <a:pt x="2872861" y="554092"/>
                  </a:lnTo>
                  <a:lnTo>
                    <a:pt x="2881199" y="552464"/>
                  </a:lnTo>
                  <a:lnTo>
                    <a:pt x="2881199" y="557398"/>
                  </a:lnTo>
                  <a:lnTo>
                    <a:pt x="2887416" y="555819"/>
                  </a:lnTo>
                  <a:lnTo>
                    <a:pt x="2887416" y="560753"/>
                  </a:lnTo>
                  <a:lnTo>
                    <a:pt x="2881199" y="570621"/>
                  </a:lnTo>
                  <a:lnTo>
                    <a:pt x="2874933" y="572249"/>
                  </a:lnTo>
                  <a:lnTo>
                    <a:pt x="2868716" y="568993"/>
                  </a:lnTo>
                  <a:lnTo>
                    <a:pt x="2854160" y="565786"/>
                  </a:lnTo>
                  <a:lnTo>
                    <a:pt x="2837533" y="565786"/>
                  </a:lnTo>
                  <a:lnTo>
                    <a:pt x="2843750" y="568993"/>
                  </a:lnTo>
                  <a:lnTo>
                    <a:pt x="2847943" y="575457"/>
                  </a:lnTo>
                  <a:lnTo>
                    <a:pt x="2860377" y="577085"/>
                  </a:lnTo>
                  <a:lnTo>
                    <a:pt x="2864522" y="582019"/>
                  </a:lnTo>
                  <a:lnTo>
                    <a:pt x="2877054" y="590061"/>
                  </a:lnTo>
                  <a:lnTo>
                    <a:pt x="2889488" y="593268"/>
                  </a:lnTo>
                  <a:lnTo>
                    <a:pt x="2897827" y="588334"/>
                  </a:lnTo>
                  <a:lnTo>
                    <a:pt x="2899899" y="581920"/>
                  </a:lnTo>
                  <a:lnTo>
                    <a:pt x="2891610" y="576986"/>
                  </a:lnTo>
                  <a:lnTo>
                    <a:pt x="2889488" y="572052"/>
                  </a:lnTo>
                  <a:lnTo>
                    <a:pt x="2891610" y="572052"/>
                  </a:lnTo>
                  <a:lnTo>
                    <a:pt x="2899899" y="580095"/>
                  </a:lnTo>
                  <a:lnTo>
                    <a:pt x="2908188" y="583302"/>
                  </a:lnTo>
                  <a:lnTo>
                    <a:pt x="2914454" y="586558"/>
                  </a:lnTo>
                  <a:lnTo>
                    <a:pt x="2908188" y="584930"/>
                  </a:lnTo>
                  <a:lnTo>
                    <a:pt x="2893633" y="596229"/>
                  </a:lnTo>
                  <a:lnTo>
                    <a:pt x="2897827" y="601163"/>
                  </a:lnTo>
                  <a:lnTo>
                    <a:pt x="2904043" y="601163"/>
                  </a:lnTo>
                  <a:lnTo>
                    <a:pt x="2908188" y="597906"/>
                  </a:lnTo>
                  <a:lnTo>
                    <a:pt x="2912382" y="597906"/>
                  </a:lnTo>
                  <a:lnTo>
                    <a:pt x="2935276" y="617297"/>
                  </a:lnTo>
                  <a:lnTo>
                    <a:pt x="2941493" y="618876"/>
                  </a:lnTo>
                  <a:lnTo>
                    <a:pt x="2949831" y="626968"/>
                  </a:lnTo>
                  <a:lnTo>
                    <a:pt x="2966459" y="628547"/>
                  </a:lnTo>
                  <a:lnTo>
                    <a:pt x="2976820" y="638415"/>
                  </a:lnTo>
                  <a:lnTo>
                    <a:pt x="2987231" y="641671"/>
                  </a:lnTo>
                  <a:lnTo>
                    <a:pt x="2989304" y="636737"/>
                  </a:lnTo>
                  <a:lnTo>
                    <a:pt x="2987231" y="633481"/>
                  </a:lnTo>
                  <a:lnTo>
                    <a:pt x="2991376" y="630274"/>
                  </a:lnTo>
                  <a:lnTo>
                    <a:pt x="2997642" y="636737"/>
                  </a:lnTo>
                  <a:lnTo>
                    <a:pt x="2999714" y="641671"/>
                  </a:lnTo>
                  <a:lnTo>
                    <a:pt x="3003859" y="646605"/>
                  </a:lnTo>
                  <a:lnTo>
                    <a:pt x="3008053" y="646605"/>
                  </a:lnTo>
                  <a:lnTo>
                    <a:pt x="3010125" y="640142"/>
                  </a:lnTo>
                  <a:lnTo>
                    <a:pt x="3001787" y="606294"/>
                  </a:lnTo>
                  <a:lnTo>
                    <a:pt x="2993498" y="591788"/>
                  </a:lnTo>
                  <a:lnTo>
                    <a:pt x="2985159" y="574026"/>
                  </a:lnTo>
                  <a:lnTo>
                    <a:pt x="2983087" y="557891"/>
                  </a:lnTo>
                  <a:lnTo>
                    <a:pt x="2976820" y="546642"/>
                  </a:lnTo>
                  <a:lnTo>
                    <a:pt x="2976820" y="541708"/>
                  </a:lnTo>
                  <a:lnTo>
                    <a:pt x="2983087" y="544915"/>
                  </a:lnTo>
                  <a:lnTo>
                    <a:pt x="2987231" y="552957"/>
                  </a:lnTo>
                  <a:lnTo>
                    <a:pt x="2995570" y="559421"/>
                  </a:lnTo>
                  <a:lnTo>
                    <a:pt x="3003859" y="561049"/>
                  </a:lnTo>
                  <a:lnTo>
                    <a:pt x="3010125" y="569092"/>
                  </a:lnTo>
                  <a:lnTo>
                    <a:pt x="3024927" y="570720"/>
                  </a:lnTo>
                  <a:lnTo>
                    <a:pt x="3051916" y="567513"/>
                  </a:lnTo>
                  <a:lnTo>
                    <a:pt x="3058183" y="569092"/>
                  </a:lnTo>
                  <a:lnTo>
                    <a:pt x="3064400" y="567513"/>
                  </a:lnTo>
                  <a:lnTo>
                    <a:pt x="3070616" y="572447"/>
                  </a:lnTo>
                  <a:lnTo>
                    <a:pt x="3072738" y="570819"/>
                  </a:lnTo>
                  <a:lnTo>
                    <a:pt x="3068593" y="564355"/>
                  </a:lnTo>
                  <a:lnTo>
                    <a:pt x="3068593" y="559421"/>
                  </a:lnTo>
                  <a:lnTo>
                    <a:pt x="3064400" y="556214"/>
                  </a:lnTo>
                  <a:lnTo>
                    <a:pt x="3066472" y="552957"/>
                  </a:lnTo>
                  <a:lnTo>
                    <a:pt x="3068593" y="546543"/>
                  </a:lnTo>
                  <a:lnTo>
                    <a:pt x="3091438" y="538451"/>
                  </a:lnTo>
                  <a:lnTo>
                    <a:pt x="3095582" y="540080"/>
                  </a:lnTo>
                  <a:lnTo>
                    <a:pt x="3101849" y="538451"/>
                  </a:lnTo>
                  <a:lnTo>
                    <a:pt x="3110138" y="541708"/>
                  </a:lnTo>
                  <a:lnTo>
                    <a:pt x="3120548" y="541708"/>
                  </a:lnTo>
                  <a:lnTo>
                    <a:pt x="3128838" y="549750"/>
                  </a:lnTo>
                  <a:lnTo>
                    <a:pt x="3137177" y="551379"/>
                  </a:lnTo>
                  <a:lnTo>
                    <a:pt x="3141371" y="557793"/>
                  </a:lnTo>
                  <a:lnTo>
                    <a:pt x="3153805" y="557793"/>
                  </a:lnTo>
                  <a:lnTo>
                    <a:pt x="3157949" y="564256"/>
                  </a:lnTo>
                  <a:lnTo>
                    <a:pt x="3174626" y="564256"/>
                  </a:lnTo>
                  <a:lnTo>
                    <a:pt x="3164215" y="559322"/>
                  </a:lnTo>
                  <a:lnTo>
                    <a:pt x="3164215" y="556115"/>
                  </a:lnTo>
                  <a:lnTo>
                    <a:pt x="3172504" y="559322"/>
                  </a:lnTo>
                  <a:lnTo>
                    <a:pt x="3180843" y="554388"/>
                  </a:lnTo>
                  <a:lnTo>
                    <a:pt x="3172504" y="551181"/>
                  </a:lnTo>
                  <a:lnTo>
                    <a:pt x="3176698" y="546247"/>
                  </a:lnTo>
                  <a:lnTo>
                    <a:pt x="3170481" y="541313"/>
                  </a:lnTo>
                  <a:lnTo>
                    <a:pt x="3162143" y="544520"/>
                  </a:lnTo>
                  <a:lnTo>
                    <a:pt x="3153805" y="542892"/>
                  </a:lnTo>
                  <a:lnTo>
                    <a:pt x="3153805" y="533024"/>
                  </a:lnTo>
                  <a:lnTo>
                    <a:pt x="3149660" y="526610"/>
                  </a:lnTo>
                  <a:lnTo>
                    <a:pt x="3153805" y="523353"/>
                  </a:lnTo>
                  <a:lnTo>
                    <a:pt x="3157949" y="526610"/>
                  </a:lnTo>
                  <a:lnTo>
                    <a:pt x="3164215" y="523353"/>
                  </a:lnTo>
                  <a:lnTo>
                    <a:pt x="3160070" y="518419"/>
                  </a:lnTo>
                  <a:lnTo>
                    <a:pt x="3166287" y="516840"/>
                  </a:lnTo>
                  <a:lnTo>
                    <a:pt x="3176698" y="523255"/>
                  </a:lnTo>
                  <a:lnTo>
                    <a:pt x="3180843" y="529718"/>
                  </a:lnTo>
                  <a:lnTo>
                    <a:pt x="3185036" y="528090"/>
                  </a:lnTo>
                  <a:lnTo>
                    <a:pt x="3189182" y="531346"/>
                  </a:lnTo>
                  <a:lnTo>
                    <a:pt x="3193325" y="529718"/>
                  </a:lnTo>
                  <a:lnTo>
                    <a:pt x="3191253" y="523255"/>
                  </a:lnTo>
                  <a:lnTo>
                    <a:pt x="3199592" y="520047"/>
                  </a:lnTo>
                  <a:lnTo>
                    <a:pt x="3203737" y="523255"/>
                  </a:lnTo>
                  <a:lnTo>
                    <a:pt x="3205809" y="518320"/>
                  </a:lnTo>
                  <a:lnTo>
                    <a:pt x="3195398" y="507021"/>
                  </a:lnTo>
                  <a:lnTo>
                    <a:pt x="3187060" y="505443"/>
                  </a:lnTo>
                  <a:lnTo>
                    <a:pt x="3176698" y="497351"/>
                  </a:lnTo>
                  <a:lnTo>
                    <a:pt x="3178770" y="490937"/>
                  </a:lnTo>
                  <a:lnTo>
                    <a:pt x="3174626" y="486003"/>
                  </a:lnTo>
                  <a:lnTo>
                    <a:pt x="3168360" y="489210"/>
                  </a:lnTo>
                  <a:lnTo>
                    <a:pt x="3160070" y="487581"/>
                  </a:lnTo>
                  <a:lnTo>
                    <a:pt x="3168360" y="482647"/>
                  </a:lnTo>
                  <a:lnTo>
                    <a:pt x="3166287" y="477713"/>
                  </a:lnTo>
                  <a:lnTo>
                    <a:pt x="3168360" y="476134"/>
                  </a:lnTo>
                  <a:lnTo>
                    <a:pt x="3162143" y="468043"/>
                  </a:lnTo>
                  <a:lnTo>
                    <a:pt x="3174626" y="468043"/>
                  </a:lnTo>
                  <a:lnTo>
                    <a:pt x="3176698" y="456744"/>
                  </a:lnTo>
                  <a:lnTo>
                    <a:pt x="3164215" y="460000"/>
                  </a:lnTo>
                  <a:lnTo>
                    <a:pt x="3155926" y="466414"/>
                  </a:lnTo>
                  <a:lnTo>
                    <a:pt x="3153805" y="472878"/>
                  </a:lnTo>
                  <a:lnTo>
                    <a:pt x="3141371" y="469671"/>
                  </a:lnTo>
                  <a:lnTo>
                    <a:pt x="3133032" y="458372"/>
                  </a:lnTo>
                  <a:lnTo>
                    <a:pt x="3137177" y="451908"/>
                  </a:lnTo>
                  <a:lnTo>
                    <a:pt x="3139248" y="443866"/>
                  </a:lnTo>
                  <a:lnTo>
                    <a:pt x="3151732" y="440659"/>
                  </a:lnTo>
                  <a:lnTo>
                    <a:pt x="3160070" y="440659"/>
                  </a:lnTo>
                  <a:lnTo>
                    <a:pt x="3172504" y="430791"/>
                  </a:lnTo>
                  <a:lnTo>
                    <a:pt x="3172504" y="425857"/>
                  </a:lnTo>
                  <a:lnTo>
                    <a:pt x="3164215" y="417814"/>
                  </a:lnTo>
                  <a:lnTo>
                    <a:pt x="3157949" y="419442"/>
                  </a:lnTo>
                  <a:lnTo>
                    <a:pt x="3151732" y="417814"/>
                  </a:lnTo>
                  <a:lnTo>
                    <a:pt x="3139248" y="417814"/>
                  </a:lnTo>
                  <a:lnTo>
                    <a:pt x="3130960" y="409772"/>
                  </a:lnTo>
                  <a:lnTo>
                    <a:pt x="3141371" y="404838"/>
                  </a:lnTo>
                  <a:lnTo>
                    <a:pt x="3155926" y="403209"/>
                  </a:lnTo>
                  <a:lnTo>
                    <a:pt x="3172504" y="409673"/>
                  </a:lnTo>
                  <a:lnTo>
                    <a:pt x="3187306" y="406417"/>
                  </a:lnTo>
                  <a:lnTo>
                    <a:pt x="3212272" y="406417"/>
                  </a:lnTo>
                  <a:lnTo>
                    <a:pt x="3253866" y="403209"/>
                  </a:lnTo>
                  <a:lnTo>
                    <a:pt x="3260132" y="400002"/>
                  </a:lnTo>
                  <a:lnTo>
                    <a:pt x="3291316" y="400002"/>
                  </a:lnTo>
                  <a:lnTo>
                    <a:pt x="3303799" y="401581"/>
                  </a:lnTo>
                  <a:lnTo>
                    <a:pt x="3314161" y="400002"/>
                  </a:lnTo>
                  <a:lnTo>
                    <a:pt x="3332909" y="400002"/>
                  </a:lnTo>
                  <a:lnTo>
                    <a:pt x="3322499" y="403209"/>
                  </a:lnTo>
                  <a:lnTo>
                    <a:pt x="3299605" y="411252"/>
                  </a:lnTo>
                  <a:lnTo>
                    <a:pt x="3291316" y="408045"/>
                  </a:lnTo>
                  <a:lnTo>
                    <a:pt x="3287171" y="409673"/>
                  </a:lnTo>
                  <a:lnTo>
                    <a:pt x="3278833" y="406417"/>
                  </a:lnTo>
                  <a:lnTo>
                    <a:pt x="3274689" y="419344"/>
                  </a:lnTo>
                  <a:lnTo>
                    <a:pt x="3282978" y="427386"/>
                  </a:lnTo>
                  <a:lnTo>
                    <a:pt x="3276761" y="429014"/>
                  </a:lnTo>
                  <a:lnTo>
                    <a:pt x="3274689" y="433948"/>
                  </a:lnTo>
                  <a:lnTo>
                    <a:pt x="3282978" y="437156"/>
                  </a:lnTo>
                  <a:lnTo>
                    <a:pt x="3293388" y="430741"/>
                  </a:lnTo>
                  <a:lnTo>
                    <a:pt x="3293388" y="424278"/>
                  </a:lnTo>
                  <a:lnTo>
                    <a:pt x="3312088" y="412979"/>
                  </a:lnTo>
                  <a:lnTo>
                    <a:pt x="3337054" y="404936"/>
                  </a:lnTo>
                  <a:lnTo>
                    <a:pt x="3339126" y="416186"/>
                  </a:lnTo>
                  <a:lnTo>
                    <a:pt x="3341199" y="432320"/>
                  </a:lnTo>
                  <a:lnTo>
                    <a:pt x="3339126" y="435577"/>
                  </a:lnTo>
                  <a:lnTo>
                    <a:pt x="3334933" y="425709"/>
                  </a:lnTo>
                  <a:lnTo>
                    <a:pt x="3326643" y="419294"/>
                  </a:lnTo>
                  <a:lnTo>
                    <a:pt x="3326643" y="412880"/>
                  </a:lnTo>
                  <a:lnTo>
                    <a:pt x="3320377" y="419344"/>
                  </a:lnTo>
                  <a:lnTo>
                    <a:pt x="3314161" y="417716"/>
                  </a:lnTo>
                  <a:lnTo>
                    <a:pt x="3318354" y="429014"/>
                  </a:lnTo>
                  <a:lnTo>
                    <a:pt x="3326643" y="430643"/>
                  </a:lnTo>
                  <a:lnTo>
                    <a:pt x="3328716" y="443520"/>
                  </a:lnTo>
                  <a:lnTo>
                    <a:pt x="3324571" y="453389"/>
                  </a:lnTo>
                  <a:lnTo>
                    <a:pt x="3318354" y="451760"/>
                  </a:lnTo>
                  <a:lnTo>
                    <a:pt x="3314161" y="455017"/>
                  </a:lnTo>
                  <a:lnTo>
                    <a:pt x="3322499" y="459951"/>
                  </a:lnTo>
                  <a:lnTo>
                    <a:pt x="3322499" y="464885"/>
                  </a:lnTo>
                  <a:lnTo>
                    <a:pt x="3324571" y="468092"/>
                  </a:lnTo>
                  <a:lnTo>
                    <a:pt x="3330837" y="468092"/>
                  </a:lnTo>
                  <a:lnTo>
                    <a:pt x="3341199" y="461628"/>
                  </a:lnTo>
                  <a:lnTo>
                    <a:pt x="3341199" y="453586"/>
                  </a:lnTo>
                  <a:lnTo>
                    <a:pt x="3347466" y="443718"/>
                  </a:lnTo>
                  <a:lnTo>
                    <a:pt x="3345393" y="438784"/>
                  </a:lnTo>
                  <a:lnTo>
                    <a:pt x="3345393" y="428916"/>
                  </a:lnTo>
                  <a:lnTo>
                    <a:pt x="3343271" y="398275"/>
                  </a:lnTo>
                  <a:lnTo>
                    <a:pt x="3355755" y="388407"/>
                  </a:lnTo>
                  <a:lnTo>
                    <a:pt x="3374455" y="385200"/>
                  </a:lnTo>
                  <a:lnTo>
                    <a:pt x="3395276" y="380266"/>
                  </a:lnTo>
                  <a:lnTo>
                    <a:pt x="3413976" y="383473"/>
                  </a:lnTo>
                  <a:lnTo>
                    <a:pt x="3438942" y="389937"/>
                  </a:lnTo>
                  <a:lnTo>
                    <a:pt x="3451376" y="404443"/>
                  </a:lnTo>
                  <a:lnTo>
                    <a:pt x="3449353" y="410857"/>
                  </a:lnTo>
                  <a:lnTo>
                    <a:pt x="3443087" y="414114"/>
                  </a:lnTo>
                  <a:lnTo>
                    <a:pt x="3430603" y="406022"/>
                  </a:lnTo>
                  <a:lnTo>
                    <a:pt x="3428532" y="407650"/>
                  </a:lnTo>
                  <a:lnTo>
                    <a:pt x="3432675" y="414114"/>
                  </a:lnTo>
                  <a:lnTo>
                    <a:pt x="3430603" y="420528"/>
                  </a:lnTo>
                  <a:lnTo>
                    <a:pt x="3432675" y="426991"/>
                  </a:lnTo>
                  <a:lnTo>
                    <a:pt x="3426458" y="430248"/>
                  </a:lnTo>
                  <a:lnTo>
                    <a:pt x="3432675" y="431827"/>
                  </a:lnTo>
                  <a:lnTo>
                    <a:pt x="3438942" y="428620"/>
                  </a:lnTo>
                  <a:lnTo>
                    <a:pt x="3451376" y="426991"/>
                  </a:lnTo>
                  <a:lnTo>
                    <a:pt x="3459715" y="422057"/>
                  </a:lnTo>
                  <a:lnTo>
                    <a:pt x="3461787" y="430149"/>
                  </a:lnTo>
                  <a:lnTo>
                    <a:pt x="3465931" y="436563"/>
                  </a:lnTo>
                  <a:lnTo>
                    <a:pt x="3468053" y="444655"/>
                  </a:lnTo>
                  <a:lnTo>
                    <a:pt x="3472197" y="447862"/>
                  </a:lnTo>
                  <a:lnTo>
                    <a:pt x="3476342" y="441399"/>
                  </a:lnTo>
                  <a:lnTo>
                    <a:pt x="3476342" y="438192"/>
                  </a:lnTo>
                  <a:lnTo>
                    <a:pt x="3484680" y="430149"/>
                  </a:lnTo>
                  <a:lnTo>
                    <a:pt x="3493020" y="435083"/>
                  </a:lnTo>
                  <a:lnTo>
                    <a:pt x="3495042" y="441498"/>
                  </a:lnTo>
                  <a:lnTo>
                    <a:pt x="3493020" y="446432"/>
                  </a:lnTo>
                  <a:lnTo>
                    <a:pt x="3490897" y="454523"/>
                  </a:lnTo>
                  <a:lnTo>
                    <a:pt x="3493020" y="457731"/>
                  </a:lnTo>
                  <a:lnTo>
                    <a:pt x="3497164" y="456102"/>
                  </a:lnTo>
                  <a:lnTo>
                    <a:pt x="3501309" y="448060"/>
                  </a:lnTo>
                  <a:lnTo>
                    <a:pt x="3505452" y="446432"/>
                  </a:lnTo>
                  <a:lnTo>
                    <a:pt x="3507575" y="451366"/>
                  </a:lnTo>
                  <a:lnTo>
                    <a:pt x="3507575" y="444951"/>
                  </a:lnTo>
                  <a:lnTo>
                    <a:pt x="3515864" y="432024"/>
                  </a:lnTo>
                  <a:lnTo>
                    <a:pt x="3517936" y="428817"/>
                  </a:lnTo>
                  <a:lnTo>
                    <a:pt x="3524153" y="432024"/>
                  </a:lnTo>
                  <a:lnTo>
                    <a:pt x="3540830" y="441892"/>
                  </a:lnTo>
                  <a:lnTo>
                    <a:pt x="3557457" y="445149"/>
                  </a:lnTo>
                  <a:lnTo>
                    <a:pt x="3567819" y="456398"/>
                  </a:lnTo>
                  <a:lnTo>
                    <a:pt x="3567819" y="461332"/>
                  </a:lnTo>
                  <a:lnTo>
                    <a:pt x="3555385" y="467796"/>
                  </a:lnTo>
                  <a:lnTo>
                    <a:pt x="3547047" y="474260"/>
                  </a:lnTo>
                  <a:lnTo>
                    <a:pt x="3557457" y="469325"/>
                  </a:lnTo>
                  <a:lnTo>
                    <a:pt x="3572012" y="467697"/>
                  </a:lnTo>
                  <a:lnTo>
                    <a:pt x="3582424" y="470904"/>
                  </a:lnTo>
                  <a:lnTo>
                    <a:pt x="3594907" y="467697"/>
                  </a:lnTo>
                  <a:lnTo>
                    <a:pt x="3603196" y="461234"/>
                  </a:lnTo>
                  <a:lnTo>
                    <a:pt x="3611534" y="458027"/>
                  </a:lnTo>
                  <a:lnTo>
                    <a:pt x="3626091" y="446728"/>
                  </a:lnTo>
                  <a:lnTo>
                    <a:pt x="3634379" y="445149"/>
                  </a:lnTo>
                  <a:lnTo>
                    <a:pt x="3644790" y="435281"/>
                  </a:lnTo>
                  <a:lnTo>
                    <a:pt x="3655201" y="432024"/>
                  </a:lnTo>
                  <a:lnTo>
                    <a:pt x="3682190" y="420725"/>
                  </a:lnTo>
                  <a:lnTo>
                    <a:pt x="3694673" y="417518"/>
                  </a:lnTo>
                  <a:lnTo>
                    <a:pt x="3703011" y="417518"/>
                  </a:lnTo>
                  <a:lnTo>
                    <a:pt x="3705084" y="415890"/>
                  </a:lnTo>
                  <a:lnTo>
                    <a:pt x="3719887" y="407847"/>
                  </a:lnTo>
                  <a:lnTo>
                    <a:pt x="3728225" y="406219"/>
                  </a:lnTo>
                  <a:lnTo>
                    <a:pt x="3746925" y="406219"/>
                  </a:lnTo>
                  <a:lnTo>
                    <a:pt x="3782252" y="416087"/>
                  </a:lnTo>
                  <a:lnTo>
                    <a:pt x="3797054" y="430643"/>
                  </a:lnTo>
                  <a:lnTo>
                    <a:pt x="3811610" y="437057"/>
                  </a:lnTo>
                  <a:lnTo>
                    <a:pt x="3824093" y="449984"/>
                  </a:lnTo>
                  <a:lnTo>
                    <a:pt x="3832382" y="459852"/>
                  </a:lnTo>
                  <a:lnTo>
                    <a:pt x="3832382" y="466266"/>
                  </a:lnTo>
                  <a:lnTo>
                    <a:pt x="3836576" y="469523"/>
                  </a:lnTo>
                  <a:lnTo>
                    <a:pt x="3834504" y="479391"/>
                  </a:lnTo>
                  <a:lnTo>
                    <a:pt x="3842793" y="490690"/>
                  </a:lnTo>
                  <a:lnTo>
                    <a:pt x="3842793" y="497104"/>
                  </a:lnTo>
                  <a:lnTo>
                    <a:pt x="3838648" y="503568"/>
                  </a:lnTo>
                  <a:lnTo>
                    <a:pt x="3846938" y="501939"/>
                  </a:lnTo>
                  <a:lnTo>
                    <a:pt x="3855276" y="492071"/>
                  </a:lnTo>
                  <a:lnTo>
                    <a:pt x="3865686" y="492071"/>
                  </a:lnTo>
                  <a:lnTo>
                    <a:pt x="3869831" y="497005"/>
                  </a:lnTo>
                  <a:lnTo>
                    <a:pt x="3869831" y="492071"/>
                  </a:lnTo>
                  <a:lnTo>
                    <a:pt x="3880243" y="490493"/>
                  </a:lnTo>
                  <a:lnTo>
                    <a:pt x="3888581" y="495427"/>
                  </a:lnTo>
                  <a:lnTo>
                    <a:pt x="3890653" y="503469"/>
                  </a:lnTo>
                  <a:lnTo>
                    <a:pt x="3892725" y="497005"/>
                  </a:lnTo>
                  <a:lnTo>
                    <a:pt x="3890653" y="487137"/>
                  </a:lnTo>
                  <a:lnTo>
                    <a:pt x="3896870" y="487137"/>
                  </a:lnTo>
                  <a:lnTo>
                    <a:pt x="3901015" y="495229"/>
                  </a:lnTo>
                  <a:lnTo>
                    <a:pt x="3913498" y="505097"/>
                  </a:lnTo>
                  <a:lnTo>
                    <a:pt x="3915570" y="516396"/>
                  </a:lnTo>
                  <a:lnTo>
                    <a:pt x="3921836" y="516396"/>
                  </a:lnTo>
                  <a:lnTo>
                    <a:pt x="3932246" y="527646"/>
                  </a:lnTo>
                  <a:lnTo>
                    <a:pt x="3932246" y="524389"/>
                  </a:lnTo>
                  <a:lnTo>
                    <a:pt x="3928053" y="514521"/>
                  </a:lnTo>
                  <a:lnTo>
                    <a:pt x="3921836" y="511265"/>
                  </a:lnTo>
                  <a:lnTo>
                    <a:pt x="3919764" y="504851"/>
                  </a:lnTo>
                  <a:lnTo>
                    <a:pt x="3928053" y="509785"/>
                  </a:lnTo>
                  <a:lnTo>
                    <a:pt x="3934320" y="508156"/>
                  </a:lnTo>
                  <a:lnTo>
                    <a:pt x="3940536" y="514620"/>
                  </a:lnTo>
                  <a:lnTo>
                    <a:pt x="3950897" y="525919"/>
                  </a:lnTo>
                  <a:lnTo>
                    <a:pt x="3948875" y="517827"/>
                  </a:lnTo>
                  <a:lnTo>
                    <a:pt x="3936391" y="501693"/>
                  </a:lnTo>
                  <a:lnTo>
                    <a:pt x="3936391" y="474309"/>
                  </a:lnTo>
                  <a:lnTo>
                    <a:pt x="3944680" y="466217"/>
                  </a:lnTo>
                  <a:lnTo>
                    <a:pt x="3959482" y="464638"/>
                  </a:lnTo>
                  <a:lnTo>
                    <a:pt x="3965699" y="459704"/>
                  </a:lnTo>
                  <a:lnTo>
                    <a:pt x="3978232" y="456448"/>
                  </a:lnTo>
                  <a:lnTo>
                    <a:pt x="3978232" y="451514"/>
                  </a:lnTo>
                  <a:lnTo>
                    <a:pt x="3980256" y="448307"/>
                  </a:lnTo>
                  <a:lnTo>
                    <a:pt x="3984449" y="448307"/>
                  </a:lnTo>
                  <a:lnTo>
                    <a:pt x="3992787" y="454770"/>
                  </a:lnTo>
                  <a:lnTo>
                    <a:pt x="3999004" y="456349"/>
                  </a:lnTo>
                  <a:lnTo>
                    <a:pt x="4009366" y="454770"/>
                  </a:lnTo>
                  <a:lnTo>
                    <a:pt x="4017704" y="448307"/>
                  </a:lnTo>
                  <a:lnTo>
                    <a:pt x="4023921" y="449935"/>
                  </a:lnTo>
                  <a:lnTo>
                    <a:pt x="4036454" y="445001"/>
                  </a:lnTo>
                  <a:lnTo>
                    <a:pt x="4051009" y="446580"/>
                  </a:lnTo>
                  <a:lnTo>
                    <a:pt x="4059298" y="443372"/>
                  </a:lnTo>
                  <a:lnTo>
                    <a:pt x="4061371" y="441744"/>
                  </a:lnTo>
                  <a:lnTo>
                    <a:pt x="4063443" y="446678"/>
                  </a:lnTo>
                  <a:lnTo>
                    <a:pt x="4067588" y="449935"/>
                  </a:lnTo>
                  <a:lnTo>
                    <a:pt x="4069709" y="443471"/>
                  </a:lnTo>
                  <a:lnTo>
                    <a:pt x="4080121" y="433603"/>
                  </a:lnTo>
                  <a:lnTo>
                    <a:pt x="4077998" y="428669"/>
                  </a:lnTo>
                  <a:lnTo>
                    <a:pt x="4077998" y="414163"/>
                  </a:lnTo>
                  <a:lnTo>
                    <a:pt x="4082143" y="410907"/>
                  </a:lnTo>
                  <a:lnTo>
                    <a:pt x="4092771" y="412288"/>
                  </a:lnTo>
                  <a:lnTo>
                    <a:pt x="4094936" y="413568"/>
                  </a:lnTo>
                  <a:lnTo>
                    <a:pt x="4096698" y="420577"/>
                  </a:lnTo>
                  <a:lnTo>
                    <a:pt x="4098819" y="423834"/>
                  </a:lnTo>
                  <a:lnTo>
                    <a:pt x="4109231" y="425413"/>
                  </a:lnTo>
                  <a:lnTo>
                    <a:pt x="4115448" y="428669"/>
                  </a:lnTo>
                  <a:lnTo>
                    <a:pt x="4115448" y="436711"/>
                  </a:lnTo>
                  <a:lnTo>
                    <a:pt x="4125810" y="446580"/>
                  </a:lnTo>
                  <a:lnTo>
                    <a:pt x="4130003" y="449836"/>
                  </a:lnTo>
                  <a:lnTo>
                    <a:pt x="4140365" y="448208"/>
                  </a:lnTo>
                  <a:lnTo>
                    <a:pt x="4159114" y="451415"/>
                  </a:lnTo>
                  <a:lnTo>
                    <a:pt x="4161186" y="449836"/>
                  </a:lnTo>
                  <a:lnTo>
                    <a:pt x="4165330" y="451415"/>
                  </a:lnTo>
                  <a:lnTo>
                    <a:pt x="4177813" y="464342"/>
                  </a:lnTo>
                  <a:lnTo>
                    <a:pt x="4177813" y="470756"/>
                  </a:lnTo>
                  <a:lnTo>
                    <a:pt x="4182008" y="475690"/>
                  </a:lnTo>
                  <a:lnTo>
                    <a:pt x="4194442" y="477269"/>
                  </a:lnTo>
                  <a:lnTo>
                    <a:pt x="4200708" y="472335"/>
                  </a:lnTo>
                  <a:lnTo>
                    <a:pt x="4207862" y="472335"/>
                  </a:lnTo>
                  <a:lnTo>
                    <a:pt x="4207862" y="467401"/>
                  </a:lnTo>
                  <a:lnTo>
                    <a:pt x="4216200" y="462467"/>
                  </a:lnTo>
                  <a:lnTo>
                    <a:pt x="4220345" y="464095"/>
                  </a:lnTo>
                  <a:lnTo>
                    <a:pt x="4222417" y="460839"/>
                  </a:lnTo>
                  <a:lnTo>
                    <a:pt x="4218273" y="455905"/>
                  </a:lnTo>
                  <a:lnTo>
                    <a:pt x="4222417" y="452698"/>
                  </a:lnTo>
                  <a:lnTo>
                    <a:pt x="4220345" y="449491"/>
                  </a:lnTo>
                  <a:lnTo>
                    <a:pt x="4220345" y="444557"/>
                  </a:lnTo>
                  <a:lnTo>
                    <a:pt x="4214128" y="436465"/>
                  </a:lnTo>
                  <a:lnTo>
                    <a:pt x="4203717" y="433258"/>
                  </a:lnTo>
                  <a:lnTo>
                    <a:pt x="4199573" y="423390"/>
                  </a:lnTo>
                  <a:lnTo>
                    <a:pt x="4187090" y="412091"/>
                  </a:lnTo>
                  <a:lnTo>
                    <a:pt x="4182896" y="412091"/>
                  </a:lnTo>
                  <a:lnTo>
                    <a:pt x="4178752" y="407157"/>
                  </a:lnTo>
                  <a:lnTo>
                    <a:pt x="4166318" y="402223"/>
                  </a:lnTo>
                  <a:lnTo>
                    <a:pt x="4160052" y="407157"/>
                  </a:lnTo>
                  <a:lnTo>
                    <a:pt x="4155907" y="407157"/>
                  </a:lnTo>
                  <a:lnTo>
                    <a:pt x="4155907" y="399114"/>
                  </a:lnTo>
                  <a:lnTo>
                    <a:pt x="4157979" y="394180"/>
                  </a:lnTo>
                  <a:lnTo>
                    <a:pt x="4151762" y="386088"/>
                  </a:lnTo>
                  <a:lnTo>
                    <a:pt x="4149640" y="379674"/>
                  </a:lnTo>
                  <a:lnTo>
                    <a:pt x="4145496" y="376418"/>
                  </a:lnTo>
                  <a:lnTo>
                    <a:pt x="4141351" y="366550"/>
                  </a:lnTo>
                  <a:lnTo>
                    <a:pt x="4130940" y="360086"/>
                  </a:lnTo>
                  <a:lnTo>
                    <a:pt x="4133013" y="358507"/>
                  </a:lnTo>
                  <a:lnTo>
                    <a:pt x="4149640" y="355251"/>
                  </a:lnTo>
                  <a:lnTo>
                    <a:pt x="4153785" y="358507"/>
                  </a:lnTo>
                  <a:lnTo>
                    <a:pt x="4174607" y="356879"/>
                  </a:lnTo>
                  <a:lnTo>
                    <a:pt x="4189162" y="356879"/>
                  </a:lnTo>
                  <a:lnTo>
                    <a:pt x="4191234" y="351945"/>
                  </a:lnTo>
                  <a:lnTo>
                    <a:pt x="4199573" y="350317"/>
                  </a:lnTo>
                  <a:lnTo>
                    <a:pt x="4207862" y="355251"/>
                  </a:lnTo>
                  <a:lnTo>
                    <a:pt x="4214128" y="353672"/>
                  </a:lnTo>
                  <a:lnTo>
                    <a:pt x="4220345" y="353672"/>
                  </a:lnTo>
                  <a:lnTo>
                    <a:pt x="4220345" y="347208"/>
                  </a:lnTo>
                  <a:lnTo>
                    <a:pt x="4228684" y="347208"/>
                  </a:lnTo>
                  <a:lnTo>
                    <a:pt x="4232829" y="350415"/>
                  </a:lnTo>
                  <a:lnTo>
                    <a:pt x="4234901" y="350415"/>
                  </a:lnTo>
                  <a:lnTo>
                    <a:pt x="4239095" y="344001"/>
                  </a:lnTo>
                  <a:lnTo>
                    <a:pt x="4245312" y="345580"/>
                  </a:lnTo>
                  <a:lnTo>
                    <a:pt x="4245312" y="339166"/>
                  </a:lnTo>
                  <a:lnTo>
                    <a:pt x="4274422" y="332702"/>
                  </a:lnTo>
                  <a:lnTo>
                    <a:pt x="4278567" y="339166"/>
                  </a:lnTo>
                  <a:lnTo>
                    <a:pt x="4280639" y="334232"/>
                  </a:lnTo>
                  <a:lnTo>
                    <a:pt x="4284834" y="329298"/>
                  </a:lnTo>
                  <a:lnTo>
                    <a:pt x="4286856" y="330876"/>
                  </a:lnTo>
                  <a:lnTo>
                    <a:pt x="4297267" y="329298"/>
                  </a:lnTo>
                  <a:lnTo>
                    <a:pt x="4303533" y="327669"/>
                  </a:lnTo>
                  <a:lnTo>
                    <a:pt x="4309749" y="332603"/>
                  </a:lnTo>
                  <a:lnTo>
                    <a:pt x="4322233" y="332603"/>
                  </a:lnTo>
                  <a:lnTo>
                    <a:pt x="4328499" y="330975"/>
                  </a:lnTo>
                  <a:lnTo>
                    <a:pt x="4332644" y="334232"/>
                  </a:lnTo>
                  <a:lnTo>
                    <a:pt x="4336788" y="335811"/>
                  </a:lnTo>
                  <a:lnTo>
                    <a:pt x="4340933" y="332603"/>
                  </a:lnTo>
                  <a:lnTo>
                    <a:pt x="4353416" y="330975"/>
                  </a:lnTo>
                  <a:lnTo>
                    <a:pt x="4376310" y="337439"/>
                  </a:lnTo>
                  <a:lnTo>
                    <a:pt x="4384600" y="340646"/>
                  </a:lnTo>
                  <a:lnTo>
                    <a:pt x="4388744" y="339067"/>
                  </a:lnTo>
                  <a:lnTo>
                    <a:pt x="4386721" y="337439"/>
                  </a:lnTo>
                  <a:lnTo>
                    <a:pt x="4395010" y="335811"/>
                  </a:lnTo>
                  <a:lnTo>
                    <a:pt x="4399155" y="339067"/>
                  </a:lnTo>
                  <a:lnTo>
                    <a:pt x="4395010" y="342274"/>
                  </a:lnTo>
                  <a:lnTo>
                    <a:pt x="4399155" y="343902"/>
                  </a:lnTo>
                  <a:lnTo>
                    <a:pt x="4409565" y="342274"/>
                  </a:lnTo>
                  <a:lnTo>
                    <a:pt x="4434532" y="343902"/>
                  </a:lnTo>
                  <a:lnTo>
                    <a:pt x="4455304" y="356780"/>
                  </a:lnTo>
                  <a:lnTo>
                    <a:pt x="4455304" y="359987"/>
                  </a:lnTo>
                  <a:lnTo>
                    <a:pt x="4449087" y="356780"/>
                  </a:lnTo>
                  <a:lnTo>
                    <a:pt x="4436605" y="351846"/>
                  </a:lnTo>
                  <a:lnTo>
                    <a:pt x="4434532" y="355053"/>
                  </a:lnTo>
                  <a:lnTo>
                    <a:pt x="4457377" y="361517"/>
                  </a:lnTo>
                  <a:lnTo>
                    <a:pt x="4467787" y="361517"/>
                  </a:lnTo>
                  <a:lnTo>
                    <a:pt x="4469860" y="356583"/>
                  </a:lnTo>
                  <a:lnTo>
                    <a:pt x="4488608" y="356583"/>
                  </a:lnTo>
                  <a:lnTo>
                    <a:pt x="4486487" y="351649"/>
                  </a:lnTo>
                  <a:lnTo>
                    <a:pt x="4492753" y="350021"/>
                  </a:lnTo>
                  <a:lnTo>
                    <a:pt x="4498970" y="353277"/>
                  </a:lnTo>
                  <a:lnTo>
                    <a:pt x="4505237" y="356484"/>
                  </a:lnTo>
                  <a:lnTo>
                    <a:pt x="4509382" y="358112"/>
                  </a:lnTo>
                  <a:lnTo>
                    <a:pt x="4509382" y="353178"/>
                  </a:lnTo>
                  <a:lnTo>
                    <a:pt x="4521864" y="354757"/>
                  </a:lnTo>
                  <a:lnTo>
                    <a:pt x="4521864" y="359691"/>
                  </a:lnTo>
                  <a:lnTo>
                    <a:pt x="4532275" y="362948"/>
                  </a:lnTo>
                  <a:lnTo>
                    <a:pt x="4540564" y="359691"/>
                  </a:lnTo>
                  <a:lnTo>
                    <a:pt x="4571747" y="364625"/>
                  </a:lnTo>
                  <a:lnTo>
                    <a:pt x="4569675" y="359691"/>
                  </a:lnTo>
                  <a:lnTo>
                    <a:pt x="4580036" y="359691"/>
                  </a:lnTo>
                  <a:lnTo>
                    <a:pt x="4582159" y="364625"/>
                  </a:lnTo>
                  <a:lnTo>
                    <a:pt x="4588376" y="367882"/>
                  </a:lnTo>
                  <a:lnTo>
                    <a:pt x="4586302" y="361418"/>
                  </a:lnTo>
                  <a:lnTo>
                    <a:pt x="4590497" y="359790"/>
                  </a:lnTo>
                  <a:lnTo>
                    <a:pt x="4600858" y="361418"/>
                  </a:lnTo>
                  <a:lnTo>
                    <a:pt x="4598786" y="364625"/>
                  </a:lnTo>
                  <a:lnTo>
                    <a:pt x="4605052" y="371089"/>
                  </a:lnTo>
                  <a:lnTo>
                    <a:pt x="4615414" y="369461"/>
                  </a:lnTo>
                  <a:lnTo>
                    <a:pt x="4615414" y="366253"/>
                  </a:lnTo>
                  <a:lnTo>
                    <a:pt x="4611269" y="363046"/>
                  </a:lnTo>
                  <a:lnTo>
                    <a:pt x="4621680" y="364625"/>
                  </a:lnTo>
                  <a:lnTo>
                    <a:pt x="4625824" y="366253"/>
                  </a:lnTo>
                  <a:lnTo>
                    <a:pt x="4623703" y="371188"/>
                  </a:lnTo>
                  <a:lnTo>
                    <a:pt x="4632041" y="376122"/>
                  </a:lnTo>
                  <a:lnTo>
                    <a:pt x="4644524" y="381056"/>
                  </a:lnTo>
                  <a:lnTo>
                    <a:pt x="4652813" y="377849"/>
                  </a:lnTo>
                  <a:lnTo>
                    <a:pt x="4640379" y="372914"/>
                  </a:lnTo>
                  <a:lnTo>
                    <a:pt x="4634113" y="369658"/>
                  </a:lnTo>
                  <a:lnTo>
                    <a:pt x="4632041" y="366451"/>
                  </a:lnTo>
                  <a:lnTo>
                    <a:pt x="4640379" y="364823"/>
                  </a:lnTo>
                  <a:lnTo>
                    <a:pt x="4648669" y="366451"/>
                  </a:lnTo>
                  <a:lnTo>
                    <a:pt x="4661153" y="372914"/>
                  </a:lnTo>
                  <a:lnTo>
                    <a:pt x="4665346" y="379378"/>
                  </a:lnTo>
                  <a:lnTo>
                    <a:pt x="4669491" y="380957"/>
                  </a:lnTo>
                  <a:lnTo>
                    <a:pt x="4671563" y="376023"/>
                  </a:lnTo>
                  <a:lnTo>
                    <a:pt x="4669491" y="372816"/>
                  </a:lnTo>
                  <a:lnTo>
                    <a:pt x="4673635" y="374395"/>
                  </a:lnTo>
                  <a:lnTo>
                    <a:pt x="4679901" y="377651"/>
                  </a:lnTo>
                  <a:lnTo>
                    <a:pt x="4677780" y="380858"/>
                  </a:lnTo>
                  <a:lnTo>
                    <a:pt x="4686118" y="387322"/>
                  </a:lnTo>
                  <a:lnTo>
                    <a:pt x="4696480" y="405035"/>
                  </a:lnTo>
                  <a:lnTo>
                    <a:pt x="4709013" y="409969"/>
                  </a:lnTo>
                  <a:lnTo>
                    <a:pt x="4711035" y="416433"/>
                  </a:lnTo>
                  <a:lnTo>
                    <a:pt x="4717301" y="421367"/>
                  </a:lnTo>
                  <a:lnTo>
                    <a:pt x="4721446" y="427830"/>
                  </a:lnTo>
                  <a:lnTo>
                    <a:pt x="4719373" y="431037"/>
                  </a:lnTo>
                  <a:lnTo>
                    <a:pt x="4721446" y="437501"/>
                  </a:lnTo>
                  <a:lnTo>
                    <a:pt x="4727713" y="439129"/>
                  </a:lnTo>
                  <a:lnTo>
                    <a:pt x="4733930" y="434195"/>
                  </a:lnTo>
                  <a:lnTo>
                    <a:pt x="4744340" y="434195"/>
                  </a:lnTo>
                  <a:lnTo>
                    <a:pt x="4748485" y="444063"/>
                  </a:lnTo>
                  <a:lnTo>
                    <a:pt x="4754702" y="445642"/>
                  </a:lnTo>
                  <a:lnTo>
                    <a:pt x="4756823" y="442435"/>
                  </a:lnTo>
                  <a:lnTo>
                    <a:pt x="4752678" y="440807"/>
                  </a:lnTo>
                  <a:lnTo>
                    <a:pt x="4750557" y="435873"/>
                  </a:lnTo>
                  <a:lnTo>
                    <a:pt x="4754702" y="429458"/>
                  </a:lnTo>
                  <a:lnTo>
                    <a:pt x="4758895" y="431037"/>
                  </a:lnTo>
                  <a:lnTo>
                    <a:pt x="4763040" y="439129"/>
                  </a:lnTo>
                  <a:lnTo>
                    <a:pt x="4771378" y="445543"/>
                  </a:lnTo>
                  <a:lnTo>
                    <a:pt x="4769257" y="442336"/>
                  </a:lnTo>
                  <a:lnTo>
                    <a:pt x="4765112" y="432468"/>
                  </a:lnTo>
                  <a:lnTo>
                    <a:pt x="4765112" y="427534"/>
                  </a:lnTo>
                  <a:lnTo>
                    <a:pt x="4758895" y="421071"/>
                  </a:lnTo>
                  <a:lnTo>
                    <a:pt x="4750557" y="426005"/>
                  </a:lnTo>
                  <a:lnTo>
                    <a:pt x="4740145" y="427633"/>
                  </a:lnTo>
                  <a:lnTo>
                    <a:pt x="4740145" y="422699"/>
                  </a:lnTo>
                  <a:lnTo>
                    <a:pt x="4744340" y="417765"/>
                  </a:lnTo>
                  <a:lnTo>
                    <a:pt x="4742268" y="409673"/>
                  </a:lnTo>
                  <a:lnTo>
                    <a:pt x="4729785" y="401631"/>
                  </a:lnTo>
                  <a:lnTo>
                    <a:pt x="4723568" y="396696"/>
                  </a:lnTo>
                  <a:lnTo>
                    <a:pt x="4719373" y="390233"/>
                  </a:lnTo>
                  <a:lnTo>
                    <a:pt x="4715229" y="390233"/>
                  </a:lnTo>
                  <a:lnTo>
                    <a:pt x="4704818" y="396696"/>
                  </a:lnTo>
                  <a:lnTo>
                    <a:pt x="4704818" y="393489"/>
                  </a:lnTo>
                  <a:lnTo>
                    <a:pt x="4711035" y="388555"/>
                  </a:lnTo>
                  <a:lnTo>
                    <a:pt x="4717301" y="378687"/>
                  </a:lnTo>
                  <a:lnTo>
                    <a:pt x="4725590" y="367388"/>
                  </a:lnTo>
                  <a:lnTo>
                    <a:pt x="4729785" y="367388"/>
                  </a:lnTo>
                  <a:lnTo>
                    <a:pt x="4729785" y="370595"/>
                  </a:lnTo>
                  <a:lnTo>
                    <a:pt x="4736002" y="381894"/>
                  </a:lnTo>
                  <a:lnTo>
                    <a:pt x="4742268" y="383523"/>
                  </a:lnTo>
                  <a:lnTo>
                    <a:pt x="4744340" y="381894"/>
                  </a:lnTo>
                  <a:lnTo>
                    <a:pt x="4738123" y="376960"/>
                  </a:lnTo>
                  <a:lnTo>
                    <a:pt x="4736002" y="370497"/>
                  </a:lnTo>
                  <a:lnTo>
                    <a:pt x="4740145" y="370497"/>
                  </a:lnTo>
                  <a:lnTo>
                    <a:pt x="4748485" y="365563"/>
                  </a:lnTo>
                  <a:lnTo>
                    <a:pt x="4750557" y="360629"/>
                  </a:lnTo>
                  <a:lnTo>
                    <a:pt x="4740145" y="360629"/>
                  </a:lnTo>
                  <a:lnTo>
                    <a:pt x="4744340" y="359000"/>
                  </a:lnTo>
                  <a:lnTo>
                    <a:pt x="4748485" y="357422"/>
                  </a:lnTo>
                  <a:lnTo>
                    <a:pt x="4754702" y="355793"/>
                  </a:lnTo>
                  <a:lnTo>
                    <a:pt x="4760968" y="345925"/>
                  </a:lnTo>
                  <a:lnTo>
                    <a:pt x="4767234" y="347554"/>
                  </a:lnTo>
                  <a:lnTo>
                    <a:pt x="4771378" y="350761"/>
                  </a:lnTo>
                  <a:lnTo>
                    <a:pt x="4773450" y="349132"/>
                  </a:lnTo>
                  <a:lnTo>
                    <a:pt x="4781790" y="350761"/>
                  </a:lnTo>
                  <a:lnTo>
                    <a:pt x="4781790" y="356632"/>
                  </a:lnTo>
                  <a:lnTo>
                    <a:pt x="4788006" y="361566"/>
                  </a:lnTo>
                  <a:lnTo>
                    <a:pt x="4798367" y="363194"/>
                  </a:lnTo>
                  <a:lnTo>
                    <a:pt x="4802562" y="361566"/>
                  </a:lnTo>
                  <a:lnTo>
                    <a:pt x="4825455" y="364823"/>
                  </a:lnTo>
                  <a:lnTo>
                    <a:pt x="4823334" y="371237"/>
                  </a:lnTo>
                  <a:lnTo>
                    <a:pt x="4825455" y="374493"/>
                  </a:lnTo>
                  <a:lnTo>
                    <a:pt x="4829600" y="372865"/>
                  </a:lnTo>
                  <a:lnTo>
                    <a:pt x="4831672" y="367931"/>
                  </a:lnTo>
                  <a:lnTo>
                    <a:pt x="4837889" y="367931"/>
                  </a:lnTo>
                  <a:lnTo>
                    <a:pt x="4837889" y="375974"/>
                  </a:lnTo>
                  <a:lnTo>
                    <a:pt x="4844155" y="372766"/>
                  </a:lnTo>
                  <a:lnTo>
                    <a:pt x="4850372" y="366303"/>
                  </a:lnTo>
                  <a:lnTo>
                    <a:pt x="4856638" y="367931"/>
                  </a:lnTo>
                  <a:lnTo>
                    <a:pt x="4856638" y="372865"/>
                  </a:lnTo>
                  <a:lnTo>
                    <a:pt x="4852444" y="377799"/>
                  </a:lnTo>
                  <a:lnTo>
                    <a:pt x="4850372" y="381056"/>
                  </a:lnTo>
                  <a:lnTo>
                    <a:pt x="4856638" y="397141"/>
                  </a:lnTo>
                  <a:lnTo>
                    <a:pt x="4854567" y="405232"/>
                  </a:lnTo>
                  <a:lnTo>
                    <a:pt x="4856638" y="410166"/>
                  </a:lnTo>
                  <a:lnTo>
                    <a:pt x="4862855" y="408538"/>
                  </a:lnTo>
                  <a:lnTo>
                    <a:pt x="4867000" y="415002"/>
                  </a:lnTo>
                  <a:lnTo>
                    <a:pt x="4875339" y="418209"/>
                  </a:lnTo>
                  <a:lnTo>
                    <a:pt x="4877411" y="424672"/>
                  </a:lnTo>
                  <a:lnTo>
                    <a:pt x="4873267" y="427880"/>
                  </a:lnTo>
                  <a:lnTo>
                    <a:pt x="4862855" y="427880"/>
                  </a:lnTo>
                  <a:lnTo>
                    <a:pt x="4850372" y="429508"/>
                  </a:lnTo>
                  <a:lnTo>
                    <a:pt x="4867000" y="432715"/>
                  </a:lnTo>
                  <a:lnTo>
                    <a:pt x="4871194" y="437649"/>
                  </a:lnTo>
                  <a:lnTo>
                    <a:pt x="4869122" y="444113"/>
                  </a:lnTo>
                  <a:lnTo>
                    <a:pt x="4860783" y="445741"/>
                  </a:lnTo>
                  <a:lnTo>
                    <a:pt x="4854567" y="455609"/>
                  </a:lnTo>
                  <a:lnTo>
                    <a:pt x="4852444" y="452352"/>
                  </a:lnTo>
                  <a:lnTo>
                    <a:pt x="4842083" y="458816"/>
                  </a:lnTo>
                  <a:lnTo>
                    <a:pt x="4833745" y="457188"/>
                  </a:lnTo>
                  <a:lnTo>
                    <a:pt x="4825455" y="463651"/>
                  </a:lnTo>
                  <a:lnTo>
                    <a:pt x="4835817" y="462023"/>
                  </a:lnTo>
                  <a:lnTo>
                    <a:pt x="4842083" y="465280"/>
                  </a:lnTo>
                  <a:lnTo>
                    <a:pt x="4844155" y="470214"/>
                  </a:lnTo>
                  <a:lnTo>
                    <a:pt x="4850372" y="465280"/>
                  </a:lnTo>
                  <a:lnTo>
                    <a:pt x="4854567" y="465280"/>
                  </a:lnTo>
                  <a:lnTo>
                    <a:pt x="4854567" y="470214"/>
                  </a:lnTo>
                  <a:lnTo>
                    <a:pt x="4860783" y="478256"/>
                  </a:lnTo>
                  <a:lnTo>
                    <a:pt x="4854567" y="481513"/>
                  </a:lnTo>
                  <a:lnTo>
                    <a:pt x="4854567" y="491381"/>
                  </a:lnTo>
                  <a:lnTo>
                    <a:pt x="4862855" y="483289"/>
                  </a:lnTo>
                  <a:lnTo>
                    <a:pt x="4871194" y="483289"/>
                  </a:lnTo>
                  <a:lnTo>
                    <a:pt x="4881556" y="489752"/>
                  </a:lnTo>
                  <a:lnTo>
                    <a:pt x="4879484" y="494686"/>
                  </a:lnTo>
                  <a:lnTo>
                    <a:pt x="4885749" y="502729"/>
                  </a:lnTo>
                  <a:lnTo>
                    <a:pt x="4877411" y="507663"/>
                  </a:lnTo>
                  <a:lnTo>
                    <a:pt x="4881556" y="509291"/>
                  </a:lnTo>
                  <a:lnTo>
                    <a:pt x="4883677" y="519159"/>
                  </a:lnTo>
                  <a:lnTo>
                    <a:pt x="4875339" y="522416"/>
                  </a:lnTo>
                  <a:lnTo>
                    <a:pt x="4875339" y="527350"/>
                  </a:lnTo>
                  <a:lnTo>
                    <a:pt x="4877411" y="530557"/>
                  </a:lnTo>
                  <a:lnTo>
                    <a:pt x="4877411" y="525623"/>
                  </a:lnTo>
                  <a:lnTo>
                    <a:pt x="4883677" y="523995"/>
                  </a:lnTo>
                  <a:lnTo>
                    <a:pt x="4887772" y="528929"/>
                  </a:lnTo>
                  <a:lnTo>
                    <a:pt x="4887772" y="537020"/>
                  </a:lnTo>
                  <a:lnTo>
                    <a:pt x="4896111" y="535392"/>
                  </a:lnTo>
                  <a:lnTo>
                    <a:pt x="4898232" y="538599"/>
                  </a:lnTo>
                  <a:lnTo>
                    <a:pt x="4898232" y="533665"/>
                  </a:lnTo>
                  <a:lnTo>
                    <a:pt x="4902328" y="530458"/>
                  </a:lnTo>
                  <a:lnTo>
                    <a:pt x="4908594" y="533665"/>
                  </a:lnTo>
                  <a:lnTo>
                    <a:pt x="4914860" y="533665"/>
                  </a:lnTo>
                  <a:lnTo>
                    <a:pt x="4914860" y="541757"/>
                  </a:lnTo>
                  <a:lnTo>
                    <a:pt x="4910666" y="543336"/>
                  </a:lnTo>
                  <a:lnTo>
                    <a:pt x="4904449" y="540129"/>
                  </a:lnTo>
                  <a:lnTo>
                    <a:pt x="4898232" y="545063"/>
                  </a:lnTo>
                  <a:lnTo>
                    <a:pt x="4906522" y="549997"/>
                  </a:lnTo>
                  <a:lnTo>
                    <a:pt x="4912788" y="548369"/>
                  </a:lnTo>
                  <a:lnTo>
                    <a:pt x="4919004" y="558237"/>
                  </a:lnTo>
                  <a:lnTo>
                    <a:pt x="4916883" y="561493"/>
                  </a:lnTo>
                  <a:lnTo>
                    <a:pt x="4908594" y="566427"/>
                  </a:lnTo>
                  <a:lnTo>
                    <a:pt x="4900305" y="556559"/>
                  </a:lnTo>
                  <a:lnTo>
                    <a:pt x="4898232" y="554931"/>
                  </a:lnTo>
                  <a:lnTo>
                    <a:pt x="4900305" y="566230"/>
                  </a:lnTo>
                  <a:lnTo>
                    <a:pt x="4896111" y="571164"/>
                  </a:lnTo>
                  <a:lnTo>
                    <a:pt x="4891966" y="569536"/>
                  </a:lnTo>
                  <a:lnTo>
                    <a:pt x="4889894" y="567957"/>
                  </a:lnTo>
                  <a:lnTo>
                    <a:pt x="4885749" y="567957"/>
                  </a:lnTo>
                  <a:lnTo>
                    <a:pt x="4879484" y="564700"/>
                  </a:lnTo>
                  <a:lnTo>
                    <a:pt x="4862855" y="564700"/>
                  </a:lnTo>
                  <a:lnTo>
                    <a:pt x="4856638" y="567957"/>
                  </a:lnTo>
                  <a:lnTo>
                    <a:pt x="4850372" y="567957"/>
                  </a:lnTo>
                  <a:lnTo>
                    <a:pt x="4852444" y="563023"/>
                  </a:lnTo>
                  <a:lnTo>
                    <a:pt x="4848300" y="558089"/>
                  </a:lnTo>
                  <a:lnTo>
                    <a:pt x="4844155" y="558089"/>
                  </a:lnTo>
                  <a:lnTo>
                    <a:pt x="4846227" y="566181"/>
                  </a:lnTo>
                  <a:lnTo>
                    <a:pt x="4842083" y="566181"/>
                  </a:lnTo>
                  <a:lnTo>
                    <a:pt x="4840011" y="567809"/>
                  </a:lnTo>
                  <a:lnTo>
                    <a:pt x="4844155" y="572743"/>
                  </a:lnTo>
                  <a:lnTo>
                    <a:pt x="4837889" y="577677"/>
                  </a:lnTo>
                  <a:lnTo>
                    <a:pt x="4835817" y="577677"/>
                  </a:lnTo>
                  <a:lnTo>
                    <a:pt x="4835817" y="576049"/>
                  </a:lnTo>
                  <a:lnTo>
                    <a:pt x="4831672" y="574420"/>
                  </a:lnTo>
                  <a:lnTo>
                    <a:pt x="4816870" y="577677"/>
                  </a:lnTo>
                  <a:lnTo>
                    <a:pt x="4812677" y="574420"/>
                  </a:lnTo>
                  <a:lnTo>
                    <a:pt x="4814798" y="571213"/>
                  </a:lnTo>
                  <a:lnTo>
                    <a:pt x="4810653" y="563171"/>
                  </a:lnTo>
                  <a:lnTo>
                    <a:pt x="4808532" y="561543"/>
                  </a:lnTo>
                  <a:lnTo>
                    <a:pt x="4789831" y="551675"/>
                  </a:lnTo>
                  <a:lnTo>
                    <a:pt x="4787760" y="548418"/>
                  </a:lnTo>
                  <a:lnTo>
                    <a:pt x="4789831" y="546839"/>
                  </a:lnTo>
                  <a:lnTo>
                    <a:pt x="4777348" y="543583"/>
                  </a:lnTo>
                  <a:lnTo>
                    <a:pt x="4777348" y="550046"/>
                  </a:lnTo>
                  <a:lnTo>
                    <a:pt x="4764865" y="551675"/>
                  </a:lnTo>
                  <a:lnTo>
                    <a:pt x="4758648" y="558089"/>
                  </a:lnTo>
                  <a:lnTo>
                    <a:pt x="4754455" y="558089"/>
                  </a:lnTo>
                  <a:lnTo>
                    <a:pt x="4752432" y="550046"/>
                  </a:lnTo>
                  <a:lnTo>
                    <a:pt x="4750310" y="562974"/>
                  </a:lnTo>
                  <a:lnTo>
                    <a:pt x="4752432" y="569388"/>
                  </a:lnTo>
                  <a:lnTo>
                    <a:pt x="4750310" y="577480"/>
                  </a:lnTo>
                  <a:lnTo>
                    <a:pt x="4737876" y="591986"/>
                  </a:lnTo>
                  <a:lnTo>
                    <a:pt x="4731610" y="591986"/>
                  </a:lnTo>
                  <a:lnTo>
                    <a:pt x="4729538" y="582118"/>
                  </a:lnTo>
                  <a:lnTo>
                    <a:pt x="4723321" y="578861"/>
                  </a:lnTo>
                  <a:lnTo>
                    <a:pt x="4717054" y="582118"/>
                  </a:lnTo>
                  <a:lnTo>
                    <a:pt x="4698354" y="570819"/>
                  </a:lnTo>
                  <a:lnTo>
                    <a:pt x="4700427" y="565885"/>
                  </a:lnTo>
                  <a:lnTo>
                    <a:pt x="4696233" y="551379"/>
                  </a:lnTo>
                  <a:lnTo>
                    <a:pt x="4690016" y="548122"/>
                  </a:lnTo>
                  <a:lnTo>
                    <a:pt x="4687944" y="544915"/>
                  </a:lnTo>
                  <a:lnTo>
                    <a:pt x="4683799" y="539981"/>
                  </a:lnTo>
                  <a:lnTo>
                    <a:pt x="4679655" y="543188"/>
                  </a:lnTo>
                  <a:lnTo>
                    <a:pt x="4681678" y="548122"/>
                  </a:lnTo>
                  <a:lnTo>
                    <a:pt x="4681678" y="553056"/>
                  </a:lnTo>
                  <a:lnTo>
                    <a:pt x="4685871" y="557990"/>
                  </a:lnTo>
                  <a:lnTo>
                    <a:pt x="4683799" y="562924"/>
                  </a:lnTo>
                  <a:lnTo>
                    <a:pt x="4673389" y="556461"/>
                  </a:lnTo>
                  <a:lnTo>
                    <a:pt x="4665099" y="548369"/>
                  </a:lnTo>
                  <a:lnTo>
                    <a:pt x="4662978" y="548369"/>
                  </a:lnTo>
                  <a:lnTo>
                    <a:pt x="4667123" y="556461"/>
                  </a:lnTo>
                  <a:lnTo>
                    <a:pt x="4662978" y="559668"/>
                  </a:lnTo>
                  <a:lnTo>
                    <a:pt x="4667123" y="562924"/>
                  </a:lnTo>
                  <a:lnTo>
                    <a:pt x="4675461" y="562924"/>
                  </a:lnTo>
                  <a:lnTo>
                    <a:pt x="4679655" y="567858"/>
                  </a:lnTo>
                  <a:lnTo>
                    <a:pt x="4677533" y="574272"/>
                  </a:lnTo>
                  <a:lnTo>
                    <a:pt x="4667123" y="574272"/>
                  </a:lnTo>
                  <a:lnTo>
                    <a:pt x="4665099" y="579206"/>
                  </a:lnTo>
                  <a:lnTo>
                    <a:pt x="4669244" y="580835"/>
                  </a:lnTo>
                  <a:lnTo>
                    <a:pt x="4690016" y="601804"/>
                  </a:lnTo>
                  <a:lnTo>
                    <a:pt x="4704818" y="605011"/>
                  </a:lnTo>
                  <a:lnTo>
                    <a:pt x="4713156" y="601804"/>
                  </a:lnTo>
                  <a:lnTo>
                    <a:pt x="4721446" y="606738"/>
                  </a:lnTo>
                  <a:lnTo>
                    <a:pt x="4725590" y="614781"/>
                  </a:lnTo>
                  <a:lnTo>
                    <a:pt x="4723568" y="614781"/>
                  </a:lnTo>
                  <a:lnTo>
                    <a:pt x="4717301" y="606738"/>
                  </a:lnTo>
                  <a:lnTo>
                    <a:pt x="4713156" y="606738"/>
                  </a:lnTo>
                  <a:lnTo>
                    <a:pt x="4717301" y="616606"/>
                  </a:lnTo>
                  <a:lnTo>
                    <a:pt x="4727713" y="623070"/>
                  </a:lnTo>
                  <a:lnTo>
                    <a:pt x="4731857" y="631113"/>
                  </a:lnTo>
                  <a:lnTo>
                    <a:pt x="4738123" y="637576"/>
                  </a:lnTo>
                  <a:lnTo>
                    <a:pt x="4738123" y="650454"/>
                  </a:lnTo>
                  <a:lnTo>
                    <a:pt x="4731857" y="671424"/>
                  </a:lnTo>
                  <a:lnTo>
                    <a:pt x="4736002" y="682722"/>
                  </a:lnTo>
                  <a:lnTo>
                    <a:pt x="4736002" y="692591"/>
                  </a:lnTo>
                  <a:lnTo>
                    <a:pt x="4738123" y="695798"/>
                  </a:lnTo>
                  <a:lnTo>
                    <a:pt x="4727713" y="707097"/>
                  </a:lnTo>
                  <a:lnTo>
                    <a:pt x="4727713" y="715139"/>
                  </a:lnTo>
                  <a:lnTo>
                    <a:pt x="4721446" y="720073"/>
                  </a:lnTo>
                  <a:lnTo>
                    <a:pt x="4723568" y="713659"/>
                  </a:lnTo>
                  <a:lnTo>
                    <a:pt x="4721446" y="710402"/>
                  </a:lnTo>
                  <a:lnTo>
                    <a:pt x="4704818" y="721701"/>
                  </a:lnTo>
                  <a:lnTo>
                    <a:pt x="4700673" y="716767"/>
                  </a:lnTo>
                  <a:lnTo>
                    <a:pt x="4694457" y="721701"/>
                  </a:lnTo>
                  <a:lnTo>
                    <a:pt x="4688191" y="721701"/>
                  </a:lnTo>
                  <a:lnTo>
                    <a:pt x="4684046" y="715238"/>
                  </a:lnTo>
                  <a:lnTo>
                    <a:pt x="4677780" y="715238"/>
                  </a:lnTo>
                  <a:lnTo>
                    <a:pt x="4667368" y="705370"/>
                  </a:lnTo>
                  <a:lnTo>
                    <a:pt x="4659079" y="700436"/>
                  </a:lnTo>
                  <a:lnTo>
                    <a:pt x="4648669" y="698807"/>
                  </a:lnTo>
                  <a:lnTo>
                    <a:pt x="4642452" y="695600"/>
                  </a:lnTo>
                  <a:lnTo>
                    <a:pt x="4636235" y="697229"/>
                  </a:lnTo>
                  <a:lnTo>
                    <a:pt x="4629969" y="705271"/>
                  </a:lnTo>
                  <a:lnTo>
                    <a:pt x="4621680" y="703643"/>
                  </a:lnTo>
                  <a:lnTo>
                    <a:pt x="4629969" y="706899"/>
                  </a:lnTo>
                  <a:lnTo>
                    <a:pt x="4640379" y="706899"/>
                  </a:lnTo>
                  <a:lnTo>
                    <a:pt x="4644524" y="701965"/>
                  </a:lnTo>
                  <a:lnTo>
                    <a:pt x="4663225" y="708379"/>
                  </a:lnTo>
                  <a:lnTo>
                    <a:pt x="4667368" y="713313"/>
                  </a:lnTo>
                  <a:lnTo>
                    <a:pt x="4659079" y="719728"/>
                  </a:lnTo>
                  <a:lnTo>
                    <a:pt x="4652813" y="716521"/>
                  </a:lnTo>
                  <a:lnTo>
                    <a:pt x="4644524" y="716521"/>
                  </a:lnTo>
                  <a:lnTo>
                    <a:pt x="4644524" y="722984"/>
                  </a:lnTo>
                  <a:lnTo>
                    <a:pt x="4636235" y="714892"/>
                  </a:lnTo>
                  <a:lnTo>
                    <a:pt x="4629969" y="716521"/>
                  </a:lnTo>
                  <a:lnTo>
                    <a:pt x="4634113" y="716521"/>
                  </a:lnTo>
                  <a:lnTo>
                    <a:pt x="4636235" y="724563"/>
                  </a:lnTo>
                  <a:lnTo>
                    <a:pt x="4648669" y="729497"/>
                  </a:lnTo>
                  <a:lnTo>
                    <a:pt x="4644524" y="739365"/>
                  </a:lnTo>
                  <a:lnTo>
                    <a:pt x="4648669" y="749233"/>
                  </a:lnTo>
                  <a:lnTo>
                    <a:pt x="4657008" y="752440"/>
                  </a:lnTo>
                  <a:lnTo>
                    <a:pt x="4652813" y="749233"/>
                  </a:lnTo>
                  <a:lnTo>
                    <a:pt x="4652813" y="736306"/>
                  </a:lnTo>
                  <a:lnTo>
                    <a:pt x="4657008" y="734678"/>
                  </a:lnTo>
                  <a:lnTo>
                    <a:pt x="4663225" y="736306"/>
                  </a:lnTo>
                  <a:lnTo>
                    <a:pt x="4663225" y="731372"/>
                  </a:lnTo>
                  <a:lnTo>
                    <a:pt x="4675708" y="723330"/>
                  </a:lnTo>
                  <a:lnTo>
                    <a:pt x="4681925" y="721701"/>
                  </a:lnTo>
                  <a:lnTo>
                    <a:pt x="4686118" y="724908"/>
                  </a:lnTo>
                  <a:lnTo>
                    <a:pt x="4686118" y="729843"/>
                  </a:lnTo>
                  <a:lnTo>
                    <a:pt x="4694457" y="741141"/>
                  </a:lnTo>
                  <a:lnTo>
                    <a:pt x="4704818" y="742770"/>
                  </a:lnTo>
                  <a:lnTo>
                    <a:pt x="4713156" y="750812"/>
                  </a:lnTo>
                  <a:lnTo>
                    <a:pt x="4723568" y="749233"/>
                  </a:lnTo>
                  <a:lnTo>
                    <a:pt x="4725590" y="744299"/>
                  </a:lnTo>
                  <a:lnTo>
                    <a:pt x="4723568" y="739365"/>
                  </a:lnTo>
                  <a:lnTo>
                    <a:pt x="4727713" y="740993"/>
                  </a:lnTo>
                  <a:lnTo>
                    <a:pt x="4746412" y="753921"/>
                  </a:lnTo>
                  <a:lnTo>
                    <a:pt x="4748485" y="758855"/>
                  </a:lnTo>
                  <a:lnTo>
                    <a:pt x="4742268" y="757226"/>
                  </a:lnTo>
                  <a:lnTo>
                    <a:pt x="4742268" y="761223"/>
                  </a:lnTo>
                  <a:lnTo>
                    <a:pt x="4754702" y="772473"/>
                  </a:lnTo>
                  <a:lnTo>
                    <a:pt x="4758895" y="770894"/>
                  </a:lnTo>
                  <a:lnTo>
                    <a:pt x="4758895" y="759595"/>
                  </a:lnTo>
                  <a:lnTo>
                    <a:pt x="4769257" y="766058"/>
                  </a:lnTo>
                  <a:lnTo>
                    <a:pt x="4783812" y="785400"/>
                  </a:lnTo>
                  <a:lnTo>
                    <a:pt x="4779667" y="782143"/>
                  </a:lnTo>
                  <a:lnTo>
                    <a:pt x="4773450" y="782143"/>
                  </a:lnTo>
                  <a:lnTo>
                    <a:pt x="4773450" y="783772"/>
                  </a:lnTo>
                  <a:lnTo>
                    <a:pt x="4777595" y="790235"/>
                  </a:lnTo>
                  <a:lnTo>
                    <a:pt x="4771378" y="795169"/>
                  </a:lnTo>
                  <a:lnTo>
                    <a:pt x="4769257" y="801633"/>
                  </a:lnTo>
                  <a:lnTo>
                    <a:pt x="4773450" y="804840"/>
                  </a:lnTo>
                  <a:lnTo>
                    <a:pt x="4779667" y="803212"/>
                  </a:lnTo>
                  <a:lnTo>
                    <a:pt x="4781790" y="796797"/>
                  </a:lnTo>
                  <a:lnTo>
                    <a:pt x="4783812" y="795169"/>
                  </a:lnTo>
                  <a:lnTo>
                    <a:pt x="4790078" y="796797"/>
                  </a:lnTo>
                  <a:lnTo>
                    <a:pt x="4792150" y="790334"/>
                  </a:lnTo>
                  <a:lnTo>
                    <a:pt x="4796345" y="800202"/>
                  </a:lnTo>
                  <a:lnTo>
                    <a:pt x="4812922" y="808244"/>
                  </a:lnTo>
                  <a:lnTo>
                    <a:pt x="4829600" y="813178"/>
                  </a:lnTo>
                  <a:lnTo>
                    <a:pt x="4840011" y="819642"/>
                  </a:lnTo>
                  <a:lnTo>
                    <a:pt x="4833745" y="824576"/>
                  </a:lnTo>
                  <a:lnTo>
                    <a:pt x="4844155" y="835875"/>
                  </a:lnTo>
                  <a:lnTo>
                    <a:pt x="4850372" y="837454"/>
                  </a:lnTo>
                  <a:lnTo>
                    <a:pt x="4860783" y="850381"/>
                  </a:lnTo>
                  <a:lnTo>
                    <a:pt x="4860783" y="868094"/>
                  </a:lnTo>
                  <a:lnTo>
                    <a:pt x="4856638" y="869722"/>
                  </a:lnTo>
                  <a:lnTo>
                    <a:pt x="4856638" y="872930"/>
                  </a:lnTo>
                  <a:lnTo>
                    <a:pt x="4862855" y="876186"/>
                  </a:lnTo>
                  <a:lnTo>
                    <a:pt x="4867000" y="884228"/>
                  </a:lnTo>
                  <a:lnTo>
                    <a:pt x="4862855" y="885857"/>
                  </a:lnTo>
                  <a:lnTo>
                    <a:pt x="4858710" y="882600"/>
                  </a:lnTo>
                  <a:lnTo>
                    <a:pt x="4833745" y="882600"/>
                  </a:lnTo>
                  <a:lnTo>
                    <a:pt x="4825455" y="877666"/>
                  </a:lnTo>
                  <a:lnTo>
                    <a:pt x="4819189" y="880923"/>
                  </a:lnTo>
                  <a:lnTo>
                    <a:pt x="4812922" y="879294"/>
                  </a:lnTo>
                  <a:lnTo>
                    <a:pt x="4810900" y="872831"/>
                  </a:lnTo>
                  <a:lnTo>
                    <a:pt x="4806707" y="871252"/>
                  </a:lnTo>
                  <a:lnTo>
                    <a:pt x="4806707" y="874459"/>
                  </a:lnTo>
                  <a:lnTo>
                    <a:pt x="4808779" y="879393"/>
                  </a:lnTo>
                  <a:lnTo>
                    <a:pt x="4798367" y="884327"/>
                  </a:lnTo>
                  <a:lnTo>
                    <a:pt x="4788006" y="884327"/>
                  </a:lnTo>
                  <a:lnTo>
                    <a:pt x="4785933" y="887534"/>
                  </a:lnTo>
                  <a:lnTo>
                    <a:pt x="4792150" y="890791"/>
                  </a:lnTo>
                  <a:lnTo>
                    <a:pt x="4779667" y="898833"/>
                  </a:lnTo>
                  <a:lnTo>
                    <a:pt x="4771378" y="900461"/>
                  </a:lnTo>
                  <a:lnTo>
                    <a:pt x="4771378" y="905395"/>
                  </a:lnTo>
                  <a:lnTo>
                    <a:pt x="4777595" y="907024"/>
                  </a:lnTo>
                  <a:lnTo>
                    <a:pt x="4765112" y="918273"/>
                  </a:lnTo>
                  <a:lnTo>
                    <a:pt x="4760968" y="923207"/>
                  </a:lnTo>
                  <a:lnTo>
                    <a:pt x="4760968" y="921628"/>
                  </a:lnTo>
                  <a:lnTo>
                    <a:pt x="4754702" y="920000"/>
                  </a:lnTo>
                  <a:lnTo>
                    <a:pt x="4754702" y="929868"/>
                  </a:lnTo>
                  <a:lnTo>
                    <a:pt x="4758895" y="937960"/>
                  </a:lnTo>
                  <a:lnTo>
                    <a:pt x="4752678" y="944374"/>
                  </a:lnTo>
                  <a:lnTo>
                    <a:pt x="4748485" y="941167"/>
                  </a:lnTo>
                  <a:lnTo>
                    <a:pt x="4746412" y="947631"/>
                  </a:lnTo>
                  <a:lnTo>
                    <a:pt x="4750557" y="950838"/>
                  </a:lnTo>
                  <a:lnTo>
                    <a:pt x="4742268" y="958880"/>
                  </a:lnTo>
                  <a:lnTo>
                    <a:pt x="4736002" y="960509"/>
                  </a:lnTo>
                  <a:lnTo>
                    <a:pt x="4740145" y="963716"/>
                  </a:lnTo>
                  <a:lnTo>
                    <a:pt x="4738123" y="966972"/>
                  </a:lnTo>
                  <a:lnTo>
                    <a:pt x="4733930" y="971906"/>
                  </a:lnTo>
                  <a:lnTo>
                    <a:pt x="4729785" y="970278"/>
                  </a:lnTo>
                  <a:lnTo>
                    <a:pt x="4725590" y="971906"/>
                  </a:lnTo>
                  <a:lnTo>
                    <a:pt x="4729785" y="976840"/>
                  </a:lnTo>
                  <a:lnTo>
                    <a:pt x="4729785" y="981774"/>
                  </a:lnTo>
                  <a:lnTo>
                    <a:pt x="4721446" y="986708"/>
                  </a:lnTo>
                  <a:lnTo>
                    <a:pt x="4725590" y="991642"/>
                  </a:lnTo>
                  <a:lnTo>
                    <a:pt x="4723568" y="996576"/>
                  </a:lnTo>
                  <a:lnTo>
                    <a:pt x="4719373" y="998205"/>
                  </a:lnTo>
                  <a:lnTo>
                    <a:pt x="4715229" y="994948"/>
                  </a:lnTo>
                  <a:lnTo>
                    <a:pt x="4711134" y="994948"/>
                  </a:lnTo>
                  <a:lnTo>
                    <a:pt x="4715328" y="1001412"/>
                  </a:lnTo>
                  <a:lnTo>
                    <a:pt x="4725689" y="1004619"/>
                  </a:lnTo>
                  <a:lnTo>
                    <a:pt x="4721545" y="1011083"/>
                  </a:lnTo>
                  <a:lnTo>
                    <a:pt x="4711134" y="1012711"/>
                  </a:lnTo>
                  <a:lnTo>
                    <a:pt x="4711134" y="1015918"/>
                  </a:lnTo>
                  <a:lnTo>
                    <a:pt x="4717400" y="1017546"/>
                  </a:lnTo>
                  <a:lnTo>
                    <a:pt x="4721545" y="1027414"/>
                  </a:lnTo>
                  <a:lnTo>
                    <a:pt x="4717400" y="1030621"/>
                  </a:lnTo>
                  <a:lnTo>
                    <a:pt x="4719472" y="1035555"/>
                  </a:lnTo>
                  <a:lnTo>
                    <a:pt x="4713255" y="1045423"/>
                  </a:lnTo>
                  <a:lnTo>
                    <a:pt x="4715328" y="1050357"/>
                  </a:lnTo>
                  <a:lnTo>
                    <a:pt x="4709111" y="1060226"/>
                  </a:lnTo>
                  <a:lnTo>
                    <a:pt x="4706989" y="1074732"/>
                  </a:lnTo>
                  <a:lnTo>
                    <a:pt x="4702845" y="1081195"/>
                  </a:lnTo>
                  <a:lnTo>
                    <a:pt x="4702845" y="1086129"/>
                  </a:lnTo>
                  <a:lnTo>
                    <a:pt x="4706989" y="1087757"/>
                  </a:lnTo>
                  <a:lnTo>
                    <a:pt x="4709111" y="1090964"/>
                  </a:lnTo>
                  <a:lnTo>
                    <a:pt x="4706989" y="1095899"/>
                  </a:lnTo>
                  <a:lnTo>
                    <a:pt x="4717400" y="1107198"/>
                  </a:lnTo>
                  <a:lnTo>
                    <a:pt x="4717400" y="1112132"/>
                  </a:lnTo>
                  <a:lnTo>
                    <a:pt x="4711134" y="1110503"/>
                  </a:lnTo>
                  <a:lnTo>
                    <a:pt x="4702845" y="1112132"/>
                  </a:lnTo>
                  <a:lnTo>
                    <a:pt x="4696579" y="1107198"/>
                  </a:lnTo>
                  <a:lnTo>
                    <a:pt x="4692434" y="1110405"/>
                  </a:lnTo>
                  <a:lnTo>
                    <a:pt x="4682023" y="1099155"/>
                  </a:lnTo>
                  <a:lnTo>
                    <a:pt x="4686217" y="1097527"/>
                  </a:lnTo>
                  <a:lnTo>
                    <a:pt x="4682023" y="1095899"/>
                  </a:lnTo>
                  <a:lnTo>
                    <a:pt x="4675807" y="1097527"/>
                  </a:lnTo>
                  <a:lnTo>
                    <a:pt x="4669590" y="1095899"/>
                  </a:lnTo>
                  <a:lnTo>
                    <a:pt x="4669590" y="1090964"/>
                  </a:lnTo>
                  <a:lnTo>
                    <a:pt x="4650889" y="1081096"/>
                  </a:lnTo>
                  <a:lnTo>
                    <a:pt x="4640478" y="1079518"/>
                  </a:lnTo>
                  <a:lnTo>
                    <a:pt x="4627995" y="1085932"/>
                  </a:lnTo>
                  <a:lnTo>
                    <a:pt x="4623802" y="1084353"/>
                  </a:lnTo>
                  <a:lnTo>
                    <a:pt x="4617585" y="1085932"/>
                  </a:lnTo>
                  <a:lnTo>
                    <a:pt x="4609000" y="1091803"/>
                  </a:lnTo>
                  <a:lnTo>
                    <a:pt x="4600711" y="1091803"/>
                  </a:lnTo>
                  <a:lnTo>
                    <a:pt x="4598638" y="1103053"/>
                  </a:lnTo>
                  <a:lnTo>
                    <a:pt x="4592421" y="1107987"/>
                  </a:lnTo>
                  <a:lnTo>
                    <a:pt x="4586154" y="1104780"/>
                  </a:lnTo>
                  <a:lnTo>
                    <a:pt x="4592421" y="1112872"/>
                  </a:lnTo>
                  <a:lnTo>
                    <a:pt x="4588227" y="1117806"/>
                  </a:lnTo>
                  <a:lnTo>
                    <a:pt x="4588227" y="1124220"/>
                  </a:lnTo>
                  <a:lnTo>
                    <a:pt x="4586154" y="1130684"/>
                  </a:lnTo>
                  <a:lnTo>
                    <a:pt x="4584082" y="1146818"/>
                  </a:lnTo>
                  <a:lnTo>
                    <a:pt x="4579888" y="1148397"/>
                  </a:lnTo>
                  <a:lnTo>
                    <a:pt x="4575794" y="1143463"/>
                  </a:lnTo>
                  <a:lnTo>
                    <a:pt x="4567454" y="1124121"/>
                  </a:lnTo>
                  <a:lnTo>
                    <a:pt x="4567454" y="1117707"/>
                  </a:lnTo>
                  <a:lnTo>
                    <a:pt x="4561238" y="1114451"/>
                  </a:lnTo>
                  <a:lnTo>
                    <a:pt x="4554972" y="1107987"/>
                  </a:lnTo>
                  <a:lnTo>
                    <a:pt x="4554972" y="1116079"/>
                  </a:lnTo>
                  <a:lnTo>
                    <a:pt x="4544561" y="1128957"/>
                  </a:lnTo>
                  <a:lnTo>
                    <a:pt x="4540416" y="1132164"/>
                  </a:lnTo>
                  <a:lnTo>
                    <a:pt x="4538344" y="1137098"/>
                  </a:lnTo>
                  <a:lnTo>
                    <a:pt x="4546682" y="1140305"/>
                  </a:lnTo>
                  <a:lnTo>
                    <a:pt x="4538344" y="1153183"/>
                  </a:lnTo>
                  <a:lnTo>
                    <a:pt x="4532127" y="1146769"/>
                  </a:lnTo>
                  <a:lnTo>
                    <a:pt x="4530006" y="1146769"/>
                  </a:lnTo>
                  <a:lnTo>
                    <a:pt x="4525861" y="1141835"/>
                  </a:lnTo>
                  <a:lnTo>
                    <a:pt x="4519594" y="1143413"/>
                  </a:lnTo>
                  <a:lnTo>
                    <a:pt x="4517572" y="1151505"/>
                  </a:lnTo>
                  <a:lnTo>
                    <a:pt x="4513377" y="1153084"/>
                  </a:lnTo>
                  <a:lnTo>
                    <a:pt x="4505088" y="1149877"/>
                  </a:lnTo>
                  <a:lnTo>
                    <a:pt x="4500894" y="1149877"/>
                  </a:lnTo>
                  <a:lnTo>
                    <a:pt x="4498822" y="1153084"/>
                  </a:lnTo>
                  <a:lnTo>
                    <a:pt x="4505088" y="1159548"/>
                  </a:lnTo>
                  <a:lnTo>
                    <a:pt x="4500894" y="1162755"/>
                  </a:lnTo>
                  <a:lnTo>
                    <a:pt x="4498822" y="1167689"/>
                  </a:lnTo>
                  <a:lnTo>
                    <a:pt x="4496750" y="1172623"/>
                  </a:lnTo>
                  <a:lnTo>
                    <a:pt x="4505088" y="1179086"/>
                  </a:lnTo>
                  <a:lnTo>
                    <a:pt x="4505088" y="1187129"/>
                  </a:lnTo>
                  <a:lnTo>
                    <a:pt x="4503017" y="1187129"/>
                  </a:lnTo>
                  <a:lnTo>
                    <a:pt x="4505088" y="1192063"/>
                  </a:lnTo>
                  <a:lnTo>
                    <a:pt x="4511305" y="1193642"/>
                  </a:lnTo>
                  <a:lnTo>
                    <a:pt x="4517572" y="1198576"/>
                  </a:lnTo>
                  <a:lnTo>
                    <a:pt x="4517572" y="1203510"/>
                  </a:lnTo>
                  <a:lnTo>
                    <a:pt x="4515450" y="1203510"/>
                  </a:lnTo>
                  <a:lnTo>
                    <a:pt x="4513377" y="1206766"/>
                  </a:lnTo>
                  <a:lnTo>
                    <a:pt x="4519594" y="1211700"/>
                  </a:lnTo>
                  <a:lnTo>
                    <a:pt x="4523789" y="1214908"/>
                  </a:lnTo>
                  <a:lnTo>
                    <a:pt x="4523789" y="1218115"/>
                  </a:lnTo>
                  <a:lnTo>
                    <a:pt x="4517572" y="1214908"/>
                  </a:lnTo>
                  <a:lnTo>
                    <a:pt x="4511305" y="1216536"/>
                  </a:lnTo>
                  <a:lnTo>
                    <a:pt x="4511305" y="1218115"/>
                  </a:lnTo>
                  <a:lnTo>
                    <a:pt x="4517572" y="1224578"/>
                  </a:lnTo>
                  <a:lnTo>
                    <a:pt x="4521717" y="1222999"/>
                  </a:lnTo>
                  <a:lnTo>
                    <a:pt x="4521717" y="1229463"/>
                  </a:lnTo>
                  <a:lnTo>
                    <a:pt x="4519594" y="1235877"/>
                  </a:lnTo>
                  <a:lnTo>
                    <a:pt x="4521717" y="1242341"/>
                  </a:lnTo>
                  <a:lnTo>
                    <a:pt x="4515450" y="1247275"/>
                  </a:lnTo>
                  <a:lnTo>
                    <a:pt x="4519594" y="1257143"/>
                  </a:lnTo>
                  <a:lnTo>
                    <a:pt x="4517572" y="1260350"/>
                  </a:lnTo>
                  <a:lnTo>
                    <a:pt x="4521717" y="1266814"/>
                  </a:lnTo>
                  <a:lnTo>
                    <a:pt x="4521717" y="1276682"/>
                  </a:lnTo>
                  <a:lnTo>
                    <a:pt x="4525861" y="1287981"/>
                  </a:lnTo>
                  <a:lnTo>
                    <a:pt x="4523789" y="1291188"/>
                  </a:lnTo>
                  <a:lnTo>
                    <a:pt x="4530006" y="1294444"/>
                  </a:lnTo>
                  <a:lnTo>
                    <a:pt x="4536272" y="1300858"/>
                  </a:lnTo>
                  <a:lnTo>
                    <a:pt x="4546682" y="1312157"/>
                  </a:lnTo>
                  <a:lnTo>
                    <a:pt x="4554972" y="1315364"/>
                  </a:lnTo>
                  <a:lnTo>
                    <a:pt x="4557044" y="1312157"/>
                  </a:lnTo>
                  <a:lnTo>
                    <a:pt x="4559116" y="1307223"/>
                  </a:lnTo>
                  <a:lnTo>
                    <a:pt x="4548755" y="1299131"/>
                  </a:lnTo>
                  <a:lnTo>
                    <a:pt x="4548755" y="1294197"/>
                  </a:lnTo>
                  <a:lnTo>
                    <a:pt x="4554972" y="1290941"/>
                  </a:lnTo>
                  <a:lnTo>
                    <a:pt x="4561238" y="1290941"/>
                  </a:lnTo>
                  <a:lnTo>
                    <a:pt x="4573671" y="1298983"/>
                  </a:lnTo>
                  <a:lnTo>
                    <a:pt x="4579888" y="1297405"/>
                  </a:lnTo>
                  <a:lnTo>
                    <a:pt x="4584082" y="1300612"/>
                  </a:lnTo>
                  <a:lnTo>
                    <a:pt x="4586154" y="1305546"/>
                  </a:lnTo>
                  <a:lnTo>
                    <a:pt x="4584082" y="1308802"/>
                  </a:lnTo>
                  <a:lnTo>
                    <a:pt x="4588227" y="1313736"/>
                  </a:lnTo>
                  <a:lnTo>
                    <a:pt x="4584082" y="1320200"/>
                  </a:lnTo>
                  <a:lnTo>
                    <a:pt x="4586154" y="1325134"/>
                  </a:lnTo>
                  <a:lnTo>
                    <a:pt x="4584082" y="1326713"/>
                  </a:lnTo>
                  <a:lnTo>
                    <a:pt x="4577865" y="1331647"/>
                  </a:lnTo>
                  <a:lnTo>
                    <a:pt x="4584082" y="1342946"/>
                  </a:lnTo>
                  <a:lnTo>
                    <a:pt x="4590349" y="1350988"/>
                  </a:lnTo>
                  <a:lnTo>
                    <a:pt x="4590349" y="1362287"/>
                  </a:lnTo>
                  <a:lnTo>
                    <a:pt x="4596566" y="1365494"/>
                  </a:lnTo>
                  <a:lnTo>
                    <a:pt x="4600711" y="1363915"/>
                  </a:lnTo>
                  <a:lnTo>
                    <a:pt x="4600711" y="1360659"/>
                  </a:lnTo>
                  <a:lnTo>
                    <a:pt x="4606976" y="1357452"/>
                  </a:lnTo>
                  <a:lnTo>
                    <a:pt x="4609000" y="1354195"/>
                  </a:lnTo>
                  <a:lnTo>
                    <a:pt x="4611121" y="1355873"/>
                  </a:lnTo>
                  <a:lnTo>
                    <a:pt x="4617338" y="1359080"/>
                  </a:lnTo>
                  <a:lnTo>
                    <a:pt x="4617338" y="1373586"/>
                  </a:lnTo>
                  <a:lnTo>
                    <a:pt x="4633966" y="1384836"/>
                  </a:lnTo>
                  <a:lnTo>
                    <a:pt x="4640231" y="1396135"/>
                  </a:lnTo>
                  <a:lnTo>
                    <a:pt x="4636087" y="1399342"/>
                  </a:lnTo>
                  <a:lnTo>
                    <a:pt x="4636087" y="1407434"/>
                  </a:lnTo>
                  <a:lnTo>
                    <a:pt x="4629821" y="1409012"/>
                  </a:lnTo>
                  <a:lnTo>
                    <a:pt x="4621532" y="1404078"/>
                  </a:lnTo>
                  <a:lnTo>
                    <a:pt x="4611121" y="1399144"/>
                  </a:lnTo>
                  <a:lnTo>
                    <a:pt x="4609000" y="1391102"/>
                  </a:lnTo>
                  <a:lnTo>
                    <a:pt x="4613193" y="1384638"/>
                  </a:lnTo>
                  <a:lnTo>
                    <a:pt x="4613193" y="1376596"/>
                  </a:lnTo>
                  <a:lnTo>
                    <a:pt x="4611121" y="1371662"/>
                  </a:lnTo>
                  <a:lnTo>
                    <a:pt x="4606976" y="1374869"/>
                  </a:lnTo>
                  <a:lnTo>
                    <a:pt x="4609000" y="1376497"/>
                  </a:lnTo>
                  <a:lnTo>
                    <a:pt x="4609000" y="1381431"/>
                  </a:lnTo>
                  <a:lnTo>
                    <a:pt x="4602783" y="1383059"/>
                  </a:lnTo>
                  <a:lnTo>
                    <a:pt x="4596566" y="1391102"/>
                  </a:lnTo>
                  <a:lnTo>
                    <a:pt x="4598638" y="1396036"/>
                  </a:lnTo>
                  <a:lnTo>
                    <a:pt x="4606976" y="1394408"/>
                  </a:lnTo>
                  <a:lnTo>
                    <a:pt x="4606976" y="1400871"/>
                  </a:lnTo>
                  <a:lnTo>
                    <a:pt x="4600711" y="1407335"/>
                  </a:lnTo>
                  <a:lnTo>
                    <a:pt x="4604904" y="1417203"/>
                  </a:lnTo>
                  <a:lnTo>
                    <a:pt x="4602783" y="1420459"/>
                  </a:lnTo>
                  <a:lnTo>
                    <a:pt x="4602783" y="1441380"/>
                  </a:lnTo>
                  <a:lnTo>
                    <a:pt x="4609000" y="1446314"/>
                  </a:lnTo>
                  <a:lnTo>
                    <a:pt x="4606976" y="1451248"/>
                  </a:lnTo>
                  <a:lnTo>
                    <a:pt x="4625676" y="1475425"/>
                  </a:lnTo>
                  <a:lnTo>
                    <a:pt x="4631893" y="1475425"/>
                  </a:lnTo>
                  <a:lnTo>
                    <a:pt x="4644376" y="1489881"/>
                  </a:lnTo>
                  <a:lnTo>
                    <a:pt x="4652665" y="1493138"/>
                  </a:lnTo>
                  <a:lnTo>
                    <a:pt x="4646448" y="1498072"/>
                  </a:lnTo>
                  <a:lnTo>
                    <a:pt x="4648521" y="1506164"/>
                  </a:lnTo>
                  <a:lnTo>
                    <a:pt x="4627749" y="1514206"/>
                  </a:lnTo>
                  <a:lnTo>
                    <a:pt x="4625676" y="1510950"/>
                  </a:lnTo>
                  <a:lnTo>
                    <a:pt x="4613193" y="1517413"/>
                  </a:lnTo>
                  <a:lnTo>
                    <a:pt x="4609000" y="1515834"/>
                  </a:lnTo>
                  <a:lnTo>
                    <a:pt x="4611121" y="1519041"/>
                  </a:lnTo>
                  <a:lnTo>
                    <a:pt x="4604904" y="1530340"/>
                  </a:lnTo>
                  <a:lnTo>
                    <a:pt x="4602783" y="1538383"/>
                  </a:lnTo>
                  <a:lnTo>
                    <a:pt x="4598638" y="1543317"/>
                  </a:lnTo>
                  <a:lnTo>
                    <a:pt x="4604904" y="1548251"/>
                  </a:lnTo>
                  <a:lnTo>
                    <a:pt x="4600711" y="1564385"/>
                  </a:lnTo>
                  <a:lnTo>
                    <a:pt x="4606976" y="1582098"/>
                  </a:lnTo>
                  <a:lnTo>
                    <a:pt x="4617338" y="1587032"/>
                  </a:lnTo>
                  <a:lnTo>
                    <a:pt x="4615266" y="1593496"/>
                  </a:lnTo>
                  <a:lnTo>
                    <a:pt x="4625676" y="1598430"/>
                  </a:lnTo>
                  <a:lnTo>
                    <a:pt x="4631893" y="1604894"/>
                  </a:lnTo>
                  <a:lnTo>
                    <a:pt x="4623555" y="1603265"/>
                  </a:lnTo>
                  <a:lnTo>
                    <a:pt x="4621532" y="1601686"/>
                  </a:lnTo>
                  <a:lnTo>
                    <a:pt x="4615266" y="1604894"/>
                  </a:lnTo>
                  <a:lnTo>
                    <a:pt x="4609000" y="1609828"/>
                  </a:lnTo>
                  <a:lnTo>
                    <a:pt x="4602585" y="1609828"/>
                  </a:lnTo>
                  <a:lnTo>
                    <a:pt x="4592223" y="1617870"/>
                  </a:lnTo>
                  <a:lnTo>
                    <a:pt x="4585957" y="1612936"/>
                  </a:lnTo>
                  <a:lnTo>
                    <a:pt x="4581813" y="1619400"/>
                  </a:lnTo>
                  <a:lnTo>
                    <a:pt x="4585957" y="1622607"/>
                  </a:lnTo>
                  <a:lnTo>
                    <a:pt x="4592223" y="1622607"/>
                  </a:lnTo>
                  <a:lnTo>
                    <a:pt x="4592223" y="1629070"/>
                  </a:lnTo>
                  <a:lnTo>
                    <a:pt x="4590151" y="1632278"/>
                  </a:lnTo>
                  <a:lnTo>
                    <a:pt x="4596368" y="1638741"/>
                  </a:lnTo>
                  <a:lnTo>
                    <a:pt x="4594247" y="1641948"/>
                  </a:lnTo>
                  <a:lnTo>
                    <a:pt x="4590151" y="1640320"/>
                  </a:lnTo>
                  <a:lnTo>
                    <a:pt x="4594247" y="1650188"/>
                  </a:lnTo>
                  <a:lnTo>
                    <a:pt x="4592223" y="1655122"/>
                  </a:lnTo>
                  <a:lnTo>
                    <a:pt x="4596368" y="1655122"/>
                  </a:lnTo>
                  <a:lnTo>
                    <a:pt x="4600513" y="1653543"/>
                  </a:lnTo>
                  <a:lnTo>
                    <a:pt x="4606779" y="1660007"/>
                  </a:lnTo>
                  <a:lnTo>
                    <a:pt x="4602585" y="1664941"/>
                  </a:lnTo>
                  <a:lnTo>
                    <a:pt x="4600513" y="1672983"/>
                  </a:lnTo>
                  <a:lnTo>
                    <a:pt x="4604706" y="1679447"/>
                  </a:lnTo>
                  <a:lnTo>
                    <a:pt x="4602585" y="1692325"/>
                  </a:lnTo>
                  <a:lnTo>
                    <a:pt x="4598440" y="1697259"/>
                  </a:lnTo>
                  <a:lnTo>
                    <a:pt x="4600513" y="1700466"/>
                  </a:lnTo>
                  <a:lnTo>
                    <a:pt x="4598440" y="1705400"/>
                  </a:lnTo>
                  <a:lnTo>
                    <a:pt x="4590151" y="1711814"/>
                  </a:lnTo>
                  <a:lnTo>
                    <a:pt x="4590151" y="1718278"/>
                  </a:lnTo>
                  <a:lnTo>
                    <a:pt x="4588030" y="1719857"/>
                  </a:lnTo>
                  <a:lnTo>
                    <a:pt x="4583885" y="1732784"/>
                  </a:lnTo>
                  <a:lnTo>
                    <a:pt x="4575596" y="1747290"/>
                  </a:lnTo>
                  <a:lnTo>
                    <a:pt x="4577915" y="1738162"/>
                  </a:lnTo>
                  <a:lnTo>
                    <a:pt x="4575843" y="1733228"/>
                  </a:lnTo>
                  <a:lnTo>
                    <a:pt x="4575843" y="1726764"/>
                  </a:lnTo>
                  <a:lnTo>
                    <a:pt x="4573720" y="1723508"/>
                  </a:lnTo>
                  <a:lnTo>
                    <a:pt x="4559165" y="1721929"/>
                  </a:lnTo>
                  <a:lnTo>
                    <a:pt x="4552948" y="1712061"/>
                  </a:lnTo>
                  <a:lnTo>
                    <a:pt x="4550876" y="1700762"/>
                  </a:lnTo>
                  <a:lnTo>
                    <a:pt x="4536074" y="1674957"/>
                  </a:lnTo>
                  <a:lnTo>
                    <a:pt x="4527736" y="1662079"/>
                  </a:lnTo>
                  <a:lnTo>
                    <a:pt x="4531929" y="1662079"/>
                  </a:lnTo>
                  <a:lnTo>
                    <a:pt x="4538146" y="1660451"/>
                  </a:lnTo>
                  <a:lnTo>
                    <a:pt x="4540219" y="1654037"/>
                  </a:lnTo>
                  <a:lnTo>
                    <a:pt x="4536074" y="1657244"/>
                  </a:lnTo>
                  <a:lnTo>
                    <a:pt x="4525663" y="1657244"/>
                  </a:lnTo>
                  <a:lnTo>
                    <a:pt x="4513180" y="1650780"/>
                  </a:lnTo>
                  <a:lnTo>
                    <a:pt x="4486141" y="1607262"/>
                  </a:lnTo>
                  <a:lnTo>
                    <a:pt x="4459152" y="1583085"/>
                  </a:lnTo>
                  <a:lnTo>
                    <a:pt x="4459152" y="1573217"/>
                  </a:lnTo>
                  <a:lnTo>
                    <a:pt x="4450814" y="1563349"/>
                  </a:lnTo>
                  <a:lnTo>
                    <a:pt x="4430042" y="1537593"/>
                  </a:lnTo>
                  <a:lnTo>
                    <a:pt x="4411292" y="1503746"/>
                  </a:lnTo>
                  <a:lnTo>
                    <a:pt x="4394665" y="1473106"/>
                  </a:lnTo>
                  <a:lnTo>
                    <a:pt x="4394665" y="1461757"/>
                  </a:lnTo>
                  <a:lnTo>
                    <a:pt x="4386375" y="1448929"/>
                  </a:lnTo>
                  <a:lnTo>
                    <a:pt x="4382182" y="1427910"/>
                  </a:lnTo>
                  <a:lnTo>
                    <a:pt x="4375965" y="1416660"/>
                  </a:lnTo>
                  <a:lnTo>
                    <a:pt x="4378037" y="1403733"/>
                  </a:lnTo>
                  <a:lnTo>
                    <a:pt x="4386375" y="1395691"/>
                  </a:lnTo>
                  <a:lnTo>
                    <a:pt x="4388399" y="1384392"/>
                  </a:lnTo>
                  <a:lnTo>
                    <a:pt x="4392592" y="1382763"/>
                  </a:lnTo>
                  <a:lnTo>
                    <a:pt x="4390520" y="1379556"/>
                  </a:lnTo>
                  <a:lnTo>
                    <a:pt x="4392592" y="1374622"/>
                  </a:lnTo>
                  <a:lnTo>
                    <a:pt x="4392592" y="1360116"/>
                  </a:lnTo>
                  <a:lnTo>
                    <a:pt x="4380109" y="1343982"/>
                  </a:lnTo>
                  <a:lnTo>
                    <a:pt x="4369699" y="1343982"/>
                  </a:lnTo>
                  <a:lnTo>
                    <a:pt x="4369699" y="1339048"/>
                  </a:lnTo>
                  <a:lnTo>
                    <a:pt x="4375965" y="1334114"/>
                  </a:lnTo>
                  <a:lnTo>
                    <a:pt x="4390520" y="1339048"/>
                  </a:lnTo>
                  <a:lnTo>
                    <a:pt x="4398809" y="1332584"/>
                  </a:lnTo>
                  <a:lnTo>
                    <a:pt x="4396737" y="1326170"/>
                  </a:lnTo>
                  <a:lnTo>
                    <a:pt x="4396737" y="1315808"/>
                  </a:lnTo>
                  <a:lnTo>
                    <a:pt x="4409221" y="1314180"/>
                  </a:lnTo>
                  <a:lnTo>
                    <a:pt x="4415487" y="1315808"/>
                  </a:lnTo>
                  <a:lnTo>
                    <a:pt x="4409221" y="1309345"/>
                  </a:lnTo>
                  <a:lnTo>
                    <a:pt x="4421704" y="1290004"/>
                  </a:lnTo>
                  <a:lnTo>
                    <a:pt x="4417509" y="1278705"/>
                  </a:lnTo>
                  <a:lnTo>
                    <a:pt x="4417509" y="1267455"/>
                  </a:lnTo>
                  <a:lnTo>
                    <a:pt x="4413364" y="1260991"/>
                  </a:lnTo>
                  <a:lnTo>
                    <a:pt x="4420026" y="1254626"/>
                  </a:lnTo>
                  <a:lnTo>
                    <a:pt x="4420026" y="1246584"/>
                  </a:lnTo>
                  <a:lnTo>
                    <a:pt x="4415881" y="1243328"/>
                  </a:lnTo>
                  <a:lnTo>
                    <a:pt x="4417904" y="1233459"/>
                  </a:lnTo>
                  <a:lnTo>
                    <a:pt x="4424171" y="1233459"/>
                  </a:lnTo>
                  <a:lnTo>
                    <a:pt x="4417904" y="1226996"/>
                  </a:lnTo>
                  <a:lnTo>
                    <a:pt x="4415881" y="1222062"/>
                  </a:lnTo>
                  <a:lnTo>
                    <a:pt x="4417904" y="1218805"/>
                  </a:lnTo>
                  <a:lnTo>
                    <a:pt x="4420026" y="1207507"/>
                  </a:lnTo>
                  <a:lnTo>
                    <a:pt x="4417904" y="1205928"/>
                  </a:lnTo>
                  <a:lnTo>
                    <a:pt x="4417904" y="1199464"/>
                  </a:lnTo>
                  <a:lnTo>
                    <a:pt x="4426243" y="1196257"/>
                  </a:lnTo>
                  <a:lnTo>
                    <a:pt x="4430437" y="1191323"/>
                  </a:lnTo>
                  <a:lnTo>
                    <a:pt x="4428315" y="1181455"/>
                  </a:lnTo>
                  <a:lnTo>
                    <a:pt x="4430437" y="1168528"/>
                  </a:lnTo>
                  <a:lnTo>
                    <a:pt x="4426243" y="1166949"/>
                  </a:lnTo>
                  <a:lnTo>
                    <a:pt x="4424171" y="1162015"/>
                  </a:lnTo>
                  <a:lnTo>
                    <a:pt x="4430437" y="1152147"/>
                  </a:lnTo>
                  <a:lnTo>
                    <a:pt x="4432460" y="1144104"/>
                  </a:lnTo>
                  <a:lnTo>
                    <a:pt x="4426243" y="1145732"/>
                  </a:lnTo>
                  <a:lnTo>
                    <a:pt x="4424171" y="1137641"/>
                  </a:lnTo>
                  <a:lnTo>
                    <a:pt x="4428315" y="1132707"/>
                  </a:lnTo>
                  <a:lnTo>
                    <a:pt x="4428315" y="1127773"/>
                  </a:lnTo>
                  <a:lnTo>
                    <a:pt x="4434581" y="1126194"/>
                  </a:lnTo>
                  <a:lnTo>
                    <a:pt x="4434581" y="1122937"/>
                  </a:lnTo>
                  <a:lnTo>
                    <a:pt x="4442870" y="1118003"/>
                  </a:lnTo>
                  <a:lnTo>
                    <a:pt x="4444992" y="1111589"/>
                  </a:lnTo>
                  <a:lnTo>
                    <a:pt x="4453281" y="1105125"/>
                  </a:lnTo>
                  <a:lnTo>
                    <a:pt x="4455353" y="1105125"/>
                  </a:lnTo>
                  <a:lnTo>
                    <a:pt x="4461570" y="1100191"/>
                  </a:lnTo>
                  <a:lnTo>
                    <a:pt x="4465764" y="1100191"/>
                  </a:lnTo>
                  <a:lnTo>
                    <a:pt x="4467836" y="1096935"/>
                  </a:lnTo>
                  <a:lnTo>
                    <a:pt x="4465764" y="1093728"/>
                  </a:lnTo>
                  <a:lnTo>
                    <a:pt x="4459498" y="1093728"/>
                  </a:lnTo>
                  <a:lnTo>
                    <a:pt x="4455304" y="1095356"/>
                  </a:lnTo>
                  <a:lnTo>
                    <a:pt x="4449087" y="1092099"/>
                  </a:lnTo>
                  <a:lnTo>
                    <a:pt x="4449087" y="1081935"/>
                  </a:lnTo>
                  <a:lnTo>
                    <a:pt x="4453232" y="1072067"/>
                  </a:lnTo>
                  <a:lnTo>
                    <a:pt x="4451160" y="1068860"/>
                  </a:lnTo>
                  <a:lnTo>
                    <a:pt x="4446965" y="1062397"/>
                  </a:lnTo>
                  <a:lnTo>
                    <a:pt x="4444943" y="1060818"/>
                  </a:lnTo>
                  <a:lnTo>
                    <a:pt x="4442822" y="1065752"/>
                  </a:lnTo>
                  <a:lnTo>
                    <a:pt x="4438677" y="1064123"/>
                  </a:lnTo>
                  <a:lnTo>
                    <a:pt x="4438677" y="1049617"/>
                  </a:lnTo>
                  <a:lnTo>
                    <a:pt x="4440748" y="1046410"/>
                  </a:lnTo>
                  <a:lnTo>
                    <a:pt x="4440748" y="1043154"/>
                  </a:lnTo>
                  <a:lnTo>
                    <a:pt x="4438677" y="1036739"/>
                  </a:lnTo>
                  <a:lnTo>
                    <a:pt x="4432410" y="1033483"/>
                  </a:lnTo>
                  <a:lnTo>
                    <a:pt x="4432410" y="1030276"/>
                  </a:lnTo>
                  <a:lnTo>
                    <a:pt x="4432410" y="1027069"/>
                  </a:lnTo>
                  <a:lnTo>
                    <a:pt x="4424121" y="1018977"/>
                  </a:lnTo>
                  <a:lnTo>
                    <a:pt x="4422048" y="1014043"/>
                  </a:lnTo>
                  <a:lnTo>
                    <a:pt x="4417855" y="1010836"/>
                  </a:lnTo>
                  <a:lnTo>
                    <a:pt x="4417855" y="1004372"/>
                  </a:lnTo>
                  <a:lnTo>
                    <a:pt x="4413710" y="996330"/>
                  </a:lnTo>
                  <a:lnTo>
                    <a:pt x="4413710" y="991396"/>
                  </a:lnTo>
                  <a:lnTo>
                    <a:pt x="4424121" y="983304"/>
                  </a:lnTo>
                  <a:lnTo>
                    <a:pt x="4432410" y="984932"/>
                  </a:lnTo>
                  <a:lnTo>
                    <a:pt x="4440748" y="983304"/>
                  </a:lnTo>
                  <a:lnTo>
                    <a:pt x="4434532" y="980097"/>
                  </a:lnTo>
                  <a:lnTo>
                    <a:pt x="4444943" y="975163"/>
                  </a:lnTo>
                  <a:lnTo>
                    <a:pt x="4432410" y="975163"/>
                  </a:lnTo>
                  <a:lnTo>
                    <a:pt x="4428265" y="973535"/>
                  </a:lnTo>
                  <a:lnTo>
                    <a:pt x="4420026" y="973535"/>
                  </a:lnTo>
                  <a:lnTo>
                    <a:pt x="4409614" y="967071"/>
                  </a:lnTo>
                  <a:lnTo>
                    <a:pt x="4405471" y="968699"/>
                  </a:lnTo>
                  <a:lnTo>
                    <a:pt x="4397132" y="968699"/>
                  </a:lnTo>
                  <a:lnTo>
                    <a:pt x="4390915" y="975163"/>
                  </a:lnTo>
                  <a:lnTo>
                    <a:pt x="4382576" y="975163"/>
                  </a:lnTo>
                  <a:lnTo>
                    <a:pt x="4372215" y="983205"/>
                  </a:lnTo>
                  <a:lnTo>
                    <a:pt x="4376359" y="986462"/>
                  </a:lnTo>
                  <a:lnTo>
                    <a:pt x="4376359" y="991396"/>
                  </a:lnTo>
                  <a:lnTo>
                    <a:pt x="4382576" y="996330"/>
                  </a:lnTo>
                  <a:lnTo>
                    <a:pt x="4384649" y="1002744"/>
                  </a:lnTo>
                  <a:lnTo>
                    <a:pt x="4382576" y="1006000"/>
                  </a:lnTo>
                  <a:lnTo>
                    <a:pt x="4384649" y="1015868"/>
                  </a:lnTo>
                  <a:lnTo>
                    <a:pt x="4390915" y="1019076"/>
                  </a:lnTo>
                  <a:lnTo>
                    <a:pt x="4390915" y="1022283"/>
                  </a:lnTo>
                  <a:lnTo>
                    <a:pt x="4397132" y="1025539"/>
                  </a:lnTo>
                  <a:lnTo>
                    <a:pt x="4399204" y="1038417"/>
                  </a:lnTo>
                  <a:lnTo>
                    <a:pt x="4411688" y="1043351"/>
                  </a:lnTo>
                  <a:lnTo>
                    <a:pt x="4409614" y="1048285"/>
                  </a:lnTo>
                  <a:lnTo>
                    <a:pt x="4413759" y="1053219"/>
                  </a:lnTo>
                  <a:lnTo>
                    <a:pt x="4411688" y="1058153"/>
                  </a:lnTo>
                  <a:lnTo>
                    <a:pt x="4405471" y="1053219"/>
                  </a:lnTo>
                  <a:lnTo>
                    <a:pt x="4403349" y="1048285"/>
                  </a:lnTo>
                  <a:lnTo>
                    <a:pt x="4392987" y="1049913"/>
                  </a:lnTo>
                  <a:lnTo>
                    <a:pt x="4388793" y="1054847"/>
                  </a:lnTo>
                  <a:lnTo>
                    <a:pt x="4384649" y="1062890"/>
                  </a:lnTo>
                  <a:lnTo>
                    <a:pt x="4388793" y="1067824"/>
                  </a:lnTo>
                  <a:lnTo>
                    <a:pt x="4386770" y="1075916"/>
                  </a:lnTo>
                  <a:lnTo>
                    <a:pt x="4384649" y="1079123"/>
                  </a:lnTo>
                  <a:lnTo>
                    <a:pt x="4384649" y="1080751"/>
                  </a:lnTo>
                  <a:lnTo>
                    <a:pt x="4386770" y="1082379"/>
                  </a:lnTo>
                  <a:lnTo>
                    <a:pt x="4386770" y="1087313"/>
                  </a:lnTo>
                  <a:lnTo>
                    <a:pt x="4380504" y="1092247"/>
                  </a:lnTo>
                  <a:lnTo>
                    <a:pt x="4384649" y="1095454"/>
                  </a:lnTo>
                  <a:lnTo>
                    <a:pt x="4380504" y="1100389"/>
                  </a:lnTo>
                  <a:lnTo>
                    <a:pt x="4380504" y="1116523"/>
                  </a:lnTo>
                  <a:lnTo>
                    <a:pt x="4376359" y="1119730"/>
                  </a:lnTo>
                  <a:lnTo>
                    <a:pt x="4376359" y="1122937"/>
                  </a:lnTo>
                  <a:lnTo>
                    <a:pt x="4372215" y="1126194"/>
                  </a:lnTo>
                  <a:lnTo>
                    <a:pt x="4368021" y="1136062"/>
                  </a:lnTo>
                  <a:lnTo>
                    <a:pt x="4365949" y="1128019"/>
                  </a:lnTo>
                  <a:lnTo>
                    <a:pt x="4357660" y="1123085"/>
                  </a:lnTo>
                  <a:lnTo>
                    <a:pt x="4363877" y="1115043"/>
                  </a:lnTo>
                  <a:lnTo>
                    <a:pt x="4361804" y="1111836"/>
                  </a:lnTo>
                  <a:lnTo>
                    <a:pt x="4357660" y="1110207"/>
                  </a:lnTo>
                  <a:lnTo>
                    <a:pt x="4349321" y="1115141"/>
                  </a:lnTo>
                  <a:lnTo>
                    <a:pt x="4349321" y="1120075"/>
                  </a:lnTo>
                  <a:lnTo>
                    <a:pt x="4347249" y="1123283"/>
                  </a:lnTo>
                  <a:lnTo>
                    <a:pt x="4345127" y="1112033"/>
                  </a:lnTo>
                  <a:lnTo>
                    <a:pt x="4336837" y="1110405"/>
                  </a:lnTo>
                  <a:lnTo>
                    <a:pt x="4334765" y="1107198"/>
                  </a:lnTo>
                  <a:lnTo>
                    <a:pt x="4328548" y="1112132"/>
                  </a:lnTo>
                  <a:lnTo>
                    <a:pt x="4326427" y="1108875"/>
                  </a:lnTo>
                  <a:lnTo>
                    <a:pt x="4328548" y="1105668"/>
                  </a:lnTo>
                  <a:lnTo>
                    <a:pt x="4332693" y="1102461"/>
                  </a:lnTo>
                  <a:lnTo>
                    <a:pt x="4330572" y="1099204"/>
                  </a:lnTo>
                  <a:lnTo>
                    <a:pt x="4330572" y="1094270"/>
                  </a:lnTo>
                  <a:lnTo>
                    <a:pt x="4332693" y="1094270"/>
                  </a:lnTo>
                  <a:lnTo>
                    <a:pt x="4330572" y="1087856"/>
                  </a:lnTo>
                  <a:lnTo>
                    <a:pt x="4326427" y="1086228"/>
                  </a:lnTo>
                  <a:lnTo>
                    <a:pt x="4330572" y="1081294"/>
                  </a:lnTo>
                  <a:lnTo>
                    <a:pt x="4328548" y="1076360"/>
                  </a:lnTo>
                  <a:lnTo>
                    <a:pt x="4326427" y="1073103"/>
                  </a:lnTo>
                  <a:lnTo>
                    <a:pt x="4328548" y="1069896"/>
                  </a:lnTo>
                  <a:lnTo>
                    <a:pt x="4328548" y="1061854"/>
                  </a:lnTo>
                  <a:lnTo>
                    <a:pt x="4320210" y="1058597"/>
                  </a:lnTo>
                  <a:lnTo>
                    <a:pt x="4318138" y="1052183"/>
                  </a:lnTo>
                  <a:lnTo>
                    <a:pt x="4313993" y="1053762"/>
                  </a:lnTo>
                  <a:lnTo>
                    <a:pt x="4313993" y="1060226"/>
                  </a:lnTo>
                  <a:lnTo>
                    <a:pt x="4307727" y="1061854"/>
                  </a:lnTo>
                  <a:lnTo>
                    <a:pt x="4309799" y="1069896"/>
                  </a:lnTo>
                  <a:lnTo>
                    <a:pt x="4303582" y="1076360"/>
                  </a:lnTo>
                  <a:lnTo>
                    <a:pt x="4301461" y="1076360"/>
                  </a:lnTo>
                  <a:lnTo>
                    <a:pt x="4297316" y="1068268"/>
                  </a:lnTo>
                  <a:lnTo>
                    <a:pt x="4293172" y="1068268"/>
                  </a:lnTo>
                  <a:lnTo>
                    <a:pt x="4291100" y="1069896"/>
                  </a:lnTo>
                  <a:lnTo>
                    <a:pt x="4289027" y="1063433"/>
                  </a:lnTo>
                  <a:lnTo>
                    <a:pt x="4280689" y="1063433"/>
                  </a:lnTo>
                  <a:lnTo>
                    <a:pt x="4278617" y="1066689"/>
                  </a:lnTo>
                  <a:lnTo>
                    <a:pt x="4274472" y="1066689"/>
                  </a:lnTo>
                  <a:lnTo>
                    <a:pt x="4274472" y="1071623"/>
                  </a:lnTo>
                  <a:lnTo>
                    <a:pt x="4268255" y="1073202"/>
                  </a:lnTo>
                  <a:lnTo>
                    <a:pt x="4266133" y="1076459"/>
                  </a:lnTo>
                  <a:lnTo>
                    <a:pt x="4253700" y="1076459"/>
                  </a:lnTo>
                  <a:lnTo>
                    <a:pt x="4249505" y="1081393"/>
                  </a:lnTo>
                  <a:lnTo>
                    <a:pt x="4245361" y="1079764"/>
                  </a:lnTo>
                  <a:lnTo>
                    <a:pt x="4241216" y="1083021"/>
                  </a:lnTo>
                  <a:lnTo>
                    <a:pt x="4232878" y="1081393"/>
                  </a:lnTo>
                  <a:lnTo>
                    <a:pt x="4224588" y="1092691"/>
                  </a:lnTo>
                  <a:lnTo>
                    <a:pt x="4220395" y="1094270"/>
                  </a:lnTo>
                  <a:lnTo>
                    <a:pt x="4220395" y="1104138"/>
                  </a:lnTo>
                  <a:lnTo>
                    <a:pt x="4214178" y="1107395"/>
                  </a:lnTo>
                  <a:lnTo>
                    <a:pt x="4214178" y="1110602"/>
                  </a:lnTo>
                  <a:lnTo>
                    <a:pt x="4218323" y="1113858"/>
                  </a:lnTo>
                  <a:lnTo>
                    <a:pt x="4220395" y="1121901"/>
                  </a:lnTo>
                  <a:lnTo>
                    <a:pt x="4226661" y="1129943"/>
                  </a:lnTo>
                  <a:lnTo>
                    <a:pt x="4222467" y="1134878"/>
                  </a:lnTo>
                  <a:lnTo>
                    <a:pt x="4218323" y="1155798"/>
                  </a:lnTo>
                  <a:lnTo>
                    <a:pt x="4226661" y="1165666"/>
                  </a:lnTo>
                  <a:lnTo>
                    <a:pt x="4220395" y="1167294"/>
                  </a:lnTo>
                  <a:lnTo>
                    <a:pt x="4222467" y="1168922"/>
                  </a:lnTo>
                  <a:lnTo>
                    <a:pt x="4222467" y="1175337"/>
                  </a:lnTo>
                  <a:lnTo>
                    <a:pt x="4214178" y="1181800"/>
                  </a:lnTo>
                  <a:lnTo>
                    <a:pt x="4214178" y="1191668"/>
                  </a:lnTo>
                  <a:lnTo>
                    <a:pt x="4210033" y="1198132"/>
                  </a:lnTo>
                  <a:lnTo>
                    <a:pt x="4207912" y="1204546"/>
                  </a:lnTo>
                  <a:lnTo>
                    <a:pt x="4205840" y="1214414"/>
                  </a:lnTo>
                  <a:lnTo>
                    <a:pt x="4212057" y="1222457"/>
                  </a:lnTo>
                  <a:lnTo>
                    <a:pt x="4205840" y="1227391"/>
                  </a:lnTo>
                  <a:lnTo>
                    <a:pt x="4216250" y="1238690"/>
                  </a:lnTo>
                  <a:lnTo>
                    <a:pt x="4212057" y="1240268"/>
                  </a:lnTo>
                  <a:lnTo>
                    <a:pt x="4210033" y="1245202"/>
                  </a:lnTo>
                  <a:lnTo>
                    <a:pt x="4216250" y="1248459"/>
                  </a:lnTo>
                  <a:lnTo>
                    <a:pt x="4218323" y="1245202"/>
                  </a:lnTo>
                  <a:lnTo>
                    <a:pt x="4226661" y="1245202"/>
                  </a:lnTo>
                  <a:lnTo>
                    <a:pt x="4224588" y="1241995"/>
                  </a:lnTo>
                  <a:lnTo>
                    <a:pt x="4226661" y="1241995"/>
                  </a:lnTo>
                  <a:lnTo>
                    <a:pt x="4232878" y="1245202"/>
                  </a:lnTo>
                  <a:lnTo>
                    <a:pt x="4237022" y="1245202"/>
                  </a:lnTo>
                  <a:lnTo>
                    <a:pt x="4237022" y="1240268"/>
                  </a:lnTo>
                  <a:lnTo>
                    <a:pt x="4241216" y="1243525"/>
                  </a:lnTo>
                  <a:lnTo>
                    <a:pt x="4249505" y="1245104"/>
                  </a:lnTo>
                  <a:lnTo>
                    <a:pt x="4249505" y="1249692"/>
                  </a:lnTo>
                  <a:lnTo>
                    <a:pt x="4255771" y="1254626"/>
                  </a:lnTo>
                  <a:lnTo>
                    <a:pt x="4253700" y="1257834"/>
                  </a:lnTo>
                  <a:lnTo>
                    <a:pt x="4249505" y="1257834"/>
                  </a:lnTo>
                  <a:lnTo>
                    <a:pt x="4243288" y="1259462"/>
                  </a:lnTo>
                  <a:lnTo>
                    <a:pt x="4239144" y="1257834"/>
                  </a:lnTo>
                  <a:lnTo>
                    <a:pt x="4232878" y="1261090"/>
                  </a:lnTo>
                  <a:lnTo>
                    <a:pt x="4232878" y="1262718"/>
                  </a:lnTo>
                  <a:lnTo>
                    <a:pt x="4237022" y="1267652"/>
                  </a:lnTo>
                  <a:lnTo>
                    <a:pt x="4228733" y="1274067"/>
                  </a:lnTo>
                  <a:lnTo>
                    <a:pt x="4222467" y="1272438"/>
                  </a:lnTo>
                  <a:lnTo>
                    <a:pt x="4222467" y="1267504"/>
                  </a:lnTo>
                  <a:lnTo>
                    <a:pt x="4218323" y="1264248"/>
                  </a:lnTo>
                  <a:lnTo>
                    <a:pt x="4212057" y="1267504"/>
                  </a:lnTo>
                  <a:lnTo>
                    <a:pt x="4207912" y="1264248"/>
                  </a:lnTo>
                  <a:lnTo>
                    <a:pt x="4203766" y="1265876"/>
                  </a:lnTo>
                  <a:lnTo>
                    <a:pt x="4205840" y="1270810"/>
                  </a:lnTo>
                  <a:lnTo>
                    <a:pt x="4203766" y="1275744"/>
                  </a:lnTo>
                  <a:lnTo>
                    <a:pt x="4201695" y="1275744"/>
                  </a:lnTo>
                  <a:lnTo>
                    <a:pt x="4199623" y="1280678"/>
                  </a:lnTo>
                  <a:lnTo>
                    <a:pt x="4193356" y="1282257"/>
                  </a:lnTo>
                  <a:lnTo>
                    <a:pt x="4197550" y="1285514"/>
                  </a:lnTo>
                  <a:lnTo>
                    <a:pt x="4193356" y="1290448"/>
                  </a:lnTo>
                  <a:lnTo>
                    <a:pt x="4189211" y="1288819"/>
                  </a:lnTo>
                  <a:lnTo>
                    <a:pt x="4180922" y="1280777"/>
                  </a:lnTo>
                  <a:lnTo>
                    <a:pt x="4176728" y="1280777"/>
                  </a:lnTo>
                  <a:lnTo>
                    <a:pt x="4180922" y="1287240"/>
                  </a:lnTo>
                  <a:lnTo>
                    <a:pt x="4174656" y="1290448"/>
                  </a:lnTo>
                  <a:lnTo>
                    <a:pt x="4174656" y="1293704"/>
                  </a:lnTo>
                  <a:lnTo>
                    <a:pt x="4170511" y="1298638"/>
                  </a:lnTo>
                  <a:lnTo>
                    <a:pt x="4160101" y="1301894"/>
                  </a:lnTo>
                  <a:lnTo>
                    <a:pt x="4155956" y="1305102"/>
                  </a:lnTo>
                  <a:lnTo>
                    <a:pt x="4147618" y="1293852"/>
                  </a:lnTo>
                  <a:lnTo>
                    <a:pt x="4141401" y="1293852"/>
                  </a:lnTo>
                  <a:lnTo>
                    <a:pt x="4139280" y="1292224"/>
                  </a:lnTo>
                  <a:lnTo>
                    <a:pt x="4141401" y="1288967"/>
                  </a:lnTo>
                  <a:lnTo>
                    <a:pt x="4147618" y="1288967"/>
                  </a:lnTo>
                  <a:lnTo>
                    <a:pt x="4145546" y="1282504"/>
                  </a:lnTo>
                  <a:lnTo>
                    <a:pt x="4147618" y="1279297"/>
                  </a:lnTo>
                  <a:lnTo>
                    <a:pt x="4160101" y="1279297"/>
                  </a:lnTo>
                  <a:lnTo>
                    <a:pt x="4172584" y="1271254"/>
                  </a:lnTo>
                  <a:lnTo>
                    <a:pt x="4170511" y="1266320"/>
                  </a:lnTo>
                  <a:lnTo>
                    <a:pt x="4164245" y="1266320"/>
                  </a:lnTo>
                  <a:lnTo>
                    <a:pt x="4158028" y="1271254"/>
                  </a:lnTo>
                  <a:lnTo>
                    <a:pt x="4149690" y="1269626"/>
                  </a:lnTo>
                  <a:lnTo>
                    <a:pt x="4149690" y="1266419"/>
                  </a:lnTo>
                  <a:lnTo>
                    <a:pt x="4141401" y="1263212"/>
                  </a:lnTo>
                  <a:lnTo>
                    <a:pt x="4135135" y="1261584"/>
                  </a:lnTo>
                  <a:lnTo>
                    <a:pt x="4124723" y="1259955"/>
                  </a:lnTo>
                  <a:lnTo>
                    <a:pt x="4114362" y="1261584"/>
                  </a:lnTo>
                  <a:lnTo>
                    <a:pt x="4118506" y="1264791"/>
                  </a:lnTo>
                  <a:lnTo>
                    <a:pt x="4112289" y="1266419"/>
                  </a:lnTo>
                  <a:lnTo>
                    <a:pt x="4108145" y="1263212"/>
                  </a:lnTo>
                  <a:lnTo>
                    <a:pt x="4110168" y="1259955"/>
                  </a:lnTo>
                  <a:lnTo>
                    <a:pt x="4099807" y="1261584"/>
                  </a:lnTo>
                  <a:lnTo>
                    <a:pt x="4087324" y="1258327"/>
                  </a:lnTo>
                  <a:lnTo>
                    <a:pt x="4081058" y="1261584"/>
                  </a:lnTo>
                  <a:lnTo>
                    <a:pt x="4074841" y="1258327"/>
                  </a:lnTo>
                  <a:lnTo>
                    <a:pt x="4064479" y="1256748"/>
                  </a:lnTo>
                  <a:lnTo>
                    <a:pt x="4056141" y="1266616"/>
                  </a:lnTo>
                  <a:lnTo>
                    <a:pt x="4051946" y="1266616"/>
                  </a:lnTo>
                  <a:lnTo>
                    <a:pt x="4049924" y="1271550"/>
                  </a:lnTo>
                  <a:lnTo>
                    <a:pt x="4060286" y="1276484"/>
                  </a:lnTo>
                  <a:lnTo>
                    <a:pt x="4049924" y="1279691"/>
                  </a:lnTo>
                  <a:lnTo>
                    <a:pt x="4047802" y="1276484"/>
                  </a:lnTo>
                  <a:lnTo>
                    <a:pt x="4043657" y="1282899"/>
                  </a:lnTo>
                  <a:lnTo>
                    <a:pt x="4051946" y="1287833"/>
                  </a:lnTo>
                  <a:lnTo>
                    <a:pt x="4054069" y="1284625"/>
                  </a:lnTo>
                  <a:lnTo>
                    <a:pt x="4058212" y="1287833"/>
                  </a:lnTo>
                  <a:lnTo>
                    <a:pt x="4058212" y="1291040"/>
                  </a:lnTo>
                  <a:lnTo>
                    <a:pt x="4045729" y="1295974"/>
                  </a:lnTo>
                  <a:lnTo>
                    <a:pt x="4039512" y="1291040"/>
                  </a:lnTo>
                  <a:lnTo>
                    <a:pt x="4029102" y="1291040"/>
                  </a:lnTo>
                  <a:lnTo>
                    <a:pt x="4024957" y="1294296"/>
                  </a:lnTo>
                  <a:lnTo>
                    <a:pt x="4024957" y="1299230"/>
                  </a:lnTo>
                  <a:lnTo>
                    <a:pt x="4020813" y="1297651"/>
                  </a:lnTo>
                  <a:lnTo>
                    <a:pt x="4016619" y="1302585"/>
                  </a:lnTo>
                  <a:lnTo>
                    <a:pt x="4012474" y="1302585"/>
                  </a:lnTo>
                  <a:lnTo>
                    <a:pt x="4010402" y="1297651"/>
                  </a:lnTo>
                  <a:lnTo>
                    <a:pt x="3995600" y="1296023"/>
                  </a:lnTo>
                  <a:lnTo>
                    <a:pt x="3989334" y="1299230"/>
                  </a:lnTo>
                  <a:lnTo>
                    <a:pt x="3974828" y="1297651"/>
                  </a:lnTo>
                  <a:lnTo>
                    <a:pt x="3966490" y="1302585"/>
                  </a:lnTo>
                  <a:lnTo>
                    <a:pt x="3966490" y="1305792"/>
                  </a:lnTo>
                  <a:lnTo>
                    <a:pt x="3976900" y="1312256"/>
                  </a:lnTo>
                  <a:lnTo>
                    <a:pt x="3972706" y="1315463"/>
                  </a:lnTo>
                  <a:lnTo>
                    <a:pt x="3968561" y="1321927"/>
                  </a:lnTo>
                  <a:lnTo>
                    <a:pt x="3962345" y="1316993"/>
                  </a:lnTo>
                  <a:lnTo>
                    <a:pt x="3956078" y="1315364"/>
                  </a:lnTo>
                  <a:lnTo>
                    <a:pt x="3960273" y="1308950"/>
                  </a:lnTo>
                  <a:lnTo>
                    <a:pt x="3954006" y="1304016"/>
                  </a:lnTo>
                  <a:lnTo>
                    <a:pt x="3949812" y="1308950"/>
                  </a:lnTo>
                  <a:lnTo>
                    <a:pt x="3943595" y="1310529"/>
                  </a:lnTo>
                  <a:lnTo>
                    <a:pt x="3937378" y="1310529"/>
                  </a:lnTo>
                  <a:lnTo>
                    <a:pt x="3931161" y="1313736"/>
                  </a:lnTo>
                  <a:lnTo>
                    <a:pt x="3922823" y="1313736"/>
                  </a:lnTo>
                  <a:lnTo>
                    <a:pt x="3912413" y="1320200"/>
                  </a:lnTo>
                  <a:lnTo>
                    <a:pt x="3901952" y="1320200"/>
                  </a:lnTo>
                  <a:lnTo>
                    <a:pt x="3889469" y="1328292"/>
                  </a:lnTo>
                  <a:lnTo>
                    <a:pt x="3881130" y="1329871"/>
                  </a:lnTo>
                  <a:lnTo>
                    <a:pt x="3876985" y="1324936"/>
                  </a:lnTo>
                  <a:lnTo>
                    <a:pt x="3872842" y="1324936"/>
                  </a:lnTo>
                  <a:lnTo>
                    <a:pt x="3870719" y="1331351"/>
                  </a:lnTo>
                  <a:lnTo>
                    <a:pt x="3856164" y="1339393"/>
                  </a:lnTo>
                  <a:lnTo>
                    <a:pt x="3854092" y="1345857"/>
                  </a:lnTo>
                  <a:lnTo>
                    <a:pt x="3847875" y="1352320"/>
                  </a:lnTo>
                  <a:lnTo>
                    <a:pt x="3847875" y="1358784"/>
                  </a:lnTo>
                  <a:lnTo>
                    <a:pt x="3856164" y="1371662"/>
                  </a:lnTo>
                  <a:lnTo>
                    <a:pt x="3854092" y="1382961"/>
                  </a:lnTo>
                  <a:lnTo>
                    <a:pt x="3843730" y="1394210"/>
                  </a:lnTo>
                  <a:lnTo>
                    <a:pt x="3837464" y="1404078"/>
                  </a:lnTo>
                  <a:lnTo>
                    <a:pt x="3839537" y="1410493"/>
                  </a:lnTo>
                  <a:lnTo>
                    <a:pt x="3839537" y="1422384"/>
                  </a:lnTo>
                  <a:lnTo>
                    <a:pt x="3843730" y="1427318"/>
                  </a:lnTo>
                  <a:lnTo>
                    <a:pt x="3843730" y="1433781"/>
                  </a:lnTo>
                  <a:lnTo>
                    <a:pt x="3839537" y="1433781"/>
                  </a:lnTo>
                  <a:lnTo>
                    <a:pt x="3835392" y="1435360"/>
                  </a:lnTo>
                  <a:lnTo>
                    <a:pt x="3835392" y="1443452"/>
                  </a:lnTo>
                  <a:lnTo>
                    <a:pt x="3831197" y="1445031"/>
                  </a:lnTo>
                  <a:lnTo>
                    <a:pt x="3835392" y="1456330"/>
                  </a:lnTo>
                  <a:lnTo>
                    <a:pt x="3829175" y="1461264"/>
                  </a:lnTo>
                  <a:lnTo>
                    <a:pt x="3827054" y="1469306"/>
                  </a:lnTo>
                  <a:lnTo>
                    <a:pt x="3816642" y="1479174"/>
                  </a:lnTo>
                  <a:lnTo>
                    <a:pt x="3818764" y="1485638"/>
                  </a:lnTo>
                  <a:lnTo>
                    <a:pt x="3812499" y="1488845"/>
                  </a:lnTo>
                  <a:lnTo>
                    <a:pt x="3810425" y="1500144"/>
                  </a:lnTo>
                  <a:lnTo>
                    <a:pt x="3808353" y="1500144"/>
                  </a:lnTo>
                  <a:lnTo>
                    <a:pt x="3804208" y="1514946"/>
                  </a:lnTo>
                  <a:lnTo>
                    <a:pt x="3804208" y="1526196"/>
                  </a:lnTo>
                  <a:lnTo>
                    <a:pt x="3802087" y="1529452"/>
                  </a:lnTo>
                  <a:lnTo>
                    <a:pt x="3806282" y="1537495"/>
                  </a:lnTo>
                  <a:lnTo>
                    <a:pt x="3800065" y="1543909"/>
                  </a:lnTo>
                  <a:lnTo>
                    <a:pt x="3800065" y="1550373"/>
                  </a:lnTo>
                  <a:lnTo>
                    <a:pt x="3791725" y="1560241"/>
                  </a:lnTo>
                  <a:lnTo>
                    <a:pt x="3793798" y="1563497"/>
                  </a:lnTo>
                  <a:lnTo>
                    <a:pt x="3789653" y="1565076"/>
                  </a:lnTo>
                  <a:lnTo>
                    <a:pt x="3789653" y="1573168"/>
                  </a:lnTo>
                  <a:lnTo>
                    <a:pt x="3779242" y="1579631"/>
                  </a:lnTo>
                  <a:lnTo>
                    <a:pt x="3777170" y="1590881"/>
                  </a:lnTo>
                  <a:lnTo>
                    <a:pt x="3766760" y="1598923"/>
                  </a:lnTo>
                  <a:lnTo>
                    <a:pt x="3766760" y="1603857"/>
                  </a:lnTo>
                  <a:lnTo>
                    <a:pt x="3760543" y="1611900"/>
                  </a:lnTo>
                  <a:lnTo>
                    <a:pt x="3758420" y="1619942"/>
                  </a:lnTo>
                  <a:lnTo>
                    <a:pt x="3754277" y="1624877"/>
                  </a:lnTo>
                  <a:lnTo>
                    <a:pt x="3758420" y="1629811"/>
                  </a:lnTo>
                  <a:lnTo>
                    <a:pt x="3764687" y="1634745"/>
                  </a:lnTo>
                  <a:lnTo>
                    <a:pt x="3772977" y="1633116"/>
                  </a:lnTo>
                  <a:lnTo>
                    <a:pt x="3779242" y="1636323"/>
                  </a:lnTo>
                  <a:lnTo>
                    <a:pt x="3785508" y="1637952"/>
                  </a:lnTo>
                  <a:lnTo>
                    <a:pt x="3793798" y="1631488"/>
                  </a:lnTo>
                  <a:lnTo>
                    <a:pt x="3800065" y="1629860"/>
                  </a:lnTo>
                  <a:lnTo>
                    <a:pt x="3806282" y="1626653"/>
                  </a:lnTo>
                  <a:lnTo>
                    <a:pt x="3808353" y="1626653"/>
                  </a:lnTo>
                  <a:lnTo>
                    <a:pt x="3816642" y="1625074"/>
                  </a:lnTo>
                  <a:lnTo>
                    <a:pt x="3816642" y="1641159"/>
                  </a:lnTo>
                  <a:lnTo>
                    <a:pt x="3824981" y="1651027"/>
                  </a:lnTo>
                  <a:lnTo>
                    <a:pt x="3829175" y="1660895"/>
                  </a:lnTo>
                  <a:lnTo>
                    <a:pt x="3827054" y="1668987"/>
                  </a:lnTo>
                  <a:lnTo>
                    <a:pt x="3835392" y="1675401"/>
                  </a:lnTo>
                  <a:lnTo>
                    <a:pt x="3841609" y="1670467"/>
                  </a:lnTo>
                  <a:lnTo>
                    <a:pt x="3843730" y="1670467"/>
                  </a:lnTo>
                  <a:lnTo>
                    <a:pt x="3847875" y="1668888"/>
                  </a:lnTo>
                  <a:lnTo>
                    <a:pt x="3849947" y="1662424"/>
                  </a:lnTo>
                  <a:lnTo>
                    <a:pt x="3856164" y="1660796"/>
                  </a:lnTo>
                  <a:lnTo>
                    <a:pt x="3858285" y="1664053"/>
                  </a:lnTo>
                  <a:lnTo>
                    <a:pt x="3862430" y="1660796"/>
                  </a:lnTo>
                  <a:lnTo>
                    <a:pt x="3870719" y="1660796"/>
                  </a:lnTo>
                  <a:lnTo>
                    <a:pt x="3866575" y="1664053"/>
                  </a:lnTo>
                  <a:lnTo>
                    <a:pt x="3864502" y="1668987"/>
                  </a:lnTo>
                  <a:lnTo>
                    <a:pt x="3864502" y="1677029"/>
                  </a:lnTo>
                  <a:lnTo>
                    <a:pt x="3860309" y="1677029"/>
                  </a:lnTo>
                  <a:lnTo>
                    <a:pt x="3854092" y="1681963"/>
                  </a:lnTo>
                  <a:lnTo>
                    <a:pt x="3856164" y="1685170"/>
                  </a:lnTo>
                  <a:lnTo>
                    <a:pt x="3872842" y="1683591"/>
                  </a:lnTo>
                  <a:lnTo>
                    <a:pt x="3881130" y="1678657"/>
                  </a:lnTo>
                  <a:lnTo>
                    <a:pt x="3885276" y="1668789"/>
                  </a:lnTo>
                  <a:lnTo>
                    <a:pt x="3883202" y="1662326"/>
                  </a:lnTo>
                  <a:lnTo>
                    <a:pt x="3885276" y="1659119"/>
                  </a:lnTo>
                  <a:lnTo>
                    <a:pt x="3889469" y="1667161"/>
                  </a:lnTo>
                  <a:lnTo>
                    <a:pt x="3889469" y="1681667"/>
                  </a:lnTo>
                  <a:lnTo>
                    <a:pt x="3893614" y="1680088"/>
                  </a:lnTo>
                  <a:lnTo>
                    <a:pt x="3897758" y="1671996"/>
                  </a:lnTo>
                  <a:lnTo>
                    <a:pt x="3893614" y="1660697"/>
                  </a:lnTo>
                  <a:lnTo>
                    <a:pt x="3895686" y="1655763"/>
                  </a:lnTo>
                  <a:lnTo>
                    <a:pt x="3889469" y="1649300"/>
                  </a:lnTo>
                  <a:lnTo>
                    <a:pt x="3887397" y="1639432"/>
                  </a:lnTo>
                  <a:lnTo>
                    <a:pt x="3893614" y="1639432"/>
                  </a:lnTo>
                  <a:lnTo>
                    <a:pt x="3899831" y="1642688"/>
                  </a:lnTo>
                  <a:lnTo>
                    <a:pt x="3899831" y="1644317"/>
                  </a:lnTo>
                  <a:lnTo>
                    <a:pt x="3901952" y="1647524"/>
                  </a:lnTo>
                  <a:lnTo>
                    <a:pt x="3906097" y="1647524"/>
                  </a:lnTo>
                  <a:lnTo>
                    <a:pt x="3910241" y="1644317"/>
                  </a:lnTo>
                  <a:lnTo>
                    <a:pt x="3916507" y="1642688"/>
                  </a:lnTo>
                  <a:lnTo>
                    <a:pt x="3924796" y="1637754"/>
                  </a:lnTo>
                  <a:lnTo>
                    <a:pt x="3933135" y="1644218"/>
                  </a:lnTo>
                  <a:lnTo>
                    <a:pt x="3941424" y="1644218"/>
                  </a:lnTo>
                  <a:lnTo>
                    <a:pt x="3945619" y="1647425"/>
                  </a:lnTo>
                  <a:lnTo>
                    <a:pt x="3949713" y="1655517"/>
                  </a:lnTo>
                  <a:lnTo>
                    <a:pt x="3953908" y="1658724"/>
                  </a:lnTo>
                  <a:lnTo>
                    <a:pt x="3964268" y="1658724"/>
                  </a:lnTo>
                  <a:lnTo>
                    <a:pt x="3968463" y="1663658"/>
                  </a:lnTo>
                  <a:lnTo>
                    <a:pt x="3983018" y="1668592"/>
                  </a:lnTo>
                  <a:lnTo>
                    <a:pt x="3985091" y="1673526"/>
                  </a:lnTo>
                  <a:lnTo>
                    <a:pt x="3991357" y="1673526"/>
                  </a:lnTo>
                  <a:lnTo>
                    <a:pt x="3997573" y="1678460"/>
                  </a:lnTo>
                  <a:lnTo>
                    <a:pt x="4001718" y="1678460"/>
                  </a:lnTo>
                  <a:lnTo>
                    <a:pt x="4005912" y="1688328"/>
                  </a:lnTo>
                  <a:lnTo>
                    <a:pt x="4003790" y="1693262"/>
                  </a:lnTo>
                  <a:lnTo>
                    <a:pt x="4001718" y="1698196"/>
                  </a:lnTo>
                  <a:lnTo>
                    <a:pt x="3997573" y="1701403"/>
                  </a:lnTo>
                  <a:lnTo>
                    <a:pt x="4003790" y="1707867"/>
                  </a:lnTo>
                  <a:lnTo>
                    <a:pt x="4010056" y="1707867"/>
                  </a:lnTo>
                  <a:lnTo>
                    <a:pt x="4018346" y="1719117"/>
                  </a:lnTo>
                  <a:lnTo>
                    <a:pt x="4020468" y="1724051"/>
                  </a:lnTo>
                  <a:lnTo>
                    <a:pt x="4016273" y="1728985"/>
                  </a:lnTo>
                  <a:lnTo>
                    <a:pt x="4016273" y="1733228"/>
                  </a:lnTo>
                  <a:lnTo>
                    <a:pt x="4022490" y="1738162"/>
                  </a:lnTo>
                  <a:lnTo>
                    <a:pt x="4028756" y="1739790"/>
                  </a:lnTo>
                  <a:lnTo>
                    <a:pt x="4032901" y="1736583"/>
                  </a:lnTo>
                  <a:lnTo>
                    <a:pt x="4035023" y="1741517"/>
                  </a:lnTo>
                  <a:lnTo>
                    <a:pt x="4030830" y="1744724"/>
                  </a:lnTo>
                  <a:lnTo>
                    <a:pt x="4032901" y="1752816"/>
                  </a:lnTo>
                  <a:lnTo>
                    <a:pt x="4039168" y="1757750"/>
                  </a:lnTo>
                  <a:lnTo>
                    <a:pt x="4035023" y="1760957"/>
                  </a:lnTo>
                  <a:lnTo>
                    <a:pt x="4032901" y="1765891"/>
                  </a:lnTo>
                  <a:lnTo>
                    <a:pt x="4037045" y="1770825"/>
                  </a:lnTo>
                  <a:lnTo>
                    <a:pt x="4032901" y="1777289"/>
                  </a:lnTo>
                  <a:lnTo>
                    <a:pt x="4035023" y="1778868"/>
                  </a:lnTo>
                  <a:lnTo>
                    <a:pt x="4035023" y="1783802"/>
                  </a:lnTo>
                  <a:lnTo>
                    <a:pt x="4032901" y="1787009"/>
                  </a:lnTo>
                  <a:lnTo>
                    <a:pt x="4037045" y="1788588"/>
                  </a:lnTo>
                  <a:lnTo>
                    <a:pt x="4032901" y="1793522"/>
                  </a:lnTo>
                  <a:lnTo>
                    <a:pt x="4039168" y="1808028"/>
                  </a:lnTo>
                  <a:lnTo>
                    <a:pt x="4037045" y="1811235"/>
                  </a:lnTo>
                  <a:lnTo>
                    <a:pt x="4037045" y="1824162"/>
                  </a:lnTo>
                  <a:lnTo>
                    <a:pt x="4039168" y="1827369"/>
                  </a:lnTo>
                  <a:lnTo>
                    <a:pt x="4039168" y="1833784"/>
                  </a:lnTo>
                  <a:lnTo>
                    <a:pt x="4045385" y="1853174"/>
                  </a:lnTo>
                  <a:lnTo>
                    <a:pt x="4051602" y="1854803"/>
                  </a:lnTo>
                  <a:lnTo>
                    <a:pt x="4057868" y="1849869"/>
                  </a:lnTo>
                  <a:lnTo>
                    <a:pt x="4057868" y="1853125"/>
                  </a:lnTo>
                  <a:lnTo>
                    <a:pt x="4053723" y="1861167"/>
                  </a:lnTo>
                  <a:lnTo>
                    <a:pt x="4049578" y="1864374"/>
                  </a:lnTo>
                  <a:lnTo>
                    <a:pt x="4053723" y="1869308"/>
                  </a:lnTo>
                  <a:lnTo>
                    <a:pt x="4057868" y="1869308"/>
                  </a:lnTo>
                  <a:lnTo>
                    <a:pt x="4066157" y="1879177"/>
                  </a:lnTo>
                  <a:lnTo>
                    <a:pt x="4066157" y="1890426"/>
                  </a:lnTo>
                  <a:lnTo>
                    <a:pt x="4068278" y="1895360"/>
                  </a:lnTo>
                  <a:lnTo>
                    <a:pt x="4068278" y="1898567"/>
                  </a:lnTo>
                  <a:lnTo>
                    <a:pt x="4070350" y="1914702"/>
                  </a:lnTo>
                  <a:lnTo>
                    <a:pt x="4076567" y="1913123"/>
                  </a:lnTo>
                  <a:lnTo>
                    <a:pt x="4076567" y="1921165"/>
                  </a:lnTo>
                  <a:lnTo>
                    <a:pt x="4072423" y="1922794"/>
                  </a:lnTo>
                  <a:lnTo>
                    <a:pt x="4074495" y="1932662"/>
                  </a:lnTo>
                  <a:lnTo>
                    <a:pt x="4076567" y="1939076"/>
                  </a:lnTo>
                  <a:lnTo>
                    <a:pt x="4078689" y="1947168"/>
                  </a:lnTo>
                  <a:lnTo>
                    <a:pt x="4068278" y="1955259"/>
                  </a:lnTo>
                  <a:lnTo>
                    <a:pt x="4066157" y="1965127"/>
                  </a:lnTo>
                  <a:lnTo>
                    <a:pt x="4062012" y="1974996"/>
                  </a:lnTo>
                  <a:lnTo>
                    <a:pt x="4064134" y="1984864"/>
                  </a:lnTo>
                  <a:lnTo>
                    <a:pt x="4066157" y="1986443"/>
                  </a:lnTo>
                  <a:lnTo>
                    <a:pt x="4064134" y="1996311"/>
                  </a:lnTo>
                  <a:lnTo>
                    <a:pt x="4057868" y="2001245"/>
                  </a:lnTo>
                  <a:lnTo>
                    <a:pt x="4057868" y="2009336"/>
                  </a:lnTo>
                  <a:lnTo>
                    <a:pt x="4053723" y="2019204"/>
                  </a:lnTo>
                  <a:lnTo>
                    <a:pt x="4055795" y="2020833"/>
                  </a:lnTo>
                  <a:lnTo>
                    <a:pt x="4055795" y="2025767"/>
                  </a:lnTo>
                  <a:lnTo>
                    <a:pt x="4049578" y="2032230"/>
                  </a:lnTo>
                  <a:lnTo>
                    <a:pt x="4053723" y="2045158"/>
                  </a:lnTo>
                  <a:lnTo>
                    <a:pt x="4045385" y="2051621"/>
                  </a:lnTo>
                  <a:lnTo>
                    <a:pt x="4049578" y="2059664"/>
                  </a:lnTo>
                  <a:lnTo>
                    <a:pt x="4051602" y="2061292"/>
                  </a:lnTo>
                  <a:lnTo>
                    <a:pt x="4051602" y="2067755"/>
                  </a:lnTo>
                  <a:lnTo>
                    <a:pt x="4043312" y="2075798"/>
                  </a:lnTo>
                  <a:lnTo>
                    <a:pt x="4041240" y="2083840"/>
                  </a:lnTo>
                  <a:lnTo>
                    <a:pt x="4032901" y="2088774"/>
                  </a:lnTo>
                  <a:lnTo>
                    <a:pt x="4032901" y="2095238"/>
                  </a:lnTo>
                  <a:lnTo>
                    <a:pt x="4026685" y="2103281"/>
                  </a:lnTo>
                  <a:lnTo>
                    <a:pt x="4018346" y="2129086"/>
                  </a:lnTo>
                  <a:lnTo>
                    <a:pt x="4014201" y="2132342"/>
                  </a:lnTo>
                  <a:lnTo>
                    <a:pt x="4014201" y="2138756"/>
                  </a:lnTo>
                  <a:lnTo>
                    <a:pt x="4016273" y="2141963"/>
                  </a:lnTo>
                  <a:lnTo>
                    <a:pt x="4016273" y="2143592"/>
                  </a:lnTo>
                  <a:lnTo>
                    <a:pt x="4005912" y="2150055"/>
                  </a:lnTo>
                  <a:lnTo>
                    <a:pt x="4005912" y="2156519"/>
                  </a:lnTo>
                  <a:lnTo>
                    <a:pt x="3999646" y="2159726"/>
                  </a:lnTo>
                  <a:lnTo>
                    <a:pt x="3999646" y="2169594"/>
                  </a:lnTo>
                  <a:lnTo>
                    <a:pt x="3995699" y="2169594"/>
                  </a:lnTo>
                  <a:lnTo>
                    <a:pt x="3999844" y="2176058"/>
                  </a:lnTo>
                  <a:lnTo>
                    <a:pt x="3991554" y="2185679"/>
                  </a:lnTo>
                  <a:lnTo>
                    <a:pt x="3991554" y="2184100"/>
                  </a:lnTo>
                  <a:lnTo>
                    <a:pt x="3985287" y="2182472"/>
                  </a:lnTo>
                  <a:lnTo>
                    <a:pt x="3987360" y="2188935"/>
                  </a:lnTo>
                  <a:lnTo>
                    <a:pt x="3987360" y="2197027"/>
                  </a:lnTo>
                  <a:lnTo>
                    <a:pt x="3979022" y="2200234"/>
                  </a:lnTo>
                  <a:lnTo>
                    <a:pt x="3981143" y="2203441"/>
                  </a:lnTo>
                  <a:lnTo>
                    <a:pt x="3968660" y="2216319"/>
                  </a:lnTo>
                  <a:lnTo>
                    <a:pt x="3964466" y="2224411"/>
                  </a:lnTo>
                  <a:lnTo>
                    <a:pt x="3958249" y="2224411"/>
                  </a:lnTo>
                  <a:lnTo>
                    <a:pt x="3958249" y="2229345"/>
                  </a:lnTo>
                  <a:lnTo>
                    <a:pt x="3947888" y="2229345"/>
                  </a:lnTo>
                  <a:lnTo>
                    <a:pt x="3939550" y="2237388"/>
                  </a:lnTo>
                  <a:lnTo>
                    <a:pt x="3935405" y="2232454"/>
                  </a:lnTo>
                  <a:lnTo>
                    <a:pt x="3931260" y="2237388"/>
                  </a:lnTo>
                  <a:lnTo>
                    <a:pt x="3918777" y="2230973"/>
                  </a:lnTo>
                  <a:lnTo>
                    <a:pt x="3908366" y="2227766"/>
                  </a:lnTo>
                  <a:lnTo>
                    <a:pt x="3908366" y="2216418"/>
                  </a:lnTo>
                  <a:lnTo>
                    <a:pt x="3904221" y="2214839"/>
                  </a:lnTo>
                  <a:lnTo>
                    <a:pt x="3895883" y="2218095"/>
                  </a:lnTo>
                  <a:lnTo>
                    <a:pt x="3887594" y="2213161"/>
                  </a:lnTo>
                  <a:lnTo>
                    <a:pt x="3885472" y="2216369"/>
                  </a:lnTo>
                  <a:lnTo>
                    <a:pt x="3885472" y="2221303"/>
                  </a:lnTo>
                  <a:lnTo>
                    <a:pt x="3879255" y="2226237"/>
                  </a:lnTo>
                  <a:lnTo>
                    <a:pt x="3877183" y="2237486"/>
                  </a:lnTo>
                  <a:lnTo>
                    <a:pt x="3873038" y="2240743"/>
                  </a:lnTo>
                  <a:lnTo>
                    <a:pt x="3870917" y="2250611"/>
                  </a:lnTo>
                  <a:lnTo>
                    <a:pt x="3866773" y="2248983"/>
                  </a:lnTo>
                  <a:lnTo>
                    <a:pt x="3858483" y="2248983"/>
                  </a:lnTo>
                  <a:lnTo>
                    <a:pt x="3856362" y="2258851"/>
                  </a:lnTo>
                  <a:lnTo>
                    <a:pt x="3854240" y="2255841"/>
                  </a:lnTo>
                  <a:lnTo>
                    <a:pt x="3852167" y="2254163"/>
                  </a:lnTo>
                  <a:lnTo>
                    <a:pt x="3845901" y="2249229"/>
                  </a:lnTo>
                  <a:lnTo>
                    <a:pt x="3848023" y="2245973"/>
                  </a:lnTo>
                  <a:lnTo>
                    <a:pt x="3848023" y="2242766"/>
                  </a:lnTo>
                  <a:lnTo>
                    <a:pt x="3845901" y="2241137"/>
                  </a:lnTo>
                  <a:lnTo>
                    <a:pt x="3843878" y="2236203"/>
                  </a:lnTo>
                  <a:lnTo>
                    <a:pt x="3843878" y="2232996"/>
                  </a:lnTo>
                  <a:lnTo>
                    <a:pt x="3848023" y="2231368"/>
                  </a:lnTo>
                  <a:lnTo>
                    <a:pt x="3856312" y="2232996"/>
                  </a:lnTo>
                  <a:lnTo>
                    <a:pt x="3860457" y="2231368"/>
                  </a:lnTo>
                  <a:lnTo>
                    <a:pt x="3860457" y="2226434"/>
                  </a:lnTo>
                  <a:lnTo>
                    <a:pt x="3858433" y="2223227"/>
                  </a:lnTo>
                  <a:lnTo>
                    <a:pt x="3858433" y="2218293"/>
                  </a:lnTo>
                  <a:lnTo>
                    <a:pt x="3860457" y="2216665"/>
                  </a:lnTo>
                  <a:lnTo>
                    <a:pt x="3860457" y="2205366"/>
                  </a:lnTo>
                  <a:lnTo>
                    <a:pt x="3856312" y="2202159"/>
                  </a:lnTo>
                  <a:lnTo>
                    <a:pt x="3856312" y="2192291"/>
                  </a:lnTo>
                  <a:lnTo>
                    <a:pt x="3854240" y="2185827"/>
                  </a:lnTo>
                  <a:lnTo>
                    <a:pt x="3854240" y="2172949"/>
                  </a:lnTo>
                  <a:lnTo>
                    <a:pt x="3850095" y="2168015"/>
                  </a:lnTo>
                  <a:lnTo>
                    <a:pt x="3848023" y="2164759"/>
                  </a:lnTo>
                  <a:lnTo>
                    <a:pt x="3845901" y="2159825"/>
                  </a:lnTo>
                  <a:lnTo>
                    <a:pt x="3837612" y="2148476"/>
                  </a:lnTo>
                  <a:lnTo>
                    <a:pt x="3835540" y="2143542"/>
                  </a:lnTo>
                  <a:lnTo>
                    <a:pt x="3835540" y="2140286"/>
                  </a:lnTo>
                  <a:lnTo>
                    <a:pt x="3841757" y="2137079"/>
                  </a:lnTo>
                  <a:lnTo>
                    <a:pt x="3845901" y="2137079"/>
                  </a:lnTo>
                  <a:lnTo>
                    <a:pt x="3848023" y="2133822"/>
                  </a:lnTo>
                  <a:lnTo>
                    <a:pt x="3850095" y="2128888"/>
                  </a:lnTo>
                  <a:lnTo>
                    <a:pt x="3856312" y="2120796"/>
                  </a:lnTo>
                  <a:lnTo>
                    <a:pt x="3858433" y="2119218"/>
                  </a:lnTo>
                  <a:lnTo>
                    <a:pt x="3864650" y="2120796"/>
                  </a:lnTo>
                  <a:lnTo>
                    <a:pt x="3868795" y="2122425"/>
                  </a:lnTo>
                  <a:lnTo>
                    <a:pt x="3891689" y="2125632"/>
                  </a:lnTo>
                  <a:lnTo>
                    <a:pt x="3895834" y="2127260"/>
                  </a:lnTo>
                  <a:lnTo>
                    <a:pt x="3899979" y="2127260"/>
                  </a:lnTo>
                  <a:lnTo>
                    <a:pt x="3902100" y="2124004"/>
                  </a:lnTo>
                  <a:lnTo>
                    <a:pt x="3902100" y="2119069"/>
                  </a:lnTo>
                  <a:lnTo>
                    <a:pt x="3899979" y="2115813"/>
                  </a:lnTo>
                  <a:lnTo>
                    <a:pt x="3899979" y="2105945"/>
                  </a:lnTo>
                  <a:lnTo>
                    <a:pt x="3897906" y="2102688"/>
                  </a:lnTo>
                  <a:lnTo>
                    <a:pt x="3902100" y="2097754"/>
                  </a:lnTo>
                  <a:lnTo>
                    <a:pt x="3904172" y="2094498"/>
                  </a:lnTo>
                  <a:lnTo>
                    <a:pt x="3902100" y="2089564"/>
                  </a:lnTo>
                  <a:lnTo>
                    <a:pt x="3899979" y="2086307"/>
                  </a:lnTo>
                  <a:lnTo>
                    <a:pt x="3902100" y="2084728"/>
                  </a:lnTo>
                  <a:lnTo>
                    <a:pt x="3906245" y="2083100"/>
                  </a:lnTo>
                  <a:lnTo>
                    <a:pt x="3904172" y="2079893"/>
                  </a:lnTo>
                  <a:lnTo>
                    <a:pt x="3904172" y="2078610"/>
                  </a:lnTo>
                  <a:lnTo>
                    <a:pt x="3902100" y="2075354"/>
                  </a:lnTo>
                  <a:lnTo>
                    <a:pt x="3904172" y="2070420"/>
                  </a:lnTo>
                  <a:lnTo>
                    <a:pt x="3908317" y="2068841"/>
                  </a:lnTo>
                  <a:lnTo>
                    <a:pt x="3908317" y="2065634"/>
                  </a:lnTo>
                  <a:lnTo>
                    <a:pt x="3906245" y="2062377"/>
                  </a:lnTo>
                  <a:lnTo>
                    <a:pt x="3902100" y="2055914"/>
                  </a:lnTo>
                  <a:lnTo>
                    <a:pt x="3902100" y="2049500"/>
                  </a:lnTo>
                  <a:lnTo>
                    <a:pt x="3904172" y="2047871"/>
                  </a:lnTo>
                  <a:lnTo>
                    <a:pt x="3906245" y="2047871"/>
                  </a:lnTo>
                  <a:lnTo>
                    <a:pt x="3906245" y="2044664"/>
                  </a:lnTo>
                  <a:lnTo>
                    <a:pt x="3904172" y="2043036"/>
                  </a:lnTo>
                  <a:lnTo>
                    <a:pt x="3904172" y="2039779"/>
                  </a:lnTo>
                  <a:lnTo>
                    <a:pt x="3902100" y="2036572"/>
                  </a:lnTo>
                  <a:lnTo>
                    <a:pt x="3899979" y="2034993"/>
                  </a:lnTo>
                  <a:lnTo>
                    <a:pt x="3902100" y="2030059"/>
                  </a:lnTo>
                  <a:lnTo>
                    <a:pt x="3902100" y="2025125"/>
                  </a:lnTo>
                  <a:lnTo>
                    <a:pt x="3899979" y="2023497"/>
                  </a:lnTo>
                  <a:lnTo>
                    <a:pt x="3897906" y="2018563"/>
                  </a:lnTo>
                  <a:lnTo>
                    <a:pt x="3897906" y="2016935"/>
                  </a:lnTo>
                  <a:lnTo>
                    <a:pt x="3902100" y="2012001"/>
                  </a:lnTo>
                  <a:lnTo>
                    <a:pt x="3908317" y="2010373"/>
                  </a:lnTo>
                  <a:lnTo>
                    <a:pt x="3908317" y="2002330"/>
                  </a:lnTo>
                  <a:lnTo>
                    <a:pt x="3910389" y="1995867"/>
                  </a:lnTo>
                  <a:lnTo>
                    <a:pt x="3906245" y="1994288"/>
                  </a:lnTo>
                  <a:lnTo>
                    <a:pt x="3902100" y="1991031"/>
                  </a:lnTo>
                  <a:lnTo>
                    <a:pt x="3902100" y="1986097"/>
                  </a:lnTo>
                  <a:lnTo>
                    <a:pt x="3895834" y="1981163"/>
                  </a:lnTo>
                  <a:lnTo>
                    <a:pt x="3895834" y="1977956"/>
                  </a:lnTo>
                  <a:lnTo>
                    <a:pt x="3897906" y="1974700"/>
                  </a:lnTo>
                  <a:lnTo>
                    <a:pt x="3895834" y="1968236"/>
                  </a:lnTo>
                  <a:lnTo>
                    <a:pt x="3893762" y="1965029"/>
                  </a:lnTo>
                  <a:lnTo>
                    <a:pt x="3887545" y="1965029"/>
                  </a:lnTo>
                  <a:lnTo>
                    <a:pt x="3883351" y="1963450"/>
                  </a:lnTo>
                  <a:lnTo>
                    <a:pt x="3877134" y="1960193"/>
                  </a:lnTo>
                  <a:lnTo>
                    <a:pt x="3872989" y="1963450"/>
                  </a:lnTo>
                  <a:lnTo>
                    <a:pt x="3866723" y="1965029"/>
                  </a:lnTo>
                  <a:lnTo>
                    <a:pt x="3862578" y="1966657"/>
                  </a:lnTo>
                  <a:lnTo>
                    <a:pt x="3862578" y="1971591"/>
                  </a:lnTo>
                  <a:lnTo>
                    <a:pt x="3858433" y="1973219"/>
                  </a:lnTo>
                  <a:lnTo>
                    <a:pt x="3854240" y="1973219"/>
                  </a:lnTo>
                  <a:lnTo>
                    <a:pt x="3852167" y="1979683"/>
                  </a:lnTo>
                  <a:lnTo>
                    <a:pt x="3845901" y="1979683"/>
                  </a:lnTo>
                  <a:lnTo>
                    <a:pt x="3839684" y="1981262"/>
                  </a:lnTo>
                  <a:lnTo>
                    <a:pt x="3837612" y="1984469"/>
                  </a:lnTo>
                  <a:lnTo>
                    <a:pt x="3837612" y="1989403"/>
                  </a:lnTo>
                  <a:lnTo>
                    <a:pt x="3833468" y="1992610"/>
                  </a:lnTo>
                  <a:lnTo>
                    <a:pt x="3831346" y="1997544"/>
                  </a:lnTo>
                  <a:lnTo>
                    <a:pt x="3833468" y="2000751"/>
                  </a:lnTo>
                  <a:lnTo>
                    <a:pt x="3829323" y="2002379"/>
                  </a:lnTo>
                  <a:lnTo>
                    <a:pt x="3825129" y="2005587"/>
                  </a:lnTo>
                  <a:lnTo>
                    <a:pt x="3814768" y="2007215"/>
                  </a:lnTo>
                  <a:lnTo>
                    <a:pt x="3810574" y="2008794"/>
                  </a:lnTo>
                  <a:lnTo>
                    <a:pt x="3804357" y="2007215"/>
                  </a:lnTo>
                  <a:lnTo>
                    <a:pt x="3802235" y="2010422"/>
                  </a:lnTo>
                  <a:lnTo>
                    <a:pt x="3798090" y="2012050"/>
                  </a:lnTo>
                  <a:lnTo>
                    <a:pt x="3796018" y="2007116"/>
                  </a:lnTo>
                  <a:lnTo>
                    <a:pt x="3791873" y="2003909"/>
                  </a:lnTo>
                  <a:lnTo>
                    <a:pt x="3787680" y="2003909"/>
                  </a:lnTo>
                  <a:lnTo>
                    <a:pt x="3783535" y="2007116"/>
                  </a:lnTo>
                  <a:lnTo>
                    <a:pt x="3777318" y="2008695"/>
                  </a:lnTo>
                  <a:lnTo>
                    <a:pt x="3775246" y="2005488"/>
                  </a:lnTo>
                  <a:lnTo>
                    <a:pt x="3768980" y="1999024"/>
                  </a:lnTo>
                  <a:lnTo>
                    <a:pt x="3766907" y="1997445"/>
                  </a:lnTo>
                  <a:lnTo>
                    <a:pt x="3760691" y="1989354"/>
                  </a:lnTo>
                  <a:lnTo>
                    <a:pt x="3760691" y="1982939"/>
                  </a:lnTo>
                  <a:lnTo>
                    <a:pt x="3762763" y="1978005"/>
                  </a:lnTo>
                  <a:lnTo>
                    <a:pt x="3760691" y="1971542"/>
                  </a:lnTo>
                  <a:lnTo>
                    <a:pt x="3758569" y="1966608"/>
                  </a:lnTo>
                  <a:lnTo>
                    <a:pt x="3752352" y="1966608"/>
                  </a:lnTo>
                  <a:lnTo>
                    <a:pt x="3752352" y="1958516"/>
                  </a:lnTo>
                  <a:lnTo>
                    <a:pt x="3754425" y="1955309"/>
                  </a:lnTo>
                  <a:lnTo>
                    <a:pt x="3756546" y="1952102"/>
                  </a:lnTo>
                  <a:lnTo>
                    <a:pt x="3752352" y="1950473"/>
                  </a:lnTo>
                  <a:lnTo>
                    <a:pt x="3750280" y="1950473"/>
                  </a:lnTo>
                  <a:lnTo>
                    <a:pt x="3746135" y="1953730"/>
                  </a:lnTo>
                  <a:lnTo>
                    <a:pt x="3741991" y="1953730"/>
                  </a:lnTo>
                  <a:lnTo>
                    <a:pt x="3737797" y="1955309"/>
                  </a:lnTo>
                  <a:lnTo>
                    <a:pt x="3733652" y="1953730"/>
                  </a:lnTo>
                  <a:lnTo>
                    <a:pt x="3729458" y="1952102"/>
                  </a:lnTo>
                  <a:lnTo>
                    <a:pt x="3727435" y="1950473"/>
                  </a:lnTo>
                  <a:lnTo>
                    <a:pt x="3725313" y="1948894"/>
                  </a:lnTo>
                  <a:lnTo>
                    <a:pt x="3717024" y="1947266"/>
                  </a:lnTo>
                  <a:lnTo>
                    <a:pt x="3717024" y="1944010"/>
                  </a:lnTo>
                  <a:lnTo>
                    <a:pt x="3712879" y="1940803"/>
                  </a:lnTo>
                  <a:lnTo>
                    <a:pt x="3710758" y="1940803"/>
                  </a:lnTo>
                  <a:lnTo>
                    <a:pt x="3706613" y="1937546"/>
                  </a:lnTo>
                  <a:lnTo>
                    <a:pt x="3706613" y="1934339"/>
                  </a:lnTo>
                  <a:lnTo>
                    <a:pt x="3702469" y="1934339"/>
                  </a:lnTo>
                  <a:lnTo>
                    <a:pt x="3698324" y="1931132"/>
                  </a:lnTo>
                  <a:lnTo>
                    <a:pt x="3696203" y="1927876"/>
                  </a:lnTo>
                  <a:lnTo>
                    <a:pt x="3694130" y="1924668"/>
                  </a:lnTo>
                  <a:lnTo>
                    <a:pt x="3689986" y="1926297"/>
                  </a:lnTo>
                  <a:lnTo>
                    <a:pt x="3689986" y="1929504"/>
                  </a:lnTo>
                  <a:lnTo>
                    <a:pt x="3685792" y="1927876"/>
                  </a:lnTo>
                  <a:lnTo>
                    <a:pt x="3681648" y="1929504"/>
                  </a:lnTo>
                  <a:lnTo>
                    <a:pt x="3681648" y="1932760"/>
                  </a:lnTo>
                  <a:lnTo>
                    <a:pt x="3675431" y="1929504"/>
                  </a:lnTo>
                  <a:lnTo>
                    <a:pt x="3673358" y="1927876"/>
                  </a:lnTo>
                  <a:lnTo>
                    <a:pt x="3671236" y="1926297"/>
                  </a:lnTo>
                  <a:lnTo>
                    <a:pt x="3662948" y="1924668"/>
                  </a:lnTo>
                  <a:lnTo>
                    <a:pt x="3660875" y="1923090"/>
                  </a:lnTo>
                  <a:lnTo>
                    <a:pt x="3662948" y="1919833"/>
                  </a:lnTo>
                  <a:lnTo>
                    <a:pt x="3662948" y="1918254"/>
                  </a:lnTo>
                  <a:lnTo>
                    <a:pt x="3658803" y="1918254"/>
                  </a:lnTo>
                  <a:lnTo>
                    <a:pt x="3654658" y="1921461"/>
                  </a:lnTo>
                  <a:lnTo>
                    <a:pt x="3644247" y="1921461"/>
                  </a:lnTo>
                  <a:lnTo>
                    <a:pt x="3640102" y="1919833"/>
                  </a:lnTo>
                  <a:lnTo>
                    <a:pt x="3635909" y="1921461"/>
                  </a:lnTo>
                  <a:lnTo>
                    <a:pt x="3631764" y="1921461"/>
                  </a:lnTo>
                  <a:lnTo>
                    <a:pt x="3629692" y="1916527"/>
                  </a:lnTo>
                  <a:lnTo>
                    <a:pt x="3623475" y="1914948"/>
                  </a:lnTo>
                  <a:lnTo>
                    <a:pt x="3615137" y="1908485"/>
                  </a:lnTo>
                  <a:lnTo>
                    <a:pt x="3610992" y="1902021"/>
                  </a:lnTo>
                  <a:lnTo>
                    <a:pt x="3610992" y="1892153"/>
                  </a:lnTo>
                  <a:lnTo>
                    <a:pt x="3606798" y="1890525"/>
                  </a:lnTo>
                  <a:lnTo>
                    <a:pt x="3602654" y="1888897"/>
                  </a:lnTo>
                  <a:lnTo>
                    <a:pt x="3602654" y="1882482"/>
                  </a:lnTo>
                  <a:lnTo>
                    <a:pt x="3598509" y="1880854"/>
                  </a:lnTo>
                  <a:lnTo>
                    <a:pt x="3598509" y="1874391"/>
                  </a:lnTo>
                  <a:lnTo>
                    <a:pt x="3596437" y="1869456"/>
                  </a:lnTo>
                  <a:lnTo>
                    <a:pt x="3581881" y="1861414"/>
                  </a:lnTo>
                  <a:lnTo>
                    <a:pt x="3575615" y="1853372"/>
                  </a:lnTo>
                  <a:lnTo>
                    <a:pt x="3575615" y="1850115"/>
                  </a:lnTo>
                  <a:lnTo>
                    <a:pt x="3571470" y="1845181"/>
                  </a:lnTo>
                  <a:lnTo>
                    <a:pt x="3567276" y="1846809"/>
                  </a:lnTo>
                  <a:lnTo>
                    <a:pt x="3565253" y="1845181"/>
                  </a:lnTo>
                  <a:lnTo>
                    <a:pt x="3567276" y="1841925"/>
                  </a:lnTo>
                  <a:lnTo>
                    <a:pt x="3567276" y="1838718"/>
                  </a:lnTo>
                  <a:lnTo>
                    <a:pt x="3563132" y="1837139"/>
                  </a:lnTo>
                  <a:lnTo>
                    <a:pt x="3561059" y="1830675"/>
                  </a:lnTo>
                  <a:lnTo>
                    <a:pt x="3556915" y="1830675"/>
                  </a:lnTo>
                  <a:lnTo>
                    <a:pt x="3554842" y="1825741"/>
                  </a:lnTo>
                  <a:lnTo>
                    <a:pt x="3550698" y="1820807"/>
                  </a:lnTo>
                  <a:lnTo>
                    <a:pt x="3548576" y="1815873"/>
                  </a:lnTo>
                  <a:lnTo>
                    <a:pt x="3540287" y="1810939"/>
                  </a:lnTo>
                  <a:lnTo>
                    <a:pt x="3538166" y="1807682"/>
                  </a:lnTo>
                  <a:lnTo>
                    <a:pt x="3540287" y="1802748"/>
                  </a:lnTo>
                  <a:lnTo>
                    <a:pt x="3540287" y="1799492"/>
                  </a:lnTo>
                  <a:lnTo>
                    <a:pt x="3529877" y="1799492"/>
                  </a:lnTo>
                  <a:lnTo>
                    <a:pt x="3529877" y="1794558"/>
                  </a:lnTo>
                  <a:lnTo>
                    <a:pt x="3527804" y="1789624"/>
                  </a:lnTo>
                  <a:lnTo>
                    <a:pt x="3527804" y="1786367"/>
                  </a:lnTo>
                  <a:lnTo>
                    <a:pt x="3525732" y="1783160"/>
                  </a:lnTo>
                  <a:lnTo>
                    <a:pt x="3521587" y="1781581"/>
                  </a:lnTo>
                  <a:lnTo>
                    <a:pt x="3521587" y="1778325"/>
                  </a:lnTo>
                  <a:lnTo>
                    <a:pt x="3519466" y="1776697"/>
                  </a:lnTo>
                  <a:lnTo>
                    <a:pt x="3515320" y="1776697"/>
                  </a:lnTo>
                  <a:lnTo>
                    <a:pt x="3509055" y="1775118"/>
                  </a:lnTo>
                  <a:lnTo>
                    <a:pt x="3507032" y="1771911"/>
                  </a:lnTo>
                  <a:lnTo>
                    <a:pt x="3509055" y="1768654"/>
                  </a:lnTo>
                  <a:lnTo>
                    <a:pt x="3509055" y="1767026"/>
                  </a:lnTo>
                  <a:lnTo>
                    <a:pt x="3502838" y="1765447"/>
                  </a:lnTo>
                  <a:lnTo>
                    <a:pt x="3498693" y="1768654"/>
                  </a:lnTo>
                  <a:lnTo>
                    <a:pt x="3498693" y="1765447"/>
                  </a:lnTo>
                  <a:lnTo>
                    <a:pt x="3494499" y="1765447"/>
                  </a:lnTo>
                  <a:lnTo>
                    <a:pt x="3492476" y="1762191"/>
                  </a:lnTo>
                  <a:lnTo>
                    <a:pt x="3494499" y="1758984"/>
                  </a:lnTo>
                  <a:lnTo>
                    <a:pt x="3492476" y="1755776"/>
                  </a:lnTo>
                  <a:lnTo>
                    <a:pt x="3486210" y="1754148"/>
                  </a:lnTo>
                  <a:lnTo>
                    <a:pt x="3484138" y="1755776"/>
                  </a:lnTo>
                  <a:lnTo>
                    <a:pt x="3479944" y="1750842"/>
                  </a:lnTo>
                  <a:lnTo>
                    <a:pt x="3475799" y="1752421"/>
                  </a:lnTo>
                  <a:lnTo>
                    <a:pt x="3471655" y="1752421"/>
                  </a:lnTo>
                  <a:lnTo>
                    <a:pt x="3467757" y="1752964"/>
                  </a:lnTo>
                  <a:lnTo>
                    <a:pt x="3465636" y="1756171"/>
                  </a:lnTo>
                  <a:lnTo>
                    <a:pt x="3465636" y="1759428"/>
                  </a:lnTo>
                  <a:lnTo>
                    <a:pt x="3463612" y="1761006"/>
                  </a:lnTo>
                  <a:lnTo>
                    <a:pt x="3457346" y="1757799"/>
                  </a:lnTo>
                  <a:lnTo>
                    <a:pt x="3455274" y="1756171"/>
                  </a:lnTo>
                  <a:lnTo>
                    <a:pt x="3449057" y="1757799"/>
                  </a:lnTo>
                  <a:lnTo>
                    <a:pt x="3440718" y="1757799"/>
                  </a:lnTo>
                  <a:lnTo>
                    <a:pt x="3440718" y="1754543"/>
                  </a:lnTo>
                  <a:lnTo>
                    <a:pt x="3434502" y="1751336"/>
                  </a:lnTo>
                  <a:lnTo>
                    <a:pt x="3424090" y="1749757"/>
                  </a:lnTo>
                  <a:lnTo>
                    <a:pt x="3419946" y="1746500"/>
                  </a:lnTo>
                  <a:lnTo>
                    <a:pt x="3413483" y="1746500"/>
                  </a:lnTo>
                  <a:lnTo>
                    <a:pt x="3409338" y="1744872"/>
                  </a:lnTo>
                  <a:lnTo>
                    <a:pt x="3407216" y="1746500"/>
                  </a:lnTo>
                  <a:lnTo>
                    <a:pt x="3396854" y="1748079"/>
                  </a:lnTo>
                  <a:lnTo>
                    <a:pt x="3394782" y="1753013"/>
                  </a:lnTo>
                  <a:lnTo>
                    <a:pt x="3392661" y="1753013"/>
                  </a:lnTo>
                  <a:lnTo>
                    <a:pt x="3388516" y="1754592"/>
                  </a:lnTo>
                  <a:lnTo>
                    <a:pt x="3369816" y="1754592"/>
                  </a:lnTo>
                  <a:lnTo>
                    <a:pt x="3365672" y="1757849"/>
                  </a:lnTo>
                  <a:lnTo>
                    <a:pt x="3359208" y="1757849"/>
                  </a:lnTo>
                  <a:lnTo>
                    <a:pt x="3355063" y="1762783"/>
                  </a:lnTo>
                  <a:lnTo>
                    <a:pt x="3350919" y="1764362"/>
                  </a:lnTo>
                  <a:lnTo>
                    <a:pt x="3344702" y="1764362"/>
                  </a:lnTo>
                  <a:lnTo>
                    <a:pt x="3342580" y="1765990"/>
                  </a:lnTo>
                  <a:lnTo>
                    <a:pt x="3338436" y="1765990"/>
                  </a:lnTo>
                  <a:lnTo>
                    <a:pt x="3334242" y="1767618"/>
                  </a:lnTo>
                  <a:lnTo>
                    <a:pt x="3325953" y="1767618"/>
                  </a:lnTo>
                  <a:lnTo>
                    <a:pt x="3321808" y="1770825"/>
                  </a:lnTo>
                  <a:lnTo>
                    <a:pt x="3321808" y="1774082"/>
                  </a:lnTo>
                  <a:lnTo>
                    <a:pt x="3315591" y="1780496"/>
                  </a:lnTo>
                  <a:lnTo>
                    <a:pt x="3313470" y="1785430"/>
                  </a:lnTo>
                  <a:lnTo>
                    <a:pt x="3311398" y="1788637"/>
                  </a:lnTo>
                  <a:lnTo>
                    <a:pt x="3311398" y="1791894"/>
                  </a:lnTo>
                  <a:lnTo>
                    <a:pt x="3309325" y="1795101"/>
                  </a:lnTo>
                  <a:lnTo>
                    <a:pt x="3309325" y="1803143"/>
                  </a:lnTo>
                  <a:lnTo>
                    <a:pt x="3311398" y="1804821"/>
                  </a:lnTo>
                  <a:lnTo>
                    <a:pt x="3315591" y="1804821"/>
                  </a:lnTo>
                  <a:lnTo>
                    <a:pt x="3321808" y="1801564"/>
                  </a:lnTo>
                  <a:lnTo>
                    <a:pt x="3328025" y="1799936"/>
                  </a:lnTo>
                  <a:lnTo>
                    <a:pt x="3332219" y="1799936"/>
                  </a:lnTo>
                  <a:lnTo>
                    <a:pt x="3336364" y="1808028"/>
                  </a:lnTo>
                  <a:lnTo>
                    <a:pt x="3340508" y="1812962"/>
                  </a:lnTo>
                  <a:lnTo>
                    <a:pt x="3344702" y="1816169"/>
                  </a:lnTo>
                  <a:lnTo>
                    <a:pt x="3344702" y="1821103"/>
                  </a:lnTo>
                  <a:lnTo>
                    <a:pt x="3346774" y="1826037"/>
                  </a:lnTo>
                  <a:lnTo>
                    <a:pt x="3346774" y="1831909"/>
                  </a:lnTo>
                  <a:lnTo>
                    <a:pt x="3342580" y="1835116"/>
                  </a:lnTo>
                  <a:lnTo>
                    <a:pt x="3336364" y="1841579"/>
                  </a:lnTo>
                  <a:lnTo>
                    <a:pt x="3336364" y="1848043"/>
                  </a:lnTo>
                  <a:lnTo>
                    <a:pt x="3332219" y="1851250"/>
                  </a:lnTo>
                  <a:lnTo>
                    <a:pt x="3328025" y="1857714"/>
                  </a:lnTo>
                  <a:lnTo>
                    <a:pt x="3325953" y="1862648"/>
                  </a:lnTo>
                  <a:lnTo>
                    <a:pt x="3330147" y="1867582"/>
                  </a:lnTo>
                  <a:lnTo>
                    <a:pt x="3328025" y="1870789"/>
                  </a:lnTo>
                  <a:lnTo>
                    <a:pt x="3330147" y="1878881"/>
                  </a:lnTo>
                  <a:lnTo>
                    <a:pt x="3334242" y="1882088"/>
                  </a:lnTo>
                  <a:lnTo>
                    <a:pt x="3334242" y="1887022"/>
                  </a:lnTo>
                  <a:lnTo>
                    <a:pt x="3330147" y="1890229"/>
                  </a:lnTo>
                  <a:lnTo>
                    <a:pt x="3328025" y="1893485"/>
                  </a:lnTo>
                  <a:lnTo>
                    <a:pt x="3330147" y="1898419"/>
                  </a:lnTo>
                  <a:lnTo>
                    <a:pt x="3330147" y="1908287"/>
                  </a:lnTo>
                  <a:lnTo>
                    <a:pt x="3328025" y="1909916"/>
                  </a:lnTo>
                  <a:lnTo>
                    <a:pt x="3330147" y="1919784"/>
                  </a:lnTo>
                  <a:lnTo>
                    <a:pt x="3332219" y="1919784"/>
                  </a:lnTo>
                  <a:lnTo>
                    <a:pt x="3336364" y="1921363"/>
                  </a:lnTo>
                  <a:lnTo>
                    <a:pt x="3338436" y="1919784"/>
                  </a:lnTo>
                  <a:lnTo>
                    <a:pt x="3340508" y="1921363"/>
                  </a:lnTo>
                  <a:lnTo>
                    <a:pt x="3342580" y="1927826"/>
                  </a:lnTo>
                  <a:lnTo>
                    <a:pt x="3340508" y="1934290"/>
                  </a:lnTo>
                  <a:lnTo>
                    <a:pt x="3334242" y="1939224"/>
                  </a:lnTo>
                  <a:lnTo>
                    <a:pt x="3321808" y="1940901"/>
                  </a:lnTo>
                  <a:lnTo>
                    <a:pt x="3313470" y="1945835"/>
                  </a:lnTo>
                  <a:lnTo>
                    <a:pt x="3296842" y="1958763"/>
                  </a:lnTo>
                  <a:lnTo>
                    <a:pt x="3292697" y="1960341"/>
                  </a:lnTo>
                  <a:lnTo>
                    <a:pt x="3288552" y="1955407"/>
                  </a:lnTo>
                  <a:lnTo>
                    <a:pt x="3269803" y="1955407"/>
                  </a:lnTo>
                  <a:lnTo>
                    <a:pt x="3269803" y="1953779"/>
                  </a:lnTo>
                  <a:lnTo>
                    <a:pt x="3259442" y="1953779"/>
                  </a:lnTo>
                  <a:lnTo>
                    <a:pt x="3257370" y="1950572"/>
                  </a:lnTo>
                  <a:lnTo>
                    <a:pt x="3242814" y="1947316"/>
                  </a:lnTo>
                  <a:lnTo>
                    <a:pt x="3232404" y="1948944"/>
                  </a:lnTo>
                  <a:lnTo>
                    <a:pt x="3230282" y="1952151"/>
                  </a:lnTo>
                  <a:lnTo>
                    <a:pt x="3224065" y="1957085"/>
                  </a:lnTo>
                  <a:lnTo>
                    <a:pt x="3216121" y="1957085"/>
                  </a:lnTo>
                  <a:lnTo>
                    <a:pt x="3214099" y="1953878"/>
                  </a:lnTo>
                  <a:lnTo>
                    <a:pt x="3205759" y="1957085"/>
                  </a:lnTo>
                  <a:lnTo>
                    <a:pt x="3201566" y="1955506"/>
                  </a:lnTo>
                  <a:lnTo>
                    <a:pt x="3197421" y="1950572"/>
                  </a:lnTo>
                  <a:lnTo>
                    <a:pt x="3189132" y="1945638"/>
                  </a:lnTo>
                  <a:lnTo>
                    <a:pt x="3180794" y="1945638"/>
                  </a:lnTo>
                  <a:lnTo>
                    <a:pt x="3170432" y="1947266"/>
                  </a:lnTo>
                  <a:lnTo>
                    <a:pt x="3168311" y="1945638"/>
                  </a:lnTo>
                  <a:lnTo>
                    <a:pt x="3161847" y="1945638"/>
                  </a:lnTo>
                  <a:lnTo>
                    <a:pt x="3157652" y="1950572"/>
                  </a:lnTo>
                  <a:lnTo>
                    <a:pt x="3153509" y="1956986"/>
                  </a:lnTo>
                  <a:lnTo>
                    <a:pt x="3149364" y="1961920"/>
                  </a:lnTo>
                  <a:lnTo>
                    <a:pt x="3141075" y="1963549"/>
                  </a:lnTo>
                  <a:lnTo>
                    <a:pt x="3136880" y="1969963"/>
                  </a:lnTo>
                  <a:lnTo>
                    <a:pt x="3136880" y="1973219"/>
                  </a:lnTo>
                  <a:lnTo>
                    <a:pt x="3134808" y="1979683"/>
                  </a:lnTo>
                  <a:lnTo>
                    <a:pt x="3126519" y="1984617"/>
                  </a:lnTo>
                  <a:lnTo>
                    <a:pt x="3105697" y="1984617"/>
                  </a:lnTo>
                  <a:lnTo>
                    <a:pt x="3099431" y="1991031"/>
                  </a:lnTo>
                  <a:lnTo>
                    <a:pt x="3091142" y="1991031"/>
                  </a:lnTo>
                  <a:lnTo>
                    <a:pt x="3076340" y="1997495"/>
                  </a:lnTo>
                  <a:lnTo>
                    <a:pt x="3072195" y="2005587"/>
                  </a:lnTo>
                  <a:lnTo>
                    <a:pt x="3068100" y="2005587"/>
                  </a:lnTo>
                  <a:lnTo>
                    <a:pt x="3059762" y="2002330"/>
                  </a:lnTo>
                  <a:lnTo>
                    <a:pt x="3053545" y="2002330"/>
                  </a:lnTo>
                  <a:lnTo>
                    <a:pt x="3049351" y="2005587"/>
                  </a:lnTo>
                  <a:lnTo>
                    <a:pt x="3018168" y="2005587"/>
                  </a:lnTo>
                  <a:lnTo>
                    <a:pt x="3003366" y="2002330"/>
                  </a:lnTo>
                  <a:lnTo>
                    <a:pt x="2986738" y="2003958"/>
                  </a:lnTo>
                  <a:lnTo>
                    <a:pt x="2982593" y="2003958"/>
                  </a:lnTo>
                  <a:lnTo>
                    <a:pt x="2976327" y="1997495"/>
                  </a:lnTo>
                  <a:lnTo>
                    <a:pt x="2970110" y="1997495"/>
                  </a:lnTo>
                  <a:lnTo>
                    <a:pt x="2965966" y="1994238"/>
                  </a:lnTo>
                  <a:lnTo>
                    <a:pt x="2959699" y="1991031"/>
                  </a:lnTo>
                  <a:lnTo>
                    <a:pt x="2955554" y="1981410"/>
                  </a:lnTo>
                  <a:lnTo>
                    <a:pt x="2951410" y="1978153"/>
                  </a:lnTo>
                  <a:lnTo>
                    <a:pt x="2945144" y="1979782"/>
                  </a:lnTo>
                  <a:lnTo>
                    <a:pt x="2934782" y="1979782"/>
                  </a:lnTo>
                  <a:lnTo>
                    <a:pt x="2922250" y="1974848"/>
                  </a:lnTo>
                  <a:lnTo>
                    <a:pt x="2913961" y="1966756"/>
                  </a:lnTo>
                  <a:lnTo>
                    <a:pt x="2899406" y="1966756"/>
                  </a:lnTo>
                  <a:lnTo>
                    <a:pt x="2888994" y="1965177"/>
                  </a:lnTo>
                  <a:lnTo>
                    <a:pt x="2880706" y="1961920"/>
                  </a:lnTo>
                  <a:lnTo>
                    <a:pt x="2872367" y="1963549"/>
                  </a:lnTo>
                  <a:lnTo>
                    <a:pt x="2862005" y="1965177"/>
                  </a:lnTo>
                  <a:lnTo>
                    <a:pt x="2855739" y="1968384"/>
                  </a:lnTo>
                  <a:lnTo>
                    <a:pt x="2840937" y="1968384"/>
                  </a:lnTo>
                  <a:lnTo>
                    <a:pt x="2830526" y="1971640"/>
                  </a:lnTo>
                  <a:lnTo>
                    <a:pt x="2824309" y="1978055"/>
                  </a:lnTo>
                  <a:lnTo>
                    <a:pt x="2820115" y="1979683"/>
                  </a:lnTo>
                  <a:lnTo>
                    <a:pt x="2815971" y="1978055"/>
                  </a:lnTo>
                  <a:lnTo>
                    <a:pt x="2809754" y="1978055"/>
                  </a:lnTo>
                  <a:lnTo>
                    <a:pt x="2805560" y="1979683"/>
                  </a:lnTo>
                  <a:lnTo>
                    <a:pt x="2795198" y="1979683"/>
                  </a:lnTo>
                  <a:lnTo>
                    <a:pt x="2791005" y="1981311"/>
                  </a:lnTo>
                  <a:lnTo>
                    <a:pt x="2786860" y="1981311"/>
                  </a:lnTo>
                  <a:lnTo>
                    <a:pt x="2774426" y="1976377"/>
                  </a:lnTo>
                  <a:lnTo>
                    <a:pt x="2764016" y="1974798"/>
                  </a:lnTo>
                  <a:lnTo>
                    <a:pt x="2761894" y="1971591"/>
                  </a:lnTo>
                  <a:lnTo>
                    <a:pt x="2755677" y="1965127"/>
                  </a:lnTo>
                  <a:lnTo>
                    <a:pt x="2752322" y="1965127"/>
                  </a:lnTo>
                  <a:lnTo>
                    <a:pt x="2748128" y="1961871"/>
                  </a:lnTo>
                  <a:lnTo>
                    <a:pt x="2748128" y="1956937"/>
                  </a:lnTo>
                  <a:lnTo>
                    <a:pt x="2743984" y="1948894"/>
                  </a:lnTo>
                  <a:lnTo>
                    <a:pt x="2739839" y="1945638"/>
                  </a:lnTo>
                  <a:lnTo>
                    <a:pt x="2739839" y="1940704"/>
                  </a:lnTo>
                  <a:lnTo>
                    <a:pt x="2737767" y="1937448"/>
                  </a:lnTo>
                  <a:lnTo>
                    <a:pt x="2737767" y="1932514"/>
                  </a:lnTo>
                  <a:lnTo>
                    <a:pt x="2733572" y="1927580"/>
                  </a:lnTo>
                  <a:lnTo>
                    <a:pt x="2729428" y="1925951"/>
                  </a:lnTo>
                  <a:lnTo>
                    <a:pt x="2706583" y="1925951"/>
                  </a:lnTo>
                  <a:lnTo>
                    <a:pt x="2702439" y="1922744"/>
                  </a:lnTo>
                  <a:lnTo>
                    <a:pt x="2692028" y="1922744"/>
                  </a:lnTo>
                  <a:lnTo>
                    <a:pt x="2689906" y="1919537"/>
                  </a:lnTo>
                  <a:lnTo>
                    <a:pt x="2683689" y="1916330"/>
                  </a:lnTo>
                  <a:lnTo>
                    <a:pt x="2671255" y="1917909"/>
                  </a:lnTo>
                  <a:lnTo>
                    <a:pt x="2662917" y="1916330"/>
                  </a:lnTo>
                  <a:lnTo>
                    <a:pt x="2654578" y="1914652"/>
                  </a:lnTo>
                  <a:lnTo>
                    <a:pt x="2652506" y="1911445"/>
                  </a:lnTo>
                  <a:lnTo>
                    <a:pt x="2644217" y="1908238"/>
                  </a:lnTo>
                  <a:lnTo>
                    <a:pt x="2633905" y="1905919"/>
                  </a:lnTo>
                  <a:lnTo>
                    <a:pt x="2629711" y="1902712"/>
                  </a:lnTo>
                  <a:lnTo>
                    <a:pt x="2621422" y="1902712"/>
                  </a:lnTo>
                  <a:lnTo>
                    <a:pt x="2617277" y="1905919"/>
                  </a:lnTo>
                  <a:lnTo>
                    <a:pt x="2617277" y="1910853"/>
                  </a:lnTo>
                  <a:lnTo>
                    <a:pt x="2619350" y="1915787"/>
                  </a:lnTo>
                  <a:lnTo>
                    <a:pt x="2617277" y="1920721"/>
                  </a:lnTo>
                  <a:lnTo>
                    <a:pt x="2613133" y="1920721"/>
                  </a:lnTo>
                  <a:lnTo>
                    <a:pt x="2606867" y="1922349"/>
                  </a:lnTo>
                  <a:lnTo>
                    <a:pt x="2602722" y="1927283"/>
                  </a:lnTo>
                  <a:lnTo>
                    <a:pt x="2602722" y="1932217"/>
                  </a:lnTo>
                  <a:lnTo>
                    <a:pt x="2596456" y="1938632"/>
                  </a:lnTo>
                  <a:lnTo>
                    <a:pt x="2596456" y="1954815"/>
                  </a:lnTo>
                  <a:lnTo>
                    <a:pt x="2598577" y="1961230"/>
                  </a:lnTo>
                  <a:lnTo>
                    <a:pt x="2608939" y="1964486"/>
                  </a:lnTo>
                  <a:lnTo>
                    <a:pt x="2613133" y="1967693"/>
                  </a:lnTo>
                  <a:lnTo>
                    <a:pt x="2619350" y="1970950"/>
                  </a:lnTo>
                  <a:lnTo>
                    <a:pt x="2621422" y="1974157"/>
                  </a:lnTo>
                  <a:lnTo>
                    <a:pt x="2617277" y="1984025"/>
                  </a:lnTo>
                  <a:lnTo>
                    <a:pt x="2617277" y="1993646"/>
                  </a:lnTo>
                  <a:lnTo>
                    <a:pt x="2625567" y="1998580"/>
                  </a:lnTo>
                  <a:lnTo>
                    <a:pt x="2629711" y="2001787"/>
                  </a:lnTo>
                  <a:lnTo>
                    <a:pt x="2621422" y="2011655"/>
                  </a:lnTo>
                  <a:lnTo>
                    <a:pt x="2611011" y="2013284"/>
                  </a:lnTo>
                  <a:lnTo>
                    <a:pt x="2602722" y="2011655"/>
                  </a:lnTo>
                  <a:lnTo>
                    <a:pt x="2602722" y="2013284"/>
                  </a:lnTo>
                  <a:lnTo>
                    <a:pt x="2594433" y="2013284"/>
                  </a:lnTo>
                  <a:lnTo>
                    <a:pt x="2590288" y="2011655"/>
                  </a:lnTo>
                  <a:lnTo>
                    <a:pt x="2573661" y="2011655"/>
                  </a:lnTo>
                  <a:lnTo>
                    <a:pt x="2567394" y="2013284"/>
                  </a:lnTo>
                  <a:lnTo>
                    <a:pt x="2563250" y="2010027"/>
                  </a:lnTo>
                  <a:lnTo>
                    <a:pt x="2554960" y="2008448"/>
                  </a:lnTo>
                  <a:lnTo>
                    <a:pt x="2548694" y="2008448"/>
                  </a:lnTo>
                  <a:lnTo>
                    <a:pt x="2542428" y="2013382"/>
                  </a:lnTo>
                  <a:lnTo>
                    <a:pt x="2534139" y="2015011"/>
                  </a:lnTo>
                  <a:lnTo>
                    <a:pt x="2529994" y="2018218"/>
                  </a:lnTo>
                  <a:lnTo>
                    <a:pt x="2517511" y="2013284"/>
                  </a:lnTo>
                  <a:lnTo>
                    <a:pt x="2509172" y="2008350"/>
                  </a:lnTo>
                  <a:lnTo>
                    <a:pt x="2492545" y="1998482"/>
                  </a:lnTo>
                  <a:lnTo>
                    <a:pt x="2490473" y="1995274"/>
                  </a:lnTo>
                  <a:lnTo>
                    <a:pt x="2488400" y="1990340"/>
                  </a:lnTo>
                  <a:lnTo>
                    <a:pt x="2486328" y="1985406"/>
                  </a:lnTo>
                  <a:lnTo>
                    <a:pt x="2475917" y="1985406"/>
                  </a:lnTo>
                  <a:lnTo>
                    <a:pt x="2469651" y="1988663"/>
                  </a:lnTo>
                  <a:lnTo>
                    <a:pt x="2459289" y="1988663"/>
                  </a:lnTo>
                  <a:lnTo>
                    <a:pt x="2453073" y="1990242"/>
                  </a:lnTo>
                  <a:lnTo>
                    <a:pt x="2448879" y="1985308"/>
                  </a:lnTo>
                  <a:lnTo>
                    <a:pt x="2446806" y="1982101"/>
                  </a:lnTo>
                  <a:lnTo>
                    <a:pt x="2442662" y="1977167"/>
                  </a:lnTo>
                  <a:lnTo>
                    <a:pt x="2440540" y="1977167"/>
                  </a:lnTo>
                  <a:lnTo>
                    <a:pt x="2436395" y="1980423"/>
                  </a:lnTo>
                  <a:lnTo>
                    <a:pt x="2428107" y="1978795"/>
                  </a:lnTo>
                  <a:lnTo>
                    <a:pt x="2421742" y="1978795"/>
                  </a:lnTo>
                  <a:lnTo>
                    <a:pt x="2413452" y="1980423"/>
                  </a:lnTo>
                  <a:lnTo>
                    <a:pt x="2400969" y="1982002"/>
                  </a:lnTo>
                  <a:lnTo>
                    <a:pt x="2394753" y="1983630"/>
                  </a:lnTo>
                  <a:lnTo>
                    <a:pt x="2392680" y="1991673"/>
                  </a:lnTo>
                  <a:lnTo>
                    <a:pt x="2386414" y="1994929"/>
                  </a:lnTo>
                  <a:lnTo>
                    <a:pt x="2376003" y="1991673"/>
                  </a:lnTo>
                  <a:lnTo>
                    <a:pt x="2371859" y="1994929"/>
                  </a:lnTo>
                  <a:lnTo>
                    <a:pt x="2373931" y="1998136"/>
                  </a:lnTo>
                  <a:lnTo>
                    <a:pt x="2376003" y="2001343"/>
                  </a:lnTo>
                  <a:lnTo>
                    <a:pt x="2373931" y="2002972"/>
                  </a:lnTo>
                  <a:lnTo>
                    <a:pt x="2369786" y="2009386"/>
                  </a:lnTo>
                  <a:lnTo>
                    <a:pt x="2363569" y="2011014"/>
                  </a:lnTo>
                  <a:lnTo>
                    <a:pt x="2357303" y="2015948"/>
                  </a:lnTo>
                  <a:lnTo>
                    <a:pt x="2357303" y="2020882"/>
                  </a:lnTo>
                  <a:lnTo>
                    <a:pt x="2346892" y="2024089"/>
                  </a:lnTo>
                  <a:lnTo>
                    <a:pt x="2344820" y="2030553"/>
                  </a:lnTo>
                  <a:lnTo>
                    <a:pt x="2344820" y="2037016"/>
                  </a:lnTo>
                  <a:lnTo>
                    <a:pt x="2332337" y="2040224"/>
                  </a:lnTo>
                  <a:lnTo>
                    <a:pt x="2326120" y="2046687"/>
                  </a:lnTo>
                  <a:lnTo>
                    <a:pt x="2324047" y="2049944"/>
                  </a:lnTo>
                  <a:lnTo>
                    <a:pt x="2307420" y="2048315"/>
                  </a:lnTo>
                  <a:lnTo>
                    <a:pt x="2301154" y="2051522"/>
                  </a:lnTo>
                  <a:lnTo>
                    <a:pt x="2294937" y="2062821"/>
                  </a:lnTo>
                  <a:lnTo>
                    <a:pt x="2292815" y="2062821"/>
                  </a:lnTo>
                  <a:lnTo>
                    <a:pt x="2284526" y="2061193"/>
                  </a:lnTo>
                  <a:lnTo>
                    <a:pt x="2280381" y="2061193"/>
                  </a:lnTo>
                  <a:lnTo>
                    <a:pt x="2278260" y="2059614"/>
                  </a:lnTo>
                  <a:lnTo>
                    <a:pt x="2267898" y="2056358"/>
                  </a:lnTo>
                  <a:lnTo>
                    <a:pt x="2259560" y="2049944"/>
                  </a:lnTo>
                  <a:lnTo>
                    <a:pt x="2255415" y="2049944"/>
                  </a:lnTo>
                  <a:lnTo>
                    <a:pt x="2253343" y="2043480"/>
                  </a:lnTo>
                  <a:lnTo>
                    <a:pt x="2255415" y="2037016"/>
                  </a:lnTo>
                  <a:lnTo>
                    <a:pt x="2253343" y="2035437"/>
                  </a:lnTo>
                  <a:lnTo>
                    <a:pt x="2245005" y="2038645"/>
                  </a:lnTo>
                  <a:lnTo>
                    <a:pt x="2240860" y="2043579"/>
                  </a:lnTo>
                  <a:lnTo>
                    <a:pt x="2234593" y="2045207"/>
                  </a:lnTo>
                  <a:lnTo>
                    <a:pt x="2215894" y="2046786"/>
                  </a:lnTo>
                  <a:lnTo>
                    <a:pt x="2211749" y="2050042"/>
                  </a:lnTo>
                  <a:lnTo>
                    <a:pt x="2209677" y="2051621"/>
                  </a:lnTo>
                  <a:lnTo>
                    <a:pt x="2203460" y="2050042"/>
                  </a:lnTo>
                  <a:lnTo>
                    <a:pt x="2197193" y="2046786"/>
                  </a:lnTo>
                  <a:lnTo>
                    <a:pt x="2193049" y="2046786"/>
                  </a:lnTo>
                  <a:lnTo>
                    <a:pt x="2190927" y="2045207"/>
                  </a:lnTo>
                  <a:lnTo>
                    <a:pt x="2188905" y="2043579"/>
                  </a:lnTo>
                  <a:lnTo>
                    <a:pt x="2186783" y="2038645"/>
                  </a:lnTo>
                  <a:lnTo>
                    <a:pt x="2186783" y="2027346"/>
                  </a:lnTo>
                  <a:lnTo>
                    <a:pt x="2182638" y="2025717"/>
                  </a:lnTo>
                  <a:lnTo>
                    <a:pt x="2178493" y="2025717"/>
                  </a:lnTo>
                  <a:lnTo>
                    <a:pt x="2170155" y="2020783"/>
                  </a:lnTo>
                  <a:lnTo>
                    <a:pt x="2163938" y="2019204"/>
                  </a:lnTo>
                  <a:lnTo>
                    <a:pt x="2159794" y="2019204"/>
                  </a:lnTo>
                  <a:lnTo>
                    <a:pt x="2155600" y="2011113"/>
                  </a:lnTo>
                  <a:lnTo>
                    <a:pt x="2149383" y="2003070"/>
                  </a:lnTo>
                  <a:lnTo>
                    <a:pt x="2138972" y="1995028"/>
                  </a:lnTo>
                  <a:lnTo>
                    <a:pt x="2128561" y="1993350"/>
                  </a:lnTo>
                  <a:lnTo>
                    <a:pt x="2115831" y="1993350"/>
                  </a:lnTo>
                  <a:lnTo>
                    <a:pt x="2103299" y="1995028"/>
                  </a:lnTo>
                  <a:lnTo>
                    <a:pt x="2101276" y="1998235"/>
                  </a:lnTo>
                  <a:lnTo>
                    <a:pt x="2105421" y="2001442"/>
                  </a:lnTo>
                  <a:lnTo>
                    <a:pt x="2103299" y="2004698"/>
                  </a:lnTo>
                  <a:lnTo>
                    <a:pt x="2095010" y="2006277"/>
                  </a:lnTo>
                  <a:lnTo>
                    <a:pt x="2088744" y="2004698"/>
                  </a:lnTo>
                  <a:lnTo>
                    <a:pt x="2082527" y="2007906"/>
                  </a:lnTo>
                  <a:lnTo>
                    <a:pt x="2072165" y="2002972"/>
                  </a:lnTo>
                  <a:lnTo>
                    <a:pt x="2065899" y="2004600"/>
                  </a:lnTo>
                  <a:lnTo>
                    <a:pt x="2061754" y="2007807"/>
                  </a:lnTo>
                  <a:lnTo>
                    <a:pt x="2055538" y="2007807"/>
                  </a:lnTo>
                  <a:lnTo>
                    <a:pt x="2049271" y="2002873"/>
                  </a:lnTo>
                  <a:lnTo>
                    <a:pt x="2040982" y="2001245"/>
                  </a:lnTo>
                  <a:lnTo>
                    <a:pt x="2040982" y="1996311"/>
                  </a:lnTo>
                  <a:lnTo>
                    <a:pt x="2043054" y="1991377"/>
                  </a:lnTo>
                  <a:lnTo>
                    <a:pt x="2032644" y="1988169"/>
                  </a:lnTo>
                  <a:lnTo>
                    <a:pt x="2026427" y="1989748"/>
                  </a:lnTo>
                  <a:lnTo>
                    <a:pt x="2026427" y="1996212"/>
                  </a:lnTo>
                  <a:lnTo>
                    <a:pt x="2028499" y="1997840"/>
                  </a:lnTo>
                  <a:lnTo>
                    <a:pt x="2026427" y="2002774"/>
                  </a:lnTo>
                  <a:lnTo>
                    <a:pt x="2020160" y="2005981"/>
                  </a:lnTo>
                  <a:lnTo>
                    <a:pt x="2012217" y="2005981"/>
                  </a:lnTo>
                  <a:lnTo>
                    <a:pt x="1924687" y="1910853"/>
                  </a:lnTo>
                  <a:lnTo>
                    <a:pt x="1860199" y="1870542"/>
                  </a:lnTo>
                  <a:lnTo>
                    <a:pt x="1856054" y="1865608"/>
                  </a:lnTo>
                  <a:lnTo>
                    <a:pt x="1862271" y="1863980"/>
                  </a:lnTo>
                  <a:lnTo>
                    <a:pt x="1868488" y="1857566"/>
                  </a:lnTo>
                  <a:lnTo>
                    <a:pt x="1868488" y="1852632"/>
                  </a:lnTo>
                  <a:lnTo>
                    <a:pt x="1864344" y="1851003"/>
                  </a:lnTo>
                  <a:lnTo>
                    <a:pt x="1856054" y="1852632"/>
                  </a:lnTo>
                  <a:lnTo>
                    <a:pt x="1847716" y="1854260"/>
                  </a:lnTo>
                  <a:lnTo>
                    <a:pt x="1841499" y="1859194"/>
                  </a:lnTo>
                  <a:lnTo>
                    <a:pt x="1835233" y="1860822"/>
                  </a:lnTo>
                  <a:lnTo>
                    <a:pt x="1829016" y="1868914"/>
                  </a:lnTo>
                  <a:lnTo>
                    <a:pt x="1826943" y="1872121"/>
                  </a:lnTo>
                  <a:lnTo>
                    <a:pt x="1822799" y="1877055"/>
                  </a:lnTo>
                  <a:lnTo>
                    <a:pt x="1818605" y="1881989"/>
                  </a:lnTo>
                  <a:lnTo>
                    <a:pt x="1812388" y="1886923"/>
                  </a:lnTo>
                  <a:lnTo>
                    <a:pt x="1801977" y="1886923"/>
                  </a:lnTo>
                  <a:lnTo>
                    <a:pt x="1795711" y="1890130"/>
                  </a:lnTo>
                  <a:lnTo>
                    <a:pt x="1795711" y="1896051"/>
                  </a:lnTo>
                  <a:lnTo>
                    <a:pt x="1791567" y="1899307"/>
                  </a:lnTo>
                  <a:lnTo>
                    <a:pt x="1787422" y="1896051"/>
                  </a:lnTo>
                  <a:lnTo>
                    <a:pt x="1774939" y="1894423"/>
                  </a:lnTo>
                  <a:lnTo>
                    <a:pt x="1766600" y="1896051"/>
                  </a:lnTo>
                  <a:lnTo>
                    <a:pt x="1762505" y="1899307"/>
                  </a:lnTo>
                  <a:lnTo>
                    <a:pt x="1756239" y="1900886"/>
                  </a:lnTo>
                  <a:lnTo>
                    <a:pt x="1752045" y="1894423"/>
                  </a:lnTo>
                  <a:lnTo>
                    <a:pt x="1752045" y="1886380"/>
                  </a:lnTo>
                  <a:lnTo>
                    <a:pt x="1756239" y="1883173"/>
                  </a:lnTo>
                  <a:lnTo>
                    <a:pt x="1758311" y="1876710"/>
                  </a:lnTo>
                  <a:lnTo>
                    <a:pt x="1756239" y="1875081"/>
                  </a:lnTo>
                  <a:lnTo>
                    <a:pt x="1750022" y="1880015"/>
                  </a:lnTo>
                  <a:lnTo>
                    <a:pt x="1745779" y="1880015"/>
                  </a:lnTo>
                  <a:lnTo>
                    <a:pt x="1730977" y="1873552"/>
                  </a:lnTo>
                  <a:lnTo>
                    <a:pt x="1722687" y="1875180"/>
                  </a:lnTo>
                  <a:lnTo>
                    <a:pt x="1724760" y="1878436"/>
                  </a:lnTo>
                  <a:lnTo>
                    <a:pt x="1728904" y="1880015"/>
                  </a:lnTo>
                  <a:lnTo>
                    <a:pt x="1724760" y="1884949"/>
                  </a:lnTo>
                  <a:lnTo>
                    <a:pt x="1721109" y="1884949"/>
                  </a:lnTo>
                  <a:lnTo>
                    <a:pt x="1714842" y="1878486"/>
                  </a:lnTo>
                  <a:lnTo>
                    <a:pt x="1714842" y="1867187"/>
                  </a:lnTo>
                  <a:lnTo>
                    <a:pt x="1702359" y="1860723"/>
                  </a:lnTo>
                  <a:lnTo>
                    <a:pt x="1700287" y="1860723"/>
                  </a:lnTo>
                  <a:lnTo>
                    <a:pt x="1702359" y="1867187"/>
                  </a:lnTo>
                  <a:lnTo>
                    <a:pt x="1702359" y="1872121"/>
                  </a:lnTo>
                  <a:lnTo>
                    <a:pt x="1696142" y="1872121"/>
                  </a:lnTo>
                  <a:lnTo>
                    <a:pt x="1694070" y="1865657"/>
                  </a:lnTo>
                  <a:lnTo>
                    <a:pt x="1689926" y="1867286"/>
                  </a:lnTo>
                  <a:lnTo>
                    <a:pt x="1689926" y="1873700"/>
                  </a:lnTo>
                  <a:lnTo>
                    <a:pt x="1685731" y="1875328"/>
                  </a:lnTo>
                  <a:lnTo>
                    <a:pt x="1679514" y="1870394"/>
                  </a:lnTo>
                  <a:lnTo>
                    <a:pt x="1671176" y="1875328"/>
                  </a:lnTo>
                  <a:lnTo>
                    <a:pt x="1667032" y="1872121"/>
                  </a:lnTo>
                  <a:lnTo>
                    <a:pt x="1662837" y="1867187"/>
                  </a:lnTo>
                  <a:lnTo>
                    <a:pt x="1669104" y="1865559"/>
                  </a:lnTo>
                  <a:lnTo>
                    <a:pt x="1669104" y="1857566"/>
                  </a:lnTo>
                  <a:lnTo>
                    <a:pt x="1671176" y="1852632"/>
                  </a:lnTo>
                  <a:lnTo>
                    <a:pt x="1669104" y="1847698"/>
                  </a:lnTo>
                  <a:lnTo>
                    <a:pt x="1664959" y="1846069"/>
                  </a:lnTo>
                  <a:lnTo>
                    <a:pt x="1658693" y="1841135"/>
                  </a:lnTo>
                  <a:lnTo>
                    <a:pt x="1656621" y="1834672"/>
                  </a:lnTo>
                  <a:lnTo>
                    <a:pt x="1654548" y="1833043"/>
                  </a:lnTo>
                  <a:lnTo>
                    <a:pt x="1650404" y="1825001"/>
                  </a:lnTo>
                  <a:lnTo>
                    <a:pt x="1644138" y="1825001"/>
                  </a:lnTo>
                  <a:lnTo>
                    <a:pt x="1635848" y="1826629"/>
                  </a:lnTo>
                  <a:lnTo>
                    <a:pt x="1627362" y="1826629"/>
                  </a:lnTo>
                  <a:lnTo>
                    <a:pt x="1619024" y="1821695"/>
                  </a:lnTo>
                  <a:lnTo>
                    <a:pt x="1608662" y="1823323"/>
                  </a:lnTo>
                  <a:lnTo>
                    <a:pt x="1600323" y="1820116"/>
                  </a:lnTo>
                  <a:lnTo>
                    <a:pt x="1594107" y="1821695"/>
                  </a:lnTo>
                  <a:lnTo>
                    <a:pt x="1589913" y="1820116"/>
                  </a:lnTo>
                  <a:lnTo>
                    <a:pt x="1583696" y="1823323"/>
                  </a:lnTo>
                  <a:lnTo>
                    <a:pt x="1581623" y="1829738"/>
                  </a:lnTo>
                  <a:lnTo>
                    <a:pt x="1571213" y="1829738"/>
                  </a:lnTo>
                  <a:lnTo>
                    <a:pt x="1567068" y="1831366"/>
                  </a:lnTo>
                  <a:lnTo>
                    <a:pt x="1571213" y="1836300"/>
                  </a:lnTo>
                  <a:lnTo>
                    <a:pt x="1571213" y="1841234"/>
                  </a:lnTo>
                  <a:lnTo>
                    <a:pt x="1562923" y="1842813"/>
                  </a:lnTo>
                  <a:lnTo>
                    <a:pt x="1556657" y="1842813"/>
                  </a:lnTo>
                  <a:lnTo>
                    <a:pt x="1552512" y="1847747"/>
                  </a:lnTo>
                  <a:lnTo>
                    <a:pt x="1544224" y="1849326"/>
                  </a:lnTo>
                  <a:lnTo>
                    <a:pt x="1540030" y="1850954"/>
                  </a:lnTo>
                  <a:lnTo>
                    <a:pt x="1537957" y="1850954"/>
                  </a:lnTo>
                  <a:lnTo>
                    <a:pt x="1521330" y="1860822"/>
                  </a:lnTo>
                  <a:lnTo>
                    <a:pt x="1512991" y="1862450"/>
                  </a:lnTo>
                  <a:lnTo>
                    <a:pt x="1506774" y="1865657"/>
                  </a:lnTo>
                  <a:lnTo>
                    <a:pt x="1502580" y="1865657"/>
                  </a:lnTo>
                  <a:lnTo>
                    <a:pt x="1498436" y="1862450"/>
                  </a:lnTo>
                  <a:lnTo>
                    <a:pt x="1492219" y="1865657"/>
                  </a:lnTo>
                  <a:lnTo>
                    <a:pt x="1492219" y="1868914"/>
                  </a:lnTo>
                  <a:lnTo>
                    <a:pt x="1483880" y="1868914"/>
                  </a:lnTo>
                  <a:lnTo>
                    <a:pt x="1479735" y="1872121"/>
                  </a:lnTo>
                  <a:lnTo>
                    <a:pt x="1479735" y="1878584"/>
                  </a:lnTo>
                  <a:lnTo>
                    <a:pt x="1477663" y="1880163"/>
                  </a:lnTo>
                  <a:lnTo>
                    <a:pt x="1473470" y="1878584"/>
                  </a:lnTo>
                  <a:lnTo>
                    <a:pt x="1467253" y="1880163"/>
                  </a:lnTo>
                  <a:lnTo>
                    <a:pt x="1461036" y="1883420"/>
                  </a:lnTo>
                  <a:lnTo>
                    <a:pt x="1452697" y="1883420"/>
                  </a:lnTo>
                  <a:lnTo>
                    <a:pt x="1444359" y="1888354"/>
                  </a:lnTo>
                  <a:lnTo>
                    <a:pt x="1442336" y="1891561"/>
                  </a:lnTo>
                  <a:lnTo>
                    <a:pt x="1431925" y="1891561"/>
                  </a:lnTo>
                  <a:lnTo>
                    <a:pt x="1423586" y="1894768"/>
                  </a:lnTo>
                  <a:lnTo>
                    <a:pt x="1415198" y="1896051"/>
                  </a:lnTo>
                  <a:lnTo>
                    <a:pt x="1402715" y="1899307"/>
                  </a:lnTo>
                  <a:lnTo>
                    <a:pt x="1400643" y="1904242"/>
                  </a:lnTo>
                  <a:lnTo>
                    <a:pt x="1398571" y="1907498"/>
                  </a:lnTo>
                  <a:lnTo>
                    <a:pt x="1394377" y="1902564"/>
                  </a:lnTo>
                  <a:lnTo>
                    <a:pt x="1388160" y="1902564"/>
                  </a:lnTo>
                  <a:lnTo>
                    <a:pt x="1381943" y="1905771"/>
                  </a:lnTo>
                  <a:lnTo>
                    <a:pt x="1381943" y="1909028"/>
                  </a:lnTo>
                  <a:lnTo>
                    <a:pt x="1377749" y="1912235"/>
                  </a:lnTo>
                  <a:lnTo>
                    <a:pt x="1371532" y="1907301"/>
                  </a:lnTo>
                  <a:lnTo>
                    <a:pt x="1363193" y="1908929"/>
                  </a:lnTo>
                  <a:lnTo>
                    <a:pt x="1361122" y="1905672"/>
                  </a:lnTo>
                  <a:lnTo>
                    <a:pt x="1354855" y="1905672"/>
                  </a:lnTo>
                  <a:lnTo>
                    <a:pt x="1352832" y="1908929"/>
                  </a:lnTo>
                  <a:lnTo>
                    <a:pt x="1344494" y="1908929"/>
                  </a:lnTo>
                  <a:lnTo>
                    <a:pt x="1342421" y="1912136"/>
                  </a:lnTo>
                  <a:lnTo>
                    <a:pt x="1346566" y="1918600"/>
                  </a:lnTo>
                  <a:lnTo>
                    <a:pt x="1342421" y="1921807"/>
                  </a:lnTo>
                  <a:lnTo>
                    <a:pt x="1348638" y="1923435"/>
                  </a:lnTo>
                  <a:lnTo>
                    <a:pt x="1356977" y="1921807"/>
                  </a:lnTo>
                  <a:lnTo>
                    <a:pt x="1361122" y="1929849"/>
                  </a:lnTo>
                  <a:lnTo>
                    <a:pt x="1350711" y="1929849"/>
                  </a:lnTo>
                  <a:lnTo>
                    <a:pt x="1348638" y="1931477"/>
                  </a:lnTo>
                  <a:lnTo>
                    <a:pt x="1348638" y="1936411"/>
                  </a:lnTo>
                  <a:lnTo>
                    <a:pt x="1356977" y="1936411"/>
                  </a:lnTo>
                  <a:lnTo>
                    <a:pt x="1365266" y="1939668"/>
                  </a:lnTo>
                  <a:lnTo>
                    <a:pt x="1369460" y="1936411"/>
                  </a:lnTo>
                  <a:lnTo>
                    <a:pt x="1375726" y="1936411"/>
                  </a:lnTo>
                  <a:lnTo>
                    <a:pt x="1381992" y="1941345"/>
                  </a:lnTo>
                  <a:lnTo>
                    <a:pt x="1388209" y="1942974"/>
                  </a:lnTo>
                  <a:lnTo>
                    <a:pt x="1388209" y="1949437"/>
                  </a:lnTo>
                  <a:lnTo>
                    <a:pt x="1384064" y="1951016"/>
                  </a:lnTo>
                  <a:lnTo>
                    <a:pt x="1377799" y="1949437"/>
                  </a:lnTo>
                  <a:lnTo>
                    <a:pt x="1362997" y="1951016"/>
                  </a:lnTo>
                  <a:lnTo>
                    <a:pt x="1354658" y="1957480"/>
                  </a:lnTo>
                  <a:lnTo>
                    <a:pt x="1346369" y="1967348"/>
                  </a:lnTo>
                  <a:lnTo>
                    <a:pt x="1346369" y="1973811"/>
                  </a:lnTo>
                  <a:lnTo>
                    <a:pt x="1352635" y="1975390"/>
                  </a:lnTo>
                  <a:lnTo>
                    <a:pt x="1354658" y="1981854"/>
                  </a:lnTo>
                  <a:lnTo>
                    <a:pt x="1348441" y="1986788"/>
                  </a:lnTo>
                  <a:lnTo>
                    <a:pt x="1346369" y="1993202"/>
                  </a:lnTo>
                  <a:lnTo>
                    <a:pt x="1340103" y="1994880"/>
                  </a:lnTo>
                  <a:lnTo>
                    <a:pt x="1340103" y="1998087"/>
                  </a:lnTo>
                  <a:lnTo>
                    <a:pt x="1342224" y="2001294"/>
                  </a:lnTo>
                  <a:lnTo>
                    <a:pt x="1342224" y="2006228"/>
                  </a:lnTo>
                  <a:lnTo>
                    <a:pt x="1350513" y="2006228"/>
                  </a:lnTo>
                  <a:lnTo>
                    <a:pt x="1356780" y="2009435"/>
                  </a:lnTo>
                  <a:lnTo>
                    <a:pt x="1362997" y="2011063"/>
                  </a:lnTo>
                  <a:lnTo>
                    <a:pt x="1365068" y="2014320"/>
                  </a:lnTo>
                  <a:lnTo>
                    <a:pt x="1371335" y="2019254"/>
                  </a:lnTo>
                  <a:lnTo>
                    <a:pt x="1381745" y="2019254"/>
                  </a:lnTo>
                  <a:lnTo>
                    <a:pt x="1385890" y="2022461"/>
                  </a:lnTo>
                  <a:lnTo>
                    <a:pt x="1387962" y="2046638"/>
                  </a:lnTo>
                  <a:lnTo>
                    <a:pt x="1383818" y="2051572"/>
                  </a:lnTo>
                  <a:lnTo>
                    <a:pt x="1371335" y="2054779"/>
                  </a:lnTo>
                  <a:lnTo>
                    <a:pt x="1362997" y="2054779"/>
                  </a:lnTo>
                  <a:lnTo>
                    <a:pt x="1350513" y="2048365"/>
                  </a:lnTo>
                  <a:lnTo>
                    <a:pt x="1346369" y="2051572"/>
                  </a:lnTo>
                  <a:lnTo>
                    <a:pt x="1346369" y="2056506"/>
                  </a:lnTo>
                  <a:lnTo>
                    <a:pt x="1342224" y="2062969"/>
                  </a:lnTo>
                  <a:lnTo>
                    <a:pt x="1336254" y="2063808"/>
                  </a:lnTo>
                  <a:lnTo>
                    <a:pt x="1321452" y="2058874"/>
                  </a:lnTo>
                  <a:lnTo>
                    <a:pt x="1311041" y="2058874"/>
                  </a:lnTo>
                  <a:lnTo>
                    <a:pt x="1306897" y="2055618"/>
                  </a:lnTo>
                  <a:lnTo>
                    <a:pt x="1302752" y="2057246"/>
                  </a:lnTo>
                  <a:lnTo>
                    <a:pt x="1296485" y="2055618"/>
                  </a:lnTo>
                  <a:lnTo>
                    <a:pt x="1290269" y="2049203"/>
                  </a:lnTo>
                  <a:lnTo>
                    <a:pt x="1294463" y="2045947"/>
                  </a:lnTo>
                  <a:lnTo>
                    <a:pt x="1298607" y="2042740"/>
                  </a:lnTo>
                  <a:lnTo>
                    <a:pt x="1292341" y="2039483"/>
                  </a:lnTo>
                  <a:lnTo>
                    <a:pt x="1284052" y="2036276"/>
                  </a:lnTo>
                  <a:lnTo>
                    <a:pt x="1279907" y="2039483"/>
                  </a:lnTo>
                  <a:lnTo>
                    <a:pt x="1271569" y="2039483"/>
                  </a:lnTo>
                  <a:lnTo>
                    <a:pt x="1267375" y="2041112"/>
                  </a:lnTo>
                  <a:lnTo>
                    <a:pt x="1267375" y="2049203"/>
                  </a:lnTo>
                  <a:lnTo>
                    <a:pt x="1257309" y="2049203"/>
                  </a:lnTo>
                  <a:lnTo>
                    <a:pt x="1255237" y="2045947"/>
                  </a:lnTo>
                  <a:lnTo>
                    <a:pt x="1244826" y="2037905"/>
                  </a:lnTo>
                  <a:lnTo>
                    <a:pt x="1236537" y="2039483"/>
                  </a:lnTo>
                  <a:lnTo>
                    <a:pt x="1234415" y="2044417"/>
                  </a:lnTo>
                  <a:lnTo>
                    <a:pt x="1230271" y="2039483"/>
                  </a:lnTo>
                  <a:lnTo>
                    <a:pt x="1224005" y="2041112"/>
                  </a:lnTo>
                  <a:lnTo>
                    <a:pt x="1224005" y="2047575"/>
                  </a:lnTo>
                  <a:lnTo>
                    <a:pt x="1215715" y="2047575"/>
                  </a:lnTo>
                  <a:lnTo>
                    <a:pt x="1215715" y="2058874"/>
                  </a:lnTo>
                  <a:lnTo>
                    <a:pt x="1207426" y="2065338"/>
                  </a:lnTo>
                  <a:lnTo>
                    <a:pt x="1201160" y="2063660"/>
                  </a:lnTo>
                  <a:lnTo>
                    <a:pt x="1197015" y="2057246"/>
                  </a:lnTo>
                  <a:lnTo>
                    <a:pt x="1182213" y="2055618"/>
                  </a:lnTo>
                  <a:lnTo>
                    <a:pt x="1178068" y="2049203"/>
                  </a:lnTo>
                  <a:lnTo>
                    <a:pt x="1169730" y="2052411"/>
                  </a:lnTo>
                  <a:lnTo>
                    <a:pt x="1171803" y="2060453"/>
                  </a:lnTo>
                  <a:lnTo>
                    <a:pt x="1167658" y="2066917"/>
                  </a:lnTo>
                  <a:lnTo>
                    <a:pt x="1163513" y="2065338"/>
                  </a:lnTo>
                  <a:lnTo>
                    <a:pt x="1161392" y="2058874"/>
                  </a:lnTo>
                  <a:lnTo>
                    <a:pt x="1159319" y="2053940"/>
                  </a:lnTo>
                  <a:lnTo>
                    <a:pt x="1153102" y="2053940"/>
                  </a:lnTo>
                  <a:lnTo>
                    <a:pt x="1142692" y="2047526"/>
                  </a:lnTo>
                  <a:lnTo>
                    <a:pt x="1138547" y="2041062"/>
                  </a:lnTo>
                  <a:lnTo>
                    <a:pt x="1130208" y="2041062"/>
                  </a:lnTo>
                  <a:lnTo>
                    <a:pt x="1121920" y="2033020"/>
                  </a:lnTo>
                  <a:lnTo>
                    <a:pt x="1117775" y="2033020"/>
                  </a:lnTo>
                  <a:lnTo>
                    <a:pt x="1115653" y="2028086"/>
                  </a:lnTo>
                  <a:lnTo>
                    <a:pt x="1109436" y="2028086"/>
                  </a:lnTo>
                  <a:lnTo>
                    <a:pt x="1096953" y="2031293"/>
                  </a:lnTo>
                  <a:lnTo>
                    <a:pt x="1088664" y="2026359"/>
                  </a:lnTo>
                  <a:lnTo>
                    <a:pt x="1084470" y="2018316"/>
                  </a:lnTo>
                  <a:lnTo>
                    <a:pt x="1078253" y="2018316"/>
                  </a:lnTo>
                  <a:lnTo>
                    <a:pt x="1069915" y="2023250"/>
                  </a:lnTo>
                  <a:lnTo>
                    <a:pt x="1063698" y="2023250"/>
                  </a:lnTo>
                  <a:lnTo>
                    <a:pt x="1061625" y="2028184"/>
                  </a:lnTo>
                  <a:lnTo>
                    <a:pt x="1057431" y="2031392"/>
                  </a:lnTo>
                  <a:lnTo>
                    <a:pt x="1057431" y="2026458"/>
                  </a:lnTo>
                  <a:lnTo>
                    <a:pt x="1051214" y="2029665"/>
                  </a:lnTo>
                  <a:lnTo>
                    <a:pt x="1051214" y="2032921"/>
                  </a:lnTo>
                  <a:lnTo>
                    <a:pt x="1042876" y="2037855"/>
                  </a:lnTo>
                  <a:lnTo>
                    <a:pt x="1040804" y="2034648"/>
                  </a:lnTo>
                  <a:lnTo>
                    <a:pt x="1044998" y="2028184"/>
                  </a:lnTo>
                  <a:lnTo>
                    <a:pt x="1044998" y="2024928"/>
                  </a:lnTo>
                  <a:lnTo>
                    <a:pt x="1036659" y="2021721"/>
                  </a:lnTo>
                  <a:lnTo>
                    <a:pt x="1026249" y="2016787"/>
                  </a:lnTo>
                  <a:lnTo>
                    <a:pt x="1024176" y="2019994"/>
                  </a:lnTo>
                  <a:lnTo>
                    <a:pt x="1026249" y="2026458"/>
                  </a:lnTo>
                  <a:lnTo>
                    <a:pt x="1026249" y="2031392"/>
                  </a:lnTo>
                  <a:lnTo>
                    <a:pt x="1017910" y="2029763"/>
                  </a:lnTo>
                  <a:lnTo>
                    <a:pt x="1011693" y="2033020"/>
                  </a:lnTo>
                  <a:lnTo>
                    <a:pt x="1009621" y="2041062"/>
                  </a:lnTo>
                  <a:lnTo>
                    <a:pt x="1003355" y="2041062"/>
                  </a:lnTo>
                  <a:lnTo>
                    <a:pt x="992993" y="2047526"/>
                  </a:lnTo>
                  <a:lnTo>
                    <a:pt x="990921" y="2053940"/>
                  </a:lnTo>
                  <a:lnTo>
                    <a:pt x="997138" y="2060404"/>
                  </a:lnTo>
                  <a:lnTo>
                    <a:pt x="997138" y="2066867"/>
                  </a:lnTo>
                  <a:lnTo>
                    <a:pt x="984654" y="2066867"/>
                  </a:lnTo>
                  <a:lnTo>
                    <a:pt x="974244" y="2068496"/>
                  </a:lnTo>
                  <a:lnTo>
                    <a:pt x="982582" y="2092672"/>
                  </a:lnTo>
                  <a:lnTo>
                    <a:pt x="978437" y="2095879"/>
                  </a:lnTo>
                  <a:lnTo>
                    <a:pt x="978437" y="2105748"/>
                  </a:lnTo>
                  <a:lnTo>
                    <a:pt x="968027" y="2107376"/>
                  </a:lnTo>
                  <a:lnTo>
                    <a:pt x="957665" y="2100912"/>
                  </a:lnTo>
                  <a:lnTo>
                    <a:pt x="953472" y="2095978"/>
                  </a:lnTo>
                  <a:lnTo>
                    <a:pt x="934771" y="2079844"/>
                  </a:lnTo>
                  <a:lnTo>
                    <a:pt x="930578" y="2086307"/>
                  </a:lnTo>
                  <a:lnTo>
                    <a:pt x="930578" y="2094350"/>
                  </a:lnTo>
                  <a:lnTo>
                    <a:pt x="920216" y="2104218"/>
                  </a:lnTo>
                  <a:lnTo>
                    <a:pt x="913999" y="2107474"/>
                  </a:lnTo>
                  <a:lnTo>
                    <a:pt x="916022" y="2121981"/>
                  </a:lnTo>
                  <a:lnTo>
                    <a:pt x="920216" y="2126915"/>
                  </a:lnTo>
                  <a:lnTo>
                    <a:pt x="918144" y="2146256"/>
                  </a:lnTo>
                  <a:lnTo>
                    <a:pt x="911927" y="2157555"/>
                  </a:lnTo>
                  <a:lnTo>
                    <a:pt x="926729" y="2162489"/>
                  </a:lnTo>
                  <a:lnTo>
                    <a:pt x="932995" y="2170531"/>
                  </a:lnTo>
                  <a:lnTo>
                    <a:pt x="930873" y="2175465"/>
                  </a:lnTo>
                  <a:lnTo>
                    <a:pt x="943406" y="2183508"/>
                  </a:lnTo>
                  <a:lnTo>
                    <a:pt x="945429" y="2180301"/>
                  </a:lnTo>
                  <a:lnTo>
                    <a:pt x="968323" y="2185235"/>
                  </a:lnTo>
                  <a:lnTo>
                    <a:pt x="984951" y="2198113"/>
                  </a:lnTo>
                  <a:lnTo>
                    <a:pt x="999753" y="2219082"/>
                  </a:lnTo>
                  <a:lnTo>
                    <a:pt x="987319" y="2219082"/>
                  </a:lnTo>
                  <a:lnTo>
                    <a:pt x="985197" y="2224016"/>
                  </a:lnTo>
                  <a:lnTo>
                    <a:pt x="999999" y="2232059"/>
                  </a:lnTo>
                  <a:lnTo>
                    <a:pt x="1008338" y="2228852"/>
                  </a:lnTo>
                  <a:lnTo>
                    <a:pt x="1016676" y="2233786"/>
                  </a:lnTo>
                  <a:lnTo>
                    <a:pt x="1016676" y="2235365"/>
                  </a:lnTo>
                  <a:lnTo>
                    <a:pt x="1016676" y="2240299"/>
                  </a:lnTo>
                  <a:lnTo>
                    <a:pt x="1010410" y="2241878"/>
                  </a:lnTo>
                  <a:lnTo>
                    <a:pt x="1014555" y="2243506"/>
                  </a:lnTo>
                  <a:lnTo>
                    <a:pt x="1014555" y="2246368"/>
                  </a:lnTo>
                  <a:lnTo>
                    <a:pt x="1010410" y="2246368"/>
                  </a:lnTo>
                  <a:lnTo>
                    <a:pt x="1014555" y="2249624"/>
                  </a:lnTo>
                  <a:lnTo>
                    <a:pt x="1014555" y="2252831"/>
                  </a:lnTo>
                  <a:lnTo>
                    <a:pt x="1008338" y="2251203"/>
                  </a:lnTo>
                  <a:lnTo>
                    <a:pt x="1006266" y="2252831"/>
                  </a:lnTo>
                  <a:lnTo>
                    <a:pt x="997927" y="2251203"/>
                  </a:lnTo>
                  <a:lnTo>
                    <a:pt x="993782" y="2251203"/>
                  </a:lnTo>
                  <a:lnTo>
                    <a:pt x="1004144" y="2256137"/>
                  </a:lnTo>
                  <a:lnTo>
                    <a:pt x="1006266" y="2259344"/>
                  </a:lnTo>
                  <a:lnTo>
                    <a:pt x="1004144" y="2262551"/>
                  </a:lnTo>
                  <a:lnTo>
                    <a:pt x="999999" y="2259344"/>
                  </a:lnTo>
                  <a:cubicBezTo>
                    <a:pt x="998025" y="2260129"/>
                    <a:pt x="995904" y="2260661"/>
                    <a:pt x="993782" y="2260923"/>
                  </a:cubicBezTo>
                  <a:lnTo>
                    <a:pt x="991710" y="2259344"/>
                  </a:lnTo>
                  <a:lnTo>
                    <a:pt x="987565" y="2259344"/>
                  </a:lnTo>
                  <a:lnTo>
                    <a:pt x="993782" y="2260923"/>
                  </a:lnTo>
                  <a:lnTo>
                    <a:pt x="993782" y="2264179"/>
                  </a:lnTo>
                  <a:lnTo>
                    <a:pt x="989588" y="2267387"/>
                  </a:lnTo>
                  <a:lnTo>
                    <a:pt x="983372" y="2267387"/>
                  </a:lnTo>
                  <a:lnTo>
                    <a:pt x="981300" y="2269015"/>
                  </a:lnTo>
                  <a:lnTo>
                    <a:pt x="977155" y="2265758"/>
                  </a:lnTo>
                  <a:lnTo>
                    <a:pt x="977155" y="2270692"/>
                  </a:lnTo>
                  <a:lnTo>
                    <a:pt x="973010" y="2272271"/>
                  </a:lnTo>
                  <a:lnTo>
                    <a:pt x="968816" y="2269064"/>
                  </a:lnTo>
                  <a:lnTo>
                    <a:pt x="966744" y="2267436"/>
                  </a:lnTo>
                  <a:lnTo>
                    <a:pt x="966744" y="2272370"/>
                  </a:lnTo>
                  <a:lnTo>
                    <a:pt x="962599" y="2277304"/>
                  </a:lnTo>
                  <a:lnTo>
                    <a:pt x="960478" y="2283768"/>
                  </a:lnTo>
                  <a:lnTo>
                    <a:pt x="956333" y="2285347"/>
                  </a:lnTo>
                  <a:lnTo>
                    <a:pt x="954261" y="2291810"/>
                  </a:lnTo>
                  <a:lnTo>
                    <a:pt x="952189" y="2296744"/>
                  </a:lnTo>
                  <a:lnTo>
                    <a:pt x="952189" y="2309622"/>
                  </a:lnTo>
                  <a:lnTo>
                    <a:pt x="948044" y="2311299"/>
                  </a:lnTo>
                  <a:lnTo>
                    <a:pt x="945922" y="2317714"/>
                  </a:lnTo>
                  <a:lnTo>
                    <a:pt x="950116" y="2327582"/>
                  </a:lnTo>
                  <a:lnTo>
                    <a:pt x="954261" y="2329210"/>
                  </a:lnTo>
                  <a:lnTo>
                    <a:pt x="960478" y="2327582"/>
                  </a:lnTo>
                  <a:lnTo>
                    <a:pt x="964671" y="2332516"/>
                  </a:lnTo>
                  <a:lnTo>
                    <a:pt x="970888" y="2334144"/>
                  </a:lnTo>
                  <a:lnTo>
                    <a:pt x="970888" y="2344012"/>
                  </a:lnTo>
                  <a:lnTo>
                    <a:pt x="979227" y="2348946"/>
                  </a:lnTo>
                  <a:lnTo>
                    <a:pt x="983372" y="2345739"/>
                  </a:lnTo>
                  <a:lnTo>
                    <a:pt x="987565" y="2345739"/>
                  </a:lnTo>
                  <a:lnTo>
                    <a:pt x="983372" y="2350673"/>
                  </a:lnTo>
                  <a:lnTo>
                    <a:pt x="983372" y="2357087"/>
                  </a:lnTo>
                  <a:lnTo>
                    <a:pt x="979227" y="2355508"/>
                  </a:lnTo>
                  <a:lnTo>
                    <a:pt x="977155" y="2360442"/>
                  </a:lnTo>
                  <a:lnTo>
                    <a:pt x="983372" y="2360442"/>
                  </a:lnTo>
                  <a:lnTo>
                    <a:pt x="983372" y="2365376"/>
                  </a:lnTo>
                  <a:lnTo>
                    <a:pt x="985444" y="2368633"/>
                  </a:lnTo>
                  <a:lnTo>
                    <a:pt x="987565" y="2378501"/>
                  </a:lnTo>
                  <a:lnTo>
                    <a:pt x="991710" y="2383435"/>
                  </a:lnTo>
                  <a:lnTo>
                    <a:pt x="993782" y="2393303"/>
                  </a:lnTo>
                  <a:lnTo>
                    <a:pt x="1008584" y="2406181"/>
                  </a:lnTo>
                  <a:lnTo>
                    <a:pt x="1027285" y="2420736"/>
                  </a:lnTo>
                  <a:lnTo>
                    <a:pt x="1031478" y="2422364"/>
                  </a:lnTo>
                  <a:lnTo>
                    <a:pt x="1018946" y="2435243"/>
                  </a:lnTo>
                  <a:lnTo>
                    <a:pt x="1008584" y="2440177"/>
                  </a:lnTo>
                  <a:lnTo>
                    <a:pt x="1004391" y="2445111"/>
                  </a:lnTo>
                  <a:lnTo>
                    <a:pt x="987812" y="2445111"/>
                  </a:lnTo>
                  <a:lnTo>
                    <a:pt x="983618" y="2437019"/>
                  </a:lnTo>
                  <a:lnTo>
                    <a:pt x="966201" y="2423499"/>
                  </a:lnTo>
                  <a:lnTo>
                    <a:pt x="955790" y="2421871"/>
                  </a:lnTo>
                  <a:lnTo>
                    <a:pt x="951646" y="2433170"/>
                  </a:lnTo>
                  <a:lnTo>
                    <a:pt x="962057" y="2438104"/>
                  </a:lnTo>
                  <a:lnTo>
                    <a:pt x="966201" y="2444568"/>
                  </a:lnTo>
                  <a:lnTo>
                    <a:pt x="964129" y="2455817"/>
                  </a:lnTo>
                  <a:lnTo>
                    <a:pt x="951646" y="2449403"/>
                  </a:lnTo>
                  <a:lnTo>
                    <a:pt x="936844" y="2449403"/>
                  </a:lnTo>
                  <a:lnTo>
                    <a:pt x="918144" y="2439535"/>
                  </a:lnTo>
                  <a:lnTo>
                    <a:pt x="903342" y="2444469"/>
                  </a:lnTo>
                  <a:lnTo>
                    <a:pt x="903342" y="2449403"/>
                  </a:lnTo>
                  <a:lnTo>
                    <a:pt x="909559" y="2454337"/>
                  </a:lnTo>
                  <a:lnTo>
                    <a:pt x="901220" y="2447874"/>
                  </a:lnTo>
                  <a:lnTo>
                    <a:pt x="876303" y="2447874"/>
                  </a:lnTo>
                  <a:lnTo>
                    <a:pt x="859676" y="2451081"/>
                  </a:lnTo>
                  <a:lnTo>
                    <a:pt x="849265" y="2454337"/>
                  </a:lnTo>
                  <a:lnTo>
                    <a:pt x="849265" y="2452709"/>
                  </a:lnTo>
                  <a:lnTo>
                    <a:pt x="840975" y="2451081"/>
                  </a:lnTo>
                  <a:lnTo>
                    <a:pt x="826173" y="2441213"/>
                  </a:lnTo>
                  <a:lnTo>
                    <a:pt x="819907" y="2439634"/>
                  </a:lnTo>
                  <a:lnTo>
                    <a:pt x="815763" y="2442841"/>
                  </a:lnTo>
                  <a:lnTo>
                    <a:pt x="811618" y="2444469"/>
                  </a:lnTo>
                  <a:lnTo>
                    <a:pt x="801207" y="2441213"/>
                  </a:lnTo>
                  <a:lnTo>
                    <a:pt x="799135" y="2444469"/>
                  </a:lnTo>
                  <a:lnTo>
                    <a:pt x="794990" y="2442841"/>
                  </a:lnTo>
                  <a:lnTo>
                    <a:pt x="792869" y="2437907"/>
                  </a:lnTo>
                  <a:lnTo>
                    <a:pt x="788724" y="2437907"/>
                  </a:lnTo>
                  <a:lnTo>
                    <a:pt x="788724" y="2436328"/>
                  </a:lnTo>
                  <a:lnTo>
                    <a:pt x="786652" y="2429864"/>
                  </a:lnTo>
                  <a:lnTo>
                    <a:pt x="790796" y="2426608"/>
                  </a:lnTo>
                  <a:lnTo>
                    <a:pt x="784579" y="2416740"/>
                  </a:lnTo>
                  <a:lnTo>
                    <a:pt x="782507" y="2403812"/>
                  </a:lnTo>
                  <a:lnTo>
                    <a:pt x="778313" y="2398878"/>
                  </a:lnTo>
                  <a:lnTo>
                    <a:pt x="770024" y="2389010"/>
                  </a:lnTo>
                  <a:lnTo>
                    <a:pt x="761686" y="2387382"/>
                  </a:lnTo>
                  <a:lnTo>
                    <a:pt x="759613" y="2384175"/>
                  </a:lnTo>
                  <a:lnTo>
                    <a:pt x="751324" y="2377712"/>
                  </a:lnTo>
                  <a:lnTo>
                    <a:pt x="747130" y="2379290"/>
                  </a:lnTo>
                  <a:lnTo>
                    <a:pt x="742985" y="2377712"/>
                  </a:lnTo>
                  <a:lnTo>
                    <a:pt x="736769" y="2376083"/>
                  </a:lnTo>
                  <a:lnTo>
                    <a:pt x="730502" y="2369620"/>
                  </a:lnTo>
                  <a:lnTo>
                    <a:pt x="726358" y="2369620"/>
                  </a:lnTo>
                  <a:lnTo>
                    <a:pt x="720091" y="2366413"/>
                  </a:lnTo>
                  <a:lnTo>
                    <a:pt x="718019" y="2363156"/>
                  </a:lnTo>
                  <a:lnTo>
                    <a:pt x="711802" y="2363156"/>
                  </a:lnTo>
                  <a:lnTo>
                    <a:pt x="707658" y="2358222"/>
                  </a:lnTo>
                  <a:lnTo>
                    <a:pt x="705536" y="2354966"/>
                  </a:lnTo>
                  <a:lnTo>
                    <a:pt x="697247" y="2353387"/>
                  </a:lnTo>
                  <a:lnTo>
                    <a:pt x="693102" y="2345295"/>
                  </a:lnTo>
                  <a:lnTo>
                    <a:pt x="670208" y="2330789"/>
                  </a:lnTo>
                  <a:lnTo>
                    <a:pt x="659798" y="2329161"/>
                  </a:lnTo>
                  <a:lnTo>
                    <a:pt x="647314" y="2321118"/>
                  </a:lnTo>
                  <a:lnTo>
                    <a:pt x="632512" y="2322746"/>
                  </a:lnTo>
                  <a:lnTo>
                    <a:pt x="626295" y="2314655"/>
                  </a:lnTo>
                  <a:lnTo>
                    <a:pt x="624223" y="2309721"/>
                  </a:lnTo>
                  <a:lnTo>
                    <a:pt x="615885" y="2303257"/>
                  </a:lnTo>
                  <a:lnTo>
                    <a:pt x="603401" y="2303257"/>
                  </a:lnTo>
                  <a:lnTo>
                    <a:pt x="607546" y="2298323"/>
                  </a:lnTo>
                  <a:lnTo>
                    <a:pt x="613812" y="2296744"/>
                  </a:lnTo>
                  <a:lnTo>
                    <a:pt x="609668" y="2291810"/>
                  </a:lnTo>
                  <a:lnTo>
                    <a:pt x="609668" y="2290182"/>
                  </a:lnTo>
                  <a:lnTo>
                    <a:pt x="617957" y="2291810"/>
                  </a:lnTo>
                  <a:lnTo>
                    <a:pt x="624223" y="2295017"/>
                  </a:lnTo>
                  <a:lnTo>
                    <a:pt x="626295" y="2293438"/>
                  </a:lnTo>
                  <a:lnTo>
                    <a:pt x="632512" y="2295017"/>
                  </a:lnTo>
                  <a:lnTo>
                    <a:pt x="634634" y="2286975"/>
                  </a:lnTo>
                  <a:lnTo>
                    <a:pt x="630440" y="2283718"/>
                  </a:lnTo>
                  <a:lnTo>
                    <a:pt x="630440" y="2277304"/>
                  </a:lnTo>
                  <a:lnTo>
                    <a:pt x="638779" y="2270840"/>
                  </a:lnTo>
                  <a:lnTo>
                    <a:pt x="638779" y="2269262"/>
                  </a:lnTo>
                  <a:lnTo>
                    <a:pt x="640851" y="2266005"/>
                  </a:lnTo>
                  <a:lnTo>
                    <a:pt x="647068" y="2267633"/>
                  </a:lnTo>
                  <a:lnTo>
                    <a:pt x="649189" y="2262699"/>
                  </a:lnTo>
                  <a:lnTo>
                    <a:pt x="653334" y="2262699"/>
                  </a:lnTo>
                  <a:lnTo>
                    <a:pt x="653334" y="2259443"/>
                  </a:lnTo>
                  <a:lnTo>
                    <a:pt x="647068" y="2257864"/>
                  </a:lnTo>
                  <a:lnTo>
                    <a:pt x="644996" y="2254657"/>
                  </a:lnTo>
                  <a:lnTo>
                    <a:pt x="640851" y="2257864"/>
                  </a:lnTo>
                  <a:lnTo>
                    <a:pt x="636657" y="2252930"/>
                  </a:lnTo>
                  <a:lnTo>
                    <a:pt x="630440" y="2243062"/>
                  </a:lnTo>
                  <a:lnTo>
                    <a:pt x="651213" y="2243062"/>
                  </a:lnTo>
                  <a:lnTo>
                    <a:pt x="657479" y="2239855"/>
                  </a:lnTo>
                  <a:lnTo>
                    <a:pt x="651213" y="2239855"/>
                  </a:lnTo>
                  <a:lnTo>
                    <a:pt x="649189" y="2236647"/>
                  </a:lnTo>
                  <a:lnTo>
                    <a:pt x="655406" y="2231713"/>
                  </a:lnTo>
                  <a:lnTo>
                    <a:pt x="674107" y="2223671"/>
                  </a:lnTo>
                  <a:lnTo>
                    <a:pt x="676178" y="2218737"/>
                  </a:lnTo>
                  <a:lnTo>
                    <a:pt x="674107" y="2215530"/>
                  </a:lnTo>
                  <a:lnTo>
                    <a:pt x="665768" y="2215530"/>
                  </a:lnTo>
                  <a:lnTo>
                    <a:pt x="657479" y="2220464"/>
                  </a:lnTo>
                  <a:lnTo>
                    <a:pt x="649410" y="2218880"/>
                  </a:lnTo>
                  <a:lnTo>
                    <a:pt x="651213" y="2205958"/>
                  </a:lnTo>
                  <a:lnTo>
                    <a:pt x="655406" y="2204330"/>
                  </a:lnTo>
                  <a:lnTo>
                    <a:pt x="663745" y="2193080"/>
                  </a:lnTo>
                  <a:lnTo>
                    <a:pt x="680323" y="2193080"/>
                  </a:lnTo>
                  <a:lnTo>
                    <a:pt x="686589" y="2188146"/>
                  </a:lnTo>
                  <a:lnTo>
                    <a:pt x="684517" y="2180103"/>
                  </a:lnTo>
                  <a:lnTo>
                    <a:pt x="690734" y="2168804"/>
                  </a:lnTo>
                  <a:lnTo>
                    <a:pt x="688662" y="2160762"/>
                  </a:lnTo>
                  <a:lnTo>
                    <a:pt x="678300" y="2154298"/>
                  </a:lnTo>
                  <a:lnTo>
                    <a:pt x="680323" y="2139792"/>
                  </a:lnTo>
                  <a:lnTo>
                    <a:pt x="688662" y="2139792"/>
                  </a:lnTo>
                  <a:lnTo>
                    <a:pt x="692856" y="2131750"/>
                  </a:lnTo>
                  <a:lnTo>
                    <a:pt x="692856" y="2123658"/>
                  </a:lnTo>
                  <a:lnTo>
                    <a:pt x="688662" y="2122079"/>
                  </a:lnTo>
                  <a:lnTo>
                    <a:pt x="684517" y="2113987"/>
                  </a:lnTo>
                  <a:lnTo>
                    <a:pt x="680323" y="2118921"/>
                  </a:lnTo>
                  <a:lnTo>
                    <a:pt x="669962" y="2117244"/>
                  </a:lnTo>
                  <a:lnTo>
                    <a:pt x="659551" y="2112310"/>
                  </a:lnTo>
                  <a:lnTo>
                    <a:pt x="651213" y="2113889"/>
                  </a:lnTo>
                  <a:lnTo>
                    <a:pt x="644996" y="2110682"/>
                  </a:lnTo>
                  <a:lnTo>
                    <a:pt x="634634" y="2109053"/>
                  </a:lnTo>
                  <a:lnTo>
                    <a:pt x="622102" y="2107474"/>
                  </a:lnTo>
                  <a:lnTo>
                    <a:pt x="617957" y="2110682"/>
                  </a:lnTo>
                  <a:lnTo>
                    <a:pt x="613812" y="2105748"/>
                  </a:lnTo>
                  <a:lnTo>
                    <a:pt x="603401" y="2099284"/>
                  </a:lnTo>
                  <a:lnTo>
                    <a:pt x="596149" y="2086505"/>
                  </a:lnTo>
                  <a:lnTo>
                    <a:pt x="589882" y="2086505"/>
                  </a:lnTo>
                  <a:lnTo>
                    <a:pt x="577448" y="2094547"/>
                  </a:lnTo>
                  <a:lnTo>
                    <a:pt x="571182" y="2092968"/>
                  </a:lnTo>
                  <a:lnTo>
                    <a:pt x="562893" y="2094547"/>
                  </a:lnTo>
                  <a:lnTo>
                    <a:pt x="552482" y="2091340"/>
                  </a:lnTo>
                  <a:lnTo>
                    <a:pt x="546216" y="2096274"/>
                  </a:lnTo>
                  <a:lnTo>
                    <a:pt x="529588" y="2083396"/>
                  </a:lnTo>
                  <a:lnTo>
                    <a:pt x="525444" y="2073528"/>
                  </a:lnTo>
                  <a:lnTo>
                    <a:pt x="525444" y="2065486"/>
                  </a:lnTo>
                  <a:lnTo>
                    <a:pt x="519227" y="2063808"/>
                  </a:lnTo>
                  <a:lnTo>
                    <a:pt x="517155" y="2057394"/>
                  </a:lnTo>
                  <a:lnTo>
                    <a:pt x="510888" y="2052460"/>
                  </a:lnTo>
                  <a:lnTo>
                    <a:pt x="490116" y="2054039"/>
                  </a:lnTo>
                  <a:lnTo>
                    <a:pt x="479705" y="2042789"/>
                  </a:lnTo>
                  <a:lnTo>
                    <a:pt x="483850" y="2036326"/>
                  </a:lnTo>
                  <a:lnTo>
                    <a:pt x="477633" y="2031392"/>
                  </a:lnTo>
                  <a:lnTo>
                    <a:pt x="471367" y="2016885"/>
                  </a:lnTo>
                  <a:lnTo>
                    <a:pt x="462930" y="2016885"/>
                  </a:lnTo>
                  <a:lnTo>
                    <a:pt x="454591" y="2020093"/>
                  </a:lnTo>
                  <a:lnTo>
                    <a:pt x="435891" y="2020093"/>
                  </a:lnTo>
                  <a:lnTo>
                    <a:pt x="417142" y="2015159"/>
                  </a:lnTo>
                  <a:lnTo>
                    <a:pt x="412997" y="2020093"/>
                  </a:lnTo>
                  <a:lnTo>
                    <a:pt x="412997" y="2026556"/>
                  </a:lnTo>
                  <a:lnTo>
                    <a:pt x="404708" y="2028184"/>
                  </a:lnTo>
                  <a:lnTo>
                    <a:pt x="398442" y="2026556"/>
                  </a:lnTo>
                  <a:lnTo>
                    <a:pt x="398442" y="2018514"/>
                  </a:lnTo>
                  <a:lnTo>
                    <a:pt x="390153" y="2010422"/>
                  </a:lnTo>
                  <a:lnTo>
                    <a:pt x="392225" y="2002379"/>
                  </a:lnTo>
                  <a:lnTo>
                    <a:pt x="383886" y="1992511"/>
                  </a:lnTo>
                  <a:lnTo>
                    <a:pt x="383886" y="1984864"/>
                  </a:lnTo>
                  <a:lnTo>
                    <a:pt x="386008" y="1979930"/>
                  </a:lnTo>
                  <a:lnTo>
                    <a:pt x="394297" y="1986344"/>
                  </a:lnTo>
                  <a:lnTo>
                    <a:pt x="412997" y="1983137"/>
                  </a:lnTo>
                  <a:lnTo>
                    <a:pt x="421335" y="1973269"/>
                  </a:lnTo>
                  <a:lnTo>
                    <a:pt x="425480" y="1970062"/>
                  </a:lnTo>
                  <a:lnTo>
                    <a:pt x="415119" y="1965127"/>
                  </a:lnTo>
                  <a:lnTo>
                    <a:pt x="415119" y="1958664"/>
                  </a:lnTo>
                  <a:lnTo>
                    <a:pt x="400317" y="1949042"/>
                  </a:lnTo>
                  <a:lnTo>
                    <a:pt x="387784" y="1945786"/>
                  </a:lnTo>
                  <a:lnTo>
                    <a:pt x="385761" y="1935918"/>
                  </a:lnTo>
                  <a:lnTo>
                    <a:pt x="377423" y="1930984"/>
                  </a:lnTo>
                  <a:lnTo>
                    <a:pt x="369084" y="1919685"/>
                  </a:lnTo>
                  <a:lnTo>
                    <a:pt x="364940" y="1911643"/>
                  </a:lnTo>
                  <a:lnTo>
                    <a:pt x="356650" y="1903551"/>
                  </a:lnTo>
                  <a:lnTo>
                    <a:pt x="356650" y="1893683"/>
                  </a:lnTo>
                  <a:lnTo>
                    <a:pt x="350384" y="1887268"/>
                  </a:lnTo>
                  <a:lnTo>
                    <a:pt x="352456" y="1880805"/>
                  </a:lnTo>
                  <a:lnTo>
                    <a:pt x="350384" y="1872713"/>
                  </a:lnTo>
                  <a:lnTo>
                    <a:pt x="335582" y="1867779"/>
                  </a:lnTo>
                  <a:lnTo>
                    <a:pt x="329711" y="1867779"/>
                  </a:lnTo>
                  <a:lnTo>
                    <a:pt x="325566" y="1862845"/>
                  </a:lnTo>
                  <a:lnTo>
                    <a:pt x="315155" y="1866101"/>
                  </a:lnTo>
                  <a:lnTo>
                    <a:pt x="306866" y="1872516"/>
                  </a:lnTo>
                  <a:lnTo>
                    <a:pt x="300600" y="1861266"/>
                  </a:lnTo>
                  <a:lnTo>
                    <a:pt x="292311" y="1861266"/>
                  </a:lnTo>
                  <a:lnTo>
                    <a:pt x="284021" y="1864473"/>
                  </a:lnTo>
                  <a:lnTo>
                    <a:pt x="275683" y="1854605"/>
                  </a:lnTo>
                  <a:lnTo>
                    <a:pt x="267344" y="1859539"/>
                  </a:lnTo>
                  <a:lnTo>
                    <a:pt x="261127" y="1854605"/>
                  </a:lnTo>
                  <a:lnTo>
                    <a:pt x="259056" y="1856233"/>
                  </a:lnTo>
                  <a:lnTo>
                    <a:pt x="256934" y="1846365"/>
                  </a:lnTo>
                  <a:lnTo>
                    <a:pt x="252789" y="1841431"/>
                  </a:lnTo>
                  <a:lnTo>
                    <a:pt x="248644" y="1831563"/>
                  </a:lnTo>
                  <a:lnTo>
                    <a:pt x="246572" y="1828356"/>
                  </a:lnTo>
                  <a:lnTo>
                    <a:pt x="242378" y="1821942"/>
                  </a:lnTo>
                  <a:lnTo>
                    <a:pt x="242378" y="1817008"/>
                  </a:lnTo>
                  <a:lnTo>
                    <a:pt x="240355" y="1812074"/>
                  </a:lnTo>
                  <a:lnTo>
                    <a:pt x="238233" y="1808817"/>
                  </a:lnTo>
                  <a:lnTo>
                    <a:pt x="238233" y="1800725"/>
                  </a:lnTo>
                  <a:lnTo>
                    <a:pt x="229945" y="1800725"/>
                  </a:lnTo>
                  <a:lnTo>
                    <a:pt x="236162" y="1792683"/>
                  </a:lnTo>
                  <a:lnTo>
                    <a:pt x="236162" y="1787749"/>
                  </a:lnTo>
                  <a:lnTo>
                    <a:pt x="240355" y="1782815"/>
                  </a:lnTo>
                  <a:lnTo>
                    <a:pt x="240355" y="1776351"/>
                  </a:lnTo>
                  <a:lnTo>
                    <a:pt x="223728" y="1750596"/>
                  </a:lnTo>
                  <a:lnTo>
                    <a:pt x="227823" y="1727998"/>
                  </a:lnTo>
                  <a:lnTo>
                    <a:pt x="232017" y="1724791"/>
                  </a:lnTo>
                  <a:lnTo>
                    <a:pt x="234089" y="1716748"/>
                  </a:lnTo>
                  <a:lnTo>
                    <a:pt x="238233" y="1710285"/>
                  </a:lnTo>
                  <a:lnTo>
                    <a:pt x="240355" y="1708656"/>
                  </a:lnTo>
                  <a:lnTo>
                    <a:pt x="240355" y="1707028"/>
                  </a:lnTo>
                  <a:lnTo>
                    <a:pt x="236162" y="1702094"/>
                  </a:lnTo>
                  <a:lnTo>
                    <a:pt x="238233" y="1695680"/>
                  </a:lnTo>
                  <a:lnTo>
                    <a:pt x="236162" y="1690746"/>
                  </a:lnTo>
                  <a:lnTo>
                    <a:pt x="236162" y="1687539"/>
                  </a:lnTo>
                  <a:lnTo>
                    <a:pt x="238233" y="1685960"/>
                  </a:lnTo>
                  <a:lnTo>
                    <a:pt x="242378" y="1690894"/>
                  </a:lnTo>
                  <a:lnTo>
                    <a:pt x="248644" y="1689315"/>
                  </a:lnTo>
                  <a:lnTo>
                    <a:pt x="248644" y="1682851"/>
                  </a:lnTo>
                  <a:lnTo>
                    <a:pt x="250717" y="1681223"/>
                  </a:lnTo>
                  <a:lnTo>
                    <a:pt x="259056" y="1684480"/>
                  </a:lnTo>
                  <a:lnTo>
                    <a:pt x="267344" y="1679546"/>
                  </a:lnTo>
                  <a:lnTo>
                    <a:pt x="269466" y="1673082"/>
                  </a:lnTo>
                  <a:lnTo>
                    <a:pt x="273611" y="1671454"/>
                  </a:lnTo>
                  <a:lnTo>
                    <a:pt x="284021" y="1674710"/>
                  </a:lnTo>
                  <a:lnTo>
                    <a:pt x="288166" y="1669776"/>
                  </a:lnTo>
                  <a:lnTo>
                    <a:pt x="281900" y="1663313"/>
                  </a:lnTo>
                  <a:lnTo>
                    <a:pt x="265568" y="1663313"/>
                  </a:lnTo>
                  <a:lnTo>
                    <a:pt x="261424" y="1658378"/>
                  </a:lnTo>
                  <a:lnTo>
                    <a:pt x="253085" y="1656750"/>
                  </a:lnTo>
                  <a:lnTo>
                    <a:pt x="244796" y="1648708"/>
                  </a:lnTo>
                  <a:lnTo>
                    <a:pt x="244796" y="1645501"/>
                  </a:lnTo>
                  <a:lnTo>
                    <a:pt x="253085" y="1650435"/>
                  </a:lnTo>
                  <a:lnTo>
                    <a:pt x="253085" y="1645501"/>
                  </a:lnTo>
                  <a:lnTo>
                    <a:pt x="251013" y="1642244"/>
                  </a:lnTo>
                  <a:lnTo>
                    <a:pt x="255207" y="1637310"/>
                  </a:lnTo>
                  <a:lnTo>
                    <a:pt x="248941" y="1638939"/>
                  </a:lnTo>
                  <a:cubicBezTo>
                    <a:pt x="245684" y="1640991"/>
                    <a:pt x="242181" y="1642649"/>
                    <a:pt x="238530" y="1643873"/>
                  </a:cubicBezTo>
                  <a:cubicBezTo>
                    <a:pt x="238530" y="1643873"/>
                    <a:pt x="236457" y="1643873"/>
                    <a:pt x="236457" y="1645501"/>
                  </a:cubicBezTo>
                  <a:lnTo>
                    <a:pt x="234385" y="1637409"/>
                  </a:lnTo>
                  <a:lnTo>
                    <a:pt x="251013" y="1622903"/>
                  </a:lnTo>
                  <a:lnTo>
                    <a:pt x="259351" y="1619646"/>
                  </a:lnTo>
                  <a:lnTo>
                    <a:pt x="269762" y="1605190"/>
                  </a:lnTo>
                  <a:lnTo>
                    <a:pt x="280123" y="1592262"/>
                  </a:lnTo>
                  <a:lnTo>
                    <a:pt x="288462" y="1576178"/>
                  </a:lnTo>
                  <a:lnTo>
                    <a:pt x="303264" y="1555159"/>
                  </a:lnTo>
                  <a:lnTo>
                    <a:pt x="313675" y="1534238"/>
                  </a:lnTo>
                  <a:lnTo>
                    <a:pt x="309481" y="1524370"/>
                  </a:lnTo>
                  <a:lnTo>
                    <a:pt x="294679" y="1508285"/>
                  </a:lnTo>
                  <a:lnTo>
                    <a:pt x="284318" y="1506657"/>
                  </a:lnTo>
                  <a:lnTo>
                    <a:pt x="267641" y="1485687"/>
                  </a:lnTo>
                  <a:lnTo>
                    <a:pt x="271785" y="1477645"/>
                  </a:lnTo>
                  <a:lnTo>
                    <a:pt x="278051" y="1469553"/>
                  </a:lnTo>
                  <a:lnTo>
                    <a:pt x="278051" y="1459685"/>
                  </a:lnTo>
                  <a:lnTo>
                    <a:pt x="265568" y="1453271"/>
                  </a:lnTo>
                  <a:lnTo>
                    <a:pt x="263496" y="1445179"/>
                  </a:lnTo>
                  <a:lnTo>
                    <a:pt x="261424" y="1433929"/>
                  </a:lnTo>
                  <a:lnTo>
                    <a:pt x="265568" y="1432301"/>
                  </a:lnTo>
                  <a:lnTo>
                    <a:pt x="261424" y="1425838"/>
                  </a:lnTo>
                  <a:lnTo>
                    <a:pt x="253085" y="1424259"/>
                  </a:lnTo>
                  <a:lnTo>
                    <a:pt x="248941" y="1419325"/>
                  </a:lnTo>
                  <a:lnTo>
                    <a:pt x="248941" y="1409457"/>
                  </a:lnTo>
                  <a:lnTo>
                    <a:pt x="253085" y="1402993"/>
                  </a:lnTo>
                  <a:lnTo>
                    <a:pt x="246868" y="1401365"/>
                  </a:lnTo>
                  <a:lnTo>
                    <a:pt x="246868" y="1375609"/>
                  </a:lnTo>
                  <a:lnTo>
                    <a:pt x="253085" y="1375609"/>
                  </a:lnTo>
                  <a:lnTo>
                    <a:pt x="238283" y="1343340"/>
                  </a:lnTo>
                  <a:lnTo>
                    <a:pt x="223777" y="1319114"/>
                  </a:lnTo>
                  <a:lnTo>
                    <a:pt x="219583" y="1311072"/>
                  </a:lnTo>
                  <a:lnTo>
                    <a:pt x="211294" y="1303029"/>
                  </a:lnTo>
                  <a:lnTo>
                    <a:pt x="217511" y="1288523"/>
                  </a:lnTo>
                  <a:lnTo>
                    <a:pt x="223777" y="1278655"/>
                  </a:lnTo>
                  <a:lnTo>
                    <a:pt x="227872" y="1268787"/>
                  </a:lnTo>
                  <a:lnTo>
                    <a:pt x="223777" y="1265580"/>
                  </a:lnTo>
                  <a:lnTo>
                    <a:pt x="207100" y="1255712"/>
                  </a:lnTo>
                  <a:lnTo>
                    <a:pt x="205027" y="1250778"/>
                  </a:lnTo>
                  <a:lnTo>
                    <a:pt x="198761" y="1242735"/>
                  </a:lnTo>
                  <a:lnTo>
                    <a:pt x="188400" y="1237801"/>
                  </a:lnTo>
                  <a:lnTo>
                    <a:pt x="184255" y="1237801"/>
                  </a:lnTo>
                  <a:lnTo>
                    <a:pt x="177989" y="1223246"/>
                  </a:lnTo>
                  <a:lnTo>
                    <a:pt x="173845" y="1218312"/>
                  </a:lnTo>
                  <a:lnTo>
                    <a:pt x="175917" y="1207013"/>
                  </a:lnTo>
                  <a:lnTo>
                    <a:pt x="177989" y="1198921"/>
                  </a:lnTo>
                  <a:lnTo>
                    <a:pt x="171772" y="1197342"/>
                  </a:lnTo>
                  <a:lnTo>
                    <a:pt x="177989" y="1194135"/>
                  </a:lnTo>
                  <a:lnTo>
                    <a:pt x="186327" y="1190879"/>
                  </a:lnTo>
                  <a:lnTo>
                    <a:pt x="190472" y="1190879"/>
                  </a:lnTo>
                  <a:lnTo>
                    <a:pt x="190472" y="1183576"/>
                  </a:lnTo>
                  <a:lnTo>
                    <a:pt x="200883" y="1175534"/>
                  </a:lnTo>
                  <a:lnTo>
                    <a:pt x="209221" y="1173906"/>
                  </a:lnTo>
                  <a:lnTo>
                    <a:pt x="215438" y="1167491"/>
                  </a:lnTo>
                  <a:lnTo>
                    <a:pt x="213317" y="1159400"/>
                  </a:lnTo>
                  <a:lnTo>
                    <a:pt x="219583" y="1159400"/>
                  </a:lnTo>
                  <a:lnTo>
                    <a:pt x="227872" y="1161028"/>
                  </a:lnTo>
                  <a:lnTo>
                    <a:pt x="232066" y="1156094"/>
                  </a:lnTo>
                  <a:lnTo>
                    <a:pt x="232066" y="1149680"/>
                  </a:lnTo>
                  <a:lnTo>
                    <a:pt x="240405" y="1151308"/>
                  </a:lnTo>
                  <a:lnTo>
                    <a:pt x="242428" y="1152887"/>
                  </a:lnTo>
                  <a:lnTo>
                    <a:pt x="242428" y="1159350"/>
                  </a:lnTo>
                  <a:lnTo>
                    <a:pt x="244549" y="1162557"/>
                  </a:lnTo>
                  <a:lnTo>
                    <a:pt x="246622" y="1154515"/>
                  </a:lnTo>
                  <a:lnTo>
                    <a:pt x="248694" y="1151308"/>
                  </a:lnTo>
                  <a:lnTo>
                    <a:pt x="254960" y="1151308"/>
                  </a:lnTo>
                  <a:lnTo>
                    <a:pt x="256983" y="1149680"/>
                  </a:lnTo>
                  <a:lnTo>
                    <a:pt x="250766" y="1146472"/>
                  </a:lnTo>
                  <a:lnTo>
                    <a:pt x="250766" y="1144844"/>
                  </a:lnTo>
                  <a:lnTo>
                    <a:pt x="259104" y="1144844"/>
                  </a:lnTo>
                  <a:lnTo>
                    <a:pt x="259104" y="1141637"/>
                  </a:lnTo>
                  <a:lnTo>
                    <a:pt x="256983" y="1141637"/>
                  </a:lnTo>
                  <a:lnTo>
                    <a:pt x="254960" y="1138381"/>
                  </a:lnTo>
                  <a:lnTo>
                    <a:pt x="256983" y="1135174"/>
                  </a:lnTo>
                  <a:lnTo>
                    <a:pt x="263249" y="1136802"/>
                  </a:lnTo>
                  <a:lnTo>
                    <a:pt x="269516" y="1140009"/>
                  </a:lnTo>
                  <a:lnTo>
                    <a:pt x="273660" y="1143216"/>
                  </a:lnTo>
                  <a:lnTo>
                    <a:pt x="277805" y="1146472"/>
                  </a:lnTo>
                  <a:lnTo>
                    <a:pt x="281949" y="1144844"/>
                  </a:lnTo>
                  <a:lnTo>
                    <a:pt x="286094" y="1146472"/>
                  </a:lnTo>
                  <a:lnTo>
                    <a:pt x="288215" y="1148051"/>
                  </a:lnTo>
                  <a:lnTo>
                    <a:pt x="292360" y="1151308"/>
                  </a:lnTo>
                  <a:lnTo>
                    <a:pt x="292360" y="1154515"/>
                  </a:lnTo>
                  <a:lnTo>
                    <a:pt x="286094" y="1157771"/>
                  </a:lnTo>
                  <a:lnTo>
                    <a:pt x="281949" y="1156094"/>
                  </a:lnTo>
                  <a:lnTo>
                    <a:pt x="273660" y="1157771"/>
                  </a:lnTo>
                  <a:lnTo>
                    <a:pt x="267394" y="1152837"/>
                  </a:lnTo>
                  <a:lnTo>
                    <a:pt x="267394" y="1147903"/>
                  </a:lnTo>
                  <a:lnTo>
                    <a:pt x="263249" y="1152837"/>
                  </a:lnTo>
                  <a:lnTo>
                    <a:pt x="263249" y="1159301"/>
                  </a:lnTo>
                  <a:lnTo>
                    <a:pt x="265321" y="1164235"/>
                  </a:lnTo>
                  <a:lnTo>
                    <a:pt x="269516" y="1161028"/>
                  </a:lnTo>
                  <a:lnTo>
                    <a:pt x="273660" y="1162607"/>
                  </a:lnTo>
                  <a:lnTo>
                    <a:pt x="275733" y="1167541"/>
                  </a:lnTo>
                  <a:lnTo>
                    <a:pt x="279877" y="1164284"/>
                  </a:lnTo>
                  <a:lnTo>
                    <a:pt x="286094" y="1165912"/>
                  </a:lnTo>
                  <a:lnTo>
                    <a:pt x="286094" y="1170847"/>
                  </a:lnTo>
                  <a:lnTo>
                    <a:pt x="288215" y="1169218"/>
                  </a:lnTo>
                  <a:lnTo>
                    <a:pt x="292360" y="1166011"/>
                  </a:lnTo>
                  <a:lnTo>
                    <a:pt x="294432" y="1167639"/>
                  </a:lnTo>
                  <a:lnTo>
                    <a:pt x="292360" y="1170847"/>
                  </a:lnTo>
                  <a:lnTo>
                    <a:pt x="292360" y="1174054"/>
                  </a:lnTo>
                  <a:lnTo>
                    <a:pt x="298626" y="1167639"/>
                  </a:lnTo>
                  <a:lnTo>
                    <a:pt x="302771" y="1164383"/>
                  </a:lnTo>
                  <a:lnTo>
                    <a:pt x="304843" y="1166011"/>
                  </a:lnTo>
                  <a:lnTo>
                    <a:pt x="302771" y="1169218"/>
                  </a:lnTo>
                  <a:lnTo>
                    <a:pt x="302771" y="1172425"/>
                  </a:lnTo>
                  <a:lnTo>
                    <a:pt x="306915" y="1172425"/>
                  </a:lnTo>
                  <a:lnTo>
                    <a:pt x="311060" y="1174054"/>
                  </a:lnTo>
                  <a:lnTo>
                    <a:pt x="304843" y="1177310"/>
                  </a:lnTo>
                  <a:lnTo>
                    <a:pt x="300649" y="1183724"/>
                  </a:lnTo>
                  <a:lnTo>
                    <a:pt x="308988" y="1182146"/>
                  </a:lnTo>
                  <a:lnTo>
                    <a:pt x="313182" y="1174054"/>
                  </a:lnTo>
                  <a:lnTo>
                    <a:pt x="313182" y="1170748"/>
                  </a:lnTo>
                  <a:lnTo>
                    <a:pt x="315205" y="1169120"/>
                  </a:lnTo>
                  <a:lnTo>
                    <a:pt x="321471" y="1167541"/>
                  </a:lnTo>
                  <a:lnTo>
                    <a:pt x="327737" y="1170748"/>
                  </a:lnTo>
                  <a:lnTo>
                    <a:pt x="327737" y="1167541"/>
                  </a:lnTo>
                  <a:lnTo>
                    <a:pt x="323543" y="1164284"/>
                  </a:lnTo>
                  <a:lnTo>
                    <a:pt x="325616" y="1162656"/>
                  </a:lnTo>
                  <a:lnTo>
                    <a:pt x="331881" y="1164284"/>
                  </a:lnTo>
                  <a:lnTo>
                    <a:pt x="336026" y="1169218"/>
                  </a:lnTo>
                  <a:lnTo>
                    <a:pt x="346437" y="1170847"/>
                  </a:lnTo>
                  <a:lnTo>
                    <a:pt x="354726" y="1172425"/>
                  </a:lnTo>
                  <a:lnTo>
                    <a:pt x="358871" y="1170847"/>
                  </a:lnTo>
                  <a:lnTo>
                    <a:pt x="358871" y="1167639"/>
                  </a:lnTo>
                  <a:lnTo>
                    <a:pt x="367209" y="1169218"/>
                  </a:lnTo>
                  <a:lnTo>
                    <a:pt x="375548" y="1172425"/>
                  </a:lnTo>
                  <a:lnTo>
                    <a:pt x="375548" y="1170748"/>
                  </a:lnTo>
                  <a:lnTo>
                    <a:pt x="383837" y="1172327"/>
                  </a:lnTo>
                  <a:lnTo>
                    <a:pt x="421287" y="1190089"/>
                  </a:lnTo>
                  <a:lnTo>
                    <a:pt x="446253" y="1204595"/>
                  </a:lnTo>
                  <a:lnTo>
                    <a:pt x="450397" y="1209529"/>
                  </a:lnTo>
                  <a:lnTo>
                    <a:pt x="458736" y="1211158"/>
                  </a:lnTo>
                  <a:lnTo>
                    <a:pt x="467025" y="1222457"/>
                  </a:lnTo>
                  <a:lnTo>
                    <a:pt x="471170" y="1222457"/>
                  </a:lnTo>
                  <a:lnTo>
                    <a:pt x="471170" y="1217523"/>
                  </a:lnTo>
                  <a:lnTo>
                    <a:pt x="473291" y="1217523"/>
                  </a:lnTo>
                  <a:lnTo>
                    <a:pt x="483652" y="1225614"/>
                  </a:lnTo>
                  <a:lnTo>
                    <a:pt x="489919" y="1225614"/>
                  </a:lnTo>
                  <a:lnTo>
                    <a:pt x="498208" y="1232078"/>
                  </a:lnTo>
                  <a:lnTo>
                    <a:pt x="504474" y="1230450"/>
                  </a:lnTo>
                  <a:lnTo>
                    <a:pt x="498208" y="1223986"/>
                  </a:lnTo>
                  <a:lnTo>
                    <a:pt x="496136" y="1220779"/>
                  </a:lnTo>
                  <a:lnTo>
                    <a:pt x="500280" y="1220779"/>
                  </a:lnTo>
                  <a:lnTo>
                    <a:pt x="508619" y="1227193"/>
                  </a:lnTo>
                  <a:lnTo>
                    <a:pt x="508619" y="1232127"/>
                  </a:lnTo>
                  <a:lnTo>
                    <a:pt x="521053" y="1241995"/>
                  </a:lnTo>
                  <a:lnTo>
                    <a:pt x="521053" y="1244758"/>
                  </a:lnTo>
                  <a:lnTo>
                    <a:pt x="529391" y="1247966"/>
                  </a:lnTo>
                  <a:lnTo>
                    <a:pt x="531513" y="1246387"/>
                  </a:lnTo>
                  <a:lnTo>
                    <a:pt x="537730" y="1246387"/>
                  </a:lnTo>
                  <a:lnTo>
                    <a:pt x="543947" y="1254429"/>
                  </a:lnTo>
                  <a:lnTo>
                    <a:pt x="548140" y="1260893"/>
                  </a:lnTo>
                  <a:lnTo>
                    <a:pt x="552285" y="1264100"/>
                  </a:lnTo>
                  <a:lnTo>
                    <a:pt x="558502" y="1272142"/>
                  </a:lnTo>
                  <a:lnTo>
                    <a:pt x="560574" y="1270563"/>
                  </a:lnTo>
                  <a:lnTo>
                    <a:pt x="562696" y="1273771"/>
                  </a:lnTo>
                  <a:lnTo>
                    <a:pt x="562696" y="1296368"/>
                  </a:lnTo>
                  <a:lnTo>
                    <a:pt x="558502" y="1301302"/>
                  </a:lnTo>
                  <a:lnTo>
                    <a:pt x="558502" y="1306236"/>
                  </a:lnTo>
                  <a:lnTo>
                    <a:pt x="552285" y="1314279"/>
                  </a:lnTo>
                  <a:lnTo>
                    <a:pt x="550164" y="1319213"/>
                  </a:lnTo>
                  <a:lnTo>
                    <a:pt x="535362" y="1335347"/>
                  </a:lnTo>
                  <a:lnTo>
                    <a:pt x="527072" y="1340281"/>
                  </a:lnTo>
                  <a:lnTo>
                    <a:pt x="514589" y="1341910"/>
                  </a:lnTo>
                  <a:lnTo>
                    <a:pt x="510444" y="1345117"/>
                  </a:lnTo>
                  <a:lnTo>
                    <a:pt x="497961" y="1345117"/>
                  </a:lnTo>
                  <a:lnTo>
                    <a:pt x="495889" y="1348373"/>
                  </a:lnTo>
                  <a:lnTo>
                    <a:pt x="481087" y="1349952"/>
                  </a:lnTo>
                  <a:lnTo>
                    <a:pt x="460314" y="1348373"/>
                  </a:lnTo>
                  <a:lnTo>
                    <a:pt x="447831" y="1345117"/>
                  </a:lnTo>
                  <a:lnTo>
                    <a:pt x="439493" y="1340183"/>
                  </a:lnTo>
                  <a:lnTo>
                    <a:pt x="433276" y="1343390"/>
                  </a:lnTo>
                  <a:lnTo>
                    <a:pt x="427010" y="1341811"/>
                  </a:lnTo>
                  <a:lnTo>
                    <a:pt x="418721" y="1341811"/>
                  </a:lnTo>
                  <a:lnTo>
                    <a:pt x="416599" y="1338554"/>
                  </a:lnTo>
                  <a:lnTo>
                    <a:pt x="410382" y="1336926"/>
                  </a:lnTo>
                  <a:lnTo>
                    <a:pt x="404165" y="1340183"/>
                  </a:lnTo>
                  <a:lnTo>
                    <a:pt x="395827" y="1332140"/>
                  </a:lnTo>
                  <a:lnTo>
                    <a:pt x="395827" y="1328637"/>
                  </a:lnTo>
                  <a:lnTo>
                    <a:pt x="389610" y="1330265"/>
                  </a:lnTo>
                  <a:lnTo>
                    <a:pt x="383985" y="1328637"/>
                  </a:lnTo>
                  <a:lnTo>
                    <a:pt x="386107" y="1327058"/>
                  </a:lnTo>
                  <a:lnTo>
                    <a:pt x="375696" y="1327058"/>
                  </a:lnTo>
                  <a:lnTo>
                    <a:pt x="371551" y="1330265"/>
                  </a:lnTo>
                  <a:lnTo>
                    <a:pt x="365285" y="1330265"/>
                  </a:lnTo>
                  <a:lnTo>
                    <a:pt x="365285" y="1327058"/>
                  </a:lnTo>
                  <a:lnTo>
                    <a:pt x="361140" y="1325430"/>
                  </a:lnTo>
                  <a:lnTo>
                    <a:pt x="367357" y="1322173"/>
                  </a:lnTo>
                  <a:lnTo>
                    <a:pt x="361140" y="1317239"/>
                  </a:lnTo>
                  <a:lnTo>
                    <a:pt x="361140" y="1320447"/>
                  </a:lnTo>
                  <a:lnTo>
                    <a:pt x="348657" y="1320447"/>
                  </a:lnTo>
                  <a:lnTo>
                    <a:pt x="340319" y="1315512"/>
                  </a:lnTo>
                  <a:lnTo>
                    <a:pt x="340319" y="1317141"/>
                  </a:lnTo>
                  <a:lnTo>
                    <a:pt x="334102" y="1317141"/>
                  </a:lnTo>
                  <a:lnTo>
                    <a:pt x="319546" y="1305842"/>
                  </a:lnTo>
                  <a:lnTo>
                    <a:pt x="317474" y="1300908"/>
                  </a:lnTo>
                  <a:lnTo>
                    <a:pt x="309136" y="1299279"/>
                  </a:lnTo>
                  <a:lnTo>
                    <a:pt x="307064" y="1297651"/>
                  </a:lnTo>
                  <a:lnTo>
                    <a:pt x="300797" y="1297651"/>
                  </a:lnTo>
                  <a:lnTo>
                    <a:pt x="298774" y="1299279"/>
                  </a:lnTo>
                  <a:lnTo>
                    <a:pt x="307064" y="1304213"/>
                  </a:lnTo>
                  <a:lnTo>
                    <a:pt x="307064" y="1314082"/>
                  </a:lnTo>
                  <a:lnTo>
                    <a:pt x="317474" y="1319016"/>
                  </a:lnTo>
                  <a:lnTo>
                    <a:pt x="317474" y="1322223"/>
                  </a:lnTo>
                  <a:lnTo>
                    <a:pt x="329908" y="1325479"/>
                  </a:lnTo>
                  <a:lnTo>
                    <a:pt x="332030" y="1327107"/>
                  </a:lnTo>
                  <a:lnTo>
                    <a:pt x="323691" y="1330315"/>
                  </a:lnTo>
                  <a:lnTo>
                    <a:pt x="321619" y="1333522"/>
                  </a:lnTo>
                  <a:lnTo>
                    <a:pt x="321619" y="1335150"/>
                  </a:lnTo>
                  <a:lnTo>
                    <a:pt x="334102" y="1333522"/>
                  </a:lnTo>
                  <a:lnTo>
                    <a:pt x="338246" y="1330315"/>
                  </a:lnTo>
                  <a:lnTo>
                    <a:pt x="344463" y="1333522"/>
                  </a:lnTo>
                  <a:lnTo>
                    <a:pt x="338246" y="1335150"/>
                  </a:lnTo>
                  <a:lnTo>
                    <a:pt x="338246" y="1336729"/>
                  </a:lnTo>
                  <a:lnTo>
                    <a:pt x="346585" y="1338357"/>
                  </a:lnTo>
                  <a:lnTo>
                    <a:pt x="344463" y="1341614"/>
                  </a:lnTo>
                  <a:lnTo>
                    <a:pt x="338246" y="1343192"/>
                  </a:lnTo>
                  <a:lnTo>
                    <a:pt x="334102" y="1346449"/>
                  </a:lnTo>
                  <a:lnTo>
                    <a:pt x="342440" y="1348077"/>
                  </a:lnTo>
                  <a:lnTo>
                    <a:pt x="346585" y="1346449"/>
                  </a:lnTo>
                  <a:lnTo>
                    <a:pt x="352802" y="1346449"/>
                  </a:lnTo>
                  <a:lnTo>
                    <a:pt x="354874" y="1349656"/>
                  </a:lnTo>
                  <a:lnTo>
                    <a:pt x="359019" y="1346449"/>
                  </a:lnTo>
                  <a:lnTo>
                    <a:pt x="375696" y="1352863"/>
                  </a:lnTo>
                  <a:lnTo>
                    <a:pt x="383985" y="1360955"/>
                  </a:lnTo>
                  <a:lnTo>
                    <a:pt x="388129" y="1362583"/>
                  </a:lnTo>
                  <a:lnTo>
                    <a:pt x="386107" y="1365790"/>
                  </a:lnTo>
                  <a:lnTo>
                    <a:pt x="383985" y="1370724"/>
                  </a:lnTo>
                  <a:lnTo>
                    <a:pt x="388129" y="1370724"/>
                  </a:lnTo>
                  <a:lnTo>
                    <a:pt x="388129" y="1377139"/>
                  </a:lnTo>
                  <a:lnTo>
                    <a:pt x="386107" y="1387007"/>
                  </a:lnTo>
                  <a:lnTo>
                    <a:pt x="381913" y="1388635"/>
                  </a:lnTo>
                  <a:lnTo>
                    <a:pt x="379841" y="1393569"/>
                  </a:lnTo>
                  <a:lnTo>
                    <a:pt x="386107" y="1395197"/>
                  </a:lnTo>
                  <a:lnTo>
                    <a:pt x="386107" y="1403289"/>
                  </a:lnTo>
                  <a:lnTo>
                    <a:pt x="396468" y="1411331"/>
                  </a:lnTo>
                  <a:lnTo>
                    <a:pt x="396468" y="1416266"/>
                  </a:lnTo>
                  <a:lnTo>
                    <a:pt x="402685" y="1421200"/>
                  </a:lnTo>
                  <a:lnTo>
                    <a:pt x="402685" y="1426134"/>
                  </a:lnTo>
                  <a:lnTo>
                    <a:pt x="404807" y="1434225"/>
                  </a:lnTo>
                  <a:lnTo>
                    <a:pt x="400662" y="1439159"/>
                  </a:lnTo>
                  <a:lnTo>
                    <a:pt x="404807" y="1442416"/>
                  </a:lnTo>
                  <a:lnTo>
                    <a:pt x="408952" y="1447350"/>
                  </a:lnTo>
                  <a:lnTo>
                    <a:pt x="421434" y="1452284"/>
                  </a:lnTo>
                  <a:lnTo>
                    <a:pt x="429773" y="1447350"/>
                  </a:lnTo>
                  <a:lnTo>
                    <a:pt x="431845" y="1447350"/>
                  </a:lnTo>
                  <a:lnTo>
                    <a:pt x="435990" y="1453813"/>
                  </a:lnTo>
                  <a:lnTo>
                    <a:pt x="442207" y="1457021"/>
                  </a:lnTo>
                  <a:lnTo>
                    <a:pt x="444328" y="1463435"/>
                  </a:lnTo>
                  <a:lnTo>
                    <a:pt x="446401" y="1466691"/>
                  </a:lnTo>
                  <a:lnTo>
                    <a:pt x="458884" y="1466691"/>
                  </a:lnTo>
                  <a:lnTo>
                    <a:pt x="463028" y="1469898"/>
                  </a:lnTo>
                  <a:lnTo>
                    <a:pt x="473439" y="1469898"/>
                  </a:lnTo>
                  <a:lnTo>
                    <a:pt x="479656" y="1474832"/>
                  </a:lnTo>
                  <a:lnTo>
                    <a:pt x="483800" y="1474832"/>
                  </a:lnTo>
                  <a:lnTo>
                    <a:pt x="492139" y="1468369"/>
                  </a:lnTo>
                  <a:lnTo>
                    <a:pt x="496284" y="1468369"/>
                  </a:lnTo>
                  <a:lnTo>
                    <a:pt x="502550" y="1466741"/>
                  </a:lnTo>
                  <a:lnTo>
                    <a:pt x="502550" y="1456873"/>
                  </a:lnTo>
                  <a:lnTo>
                    <a:pt x="496284" y="1451938"/>
                  </a:lnTo>
                  <a:lnTo>
                    <a:pt x="498356" y="1448682"/>
                  </a:lnTo>
                  <a:lnTo>
                    <a:pt x="498356" y="1447103"/>
                  </a:lnTo>
                  <a:lnTo>
                    <a:pt x="490067" y="1443896"/>
                  </a:lnTo>
                  <a:lnTo>
                    <a:pt x="490067" y="1438962"/>
                  </a:lnTo>
                  <a:lnTo>
                    <a:pt x="483800" y="1442218"/>
                  </a:lnTo>
                  <a:lnTo>
                    <a:pt x="479656" y="1442218"/>
                  </a:lnTo>
                  <a:lnTo>
                    <a:pt x="473439" y="1445426"/>
                  </a:lnTo>
                  <a:lnTo>
                    <a:pt x="465100" y="1440492"/>
                  </a:lnTo>
                  <a:lnTo>
                    <a:pt x="458884" y="1434077"/>
                  </a:lnTo>
                  <a:lnTo>
                    <a:pt x="448473" y="1429143"/>
                  </a:lnTo>
                  <a:lnTo>
                    <a:pt x="446401" y="1422729"/>
                  </a:lnTo>
                  <a:lnTo>
                    <a:pt x="442207" y="1414637"/>
                  </a:lnTo>
                  <a:lnTo>
                    <a:pt x="448473" y="1414637"/>
                  </a:lnTo>
                  <a:lnTo>
                    <a:pt x="452618" y="1411430"/>
                  </a:lnTo>
                  <a:lnTo>
                    <a:pt x="450545" y="1408174"/>
                  </a:lnTo>
                  <a:lnTo>
                    <a:pt x="452618" y="1404967"/>
                  </a:lnTo>
                  <a:lnTo>
                    <a:pt x="450545" y="1400033"/>
                  </a:lnTo>
                  <a:lnTo>
                    <a:pt x="452618" y="1396825"/>
                  </a:lnTo>
                  <a:lnTo>
                    <a:pt x="460956" y="1396825"/>
                  </a:lnTo>
                  <a:lnTo>
                    <a:pt x="469245" y="1400033"/>
                  </a:lnTo>
                  <a:lnTo>
                    <a:pt x="477584" y="1401611"/>
                  </a:lnTo>
                  <a:lnTo>
                    <a:pt x="483800" y="1408075"/>
                  </a:lnTo>
                  <a:lnTo>
                    <a:pt x="490067" y="1413009"/>
                  </a:lnTo>
                  <a:lnTo>
                    <a:pt x="502550" y="1414588"/>
                  </a:lnTo>
                  <a:lnTo>
                    <a:pt x="504622" y="1417844"/>
                  </a:lnTo>
                  <a:lnTo>
                    <a:pt x="512911" y="1419473"/>
                  </a:lnTo>
                  <a:lnTo>
                    <a:pt x="535756" y="1427515"/>
                  </a:lnTo>
                  <a:lnTo>
                    <a:pt x="544094" y="1435558"/>
                  </a:lnTo>
                  <a:lnTo>
                    <a:pt x="548289" y="1430624"/>
                  </a:lnTo>
                  <a:lnTo>
                    <a:pt x="554506" y="1425690"/>
                  </a:lnTo>
                  <a:lnTo>
                    <a:pt x="554506" y="1419275"/>
                  </a:lnTo>
                  <a:lnTo>
                    <a:pt x="560722" y="1419275"/>
                  </a:lnTo>
                  <a:lnTo>
                    <a:pt x="564867" y="1414341"/>
                  </a:lnTo>
                  <a:lnTo>
                    <a:pt x="556577" y="1401414"/>
                  </a:lnTo>
                  <a:lnTo>
                    <a:pt x="539950" y="1388586"/>
                  </a:lnTo>
                  <a:lnTo>
                    <a:pt x="535756" y="1378717"/>
                  </a:lnTo>
                  <a:lnTo>
                    <a:pt x="537877" y="1373783"/>
                  </a:lnTo>
                  <a:lnTo>
                    <a:pt x="548289" y="1365741"/>
                  </a:lnTo>
                  <a:lnTo>
                    <a:pt x="554506" y="1357699"/>
                  </a:lnTo>
                  <a:lnTo>
                    <a:pt x="556577" y="1349607"/>
                  </a:lnTo>
                  <a:lnTo>
                    <a:pt x="562844" y="1344673"/>
                  </a:lnTo>
                  <a:lnTo>
                    <a:pt x="571133" y="1343044"/>
                  </a:lnTo>
                  <a:lnTo>
                    <a:pt x="583616" y="1335002"/>
                  </a:lnTo>
                  <a:lnTo>
                    <a:pt x="591955" y="1320496"/>
                  </a:lnTo>
                  <a:lnTo>
                    <a:pt x="596099" y="1317289"/>
                  </a:lnTo>
                  <a:lnTo>
                    <a:pt x="606510" y="1317289"/>
                  </a:lnTo>
                  <a:lnTo>
                    <a:pt x="612727" y="1322223"/>
                  </a:lnTo>
                  <a:lnTo>
                    <a:pt x="633499" y="1322223"/>
                  </a:lnTo>
                  <a:lnTo>
                    <a:pt x="637644" y="1327157"/>
                  </a:lnTo>
                  <a:lnTo>
                    <a:pt x="637644" y="1333571"/>
                  </a:lnTo>
                  <a:lnTo>
                    <a:pt x="645982" y="1327157"/>
                  </a:lnTo>
                  <a:lnTo>
                    <a:pt x="654321" y="1332091"/>
                  </a:lnTo>
                  <a:lnTo>
                    <a:pt x="656393" y="1340133"/>
                  </a:lnTo>
                  <a:lnTo>
                    <a:pt x="662610" y="1343340"/>
                  </a:lnTo>
                  <a:lnTo>
                    <a:pt x="660538" y="1332091"/>
                  </a:lnTo>
                  <a:lnTo>
                    <a:pt x="656393" y="1324048"/>
                  </a:lnTo>
                  <a:lnTo>
                    <a:pt x="658465" y="1320792"/>
                  </a:lnTo>
                  <a:lnTo>
                    <a:pt x="658465" y="1306286"/>
                  </a:lnTo>
                  <a:lnTo>
                    <a:pt x="660538" y="1301352"/>
                  </a:lnTo>
                  <a:lnTo>
                    <a:pt x="658465" y="1299724"/>
                  </a:lnTo>
                  <a:lnTo>
                    <a:pt x="658465" y="1286846"/>
                  </a:lnTo>
                  <a:lnTo>
                    <a:pt x="654321" y="1280382"/>
                  </a:lnTo>
                  <a:lnTo>
                    <a:pt x="645982" y="1277175"/>
                  </a:lnTo>
                  <a:lnTo>
                    <a:pt x="635621" y="1277175"/>
                  </a:lnTo>
                  <a:lnTo>
                    <a:pt x="631427" y="1270711"/>
                  </a:lnTo>
                  <a:lnTo>
                    <a:pt x="635621" y="1262669"/>
                  </a:lnTo>
                  <a:lnTo>
                    <a:pt x="635621" y="1248114"/>
                  </a:lnTo>
                  <a:lnTo>
                    <a:pt x="637644" y="1246535"/>
                  </a:lnTo>
                  <a:lnTo>
                    <a:pt x="635621" y="1241601"/>
                  </a:lnTo>
                  <a:lnTo>
                    <a:pt x="635621" y="1235137"/>
                  </a:lnTo>
                  <a:lnTo>
                    <a:pt x="639765" y="1233509"/>
                  </a:lnTo>
                  <a:lnTo>
                    <a:pt x="635621" y="1228575"/>
                  </a:lnTo>
                  <a:lnTo>
                    <a:pt x="635621" y="1222111"/>
                  </a:lnTo>
                  <a:lnTo>
                    <a:pt x="629355" y="1209184"/>
                  </a:lnTo>
                  <a:lnTo>
                    <a:pt x="618944" y="1202721"/>
                  </a:lnTo>
                  <a:lnTo>
                    <a:pt x="602316" y="1189843"/>
                  </a:lnTo>
                  <a:lnTo>
                    <a:pt x="602316" y="1186586"/>
                  </a:lnTo>
                  <a:lnTo>
                    <a:pt x="610654" y="1186586"/>
                  </a:lnTo>
                  <a:lnTo>
                    <a:pt x="625210" y="1196454"/>
                  </a:lnTo>
                  <a:lnTo>
                    <a:pt x="633499" y="1194826"/>
                  </a:lnTo>
                  <a:lnTo>
                    <a:pt x="639765" y="1193198"/>
                  </a:lnTo>
                  <a:lnTo>
                    <a:pt x="652199" y="1191619"/>
                  </a:lnTo>
                  <a:lnTo>
                    <a:pt x="670949" y="1193198"/>
                  </a:lnTo>
                  <a:lnTo>
                    <a:pt x="681310" y="1198132"/>
                  </a:lnTo>
                  <a:lnTo>
                    <a:pt x="681310" y="1204546"/>
                  </a:lnTo>
                  <a:lnTo>
                    <a:pt x="687576" y="1212638"/>
                  </a:lnTo>
                  <a:lnTo>
                    <a:pt x="695865" y="1212638"/>
                  </a:lnTo>
                  <a:lnTo>
                    <a:pt x="697987" y="1217572"/>
                  </a:lnTo>
                  <a:lnTo>
                    <a:pt x="708398" y="1228920"/>
                  </a:lnTo>
                  <a:lnTo>
                    <a:pt x="706276" y="1233854"/>
                  </a:lnTo>
                  <a:lnTo>
                    <a:pt x="693843" y="1233854"/>
                  </a:lnTo>
                  <a:lnTo>
                    <a:pt x="689648" y="1237111"/>
                  </a:lnTo>
                  <a:lnTo>
                    <a:pt x="679287" y="1238690"/>
                  </a:lnTo>
                  <a:lnTo>
                    <a:pt x="675093" y="1241946"/>
                  </a:lnTo>
                  <a:lnTo>
                    <a:pt x="677166" y="1245153"/>
                  </a:lnTo>
                  <a:lnTo>
                    <a:pt x="673021" y="1248360"/>
                  </a:lnTo>
                  <a:lnTo>
                    <a:pt x="668876" y="1246781"/>
                  </a:lnTo>
                  <a:lnTo>
                    <a:pt x="668876" y="1249692"/>
                  </a:lnTo>
                  <a:lnTo>
                    <a:pt x="666755" y="1259561"/>
                  </a:lnTo>
                  <a:lnTo>
                    <a:pt x="673021" y="1262817"/>
                  </a:lnTo>
                  <a:lnTo>
                    <a:pt x="687823" y="1272438"/>
                  </a:lnTo>
                  <a:lnTo>
                    <a:pt x="702625" y="1288573"/>
                  </a:lnTo>
                  <a:lnTo>
                    <a:pt x="708891" y="1288573"/>
                  </a:lnTo>
                  <a:lnTo>
                    <a:pt x="719252" y="1283639"/>
                  </a:lnTo>
                  <a:lnTo>
                    <a:pt x="723447" y="1290053"/>
                  </a:lnTo>
                  <a:lnTo>
                    <a:pt x="725469" y="1286846"/>
                  </a:lnTo>
                  <a:lnTo>
                    <a:pt x="733808" y="1286846"/>
                  </a:lnTo>
                  <a:lnTo>
                    <a:pt x="735880" y="1283639"/>
                  </a:lnTo>
                  <a:lnTo>
                    <a:pt x="748363" y="1277175"/>
                  </a:lnTo>
                  <a:lnTo>
                    <a:pt x="750436" y="1270711"/>
                  </a:lnTo>
                  <a:lnTo>
                    <a:pt x="748363" y="1262669"/>
                  </a:lnTo>
                  <a:lnTo>
                    <a:pt x="752557" y="1254577"/>
                  </a:lnTo>
                  <a:lnTo>
                    <a:pt x="752557" y="1249643"/>
                  </a:lnTo>
                  <a:lnTo>
                    <a:pt x="746292" y="1243179"/>
                  </a:lnTo>
                  <a:lnTo>
                    <a:pt x="750436" y="1241601"/>
                  </a:lnTo>
                  <a:lnTo>
                    <a:pt x="769185" y="1238344"/>
                  </a:lnTo>
                  <a:lnTo>
                    <a:pt x="773330" y="1235137"/>
                  </a:lnTo>
                  <a:lnTo>
                    <a:pt x="783741" y="1240071"/>
                  </a:lnTo>
                  <a:lnTo>
                    <a:pt x="783741" y="1235137"/>
                  </a:lnTo>
                  <a:lnTo>
                    <a:pt x="773330" y="1228723"/>
                  </a:lnTo>
                  <a:lnTo>
                    <a:pt x="771257" y="1222259"/>
                  </a:lnTo>
                  <a:lnTo>
                    <a:pt x="773330" y="1222259"/>
                  </a:lnTo>
                  <a:lnTo>
                    <a:pt x="779547" y="1227193"/>
                  </a:lnTo>
                  <a:lnTo>
                    <a:pt x="785813" y="1223986"/>
                  </a:lnTo>
                  <a:lnTo>
                    <a:pt x="798296" y="1209480"/>
                  </a:lnTo>
                  <a:lnTo>
                    <a:pt x="802441" y="1209480"/>
                  </a:lnTo>
                  <a:lnTo>
                    <a:pt x="817243" y="1193346"/>
                  </a:lnTo>
                  <a:lnTo>
                    <a:pt x="817243" y="1190139"/>
                  </a:lnTo>
                  <a:lnTo>
                    <a:pt x="821387" y="1188560"/>
                  </a:lnTo>
                  <a:lnTo>
                    <a:pt x="829676" y="1190139"/>
                  </a:lnTo>
                  <a:lnTo>
                    <a:pt x="840136" y="1185205"/>
                  </a:lnTo>
                  <a:lnTo>
                    <a:pt x="842209" y="1181997"/>
                  </a:lnTo>
                  <a:lnTo>
                    <a:pt x="854643" y="1177063"/>
                  </a:lnTo>
                  <a:lnTo>
                    <a:pt x="856764" y="1181997"/>
                  </a:lnTo>
                  <a:lnTo>
                    <a:pt x="858787" y="1181997"/>
                  </a:lnTo>
                  <a:lnTo>
                    <a:pt x="860909" y="1186932"/>
                  </a:lnTo>
                  <a:lnTo>
                    <a:pt x="856764" y="1191866"/>
                  </a:lnTo>
                  <a:lnTo>
                    <a:pt x="860909" y="1193444"/>
                  </a:lnTo>
                  <a:lnTo>
                    <a:pt x="869198" y="1186981"/>
                  </a:lnTo>
                  <a:lnTo>
                    <a:pt x="871320" y="1182047"/>
                  </a:lnTo>
                  <a:lnTo>
                    <a:pt x="867126" y="1180419"/>
                  </a:lnTo>
                  <a:lnTo>
                    <a:pt x="860909" y="1175485"/>
                  </a:lnTo>
                  <a:lnTo>
                    <a:pt x="860909" y="1172228"/>
                  </a:lnTo>
                  <a:lnTo>
                    <a:pt x="872455" y="1160880"/>
                  </a:lnTo>
                  <a:lnTo>
                    <a:pt x="874576" y="1160880"/>
                  </a:lnTo>
                  <a:lnTo>
                    <a:pt x="876648" y="1165814"/>
                  </a:lnTo>
                  <a:lnTo>
                    <a:pt x="874576" y="1167442"/>
                  </a:lnTo>
                  <a:lnTo>
                    <a:pt x="872455" y="1169021"/>
                  </a:lnTo>
                  <a:lnTo>
                    <a:pt x="878721" y="1175485"/>
                  </a:lnTo>
                  <a:lnTo>
                    <a:pt x="882865" y="1175485"/>
                  </a:lnTo>
                  <a:lnTo>
                    <a:pt x="887010" y="1170551"/>
                  </a:lnTo>
                  <a:lnTo>
                    <a:pt x="882865" y="1165616"/>
                  </a:lnTo>
                  <a:lnTo>
                    <a:pt x="880793" y="1160682"/>
                  </a:lnTo>
                  <a:lnTo>
                    <a:pt x="878721" y="1157475"/>
                  </a:lnTo>
                  <a:lnTo>
                    <a:pt x="884987" y="1154219"/>
                  </a:lnTo>
                  <a:lnTo>
                    <a:pt x="903687" y="1146176"/>
                  </a:lnTo>
                  <a:lnTo>
                    <a:pt x="916121" y="1144548"/>
                  </a:lnTo>
                  <a:lnTo>
                    <a:pt x="918242" y="1147755"/>
                  </a:lnTo>
                  <a:lnTo>
                    <a:pt x="909904" y="1151012"/>
                  </a:lnTo>
                  <a:lnTo>
                    <a:pt x="905759" y="1151012"/>
                  </a:lnTo>
                  <a:lnTo>
                    <a:pt x="890957" y="1155946"/>
                  </a:lnTo>
                  <a:lnTo>
                    <a:pt x="895102" y="1159202"/>
                  </a:lnTo>
                  <a:lnTo>
                    <a:pt x="899295" y="1160830"/>
                  </a:lnTo>
                  <a:lnTo>
                    <a:pt x="903440" y="1159202"/>
                  </a:lnTo>
                  <a:lnTo>
                    <a:pt x="911927" y="1165814"/>
                  </a:lnTo>
                  <a:lnTo>
                    <a:pt x="907782" y="1167442"/>
                  </a:lnTo>
                  <a:lnTo>
                    <a:pt x="905710" y="1170649"/>
                  </a:lnTo>
                  <a:lnTo>
                    <a:pt x="909854" y="1177113"/>
                  </a:lnTo>
                  <a:lnTo>
                    <a:pt x="907782" y="1180320"/>
                  </a:lnTo>
                  <a:lnTo>
                    <a:pt x="899493" y="1181948"/>
                  </a:lnTo>
                  <a:lnTo>
                    <a:pt x="893227" y="1186882"/>
                  </a:lnTo>
                  <a:lnTo>
                    <a:pt x="895299" y="1191816"/>
                  </a:lnTo>
                  <a:lnTo>
                    <a:pt x="899493" y="1193395"/>
                  </a:lnTo>
                  <a:lnTo>
                    <a:pt x="905710" y="1191816"/>
                  </a:lnTo>
                  <a:lnTo>
                    <a:pt x="909854" y="1191816"/>
                  </a:lnTo>
                  <a:lnTo>
                    <a:pt x="914049" y="1190188"/>
                  </a:lnTo>
                  <a:lnTo>
                    <a:pt x="922338" y="1191816"/>
                  </a:lnTo>
                  <a:lnTo>
                    <a:pt x="922338" y="1199859"/>
                  </a:lnTo>
                  <a:lnTo>
                    <a:pt x="926482" y="1191816"/>
                  </a:lnTo>
                  <a:lnTo>
                    <a:pt x="932748" y="1183724"/>
                  </a:lnTo>
                  <a:lnTo>
                    <a:pt x="936893" y="1183724"/>
                  </a:lnTo>
                  <a:lnTo>
                    <a:pt x="941038" y="1188658"/>
                  </a:lnTo>
                  <a:lnTo>
                    <a:pt x="945182" y="1191866"/>
                  </a:lnTo>
                  <a:lnTo>
                    <a:pt x="947304" y="1188658"/>
                  </a:lnTo>
                  <a:lnTo>
                    <a:pt x="947304" y="1185402"/>
                  </a:lnTo>
                  <a:lnTo>
                    <a:pt x="949376" y="1182195"/>
                  </a:lnTo>
                  <a:lnTo>
                    <a:pt x="943159" y="1178938"/>
                  </a:lnTo>
                  <a:lnTo>
                    <a:pt x="943159" y="1175682"/>
                  </a:lnTo>
                  <a:lnTo>
                    <a:pt x="949376" y="1170748"/>
                  </a:lnTo>
                  <a:lnTo>
                    <a:pt x="955593" y="1169120"/>
                  </a:lnTo>
                  <a:lnTo>
                    <a:pt x="957715" y="1165912"/>
                  </a:lnTo>
                  <a:lnTo>
                    <a:pt x="968076" y="1160978"/>
                  </a:lnTo>
                  <a:lnTo>
                    <a:pt x="972270" y="1162557"/>
                  </a:lnTo>
                  <a:lnTo>
                    <a:pt x="976414" y="1164186"/>
                  </a:lnTo>
                  <a:lnTo>
                    <a:pt x="980559" y="1162557"/>
                  </a:lnTo>
                  <a:lnTo>
                    <a:pt x="984704" y="1164186"/>
                  </a:lnTo>
                  <a:lnTo>
                    <a:pt x="1001381" y="1164186"/>
                  </a:lnTo>
                  <a:lnTo>
                    <a:pt x="1007598" y="1160978"/>
                  </a:lnTo>
                  <a:lnTo>
                    <a:pt x="1007598" y="1156044"/>
                  </a:lnTo>
                  <a:lnTo>
                    <a:pt x="1009670" y="1152837"/>
                  </a:lnTo>
                  <a:lnTo>
                    <a:pt x="1020081" y="1151258"/>
                  </a:lnTo>
                  <a:lnTo>
                    <a:pt x="1020081" y="1148002"/>
                  </a:lnTo>
                  <a:lnTo>
                    <a:pt x="1026298" y="1143068"/>
                  </a:lnTo>
                  <a:lnTo>
                    <a:pt x="1032514" y="1143068"/>
                  </a:lnTo>
                  <a:lnTo>
                    <a:pt x="1042926" y="1135026"/>
                  </a:lnTo>
                  <a:lnTo>
                    <a:pt x="1045047" y="1133447"/>
                  </a:lnTo>
                  <a:lnTo>
                    <a:pt x="1051264" y="1131769"/>
                  </a:lnTo>
                  <a:lnTo>
                    <a:pt x="1053336" y="1133447"/>
                  </a:lnTo>
                  <a:lnTo>
                    <a:pt x="1047070" y="1139861"/>
                  </a:lnTo>
                  <a:lnTo>
                    <a:pt x="1053336" y="1141489"/>
                  </a:lnTo>
                  <a:lnTo>
                    <a:pt x="1059603" y="1146423"/>
                  </a:lnTo>
                  <a:lnTo>
                    <a:pt x="1059603" y="1151357"/>
                  </a:lnTo>
                  <a:lnTo>
                    <a:pt x="1053336" y="1154564"/>
                  </a:lnTo>
                  <a:lnTo>
                    <a:pt x="1057481" y="1161028"/>
                  </a:lnTo>
                  <a:lnTo>
                    <a:pt x="1055408" y="1165962"/>
                  </a:lnTo>
                  <a:lnTo>
                    <a:pt x="1059603" y="1170896"/>
                  </a:lnTo>
                  <a:lnTo>
                    <a:pt x="1078302" y="1170896"/>
                  </a:lnTo>
                  <a:lnTo>
                    <a:pt x="1082447" y="1167689"/>
                  </a:lnTo>
                  <a:lnTo>
                    <a:pt x="1082447" y="1164432"/>
                  </a:lnTo>
                  <a:lnTo>
                    <a:pt x="1080375" y="1162804"/>
                  </a:lnTo>
                  <a:lnTo>
                    <a:pt x="1072036" y="1154762"/>
                  </a:lnTo>
                  <a:lnTo>
                    <a:pt x="1072036" y="1151554"/>
                  </a:lnTo>
                  <a:lnTo>
                    <a:pt x="1078302" y="1146620"/>
                  </a:lnTo>
                  <a:lnTo>
                    <a:pt x="1086592" y="1151554"/>
                  </a:lnTo>
                  <a:lnTo>
                    <a:pt x="1094930" y="1146620"/>
                  </a:lnTo>
                  <a:lnTo>
                    <a:pt x="1097002" y="1136752"/>
                  </a:lnTo>
                  <a:lnTo>
                    <a:pt x="1103269" y="1136752"/>
                  </a:lnTo>
                  <a:lnTo>
                    <a:pt x="1105341" y="1138331"/>
                  </a:lnTo>
                  <a:lnTo>
                    <a:pt x="1115703" y="1139960"/>
                  </a:lnTo>
                  <a:lnTo>
                    <a:pt x="1105341" y="1130092"/>
                  </a:lnTo>
                  <a:lnTo>
                    <a:pt x="1097002" y="1128463"/>
                  </a:lnTo>
                  <a:lnTo>
                    <a:pt x="1097002" y="1123529"/>
                  </a:lnTo>
                  <a:lnTo>
                    <a:pt x="1090786" y="1113661"/>
                  </a:lnTo>
                  <a:lnTo>
                    <a:pt x="1086592" y="1112082"/>
                  </a:lnTo>
                  <a:lnTo>
                    <a:pt x="1084519" y="1118496"/>
                  </a:lnTo>
                  <a:lnTo>
                    <a:pt x="1082447" y="1112082"/>
                  </a:lnTo>
                  <a:lnTo>
                    <a:pt x="1078302" y="1100783"/>
                  </a:lnTo>
                  <a:lnTo>
                    <a:pt x="1072036" y="1099155"/>
                  </a:lnTo>
                  <a:lnTo>
                    <a:pt x="1067892" y="1092691"/>
                  </a:lnTo>
                  <a:lnTo>
                    <a:pt x="1067892" y="1089484"/>
                  </a:lnTo>
                  <a:lnTo>
                    <a:pt x="1076230" y="1087856"/>
                  </a:lnTo>
                  <a:lnTo>
                    <a:pt x="1076230" y="1081935"/>
                  </a:lnTo>
                  <a:lnTo>
                    <a:pt x="1072036" y="1075472"/>
                  </a:lnTo>
                  <a:lnTo>
                    <a:pt x="1076230" y="1072215"/>
                  </a:lnTo>
                  <a:lnTo>
                    <a:pt x="1082447" y="1073843"/>
                  </a:lnTo>
                  <a:lnTo>
                    <a:pt x="1084519" y="1072215"/>
                  </a:lnTo>
                  <a:lnTo>
                    <a:pt x="1090786" y="1075472"/>
                  </a:lnTo>
                  <a:lnTo>
                    <a:pt x="1099420" y="1075472"/>
                  </a:lnTo>
                  <a:lnTo>
                    <a:pt x="1105686" y="1077100"/>
                  </a:lnTo>
                  <a:lnTo>
                    <a:pt x="1132725" y="1073843"/>
                  </a:lnTo>
                  <a:lnTo>
                    <a:pt x="1168053" y="1075472"/>
                  </a:lnTo>
                  <a:lnTo>
                    <a:pt x="1178365" y="1081935"/>
                  </a:lnTo>
                  <a:lnTo>
                    <a:pt x="1201209" y="1088349"/>
                  </a:lnTo>
                  <a:lnTo>
                    <a:pt x="1201209" y="1093284"/>
                  </a:lnTo>
                  <a:lnTo>
                    <a:pt x="1199137" y="1096540"/>
                  </a:lnTo>
                  <a:lnTo>
                    <a:pt x="1203282" y="1102954"/>
                  </a:lnTo>
                  <a:lnTo>
                    <a:pt x="1209499" y="1098020"/>
                  </a:lnTo>
                  <a:lnTo>
                    <a:pt x="1219909" y="1094813"/>
                  </a:lnTo>
                  <a:lnTo>
                    <a:pt x="1226175" y="1099747"/>
                  </a:lnTo>
                  <a:lnTo>
                    <a:pt x="1232392" y="1099747"/>
                  </a:lnTo>
                  <a:lnTo>
                    <a:pt x="1232392" y="1104681"/>
                  </a:lnTo>
                  <a:lnTo>
                    <a:pt x="1244875" y="1106309"/>
                  </a:lnTo>
                  <a:lnTo>
                    <a:pt x="1265697" y="1116177"/>
                  </a:lnTo>
                  <a:lnTo>
                    <a:pt x="1284397" y="1117806"/>
                  </a:lnTo>
                  <a:lnTo>
                    <a:pt x="1292687" y="1124220"/>
                  </a:lnTo>
                  <a:lnTo>
                    <a:pt x="1296831" y="1132262"/>
                  </a:lnTo>
                  <a:lnTo>
                    <a:pt x="1307242" y="1133940"/>
                  </a:lnTo>
                  <a:lnTo>
                    <a:pt x="1317652" y="1140354"/>
                  </a:lnTo>
                  <a:lnTo>
                    <a:pt x="1325942" y="1154860"/>
                  </a:lnTo>
                  <a:lnTo>
                    <a:pt x="1334280" y="1156439"/>
                  </a:lnTo>
                  <a:lnTo>
                    <a:pt x="1334280" y="1151505"/>
                  </a:lnTo>
                  <a:lnTo>
                    <a:pt x="1332208" y="1143413"/>
                  </a:lnTo>
                  <a:lnTo>
                    <a:pt x="1336353" y="1143413"/>
                  </a:lnTo>
                  <a:lnTo>
                    <a:pt x="1338474" y="1140206"/>
                  </a:lnTo>
                  <a:lnTo>
                    <a:pt x="1334280" y="1132114"/>
                  </a:lnTo>
                  <a:lnTo>
                    <a:pt x="1336353" y="1128907"/>
                  </a:lnTo>
                  <a:lnTo>
                    <a:pt x="1334280" y="1112822"/>
                  </a:lnTo>
                  <a:lnTo>
                    <a:pt x="1342619" y="1107888"/>
                  </a:lnTo>
                  <a:lnTo>
                    <a:pt x="1334280" y="1107888"/>
                  </a:lnTo>
                  <a:lnTo>
                    <a:pt x="1334280" y="1104681"/>
                  </a:lnTo>
                  <a:lnTo>
                    <a:pt x="1328063" y="1104681"/>
                  </a:lnTo>
                  <a:lnTo>
                    <a:pt x="1321797" y="1107888"/>
                  </a:lnTo>
                  <a:lnTo>
                    <a:pt x="1313508" y="1106309"/>
                  </a:lnTo>
                  <a:lnTo>
                    <a:pt x="1298952" y="1091803"/>
                  </a:lnTo>
                  <a:lnTo>
                    <a:pt x="1294808" y="1090175"/>
                  </a:lnTo>
                  <a:lnTo>
                    <a:pt x="1290614" y="1085241"/>
                  </a:lnTo>
                  <a:lnTo>
                    <a:pt x="1290614" y="1073942"/>
                  </a:lnTo>
                  <a:lnTo>
                    <a:pt x="1286470" y="1070735"/>
                  </a:lnTo>
                  <a:lnTo>
                    <a:pt x="1280253" y="1078777"/>
                  </a:lnTo>
                  <a:lnTo>
                    <a:pt x="1271914" y="1073843"/>
                  </a:lnTo>
                  <a:lnTo>
                    <a:pt x="1263576" y="1073843"/>
                  </a:lnTo>
                  <a:lnTo>
                    <a:pt x="1257359" y="1070636"/>
                  </a:lnTo>
                  <a:lnTo>
                    <a:pt x="1253165" y="1075570"/>
                  </a:lnTo>
                  <a:lnTo>
                    <a:pt x="1251142" y="1065702"/>
                  </a:lnTo>
                  <a:lnTo>
                    <a:pt x="1244875" y="1060768"/>
                  </a:lnTo>
                  <a:lnTo>
                    <a:pt x="1238609" y="1047841"/>
                  </a:lnTo>
                  <a:lnTo>
                    <a:pt x="1238609" y="1042907"/>
                  </a:lnTo>
                  <a:lnTo>
                    <a:pt x="1244875" y="1046163"/>
                  </a:lnTo>
                  <a:lnTo>
                    <a:pt x="1251142" y="1041229"/>
                  </a:lnTo>
                  <a:lnTo>
                    <a:pt x="1251142" y="1034766"/>
                  </a:lnTo>
                  <a:lnTo>
                    <a:pt x="1238609" y="1026723"/>
                  </a:lnTo>
                  <a:lnTo>
                    <a:pt x="1238609" y="1020753"/>
                  </a:lnTo>
                  <a:lnTo>
                    <a:pt x="1242803" y="1014290"/>
                  </a:lnTo>
                  <a:lnTo>
                    <a:pt x="1249020" y="1015918"/>
                  </a:lnTo>
                  <a:lnTo>
                    <a:pt x="1242803" y="1010984"/>
                  </a:lnTo>
                  <a:lnTo>
                    <a:pt x="1234465" y="1009356"/>
                  </a:lnTo>
                  <a:lnTo>
                    <a:pt x="1228248" y="998057"/>
                  </a:lnTo>
                  <a:lnTo>
                    <a:pt x="1224054" y="994850"/>
                  </a:lnTo>
                  <a:lnTo>
                    <a:pt x="1219909" y="996478"/>
                  </a:lnTo>
                  <a:lnTo>
                    <a:pt x="1211620" y="990014"/>
                  </a:lnTo>
                  <a:lnTo>
                    <a:pt x="1211620" y="980146"/>
                  </a:lnTo>
                  <a:lnTo>
                    <a:pt x="1215764" y="973683"/>
                  </a:lnTo>
                  <a:lnTo>
                    <a:pt x="1211620" y="968748"/>
                  </a:lnTo>
                  <a:lnTo>
                    <a:pt x="1209499" y="962285"/>
                  </a:lnTo>
                  <a:lnTo>
                    <a:pt x="1215764" y="960706"/>
                  </a:lnTo>
                  <a:lnTo>
                    <a:pt x="1228248" y="942944"/>
                  </a:lnTo>
                  <a:lnTo>
                    <a:pt x="1234465" y="938009"/>
                  </a:lnTo>
                  <a:lnTo>
                    <a:pt x="1236587" y="934802"/>
                  </a:lnTo>
                  <a:lnTo>
                    <a:pt x="1234465" y="926710"/>
                  </a:lnTo>
                  <a:lnTo>
                    <a:pt x="1232392" y="921776"/>
                  </a:lnTo>
                  <a:lnTo>
                    <a:pt x="1238609" y="913734"/>
                  </a:lnTo>
                  <a:lnTo>
                    <a:pt x="1232392" y="905692"/>
                  </a:lnTo>
                  <a:lnTo>
                    <a:pt x="1232392" y="897600"/>
                  </a:lnTo>
                  <a:lnTo>
                    <a:pt x="1234465" y="892666"/>
                  </a:lnTo>
                  <a:lnTo>
                    <a:pt x="1232392" y="887732"/>
                  </a:lnTo>
                  <a:lnTo>
                    <a:pt x="1232392" y="879689"/>
                  </a:lnTo>
                  <a:lnTo>
                    <a:pt x="1228248" y="876433"/>
                  </a:lnTo>
                  <a:lnTo>
                    <a:pt x="1232392" y="865183"/>
                  </a:lnTo>
                  <a:lnTo>
                    <a:pt x="1234465" y="861927"/>
                  </a:lnTo>
                  <a:lnTo>
                    <a:pt x="1228248" y="855512"/>
                  </a:lnTo>
                  <a:lnTo>
                    <a:pt x="1230320" y="844213"/>
                  </a:lnTo>
                  <a:lnTo>
                    <a:pt x="1228248" y="831286"/>
                  </a:lnTo>
                  <a:lnTo>
                    <a:pt x="1234465" y="831286"/>
                  </a:lnTo>
                  <a:lnTo>
                    <a:pt x="1240731" y="832915"/>
                  </a:lnTo>
                  <a:lnTo>
                    <a:pt x="1238609" y="836122"/>
                  </a:lnTo>
                  <a:lnTo>
                    <a:pt x="1240731" y="837750"/>
                  </a:lnTo>
                  <a:lnTo>
                    <a:pt x="1249020" y="836122"/>
                  </a:lnTo>
                  <a:lnTo>
                    <a:pt x="1259431" y="834543"/>
                  </a:lnTo>
                  <a:lnTo>
                    <a:pt x="1267720" y="831286"/>
                  </a:lnTo>
                  <a:lnTo>
                    <a:pt x="1273986" y="831286"/>
                  </a:lnTo>
                  <a:lnTo>
                    <a:pt x="1280253" y="834543"/>
                  </a:lnTo>
                  <a:lnTo>
                    <a:pt x="1284397" y="831286"/>
                  </a:lnTo>
                  <a:lnTo>
                    <a:pt x="1292687" y="831286"/>
                  </a:lnTo>
                  <a:lnTo>
                    <a:pt x="1313508" y="839378"/>
                  </a:lnTo>
                  <a:lnTo>
                    <a:pt x="1323919" y="839378"/>
                  </a:lnTo>
                  <a:lnTo>
                    <a:pt x="1332208" y="840957"/>
                  </a:lnTo>
                  <a:lnTo>
                    <a:pt x="1334280" y="845891"/>
                  </a:lnTo>
                  <a:lnTo>
                    <a:pt x="1328063" y="847470"/>
                  </a:lnTo>
                  <a:lnTo>
                    <a:pt x="1334280" y="855562"/>
                  </a:lnTo>
                  <a:lnTo>
                    <a:pt x="1334280" y="861976"/>
                  </a:lnTo>
                  <a:lnTo>
                    <a:pt x="1336353" y="866910"/>
                  </a:lnTo>
                  <a:lnTo>
                    <a:pt x="1338474" y="876778"/>
                  </a:lnTo>
                  <a:lnTo>
                    <a:pt x="1342619" y="886646"/>
                  </a:lnTo>
                  <a:lnTo>
                    <a:pt x="1338474" y="904409"/>
                  </a:lnTo>
                  <a:lnTo>
                    <a:pt x="1342619" y="909343"/>
                  </a:lnTo>
                  <a:lnTo>
                    <a:pt x="1340497" y="912550"/>
                  </a:lnTo>
                  <a:lnTo>
                    <a:pt x="1344691" y="919013"/>
                  </a:lnTo>
                  <a:lnTo>
                    <a:pt x="1342619" y="923947"/>
                  </a:lnTo>
                  <a:lnTo>
                    <a:pt x="1338474" y="927155"/>
                  </a:lnTo>
                  <a:lnTo>
                    <a:pt x="1340497" y="933618"/>
                  </a:lnTo>
                  <a:lnTo>
                    <a:pt x="1348836" y="940082"/>
                  </a:lnTo>
                  <a:lnTo>
                    <a:pt x="1353030" y="948124"/>
                  </a:lnTo>
                  <a:lnTo>
                    <a:pt x="1361318" y="949752"/>
                  </a:lnTo>
                  <a:lnTo>
                    <a:pt x="1361318" y="951381"/>
                  </a:lnTo>
                  <a:lnTo>
                    <a:pt x="1367585" y="949752"/>
                  </a:lnTo>
                  <a:lnTo>
                    <a:pt x="1371729" y="952960"/>
                  </a:lnTo>
                  <a:lnTo>
                    <a:pt x="1373802" y="964258"/>
                  </a:lnTo>
                  <a:lnTo>
                    <a:pt x="1382141" y="969193"/>
                  </a:lnTo>
                  <a:lnTo>
                    <a:pt x="1388358" y="975656"/>
                  </a:lnTo>
                  <a:lnTo>
                    <a:pt x="1390429" y="994998"/>
                  </a:lnTo>
                  <a:lnTo>
                    <a:pt x="1396696" y="999932"/>
                  </a:lnTo>
                  <a:lnTo>
                    <a:pt x="1396696" y="1004866"/>
                  </a:lnTo>
                  <a:lnTo>
                    <a:pt x="1394574" y="1008073"/>
                  </a:lnTo>
                  <a:lnTo>
                    <a:pt x="1400840" y="1016165"/>
                  </a:lnTo>
                  <a:lnTo>
                    <a:pt x="1400840" y="1026033"/>
                  </a:lnTo>
                  <a:lnTo>
                    <a:pt x="1413323" y="1038910"/>
                  </a:lnTo>
                  <a:lnTo>
                    <a:pt x="1409130" y="1047002"/>
                  </a:lnTo>
                  <a:lnTo>
                    <a:pt x="1413323" y="1055045"/>
                  </a:lnTo>
                  <a:lnTo>
                    <a:pt x="1421613" y="1058252"/>
                  </a:lnTo>
                  <a:lnTo>
                    <a:pt x="1417468" y="1063186"/>
                  </a:lnTo>
                  <a:lnTo>
                    <a:pt x="1421613" y="1066442"/>
                  </a:lnTo>
                  <a:lnTo>
                    <a:pt x="1425807" y="1080948"/>
                  </a:lnTo>
                  <a:lnTo>
                    <a:pt x="1440609" y="1095454"/>
                  </a:lnTo>
                  <a:lnTo>
                    <a:pt x="1450970" y="1098662"/>
                  </a:lnTo>
                  <a:lnTo>
                    <a:pt x="1455164" y="1105125"/>
                  </a:lnTo>
                  <a:lnTo>
                    <a:pt x="1461381" y="1105125"/>
                  </a:lnTo>
                  <a:lnTo>
                    <a:pt x="1471792" y="1114993"/>
                  </a:lnTo>
                  <a:lnTo>
                    <a:pt x="1471792" y="1119927"/>
                  </a:lnTo>
                  <a:lnTo>
                    <a:pt x="1467598" y="1118348"/>
                  </a:lnTo>
                  <a:lnTo>
                    <a:pt x="1467598" y="1124763"/>
                  </a:lnTo>
                  <a:lnTo>
                    <a:pt x="1465525" y="1134631"/>
                  </a:lnTo>
                  <a:lnTo>
                    <a:pt x="1471792" y="1145880"/>
                  </a:lnTo>
                  <a:lnTo>
                    <a:pt x="1480081" y="1152344"/>
                  </a:lnTo>
                  <a:lnTo>
                    <a:pt x="1480081" y="1162212"/>
                  </a:lnTo>
                  <a:lnTo>
                    <a:pt x="1473815" y="1167146"/>
                  </a:lnTo>
                  <a:lnTo>
                    <a:pt x="1473815" y="1170353"/>
                  </a:lnTo>
                  <a:lnTo>
                    <a:pt x="1469720" y="1175287"/>
                  </a:lnTo>
                  <a:lnTo>
                    <a:pt x="1471792" y="1178544"/>
                  </a:lnTo>
                  <a:lnTo>
                    <a:pt x="1471792" y="1193050"/>
                  </a:lnTo>
                  <a:lnTo>
                    <a:pt x="1463453" y="1196257"/>
                  </a:lnTo>
                  <a:lnTo>
                    <a:pt x="1465525" y="1197885"/>
                  </a:lnTo>
                  <a:lnTo>
                    <a:pt x="1471792" y="1197885"/>
                  </a:lnTo>
                  <a:lnTo>
                    <a:pt x="1471792" y="1201092"/>
                  </a:lnTo>
                  <a:lnTo>
                    <a:pt x="1463453" y="1206026"/>
                  </a:lnTo>
                  <a:lnTo>
                    <a:pt x="1463453" y="1218904"/>
                  </a:lnTo>
                  <a:lnTo>
                    <a:pt x="1459260" y="1222161"/>
                  </a:lnTo>
                  <a:lnTo>
                    <a:pt x="1450970" y="1218904"/>
                  </a:lnTo>
                  <a:lnTo>
                    <a:pt x="1450970" y="1222161"/>
                  </a:lnTo>
                  <a:lnTo>
                    <a:pt x="1459260" y="1230252"/>
                  </a:lnTo>
                  <a:lnTo>
                    <a:pt x="1459260" y="1235186"/>
                  </a:lnTo>
                  <a:lnTo>
                    <a:pt x="1450970" y="1236815"/>
                  </a:lnTo>
                  <a:lnTo>
                    <a:pt x="1446826" y="1243278"/>
                  </a:lnTo>
                  <a:lnTo>
                    <a:pt x="1432270" y="1244857"/>
                  </a:lnTo>
                  <a:lnTo>
                    <a:pt x="1426053" y="1239923"/>
                  </a:lnTo>
                  <a:lnTo>
                    <a:pt x="1436415" y="1233509"/>
                  </a:lnTo>
                  <a:lnTo>
                    <a:pt x="1436415" y="1228575"/>
                  </a:lnTo>
                  <a:lnTo>
                    <a:pt x="1430000" y="1228575"/>
                  </a:lnTo>
                  <a:lnTo>
                    <a:pt x="1427928" y="1233509"/>
                  </a:lnTo>
                  <a:lnTo>
                    <a:pt x="1421662" y="1233509"/>
                  </a:lnTo>
                  <a:lnTo>
                    <a:pt x="1405034" y="1225417"/>
                  </a:lnTo>
                  <a:lnTo>
                    <a:pt x="1402962" y="1230351"/>
                  </a:lnTo>
                  <a:lnTo>
                    <a:pt x="1382190" y="1231930"/>
                  </a:lnTo>
                  <a:lnTo>
                    <a:pt x="1371779" y="1233558"/>
                  </a:lnTo>
                  <a:lnTo>
                    <a:pt x="1365513" y="1241601"/>
                  </a:lnTo>
                  <a:lnTo>
                    <a:pt x="1371779" y="1241601"/>
                  </a:lnTo>
                  <a:lnTo>
                    <a:pt x="1373851" y="1244808"/>
                  </a:lnTo>
                  <a:lnTo>
                    <a:pt x="1377996" y="1238393"/>
                  </a:lnTo>
                  <a:lnTo>
                    <a:pt x="1388406" y="1236765"/>
                  </a:lnTo>
                  <a:lnTo>
                    <a:pt x="1392551" y="1243229"/>
                  </a:lnTo>
                  <a:lnTo>
                    <a:pt x="1400890" y="1249643"/>
                  </a:lnTo>
                  <a:lnTo>
                    <a:pt x="1427928" y="1254577"/>
                  </a:lnTo>
                  <a:lnTo>
                    <a:pt x="1440411" y="1256156"/>
                  </a:lnTo>
                  <a:lnTo>
                    <a:pt x="1452845" y="1254577"/>
                  </a:lnTo>
                  <a:lnTo>
                    <a:pt x="1465328" y="1254577"/>
                  </a:lnTo>
                  <a:lnTo>
                    <a:pt x="1467400" y="1257784"/>
                  </a:lnTo>
                  <a:lnTo>
                    <a:pt x="1482202" y="1260991"/>
                  </a:lnTo>
                  <a:lnTo>
                    <a:pt x="1492613" y="1254577"/>
                  </a:lnTo>
                  <a:lnTo>
                    <a:pt x="1492613" y="1249643"/>
                  </a:lnTo>
                  <a:lnTo>
                    <a:pt x="1488419" y="1244709"/>
                  </a:lnTo>
                  <a:lnTo>
                    <a:pt x="1488419" y="1236667"/>
                  </a:lnTo>
                  <a:lnTo>
                    <a:pt x="1492613" y="1231733"/>
                  </a:lnTo>
                  <a:lnTo>
                    <a:pt x="1500952" y="1228476"/>
                  </a:lnTo>
                  <a:lnTo>
                    <a:pt x="1500952" y="1223542"/>
                  </a:lnTo>
                  <a:lnTo>
                    <a:pt x="1511313" y="1215450"/>
                  </a:lnTo>
                  <a:lnTo>
                    <a:pt x="1511313" y="1207753"/>
                  </a:lnTo>
                  <a:lnTo>
                    <a:pt x="1517530" y="1193247"/>
                  </a:lnTo>
                  <a:lnTo>
                    <a:pt x="1511313" y="1185205"/>
                  </a:lnTo>
                  <a:lnTo>
                    <a:pt x="1513386" y="1173906"/>
                  </a:lnTo>
                  <a:lnTo>
                    <a:pt x="1523797" y="1157821"/>
                  </a:lnTo>
                  <a:lnTo>
                    <a:pt x="1525869" y="1151357"/>
                  </a:lnTo>
                  <a:lnTo>
                    <a:pt x="1515507" y="1128759"/>
                  </a:lnTo>
                  <a:lnTo>
                    <a:pt x="1498830" y="1122296"/>
                  </a:lnTo>
                  <a:lnTo>
                    <a:pt x="1494686" y="1115881"/>
                  </a:lnTo>
                  <a:lnTo>
                    <a:pt x="1494686" y="1098119"/>
                  </a:lnTo>
                  <a:lnTo>
                    <a:pt x="1505096" y="1091705"/>
                  </a:lnTo>
                  <a:lnTo>
                    <a:pt x="1511313" y="1083613"/>
                  </a:lnTo>
                  <a:lnTo>
                    <a:pt x="1521724" y="1083613"/>
                  </a:lnTo>
                  <a:lnTo>
                    <a:pt x="1536526" y="1070735"/>
                  </a:lnTo>
                  <a:lnTo>
                    <a:pt x="1544865" y="1070735"/>
                  </a:lnTo>
                  <a:lnTo>
                    <a:pt x="1557299" y="1080603"/>
                  </a:lnTo>
                  <a:lnTo>
                    <a:pt x="1557299" y="1088645"/>
                  </a:lnTo>
                  <a:lnTo>
                    <a:pt x="1567710" y="1093580"/>
                  </a:lnTo>
                  <a:lnTo>
                    <a:pt x="1571854" y="1098514"/>
                  </a:lnTo>
                  <a:lnTo>
                    <a:pt x="1573976" y="1098514"/>
                  </a:lnTo>
                  <a:lnTo>
                    <a:pt x="1584337" y="1108382"/>
                  </a:lnTo>
                  <a:lnTo>
                    <a:pt x="1582265" y="1114845"/>
                  </a:lnTo>
                  <a:lnTo>
                    <a:pt x="1588531" y="1119779"/>
                  </a:lnTo>
                  <a:lnTo>
                    <a:pt x="1590554" y="1126243"/>
                  </a:lnTo>
                  <a:lnTo>
                    <a:pt x="1596820" y="1132657"/>
                  </a:lnTo>
                  <a:lnTo>
                    <a:pt x="1598892" y="1140749"/>
                  </a:lnTo>
                  <a:lnTo>
                    <a:pt x="1594748" y="1143956"/>
                  </a:lnTo>
                  <a:lnTo>
                    <a:pt x="1600965" y="1150420"/>
                  </a:lnTo>
                  <a:lnTo>
                    <a:pt x="1609303" y="1152048"/>
                  </a:lnTo>
                  <a:lnTo>
                    <a:pt x="1619664" y="1156982"/>
                  </a:lnTo>
                  <a:lnTo>
                    <a:pt x="1628003" y="1155403"/>
                  </a:lnTo>
                  <a:lnTo>
                    <a:pt x="1634220" y="1153775"/>
                  </a:lnTo>
                  <a:lnTo>
                    <a:pt x="1644631" y="1153775"/>
                  </a:lnTo>
                  <a:lnTo>
                    <a:pt x="1648775" y="1148841"/>
                  </a:lnTo>
                  <a:lnTo>
                    <a:pt x="1652969" y="1147262"/>
                  </a:lnTo>
                  <a:lnTo>
                    <a:pt x="1646753" y="1145634"/>
                  </a:lnTo>
                  <a:lnTo>
                    <a:pt x="1640487" y="1147262"/>
                  </a:lnTo>
                  <a:lnTo>
                    <a:pt x="1638414" y="1142328"/>
                  </a:lnTo>
                  <a:lnTo>
                    <a:pt x="1632197" y="1150370"/>
                  </a:lnTo>
                  <a:lnTo>
                    <a:pt x="1621786" y="1150370"/>
                  </a:lnTo>
                  <a:lnTo>
                    <a:pt x="1617642" y="1145436"/>
                  </a:lnTo>
                  <a:lnTo>
                    <a:pt x="1609303" y="1145436"/>
                  </a:lnTo>
                  <a:lnTo>
                    <a:pt x="1605109" y="1138973"/>
                  </a:lnTo>
                  <a:lnTo>
                    <a:pt x="1607231" y="1134039"/>
                  </a:lnTo>
                  <a:lnTo>
                    <a:pt x="1603086" y="1132361"/>
                  </a:lnTo>
                  <a:lnTo>
                    <a:pt x="1596820" y="1122493"/>
                  </a:lnTo>
                  <a:lnTo>
                    <a:pt x="1598892" y="1112872"/>
                  </a:lnTo>
                  <a:lnTo>
                    <a:pt x="1605109" y="1111243"/>
                  </a:lnTo>
                  <a:lnTo>
                    <a:pt x="1611376" y="1106309"/>
                  </a:lnTo>
                  <a:lnTo>
                    <a:pt x="1607231" y="1103053"/>
                  </a:lnTo>
                  <a:lnTo>
                    <a:pt x="1605109" y="1098119"/>
                  </a:lnTo>
                  <a:lnTo>
                    <a:pt x="1603086" y="1096540"/>
                  </a:lnTo>
                  <a:lnTo>
                    <a:pt x="1598892" y="1091606"/>
                  </a:lnTo>
                  <a:lnTo>
                    <a:pt x="1588531" y="1086672"/>
                  </a:lnTo>
                  <a:lnTo>
                    <a:pt x="1588531" y="1081738"/>
                  </a:lnTo>
                  <a:lnTo>
                    <a:pt x="1580192" y="1071870"/>
                  </a:lnTo>
                  <a:lnTo>
                    <a:pt x="1567710" y="1071870"/>
                  </a:lnTo>
                  <a:lnTo>
                    <a:pt x="1551082" y="1065456"/>
                  </a:lnTo>
                  <a:lnTo>
                    <a:pt x="1546887" y="1058992"/>
                  </a:lnTo>
                  <a:lnTo>
                    <a:pt x="1538599" y="1060620"/>
                  </a:lnTo>
                  <a:lnTo>
                    <a:pt x="1526115" y="1054157"/>
                  </a:lnTo>
                  <a:lnTo>
                    <a:pt x="1519898" y="1055785"/>
                  </a:lnTo>
                  <a:lnTo>
                    <a:pt x="1511560" y="1054157"/>
                  </a:lnTo>
                  <a:lnTo>
                    <a:pt x="1501199" y="1062199"/>
                  </a:lnTo>
                  <a:lnTo>
                    <a:pt x="1499077" y="1070291"/>
                  </a:lnTo>
                  <a:lnTo>
                    <a:pt x="1494933" y="1073498"/>
                  </a:lnTo>
                  <a:lnTo>
                    <a:pt x="1482449" y="1070291"/>
                  </a:lnTo>
                  <a:lnTo>
                    <a:pt x="1472088" y="1076755"/>
                  </a:lnTo>
                  <a:lnTo>
                    <a:pt x="1461677" y="1073498"/>
                  </a:lnTo>
                  <a:lnTo>
                    <a:pt x="1457532" y="1068564"/>
                  </a:lnTo>
                  <a:lnTo>
                    <a:pt x="1457532" y="1054058"/>
                  </a:lnTo>
                  <a:lnTo>
                    <a:pt x="1442730" y="1042759"/>
                  </a:lnTo>
                  <a:lnTo>
                    <a:pt x="1438536" y="1034717"/>
                  </a:lnTo>
                  <a:lnTo>
                    <a:pt x="1440658" y="1021789"/>
                  </a:lnTo>
                  <a:lnTo>
                    <a:pt x="1432319" y="1010540"/>
                  </a:lnTo>
                  <a:lnTo>
                    <a:pt x="1434392" y="1002448"/>
                  </a:lnTo>
                  <a:lnTo>
                    <a:pt x="1436464" y="983107"/>
                  </a:lnTo>
                  <a:lnTo>
                    <a:pt x="1430247" y="970229"/>
                  </a:lnTo>
                  <a:lnTo>
                    <a:pt x="1421909" y="962137"/>
                  </a:lnTo>
                  <a:lnTo>
                    <a:pt x="1411547" y="962137"/>
                  </a:lnTo>
                  <a:lnTo>
                    <a:pt x="1409425" y="954094"/>
                  </a:lnTo>
                  <a:lnTo>
                    <a:pt x="1392798" y="941217"/>
                  </a:lnTo>
                  <a:lnTo>
                    <a:pt x="1378242" y="934753"/>
                  </a:lnTo>
                  <a:lnTo>
                    <a:pt x="1378242" y="928980"/>
                  </a:lnTo>
                  <a:lnTo>
                    <a:pt x="1382436" y="916102"/>
                  </a:lnTo>
                  <a:lnTo>
                    <a:pt x="1380315" y="906234"/>
                  </a:lnTo>
                  <a:lnTo>
                    <a:pt x="1376170" y="901300"/>
                  </a:lnTo>
                  <a:lnTo>
                    <a:pt x="1376170" y="898044"/>
                  </a:lnTo>
                  <a:lnTo>
                    <a:pt x="1382436" y="891580"/>
                  </a:lnTo>
                  <a:lnTo>
                    <a:pt x="1394870" y="880331"/>
                  </a:lnTo>
                  <a:lnTo>
                    <a:pt x="1399064" y="865825"/>
                  </a:lnTo>
                  <a:lnTo>
                    <a:pt x="1394870" y="849690"/>
                  </a:lnTo>
                  <a:lnTo>
                    <a:pt x="1378242" y="825513"/>
                  </a:lnTo>
                  <a:lnTo>
                    <a:pt x="1384509" y="822257"/>
                  </a:lnTo>
                  <a:lnTo>
                    <a:pt x="1394870" y="828721"/>
                  </a:lnTo>
                  <a:lnTo>
                    <a:pt x="1394870" y="836763"/>
                  </a:lnTo>
                  <a:lnTo>
                    <a:pt x="1401136" y="838391"/>
                  </a:lnTo>
                  <a:lnTo>
                    <a:pt x="1403208" y="841598"/>
                  </a:lnTo>
                  <a:lnTo>
                    <a:pt x="1405281" y="851466"/>
                  </a:lnTo>
                  <a:lnTo>
                    <a:pt x="1413620" y="857881"/>
                  </a:lnTo>
                  <a:lnTo>
                    <a:pt x="1411547" y="872387"/>
                  </a:lnTo>
                  <a:lnTo>
                    <a:pt x="1417764" y="880479"/>
                  </a:lnTo>
                  <a:lnTo>
                    <a:pt x="1413620" y="888521"/>
                  </a:lnTo>
                  <a:lnTo>
                    <a:pt x="1417764" y="894985"/>
                  </a:lnTo>
                  <a:lnTo>
                    <a:pt x="1430247" y="903027"/>
                  </a:lnTo>
                  <a:lnTo>
                    <a:pt x="1430247" y="907961"/>
                  </a:lnTo>
                  <a:lnTo>
                    <a:pt x="1436464" y="912895"/>
                  </a:lnTo>
                  <a:lnTo>
                    <a:pt x="1436464" y="916152"/>
                  </a:lnTo>
                  <a:lnTo>
                    <a:pt x="1430247" y="921086"/>
                  </a:lnTo>
                  <a:lnTo>
                    <a:pt x="1432319" y="926020"/>
                  </a:lnTo>
                  <a:lnTo>
                    <a:pt x="1442730" y="924392"/>
                  </a:lnTo>
                  <a:lnTo>
                    <a:pt x="1451020" y="929326"/>
                  </a:lnTo>
                  <a:lnTo>
                    <a:pt x="1463503" y="929326"/>
                  </a:lnTo>
                  <a:lnTo>
                    <a:pt x="1471841" y="927697"/>
                  </a:lnTo>
                  <a:lnTo>
                    <a:pt x="1478058" y="930954"/>
                  </a:lnTo>
                  <a:lnTo>
                    <a:pt x="1480130" y="935888"/>
                  </a:lnTo>
                  <a:lnTo>
                    <a:pt x="1486397" y="929424"/>
                  </a:lnTo>
                  <a:lnTo>
                    <a:pt x="1494143" y="929424"/>
                  </a:lnTo>
                  <a:lnTo>
                    <a:pt x="1500409" y="926217"/>
                  </a:lnTo>
                  <a:lnTo>
                    <a:pt x="1506626" y="927796"/>
                  </a:lnTo>
                  <a:lnTo>
                    <a:pt x="1516988" y="935888"/>
                  </a:lnTo>
                  <a:lnTo>
                    <a:pt x="1523254" y="937516"/>
                  </a:lnTo>
                  <a:lnTo>
                    <a:pt x="1533665" y="942450"/>
                  </a:lnTo>
                  <a:lnTo>
                    <a:pt x="1548467" y="939194"/>
                  </a:lnTo>
                  <a:lnTo>
                    <a:pt x="1554684" y="934260"/>
                  </a:lnTo>
                  <a:lnTo>
                    <a:pt x="1548467" y="937516"/>
                  </a:lnTo>
                  <a:lnTo>
                    <a:pt x="1533665" y="935888"/>
                  </a:lnTo>
                  <a:lnTo>
                    <a:pt x="1531543" y="930954"/>
                  </a:lnTo>
                  <a:lnTo>
                    <a:pt x="1525326" y="929326"/>
                  </a:lnTo>
                  <a:lnTo>
                    <a:pt x="1521181" y="919458"/>
                  </a:lnTo>
                  <a:lnTo>
                    <a:pt x="1510771" y="919458"/>
                  </a:lnTo>
                  <a:lnTo>
                    <a:pt x="1508698" y="914523"/>
                  </a:lnTo>
                  <a:lnTo>
                    <a:pt x="1504554" y="914523"/>
                  </a:lnTo>
                  <a:lnTo>
                    <a:pt x="1500409" y="917731"/>
                  </a:lnTo>
                  <a:lnTo>
                    <a:pt x="1483732" y="917731"/>
                  </a:lnTo>
                  <a:lnTo>
                    <a:pt x="1475443" y="912797"/>
                  </a:lnTo>
                  <a:lnTo>
                    <a:pt x="1465032" y="911218"/>
                  </a:lnTo>
                  <a:lnTo>
                    <a:pt x="1452549" y="901350"/>
                  </a:lnTo>
                  <a:lnTo>
                    <a:pt x="1448404" y="894886"/>
                  </a:lnTo>
                  <a:lnTo>
                    <a:pt x="1444211" y="893258"/>
                  </a:lnTo>
                  <a:lnTo>
                    <a:pt x="1433849" y="880380"/>
                  </a:lnTo>
                  <a:lnTo>
                    <a:pt x="1437994" y="878752"/>
                  </a:lnTo>
                  <a:lnTo>
                    <a:pt x="1442187" y="875545"/>
                  </a:lnTo>
                  <a:lnTo>
                    <a:pt x="1452549" y="869081"/>
                  </a:lnTo>
                  <a:lnTo>
                    <a:pt x="1458766" y="869081"/>
                  </a:lnTo>
                  <a:lnTo>
                    <a:pt x="1467105" y="878949"/>
                  </a:lnTo>
                  <a:lnTo>
                    <a:pt x="1483732" y="883883"/>
                  </a:lnTo>
                  <a:lnTo>
                    <a:pt x="1494143" y="882255"/>
                  </a:lnTo>
                  <a:lnTo>
                    <a:pt x="1502432" y="869377"/>
                  </a:lnTo>
                  <a:lnTo>
                    <a:pt x="1496215" y="859509"/>
                  </a:lnTo>
                  <a:lnTo>
                    <a:pt x="1481413" y="856302"/>
                  </a:lnTo>
                  <a:lnTo>
                    <a:pt x="1468979" y="862716"/>
                  </a:lnTo>
                  <a:lnTo>
                    <a:pt x="1464786" y="857782"/>
                  </a:lnTo>
                  <a:lnTo>
                    <a:pt x="1466858" y="854575"/>
                  </a:lnTo>
                  <a:lnTo>
                    <a:pt x="1471051" y="856203"/>
                  </a:lnTo>
                  <a:lnTo>
                    <a:pt x="1475196" y="854575"/>
                  </a:lnTo>
                  <a:lnTo>
                    <a:pt x="1475196" y="846532"/>
                  </a:lnTo>
                  <a:lnTo>
                    <a:pt x="1483485" y="835234"/>
                  </a:lnTo>
                  <a:lnTo>
                    <a:pt x="1491824" y="830299"/>
                  </a:lnTo>
                  <a:lnTo>
                    <a:pt x="1500162" y="833507"/>
                  </a:lnTo>
                  <a:lnTo>
                    <a:pt x="1524832" y="833507"/>
                  </a:lnTo>
                  <a:lnTo>
                    <a:pt x="1533171" y="841549"/>
                  </a:lnTo>
                  <a:lnTo>
                    <a:pt x="1541460" y="846483"/>
                  </a:lnTo>
                  <a:lnTo>
                    <a:pt x="1562282" y="848062"/>
                  </a:lnTo>
                  <a:lnTo>
                    <a:pt x="1564354" y="854526"/>
                  </a:lnTo>
                  <a:lnTo>
                    <a:pt x="1572693" y="857733"/>
                  </a:lnTo>
                  <a:lnTo>
                    <a:pt x="1587495" y="872239"/>
                  </a:lnTo>
                  <a:lnTo>
                    <a:pt x="1597856" y="872239"/>
                  </a:lnTo>
                  <a:lnTo>
                    <a:pt x="1616605" y="869032"/>
                  </a:lnTo>
                  <a:lnTo>
                    <a:pt x="1633184" y="860989"/>
                  </a:lnTo>
                  <a:lnTo>
                    <a:pt x="1637378" y="865923"/>
                  </a:lnTo>
                  <a:lnTo>
                    <a:pt x="1649861" y="865923"/>
                  </a:lnTo>
                  <a:lnTo>
                    <a:pt x="1647739" y="877173"/>
                  </a:lnTo>
                  <a:lnTo>
                    <a:pt x="1649861" y="883636"/>
                  </a:lnTo>
                  <a:lnTo>
                    <a:pt x="1647739" y="888570"/>
                  </a:lnTo>
                  <a:lnTo>
                    <a:pt x="1637378" y="893504"/>
                  </a:lnTo>
                  <a:lnTo>
                    <a:pt x="1637378" y="901596"/>
                  </a:lnTo>
                  <a:lnTo>
                    <a:pt x="1641523" y="909639"/>
                  </a:lnTo>
                  <a:lnTo>
                    <a:pt x="1643595" y="919507"/>
                  </a:lnTo>
                  <a:lnTo>
                    <a:pt x="1654006" y="927549"/>
                  </a:lnTo>
                  <a:lnTo>
                    <a:pt x="1656078" y="934013"/>
                  </a:lnTo>
                  <a:lnTo>
                    <a:pt x="1649861" y="940476"/>
                  </a:lnTo>
                  <a:lnTo>
                    <a:pt x="1654006" y="959818"/>
                  </a:lnTo>
                  <a:lnTo>
                    <a:pt x="1658150" y="958190"/>
                  </a:lnTo>
                  <a:lnTo>
                    <a:pt x="1660272" y="951775"/>
                  </a:lnTo>
                  <a:lnTo>
                    <a:pt x="1658150" y="948519"/>
                  </a:lnTo>
                  <a:lnTo>
                    <a:pt x="1662295" y="943585"/>
                  </a:lnTo>
                  <a:lnTo>
                    <a:pt x="1662295" y="935542"/>
                  </a:lnTo>
                  <a:lnTo>
                    <a:pt x="1666489" y="933914"/>
                  </a:lnTo>
                  <a:lnTo>
                    <a:pt x="1670633" y="924046"/>
                  </a:lnTo>
                  <a:lnTo>
                    <a:pt x="1676900" y="927253"/>
                  </a:lnTo>
                  <a:lnTo>
                    <a:pt x="1681044" y="938552"/>
                  </a:lnTo>
                  <a:lnTo>
                    <a:pt x="1683117" y="953058"/>
                  </a:lnTo>
                  <a:lnTo>
                    <a:pt x="1685189" y="957992"/>
                  </a:lnTo>
                  <a:lnTo>
                    <a:pt x="1678972" y="959621"/>
                  </a:lnTo>
                  <a:lnTo>
                    <a:pt x="1678972" y="967663"/>
                  </a:lnTo>
                  <a:lnTo>
                    <a:pt x="1676900" y="969291"/>
                  </a:lnTo>
                  <a:lnTo>
                    <a:pt x="1689382" y="977383"/>
                  </a:lnTo>
                  <a:lnTo>
                    <a:pt x="1699744" y="977383"/>
                  </a:lnTo>
                  <a:lnTo>
                    <a:pt x="1712227" y="978962"/>
                  </a:lnTo>
                  <a:lnTo>
                    <a:pt x="1718493" y="987054"/>
                  </a:lnTo>
                  <a:lnTo>
                    <a:pt x="1718493" y="993123"/>
                  </a:lnTo>
                  <a:lnTo>
                    <a:pt x="1726783" y="998057"/>
                  </a:lnTo>
                  <a:lnTo>
                    <a:pt x="1741585" y="998057"/>
                  </a:lnTo>
                  <a:lnTo>
                    <a:pt x="1756140" y="1010984"/>
                  </a:lnTo>
                  <a:lnTo>
                    <a:pt x="1754068" y="1007727"/>
                  </a:lnTo>
                  <a:lnTo>
                    <a:pt x="1754068" y="997859"/>
                  </a:lnTo>
                  <a:lnTo>
                    <a:pt x="1764479" y="987991"/>
                  </a:lnTo>
                  <a:lnTo>
                    <a:pt x="1772768" y="987991"/>
                  </a:lnTo>
                  <a:lnTo>
                    <a:pt x="1789395" y="999290"/>
                  </a:lnTo>
                  <a:lnTo>
                    <a:pt x="1800053" y="999290"/>
                  </a:lnTo>
                  <a:lnTo>
                    <a:pt x="1806270" y="1004224"/>
                  </a:lnTo>
                  <a:lnTo>
                    <a:pt x="1802126" y="996182"/>
                  </a:lnTo>
                  <a:lnTo>
                    <a:pt x="1795859" y="996182"/>
                  </a:lnTo>
                  <a:lnTo>
                    <a:pt x="1787570" y="992925"/>
                  </a:lnTo>
                  <a:lnTo>
                    <a:pt x="1772768" y="984883"/>
                  </a:lnTo>
                  <a:lnTo>
                    <a:pt x="1760284" y="986511"/>
                  </a:lnTo>
                  <a:lnTo>
                    <a:pt x="1749923" y="994553"/>
                  </a:lnTo>
                  <a:lnTo>
                    <a:pt x="1743657" y="992925"/>
                  </a:lnTo>
                  <a:lnTo>
                    <a:pt x="1741585" y="994553"/>
                  </a:lnTo>
                  <a:lnTo>
                    <a:pt x="1729102" y="989619"/>
                  </a:lnTo>
                  <a:lnTo>
                    <a:pt x="1716618" y="976742"/>
                  </a:lnTo>
                  <a:lnTo>
                    <a:pt x="1710401" y="973485"/>
                  </a:lnTo>
                  <a:lnTo>
                    <a:pt x="1697919" y="971857"/>
                  </a:lnTo>
                  <a:lnTo>
                    <a:pt x="1689629" y="961989"/>
                  </a:lnTo>
                  <a:lnTo>
                    <a:pt x="1695846" y="965245"/>
                  </a:lnTo>
                  <a:lnTo>
                    <a:pt x="1699991" y="963617"/>
                  </a:lnTo>
                  <a:lnTo>
                    <a:pt x="1708330" y="950739"/>
                  </a:lnTo>
                  <a:lnTo>
                    <a:pt x="1706257" y="944276"/>
                  </a:lnTo>
                  <a:lnTo>
                    <a:pt x="1695846" y="936233"/>
                  </a:lnTo>
                  <a:lnTo>
                    <a:pt x="1691702" y="923306"/>
                  </a:lnTo>
                  <a:lnTo>
                    <a:pt x="1681291" y="908800"/>
                  </a:lnTo>
                  <a:lnTo>
                    <a:pt x="1672952" y="903866"/>
                  </a:lnTo>
                  <a:lnTo>
                    <a:pt x="1664663" y="895823"/>
                  </a:lnTo>
                  <a:lnTo>
                    <a:pt x="1666735" y="887732"/>
                  </a:lnTo>
                  <a:lnTo>
                    <a:pt x="1664663" y="881268"/>
                  </a:lnTo>
                  <a:lnTo>
                    <a:pt x="1662542" y="865183"/>
                  </a:lnTo>
                  <a:lnTo>
                    <a:pt x="1656325" y="858719"/>
                  </a:lnTo>
                  <a:lnTo>
                    <a:pt x="1650108" y="858719"/>
                  </a:lnTo>
                  <a:lnTo>
                    <a:pt x="1637624" y="850677"/>
                  </a:lnTo>
                  <a:lnTo>
                    <a:pt x="1618875" y="850677"/>
                  </a:lnTo>
                  <a:lnTo>
                    <a:pt x="1612659" y="842585"/>
                  </a:lnTo>
                  <a:lnTo>
                    <a:pt x="1602297" y="837651"/>
                  </a:lnTo>
                  <a:lnTo>
                    <a:pt x="1602297" y="830299"/>
                  </a:lnTo>
                  <a:lnTo>
                    <a:pt x="1600175" y="825365"/>
                  </a:lnTo>
                  <a:lnTo>
                    <a:pt x="1600175" y="820431"/>
                  </a:lnTo>
                  <a:lnTo>
                    <a:pt x="1591886" y="825365"/>
                  </a:lnTo>
                  <a:lnTo>
                    <a:pt x="1566920" y="823737"/>
                  </a:lnTo>
                  <a:lnTo>
                    <a:pt x="1558630" y="825365"/>
                  </a:lnTo>
                  <a:lnTo>
                    <a:pt x="1548220" y="818902"/>
                  </a:lnTo>
                  <a:lnTo>
                    <a:pt x="1546098" y="810859"/>
                  </a:lnTo>
                  <a:lnTo>
                    <a:pt x="1541953" y="810859"/>
                  </a:lnTo>
                  <a:lnTo>
                    <a:pt x="1539882" y="804396"/>
                  </a:lnTo>
                  <a:lnTo>
                    <a:pt x="1539882" y="794528"/>
                  </a:lnTo>
                  <a:lnTo>
                    <a:pt x="1531543" y="780022"/>
                  </a:lnTo>
                  <a:lnTo>
                    <a:pt x="1519109" y="773558"/>
                  </a:lnTo>
                  <a:lnTo>
                    <a:pt x="1521181" y="768624"/>
                  </a:lnTo>
                  <a:lnTo>
                    <a:pt x="1519109" y="765417"/>
                  </a:lnTo>
                  <a:lnTo>
                    <a:pt x="1514964" y="765417"/>
                  </a:lnTo>
                  <a:lnTo>
                    <a:pt x="1508698" y="760483"/>
                  </a:lnTo>
                  <a:lnTo>
                    <a:pt x="1510771" y="754019"/>
                  </a:lnTo>
                  <a:lnTo>
                    <a:pt x="1512843" y="747556"/>
                  </a:lnTo>
                  <a:lnTo>
                    <a:pt x="1504554" y="741092"/>
                  </a:lnTo>
                  <a:lnTo>
                    <a:pt x="1508698" y="737885"/>
                  </a:lnTo>
                  <a:lnTo>
                    <a:pt x="1519109" y="737885"/>
                  </a:lnTo>
                  <a:lnTo>
                    <a:pt x="1527398" y="729843"/>
                  </a:lnTo>
                  <a:lnTo>
                    <a:pt x="1537809" y="729843"/>
                  </a:lnTo>
                  <a:lnTo>
                    <a:pt x="1556509" y="726586"/>
                  </a:lnTo>
                  <a:lnTo>
                    <a:pt x="1583548" y="718544"/>
                  </a:lnTo>
                  <a:lnTo>
                    <a:pt x="1593958" y="710501"/>
                  </a:lnTo>
                  <a:lnTo>
                    <a:pt x="1602297" y="708873"/>
                  </a:lnTo>
                  <a:lnTo>
                    <a:pt x="1610586" y="710501"/>
                  </a:lnTo>
                  <a:lnTo>
                    <a:pt x="1618875" y="707245"/>
                  </a:lnTo>
                  <a:lnTo>
                    <a:pt x="1623069" y="700781"/>
                  </a:lnTo>
                  <a:lnTo>
                    <a:pt x="1635553" y="695847"/>
                  </a:lnTo>
                  <a:lnTo>
                    <a:pt x="1660518" y="685979"/>
                  </a:lnTo>
                  <a:lnTo>
                    <a:pt x="1662542" y="689235"/>
                  </a:lnTo>
                  <a:lnTo>
                    <a:pt x="1658397" y="695650"/>
                  </a:lnTo>
                  <a:lnTo>
                    <a:pt x="1660518" y="700584"/>
                  </a:lnTo>
                  <a:lnTo>
                    <a:pt x="1654252" y="703840"/>
                  </a:lnTo>
                  <a:lnTo>
                    <a:pt x="1647986" y="716718"/>
                  </a:lnTo>
                  <a:lnTo>
                    <a:pt x="1647986" y="723182"/>
                  </a:lnTo>
                  <a:lnTo>
                    <a:pt x="1662789" y="733050"/>
                  </a:lnTo>
                  <a:lnTo>
                    <a:pt x="1677591" y="733050"/>
                  </a:lnTo>
                  <a:lnTo>
                    <a:pt x="1669252" y="729843"/>
                  </a:lnTo>
                  <a:lnTo>
                    <a:pt x="1656769" y="719974"/>
                  </a:lnTo>
                  <a:lnTo>
                    <a:pt x="1656769" y="715040"/>
                  </a:lnTo>
                  <a:lnTo>
                    <a:pt x="1660963" y="708577"/>
                  </a:lnTo>
                  <a:lnTo>
                    <a:pt x="1675765" y="700485"/>
                  </a:lnTo>
                  <a:lnTo>
                    <a:pt x="1681981" y="689235"/>
                  </a:lnTo>
                  <a:lnTo>
                    <a:pt x="1675765" y="681144"/>
                  </a:lnTo>
                  <a:lnTo>
                    <a:pt x="1666834" y="681144"/>
                  </a:lnTo>
                  <a:lnTo>
                    <a:pt x="1656423" y="674729"/>
                  </a:lnTo>
                  <a:lnTo>
                    <a:pt x="1658496" y="669795"/>
                  </a:lnTo>
                  <a:lnTo>
                    <a:pt x="1648085" y="668167"/>
                  </a:lnTo>
                  <a:lnTo>
                    <a:pt x="1643940" y="673101"/>
                  </a:lnTo>
                  <a:lnTo>
                    <a:pt x="1639796" y="669894"/>
                  </a:lnTo>
                  <a:lnTo>
                    <a:pt x="1635651" y="661802"/>
                  </a:lnTo>
                  <a:lnTo>
                    <a:pt x="1625240" y="661802"/>
                  </a:lnTo>
                  <a:lnTo>
                    <a:pt x="1618974" y="663430"/>
                  </a:lnTo>
                  <a:lnTo>
                    <a:pt x="1610685" y="655339"/>
                  </a:lnTo>
                  <a:lnTo>
                    <a:pt x="1612757" y="653760"/>
                  </a:lnTo>
                  <a:lnTo>
                    <a:pt x="1614829" y="647296"/>
                  </a:lnTo>
                  <a:lnTo>
                    <a:pt x="1618974" y="645668"/>
                  </a:lnTo>
                  <a:lnTo>
                    <a:pt x="1625240" y="652131"/>
                  </a:lnTo>
                  <a:lnTo>
                    <a:pt x="1633529" y="652131"/>
                  </a:lnTo>
                  <a:lnTo>
                    <a:pt x="1641868" y="647197"/>
                  </a:lnTo>
                  <a:lnTo>
                    <a:pt x="1639796" y="643990"/>
                  </a:lnTo>
                  <a:lnTo>
                    <a:pt x="1635651" y="645569"/>
                  </a:lnTo>
                  <a:lnTo>
                    <a:pt x="1629385" y="647197"/>
                  </a:lnTo>
                  <a:lnTo>
                    <a:pt x="1621096" y="642263"/>
                  </a:lnTo>
                  <a:lnTo>
                    <a:pt x="1618974" y="637329"/>
                  </a:lnTo>
                  <a:lnTo>
                    <a:pt x="1612757" y="635701"/>
                  </a:lnTo>
                  <a:lnTo>
                    <a:pt x="1600274" y="632494"/>
                  </a:lnTo>
                  <a:lnTo>
                    <a:pt x="1594057" y="635701"/>
                  </a:lnTo>
                  <a:lnTo>
                    <a:pt x="1587840" y="629287"/>
                  </a:lnTo>
                  <a:lnTo>
                    <a:pt x="1591985" y="626030"/>
                  </a:lnTo>
                  <a:lnTo>
                    <a:pt x="1591985" y="619616"/>
                  </a:lnTo>
                  <a:lnTo>
                    <a:pt x="1587840" y="616360"/>
                  </a:lnTo>
                  <a:lnTo>
                    <a:pt x="1589863" y="613153"/>
                  </a:lnTo>
                  <a:lnTo>
                    <a:pt x="1594057" y="614781"/>
                  </a:lnTo>
                  <a:lnTo>
                    <a:pt x="1602395" y="624649"/>
                  </a:lnTo>
                  <a:lnTo>
                    <a:pt x="1608612" y="623021"/>
                  </a:lnTo>
                  <a:lnTo>
                    <a:pt x="1616951" y="631063"/>
                  </a:lnTo>
                  <a:lnTo>
                    <a:pt x="1616951" y="621195"/>
                  </a:lnTo>
                  <a:lnTo>
                    <a:pt x="1623168" y="617988"/>
                  </a:lnTo>
                  <a:lnTo>
                    <a:pt x="1623168" y="605061"/>
                  </a:lnTo>
                  <a:lnTo>
                    <a:pt x="1618974" y="601854"/>
                  </a:lnTo>
                  <a:lnTo>
                    <a:pt x="1621096" y="598647"/>
                  </a:lnTo>
                  <a:lnTo>
                    <a:pt x="1627312" y="600225"/>
                  </a:lnTo>
                  <a:lnTo>
                    <a:pt x="1631506" y="595291"/>
                  </a:lnTo>
                  <a:lnTo>
                    <a:pt x="1614829" y="592084"/>
                  </a:lnTo>
                  <a:lnTo>
                    <a:pt x="1610685" y="595291"/>
                  </a:lnTo>
                  <a:lnTo>
                    <a:pt x="1606540" y="595291"/>
                  </a:lnTo>
                  <a:lnTo>
                    <a:pt x="1606540" y="590357"/>
                  </a:lnTo>
                  <a:lnTo>
                    <a:pt x="1612757" y="583943"/>
                  </a:lnTo>
                  <a:lnTo>
                    <a:pt x="1625240" y="583943"/>
                  </a:lnTo>
                  <a:lnTo>
                    <a:pt x="1633529" y="582315"/>
                  </a:lnTo>
                  <a:lnTo>
                    <a:pt x="1633529" y="575851"/>
                  </a:lnTo>
                  <a:lnTo>
                    <a:pt x="1639796" y="569437"/>
                  </a:lnTo>
                  <a:lnTo>
                    <a:pt x="1639796" y="562974"/>
                  </a:lnTo>
                  <a:lnTo>
                    <a:pt x="1641868" y="561345"/>
                  </a:lnTo>
                  <a:lnTo>
                    <a:pt x="1641868" y="558138"/>
                  </a:lnTo>
                  <a:lnTo>
                    <a:pt x="1648085" y="550046"/>
                  </a:lnTo>
                  <a:lnTo>
                    <a:pt x="1650206" y="550046"/>
                  </a:lnTo>
                  <a:lnTo>
                    <a:pt x="1654351" y="553303"/>
                  </a:lnTo>
                  <a:lnTo>
                    <a:pt x="1658496" y="551675"/>
                  </a:lnTo>
                  <a:lnTo>
                    <a:pt x="1660617" y="546741"/>
                  </a:lnTo>
                  <a:lnTo>
                    <a:pt x="1662640" y="546741"/>
                  </a:lnTo>
                  <a:lnTo>
                    <a:pt x="1658496" y="540277"/>
                  </a:lnTo>
                  <a:lnTo>
                    <a:pt x="1660617" y="537070"/>
                  </a:lnTo>
                  <a:lnTo>
                    <a:pt x="1670979" y="535442"/>
                  </a:lnTo>
                  <a:lnTo>
                    <a:pt x="1675172" y="533863"/>
                  </a:lnTo>
                  <a:lnTo>
                    <a:pt x="1677245" y="527399"/>
                  </a:lnTo>
                  <a:lnTo>
                    <a:pt x="1681389" y="527399"/>
                  </a:lnTo>
                  <a:lnTo>
                    <a:pt x="1687606" y="529027"/>
                  </a:lnTo>
                  <a:lnTo>
                    <a:pt x="1700089" y="527399"/>
                  </a:lnTo>
                  <a:lnTo>
                    <a:pt x="1695945" y="522465"/>
                  </a:lnTo>
                  <a:lnTo>
                    <a:pt x="1698017" y="517531"/>
                  </a:lnTo>
                  <a:lnTo>
                    <a:pt x="1712819" y="515903"/>
                  </a:lnTo>
                  <a:lnTo>
                    <a:pt x="1723230" y="510969"/>
                  </a:lnTo>
                  <a:lnTo>
                    <a:pt x="1725302" y="504505"/>
                  </a:lnTo>
                  <a:lnTo>
                    <a:pt x="1746075" y="498091"/>
                  </a:lnTo>
                  <a:lnTo>
                    <a:pt x="1748196" y="491627"/>
                  </a:lnTo>
                  <a:lnTo>
                    <a:pt x="1744003" y="489999"/>
                  </a:lnTo>
                  <a:lnTo>
                    <a:pt x="1731519" y="496463"/>
                  </a:lnTo>
                  <a:lnTo>
                    <a:pt x="1727375" y="493256"/>
                  </a:lnTo>
                  <a:lnTo>
                    <a:pt x="1719085" y="501298"/>
                  </a:lnTo>
                  <a:lnTo>
                    <a:pt x="1714892" y="496364"/>
                  </a:lnTo>
                  <a:lnTo>
                    <a:pt x="1714892" y="483486"/>
                  </a:lnTo>
                  <a:lnTo>
                    <a:pt x="1719085" y="480230"/>
                  </a:lnTo>
                  <a:lnTo>
                    <a:pt x="1721158" y="475296"/>
                  </a:lnTo>
                  <a:lnTo>
                    <a:pt x="1725302" y="475296"/>
                  </a:lnTo>
                  <a:lnTo>
                    <a:pt x="1725302" y="478552"/>
                  </a:lnTo>
                  <a:lnTo>
                    <a:pt x="1727375" y="480131"/>
                  </a:lnTo>
                  <a:lnTo>
                    <a:pt x="1733641" y="475197"/>
                  </a:lnTo>
                  <a:lnTo>
                    <a:pt x="1725302" y="468733"/>
                  </a:lnTo>
                  <a:lnTo>
                    <a:pt x="1735713" y="467154"/>
                  </a:lnTo>
                  <a:lnTo>
                    <a:pt x="1741930" y="472089"/>
                  </a:lnTo>
                  <a:lnTo>
                    <a:pt x="1748196" y="472089"/>
                  </a:lnTo>
                  <a:lnTo>
                    <a:pt x="1758558" y="465625"/>
                  </a:lnTo>
                  <a:lnTo>
                    <a:pt x="1764824" y="468832"/>
                  </a:lnTo>
                  <a:lnTo>
                    <a:pt x="1783524" y="462418"/>
                  </a:lnTo>
                  <a:lnTo>
                    <a:pt x="1791813" y="463997"/>
                  </a:lnTo>
                  <a:lnTo>
                    <a:pt x="1793935" y="468931"/>
                  </a:lnTo>
                  <a:lnTo>
                    <a:pt x="1787669" y="483733"/>
                  </a:lnTo>
                  <a:lnTo>
                    <a:pt x="1787669" y="486940"/>
                  </a:lnTo>
                  <a:lnTo>
                    <a:pt x="1793935" y="491874"/>
                  </a:lnTo>
                  <a:lnTo>
                    <a:pt x="1798079" y="482006"/>
                  </a:lnTo>
                  <a:lnTo>
                    <a:pt x="1804296" y="473963"/>
                  </a:lnTo>
                  <a:lnTo>
                    <a:pt x="1802224" y="467500"/>
                  </a:lnTo>
                  <a:lnTo>
                    <a:pt x="1804296" y="464243"/>
                  </a:lnTo>
                  <a:lnTo>
                    <a:pt x="1810513" y="470707"/>
                  </a:lnTo>
                  <a:lnTo>
                    <a:pt x="1810513" y="480575"/>
                  </a:lnTo>
                  <a:lnTo>
                    <a:pt x="1816780" y="480575"/>
                  </a:lnTo>
                  <a:lnTo>
                    <a:pt x="1820924" y="474161"/>
                  </a:lnTo>
                  <a:lnTo>
                    <a:pt x="1816780" y="467697"/>
                  </a:lnTo>
                  <a:lnTo>
                    <a:pt x="1823046" y="464441"/>
                  </a:lnTo>
                  <a:lnTo>
                    <a:pt x="1825068" y="464441"/>
                  </a:lnTo>
                  <a:lnTo>
                    <a:pt x="1827190" y="470904"/>
                  </a:lnTo>
                  <a:lnTo>
                    <a:pt x="1837601" y="464441"/>
                  </a:lnTo>
                  <a:lnTo>
                    <a:pt x="1839624" y="461234"/>
                  </a:lnTo>
                  <a:lnTo>
                    <a:pt x="1833407" y="454770"/>
                  </a:lnTo>
                  <a:lnTo>
                    <a:pt x="1841745" y="454770"/>
                  </a:lnTo>
                  <a:lnTo>
                    <a:pt x="1845890" y="451563"/>
                  </a:lnTo>
                  <a:lnTo>
                    <a:pt x="1837601" y="449935"/>
                  </a:lnTo>
                  <a:lnTo>
                    <a:pt x="1845890" y="441892"/>
                  </a:lnTo>
                  <a:lnTo>
                    <a:pt x="1856301" y="441892"/>
                  </a:lnTo>
                  <a:lnTo>
                    <a:pt x="1862518" y="438685"/>
                  </a:lnTo>
                  <a:lnTo>
                    <a:pt x="1866712" y="440264"/>
                  </a:lnTo>
                  <a:lnTo>
                    <a:pt x="1866712" y="443520"/>
                  </a:lnTo>
                  <a:lnTo>
                    <a:pt x="1868735" y="445099"/>
                  </a:lnTo>
                  <a:lnTo>
                    <a:pt x="1881267" y="446728"/>
                  </a:lnTo>
                  <a:lnTo>
                    <a:pt x="1881267" y="454770"/>
                  </a:lnTo>
                  <a:lnTo>
                    <a:pt x="1885412" y="459704"/>
                  </a:lnTo>
                  <a:lnTo>
                    <a:pt x="1879146" y="472631"/>
                  </a:lnTo>
                  <a:lnTo>
                    <a:pt x="1889557" y="469375"/>
                  </a:lnTo>
                  <a:lnTo>
                    <a:pt x="1895823" y="456497"/>
                  </a:lnTo>
                  <a:lnTo>
                    <a:pt x="1887484" y="443619"/>
                  </a:lnTo>
                  <a:lnTo>
                    <a:pt x="1879146" y="438685"/>
                  </a:lnTo>
                  <a:lnTo>
                    <a:pt x="1870856" y="430593"/>
                  </a:lnTo>
                  <a:lnTo>
                    <a:pt x="1864590" y="435527"/>
                  </a:lnTo>
                  <a:lnTo>
                    <a:pt x="1860446" y="432320"/>
                  </a:lnTo>
                  <a:lnTo>
                    <a:pt x="1852157" y="433948"/>
                  </a:lnTo>
                  <a:lnTo>
                    <a:pt x="1850035" y="427485"/>
                  </a:lnTo>
                  <a:lnTo>
                    <a:pt x="1841745" y="425857"/>
                  </a:lnTo>
                  <a:lnTo>
                    <a:pt x="1841745" y="425709"/>
                  </a:lnTo>
                  <a:lnTo>
                    <a:pt x="1845890" y="420775"/>
                  </a:lnTo>
                  <a:lnTo>
                    <a:pt x="1860693" y="420775"/>
                  </a:lnTo>
                  <a:lnTo>
                    <a:pt x="1866959" y="415841"/>
                  </a:lnTo>
                  <a:lnTo>
                    <a:pt x="1873175" y="415841"/>
                  </a:lnTo>
                  <a:lnTo>
                    <a:pt x="1879392" y="417469"/>
                  </a:lnTo>
                  <a:lnTo>
                    <a:pt x="1885658" y="414262"/>
                  </a:lnTo>
                  <a:lnTo>
                    <a:pt x="1891875" y="417469"/>
                  </a:lnTo>
                  <a:lnTo>
                    <a:pt x="1908503" y="411005"/>
                  </a:lnTo>
                  <a:lnTo>
                    <a:pt x="1916842" y="415939"/>
                  </a:lnTo>
                  <a:lnTo>
                    <a:pt x="1923059" y="414360"/>
                  </a:lnTo>
                  <a:lnTo>
                    <a:pt x="1929325" y="415939"/>
                  </a:lnTo>
                  <a:lnTo>
                    <a:pt x="1933470" y="412732"/>
                  </a:lnTo>
                  <a:lnTo>
                    <a:pt x="1931397" y="407798"/>
                  </a:lnTo>
                  <a:lnTo>
                    <a:pt x="1920986" y="407798"/>
                  </a:lnTo>
                  <a:lnTo>
                    <a:pt x="1908503" y="402864"/>
                  </a:lnTo>
                  <a:lnTo>
                    <a:pt x="1900214" y="406071"/>
                  </a:lnTo>
                  <a:lnTo>
                    <a:pt x="1887731" y="406071"/>
                  </a:lnTo>
                  <a:lnTo>
                    <a:pt x="1887731" y="401137"/>
                  </a:lnTo>
                  <a:lnTo>
                    <a:pt x="1883537" y="393095"/>
                  </a:lnTo>
                  <a:lnTo>
                    <a:pt x="1893948" y="388161"/>
                  </a:lnTo>
                  <a:lnTo>
                    <a:pt x="1883537" y="384954"/>
                  </a:lnTo>
                  <a:lnTo>
                    <a:pt x="1875248" y="376862"/>
                  </a:lnTo>
                  <a:lnTo>
                    <a:pt x="1868981" y="376862"/>
                  </a:lnTo>
                  <a:lnTo>
                    <a:pt x="1862764" y="368819"/>
                  </a:lnTo>
                  <a:lnTo>
                    <a:pt x="1860693" y="362356"/>
                  </a:lnTo>
                  <a:lnTo>
                    <a:pt x="1866959" y="362356"/>
                  </a:lnTo>
                  <a:lnTo>
                    <a:pt x="1866959" y="354313"/>
                  </a:lnTo>
                  <a:lnTo>
                    <a:pt x="1858620" y="347850"/>
                  </a:lnTo>
                  <a:lnTo>
                    <a:pt x="1860693" y="318837"/>
                  </a:lnTo>
                  <a:lnTo>
                    <a:pt x="1866959" y="312374"/>
                  </a:lnTo>
                  <a:lnTo>
                    <a:pt x="1864837" y="304331"/>
                  </a:lnTo>
                  <a:lnTo>
                    <a:pt x="1866959" y="294463"/>
                  </a:lnTo>
                  <a:lnTo>
                    <a:pt x="1873175" y="288000"/>
                  </a:lnTo>
                  <a:lnTo>
                    <a:pt x="1868981" y="281536"/>
                  </a:lnTo>
                  <a:lnTo>
                    <a:pt x="1875248" y="279908"/>
                  </a:lnTo>
                  <a:lnTo>
                    <a:pt x="1877320" y="274974"/>
                  </a:lnTo>
                  <a:close/>
                  <a:moveTo>
                    <a:pt x="1935246" y="208019"/>
                  </a:moveTo>
                  <a:lnTo>
                    <a:pt x="1939440" y="209647"/>
                  </a:lnTo>
                  <a:lnTo>
                    <a:pt x="1941463" y="216061"/>
                  </a:lnTo>
                  <a:lnTo>
                    <a:pt x="1937318" y="222525"/>
                  </a:lnTo>
                  <a:lnTo>
                    <a:pt x="1933173" y="219318"/>
                  </a:lnTo>
                  <a:lnTo>
                    <a:pt x="1929029" y="222525"/>
                  </a:lnTo>
                  <a:lnTo>
                    <a:pt x="1920690" y="224153"/>
                  </a:lnTo>
                  <a:lnTo>
                    <a:pt x="1908207" y="222525"/>
                  </a:lnTo>
                  <a:lnTo>
                    <a:pt x="1908207" y="219417"/>
                  </a:lnTo>
                  <a:lnTo>
                    <a:pt x="1912352" y="214483"/>
                  </a:lnTo>
                  <a:lnTo>
                    <a:pt x="1920690" y="216061"/>
                  </a:lnTo>
                  <a:lnTo>
                    <a:pt x="1924884" y="209647"/>
                  </a:lnTo>
                  <a:lnTo>
                    <a:pt x="1931101" y="209647"/>
                  </a:lnTo>
                  <a:close/>
                  <a:moveTo>
                    <a:pt x="1908207" y="201555"/>
                  </a:moveTo>
                  <a:lnTo>
                    <a:pt x="1910329" y="204812"/>
                  </a:lnTo>
                  <a:lnTo>
                    <a:pt x="1906135" y="206391"/>
                  </a:lnTo>
                  <a:lnTo>
                    <a:pt x="1904062" y="209647"/>
                  </a:lnTo>
                  <a:lnTo>
                    <a:pt x="1906135" y="211226"/>
                  </a:lnTo>
                  <a:lnTo>
                    <a:pt x="1906135" y="214483"/>
                  </a:lnTo>
                  <a:lnTo>
                    <a:pt x="1899918" y="219417"/>
                  </a:lnTo>
                  <a:lnTo>
                    <a:pt x="1895773" y="221094"/>
                  </a:lnTo>
                  <a:lnTo>
                    <a:pt x="1891580" y="217887"/>
                  </a:lnTo>
                  <a:lnTo>
                    <a:pt x="1893652" y="212953"/>
                  </a:lnTo>
                  <a:lnTo>
                    <a:pt x="1897797" y="211325"/>
                  </a:lnTo>
                  <a:lnTo>
                    <a:pt x="1897797" y="208118"/>
                  </a:lnTo>
                  <a:lnTo>
                    <a:pt x="1901990" y="203184"/>
                  </a:lnTo>
                  <a:close/>
                  <a:moveTo>
                    <a:pt x="2768801" y="193513"/>
                  </a:moveTo>
                  <a:lnTo>
                    <a:pt x="2772946" y="195141"/>
                  </a:lnTo>
                  <a:lnTo>
                    <a:pt x="2779212" y="198348"/>
                  </a:lnTo>
                  <a:lnTo>
                    <a:pt x="2785429" y="206391"/>
                  </a:lnTo>
                  <a:lnTo>
                    <a:pt x="2797912" y="208019"/>
                  </a:lnTo>
                  <a:lnTo>
                    <a:pt x="2804179" y="211226"/>
                  </a:lnTo>
                  <a:lnTo>
                    <a:pt x="2806202" y="219318"/>
                  </a:lnTo>
                  <a:lnTo>
                    <a:pt x="2814540" y="233824"/>
                  </a:lnTo>
                  <a:lnTo>
                    <a:pt x="2814540" y="242163"/>
                  </a:lnTo>
                  <a:lnTo>
                    <a:pt x="2810396" y="243791"/>
                  </a:lnTo>
                  <a:lnTo>
                    <a:pt x="2804179" y="240534"/>
                  </a:lnTo>
                  <a:lnTo>
                    <a:pt x="2797912" y="227656"/>
                  </a:lnTo>
                  <a:lnTo>
                    <a:pt x="2787502" y="216358"/>
                  </a:lnTo>
                  <a:lnTo>
                    <a:pt x="2777091" y="206489"/>
                  </a:lnTo>
                  <a:lnTo>
                    <a:pt x="2770874" y="198447"/>
                  </a:lnTo>
                  <a:close/>
                  <a:moveTo>
                    <a:pt x="1464588" y="138301"/>
                  </a:moveTo>
                  <a:lnTo>
                    <a:pt x="1479390" y="139880"/>
                  </a:lnTo>
                  <a:lnTo>
                    <a:pt x="1494192" y="146344"/>
                  </a:lnTo>
                  <a:lnTo>
                    <a:pt x="1496265" y="151278"/>
                  </a:lnTo>
                  <a:lnTo>
                    <a:pt x="1492120" y="161146"/>
                  </a:lnTo>
                  <a:lnTo>
                    <a:pt x="1487926" y="169237"/>
                  </a:lnTo>
                  <a:lnTo>
                    <a:pt x="1483782" y="170816"/>
                  </a:lnTo>
                  <a:lnTo>
                    <a:pt x="1475492" y="177280"/>
                  </a:lnTo>
                  <a:lnTo>
                    <a:pt x="1467154" y="182214"/>
                  </a:lnTo>
                  <a:lnTo>
                    <a:pt x="1460937" y="182214"/>
                  </a:lnTo>
                  <a:lnTo>
                    <a:pt x="1454720" y="179007"/>
                  </a:lnTo>
                  <a:lnTo>
                    <a:pt x="1452598" y="175750"/>
                  </a:lnTo>
                  <a:lnTo>
                    <a:pt x="1460444" y="175652"/>
                  </a:lnTo>
                  <a:lnTo>
                    <a:pt x="1470854" y="172445"/>
                  </a:lnTo>
                  <a:lnTo>
                    <a:pt x="1474999" y="170816"/>
                  </a:lnTo>
                  <a:lnTo>
                    <a:pt x="1468782" y="169237"/>
                  </a:lnTo>
                  <a:lnTo>
                    <a:pt x="1456299" y="170816"/>
                  </a:lnTo>
                  <a:lnTo>
                    <a:pt x="1447960" y="167609"/>
                  </a:lnTo>
                  <a:lnTo>
                    <a:pt x="1441744" y="161146"/>
                  </a:lnTo>
                  <a:lnTo>
                    <a:pt x="1435477" y="157939"/>
                  </a:lnTo>
                  <a:lnTo>
                    <a:pt x="1431333" y="153005"/>
                  </a:lnTo>
                  <a:lnTo>
                    <a:pt x="1422994" y="151376"/>
                  </a:lnTo>
                  <a:lnTo>
                    <a:pt x="1418850" y="146442"/>
                  </a:lnTo>
                  <a:lnTo>
                    <a:pt x="1420922" y="144814"/>
                  </a:lnTo>
                  <a:lnTo>
                    <a:pt x="1431333" y="144814"/>
                  </a:lnTo>
                  <a:lnTo>
                    <a:pt x="1437550" y="139880"/>
                  </a:lnTo>
                  <a:lnTo>
                    <a:pt x="1441744" y="139880"/>
                  </a:lnTo>
                  <a:lnTo>
                    <a:pt x="1447960" y="143136"/>
                  </a:lnTo>
                  <a:lnTo>
                    <a:pt x="1454227" y="139880"/>
                  </a:lnTo>
                  <a:close/>
                  <a:moveTo>
                    <a:pt x="1723181" y="134058"/>
                  </a:moveTo>
                  <a:lnTo>
                    <a:pt x="1729398" y="134058"/>
                  </a:lnTo>
                  <a:lnTo>
                    <a:pt x="1737736" y="137265"/>
                  </a:lnTo>
                  <a:lnTo>
                    <a:pt x="1743953" y="138893"/>
                  </a:lnTo>
                  <a:lnTo>
                    <a:pt x="1752243" y="142100"/>
                  </a:lnTo>
                  <a:lnTo>
                    <a:pt x="1754364" y="161442"/>
                  </a:lnTo>
                  <a:lnTo>
                    <a:pt x="1756436" y="166376"/>
                  </a:lnTo>
                  <a:lnTo>
                    <a:pt x="1760581" y="166376"/>
                  </a:lnTo>
                  <a:lnTo>
                    <a:pt x="1758508" y="161442"/>
                  </a:lnTo>
                  <a:lnTo>
                    <a:pt x="1764775" y="158235"/>
                  </a:lnTo>
                  <a:lnTo>
                    <a:pt x="1762703" y="153301"/>
                  </a:lnTo>
                  <a:lnTo>
                    <a:pt x="1758508" y="148367"/>
                  </a:lnTo>
                  <a:lnTo>
                    <a:pt x="1758508" y="145110"/>
                  </a:lnTo>
                  <a:lnTo>
                    <a:pt x="1762703" y="146738"/>
                  </a:lnTo>
                  <a:lnTo>
                    <a:pt x="1770992" y="154830"/>
                  </a:lnTo>
                  <a:lnTo>
                    <a:pt x="1773064" y="154830"/>
                  </a:lnTo>
                  <a:lnTo>
                    <a:pt x="1775136" y="149896"/>
                  </a:lnTo>
                  <a:lnTo>
                    <a:pt x="1779330" y="149896"/>
                  </a:lnTo>
                  <a:lnTo>
                    <a:pt x="1785547" y="154830"/>
                  </a:lnTo>
                  <a:lnTo>
                    <a:pt x="1787619" y="159764"/>
                  </a:lnTo>
                  <a:lnTo>
                    <a:pt x="1791764" y="161343"/>
                  </a:lnTo>
                  <a:lnTo>
                    <a:pt x="1793886" y="158136"/>
                  </a:lnTo>
                  <a:lnTo>
                    <a:pt x="1798030" y="159764"/>
                  </a:lnTo>
                  <a:lnTo>
                    <a:pt x="1806319" y="166178"/>
                  </a:lnTo>
                  <a:lnTo>
                    <a:pt x="1814658" y="169435"/>
                  </a:lnTo>
                  <a:lnTo>
                    <a:pt x="1820875" y="172642"/>
                  </a:lnTo>
                  <a:lnTo>
                    <a:pt x="1822996" y="171014"/>
                  </a:lnTo>
                  <a:lnTo>
                    <a:pt x="1831285" y="171014"/>
                  </a:lnTo>
                  <a:lnTo>
                    <a:pt x="1841696" y="177477"/>
                  </a:lnTo>
                  <a:lnTo>
                    <a:pt x="1841696" y="183250"/>
                  </a:lnTo>
                  <a:lnTo>
                    <a:pt x="1845841" y="189664"/>
                  </a:lnTo>
                  <a:lnTo>
                    <a:pt x="1856252" y="199532"/>
                  </a:lnTo>
                  <a:lnTo>
                    <a:pt x="1858324" y="205947"/>
                  </a:lnTo>
                  <a:lnTo>
                    <a:pt x="1852107" y="218874"/>
                  </a:lnTo>
                  <a:lnTo>
                    <a:pt x="1847913" y="222081"/>
                  </a:lnTo>
                  <a:lnTo>
                    <a:pt x="1845841" y="227015"/>
                  </a:lnTo>
                  <a:lnTo>
                    <a:pt x="1833358" y="235058"/>
                  </a:lnTo>
                  <a:lnTo>
                    <a:pt x="1825020" y="236686"/>
                  </a:lnTo>
                  <a:lnTo>
                    <a:pt x="1822996" y="241620"/>
                  </a:lnTo>
                  <a:lnTo>
                    <a:pt x="1818803" y="248083"/>
                  </a:lnTo>
                  <a:lnTo>
                    <a:pt x="1814658" y="248083"/>
                  </a:lnTo>
                  <a:lnTo>
                    <a:pt x="1810464" y="244876"/>
                  </a:lnTo>
                  <a:lnTo>
                    <a:pt x="1804247" y="246455"/>
                  </a:lnTo>
                  <a:lnTo>
                    <a:pt x="1787619" y="254547"/>
                  </a:lnTo>
                  <a:lnTo>
                    <a:pt x="1787619" y="264415"/>
                  </a:lnTo>
                  <a:lnTo>
                    <a:pt x="1783475" y="267622"/>
                  </a:lnTo>
                  <a:lnTo>
                    <a:pt x="1775136" y="275665"/>
                  </a:lnTo>
                  <a:lnTo>
                    <a:pt x="1770992" y="285533"/>
                  </a:lnTo>
                  <a:lnTo>
                    <a:pt x="1760581" y="287112"/>
                  </a:lnTo>
                  <a:lnTo>
                    <a:pt x="1756189" y="284151"/>
                  </a:lnTo>
                  <a:lnTo>
                    <a:pt x="1756189" y="277688"/>
                  </a:lnTo>
                  <a:lnTo>
                    <a:pt x="1749973" y="272754"/>
                  </a:lnTo>
                  <a:lnTo>
                    <a:pt x="1745779" y="262885"/>
                  </a:lnTo>
                  <a:lnTo>
                    <a:pt x="1741634" y="255287"/>
                  </a:lnTo>
                  <a:lnTo>
                    <a:pt x="1743706" y="252031"/>
                  </a:lnTo>
                  <a:lnTo>
                    <a:pt x="1743706" y="245616"/>
                  </a:lnTo>
                  <a:lnTo>
                    <a:pt x="1739562" y="242360"/>
                  </a:lnTo>
                  <a:lnTo>
                    <a:pt x="1739562" y="235896"/>
                  </a:lnTo>
                  <a:lnTo>
                    <a:pt x="1737489" y="227854"/>
                  </a:lnTo>
                  <a:lnTo>
                    <a:pt x="1731224" y="216555"/>
                  </a:lnTo>
                  <a:lnTo>
                    <a:pt x="1735417" y="205305"/>
                  </a:lnTo>
                  <a:lnTo>
                    <a:pt x="1741634" y="205305"/>
                  </a:lnTo>
                  <a:lnTo>
                    <a:pt x="1745779" y="202049"/>
                  </a:lnTo>
                  <a:lnTo>
                    <a:pt x="1739809" y="202049"/>
                  </a:lnTo>
                  <a:lnTo>
                    <a:pt x="1733592" y="197115"/>
                  </a:lnTo>
                  <a:lnTo>
                    <a:pt x="1727325" y="180981"/>
                  </a:lnTo>
                  <a:lnTo>
                    <a:pt x="1727325" y="176046"/>
                  </a:lnTo>
                  <a:lnTo>
                    <a:pt x="1725253" y="172839"/>
                  </a:lnTo>
                  <a:lnTo>
                    <a:pt x="1719036" y="171211"/>
                  </a:lnTo>
                  <a:lnTo>
                    <a:pt x="1714842" y="168004"/>
                  </a:lnTo>
                  <a:lnTo>
                    <a:pt x="1714842" y="161540"/>
                  </a:lnTo>
                  <a:lnTo>
                    <a:pt x="1716915" y="158333"/>
                  </a:lnTo>
                  <a:lnTo>
                    <a:pt x="1714842" y="153399"/>
                  </a:lnTo>
                  <a:lnTo>
                    <a:pt x="1714842" y="150192"/>
                  </a:lnTo>
                  <a:lnTo>
                    <a:pt x="1716915" y="148564"/>
                  </a:lnTo>
                  <a:lnTo>
                    <a:pt x="1721109" y="153498"/>
                  </a:lnTo>
                  <a:lnTo>
                    <a:pt x="1725253" y="156705"/>
                  </a:lnTo>
                  <a:lnTo>
                    <a:pt x="1729398" y="156705"/>
                  </a:lnTo>
                  <a:lnTo>
                    <a:pt x="1733592" y="155126"/>
                  </a:lnTo>
                  <a:lnTo>
                    <a:pt x="1727325" y="148663"/>
                  </a:lnTo>
                  <a:lnTo>
                    <a:pt x="1721109" y="145406"/>
                  </a:lnTo>
                  <a:lnTo>
                    <a:pt x="1719036" y="138992"/>
                  </a:lnTo>
                  <a:close/>
                  <a:moveTo>
                    <a:pt x="2958021" y="127397"/>
                  </a:moveTo>
                  <a:lnTo>
                    <a:pt x="2987132" y="127397"/>
                  </a:lnTo>
                  <a:lnTo>
                    <a:pt x="3005833" y="135439"/>
                  </a:lnTo>
                  <a:lnTo>
                    <a:pt x="3020388" y="135439"/>
                  </a:lnTo>
                  <a:lnTo>
                    <a:pt x="3037065" y="137068"/>
                  </a:lnTo>
                  <a:lnTo>
                    <a:pt x="3055716" y="142002"/>
                  </a:lnTo>
                  <a:lnTo>
                    <a:pt x="3055716" y="145209"/>
                  </a:lnTo>
                  <a:lnTo>
                    <a:pt x="3047427" y="146837"/>
                  </a:lnTo>
                  <a:lnTo>
                    <a:pt x="3043282" y="150093"/>
                  </a:lnTo>
                  <a:lnTo>
                    <a:pt x="3043282" y="156508"/>
                  </a:lnTo>
                  <a:lnTo>
                    <a:pt x="3049499" y="164600"/>
                  </a:lnTo>
                  <a:lnTo>
                    <a:pt x="3057838" y="166178"/>
                  </a:lnTo>
                  <a:lnTo>
                    <a:pt x="3059909" y="174270"/>
                  </a:lnTo>
                  <a:lnTo>
                    <a:pt x="3059909" y="179204"/>
                  </a:lnTo>
                  <a:lnTo>
                    <a:pt x="3055716" y="184138"/>
                  </a:lnTo>
                  <a:lnTo>
                    <a:pt x="3055716" y="192181"/>
                  </a:lnTo>
                  <a:lnTo>
                    <a:pt x="3049499" y="197115"/>
                  </a:lnTo>
                  <a:lnTo>
                    <a:pt x="3047427" y="202049"/>
                  </a:lnTo>
                  <a:lnTo>
                    <a:pt x="3039137" y="197115"/>
                  </a:lnTo>
                  <a:lnTo>
                    <a:pt x="3034944" y="197115"/>
                  </a:lnTo>
                  <a:lnTo>
                    <a:pt x="3028727" y="202049"/>
                  </a:lnTo>
                  <a:lnTo>
                    <a:pt x="3020388" y="202049"/>
                  </a:lnTo>
                  <a:lnTo>
                    <a:pt x="3003760" y="195635"/>
                  </a:lnTo>
                  <a:lnTo>
                    <a:pt x="2995521" y="188875"/>
                  </a:lnTo>
                  <a:lnTo>
                    <a:pt x="2978893" y="177576"/>
                  </a:lnTo>
                  <a:lnTo>
                    <a:pt x="2976771" y="169534"/>
                  </a:lnTo>
                  <a:lnTo>
                    <a:pt x="2978893" y="163070"/>
                  </a:lnTo>
                  <a:lnTo>
                    <a:pt x="2980965" y="158136"/>
                  </a:lnTo>
                  <a:lnTo>
                    <a:pt x="2980965" y="154929"/>
                  </a:lnTo>
                  <a:lnTo>
                    <a:pt x="2978893" y="148465"/>
                  </a:lnTo>
                  <a:lnTo>
                    <a:pt x="2974699" y="146837"/>
                  </a:lnTo>
                  <a:lnTo>
                    <a:pt x="2972627" y="140373"/>
                  </a:lnTo>
                  <a:lnTo>
                    <a:pt x="2968482" y="138794"/>
                  </a:lnTo>
                  <a:lnTo>
                    <a:pt x="2964337" y="133860"/>
                  </a:lnTo>
                  <a:close/>
                  <a:moveTo>
                    <a:pt x="3193228" y="127249"/>
                  </a:moveTo>
                  <a:lnTo>
                    <a:pt x="3203638" y="130456"/>
                  </a:lnTo>
                  <a:lnTo>
                    <a:pt x="3209855" y="127249"/>
                  </a:lnTo>
                  <a:lnTo>
                    <a:pt x="3211927" y="130456"/>
                  </a:lnTo>
                  <a:lnTo>
                    <a:pt x="3211927" y="133712"/>
                  </a:lnTo>
                  <a:lnTo>
                    <a:pt x="3214049" y="138646"/>
                  </a:lnTo>
                  <a:lnTo>
                    <a:pt x="3220266" y="138646"/>
                  </a:lnTo>
                  <a:lnTo>
                    <a:pt x="3226483" y="140225"/>
                  </a:lnTo>
                  <a:lnTo>
                    <a:pt x="3228604" y="150093"/>
                  </a:lnTo>
                  <a:lnTo>
                    <a:pt x="3222338" y="156508"/>
                  </a:lnTo>
                  <a:lnTo>
                    <a:pt x="3220266" y="164600"/>
                  </a:lnTo>
                  <a:lnTo>
                    <a:pt x="3205464" y="171014"/>
                  </a:lnTo>
                  <a:lnTo>
                    <a:pt x="3199247" y="174270"/>
                  </a:lnTo>
                  <a:lnTo>
                    <a:pt x="3188836" y="171014"/>
                  </a:lnTo>
                  <a:lnTo>
                    <a:pt x="3178426" y="174270"/>
                  </a:lnTo>
                  <a:lnTo>
                    <a:pt x="3168014" y="172642"/>
                  </a:lnTo>
                  <a:lnTo>
                    <a:pt x="3153212" y="167708"/>
                  </a:lnTo>
                  <a:lnTo>
                    <a:pt x="3136584" y="166080"/>
                  </a:lnTo>
                  <a:lnTo>
                    <a:pt x="3111914" y="159665"/>
                  </a:lnTo>
                  <a:lnTo>
                    <a:pt x="3107721" y="153202"/>
                  </a:lnTo>
                  <a:lnTo>
                    <a:pt x="3095237" y="138696"/>
                  </a:lnTo>
                  <a:lnTo>
                    <a:pt x="3091093" y="127397"/>
                  </a:lnTo>
                  <a:lnTo>
                    <a:pt x="3097606" y="128877"/>
                  </a:lnTo>
                  <a:lnTo>
                    <a:pt x="3099629" y="132084"/>
                  </a:lnTo>
                  <a:lnTo>
                    <a:pt x="3103822" y="137018"/>
                  </a:lnTo>
                  <a:lnTo>
                    <a:pt x="3116306" y="140225"/>
                  </a:lnTo>
                  <a:lnTo>
                    <a:pt x="3122523" y="135291"/>
                  </a:lnTo>
                  <a:lnTo>
                    <a:pt x="3122523" y="130357"/>
                  </a:lnTo>
                  <a:lnTo>
                    <a:pt x="3126716" y="131986"/>
                  </a:lnTo>
                  <a:lnTo>
                    <a:pt x="3139150" y="131986"/>
                  </a:lnTo>
                  <a:lnTo>
                    <a:pt x="3147489" y="130357"/>
                  </a:lnTo>
                  <a:lnTo>
                    <a:pt x="3151633" y="130357"/>
                  </a:lnTo>
                  <a:lnTo>
                    <a:pt x="3153706" y="135291"/>
                  </a:lnTo>
                  <a:lnTo>
                    <a:pt x="3155827" y="138548"/>
                  </a:lnTo>
                  <a:lnTo>
                    <a:pt x="3164116" y="136920"/>
                  </a:lnTo>
                  <a:lnTo>
                    <a:pt x="3174528" y="130456"/>
                  </a:lnTo>
                  <a:close/>
                  <a:moveTo>
                    <a:pt x="2901873" y="118121"/>
                  </a:moveTo>
                  <a:lnTo>
                    <a:pt x="2910211" y="121328"/>
                  </a:lnTo>
                  <a:lnTo>
                    <a:pt x="2918451" y="121328"/>
                  </a:lnTo>
                  <a:lnTo>
                    <a:pt x="2924717" y="126262"/>
                  </a:lnTo>
                  <a:lnTo>
                    <a:pt x="2933006" y="127890"/>
                  </a:lnTo>
                  <a:lnTo>
                    <a:pt x="2945489" y="127890"/>
                  </a:lnTo>
                  <a:lnTo>
                    <a:pt x="2951756" y="131097"/>
                  </a:lnTo>
                  <a:lnTo>
                    <a:pt x="2955900" y="132726"/>
                  </a:lnTo>
                  <a:lnTo>
                    <a:pt x="2955900" y="137660"/>
                  </a:lnTo>
                  <a:lnTo>
                    <a:pt x="2953828" y="139239"/>
                  </a:lnTo>
                  <a:lnTo>
                    <a:pt x="2949683" y="140867"/>
                  </a:lnTo>
                  <a:lnTo>
                    <a:pt x="2953828" y="145801"/>
                  </a:lnTo>
                  <a:lnTo>
                    <a:pt x="2949683" y="147429"/>
                  </a:lnTo>
                  <a:lnTo>
                    <a:pt x="2949683" y="150636"/>
                  </a:lnTo>
                  <a:lnTo>
                    <a:pt x="2955900" y="153893"/>
                  </a:lnTo>
                  <a:lnTo>
                    <a:pt x="2957973" y="160307"/>
                  </a:lnTo>
                  <a:lnTo>
                    <a:pt x="2964238" y="165241"/>
                  </a:lnTo>
                  <a:lnTo>
                    <a:pt x="2964238" y="170175"/>
                  </a:lnTo>
                  <a:lnTo>
                    <a:pt x="2968383" y="181474"/>
                  </a:lnTo>
                  <a:lnTo>
                    <a:pt x="2974600" y="183102"/>
                  </a:lnTo>
                  <a:lnTo>
                    <a:pt x="2985011" y="192970"/>
                  </a:lnTo>
                  <a:lnTo>
                    <a:pt x="2987083" y="196177"/>
                  </a:lnTo>
                  <a:lnTo>
                    <a:pt x="2995422" y="197806"/>
                  </a:lnTo>
                  <a:lnTo>
                    <a:pt x="2999566" y="201013"/>
                  </a:lnTo>
                  <a:lnTo>
                    <a:pt x="3012000" y="204269"/>
                  </a:lnTo>
                  <a:lnTo>
                    <a:pt x="3020338" y="209203"/>
                  </a:lnTo>
                  <a:lnTo>
                    <a:pt x="3032822" y="205947"/>
                  </a:lnTo>
                  <a:lnTo>
                    <a:pt x="3041111" y="204368"/>
                  </a:lnTo>
                  <a:lnTo>
                    <a:pt x="3045305" y="207575"/>
                  </a:lnTo>
                  <a:lnTo>
                    <a:pt x="3039088" y="212509"/>
                  </a:lnTo>
                  <a:lnTo>
                    <a:pt x="3028677" y="217443"/>
                  </a:lnTo>
                  <a:lnTo>
                    <a:pt x="3028677" y="222377"/>
                  </a:lnTo>
                  <a:lnTo>
                    <a:pt x="3022460" y="225584"/>
                  </a:lnTo>
                  <a:lnTo>
                    <a:pt x="3016194" y="222377"/>
                  </a:lnTo>
                  <a:lnTo>
                    <a:pt x="3009977" y="222377"/>
                  </a:lnTo>
                  <a:lnTo>
                    <a:pt x="3012000" y="217443"/>
                  </a:lnTo>
                  <a:lnTo>
                    <a:pt x="3009977" y="215815"/>
                  </a:lnTo>
                  <a:lnTo>
                    <a:pt x="3001639" y="220749"/>
                  </a:lnTo>
                  <a:lnTo>
                    <a:pt x="2993349" y="222377"/>
                  </a:lnTo>
                  <a:lnTo>
                    <a:pt x="2982939" y="232245"/>
                  </a:lnTo>
                  <a:lnTo>
                    <a:pt x="2974600" y="243544"/>
                  </a:lnTo>
                  <a:lnTo>
                    <a:pt x="2968383" y="251587"/>
                  </a:lnTo>
                  <a:lnTo>
                    <a:pt x="2964238" y="253215"/>
                  </a:lnTo>
                  <a:lnTo>
                    <a:pt x="2964238" y="250008"/>
                  </a:lnTo>
                  <a:lnTo>
                    <a:pt x="2960045" y="245074"/>
                  </a:lnTo>
                  <a:lnTo>
                    <a:pt x="2953828" y="243445"/>
                  </a:lnTo>
                  <a:lnTo>
                    <a:pt x="2951756" y="240189"/>
                  </a:lnTo>
                  <a:lnTo>
                    <a:pt x="2947561" y="236982"/>
                  </a:lnTo>
                  <a:lnTo>
                    <a:pt x="2945489" y="240189"/>
                  </a:lnTo>
                  <a:lnTo>
                    <a:pt x="2945489" y="245123"/>
                  </a:lnTo>
                  <a:lnTo>
                    <a:pt x="2949683" y="248330"/>
                  </a:lnTo>
                  <a:lnTo>
                    <a:pt x="2955950" y="248330"/>
                  </a:lnTo>
                  <a:lnTo>
                    <a:pt x="2953877" y="253363"/>
                  </a:lnTo>
                  <a:lnTo>
                    <a:pt x="2958021" y="259826"/>
                  </a:lnTo>
                  <a:lnTo>
                    <a:pt x="2958021" y="266241"/>
                  </a:lnTo>
                  <a:lnTo>
                    <a:pt x="2955950" y="271175"/>
                  </a:lnTo>
                  <a:lnTo>
                    <a:pt x="2949733" y="272803"/>
                  </a:lnTo>
                  <a:lnTo>
                    <a:pt x="2941394" y="267869"/>
                  </a:lnTo>
                  <a:lnTo>
                    <a:pt x="2933056" y="267869"/>
                  </a:lnTo>
                  <a:lnTo>
                    <a:pt x="2922645" y="271076"/>
                  </a:lnTo>
                  <a:lnTo>
                    <a:pt x="2912283" y="271076"/>
                  </a:lnTo>
                  <a:lnTo>
                    <a:pt x="2906067" y="266142"/>
                  </a:lnTo>
                  <a:lnTo>
                    <a:pt x="2901873" y="259728"/>
                  </a:lnTo>
                  <a:lnTo>
                    <a:pt x="2895656" y="256471"/>
                  </a:lnTo>
                  <a:lnTo>
                    <a:pt x="2889389" y="251537"/>
                  </a:lnTo>
                  <a:lnTo>
                    <a:pt x="2878979" y="253165"/>
                  </a:lnTo>
                  <a:lnTo>
                    <a:pt x="2868617" y="248231"/>
                  </a:lnTo>
                  <a:lnTo>
                    <a:pt x="2845723" y="236932"/>
                  </a:lnTo>
                  <a:lnTo>
                    <a:pt x="2843651" y="230469"/>
                  </a:lnTo>
                  <a:lnTo>
                    <a:pt x="2845723" y="227262"/>
                  </a:lnTo>
                  <a:lnTo>
                    <a:pt x="2851989" y="227262"/>
                  </a:lnTo>
                  <a:lnTo>
                    <a:pt x="2854062" y="228890"/>
                  </a:lnTo>
                  <a:lnTo>
                    <a:pt x="2858206" y="225633"/>
                  </a:lnTo>
                  <a:lnTo>
                    <a:pt x="2856134" y="222426"/>
                  </a:lnTo>
                  <a:lnTo>
                    <a:pt x="2849868" y="220798"/>
                  </a:lnTo>
                  <a:lnTo>
                    <a:pt x="2847845" y="222426"/>
                  </a:lnTo>
                  <a:lnTo>
                    <a:pt x="2843651" y="220798"/>
                  </a:lnTo>
                  <a:lnTo>
                    <a:pt x="2845723" y="217591"/>
                  </a:lnTo>
                  <a:lnTo>
                    <a:pt x="2843651" y="214384"/>
                  </a:lnTo>
                  <a:lnTo>
                    <a:pt x="2835312" y="211127"/>
                  </a:lnTo>
                  <a:lnTo>
                    <a:pt x="2831168" y="207920"/>
                  </a:lnTo>
                  <a:lnTo>
                    <a:pt x="2831168" y="204713"/>
                  </a:lnTo>
                  <a:lnTo>
                    <a:pt x="2827023" y="198250"/>
                  </a:lnTo>
                  <a:lnTo>
                    <a:pt x="2822879" y="198250"/>
                  </a:lnTo>
                  <a:lnTo>
                    <a:pt x="2820757" y="191786"/>
                  </a:lnTo>
                  <a:lnTo>
                    <a:pt x="2824951" y="190158"/>
                  </a:lnTo>
                  <a:lnTo>
                    <a:pt x="2829096" y="188579"/>
                  </a:lnTo>
                  <a:lnTo>
                    <a:pt x="2822879" y="185322"/>
                  </a:lnTo>
                  <a:lnTo>
                    <a:pt x="2818734" y="185322"/>
                  </a:lnTo>
                  <a:lnTo>
                    <a:pt x="2810396" y="174073"/>
                  </a:lnTo>
                  <a:lnTo>
                    <a:pt x="2810396" y="171112"/>
                  </a:lnTo>
                  <a:lnTo>
                    <a:pt x="2818734" y="164698"/>
                  </a:lnTo>
                  <a:lnTo>
                    <a:pt x="2820757" y="158235"/>
                  </a:lnTo>
                  <a:lnTo>
                    <a:pt x="2820757" y="148367"/>
                  </a:lnTo>
                  <a:lnTo>
                    <a:pt x="2822879" y="146738"/>
                  </a:lnTo>
                  <a:lnTo>
                    <a:pt x="2822879" y="138696"/>
                  </a:lnTo>
                  <a:lnTo>
                    <a:pt x="2829096" y="133762"/>
                  </a:lnTo>
                  <a:lnTo>
                    <a:pt x="2835312" y="130505"/>
                  </a:lnTo>
                  <a:lnTo>
                    <a:pt x="2839506" y="136969"/>
                  </a:lnTo>
                  <a:lnTo>
                    <a:pt x="2843651" y="138597"/>
                  </a:lnTo>
                  <a:lnTo>
                    <a:pt x="2854062" y="140176"/>
                  </a:lnTo>
                  <a:lnTo>
                    <a:pt x="2862400" y="145110"/>
                  </a:lnTo>
                  <a:lnTo>
                    <a:pt x="2868617" y="146738"/>
                  </a:lnTo>
                  <a:lnTo>
                    <a:pt x="2870689" y="151672"/>
                  </a:lnTo>
                  <a:lnTo>
                    <a:pt x="2870689" y="157198"/>
                  </a:lnTo>
                  <a:lnTo>
                    <a:pt x="2878979" y="158827"/>
                  </a:lnTo>
                  <a:lnTo>
                    <a:pt x="2881100" y="160406"/>
                  </a:lnTo>
                  <a:lnTo>
                    <a:pt x="2885244" y="158827"/>
                  </a:lnTo>
                  <a:lnTo>
                    <a:pt x="2891511" y="157198"/>
                  </a:lnTo>
                  <a:lnTo>
                    <a:pt x="2897728" y="160406"/>
                  </a:lnTo>
                  <a:lnTo>
                    <a:pt x="2901873" y="168497"/>
                  </a:lnTo>
                  <a:lnTo>
                    <a:pt x="2908089" y="176540"/>
                  </a:lnTo>
                  <a:lnTo>
                    <a:pt x="2916428" y="174912"/>
                  </a:lnTo>
                  <a:lnTo>
                    <a:pt x="2920622" y="173333"/>
                  </a:lnTo>
                  <a:lnTo>
                    <a:pt x="2918500" y="168399"/>
                  </a:lnTo>
                  <a:lnTo>
                    <a:pt x="2908089" y="158531"/>
                  </a:lnTo>
                  <a:lnTo>
                    <a:pt x="2903945" y="150439"/>
                  </a:lnTo>
                  <a:lnTo>
                    <a:pt x="2899800" y="143975"/>
                  </a:lnTo>
                  <a:lnTo>
                    <a:pt x="2899800" y="135933"/>
                  </a:lnTo>
                  <a:lnTo>
                    <a:pt x="2901873" y="130999"/>
                  </a:lnTo>
                  <a:lnTo>
                    <a:pt x="2908089" y="130999"/>
                  </a:lnTo>
                  <a:lnTo>
                    <a:pt x="2910211" y="132627"/>
                  </a:lnTo>
                  <a:lnTo>
                    <a:pt x="2920622" y="132627"/>
                  </a:lnTo>
                  <a:lnTo>
                    <a:pt x="2916428" y="129370"/>
                  </a:lnTo>
                  <a:lnTo>
                    <a:pt x="2910211" y="127792"/>
                  </a:lnTo>
                  <a:lnTo>
                    <a:pt x="2899800" y="119700"/>
                  </a:lnTo>
                  <a:close/>
                  <a:moveTo>
                    <a:pt x="1554535" y="91132"/>
                  </a:moveTo>
                  <a:lnTo>
                    <a:pt x="1567019" y="92760"/>
                  </a:lnTo>
                  <a:lnTo>
                    <a:pt x="1577429" y="99224"/>
                  </a:lnTo>
                  <a:lnTo>
                    <a:pt x="1589863" y="112101"/>
                  </a:lnTo>
                  <a:lnTo>
                    <a:pt x="1591985" y="118565"/>
                  </a:lnTo>
                  <a:lnTo>
                    <a:pt x="1587840" y="128433"/>
                  </a:lnTo>
                  <a:lnTo>
                    <a:pt x="1591985" y="131640"/>
                  </a:lnTo>
                  <a:lnTo>
                    <a:pt x="1589863" y="136574"/>
                  </a:lnTo>
                  <a:lnTo>
                    <a:pt x="1585719" y="143038"/>
                  </a:lnTo>
                  <a:lnTo>
                    <a:pt x="1587840" y="146245"/>
                  </a:lnTo>
                  <a:lnTo>
                    <a:pt x="1589863" y="144617"/>
                  </a:lnTo>
                  <a:lnTo>
                    <a:pt x="1596130" y="136574"/>
                  </a:lnTo>
                  <a:lnTo>
                    <a:pt x="1596130" y="124288"/>
                  </a:lnTo>
                  <a:lnTo>
                    <a:pt x="1600274" y="119354"/>
                  </a:lnTo>
                  <a:lnTo>
                    <a:pt x="1598202" y="114420"/>
                  </a:lnTo>
                  <a:lnTo>
                    <a:pt x="1589863" y="106329"/>
                  </a:lnTo>
                  <a:lnTo>
                    <a:pt x="1587840" y="101394"/>
                  </a:lnTo>
                  <a:lnTo>
                    <a:pt x="1589863" y="96460"/>
                  </a:lnTo>
                  <a:lnTo>
                    <a:pt x="1602395" y="94882"/>
                  </a:lnTo>
                  <a:lnTo>
                    <a:pt x="1614829" y="96460"/>
                  </a:lnTo>
                  <a:lnTo>
                    <a:pt x="1637723" y="112595"/>
                  </a:lnTo>
                  <a:lnTo>
                    <a:pt x="1641868" y="114223"/>
                  </a:lnTo>
                  <a:lnTo>
                    <a:pt x="1646062" y="115802"/>
                  </a:lnTo>
                  <a:lnTo>
                    <a:pt x="1646062" y="123894"/>
                  </a:lnTo>
                  <a:lnTo>
                    <a:pt x="1652279" y="127101"/>
                  </a:lnTo>
                  <a:lnTo>
                    <a:pt x="1654351" y="135143"/>
                  </a:lnTo>
                  <a:lnTo>
                    <a:pt x="1654351" y="143235"/>
                  </a:lnTo>
                  <a:lnTo>
                    <a:pt x="1664762" y="153103"/>
                  </a:lnTo>
                  <a:lnTo>
                    <a:pt x="1673051" y="161146"/>
                  </a:lnTo>
                  <a:lnTo>
                    <a:pt x="1670979" y="166080"/>
                  </a:lnTo>
                  <a:lnTo>
                    <a:pt x="1664762" y="166080"/>
                  </a:lnTo>
                  <a:lnTo>
                    <a:pt x="1660617" y="162873"/>
                  </a:lnTo>
                  <a:lnTo>
                    <a:pt x="1656423" y="162873"/>
                  </a:lnTo>
                  <a:lnTo>
                    <a:pt x="1656423" y="170915"/>
                  </a:lnTo>
                  <a:lnTo>
                    <a:pt x="1664762" y="175849"/>
                  </a:lnTo>
                  <a:lnTo>
                    <a:pt x="1675172" y="177477"/>
                  </a:lnTo>
                  <a:lnTo>
                    <a:pt x="1683462" y="185520"/>
                  </a:lnTo>
                  <a:lnTo>
                    <a:pt x="1687606" y="185520"/>
                  </a:lnTo>
                  <a:lnTo>
                    <a:pt x="1697968" y="195141"/>
                  </a:lnTo>
                  <a:lnTo>
                    <a:pt x="1697968" y="200075"/>
                  </a:lnTo>
                  <a:lnTo>
                    <a:pt x="1689679" y="209943"/>
                  </a:lnTo>
                  <a:lnTo>
                    <a:pt x="1679268" y="211522"/>
                  </a:lnTo>
                  <a:lnTo>
                    <a:pt x="1668857" y="219614"/>
                  </a:lnTo>
                  <a:lnTo>
                    <a:pt x="1662591" y="224548"/>
                  </a:lnTo>
                  <a:lnTo>
                    <a:pt x="1656374" y="224548"/>
                  </a:lnTo>
                  <a:lnTo>
                    <a:pt x="1650157" y="219614"/>
                  </a:lnTo>
                  <a:lnTo>
                    <a:pt x="1643891" y="216358"/>
                  </a:lnTo>
                  <a:lnTo>
                    <a:pt x="1637674" y="216358"/>
                  </a:lnTo>
                  <a:lnTo>
                    <a:pt x="1631457" y="214779"/>
                  </a:lnTo>
                  <a:lnTo>
                    <a:pt x="1625191" y="216358"/>
                  </a:lnTo>
                  <a:lnTo>
                    <a:pt x="1608563" y="214779"/>
                  </a:lnTo>
                  <a:lnTo>
                    <a:pt x="1598152" y="211522"/>
                  </a:lnTo>
                  <a:lnTo>
                    <a:pt x="1594008" y="208315"/>
                  </a:lnTo>
                  <a:lnTo>
                    <a:pt x="1583597" y="211522"/>
                  </a:lnTo>
                  <a:lnTo>
                    <a:pt x="1575258" y="214779"/>
                  </a:lnTo>
                  <a:lnTo>
                    <a:pt x="1569042" y="213150"/>
                  </a:lnTo>
                  <a:lnTo>
                    <a:pt x="1560703" y="208216"/>
                  </a:lnTo>
                  <a:lnTo>
                    <a:pt x="1552414" y="208216"/>
                  </a:lnTo>
                  <a:lnTo>
                    <a:pt x="1548269" y="203282"/>
                  </a:lnTo>
                  <a:lnTo>
                    <a:pt x="1544125" y="191983"/>
                  </a:lnTo>
                  <a:lnTo>
                    <a:pt x="1537858" y="185520"/>
                  </a:lnTo>
                  <a:lnTo>
                    <a:pt x="1533615" y="185520"/>
                  </a:lnTo>
                  <a:lnTo>
                    <a:pt x="1527349" y="187148"/>
                  </a:lnTo>
                  <a:lnTo>
                    <a:pt x="1521280" y="183941"/>
                  </a:lnTo>
                  <a:lnTo>
                    <a:pt x="1515063" y="180684"/>
                  </a:lnTo>
                  <a:lnTo>
                    <a:pt x="1512942" y="183941"/>
                  </a:lnTo>
                  <a:lnTo>
                    <a:pt x="1515063" y="188875"/>
                  </a:lnTo>
                  <a:lnTo>
                    <a:pt x="1510869" y="190454"/>
                  </a:lnTo>
                  <a:lnTo>
                    <a:pt x="1508797" y="187247"/>
                  </a:lnTo>
                  <a:lnTo>
                    <a:pt x="1500508" y="184040"/>
                  </a:lnTo>
                  <a:lnTo>
                    <a:pt x="1502531" y="180783"/>
                  </a:lnTo>
                  <a:lnTo>
                    <a:pt x="1510869" y="175849"/>
                  </a:lnTo>
                  <a:lnTo>
                    <a:pt x="1510869" y="172642"/>
                  </a:lnTo>
                  <a:lnTo>
                    <a:pt x="1508797" y="162774"/>
                  </a:lnTo>
                  <a:lnTo>
                    <a:pt x="1510869" y="156310"/>
                  </a:lnTo>
                  <a:lnTo>
                    <a:pt x="1519208" y="149896"/>
                  </a:lnTo>
                  <a:lnTo>
                    <a:pt x="1517086" y="146640"/>
                  </a:lnTo>
                  <a:lnTo>
                    <a:pt x="1510869" y="146640"/>
                  </a:lnTo>
                  <a:lnTo>
                    <a:pt x="1504652" y="141706"/>
                  </a:lnTo>
                  <a:lnTo>
                    <a:pt x="1504652" y="136772"/>
                  </a:lnTo>
                  <a:lnTo>
                    <a:pt x="1506725" y="126903"/>
                  </a:lnTo>
                  <a:lnTo>
                    <a:pt x="1512942" y="121969"/>
                  </a:lnTo>
                  <a:lnTo>
                    <a:pt x="1523353" y="120341"/>
                  </a:lnTo>
                  <a:lnTo>
                    <a:pt x="1523353" y="115407"/>
                  </a:lnTo>
                  <a:lnTo>
                    <a:pt x="1527497" y="110473"/>
                  </a:lnTo>
                  <a:lnTo>
                    <a:pt x="1535835" y="107266"/>
                  </a:lnTo>
                  <a:lnTo>
                    <a:pt x="1548319" y="100802"/>
                  </a:lnTo>
                  <a:lnTo>
                    <a:pt x="1550391" y="92760"/>
                  </a:lnTo>
                  <a:close/>
                  <a:moveTo>
                    <a:pt x="1336155" y="33798"/>
                  </a:moveTo>
                  <a:lnTo>
                    <a:pt x="1346566" y="33798"/>
                  </a:lnTo>
                  <a:lnTo>
                    <a:pt x="1354855" y="35377"/>
                  </a:lnTo>
                  <a:lnTo>
                    <a:pt x="1352832" y="38634"/>
                  </a:lnTo>
                  <a:lnTo>
                    <a:pt x="1350711" y="43568"/>
                  </a:lnTo>
                  <a:lnTo>
                    <a:pt x="1344494" y="48502"/>
                  </a:lnTo>
                  <a:lnTo>
                    <a:pt x="1336155" y="50081"/>
                  </a:lnTo>
                  <a:lnTo>
                    <a:pt x="1329938" y="48502"/>
                  </a:lnTo>
                  <a:lnTo>
                    <a:pt x="1325744" y="45147"/>
                  </a:lnTo>
                  <a:lnTo>
                    <a:pt x="1332011" y="40212"/>
                  </a:lnTo>
                  <a:close/>
                  <a:moveTo>
                    <a:pt x="1427139" y="0"/>
                  </a:moveTo>
                  <a:lnTo>
                    <a:pt x="1433356" y="0"/>
                  </a:lnTo>
                  <a:lnTo>
                    <a:pt x="1445839" y="6464"/>
                  </a:lnTo>
                  <a:lnTo>
                    <a:pt x="1456249" y="12927"/>
                  </a:lnTo>
                  <a:lnTo>
                    <a:pt x="1471051" y="27433"/>
                  </a:lnTo>
                  <a:lnTo>
                    <a:pt x="1479341" y="33897"/>
                  </a:lnTo>
                  <a:lnTo>
                    <a:pt x="1494143" y="37104"/>
                  </a:lnTo>
                  <a:lnTo>
                    <a:pt x="1511067" y="37104"/>
                  </a:lnTo>
                  <a:lnTo>
                    <a:pt x="1515261" y="38732"/>
                  </a:lnTo>
                  <a:lnTo>
                    <a:pt x="1515261" y="43666"/>
                  </a:lnTo>
                  <a:lnTo>
                    <a:pt x="1511067" y="50081"/>
                  </a:lnTo>
                  <a:lnTo>
                    <a:pt x="1511067" y="57975"/>
                  </a:lnTo>
                  <a:lnTo>
                    <a:pt x="1517283" y="67843"/>
                  </a:lnTo>
                  <a:lnTo>
                    <a:pt x="1527695" y="75886"/>
                  </a:lnTo>
                  <a:lnTo>
                    <a:pt x="1540177" y="82349"/>
                  </a:lnTo>
                  <a:lnTo>
                    <a:pt x="1540177" y="88862"/>
                  </a:lnTo>
                  <a:lnTo>
                    <a:pt x="1538105" y="93796"/>
                  </a:lnTo>
                  <a:lnTo>
                    <a:pt x="1527695" y="98730"/>
                  </a:lnTo>
                  <a:lnTo>
                    <a:pt x="1512893" y="106773"/>
                  </a:lnTo>
                  <a:lnTo>
                    <a:pt x="1504603" y="114864"/>
                  </a:lnTo>
                  <a:lnTo>
                    <a:pt x="1504603" y="120835"/>
                  </a:lnTo>
                  <a:lnTo>
                    <a:pt x="1498337" y="127298"/>
                  </a:lnTo>
                  <a:lnTo>
                    <a:pt x="1485903" y="132232"/>
                  </a:lnTo>
                  <a:lnTo>
                    <a:pt x="1477811" y="134403"/>
                  </a:lnTo>
                  <a:lnTo>
                    <a:pt x="1469522" y="132775"/>
                  </a:lnTo>
                  <a:lnTo>
                    <a:pt x="1461183" y="127841"/>
                  </a:lnTo>
                  <a:lnTo>
                    <a:pt x="1454967" y="127841"/>
                  </a:lnTo>
                  <a:lnTo>
                    <a:pt x="1450773" y="131048"/>
                  </a:lnTo>
                  <a:lnTo>
                    <a:pt x="1444506" y="131048"/>
                  </a:lnTo>
                  <a:lnTo>
                    <a:pt x="1434145" y="123006"/>
                  </a:lnTo>
                  <a:lnTo>
                    <a:pt x="1432073" y="118072"/>
                  </a:lnTo>
                  <a:lnTo>
                    <a:pt x="1430000" y="114864"/>
                  </a:lnTo>
                  <a:lnTo>
                    <a:pt x="1419343" y="118170"/>
                  </a:lnTo>
                  <a:lnTo>
                    <a:pt x="1415198" y="124634"/>
                  </a:lnTo>
                  <a:lnTo>
                    <a:pt x="1411054" y="126213"/>
                  </a:lnTo>
                  <a:lnTo>
                    <a:pt x="1408932" y="121279"/>
                  </a:lnTo>
                  <a:lnTo>
                    <a:pt x="1411054" y="116345"/>
                  </a:lnTo>
                  <a:lnTo>
                    <a:pt x="1415198" y="109930"/>
                  </a:lnTo>
                  <a:lnTo>
                    <a:pt x="1416728" y="92119"/>
                  </a:lnTo>
                  <a:lnTo>
                    <a:pt x="1416728" y="85655"/>
                  </a:lnTo>
                  <a:lnTo>
                    <a:pt x="1410511" y="82448"/>
                  </a:lnTo>
                  <a:lnTo>
                    <a:pt x="1406317" y="77514"/>
                  </a:lnTo>
                  <a:lnTo>
                    <a:pt x="1404245" y="51709"/>
                  </a:lnTo>
                  <a:lnTo>
                    <a:pt x="1404245" y="45295"/>
                  </a:lnTo>
                  <a:lnTo>
                    <a:pt x="1412583" y="37252"/>
                  </a:lnTo>
                  <a:lnTo>
                    <a:pt x="1418800" y="29210"/>
                  </a:lnTo>
                  <a:lnTo>
                    <a:pt x="1425066" y="21118"/>
                  </a:lnTo>
                  <a:lnTo>
                    <a:pt x="1425066" y="13125"/>
                  </a:lnTo>
                  <a:lnTo>
                    <a:pt x="1422945" y="8191"/>
                  </a:lnTo>
                  <a:lnTo>
                    <a:pt x="1425066" y="3257"/>
                  </a:lnTo>
                  <a:close/>
                </a:path>
              </a:pathLst>
            </a:custGeom>
            <a:solidFill>
              <a:srgbClr val="D9D9D9"/>
            </a:solidFill>
            <a:ln w="317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Graphic 2">
              <a:extLst>
                <a:ext uri="{FF2B5EF4-FFF2-40B4-BE49-F238E27FC236}">
                  <a16:creationId xmlns:a16="http://schemas.microsoft.com/office/drawing/2014/main" id="{87363429-6ED6-4328-99CC-BD11D2BD4A71}"/>
                </a:ext>
              </a:extLst>
            </p:cNvPr>
            <p:cNvSpPr/>
            <p:nvPr/>
          </p:nvSpPr>
          <p:spPr>
            <a:xfrm>
              <a:off x="3" y="1500533"/>
              <a:ext cx="1762931" cy="1154591"/>
            </a:xfrm>
            <a:custGeom>
              <a:avLst/>
              <a:gdLst>
                <a:gd name="connsiteX0" fmla="*/ 1748836 w 1940457"/>
                <a:gd name="connsiteY0" fmla="*/ 1213992 h 1270908"/>
                <a:gd name="connsiteX1" fmla="*/ 1748836 w 1940457"/>
                <a:gd name="connsiteY1" fmla="*/ 1207331 h 1270908"/>
                <a:gd name="connsiteX2" fmla="*/ 1750909 w 1940457"/>
                <a:gd name="connsiteY2" fmla="*/ 1205753 h 1270908"/>
                <a:gd name="connsiteX3" fmla="*/ 1750909 w 1940457"/>
                <a:gd name="connsiteY3" fmla="*/ 1204124 h 1270908"/>
                <a:gd name="connsiteX4" fmla="*/ 1752981 w 1940457"/>
                <a:gd name="connsiteY4" fmla="*/ 1200917 h 1270908"/>
                <a:gd name="connsiteX5" fmla="*/ 1750909 w 1940457"/>
                <a:gd name="connsiteY5" fmla="*/ 1197710 h 1270908"/>
                <a:gd name="connsiteX6" fmla="*/ 1746764 w 1940457"/>
                <a:gd name="connsiteY6" fmla="*/ 1196082 h 1270908"/>
                <a:gd name="connsiteX7" fmla="*/ 1746764 w 1940457"/>
                <a:gd name="connsiteY7" fmla="*/ 1189618 h 1270908"/>
                <a:gd name="connsiteX8" fmla="*/ 1742570 w 1940457"/>
                <a:gd name="connsiteY8" fmla="*/ 1184684 h 1270908"/>
                <a:gd name="connsiteX9" fmla="*/ 1734281 w 1940457"/>
                <a:gd name="connsiteY9" fmla="*/ 1179750 h 1270908"/>
                <a:gd name="connsiteX10" fmla="*/ 1730087 w 1940457"/>
                <a:gd name="connsiteY10" fmla="*/ 1176543 h 1270908"/>
                <a:gd name="connsiteX11" fmla="*/ 1728015 w 1940457"/>
                <a:gd name="connsiteY11" fmla="*/ 1171609 h 1270908"/>
                <a:gd name="connsiteX12" fmla="*/ 1721896 w 1940457"/>
                <a:gd name="connsiteY12" fmla="*/ 1164060 h 1270908"/>
                <a:gd name="connsiteX13" fmla="*/ 1717752 w 1940457"/>
                <a:gd name="connsiteY13" fmla="*/ 1162382 h 1270908"/>
                <a:gd name="connsiteX14" fmla="*/ 1711486 w 1940457"/>
                <a:gd name="connsiteY14" fmla="*/ 1162382 h 1270908"/>
                <a:gd name="connsiteX15" fmla="*/ 1711486 w 1940457"/>
                <a:gd name="connsiteY15" fmla="*/ 1160804 h 1270908"/>
                <a:gd name="connsiteX16" fmla="*/ 1713607 w 1940457"/>
                <a:gd name="connsiteY16" fmla="*/ 1157596 h 1270908"/>
                <a:gd name="connsiteX17" fmla="*/ 1711486 w 1940457"/>
                <a:gd name="connsiteY17" fmla="*/ 1152662 h 1270908"/>
                <a:gd name="connsiteX18" fmla="*/ 1709413 w 1940457"/>
                <a:gd name="connsiteY18" fmla="*/ 1151083 h 1270908"/>
                <a:gd name="connsiteX19" fmla="*/ 1707341 w 1940457"/>
                <a:gd name="connsiteY19" fmla="*/ 1146149 h 1270908"/>
                <a:gd name="connsiteX20" fmla="*/ 1711486 w 1940457"/>
                <a:gd name="connsiteY20" fmla="*/ 1144521 h 1270908"/>
                <a:gd name="connsiteX21" fmla="*/ 1713607 w 1940457"/>
                <a:gd name="connsiteY21" fmla="*/ 1142893 h 1270908"/>
                <a:gd name="connsiteX22" fmla="*/ 1713607 w 1940457"/>
                <a:gd name="connsiteY22" fmla="*/ 1139686 h 1270908"/>
                <a:gd name="connsiteX23" fmla="*/ 1709413 w 1940457"/>
                <a:gd name="connsiteY23" fmla="*/ 1138058 h 1270908"/>
                <a:gd name="connsiteX24" fmla="*/ 1705269 w 1940457"/>
                <a:gd name="connsiteY24" fmla="*/ 1138058 h 1270908"/>
                <a:gd name="connsiteX25" fmla="*/ 1705269 w 1940457"/>
                <a:gd name="connsiteY25" fmla="*/ 1134850 h 1270908"/>
                <a:gd name="connsiteX26" fmla="*/ 1711486 w 1940457"/>
                <a:gd name="connsiteY26" fmla="*/ 1131643 h 1270908"/>
                <a:gd name="connsiteX27" fmla="*/ 1709413 w 1940457"/>
                <a:gd name="connsiteY27" fmla="*/ 1109045 h 1270908"/>
                <a:gd name="connsiteX28" fmla="*/ 1709413 w 1940457"/>
                <a:gd name="connsiteY28" fmla="*/ 1086497 h 1270908"/>
                <a:gd name="connsiteX29" fmla="*/ 1713607 w 1940457"/>
                <a:gd name="connsiteY29" fmla="*/ 1068784 h 1270908"/>
                <a:gd name="connsiteX30" fmla="*/ 1711486 w 1940457"/>
                <a:gd name="connsiteY30" fmla="*/ 1063850 h 1270908"/>
                <a:gd name="connsiteX31" fmla="*/ 1709413 w 1940457"/>
                <a:gd name="connsiteY31" fmla="*/ 1057386 h 1270908"/>
                <a:gd name="connsiteX32" fmla="*/ 1713607 w 1940457"/>
                <a:gd name="connsiteY32" fmla="*/ 1052452 h 1270908"/>
                <a:gd name="connsiteX33" fmla="*/ 1711486 w 1940457"/>
                <a:gd name="connsiteY33" fmla="*/ 1045988 h 1270908"/>
                <a:gd name="connsiteX34" fmla="*/ 1709413 w 1940457"/>
                <a:gd name="connsiteY34" fmla="*/ 1041054 h 1270908"/>
                <a:gd name="connsiteX35" fmla="*/ 1707094 w 1940457"/>
                <a:gd name="connsiteY35" fmla="*/ 1030200 h 1270908"/>
                <a:gd name="connsiteX36" fmla="*/ 1698756 w 1940457"/>
                <a:gd name="connsiteY36" fmla="*/ 1022157 h 1270908"/>
                <a:gd name="connsiteX37" fmla="*/ 1696684 w 1940457"/>
                <a:gd name="connsiteY37" fmla="*/ 1010858 h 1270908"/>
                <a:gd name="connsiteX38" fmla="*/ 1698756 w 1940457"/>
                <a:gd name="connsiteY38" fmla="*/ 1005924 h 1270908"/>
                <a:gd name="connsiteX39" fmla="*/ 1690417 w 1940457"/>
                <a:gd name="connsiteY39" fmla="*/ 988211 h 1270908"/>
                <a:gd name="connsiteX40" fmla="*/ 1692539 w 1940457"/>
                <a:gd name="connsiteY40" fmla="*/ 983277 h 1270908"/>
                <a:gd name="connsiteX41" fmla="*/ 1698756 w 1940457"/>
                <a:gd name="connsiteY41" fmla="*/ 975185 h 1270908"/>
                <a:gd name="connsiteX42" fmla="*/ 1696684 w 1940457"/>
                <a:gd name="connsiteY42" fmla="*/ 970251 h 1270908"/>
                <a:gd name="connsiteX43" fmla="*/ 1696684 w 1940457"/>
                <a:gd name="connsiteY43" fmla="*/ 965317 h 1270908"/>
                <a:gd name="connsiteX44" fmla="*/ 1688345 w 1940457"/>
                <a:gd name="connsiteY44" fmla="*/ 960383 h 1270908"/>
                <a:gd name="connsiteX45" fmla="*/ 1677934 w 1940457"/>
                <a:gd name="connsiteY45" fmla="*/ 960383 h 1270908"/>
                <a:gd name="connsiteX46" fmla="*/ 1665451 w 1940457"/>
                <a:gd name="connsiteY46" fmla="*/ 963639 h 1270908"/>
                <a:gd name="connsiteX47" fmla="*/ 1661306 w 1940457"/>
                <a:gd name="connsiteY47" fmla="*/ 965218 h 1270908"/>
                <a:gd name="connsiteX48" fmla="*/ 1648774 w 1940457"/>
                <a:gd name="connsiteY48" fmla="*/ 968425 h 1270908"/>
                <a:gd name="connsiteX49" fmla="*/ 1640583 w 1940457"/>
                <a:gd name="connsiteY49" fmla="*/ 975432 h 1270908"/>
                <a:gd name="connsiteX50" fmla="*/ 1630173 w 1940457"/>
                <a:gd name="connsiteY50" fmla="*/ 988359 h 1270908"/>
                <a:gd name="connsiteX51" fmla="*/ 1621834 w 1940457"/>
                <a:gd name="connsiteY51" fmla="*/ 993293 h 1270908"/>
                <a:gd name="connsiteX52" fmla="*/ 1611423 w 1940457"/>
                <a:gd name="connsiteY52" fmla="*/ 994921 h 1270908"/>
                <a:gd name="connsiteX53" fmla="*/ 1596621 w 1940457"/>
                <a:gd name="connsiteY53" fmla="*/ 996549 h 1270908"/>
                <a:gd name="connsiteX54" fmla="*/ 1594549 w 1940457"/>
                <a:gd name="connsiteY54" fmla="*/ 996549 h 1270908"/>
                <a:gd name="connsiteX55" fmla="*/ 1594549 w 1940457"/>
                <a:gd name="connsiteY55" fmla="*/ 991615 h 1270908"/>
                <a:gd name="connsiteX56" fmla="*/ 1600815 w 1940457"/>
                <a:gd name="connsiteY56" fmla="*/ 983573 h 1270908"/>
                <a:gd name="connsiteX57" fmla="*/ 1596621 w 1940457"/>
                <a:gd name="connsiteY57" fmla="*/ 975481 h 1270908"/>
                <a:gd name="connsiteX58" fmla="*/ 1586210 w 1940457"/>
                <a:gd name="connsiteY58" fmla="*/ 940055 h 1270908"/>
                <a:gd name="connsiteX59" fmla="*/ 1579993 w 1940457"/>
                <a:gd name="connsiteY59" fmla="*/ 923920 h 1270908"/>
                <a:gd name="connsiteX60" fmla="*/ 1577921 w 1940457"/>
                <a:gd name="connsiteY60" fmla="*/ 915829 h 1270908"/>
                <a:gd name="connsiteX61" fmla="*/ 1584138 w 1940457"/>
                <a:gd name="connsiteY61" fmla="*/ 902951 h 1270908"/>
                <a:gd name="connsiteX62" fmla="*/ 1567510 w 1940457"/>
                <a:gd name="connsiteY62" fmla="*/ 901323 h 1270908"/>
                <a:gd name="connsiteX63" fmla="*/ 1552708 w 1940457"/>
                <a:gd name="connsiteY63" fmla="*/ 907786 h 1270908"/>
                <a:gd name="connsiteX64" fmla="*/ 1544370 w 1940457"/>
                <a:gd name="connsiteY64" fmla="*/ 904530 h 1270908"/>
                <a:gd name="connsiteX65" fmla="*/ 1521476 w 1940457"/>
                <a:gd name="connsiteY65" fmla="*/ 904530 h 1270908"/>
                <a:gd name="connsiteX66" fmla="*/ 1940375 w 1940457"/>
                <a:gd name="connsiteY66" fmla="*/ 250129 h 1270908"/>
                <a:gd name="connsiteX67" fmla="*/ 1938303 w 1940457"/>
                <a:gd name="connsiteY67" fmla="*/ 248500 h 1270908"/>
                <a:gd name="connsiteX68" fmla="*/ 1932086 w 1940457"/>
                <a:gd name="connsiteY68" fmla="*/ 245195 h 1270908"/>
                <a:gd name="connsiteX69" fmla="*/ 1925820 w 1940457"/>
                <a:gd name="connsiteY69" fmla="*/ 246774 h 1270908"/>
                <a:gd name="connsiteX70" fmla="*/ 1921675 w 1940457"/>
                <a:gd name="connsiteY70" fmla="*/ 243566 h 1270908"/>
                <a:gd name="connsiteX71" fmla="*/ 1919603 w 1940457"/>
                <a:gd name="connsiteY71" fmla="*/ 230689 h 1270908"/>
                <a:gd name="connsiteX72" fmla="*/ 1915409 w 1940457"/>
                <a:gd name="connsiteY72" fmla="*/ 224225 h 1270908"/>
                <a:gd name="connsiteX73" fmla="*/ 1911265 w 1940457"/>
                <a:gd name="connsiteY73" fmla="*/ 222597 h 1270908"/>
                <a:gd name="connsiteX74" fmla="*/ 1909143 w 1940457"/>
                <a:gd name="connsiteY74" fmla="*/ 216133 h 1270908"/>
                <a:gd name="connsiteX75" fmla="*/ 1904998 w 1940457"/>
                <a:gd name="connsiteY75" fmla="*/ 208091 h 1270908"/>
                <a:gd name="connsiteX76" fmla="*/ 1900854 w 1940457"/>
                <a:gd name="connsiteY76" fmla="*/ 204884 h 1270908"/>
                <a:gd name="connsiteX77" fmla="*/ 1888371 w 1940457"/>
                <a:gd name="connsiteY77" fmla="*/ 204884 h 1270908"/>
                <a:gd name="connsiteX78" fmla="*/ 1886249 w 1940457"/>
                <a:gd name="connsiteY78" fmla="*/ 206462 h 1270908"/>
                <a:gd name="connsiteX79" fmla="*/ 1875838 w 1940457"/>
                <a:gd name="connsiteY79" fmla="*/ 204884 h 1270908"/>
                <a:gd name="connsiteX80" fmla="*/ 1867500 w 1940457"/>
                <a:gd name="connsiteY80" fmla="*/ 206462 h 1270908"/>
                <a:gd name="connsiteX81" fmla="*/ 1863355 w 1940457"/>
                <a:gd name="connsiteY81" fmla="*/ 203255 h 1270908"/>
                <a:gd name="connsiteX82" fmla="*/ 1859210 w 1940457"/>
                <a:gd name="connsiteY82" fmla="*/ 204884 h 1270908"/>
                <a:gd name="connsiteX83" fmla="*/ 1857138 w 1940457"/>
                <a:gd name="connsiteY83" fmla="*/ 203255 h 1270908"/>
                <a:gd name="connsiteX84" fmla="*/ 1855017 w 1940457"/>
                <a:gd name="connsiteY84" fmla="*/ 204884 h 1270908"/>
                <a:gd name="connsiteX85" fmla="*/ 1850872 w 1940457"/>
                <a:gd name="connsiteY85" fmla="*/ 204884 h 1270908"/>
                <a:gd name="connsiteX86" fmla="*/ 1848800 w 1940457"/>
                <a:gd name="connsiteY86" fmla="*/ 203255 h 1270908"/>
                <a:gd name="connsiteX87" fmla="*/ 1852944 w 1940457"/>
                <a:gd name="connsiteY87" fmla="*/ 201627 h 1270908"/>
                <a:gd name="connsiteX88" fmla="*/ 1852944 w 1940457"/>
                <a:gd name="connsiteY88" fmla="*/ 200048 h 1270908"/>
                <a:gd name="connsiteX89" fmla="*/ 1846678 w 1940457"/>
                <a:gd name="connsiteY89" fmla="*/ 195114 h 1270908"/>
                <a:gd name="connsiteX90" fmla="*/ 1842534 w 1940457"/>
                <a:gd name="connsiteY90" fmla="*/ 198321 h 1270908"/>
                <a:gd name="connsiteX91" fmla="*/ 1838389 w 1940457"/>
                <a:gd name="connsiteY91" fmla="*/ 196693 h 1270908"/>
                <a:gd name="connsiteX92" fmla="*/ 1840461 w 1940457"/>
                <a:gd name="connsiteY92" fmla="*/ 193486 h 1270908"/>
                <a:gd name="connsiteX93" fmla="*/ 1842534 w 1940457"/>
                <a:gd name="connsiteY93" fmla="*/ 191858 h 1270908"/>
                <a:gd name="connsiteX94" fmla="*/ 1840461 w 1940457"/>
                <a:gd name="connsiteY94" fmla="*/ 190279 h 1270908"/>
                <a:gd name="connsiteX95" fmla="*/ 1836267 w 1940457"/>
                <a:gd name="connsiteY95" fmla="*/ 190279 h 1270908"/>
                <a:gd name="connsiteX96" fmla="*/ 1830050 w 1940457"/>
                <a:gd name="connsiteY96" fmla="*/ 188651 h 1270908"/>
                <a:gd name="connsiteX97" fmla="*/ 1832123 w 1940457"/>
                <a:gd name="connsiteY97" fmla="*/ 185443 h 1270908"/>
                <a:gd name="connsiteX98" fmla="*/ 1825857 w 1940457"/>
                <a:gd name="connsiteY98" fmla="*/ 182187 h 1270908"/>
                <a:gd name="connsiteX99" fmla="*/ 1815643 w 1940457"/>
                <a:gd name="connsiteY99" fmla="*/ 174095 h 1270908"/>
                <a:gd name="connsiteX100" fmla="*/ 1813571 w 1940457"/>
                <a:gd name="connsiteY100" fmla="*/ 175723 h 1270908"/>
                <a:gd name="connsiteX101" fmla="*/ 1809426 w 1940457"/>
                <a:gd name="connsiteY101" fmla="*/ 174095 h 1270908"/>
                <a:gd name="connsiteX102" fmla="*/ 1807354 w 1940457"/>
                <a:gd name="connsiteY102" fmla="*/ 174095 h 1270908"/>
                <a:gd name="connsiteX103" fmla="*/ 1803160 w 1940457"/>
                <a:gd name="connsiteY103" fmla="*/ 175723 h 1270908"/>
                <a:gd name="connsiteX104" fmla="*/ 1805232 w 1940457"/>
                <a:gd name="connsiteY104" fmla="*/ 174095 h 1270908"/>
                <a:gd name="connsiteX105" fmla="*/ 1803160 w 1940457"/>
                <a:gd name="connsiteY105" fmla="*/ 172467 h 1270908"/>
                <a:gd name="connsiteX106" fmla="*/ 1799015 w 1940457"/>
                <a:gd name="connsiteY106" fmla="*/ 169260 h 1270908"/>
                <a:gd name="connsiteX107" fmla="*/ 1794821 w 1940457"/>
                <a:gd name="connsiteY107" fmla="*/ 174194 h 1270908"/>
                <a:gd name="connsiteX108" fmla="*/ 1790677 w 1940457"/>
                <a:gd name="connsiteY108" fmla="*/ 172566 h 1270908"/>
                <a:gd name="connsiteX109" fmla="*/ 1790677 w 1940457"/>
                <a:gd name="connsiteY109" fmla="*/ 169359 h 1270908"/>
                <a:gd name="connsiteX110" fmla="*/ 1792749 w 1940457"/>
                <a:gd name="connsiteY110" fmla="*/ 167730 h 1270908"/>
                <a:gd name="connsiteX111" fmla="*/ 1790677 w 1940457"/>
                <a:gd name="connsiteY111" fmla="*/ 164523 h 1270908"/>
                <a:gd name="connsiteX112" fmla="*/ 1786532 w 1940457"/>
                <a:gd name="connsiteY112" fmla="*/ 162895 h 1270908"/>
                <a:gd name="connsiteX113" fmla="*/ 1780266 w 1940457"/>
                <a:gd name="connsiteY113" fmla="*/ 164523 h 1270908"/>
                <a:gd name="connsiteX114" fmla="*/ 1782338 w 1940457"/>
                <a:gd name="connsiteY114" fmla="*/ 161267 h 1270908"/>
                <a:gd name="connsiteX115" fmla="*/ 1782338 w 1940457"/>
                <a:gd name="connsiteY115" fmla="*/ 159688 h 1270908"/>
                <a:gd name="connsiteX116" fmla="*/ 1776121 w 1940457"/>
                <a:gd name="connsiteY116" fmla="*/ 154754 h 1270908"/>
                <a:gd name="connsiteX117" fmla="*/ 1769855 w 1940457"/>
                <a:gd name="connsiteY117" fmla="*/ 149820 h 1270908"/>
                <a:gd name="connsiteX118" fmla="*/ 1771928 w 1940457"/>
                <a:gd name="connsiteY118" fmla="*/ 148191 h 1270908"/>
                <a:gd name="connsiteX119" fmla="*/ 1769855 w 1940457"/>
                <a:gd name="connsiteY119" fmla="*/ 146563 h 1270908"/>
                <a:gd name="connsiteX120" fmla="*/ 1765711 w 1940457"/>
                <a:gd name="connsiteY120" fmla="*/ 144984 h 1270908"/>
                <a:gd name="connsiteX121" fmla="*/ 1761369 w 1940457"/>
                <a:gd name="connsiteY121" fmla="*/ 146514 h 1270908"/>
                <a:gd name="connsiteX122" fmla="*/ 1746567 w 1940457"/>
                <a:gd name="connsiteY122" fmla="*/ 157961 h 1270908"/>
                <a:gd name="connsiteX123" fmla="*/ 1731764 w 1940457"/>
                <a:gd name="connsiteY123" fmla="*/ 164424 h 1270908"/>
                <a:gd name="connsiteX124" fmla="*/ 1746567 w 1940457"/>
                <a:gd name="connsiteY124" fmla="*/ 156333 h 1270908"/>
                <a:gd name="connsiteX125" fmla="*/ 1752783 w 1940457"/>
                <a:gd name="connsiteY125" fmla="*/ 146465 h 1270908"/>
                <a:gd name="connsiteX126" fmla="*/ 1761122 w 1940457"/>
                <a:gd name="connsiteY126" fmla="*/ 140050 h 1270908"/>
                <a:gd name="connsiteX127" fmla="*/ 1763194 w 1940457"/>
                <a:gd name="connsiteY127" fmla="*/ 131959 h 1270908"/>
                <a:gd name="connsiteX128" fmla="*/ 1759050 w 1940457"/>
                <a:gd name="connsiteY128" fmla="*/ 128751 h 1270908"/>
                <a:gd name="connsiteX129" fmla="*/ 1748639 w 1940457"/>
                <a:gd name="connsiteY129" fmla="*/ 123817 h 1270908"/>
                <a:gd name="connsiteX130" fmla="*/ 1740300 w 1940457"/>
                <a:gd name="connsiteY130" fmla="*/ 123817 h 1270908"/>
                <a:gd name="connsiteX131" fmla="*/ 1731962 w 1940457"/>
                <a:gd name="connsiteY131" fmla="*/ 127024 h 1270908"/>
                <a:gd name="connsiteX132" fmla="*/ 1725745 w 1940457"/>
                <a:gd name="connsiteY132" fmla="*/ 127024 h 1270908"/>
                <a:gd name="connsiteX133" fmla="*/ 1723673 w 1940457"/>
                <a:gd name="connsiteY133" fmla="*/ 128653 h 1270908"/>
                <a:gd name="connsiteX134" fmla="*/ 1713262 w 1940457"/>
                <a:gd name="connsiteY134" fmla="*/ 130281 h 1270908"/>
                <a:gd name="connsiteX135" fmla="*/ 1702851 w 1940457"/>
                <a:gd name="connsiteY135" fmla="*/ 138323 h 1270908"/>
                <a:gd name="connsiteX136" fmla="*/ 1694513 w 1940457"/>
                <a:gd name="connsiteY136" fmla="*/ 144787 h 1270908"/>
                <a:gd name="connsiteX137" fmla="*/ 1700729 w 1940457"/>
                <a:gd name="connsiteY137" fmla="*/ 138323 h 1270908"/>
                <a:gd name="connsiteX138" fmla="*/ 1700729 w 1940457"/>
                <a:gd name="connsiteY138" fmla="*/ 128455 h 1270908"/>
                <a:gd name="connsiteX139" fmla="*/ 1702851 w 1940457"/>
                <a:gd name="connsiteY139" fmla="*/ 121992 h 1270908"/>
                <a:gd name="connsiteX140" fmla="*/ 1700729 w 1940457"/>
                <a:gd name="connsiteY140" fmla="*/ 117058 h 1270908"/>
                <a:gd name="connsiteX141" fmla="*/ 1690319 w 1940457"/>
                <a:gd name="connsiteY141" fmla="*/ 110643 h 1270908"/>
                <a:gd name="connsiteX142" fmla="*/ 1690319 w 1940457"/>
                <a:gd name="connsiteY142" fmla="*/ 109015 h 1270908"/>
                <a:gd name="connsiteX143" fmla="*/ 1696585 w 1940457"/>
                <a:gd name="connsiteY143" fmla="*/ 105759 h 1270908"/>
                <a:gd name="connsiteX144" fmla="*/ 1702851 w 1940457"/>
                <a:gd name="connsiteY144" fmla="*/ 105759 h 1270908"/>
                <a:gd name="connsiteX145" fmla="*/ 1702851 w 1940457"/>
                <a:gd name="connsiteY145" fmla="*/ 104180 h 1270908"/>
                <a:gd name="connsiteX146" fmla="*/ 1684102 w 1940457"/>
                <a:gd name="connsiteY146" fmla="*/ 94312 h 1270908"/>
                <a:gd name="connsiteX147" fmla="*/ 1682029 w 1940457"/>
                <a:gd name="connsiteY147" fmla="*/ 91055 h 1270908"/>
                <a:gd name="connsiteX148" fmla="*/ 1686174 w 1940457"/>
                <a:gd name="connsiteY148" fmla="*/ 86121 h 1270908"/>
                <a:gd name="connsiteX149" fmla="*/ 1696585 w 1940457"/>
                <a:gd name="connsiteY149" fmla="*/ 81187 h 1270908"/>
                <a:gd name="connsiteX150" fmla="*/ 1700729 w 1940457"/>
                <a:gd name="connsiteY150" fmla="*/ 77980 h 1270908"/>
                <a:gd name="connsiteX151" fmla="*/ 1696585 w 1940457"/>
                <a:gd name="connsiteY151" fmla="*/ 73046 h 1270908"/>
                <a:gd name="connsiteX152" fmla="*/ 1694513 w 1940457"/>
                <a:gd name="connsiteY152" fmla="*/ 66583 h 1270908"/>
                <a:gd name="connsiteX153" fmla="*/ 1690319 w 1940457"/>
                <a:gd name="connsiteY153" fmla="*/ 66583 h 1270908"/>
                <a:gd name="connsiteX154" fmla="*/ 1686174 w 1940457"/>
                <a:gd name="connsiteY154" fmla="*/ 68211 h 1270908"/>
                <a:gd name="connsiteX155" fmla="*/ 1684102 w 1940457"/>
                <a:gd name="connsiteY155" fmla="*/ 65004 h 1270908"/>
                <a:gd name="connsiteX156" fmla="*/ 1677835 w 1940457"/>
                <a:gd name="connsiteY156" fmla="*/ 61747 h 1270908"/>
                <a:gd name="connsiteX157" fmla="*/ 1671619 w 1940457"/>
                <a:gd name="connsiteY157" fmla="*/ 61747 h 1270908"/>
                <a:gd name="connsiteX158" fmla="*/ 1663280 w 1940457"/>
                <a:gd name="connsiteY158" fmla="*/ 60168 h 1270908"/>
                <a:gd name="connsiteX159" fmla="*/ 1659086 w 1940457"/>
                <a:gd name="connsiteY159" fmla="*/ 58540 h 1270908"/>
                <a:gd name="connsiteX160" fmla="*/ 1652869 w 1940457"/>
                <a:gd name="connsiteY160" fmla="*/ 60168 h 1270908"/>
                <a:gd name="connsiteX161" fmla="*/ 1646603 w 1940457"/>
                <a:gd name="connsiteY161" fmla="*/ 60168 h 1270908"/>
                <a:gd name="connsiteX162" fmla="*/ 1642458 w 1940457"/>
                <a:gd name="connsiteY162" fmla="*/ 65102 h 1270908"/>
                <a:gd name="connsiteX163" fmla="*/ 1642458 w 1940457"/>
                <a:gd name="connsiteY163" fmla="*/ 68309 h 1270908"/>
                <a:gd name="connsiteX164" fmla="*/ 1638264 w 1940457"/>
                <a:gd name="connsiteY164" fmla="*/ 63375 h 1270908"/>
                <a:gd name="connsiteX165" fmla="*/ 1640386 w 1940457"/>
                <a:gd name="connsiteY165" fmla="*/ 56912 h 1270908"/>
                <a:gd name="connsiteX166" fmla="*/ 1644531 w 1940457"/>
                <a:gd name="connsiteY166" fmla="*/ 55333 h 1270908"/>
                <a:gd name="connsiteX167" fmla="*/ 1642458 w 1940457"/>
                <a:gd name="connsiteY167" fmla="*/ 50399 h 1270908"/>
                <a:gd name="connsiteX168" fmla="*/ 1644531 w 1940457"/>
                <a:gd name="connsiteY168" fmla="*/ 47192 h 1270908"/>
                <a:gd name="connsiteX169" fmla="*/ 1648675 w 1940457"/>
                <a:gd name="connsiteY169" fmla="*/ 43985 h 1270908"/>
                <a:gd name="connsiteX170" fmla="*/ 1648675 w 1940457"/>
                <a:gd name="connsiteY170" fmla="*/ 39051 h 1270908"/>
                <a:gd name="connsiteX171" fmla="*/ 1650797 w 1940457"/>
                <a:gd name="connsiteY171" fmla="*/ 34117 h 1270908"/>
                <a:gd name="connsiteX172" fmla="*/ 1648675 w 1940457"/>
                <a:gd name="connsiteY172" fmla="*/ 29183 h 1270908"/>
                <a:gd name="connsiteX173" fmla="*/ 1646603 w 1940457"/>
                <a:gd name="connsiteY173" fmla="*/ 29183 h 1270908"/>
                <a:gd name="connsiteX174" fmla="*/ 1638264 w 1940457"/>
                <a:gd name="connsiteY174" fmla="*/ 37225 h 1270908"/>
                <a:gd name="connsiteX175" fmla="*/ 1636192 w 1940457"/>
                <a:gd name="connsiteY175" fmla="*/ 42159 h 1270908"/>
                <a:gd name="connsiteX176" fmla="*/ 1636192 w 1940457"/>
                <a:gd name="connsiteY176" fmla="*/ 42159 h 1270908"/>
                <a:gd name="connsiteX177" fmla="*/ 1629975 w 1940457"/>
                <a:gd name="connsiteY177" fmla="*/ 38952 h 1270908"/>
                <a:gd name="connsiteX178" fmla="*/ 1623709 w 1940457"/>
                <a:gd name="connsiteY178" fmla="*/ 42159 h 1270908"/>
                <a:gd name="connsiteX179" fmla="*/ 1621637 w 1940457"/>
                <a:gd name="connsiteY179" fmla="*/ 43787 h 1270908"/>
                <a:gd name="connsiteX180" fmla="*/ 1623709 w 1940457"/>
                <a:gd name="connsiteY180" fmla="*/ 50202 h 1270908"/>
                <a:gd name="connsiteX181" fmla="*/ 1617443 w 1940457"/>
                <a:gd name="connsiteY181" fmla="*/ 55136 h 1270908"/>
                <a:gd name="connsiteX182" fmla="*/ 1615371 w 1940457"/>
                <a:gd name="connsiteY182" fmla="*/ 55136 h 1270908"/>
                <a:gd name="connsiteX183" fmla="*/ 1613298 w 1940457"/>
                <a:gd name="connsiteY183" fmla="*/ 53507 h 1270908"/>
                <a:gd name="connsiteX184" fmla="*/ 1609154 w 1940457"/>
                <a:gd name="connsiteY184" fmla="*/ 61550 h 1270908"/>
                <a:gd name="connsiteX185" fmla="*/ 1609154 w 1940457"/>
                <a:gd name="connsiteY185" fmla="*/ 66484 h 1270908"/>
                <a:gd name="connsiteX186" fmla="*/ 1607032 w 1940457"/>
                <a:gd name="connsiteY186" fmla="*/ 60070 h 1270908"/>
                <a:gd name="connsiteX187" fmla="*/ 1607032 w 1940457"/>
                <a:gd name="connsiteY187" fmla="*/ 53606 h 1270908"/>
                <a:gd name="connsiteX188" fmla="*/ 1609154 w 1940457"/>
                <a:gd name="connsiteY188" fmla="*/ 48672 h 1270908"/>
                <a:gd name="connsiteX189" fmla="*/ 1607032 w 1940457"/>
                <a:gd name="connsiteY189" fmla="*/ 48672 h 1270908"/>
                <a:gd name="connsiteX190" fmla="*/ 1600815 w 1940457"/>
                <a:gd name="connsiteY190" fmla="*/ 51879 h 1270908"/>
                <a:gd name="connsiteX191" fmla="*/ 1600815 w 1940457"/>
                <a:gd name="connsiteY191" fmla="*/ 56813 h 1270908"/>
                <a:gd name="connsiteX192" fmla="*/ 1594549 w 1940457"/>
                <a:gd name="connsiteY192" fmla="*/ 58441 h 1270908"/>
                <a:gd name="connsiteX193" fmla="*/ 1598743 w 1940457"/>
                <a:gd name="connsiteY193" fmla="*/ 48573 h 1270908"/>
                <a:gd name="connsiteX194" fmla="*/ 1594549 w 1940457"/>
                <a:gd name="connsiteY194" fmla="*/ 42110 h 1270908"/>
                <a:gd name="connsiteX195" fmla="*/ 1588332 w 1940457"/>
                <a:gd name="connsiteY195" fmla="*/ 43738 h 1270908"/>
                <a:gd name="connsiteX196" fmla="*/ 1588332 w 1940457"/>
                <a:gd name="connsiteY196" fmla="*/ 38804 h 1270908"/>
                <a:gd name="connsiteX197" fmla="*/ 1596621 w 1940457"/>
                <a:gd name="connsiteY197" fmla="*/ 33870 h 1270908"/>
                <a:gd name="connsiteX198" fmla="*/ 1604960 w 1940457"/>
                <a:gd name="connsiteY198" fmla="*/ 32242 h 1270908"/>
                <a:gd name="connsiteX199" fmla="*/ 1613298 w 1940457"/>
                <a:gd name="connsiteY199" fmla="*/ 37176 h 1270908"/>
                <a:gd name="connsiteX200" fmla="*/ 1621637 w 1940457"/>
                <a:gd name="connsiteY200" fmla="*/ 33969 h 1270908"/>
                <a:gd name="connsiteX201" fmla="*/ 1627854 w 1940457"/>
                <a:gd name="connsiteY201" fmla="*/ 32340 h 1270908"/>
                <a:gd name="connsiteX202" fmla="*/ 1636192 w 1940457"/>
                <a:gd name="connsiteY202" fmla="*/ 25877 h 1270908"/>
                <a:gd name="connsiteX203" fmla="*/ 1636192 w 1940457"/>
                <a:gd name="connsiteY203" fmla="*/ 22670 h 1270908"/>
                <a:gd name="connsiteX204" fmla="*/ 1638264 w 1940457"/>
                <a:gd name="connsiteY204" fmla="*/ 21041 h 1270908"/>
                <a:gd name="connsiteX205" fmla="*/ 1636192 w 1940457"/>
                <a:gd name="connsiteY205" fmla="*/ 17834 h 1270908"/>
                <a:gd name="connsiteX206" fmla="*/ 1627854 w 1940457"/>
                <a:gd name="connsiteY206" fmla="*/ 14627 h 1270908"/>
                <a:gd name="connsiteX207" fmla="*/ 1625781 w 1940457"/>
                <a:gd name="connsiteY207" fmla="*/ 14627 h 1270908"/>
                <a:gd name="connsiteX208" fmla="*/ 1625781 w 1940457"/>
                <a:gd name="connsiteY208" fmla="*/ 9693 h 1270908"/>
                <a:gd name="connsiteX209" fmla="*/ 1621637 w 1940457"/>
                <a:gd name="connsiteY209" fmla="*/ 6437 h 1270908"/>
                <a:gd name="connsiteX210" fmla="*/ 1619565 w 1940457"/>
                <a:gd name="connsiteY210" fmla="*/ 4858 h 1270908"/>
                <a:gd name="connsiteX211" fmla="*/ 1621637 w 1940457"/>
                <a:gd name="connsiteY211" fmla="*/ 3230 h 1270908"/>
                <a:gd name="connsiteX212" fmla="*/ 1625781 w 1940457"/>
                <a:gd name="connsiteY212" fmla="*/ 3230 h 1270908"/>
                <a:gd name="connsiteX213" fmla="*/ 1625781 w 1940457"/>
                <a:gd name="connsiteY213" fmla="*/ -27 h 1270908"/>
                <a:gd name="connsiteX214" fmla="*/ 1623709 w 1940457"/>
                <a:gd name="connsiteY214" fmla="*/ -27 h 1270908"/>
                <a:gd name="connsiteX215" fmla="*/ 1609154 w 1940457"/>
                <a:gd name="connsiteY215" fmla="*/ 4907 h 1270908"/>
                <a:gd name="connsiteX216" fmla="*/ 1607032 w 1940457"/>
                <a:gd name="connsiteY216" fmla="*/ 8114 h 1270908"/>
                <a:gd name="connsiteX217" fmla="*/ 1596621 w 1940457"/>
                <a:gd name="connsiteY217" fmla="*/ 8114 h 1270908"/>
                <a:gd name="connsiteX218" fmla="*/ 1590404 w 1940457"/>
                <a:gd name="connsiteY218" fmla="*/ 13048 h 1270908"/>
                <a:gd name="connsiteX219" fmla="*/ 1573727 w 1940457"/>
                <a:gd name="connsiteY219" fmla="*/ 22916 h 1270908"/>
                <a:gd name="connsiteX220" fmla="*/ 1565389 w 1940457"/>
                <a:gd name="connsiteY220" fmla="*/ 26123 h 1270908"/>
                <a:gd name="connsiteX221" fmla="*/ 1549205 w 1940457"/>
                <a:gd name="connsiteY221" fmla="*/ 26123 h 1270908"/>
                <a:gd name="connsiteX222" fmla="*/ 1538794 w 1940457"/>
                <a:gd name="connsiteY222" fmla="*/ 21189 h 1270908"/>
                <a:gd name="connsiteX223" fmla="*/ 1534600 w 1940457"/>
                <a:gd name="connsiteY223" fmla="*/ 17982 h 1270908"/>
                <a:gd name="connsiteX224" fmla="*/ 1534600 w 1940457"/>
                <a:gd name="connsiteY224" fmla="*/ 21189 h 1270908"/>
                <a:gd name="connsiteX225" fmla="*/ 1530456 w 1940457"/>
                <a:gd name="connsiteY225" fmla="*/ 21189 h 1270908"/>
                <a:gd name="connsiteX226" fmla="*/ 1522117 w 1940457"/>
                <a:gd name="connsiteY226" fmla="*/ 16255 h 1270908"/>
                <a:gd name="connsiteX227" fmla="*/ 1515900 w 1940457"/>
                <a:gd name="connsiteY227" fmla="*/ 17884 h 1270908"/>
                <a:gd name="connsiteX228" fmla="*/ 1513779 w 1940457"/>
                <a:gd name="connsiteY228" fmla="*/ 22818 h 1270908"/>
                <a:gd name="connsiteX229" fmla="*/ 1509634 w 1940457"/>
                <a:gd name="connsiteY229" fmla="*/ 22818 h 1270908"/>
                <a:gd name="connsiteX230" fmla="*/ 1509634 w 1940457"/>
                <a:gd name="connsiteY230" fmla="*/ 16354 h 1270908"/>
                <a:gd name="connsiteX231" fmla="*/ 1515900 w 1940457"/>
                <a:gd name="connsiteY231" fmla="*/ 13147 h 1270908"/>
                <a:gd name="connsiteX232" fmla="*/ 1513779 w 1940457"/>
                <a:gd name="connsiteY232" fmla="*/ 11519 h 1270908"/>
                <a:gd name="connsiteX233" fmla="*/ 1505490 w 1940457"/>
                <a:gd name="connsiteY233" fmla="*/ 13147 h 1270908"/>
                <a:gd name="connsiteX234" fmla="*/ 1490688 w 1940457"/>
                <a:gd name="connsiteY234" fmla="*/ 19611 h 1270908"/>
                <a:gd name="connsiteX235" fmla="*/ 1480277 w 1940457"/>
                <a:gd name="connsiteY235" fmla="*/ 22818 h 1270908"/>
                <a:gd name="connsiteX236" fmla="*/ 1478204 w 1940457"/>
                <a:gd name="connsiteY236" fmla="*/ 29281 h 1270908"/>
                <a:gd name="connsiteX237" fmla="*/ 1478204 w 1940457"/>
                <a:gd name="connsiteY237" fmla="*/ 35695 h 1270908"/>
                <a:gd name="connsiteX238" fmla="*/ 1486543 w 1940457"/>
                <a:gd name="connsiteY238" fmla="*/ 37324 h 1270908"/>
                <a:gd name="connsiteX239" fmla="*/ 1482349 w 1940457"/>
                <a:gd name="connsiteY239" fmla="*/ 40531 h 1270908"/>
                <a:gd name="connsiteX240" fmla="*/ 1474060 w 1940457"/>
                <a:gd name="connsiteY240" fmla="*/ 40531 h 1270908"/>
                <a:gd name="connsiteX241" fmla="*/ 1463649 w 1940457"/>
                <a:gd name="connsiteY241" fmla="*/ 46994 h 1270908"/>
                <a:gd name="connsiteX242" fmla="*/ 1457333 w 1940457"/>
                <a:gd name="connsiteY242" fmla="*/ 62635 h 1270908"/>
                <a:gd name="connsiteX243" fmla="*/ 1453189 w 1940457"/>
                <a:gd name="connsiteY243" fmla="*/ 72503 h 1270908"/>
                <a:gd name="connsiteX244" fmla="*/ 1448995 w 1940457"/>
                <a:gd name="connsiteY244" fmla="*/ 72503 h 1270908"/>
                <a:gd name="connsiteX245" fmla="*/ 1448995 w 1940457"/>
                <a:gd name="connsiteY245" fmla="*/ 70924 h 1270908"/>
                <a:gd name="connsiteX246" fmla="*/ 1451067 w 1940457"/>
                <a:gd name="connsiteY246" fmla="*/ 59626 h 1270908"/>
                <a:gd name="connsiteX247" fmla="*/ 1461478 w 1940457"/>
                <a:gd name="connsiteY247" fmla="*/ 46698 h 1270908"/>
                <a:gd name="connsiteX248" fmla="*/ 1461478 w 1940457"/>
                <a:gd name="connsiteY248" fmla="*/ 41764 h 1270908"/>
                <a:gd name="connsiteX249" fmla="*/ 1457333 w 1940457"/>
                <a:gd name="connsiteY249" fmla="*/ 41764 h 1270908"/>
                <a:gd name="connsiteX250" fmla="*/ 1440656 w 1940457"/>
                <a:gd name="connsiteY250" fmla="*/ 48327 h 1270908"/>
                <a:gd name="connsiteX251" fmla="*/ 1432367 w 1940457"/>
                <a:gd name="connsiteY251" fmla="*/ 48327 h 1270908"/>
                <a:gd name="connsiteX252" fmla="*/ 1428173 w 1940457"/>
                <a:gd name="connsiteY252" fmla="*/ 46698 h 1270908"/>
                <a:gd name="connsiteX253" fmla="*/ 1421956 w 1940457"/>
                <a:gd name="connsiteY253" fmla="*/ 40284 h 1270908"/>
                <a:gd name="connsiteX254" fmla="*/ 1413618 w 1940457"/>
                <a:gd name="connsiteY254" fmla="*/ 38656 h 1270908"/>
                <a:gd name="connsiteX255" fmla="*/ 1409424 w 1940457"/>
                <a:gd name="connsiteY255" fmla="*/ 38656 h 1270908"/>
                <a:gd name="connsiteX256" fmla="*/ 1409424 w 1940457"/>
                <a:gd name="connsiteY256" fmla="*/ 41863 h 1270908"/>
                <a:gd name="connsiteX257" fmla="*/ 1419835 w 1940457"/>
                <a:gd name="connsiteY257" fmla="*/ 45119 h 1270908"/>
                <a:gd name="connsiteX258" fmla="*/ 1424029 w 1940457"/>
                <a:gd name="connsiteY258" fmla="*/ 50054 h 1270908"/>
                <a:gd name="connsiteX259" fmla="*/ 1419835 w 1940457"/>
                <a:gd name="connsiteY259" fmla="*/ 51632 h 1270908"/>
                <a:gd name="connsiteX260" fmla="*/ 1409424 w 1940457"/>
                <a:gd name="connsiteY260" fmla="*/ 48425 h 1270908"/>
                <a:gd name="connsiteX261" fmla="*/ 1399013 w 1940457"/>
                <a:gd name="connsiteY261" fmla="*/ 46797 h 1270908"/>
                <a:gd name="connsiteX262" fmla="*/ 1382385 w 1940457"/>
                <a:gd name="connsiteY262" fmla="*/ 53261 h 1270908"/>
                <a:gd name="connsiteX263" fmla="*/ 1365708 w 1940457"/>
                <a:gd name="connsiteY263" fmla="*/ 67569 h 1270908"/>
                <a:gd name="connsiteX264" fmla="*/ 1344887 w 1940457"/>
                <a:gd name="connsiteY264" fmla="*/ 75661 h 1270908"/>
                <a:gd name="connsiteX265" fmla="*/ 1330331 w 1940457"/>
                <a:gd name="connsiteY265" fmla="*/ 85529 h 1270908"/>
                <a:gd name="connsiteX266" fmla="*/ 1313654 w 1940457"/>
                <a:gd name="connsiteY266" fmla="*/ 96779 h 1270908"/>
                <a:gd name="connsiteX267" fmla="*/ 1296977 w 1940457"/>
                <a:gd name="connsiteY267" fmla="*/ 109706 h 1270908"/>
                <a:gd name="connsiteX268" fmla="*/ 1284494 w 1940457"/>
                <a:gd name="connsiteY268" fmla="*/ 114640 h 1270908"/>
                <a:gd name="connsiteX269" fmla="*/ 1278277 w 1940457"/>
                <a:gd name="connsiteY269" fmla="*/ 116268 h 1270908"/>
                <a:gd name="connsiteX270" fmla="*/ 1267867 w 1940457"/>
                <a:gd name="connsiteY270" fmla="*/ 121202 h 1270908"/>
                <a:gd name="connsiteX271" fmla="*/ 1259528 w 1940457"/>
                <a:gd name="connsiteY271" fmla="*/ 121202 h 1270908"/>
                <a:gd name="connsiteX272" fmla="*/ 1247045 w 1940457"/>
                <a:gd name="connsiteY272" fmla="*/ 127617 h 1270908"/>
                <a:gd name="connsiteX273" fmla="*/ 1236634 w 1940457"/>
                <a:gd name="connsiteY273" fmla="*/ 127617 h 1270908"/>
                <a:gd name="connsiteX274" fmla="*/ 1232440 w 1940457"/>
                <a:gd name="connsiteY274" fmla="*/ 124409 h 1270908"/>
                <a:gd name="connsiteX275" fmla="*/ 1219957 w 1940457"/>
                <a:gd name="connsiteY275" fmla="*/ 122781 h 1270908"/>
                <a:gd name="connsiteX276" fmla="*/ 1211618 w 1940457"/>
                <a:gd name="connsiteY276" fmla="*/ 117847 h 1270908"/>
                <a:gd name="connsiteX277" fmla="*/ 1203280 w 1940457"/>
                <a:gd name="connsiteY277" fmla="*/ 114640 h 1270908"/>
                <a:gd name="connsiteX278" fmla="*/ 1192869 w 1940457"/>
                <a:gd name="connsiteY278" fmla="*/ 109706 h 1270908"/>
                <a:gd name="connsiteX279" fmla="*/ 1188725 w 1940457"/>
                <a:gd name="connsiteY279" fmla="*/ 111334 h 1270908"/>
                <a:gd name="connsiteX280" fmla="*/ 1180386 w 1940457"/>
                <a:gd name="connsiteY280" fmla="*/ 117748 h 1270908"/>
                <a:gd name="connsiteX281" fmla="*/ 1167903 w 1940457"/>
                <a:gd name="connsiteY281" fmla="*/ 130676 h 1270908"/>
                <a:gd name="connsiteX282" fmla="*/ 1163758 w 1940457"/>
                <a:gd name="connsiteY282" fmla="*/ 137090 h 1270908"/>
                <a:gd name="connsiteX283" fmla="*/ 1157492 w 1940457"/>
                <a:gd name="connsiteY283" fmla="*/ 143553 h 1270908"/>
                <a:gd name="connsiteX284" fmla="*/ 1153347 w 1940457"/>
                <a:gd name="connsiteY284" fmla="*/ 150017 h 1270908"/>
                <a:gd name="connsiteX285" fmla="*/ 1147081 w 1940457"/>
                <a:gd name="connsiteY285" fmla="*/ 150017 h 1270908"/>
                <a:gd name="connsiteX286" fmla="*/ 1142937 w 1940457"/>
                <a:gd name="connsiteY286" fmla="*/ 146761 h 1270908"/>
                <a:gd name="connsiteX287" fmla="*/ 1138743 w 1940457"/>
                <a:gd name="connsiteY287" fmla="*/ 150017 h 1270908"/>
                <a:gd name="connsiteX288" fmla="*/ 1145009 w 1940457"/>
                <a:gd name="connsiteY288" fmla="*/ 162895 h 1270908"/>
                <a:gd name="connsiteX289" fmla="*/ 1155420 w 1940457"/>
                <a:gd name="connsiteY289" fmla="*/ 190328 h 1270908"/>
                <a:gd name="connsiteX290" fmla="*/ 1163758 w 1940457"/>
                <a:gd name="connsiteY290" fmla="*/ 211248 h 1270908"/>
                <a:gd name="connsiteX291" fmla="*/ 1167903 w 1940457"/>
                <a:gd name="connsiteY291" fmla="*/ 229011 h 1270908"/>
                <a:gd name="connsiteX292" fmla="*/ 1165831 w 1940457"/>
                <a:gd name="connsiteY292" fmla="*/ 246724 h 1270908"/>
                <a:gd name="connsiteX293" fmla="*/ 1157492 w 1940457"/>
                <a:gd name="connsiteY293" fmla="*/ 259651 h 1270908"/>
                <a:gd name="connsiteX294" fmla="*/ 1151226 w 1940457"/>
                <a:gd name="connsiteY294" fmla="*/ 266066 h 1270908"/>
                <a:gd name="connsiteX295" fmla="*/ 1151226 w 1940457"/>
                <a:gd name="connsiteY295" fmla="*/ 271000 h 1270908"/>
                <a:gd name="connsiteX296" fmla="*/ 1163758 w 1940457"/>
                <a:gd name="connsiteY296" fmla="*/ 283877 h 1270908"/>
                <a:gd name="connsiteX297" fmla="*/ 1172048 w 1940457"/>
                <a:gd name="connsiteY297" fmla="*/ 287085 h 1270908"/>
                <a:gd name="connsiteX298" fmla="*/ 1172048 w 1940457"/>
                <a:gd name="connsiteY298" fmla="*/ 280670 h 1270908"/>
                <a:gd name="connsiteX299" fmla="*/ 1174169 w 1940457"/>
                <a:gd name="connsiteY299" fmla="*/ 283877 h 1270908"/>
                <a:gd name="connsiteX300" fmla="*/ 1180386 w 1940457"/>
                <a:gd name="connsiteY300" fmla="*/ 280670 h 1270908"/>
                <a:gd name="connsiteX301" fmla="*/ 1186652 w 1940457"/>
                <a:gd name="connsiteY301" fmla="*/ 280670 h 1270908"/>
                <a:gd name="connsiteX302" fmla="*/ 1180386 w 1940457"/>
                <a:gd name="connsiteY302" fmla="*/ 283877 h 1270908"/>
                <a:gd name="connsiteX303" fmla="*/ 1180386 w 1940457"/>
                <a:gd name="connsiteY303" fmla="*/ 288811 h 1270908"/>
                <a:gd name="connsiteX304" fmla="*/ 1197063 w 1940457"/>
                <a:gd name="connsiteY304" fmla="*/ 300110 h 1270908"/>
                <a:gd name="connsiteX305" fmla="*/ 1192869 w 1940457"/>
                <a:gd name="connsiteY305" fmla="*/ 303318 h 1270908"/>
                <a:gd name="connsiteX306" fmla="*/ 1186652 w 1940457"/>
                <a:gd name="connsiteY306" fmla="*/ 301689 h 1270908"/>
                <a:gd name="connsiteX307" fmla="*/ 1184580 w 1940457"/>
                <a:gd name="connsiteY307" fmla="*/ 306623 h 1270908"/>
                <a:gd name="connsiteX308" fmla="*/ 1182458 w 1940457"/>
                <a:gd name="connsiteY308" fmla="*/ 322758 h 1270908"/>
                <a:gd name="connsiteX309" fmla="*/ 1182458 w 1940457"/>
                <a:gd name="connsiteY309" fmla="*/ 329073 h 1270908"/>
                <a:gd name="connsiteX310" fmla="*/ 1186652 w 1940457"/>
                <a:gd name="connsiteY310" fmla="*/ 332280 h 1270908"/>
                <a:gd name="connsiteX311" fmla="*/ 1192869 w 1940457"/>
                <a:gd name="connsiteY311" fmla="*/ 327346 h 1270908"/>
                <a:gd name="connsiteX312" fmla="*/ 1201208 w 1940457"/>
                <a:gd name="connsiteY312" fmla="*/ 325718 h 1270908"/>
                <a:gd name="connsiteX313" fmla="*/ 1205402 w 1940457"/>
                <a:gd name="connsiteY313" fmla="*/ 327346 h 1270908"/>
                <a:gd name="connsiteX314" fmla="*/ 1209546 w 1940457"/>
                <a:gd name="connsiteY314" fmla="*/ 332280 h 1270908"/>
                <a:gd name="connsiteX315" fmla="*/ 1217885 w 1940457"/>
                <a:gd name="connsiteY315" fmla="*/ 329073 h 1270908"/>
                <a:gd name="connsiteX316" fmla="*/ 1228295 w 1940457"/>
                <a:gd name="connsiteY316" fmla="*/ 332280 h 1270908"/>
                <a:gd name="connsiteX317" fmla="*/ 1238706 w 1940457"/>
                <a:gd name="connsiteY317" fmla="*/ 337214 h 1270908"/>
                <a:gd name="connsiteX318" fmla="*/ 1230368 w 1940457"/>
                <a:gd name="connsiteY318" fmla="*/ 342148 h 1270908"/>
                <a:gd name="connsiteX319" fmla="*/ 1232440 w 1940457"/>
                <a:gd name="connsiteY319" fmla="*/ 348612 h 1270908"/>
                <a:gd name="connsiteX320" fmla="*/ 1228295 w 1940457"/>
                <a:gd name="connsiteY320" fmla="*/ 355076 h 1270908"/>
                <a:gd name="connsiteX321" fmla="*/ 1217885 w 1940457"/>
                <a:gd name="connsiteY321" fmla="*/ 355076 h 1270908"/>
                <a:gd name="connsiteX322" fmla="*/ 1217885 w 1940457"/>
                <a:gd name="connsiteY322" fmla="*/ 351819 h 1270908"/>
                <a:gd name="connsiteX323" fmla="*/ 1211618 w 1940457"/>
                <a:gd name="connsiteY323" fmla="*/ 348612 h 1270908"/>
                <a:gd name="connsiteX324" fmla="*/ 1207474 w 1940457"/>
                <a:gd name="connsiteY324" fmla="*/ 350240 h 1270908"/>
                <a:gd name="connsiteX325" fmla="*/ 1197063 w 1940457"/>
                <a:gd name="connsiteY325" fmla="*/ 348612 h 1270908"/>
                <a:gd name="connsiteX326" fmla="*/ 1192869 w 1940457"/>
                <a:gd name="connsiteY326" fmla="*/ 345405 h 1270908"/>
                <a:gd name="connsiteX327" fmla="*/ 1190797 w 1940457"/>
                <a:gd name="connsiteY327" fmla="*/ 337313 h 1270908"/>
                <a:gd name="connsiteX328" fmla="*/ 1184580 w 1940457"/>
                <a:gd name="connsiteY328" fmla="*/ 335734 h 1270908"/>
                <a:gd name="connsiteX329" fmla="*/ 1180386 w 1940457"/>
                <a:gd name="connsiteY329" fmla="*/ 335734 h 1270908"/>
                <a:gd name="connsiteX330" fmla="*/ 1172048 w 1940457"/>
                <a:gd name="connsiteY330" fmla="*/ 329073 h 1270908"/>
                <a:gd name="connsiteX331" fmla="*/ 1172048 w 1940457"/>
                <a:gd name="connsiteY331" fmla="*/ 320981 h 1270908"/>
                <a:gd name="connsiteX332" fmla="*/ 1180386 w 1940457"/>
                <a:gd name="connsiteY332" fmla="*/ 301640 h 1270908"/>
                <a:gd name="connsiteX333" fmla="*/ 1180386 w 1940457"/>
                <a:gd name="connsiteY333" fmla="*/ 296706 h 1270908"/>
                <a:gd name="connsiteX334" fmla="*/ 1176241 w 1940457"/>
                <a:gd name="connsiteY334" fmla="*/ 296706 h 1270908"/>
                <a:gd name="connsiteX335" fmla="*/ 1169975 w 1940457"/>
                <a:gd name="connsiteY335" fmla="*/ 301640 h 1270908"/>
                <a:gd name="connsiteX336" fmla="*/ 1169975 w 1940457"/>
                <a:gd name="connsiteY336" fmla="*/ 319205 h 1270908"/>
                <a:gd name="connsiteX337" fmla="*/ 1165831 w 1940457"/>
                <a:gd name="connsiteY337" fmla="*/ 332083 h 1270908"/>
                <a:gd name="connsiteX338" fmla="*/ 1159416 w 1940457"/>
                <a:gd name="connsiteY338" fmla="*/ 338547 h 1270908"/>
                <a:gd name="connsiteX339" fmla="*/ 1159416 w 1940457"/>
                <a:gd name="connsiteY339" fmla="*/ 343481 h 1270908"/>
                <a:gd name="connsiteX340" fmla="*/ 1163610 w 1940457"/>
                <a:gd name="connsiteY340" fmla="*/ 337017 h 1270908"/>
                <a:gd name="connsiteX341" fmla="*/ 1169827 w 1940457"/>
                <a:gd name="connsiteY341" fmla="*/ 337017 h 1270908"/>
                <a:gd name="connsiteX342" fmla="*/ 1171899 w 1940457"/>
                <a:gd name="connsiteY342" fmla="*/ 338645 h 1270908"/>
                <a:gd name="connsiteX343" fmla="*/ 1182310 w 1940457"/>
                <a:gd name="connsiteY343" fmla="*/ 338645 h 1270908"/>
                <a:gd name="connsiteX344" fmla="*/ 1184432 w 1940457"/>
                <a:gd name="connsiteY344" fmla="*/ 346688 h 1270908"/>
                <a:gd name="connsiteX345" fmla="*/ 1184432 w 1940457"/>
                <a:gd name="connsiteY345" fmla="*/ 357987 h 1270908"/>
                <a:gd name="connsiteX346" fmla="*/ 1178166 w 1940457"/>
                <a:gd name="connsiteY346" fmla="*/ 364450 h 1270908"/>
                <a:gd name="connsiteX347" fmla="*/ 1167755 w 1940457"/>
                <a:gd name="connsiteY347" fmla="*/ 367657 h 1270908"/>
                <a:gd name="connsiteX348" fmla="*/ 1176093 w 1940457"/>
                <a:gd name="connsiteY348" fmla="*/ 357789 h 1270908"/>
                <a:gd name="connsiteX349" fmla="*/ 1176093 w 1940457"/>
                <a:gd name="connsiteY349" fmla="*/ 352855 h 1270908"/>
                <a:gd name="connsiteX350" fmla="*/ 1171899 w 1940457"/>
                <a:gd name="connsiteY350" fmla="*/ 351227 h 1270908"/>
                <a:gd name="connsiteX351" fmla="*/ 1167755 w 1940457"/>
                <a:gd name="connsiteY351" fmla="*/ 349648 h 1270908"/>
                <a:gd name="connsiteX352" fmla="*/ 1163610 w 1940457"/>
                <a:gd name="connsiteY352" fmla="*/ 352855 h 1270908"/>
                <a:gd name="connsiteX353" fmla="*/ 1153199 w 1940457"/>
                <a:gd name="connsiteY353" fmla="*/ 359319 h 1270908"/>
                <a:gd name="connsiteX354" fmla="*/ 1153199 w 1940457"/>
                <a:gd name="connsiteY354" fmla="*/ 365733 h 1270908"/>
                <a:gd name="connsiteX355" fmla="*/ 1146933 w 1940457"/>
                <a:gd name="connsiteY355" fmla="*/ 367361 h 1270908"/>
                <a:gd name="connsiteX356" fmla="*/ 1138595 w 1940457"/>
                <a:gd name="connsiteY356" fmla="*/ 368990 h 1270908"/>
                <a:gd name="connsiteX357" fmla="*/ 1138595 w 1940457"/>
                <a:gd name="connsiteY357" fmla="*/ 364056 h 1270908"/>
                <a:gd name="connsiteX358" fmla="*/ 1134450 w 1940457"/>
                <a:gd name="connsiteY358" fmla="*/ 362427 h 1270908"/>
                <a:gd name="connsiteX359" fmla="*/ 1126112 w 1940457"/>
                <a:gd name="connsiteY359" fmla="*/ 362427 h 1270908"/>
                <a:gd name="connsiteX360" fmla="*/ 1121967 w 1940457"/>
                <a:gd name="connsiteY360" fmla="*/ 360799 h 1270908"/>
                <a:gd name="connsiteX361" fmla="*/ 1119845 w 1940457"/>
                <a:gd name="connsiteY361" fmla="*/ 354385 h 1270908"/>
                <a:gd name="connsiteX362" fmla="*/ 1105290 w 1940457"/>
                <a:gd name="connsiteY362" fmla="*/ 354385 h 1270908"/>
                <a:gd name="connsiteX363" fmla="*/ 1103218 w 1940457"/>
                <a:gd name="connsiteY363" fmla="*/ 349451 h 1270908"/>
                <a:gd name="connsiteX364" fmla="*/ 1099024 w 1940457"/>
                <a:gd name="connsiteY364" fmla="*/ 346194 h 1270908"/>
                <a:gd name="connsiteX365" fmla="*/ 1094879 w 1940457"/>
                <a:gd name="connsiteY365" fmla="*/ 349451 h 1270908"/>
                <a:gd name="connsiteX366" fmla="*/ 1090735 w 1940457"/>
                <a:gd name="connsiteY366" fmla="*/ 349451 h 1270908"/>
                <a:gd name="connsiteX367" fmla="*/ 1090735 w 1940457"/>
                <a:gd name="connsiteY367" fmla="*/ 341359 h 1270908"/>
                <a:gd name="connsiteX368" fmla="*/ 1088613 w 1940457"/>
                <a:gd name="connsiteY368" fmla="*/ 336425 h 1270908"/>
                <a:gd name="connsiteX369" fmla="*/ 1088613 w 1940457"/>
                <a:gd name="connsiteY369" fmla="*/ 333218 h 1270908"/>
                <a:gd name="connsiteX370" fmla="*/ 1094879 w 1940457"/>
                <a:gd name="connsiteY370" fmla="*/ 331590 h 1270908"/>
                <a:gd name="connsiteX371" fmla="*/ 1101145 w 1940457"/>
                <a:gd name="connsiteY371" fmla="*/ 321721 h 1270908"/>
                <a:gd name="connsiteX372" fmla="*/ 1105290 w 1940457"/>
                <a:gd name="connsiteY372" fmla="*/ 321721 h 1270908"/>
                <a:gd name="connsiteX373" fmla="*/ 1111556 w 1940457"/>
                <a:gd name="connsiteY373" fmla="*/ 316787 h 1270908"/>
                <a:gd name="connsiteX374" fmla="*/ 1109435 w 1940457"/>
                <a:gd name="connsiteY374" fmla="*/ 313580 h 1270908"/>
                <a:gd name="connsiteX375" fmla="*/ 1101145 w 1940457"/>
                <a:gd name="connsiteY375" fmla="*/ 303712 h 1270908"/>
                <a:gd name="connsiteX376" fmla="*/ 1094879 w 1940457"/>
                <a:gd name="connsiteY376" fmla="*/ 302084 h 1270908"/>
                <a:gd name="connsiteX377" fmla="*/ 1088613 w 1940457"/>
                <a:gd name="connsiteY377" fmla="*/ 302084 h 1270908"/>
                <a:gd name="connsiteX378" fmla="*/ 1076130 w 1940457"/>
                <a:gd name="connsiteY378" fmla="*/ 307018 h 1270908"/>
                <a:gd name="connsiteX379" fmla="*/ 1069913 w 1940457"/>
                <a:gd name="connsiteY379" fmla="*/ 307018 h 1270908"/>
                <a:gd name="connsiteX380" fmla="*/ 1063647 w 1940457"/>
                <a:gd name="connsiteY380" fmla="*/ 303811 h 1270908"/>
                <a:gd name="connsiteX381" fmla="*/ 1057381 w 1940457"/>
                <a:gd name="connsiteY381" fmla="*/ 303811 h 1270908"/>
                <a:gd name="connsiteX382" fmla="*/ 1036559 w 1940457"/>
                <a:gd name="connsiteY382" fmla="*/ 311853 h 1270908"/>
                <a:gd name="connsiteX383" fmla="*/ 1034487 w 1940457"/>
                <a:gd name="connsiteY383" fmla="*/ 315061 h 1270908"/>
                <a:gd name="connsiteX384" fmla="*/ 1038681 w 1940457"/>
                <a:gd name="connsiteY384" fmla="*/ 318317 h 1270908"/>
                <a:gd name="connsiteX385" fmla="*/ 1046970 w 1940457"/>
                <a:gd name="connsiteY385" fmla="*/ 324731 h 1270908"/>
                <a:gd name="connsiteX386" fmla="*/ 1044897 w 1940457"/>
                <a:gd name="connsiteY386" fmla="*/ 326359 h 1270908"/>
                <a:gd name="connsiteX387" fmla="*/ 1038681 w 1940457"/>
                <a:gd name="connsiteY387" fmla="*/ 324731 h 1270908"/>
                <a:gd name="connsiteX388" fmla="*/ 1032414 w 1940457"/>
                <a:gd name="connsiteY388" fmla="*/ 324731 h 1270908"/>
                <a:gd name="connsiteX389" fmla="*/ 1030342 w 1940457"/>
                <a:gd name="connsiteY389" fmla="*/ 321524 h 1270908"/>
                <a:gd name="connsiteX390" fmla="*/ 1024076 w 1940457"/>
                <a:gd name="connsiteY390" fmla="*/ 319896 h 1270908"/>
                <a:gd name="connsiteX391" fmla="*/ 1011593 w 1940457"/>
                <a:gd name="connsiteY391" fmla="*/ 318317 h 1270908"/>
                <a:gd name="connsiteX392" fmla="*/ 997037 w 1940457"/>
                <a:gd name="connsiteY392" fmla="*/ 319896 h 1270908"/>
                <a:gd name="connsiteX393" fmla="*/ 992843 w 1940457"/>
                <a:gd name="connsiteY393" fmla="*/ 323152 h 1270908"/>
                <a:gd name="connsiteX394" fmla="*/ 990771 w 1940457"/>
                <a:gd name="connsiteY394" fmla="*/ 326359 h 1270908"/>
                <a:gd name="connsiteX395" fmla="*/ 984505 w 1940457"/>
                <a:gd name="connsiteY395" fmla="*/ 326359 h 1270908"/>
                <a:gd name="connsiteX396" fmla="*/ 982433 w 1940457"/>
                <a:gd name="connsiteY396" fmla="*/ 324731 h 1270908"/>
                <a:gd name="connsiteX397" fmla="*/ 978288 w 1940457"/>
                <a:gd name="connsiteY397" fmla="*/ 324731 h 1270908"/>
                <a:gd name="connsiteX398" fmla="*/ 967877 w 1940457"/>
                <a:gd name="connsiteY398" fmla="*/ 329665 h 1270908"/>
                <a:gd name="connsiteX399" fmla="*/ 967877 w 1940457"/>
                <a:gd name="connsiteY399" fmla="*/ 332922 h 1270908"/>
                <a:gd name="connsiteX400" fmla="*/ 961611 w 1940457"/>
                <a:gd name="connsiteY400" fmla="*/ 334550 h 1270908"/>
                <a:gd name="connsiteX401" fmla="*/ 951200 w 1940457"/>
                <a:gd name="connsiteY401" fmla="*/ 339484 h 1270908"/>
                <a:gd name="connsiteX402" fmla="*/ 942862 w 1940457"/>
                <a:gd name="connsiteY402" fmla="*/ 344418 h 1270908"/>
                <a:gd name="connsiteX403" fmla="*/ 938717 w 1940457"/>
                <a:gd name="connsiteY403" fmla="*/ 344418 h 1270908"/>
                <a:gd name="connsiteX404" fmla="*/ 940789 w 1940457"/>
                <a:gd name="connsiteY404" fmla="*/ 342790 h 1270908"/>
                <a:gd name="connsiteX405" fmla="*/ 942862 w 1940457"/>
                <a:gd name="connsiteY405" fmla="*/ 337856 h 1270908"/>
                <a:gd name="connsiteX406" fmla="*/ 936645 w 1940457"/>
                <a:gd name="connsiteY406" fmla="*/ 341063 h 1270908"/>
                <a:gd name="connsiteX407" fmla="*/ 930378 w 1940457"/>
                <a:gd name="connsiteY407" fmla="*/ 347527 h 1270908"/>
                <a:gd name="connsiteX408" fmla="*/ 930378 w 1940457"/>
                <a:gd name="connsiteY408" fmla="*/ 350734 h 1270908"/>
                <a:gd name="connsiteX409" fmla="*/ 940789 w 1940457"/>
                <a:gd name="connsiteY409" fmla="*/ 360602 h 1270908"/>
                <a:gd name="connsiteX410" fmla="*/ 949128 w 1940457"/>
                <a:gd name="connsiteY410" fmla="*/ 373529 h 1270908"/>
                <a:gd name="connsiteX411" fmla="*/ 959539 w 1940457"/>
                <a:gd name="connsiteY411" fmla="*/ 375108 h 1270908"/>
                <a:gd name="connsiteX412" fmla="*/ 967877 w 1940457"/>
                <a:gd name="connsiteY412" fmla="*/ 384976 h 1270908"/>
                <a:gd name="connsiteX413" fmla="*/ 976216 w 1940457"/>
                <a:gd name="connsiteY413" fmla="*/ 388183 h 1270908"/>
                <a:gd name="connsiteX414" fmla="*/ 978288 w 1940457"/>
                <a:gd name="connsiteY414" fmla="*/ 396225 h 1270908"/>
                <a:gd name="connsiteX415" fmla="*/ 986725 w 1940457"/>
                <a:gd name="connsiteY415" fmla="*/ 398150 h 1270908"/>
                <a:gd name="connsiteX416" fmla="*/ 995014 w 1940457"/>
                <a:gd name="connsiteY416" fmla="*/ 401357 h 1270908"/>
                <a:gd name="connsiteX417" fmla="*/ 990870 w 1940457"/>
                <a:gd name="connsiteY417" fmla="*/ 402985 h 1270908"/>
                <a:gd name="connsiteX418" fmla="*/ 978387 w 1940457"/>
                <a:gd name="connsiteY418" fmla="*/ 402985 h 1270908"/>
                <a:gd name="connsiteX419" fmla="*/ 978387 w 1940457"/>
                <a:gd name="connsiteY419" fmla="*/ 396521 h 1270908"/>
                <a:gd name="connsiteX420" fmla="*/ 970048 w 1940457"/>
                <a:gd name="connsiteY420" fmla="*/ 391587 h 1270908"/>
                <a:gd name="connsiteX421" fmla="*/ 963782 w 1940457"/>
                <a:gd name="connsiteY421" fmla="*/ 388380 h 1270908"/>
                <a:gd name="connsiteX422" fmla="*/ 961710 w 1940457"/>
                <a:gd name="connsiteY422" fmla="*/ 388380 h 1270908"/>
                <a:gd name="connsiteX423" fmla="*/ 953371 w 1940457"/>
                <a:gd name="connsiteY423" fmla="*/ 396423 h 1270908"/>
                <a:gd name="connsiteX424" fmla="*/ 949226 w 1940457"/>
                <a:gd name="connsiteY424" fmla="*/ 396423 h 1270908"/>
                <a:gd name="connsiteX425" fmla="*/ 942960 w 1940457"/>
                <a:gd name="connsiteY425" fmla="*/ 390009 h 1270908"/>
                <a:gd name="connsiteX426" fmla="*/ 949226 w 1940457"/>
                <a:gd name="connsiteY426" fmla="*/ 385075 h 1270908"/>
                <a:gd name="connsiteX427" fmla="*/ 949226 w 1940457"/>
                <a:gd name="connsiteY427" fmla="*/ 381818 h 1270908"/>
                <a:gd name="connsiteX428" fmla="*/ 945082 w 1940457"/>
                <a:gd name="connsiteY428" fmla="*/ 381818 h 1270908"/>
                <a:gd name="connsiteX429" fmla="*/ 938816 w 1940457"/>
                <a:gd name="connsiteY429" fmla="*/ 388282 h 1270908"/>
                <a:gd name="connsiteX430" fmla="*/ 940888 w 1940457"/>
                <a:gd name="connsiteY430" fmla="*/ 401159 h 1270908"/>
                <a:gd name="connsiteX431" fmla="*/ 942960 w 1940457"/>
                <a:gd name="connsiteY431" fmla="*/ 402788 h 1270908"/>
                <a:gd name="connsiteX432" fmla="*/ 942960 w 1940457"/>
                <a:gd name="connsiteY432" fmla="*/ 407722 h 1270908"/>
                <a:gd name="connsiteX433" fmla="*/ 934671 w 1940457"/>
                <a:gd name="connsiteY433" fmla="*/ 414185 h 1270908"/>
                <a:gd name="connsiteX434" fmla="*/ 928405 w 1940457"/>
                <a:gd name="connsiteY434" fmla="*/ 422228 h 1270908"/>
                <a:gd name="connsiteX435" fmla="*/ 928405 w 1940457"/>
                <a:gd name="connsiteY435" fmla="*/ 439990 h 1270908"/>
                <a:gd name="connsiteX436" fmla="*/ 940888 w 1940457"/>
                <a:gd name="connsiteY436" fmla="*/ 451240 h 1270908"/>
                <a:gd name="connsiteX437" fmla="*/ 953371 w 1940457"/>
                <a:gd name="connsiteY437" fmla="*/ 454496 h 1270908"/>
                <a:gd name="connsiteX438" fmla="*/ 961710 w 1940457"/>
                <a:gd name="connsiteY438" fmla="*/ 462539 h 1270908"/>
                <a:gd name="connsiteX439" fmla="*/ 965904 w 1940457"/>
                <a:gd name="connsiteY439" fmla="*/ 462539 h 1270908"/>
                <a:gd name="connsiteX440" fmla="*/ 974193 w 1940457"/>
                <a:gd name="connsiteY440" fmla="*/ 457605 h 1270908"/>
                <a:gd name="connsiteX441" fmla="*/ 984604 w 1940457"/>
                <a:gd name="connsiteY441" fmla="*/ 454398 h 1270908"/>
                <a:gd name="connsiteX442" fmla="*/ 992942 w 1940457"/>
                <a:gd name="connsiteY442" fmla="*/ 457605 h 1270908"/>
                <a:gd name="connsiteX443" fmla="*/ 1009619 w 1940457"/>
                <a:gd name="connsiteY443" fmla="*/ 459233 h 1270908"/>
                <a:gd name="connsiteX444" fmla="*/ 1015836 w 1940457"/>
                <a:gd name="connsiteY444" fmla="*/ 464167 h 1270908"/>
                <a:gd name="connsiteX445" fmla="*/ 1017958 w 1940457"/>
                <a:gd name="connsiteY445" fmla="*/ 470581 h 1270908"/>
                <a:gd name="connsiteX446" fmla="*/ 1022102 w 1940457"/>
                <a:gd name="connsiteY446" fmla="*/ 472210 h 1270908"/>
                <a:gd name="connsiteX447" fmla="*/ 1024174 w 1940457"/>
                <a:gd name="connsiteY447" fmla="*/ 469002 h 1270908"/>
                <a:gd name="connsiteX448" fmla="*/ 1024174 w 1940457"/>
                <a:gd name="connsiteY448" fmla="*/ 460911 h 1270908"/>
                <a:gd name="connsiteX449" fmla="*/ 1026247 w 1940457"/>
                <a:gd name="connsiteY449" fmla="*/ 457704 h 1270908"/>
                <a:gd name="connsiteX450" fmla="*/ 1034585 w 1940457"/>
                <a:gd name="connsiteY450" fmla="*/ 460911 h 1270908"/>
                <a:gd name="connsiteX451" fmla="*/ 1032513 w 1940457"/>
                <a:gd name="connsiteY451" fmla="*/ 464167 h 1270908"/>
                <a:gd name="connsiteX452" fmla="*/ 1026197 w 1940457"/>
                <a:gd name="connsiteY452" fmla="*/ 472160 h 1270908"/>
                <a:gd name="connsiteX453" fmla="*/ 1026197 w 1940457"/>
                <a:gd name="connsiteY453" fmla="*/ 477094 h 1270908"/>
                <a:gd name="connsiteX454" fmla="*/ 1030391 w 1940457"/>
                <a:gd name="connsiteY454" fmla="*/ 477094 h 1270908"/>
                <a:gd name="connsiteX455" fmla="*/ 1038730 w 1940457"/>
                <a:gd name="connsiteY455" fmla="*/ 470631 h 1270908"/>
                <a:gd name="connsiteX456" fmla="*/ 1042874 w 1940457"/>
                <a:gd name="connsiteY456" fmla="*/ 467424 h 1270908"/>
                <a:gd name="connsiteX457" fmla="*/ 1053285 w 1940457"/>
                <a:gd name="connsiteY457" fmla="*/ 465795 h 1270908"/>
                <a:gd name="connsiteX458" fmla="*/ 1067841 w 1940457"/>
                <a:gd name="connsiteY458" fmla="*/ 457753 h 1270908"/>
                <a:gd name="connsiteX459" fmla="*/ 1078251 w 1940457"/>
                <a:gd name="connsiteY459" fmla="*/ 456125 h 1270908"/>
                <a:gd name="connsiteX460" fmla="*/ 1084518 w 1940457"/>
                <a:gd name="connsiteY460" fmla="*/ 449710 h 1270908"/>
                <a:gd name="connsiteX461" fmla="*/ 1086590 w 1940457"/>
                <a:gd name="connsiteY461" fmla="*/ 449710 h 1270908"/>
                <a:gd name="connsiteX462" fmla="*/ 1088662 w 1940457"/>
                <a:gd name="connsiteY462" fmla="*/ 454644 h 1270908"/>
                <a:gd name="connsiteX463" fmla="*/ 1090784 w 1940457"/>
                <a:gd name="connsiteY463" fmla="*/ 454644 h 1270908"/>
                <a:gd name="connsiteX464" fmla="*/ 1103267 w 1940457"/>
                <a:gd name="connsiteY464" fmla="*/ 448181 h 1270908"/>
                <a:gd name="connsiteX465" fmla="*/ 1113678 w 1940457"/>
                <a:gd name="connsiteY465" fmla="*/ 448181 h 1270908"/>
                <a:gd name="connsiteX466" fmla="*/ 1117823 w 1940457"/>
                <a:gd name="connsiteY466" fmla="*/ 446553 h 1270908"/>
                <a:gd name="connsiteX467" fmla="*/ 1113678 w 1940457"/>
                <a:gd name="connsiteY467" fmla="*/ 449809 h 1270908"/>
                <a:gd name="connsiteX468" fmla="*/ 1105339 w 1940457"/>
                <a:gd name="connsiteY468" fmla="*/ 454743 h 1270908"/>
                <a:gd name="connsiteX469" fmla="*/ 1105339 w 1940457"/>
                <a:gd name="connsiteY469" fmla="*/ 457950 h 1270908"/>
                <a:gd name="connsiteX470" fmla="*/ 1109484 w 1940457"/>
                <a:gd name="connsiteY470" fmla="*/ 459578 h 1270908"/>
                <a:gd name="connsiteX471" fmla="*/ 1103267 w 1940457"/>
                <a:gd name="connsiteY471" fmla="*/ 469446 h 1270908"/>
                <a:gd name="connsiteX472" fmla="*/ 1092856 w 1940457"/>
                <a:gd name="connsiteY472" fmla="*/ 471025 h 1270908"/>
                <a:gd name="connsiteX473" fmla="*/ 1088662 w 1940457"/>
                <a:gd name="connsiteY473" fmla="*/ 467818 h 1270908"/>
                <a:gd name="connsiteX474" fmla="*/ 1084518 w 1940457"/>
                <a:gd name="connsiteY474" fmla="*/ 467818 h 1270908"/>
                <a:gd name="connsiteX475" fmla="*/ 1076179 w 1940457"/>
                <a:gd name="connsiteY475" fmla="*/ 474282 h 1270908"/>
                <a:gd name="connsiteX476" fmla="*/ 1076179 w 1940457"/>
                <a:gd name="connsiteY476" fmla="*/ 475861 h 1270908"/>
                <a:gd name="connsiteX477" fmla="*/ 1084518 w 1940457"/>
                <a:gd name="connsiteY477" fmla="*/ 477489 h 1270908"/>
                <a:gd name="connsiteX478" fmla="*/ 1088662 w 1940457"/>
                <a:gd name="connsiteY478" fmla="*/ 480696 h 1270908"/>
                <a:gd name="connsiteX479" fmla="*/ 1088662 w 1940457"/>
                <a:gd name="connsiteY479" fmla="*/ 490564 h 1270908"/>
                <a:gd name="connsiteX480" fmla="*/ 1076179 w 1940457"/>
                <a:gd name="connsiteY480" fmla="*/ 500432 h 1270908"/>
                <a:gd name="connsiteX481" fmla="*/ 1074107 w 1940457"/>
                <a:gd name="connsiteY481" fmla="*/ 508475 h 1270908"/>
                <a:gd name="connsiteX482" fmla="*/ 1069962 w 1940457"/>
                <a:gd name="connsiteY482" fmla="*/ 513409 h 1270908"/>
                <a:gd name="connsiteX483" fmla="*/ 1069962 w 1940457"/>
                <a:gd name="connsiteY483" fmla="*/ 516616 h 1270908"/>
                <a:gd name="connsiteX484" fmla="*/ 1072035 w 1940457"/>
                <a:gd name="connsiteY484" fmla="*/ 519872 h 1270908"/>
                <a:gd name="connsiteX485" fmla="*/ 1072035 w 1940457"/>
                <a:gd name="connsiteY485" fmla="*/ 524806 h 1270908"/>
                <a:gd name="connsiteX486" fmla="*/ 1069962 w 1940457"/>
                <a:gd name="connsiteY486" fmla="*/ 531221 h 1270908"/>
                <a:gd name="connsiteX487" fmla="*/ 1063696 w 1940457"/>
                <a:gd name="connsiteY487" fmla="*/ 537684 h 1270908"/>
                <a:gd name="connsiteX488" fmla="*/ 1057430 w 1940457"/>
                <a:gd name="connsiteY488" fmla="*/ 542618 h 1270908"/>
                <a:gd name="connsiteX489" fmla="*/ 1049141 w 1940457"/>
                <a:gd name="connsiteY489" fmla="*/ 540990 h 1270908"/>
                <a:gd name="connsiteX490" fmla="*/ 1044947 w 1940457"/>
                <a:gd name="connsiteY490" fmla="*/ 544246 h 1270908"/>
                <a:gd name="connsiteX491" fmla="*/ 1038730 w 1940457"/>
                <a:gd name="connsiteY491" fmla="*/ 549181 h 1270908"/>
                <a:gd name="connsiteX492" fmla="*/ 1032464 w 1940457"/>
                <a:gd name="connsiteY492" fmla="*/ 550809 h 1270908"/>
                <a:gd name="connsiteX493" fmla="*/ 1024224 w 1940457"/>
                <a:gd name="connsiteY493" fmla="*/ 550809 h 1270908"/>
                <a:gd name="connsiteX494" fmla="*/ 1013813 w 1940457"/>
                <a:gd name="connsiteY494" fmla="*/ 544345 h 1270908"/>
                <a:gd name="connsiteX495" fmla="*/ 1011741 w 1940457"/>
                <a:gd name="connsiteY495" fmla="*/ 545973 h 1270908"/>
                <a:gd name="connsiteX496" fmla="*/ 1007596 w 1940457"/>
                <a:gd name="connsiteY496" fmla="*/ 542717 h 1270908"/>
                <a:gd name="connsiteX497" fmla="*/ 1003402 w 1940457"/>
                <a:gd name="connsiteY497" fmla="*/ 537783 h 1270908"/>
                <a:gd name="connsiteX498" fmla="*/ 1001527 w 1940457"/>
                <a:gd name="connsiteY498" fmla="*/ 537783 h 1270908"/>
                <a:gd name="connsiteX499" fmla="*/ 993189 w 1940457"/>
                <a:gd name="connsiteY499" fmla="*/ 545875 h 1270908"/>
                <a:gd name="connsiteX500" fmla="*/ 984850 w 1940457"/>
                <a:gd name="connsiteY500" fmla="*/ 550809 h 1270908"/>
                <a:gd name="connsiteX501" fmla="*/ 980706 w 1940457"/>
                <a:gd name="connsiteY501" fmla="*/ 557223 h 1270908"/>
                <a:gd name="connsiteX502" fmla="*/ 966150 w 1940457"/>
                <a:gd name="connsiteY502" fmla="*/ 562157 h 1270908"/>
                <a:gd name="connsiteX503" fmla="*/ 961956 w 1940457"/>
                <a:gd name="connsiteY503" fmla="*/ 565413 h 1270908"/>
                <a:gd name="connsiteX504" fmla="*/ 955739 w 1940457"/>
                <a:gd name="connsiteY504" fmla="*/ 565413 h 1270908"/>
                <a:gd name="connsiteX505" fmla="*/ 947401 w 1940457"/>
                <a:gd name="connsiteY505" fmla="*/ 563785 h 1270908"/>
                <a:gd name="connsiteX506" fmla="*/ 936990 w 1940457"/>
                <a:gd name="connsiteY506" fmla="*/ 563785 h 1270908"/>
                <a:gd name="connsiteX507" fmla="*/ 928652 w 1940457"/>
                <a:gd name="connsiteY507" fmla="*/ 568719 h 1270908"/>
                <a:gd name="connsiteX508" fmla="*/ 920313 w 1940457"/>
                <a:gd name="connsiteY508" fmla="*/ 570347 h 1270908"/>
                <a:gd name="connsiteX509" fmla="*/ 916169 w 1940457"/>
                <a:gd name="connsiteY509" fmla="*/ 571926 h 1270908"/>
                <a:gd name="connsiteX510" fmla="*/ 916169 w 1940457"/>
                <a:gd name="connsiteY510" fmla="*/ 580018 h 1270908"/>
                <a:gd name="connsiteX511" fmla="*/ 909902 w 1940457"/>
                <a:gd name="connsiteY511" fmla="*/ 591268 h 1270908"/>
                <a:gd name="connsiteX512" fmla="*/ 905758 w 1940457"/>
                <a:gd name="connsiteY512" fmla="*/ 596202 h 1270908"/>
                <a:gd name="connsiteX513" fmla="*/ 903685 w 1940457"/>
                <a:gd name="connsiteY513" fmla="*/ 591268 h 1270908"/>
                <a:gd name="connsiteX514" fmla="*/ 895347 w 1940457"/>
                <a:gd name="connsiteY514" fmla="*/ 583225 h 1270908"/>
                <a:gd name="connsiteX515" fmla="*/ 884936 w 1940457"/>
                <a:gd name="connsiteY515" fmla="*/ 583225 h 1270908"/>
                <a:gd name="connsiteX516" fmla="*/ 880742 w 1940457"/>
                <a:gd name="connsiteY516" fmla="*/ 584854 h 1270908"/>
                <a:gd name="connsiteX517" fmla="*/ 882864 w 1940457"/>
                <a:gd name="connsiteY517" fmla="*/ 589788 h 1270908"/>
                <a:gd name="connsiteX518" fmla="*/ 887008 w 1940457"/>
                <a:gd name="connsiteY518" fmla="*/ 592995 h 1270908"/>
                <a:gd name="connsiteX519" fmla="*/ 882864 w 1940457"/>
                <a:gd name="connsiteY519" fmla="*/ 597929 h 1270908"/>
                <a:gd name="connsiteX520" fmla="*/ 880742 w 1940457"/>
                <a:gd name="connsiteY520" fmla="*/ 597929 h 1270908"/>
                <a:gd name="connsiteX521" fmla="*/ 876597 w 1940457"/>
                <a:gd name="connsiteY521" fmla="*/ 592995 h 1270908"/>
                <a:gd name="connsiteX522" fmla="*/ 870331 w 1940457"/>
                <a:gd name="connsiteY522" fmla="*/ 586531 h 1270908"/>
                <a:gd name="connsiteX523" fmla="*/ 868308 w 1940457"/>
                <a:gd name="connsiteY523" fmla="*/ 586531 h 1270908"/>
                <a:gd name="connsiteX524" fmla="*/ 857897 w 1940457"/>
                <a:gd name="connsiteY524" fmla="*/ 594623 h 1270908"/>
                <a:gd name="connsiteX525" fmla="*/ 853753 w 1940457"/>
                <a:gd name="connsiteY525" fmla="*/ 602665 h 1270908"/>
                <a:gd name="connsiteX526" fmla="*/ 849559 w 1940457"/>
                <a:gd name="connsiteY526" fmla="*/ 604294 h 1270908"/>
                <a:gd name="connsiteX527" fmla="*/ 845414 w 1940457"/>
                <a:gd name="connsiteY527" fmla="*/ 604294 h 1270908"/>
                <a:gd name="connsiteX528" fmla="*/ 828737 w 1940457"/>
                <a:gd name="connsiteY528" fmla="*/ 617172 h 1270908"/>
                <a:gd name="connsiteX529" fmla="*/ 826665 w 1940457"/>
                <a:gd name="connsiteY529" fmla="*/ 627040 h 1270908"/>
                <a:gd name="connsiteX530" fmla="*/ 822520 w 1940457"/>
                <a:gd name="connsiteY530" fmla="*/ 628668 h 1270908"/>
                <a:gd name="connsiteX531" fmla="*/ 816254 w 1940457"/>
                <a:gd name="connsiteY531" fmla="*/ 630296 h 1270908"/>
                <a:gd name="connsiteX532" fmla="*/ 807916 w 1940457"/>
                <a:gd name="connsiteY532" fmla="*/ 628668 h 1270908"/>
                <a:gd name="connsiteX533" fmla="*/ 807916 w 1940457"/>
                <a:gd name="connsiteY533" fmla="*/ 630296 h 1270908"/>
                <a:gd name="connsiteX534" fmla="*/ 814034 w 1940457"/>
                <a:gd name="connsiteY534" fmla="*/ 634983 h 1270908"/>
                <a:gd name="connsiteX535" fmla="*/ 811962 w 1940457"/>
                <a:gd name="connsiteY535" fmla="*/ 639917 h 1270908"/>
                <a:gd name="connsiteX536" fmla="*/ 807768 w 1940457"/>
                <a:gd name="connsiteY536" fmla="*/ 639917 h 1270908"/>
                <a:gd name="connsiteX537" fmla="*/ 803623 w 1940457"/>
                <a:gd name="connsiteY537" fmla="*/ 634983 h 1270908"/>
                <a:gd name="connsiteX538" fmla="*/ 801551 w 1940457"/>
                <a:gd name="connsiteY538" fmla="*/ 634983 h 1270908"/>
                <a:gd name="connsiteX539" fmla="*/ 797357 w 1940457"/>
                <a:gd name="connsiteY539" fmla="*/ 641447 h 1270908"/>
                <a:gd name="connsiteX540" fmla="*/ 788920 w 1940457"/>
                <a:gd name="connsiteY540" fmla="*/ 649785 h 1270908"/>
                <a:gd name="connsiteX541" fmla="*/ 788920 w 1940457"/>
                <a:gd name="connsiteY541" fmla="*/ 653042 h 1270908"/>
                <a:gd name="connsiteX542" fmla="*/ 795186 w 1940457"/>
                <a:gd name="connsiteY542" fmla="*/ 661084 h 1270908"/>
                <a:gd name="connsiteX543" fmla="*/ 797258 w 1940457"/>
                <a:gd name="connsiteY543" fmla="*/ 669176 h 1270908"/>
                <a:gd name="connsiteX544" fmla="*/ 795186 w 1940457"/>
                <a:gd name="connsiteY544" fmla="*/ 674110 h 1270908"/>
                <a:gd name="connsiteX545" fmla="*/ 791041 w 1940457"/>
                <a:gd name="connsiteY545" fmla="*/ 680525 h 1270908"/>
                <a:gd name="connsiteX546" fmla="*/ 793114 w 1940457"/>
                <a:gd name="connsiteY546" fmla="*/ 685459 h 1270908"/>
                <a:gd name="connsiteX547" fmla="*/ 797258 w 1940457"/>
                <a:gd name="connsiteY547" fmla="*/ 683880 h 1270908"/>
                <a:gd name="connsiteX548" fmla="*/ 801452 w 1940457"/>
                <a:gd name="connsiteY548" fmla="*/ 678946 h 1270908"/>
                <a:gd name="connsiteX549" fmla="*/ 803524 w 1940457"/>
                <a:gd name="connsiteY549" fmla="*/ 682153 h 1270908"/>
                <a:gd name="connsiteX550" fmla="*/ 805597 w 1940457"/>
                <a:gd name="connsiteY550" fmla="*/ 692021 h 1270908"/>
                <a:gd name="connsiteX551" fmla="*/ 801452 w 1940457"/>
                <a:gd name="connsiteY551" fmla="*/ 693649 h 1270908"/>
                <a:gd name="connsiteX552" fmla="*/ 799331 w 1940457"/>
                <a:gd name="connsiteY552" fmla="*/ 696856 h 1270908"/>
                <a:gd name="connsiteX553" fmla="*/ 801452 w 1940457"/>
                <a:gd name="connsiteY553" fmla="*/ 698484 h 1270908"/>
                <a:gd name="connsiteX554" fmla="*/ 805597 w 1940457"/>
                <a:gd name="connsiteY554" fmla="*/ 698484 h 1270908"/>
                <a:gd name="connsiteX555" fmla="*/ 809791 w 1940457"/>
                <a:gd name="connsiteY555" fmla="*/ 695228 h 1270908"/>
                <a:gd name="connsiteX556" fmla="*/ 814034 w 1940457"/>
                <a:gd name="connsiteY556" fmla="*/ 695228 h 1270908"/>
                <a:gd name="connsiteX557" fmla="*/ 816106 w 1940457"/>
                <a:gd name="connsiteY557" fmla="*/ 696856 h 1270908"/>
                <a:gd name="connsiteX558" fmla="*/ 816106 w 1940457"/>
                <a:gd name="connsiteY558" fmla="*/ 700063 h 1270908"/>
                <a:gd name="connsiteX559" fmla="*/ 824445 w 1940457"/>
                <a:gd name="connsiteY559" fmla="*/ 701691 h 1270908"/>
                <a:gd name="connsiteX560" fmla="*/ 830662 w 1940457"/>
                <a:gd name="connsiteY560" fmla="*/ 704899 h 1270908"/>
                <a:gd name="connsiteX561" fmla="*/ 836928 w 1940457"/>
                <a:gd name="connsiteY561" fmla="*/ 704899 h 1270908"/>
                <a:gd name="connsiteX562" fmla="*/ 843194 w 1940457"/>
                <a:gd name="connsiteY562" fmla="*/ 699965 h 1270908"/>
                <a:gd name="connsiteX563" fmla="*/ 845266 w 1940457"/>
                <a:gd name="connsiteY563" fmla="*/ 688715 h 1270908"/>
                <a:gd name="connsiteX564" fmla="*/ 851533 w 1940457"/>
                <a:gd name="connsiteY564" fmla="*/ 683781 h 1270908"/>
                <a:gd name="connsiteX565" fmla="*/ 864016 w 1940457"/>
                <a:gd name="connsiteY565" fmla="*/ 683781 h 1270908"/>
                <a:gd name="connsiteX566" fmla="*/ 868160 w 1940457"/>
                <a:gd name="connsiteY566" fmla="*/ 680525 h 1270908"/>
                <a:gd name="connsiteX567" fmla="*/ 861894 w 1940457"/>
                <a:gd name="connsiteY567" fmla="*/ 686988 h 1270908"/>
                <a:gd name="connsiteX568" fmla="*/ 857749 w 1940457"/>
                <a:gd name="connsiteY568" fmla="*/ 688616 h 1270908"/>
                <a:gd name="connsiteX569" fmla="*/ 845266 w 1940457"/>
                <a:gd name="connsiteY569" fmla="*/ 698484 h 1270908"/>
                <a:gd name="connsiteX570" fmla="*/ 845266 w 1940457"/>
                <a:gd name="connsiteY570" fmla="*/ 703418 h 1270908"/>
                <a:gd name="connsiteX571" fmla="*/ 839000 w 1940457"/>
                <a:gd name="connsiteY571" fmla="*/ 708352 h 1270908"/>
                <a:gd name="connsiteX572" fmla="*/ 847339 w 1940457"/>
                <a:gd name="connsiteY572" fmla="*/ 714816 h 1270908"/>
                <a:gd name="connsiteX573" fmla="*/ 847339 w 1940457"/>
                <a:gd name="connsiteY573" fmla="*/ 718023 h 1270908"/>
                <a:gd name="connsiteX574" fmla="*/ 836928 w 1940457"/>
                <a:gd name="connsiteY574" fmla="*/ 721230 h 1270908"/>
                <a:gd name="connsiteX575" fmla="*/ 834856 w 1940457"/>
                <a:gd name="connsiteY575" fmla="*/ 718023 h 1270908"/>
                <a:gd name="connsiteX576" fmla="*/ 834856 w 1940457"/>
                <a:gd name="connsiteY576" fmla="*/ 714816 h 1270908"/>
                <a:gd name="connsiteX577" fmla="*/ 830662 w 1940457"/>
                <a:gd name="connsiteY577" fmla="*/ 711560 h 1270908"/>
                <a:gd name="connsiteX578" fmla="*/ 824445 w 1940457"/>
                <a:gd name="connsiteY578" fmla="*/ 711560 h 1270908"/>
                <a:gd name="connsiteX579" fmla="*/ 820251 w 1940457"/>
                <a:gd name="connsiteY579" fmla="*/ 706626 h 1270908"/>
                <a:gd name="connsiteX580" fmla="*/ 811962 w 1940457"/>
                <a:gd name="connsiteY580" fmla="*/ 704997 h 1270908"/>
                <a:gd name="connsiteX581" fmla="*/ 807768 w 1940457"/>
                <a:gd name="connsiteY581" fmla="*/ 700063 h 1270908"/>
                <a:gd name="connsiteX582" fmla="*/ 801551 w 1940457"/>
                <a:gd name="connsiteY582" fmla="*/ 704997 h 1270908"/>
                <a:gd name="connsiteX583" fmla="*/ 795285 w 1940457"/>
                <a:gd name="connsiteY583" fmla="*/ 704997 h 1270908"/>
                <a:gd name="connsiteX584" fmla="*/ 795285 w 1940457"/>
                <a:gd name="connsiteY584" fmla="*/ 711461 h 1270908"/>
                <a:gd name="connsiteX585" fmla="*/ 789018 w 1940457"/>
                <a:gd name="connsiteY585" fmla="*/ 714717 h 1270908"/>
                <a:gd name="connsiteX586" fmla="*/ 780729 w 1940457"/>
                <a:gd name="connsiteY586" fmla="*/ 713089 h 1270908"/>
                <a:gd name="connsiteX587" fmla="*/ 780729 w 1940457"/>
                <a:gd name="connsiteY587" fmla="*/ 716296 h 1270908"/>
                <a:gd name="connsiteX588" fmla="*/ 782801 w 1940457"/>
                <a:gd name="connsiteY588" fmla="*/ 721230 h 1270908"/>
                <a:gd name="connsiteX589" fmla="*/ 786946 w 1940457"/>
                <a:gd name="connsiteY589" fmla="*/ 721230 h 1270908"/>
                <a:gd name="connsiteX590" fmla="*/ 782801 w 1940457"/>
                <a:gd name="connsiteY590" fmla="*/ 726164 h 1270908"/>
                <a:gd name="connsiteX591" fmla="*/ 780729 w 1940457"/>
                <a:gd name="connsiteY591" fmla="*/ 736032 h 1270908"/>
                <a:gd name="connsiteX592" fmla="*/ 782801 w 1940457"/>
                <a:gd name="connsiteY592" fmla="*/ 740966 h 1270908"/>
                <a:gd name="connsiteX593" fmla="*/ 789018 w 1940457"/>
                <a:gd name="connsiteY593" fmla="*/ 740966 h 1270908"/>
                <a:gd name="connsiteX594" fmla="*/ 789018 w 1940457"/>
                <a:gd name="connsiteY594" fmla="*/ 752265 h 1270908"/>
                <a:gd name="connsiteX595" fmla="*/ 791140 w 1940457"/>
                <a:gd name="connsiteY595" fmla="*/ 755473 h 1270908"/>
                <a:gd name="connsiteX596" fmla="*/ 791140 w 1940457"/>
                <a:gd name="connsiteY596" fmla="*/ 760407 h 1270908"/>
                <a:gd name="connsiteX597" fmla="*/ 797357 w 1940457"/>
                <a:gd name="connsiteY597" fmla="*/ 765341 h 1270908"/>
                <a:gd name="connsiteX598" fmla="*/ 797357 w 1940457"/>
                <a:gd name="connsiteY598" fmla="*/ 766919 h 1270908"/>
                <a:gd name="connsiteX599" fmla="*/ 789018 w 1940457"/>
                <a:gd name="connsiteY599" fmla="*/ 768548 h 1270908"/>
                <a:gd name="connsiteX600" fmla="*/ 786946 w 1940457"/>
                <a:gd name="connsiteY600" fmla="*/ 771755 h 1270908"/>
                <a:gd name="connsiteX601" fmla="*/ 809889 w 1940457"/>
                <a:gd name="connsiteY601" fmla="*/ 781623 h 1270908"/>
                <a:gd name="connsiteX602" fmla="*/ 820251 w 1940457"/>
                <a:gd name="connsiteY602" fmla="*/ 781623 h 1270908"/>
                <a:gd name="connsiteX603" fmla="*/ 830662 w 1940457"/>
                <a:gd name="connsiteY603" fmla="*/ 776689 h 1270908"/>
                <a:gd name="connsiteX604" fmla="*/ 836928 w 1940457"/>
                <a:gd name="connsiteY604" fmla="*/ 775110 h 1270908"/>
                <a:gd name="connsiteX605" fmla="*/ 841122 w 1940457"/>
                <a:gd name="connsiteY605" fmla="*/ 776689 h 1270908"/>
                <a:gd name="connsiteX606" fmla="*/ 845266 w 1940457"/>
                <a:gd name="connsiteY606" fmla="*/ 776689 h 1270908"/>
                <a:gd name="connsiteX607" fmla="*/ 853605 w 1940457"/>
                <a:gd name="connsiteY607" fmla="*/ 765439 h 1270908"/>
                <a:gd name="connsiteX608" fmla="*/ 853605 w 1940457"/>
                <a:gd name="connsiteY608" fmla="*/ 760505 h 1270908"/>
                <a:gd name="connsiteX609" fmla="*/ 851533 w 1940457"/>
                <a:gd name="connsiteY609" fmla="*/ 755571 h 1270908"/>
                <a:gd name="connsiteX610" fmla="*/ 851533 w 1940457"/>
                <a:gd name="connsiteY610" fmla="*/ 752364 h 1270908"/>
                <a:gd name="connsiteX611" fmla="*/ 859822 w 1940457"/>
                <a:gd name="connsiteY611" fmla="*/ 749157 h 1270908"/>
                <a:gd name="connsiteX612" fmla="*/ 870233 w 1940457"/>
                <a:gd name="connsiteY612" fmla="*/ 742693 h 1270908"/>
                <a:gd name="connsiteX613" fmla="*/ 886910 w 1940457"/>
                <a:gd name="connsiteY613" fmla="*/ 732825 h 1270908"/>
                <a:gd name="connsiteX614" fmla="*/ 892978 w 1940457"/>
                <a:gd name="connsiteY614" fmla="*/ 733664 h 1270908"/>
                <a:gd name="connsiteX615" fmla="*/ 886762 w 1940457"/>
                <a:gd name="connsiteY615" fmla="*/ 733664 h 1270908"/>
                <a:gd name="connsiteX616" fmla="*/ 870084 w 1940457"/>
                <a:gd name="connsiteY616" fmla="*/ 746542 h 1270908"/>
                <a:gd name="connsiteX617" fmla="*/ 861746 w 1940457"/>
                <a:gd name="connsiteY617" fmla="*/ 751476 h 1270908"/>
                <a:gd name="connsiteX618" fmla="*/ 861746 w 1940457"/>
                <a:gd name="connsiteY618" fmla="*/ 754683 h 1270908"/>
                <a:gd name="connsiteX619" fmla="*/ 868012 w 1940457"/>
                <a:gd name="connsiteY619" fmla="*/ 759617 h 1270908"/>
                <a:gd name="connsiteX620" fmla="*/ 868012 w 1940457"/>
                <a:gd name="connsiteY620" fmla="*/ 762824 h 1270908"/>
                <a:gd name="connsiteX621" fmla="*/ 861746 w 1940457"/>
                <a:gd name="connsiteY621" fmla="*/ 772692 h 1270908"/>
                <a:gd name="connsiteX622" fmla="*/ 853457 w 1940457"/>
                <a:gd name="connsiteY622" fmla="*/ 775899 h 1270908"/>
                <a:gd name="connsiteX623" fmla="*/ 851385 w 1940457"/>
                <a:gd name="connsiteY623" fmla="*/ 782363 h 1270908"/>
                <a:gd name="connsiteX624" fmla="*/ 853457 w 1940457"/>
                <a:gd name="connsiteY624" fmla="*/ 790405 h 1270908"/>
                <a:gd name="connsiteX625" fmla="*/ 851385 w 1940457"/>
                <a:gd name="connsiteY625" fmla="*/ 796869 h 1270908"/>
                <a:gd name="connsiteX626" fmla="*/ 851385 w 1940457"/>
                <a:gd name="connsiteY626" fmla="*/ 804961 h 1270908"/>
                <a:gd name="connsiteX627" fmla="*/ 853457 w 1940457"/>
                <a:gd name="connsiteY627" fmla="*/ 811375 h 1270908"/>
                <a:gd name="connsiteX628" fmla="*/ 843046 w 1940457"/>
                <a:gd name="connsiteY628" fmla="*/ 814632 h 1270908"/>
                <a:gd name="connsiteX629" fmla="*/ 838704 w 1940457"/>
                <a:gd name="connsiteY629" fmla="*/ 817543 h 1270908"/>
                <a:gd name="connsiteX630" fmla="*/ 836632 w 1940457"/>
                <a:gd name="connsiteY630" fmla="*/ 822477 h 1270908"/>
                <a:gd name="connsiteX631" fmla="*/ 832487 w 1940457"/>
                <a:gd name="connsiteY631" fmla="*/ 820849 h 1270908"/>
                <a:gd name="connsiteX632" fmla="*/ 830366 w 1940457"/>
                <a:gd name="connsiteY632" fmla="*/ 822477 h 1270908"/>
                <a:gd name="connsiteX633" fmla="*/ 832487 w 1940457"/>
                <a:gd name="connsiteY633" fmla="*/ 828940 h 1270908"/>
                <a:gd name="connsiteX634" fmla="*/ 832487 w 1940457"/>
                <a:gd name="connsiteY634" fmla="*/ 835354 h 1270908"/>
                <a:gd name="connsiteX635" fmla="*/ 836632 w 1940457"/>
                <a:gd name="connsiteY635" fmla="*/ 836983 h 1270908"/>
                <a:gd name="connsiteX636" fmla="*/ 842898 w 1940457"/>
                <a:gd name="connsiteY636" fmla="*/ 835354 h 1270908"/>
                <a:gd name="connsiteX637" fmla="*/ 847043 w 1940457"/>
                <a:gd name="connsiteY637" fmla="*/ 833726 h 1270908"/>
                <a:gd name="connsiteX638" fmla="*/ 849115 w 1940457"/>
                <a:gd name="connsiteY638" fmla="*/ 838660 h 1270908"/>
                <a:gd name="connsiteX639" fmla="*/ 844970 w 1940457"/>
                <a:gd name="connsiteY639" fmla="*/ 841867 h 1270908"/>
                <a:gd name="connsiteX640" fmla="*/ 836632 w 1940457"/>
                <a:gd name="connsiteY640" fmla="*/ 841867 h 1270908"/>
                <a:gd name="connsiteX641" fmla="*/ 834560 w 1940457"/>
                <a:gd name="connsiteY641" fmla="*/ 845124 h 1270908"/>
                <a:gd name="connsiteX642" fmla="*/ 836632 w 1940457"/>
                <a:gd name="connsiteY642" fmla="*/ 848331 h 1270908"/>
                <a:gd name="connsiteX643" fmla="*/ 834560 w 1940457"/>
                <a:gd name="connsiteY643" fmla="*/ 849910 h 1270908"/>
                <a:gd name="connsiteX644" fmla="*/ 836632 w 1940457"/>
                <a:gd name="connsiteY644" fmla="*/ 854844 h 1270908"/>
                <a:gd name="connsiteX645" fmla="*/ 832487 w 1940457"/>
                <a:gd name="connsiteY645" fmla="*/ 858051 h 1270908"/>
                <a:gd name="connsiteX646" fmla="*/ 826221 w 1940457"/>
                <a:gd name="connsiteY646" fmla="*/ 858051 h 1270908"/>
                <a:gd name="connsiteX647" fmla="*/ 819955 w 1940457"/>
                <a:gd name="connsiteY647" fmla="*/ 861258 h 1270908"/>
                <a:gd name="connsiteX648" fmla="*/ 815810 w 1940457"/>
                <a:gd name="connsiteY648" fmla="*/ 861258 h 1270908"/>
                <a:gd name="connsiteX649" fmla="*/ 813738 w 1940457"/>
                <a:gd name="connsiteY649" fmla="*/ 862886 h 1270908"/>
                <a:gd name="connsiteX650" fmla="*/ 817882 w 1940457"/>
                <a:gd name="connsiteY650" fmla="*/ 864465 h 1270908"/>
                <a:gd name="connsiteX651" fmla="*/ 824149 w 1940457"/>
                <a:gd name="connsiteY651" fmla="*/ 866094 h 1270908"/>
                <a:gd name="connsiteX652" fmla="*/ 828293 w 1940457"/>
                <a:gd name="connsiteY652" fmla="*/ 869350 h 1270908"/>
                <a:gd name="connsiteX653" fmla="*/ 836632 w 1940457"/>
                <a:gd name="connsiteY653" fmla="*/ 862886 h 1270908"/>
                <a:gd name="connsiteX654" fmla="*/ 851434 w 1940457"/>
                <a:gd name="connsiteY654" fmla="*/ 854844 h 1270908"/>
                <a:gd name="connsiteX655" fmla="*/ 853506 w 1940457"/>
                <a:gd name="connsiteY655" fmla="*/ 854844 h 1270908"/>
                <a:gd name="connsiteX656" fmla="*/ 859723 w 1940457"/>
                <a:gd name="connsiteY656" fmla="*/ 856423 h 1270908"/>
                <a:gd name="connsiteX657" fmla="*/ 865989 w 1940457"/>
                <a:gd name="connsiteY657" fmla="*/ 851489 h 1270908"/>
                <a:gd name="connsiteX658" fmla="*/ 876400 w 1940457"/>
                <a:gd name="connsiteY658" fmla="*/ 846555 h 1270908"/>
                <a:gd name="connsiteX659" fmla="*/ 874328 w 1940457"/>
                <a:gd name="connsiteY659" fmla="*/ 851489 h 1270908"/>
                <a:gd name="connsiteX660" fmla="*/ 870134 w 1940457"/>
                <a:gd name="connsiteY660" fmla="*/ 854745 h 1270908"/>
                <a:gd name="connsiteX661" fmla="*/ 870134 w 1940457"/>
                <a:gd name="connsiteY661" fmla="*/ 856324 h 1270908"/>
                <a:gd name="connsiteX662" fmla="*/ 876400 w 1940457"/>
                <a:gd name="connsiteY662" fmla="*/ 857952 h 1270908"/>
                <a:gd name="connsiteX663" fmla="*/ 876400 w 1940457"/>
                <a:gd name="connsiteY663" fmla="*/ 867574 h 1270908"/>
                <a:gd name="connsiteX664" fmla="*/ 880545 w 1940457"/>
                <a:gd name="connsiteY664" fmla="*/ 869251 h 1270908"/>
                <a:gd name="connsiteX665" fmla="*/ 886811 w 1940457"/>
                <a:gd name="connsiteY665" fmla="*/ 865995 h 1270908"/>
                <a:gd name="connsiteX666" fmla="*/ 890956 w 1940457"/>
                <a:gd name="connsiteY666" fmla="*/ 861061 h 1270908"/>
                <a:gd name="connsiteX667" fmla="*/ 893028 w 1940457"/>
                <a:gd name="connsiteY667" fmla="*/ 864268 h 1270908"/>
                <a:gd name="connsiteX668" fmla="*/ 890956 w 1940457"/>
                <a:gd name="connsiteY668" fmla="*/ 867475 h 1270908"/>
                <a:gd name="connsiteX669" fmla="*/ 895149 w 1940457"/>
                <a:gd name="connsiteY669" fmla="*/ 873939 h 1270908"/>
                <a:gd name="connsiteX670" fmla="*/ 897222 w 1940457"/>
                <a:gd name="connsiteY670" fmla="*/ 883807 h 1270908"/>
                <a:gd name="connsiteX671" fmla="*/ 895149 w 1940457"/>
                <a:gd name="connsiteY671" fmla="*/ 890221 h 1270908"/>
                <a:gd name="connsiteX672" fmla="*/ 899294 w 1940457"/>
                <a:gd name="connsiteY672" fmla="*/ 898263 h 1270908"/>
                <a:gd name="connsiteX673" fmla="*/ 903488 w 1940457"/>
                <a:gd name="connsiteY673" fmla="*/ 898263 h 1270908"/>
                <a:gd name="connsiteX674" fmla="*/ 907633 w 1940457"/>
                <a:gd name="connsiteY674" fmla="*/ 890221 h 1270908"/>
                <a:gd name="connsiteX675" fmla="*/ 905560 w 1940457"/>
                <a:gd name="connsiteY675" fmla="*/ 885287 h 1270908"/>
                <a:gd name="connsiteX676" fmla="*/ 911777 w 1940457"/>
                <a:gd name="connsiteY676" fmla="*/ 875666 h 1270908"/>
                <a:gd name="connsiteX677" fmla="*/ 913899 w 1940457"/>
                <a:gd name="connsiteY677" fmla="*/ 870732 h 1270908"/>
                <a:gd name="connsiteX678" fmla="*/ 922188 w 1940457"/>
                <a:gd name="connsiteY678" fmla="*/ 864268 h 1270908"/>
                <a:gd name="connsiteX679" fmla="*/ 924310 w 1940457"/>
                <a:gd name="connsiteY679" fmla="*/ 864268 h 1270908"/>
                <a:gd name="connsiteX680" fmla="*/ 930526 w 1940457"/>
                <a:gd name="connsiteY680" fmla="*/ 859334 h 1270908"/>
                <a:gd name="connsiteX681" fmla="*/ 940937 w 1940457"/>
                <a:gd name="connsiteY681" fmla="*/ 859334 h 1270908"/>
                <a:gd name="connsiteX682" fmla="*/ 932599 w 1940457"/>
                <a:gd name="connsiteY682" fmla="*/ 864268 h 1270908"/>
                <a:gd name="connsiteX683" fmla="*/ 922188 w 1940457"/>
                <a:gd name="connsiteY683" fmla="*/ 872360 h 1270908"/>
                <a:gd name="connsiteX684" fmla="*/ 922188 w 1940457"/>
                <a:gd name="connsiteY684" fmla="*/ 875616 h 1270908"/>
                <a:gd name="connsiteX685" fmla="*/ 930526 w 1940457"/>
                <a:gd name="connsiteY685" fmla="*/ 885238 h 1270908"/>
                <a:gd name="connsiteX686" fmla="*/ 934720 w 1940457"/>
                <a:gd name="connsiteY686" fmla="*/ 885238 h 1270908"/>
                <a:gd name="connsiteX687" fmla="*/ 945131 w 1940457"/>
                <a:gd name="connsiteY687" fmla="*/ 882031 h 1270908"/>
                <a:gd name="connsiteX688" fmla="*/ 959687 w 1940457"/>
                <a:gd name="connsiteY688" fmla="*/ 878823 h 1270908"/>
                <a:gd name="connsiteX689" fmla="*/ 965953 w 1940457"/>
                <a:gd name="connsiteY689" fmla="*/ 875616 h 1270908"/>
                <a:gd name="connsiteX690" fmla="*/ 970097 w 1940457"/>
                <a:gd name="connsiteY690" fmla="*/ 875616 h 1270908"/>
                <a:gd name="connsiteX691" fmla="*/ 982581 w 1940457"/>
                <a:gd name="connsiteY691" fmla="*/ 869153 h 1270908"/>
                <a:gd name="connsiteX692" fmla="*/ 986725 w 1940457"/>
                <a:gd name="connsiteY692" fmla="*/ 869153 h 1270908"/>
                <a:gd name="connsiteX693" fmla="*/ 982531 w 1940457"/>
                <a:gd name="connsiteY693" fmla="*/ 870732 h 1270908"/>
                <a:gd name="connsiteX694" fmla="*/ 976314 w 1940457"/>
                <a:gd name="connsiteY694" fmla="*/ 878823 h 1270908"/>
                <a:gd name="connsiteX695" fmla="*/ 976314 w 1940457"/>
                <a:gd name="connsiteY695" fmla="*/ 881685 h 1270908"/>
                <a:gd name="connsiteX696" fmla="*/ 970048 w 1940457"/>
                <a:gd name="connsiteY696" fmla="*/ 886619 h 1270908"/>
                <a:gd name="connsiteX697" fmla="*/ 951299 w 1940457"/>
                <a:gd name="connsiteY697" fmla="*/ 896487 h 1270908"/>
                <a:gd name="connsiteX698" fmla="*/ 940888 w 1940457"/>
                <a:gd name="connsiteY698" fmla="*/ 902951 h 1270908"/>
                <a:gd name="connsiteX699" fmla="*/ 934671 w 1940457"/>
                <a:gd name="connsiteY699" fmla="*/ 912819 h 1270908"/>
                <a:gd name="connsiteX700" fmla="*/ 934671 w 1940457"/>
                <a:gd name="connsiteY700" fmla="*/ 917753 h 1270908"/>
                <a:gd name="connsiteX701" fmla="*/ 936743 w 1940457"/>
                <a:gd name="connsiteY701" fmla="*/ 922687 h 1270908"/>
                <a:gd name="connsiteX702" fmla="*/ 945082 w 1940457"/>
                <a:gd name="connsiteY702" fmla="*/ 927621 h 1270908"/>
                <a:gd name="connsiteX703" fmla="*/ 932549 w 1940457"/>
                <a:gd name="connsiteY703" fmla="*/ 925993 h 1270908"/>
                <a:gd name="connsiteX704" fmla="*/ 928405 w 1940457"/>
                <a:gd name="connsiteY704" fmla="*/ 927621 h 1270908"/>
                <a:gd name="connsiteX705" fmla="*/ 922139 w 1940457"/>
                <a:gd name="connsiteY705" fmla="*/ 934085 h 1270908"/>
                <a:gd name="connsiteX706" fmla="*/ 917994 w 1940457"/>
                <a:gd name="connsiteY706" fmla="*/ 942127 h 1270908"/>
                <a:gd name="connsiteX707" fmla="*/ 909656 w 1940457"/>
                <a:gd name="connsiteY707" fmla="*/ 950170 h 1270908"/>
                <a:gd name="connsiteX708" fmla="*/ 905511 w 1940457"/>
                <a:gd name="connsiteY708" fmla="*/ 956633 h 1270908"/>
                <a:gd name="connsiteX709" fmla="*/ 907583 w 1940457"/>
                <a:gd name="connsiteY709" fmla="*/ 959840 h 1270908"/>
                <a:gd name="connsiteX710" fmla="*/ 909656 w 1940457"/>
                <a:gd name="connsiteY710" fmla="*/ 961469 h 1270908"/>
                <a:gd name="connsiteX711" fmla="*/ 907583 w 1940457"/>
                <a:gd name="connsiteY711" fmla="*/ 966403 h 1270908"/>
                <a:gd name="connsiteX712" fmla="*/ 903439 w 1940457"/>
                <a:gd name="connsiteY712" fmla="*/ 964824 h 1270908"/>
                <a:gd name="connsiteX713" fmla="*/ 901317 w 1940457"/>
                <a:gd name="connsiteY713" fmla="*/ 961567 h 1270908"/>
                <a:gd name="connsiteX714" fmla="*/ 897172 w 1940457"/>
                <a:gd name="connsiteY714" fmla="*/ 959939 h 1270908"/>
                <a:gd name="connsiteX715" fmla="*/ 890956 w 1940457"/>
                <a:gd name="connsiteY715" fmla="*/ 965564 h 1270908"/>
                <a:gd name="connsiteX716" fmla="*/ 882666 w 1940457"/>
                <a:gd name="connsiteY716" fmla="*/ 970498 h 1270908"/>
                <a:gd name="connsiteX717" fmla="*/ 884739 w 1940457"/>
                <a:gd name="connsiteY717" fmla="*/ 973754 h 1270908"/>
                <a:gd name="connsiteX718" fmla="*/ 882666 w 1940457"/>
                <a:gd name="connsiteY718" fmla="*/ 978688 h 1270908"/>
                <a:gd name="connsiteX719" fmla="*/ 876400 w 1940457"/>
                <a:gd name="connsiteY719" fmla="*/ 978688 h 1270908"/>
                <a:gd name="connsiteX720" fmla="*/ 876400 w 1940457"/>
                <a:gd name="connsiteY720" fmla="*/ 975432 h 1270908"/>
                <a:gd name="connsiteX721" fmla="*/ 872255 w 1940457"/>
                <a:gd name="connsiteY721" fmla="*/ 977060 h 1270908"/>
                <a:gd name="connsiteX722" fmla="*/ 855578 w 1940457"/>
                <a:gd name="connsiteY722" fmla="*/ 988359 h 1270908"/>
                <a:gd name="connsiteX723" fmla="*/ 851434 w 1940457"/>
                <a:gd name="connsiteY723" fmla="*/ 994773 h 1270908"/>
                <a:gd name="connsiteX724" fmla="*/ 853506 w 1940457"/>
                <a:gd name="connsiteY724" fmla="*/ 998030 h 1270908"/>
                <a:gd name="connsiteX725" fmla="*/ 849312 w 1940457"/>
                <a:gd name="connsiteY725" fmla="*/ 999609 h 1270908"/>
                <a:gd name="connsiteX726" fmla="*/ 845168 w 1940457"/>
                <a:gd name="connsiteY726" fmla="*/ 998030 h 1270908"/>
                <a:gd name="connsiteX727" fmla="*/ 845168 w 1940457"/>
                <a:gd name="connsiteY727" fmla="*/ 991566 h 1270908"/>
                <a:gd name="connsiteX728" fmla="*/ 834757 w 1940457"/>
                <a:gd name="connsiteY728" fmla="*/ 996500 h 1270908"/>
                <a:gd name="connsiteX729" fmla="*/ 826418 w 1940457"/>
                <a:gd name="connsiteY729" fmla="*/ 1001434 h 1270908"/>
                <a:gd name="connsiteX730" fmla="*/ 820152 w 1940457"/>
                <a:gd name="connsiteY730" fmla="*/ 1003013 h 1270908"/>
                <a:gd name="connsiteX731" fmla="*/ 818080 w 1940457"/>
                <a:gd name="connsiteY731" fmla="*/ 1007947 h 1270908"/>
                <a:gd name="connsiteX732" fmla="*/ 811863 w 1940457"/>
                <a:gd name="connsiteY732" fmla="*/ 1009526 h 1270908"/>
                <a:gd name="connsiteX733" fmla="*/ 801452 w 1940457"/>
                <a:gd name="connsiteY733" fmla="*/ 1009526 h 1270908"/>
                <a:gd name="connsiteX734" fmla="*/ 793114 w 1940457"/>
                <a:gd name="connsiteY734" fmla="*/ 1017618 h 1270908"/>
                <a:gd name="connsiteX735" fmla="*/ 776437 w 1940457"/>
                <a:gd name="connsiteY735" fmla="*/ 1024032 h 1270908"/>
                <a:gd name="connsiteX736" fmla="*/ 763954 w 1940457"/>
                <a:gd name="connsiteY736" fmla="*/ 1030496 h 1270908"/>
                <a:gd name="connsiteX737" fmla="*/ 759809 w 1940457"/>
                <a:gd name="connsiteY737" fmla="*/ 1040364 h 1270908"/>
                <a:gd name="connsiteX738" fmla="*/ 759809 w 1940457"/>
                <a:gd name="connsiteY738" fmla="*/ 1043620 h 1270908"/>
                <a:gd name="connsiteX739" fmla="*/ 761881 w 1940457"/>
                <a:gd name="connsiteY739" fmla="*/ 1048554 h 1270908"/>
                <a:gd name="connsiteX740" fmla="*/ 761881 w 1940457"/>
                <a:gd name="connsiteY740" fmla="*/ 1051761 h 1270908"/>
                <a:gd name="connsiteX741" fmla="*/ 759809 w 1940457"/>
                <a:gd name="connsiteY741" fmla="*/ 1053389 h 1270908"/>
                <a:gd name="connsiteX742" fmla="*/ 755615 w 1940457"/>
                <a:gd name="connsiteY742" fmla="*/ 1048455 h 1270908"/>
                <a:gd name="connsiteX743" fmla="*/ 751470 w 1940457"/>
                <a:gd name="connsiteY743" fmla="*/ 1048455 h 1270908"/>
                <a:gd name="connsiteX744" fmla="*/ 751470 w 1940457"/>
                <a:gd name="connsiteY744" fmla="*/ 1056498 h 1270908"/>
                <a:gd name="connsiteX745" fmla="*/ 747276 w 1940457"/>
                <a:gd name="connsiteY745" fmla="*/ 1058077 h 1270908"/>
                <a:gd name="connsiteX746" fmla="*/ 743132 w 1940457"/>
                <a:gd name="connsiteY746" fmla="*/ 1053143 h 1270908"/>
                <a:gd name="connsiteX747" fmla="*/ 743132 w 1940457"/>
                <a:gd name="connsiteY747" fmla="*/ 1048209 h 1270908"/>
                <a:gd name="connsiteX748" fmla="*/ 747276 w 1940457"/>
                <a:gd name="connsiteY748" fmla="*/ 1043275 h 1270908"/>
                <a:gd name="connsiteX749" fmla="*/ 741060 w 1940457"/>
                <a:gd name="connsiteY749" fmla="*/ 1041647 h 1270908"/>
                <a:gd name="connsiteX750" fmla="*/ 734793 w 1940457"/>
                <a:gd name="connsiteY750" fmla="*/ 1041647 h 1270908"/>
                <a:gd name="connsiteX751" fmla="*/ 730649 w 1940457"/>
                <a:gd name="connsiteY751" fmla="*/ 1040018 h 1270908"/>
                <a:gd name="connsiteX752" fmla="*/ 724383 w 1940457"/>
                <a:gd name="connsiteY752" fmla="*/ 1041647 h 1270908"/>
                <a:gd name="connsiteX753" fmla="*/ 713972 w 1940457"/>
                <a:gd name="connsiteY753" fmla="*/ 1043275 h 1270908"/>
                <a:gd name="connsiteX754" fmla="*/ 707755 w 1940457"/>
                <a:gd name="connsiteY754" fmla="*/ 1044854 h 1270908"/>
                <a:gd name="connsiteX755" fmla="*/ 703561 w 1940457"/>
                <a:gd name="connsiteY755" fmla="*/ 1051317 h 1270908"/>
                <a:gd name="connsiteX756" fmla="*/ 693150 w 1940457"/>
                <a:gd name="connsiteY756" fmla="*/ 1054524 h 1270908"/>
                <a:gd name="connsiteX757" fmla="*/ 684812 w 1940457"/>
                <a:gd name="connsiteY757" fmla="*/ 1059458 h 1270908"/>
                <a:gd name="connsiteX758" fmla="*/ 676522 w 1940457"/>
                <a:gd name="connsiteY758" fmla="*/ 1065873 h 1270908"/>
                <a:gd name="connsiteX759" fmla="*/ 678595 w 1940457"/>
                <a:gd name="connsiteY759" fmla="*/ 1069129 h 1270908"/>
                <a:gd name="connsiteX760" fmla="*/ 674401 w 1940457"/>
                <a:gd name="connsiteY760" fmla="*/ 1072336 h 1270908"/>
                <a:gd name="connsiteX761" fmla="*/ 672328 w 1940457"/>
                <a:gd name="connsiteY761" fmla="*/ 1070708 h 1270908"/>
                <a:gd name="connsiteX762" fmla="*/ 663990 w 1940457"/>
                <a:gd name="connsiteY762" fmla="*/ 1073915 h 1270908"/>
                <a:gd name="connsiteX763" fmla="*/ 657773 w 1940457"/>
                <a:gd name="connsiteY763" fmla="*/ 1077172 h 1270908"/>
                <a:gd name="connsiteX764" fmla="*/ 657773 w 1940457"/>
                <a:gd name="connsiteY764" fmla="*/ 1080379 h 1270908"/>
                <a:gd name="connsiteX765" fmla="*/ 653579 w 1940457"/>
                <a:gd name="connsiteY765" fmla="*/ 1082007 h 1270908"/>
                <a:gd name="connsiteX766" fmla="*/ 647362 w 1940457"/>
                <a:gd name="connsiteY766" fmla="*/ 1080379 h 1270908"/>
                <a:gd name="connsiteX767" fmla="*/ 641096 w 1940457"/>
                <a:gd name="connsiteY767" fmla="*/ 1082007 h 1270908"/>
                <a:gd name="connsiteX768" fmla="*/ 639024 w 1940457"/>
                <a:gd name="connsiteY768" fmla="*/ 1085214 h 1270908"/>
                <a:gd name="connsiteX769" fmla="*/ 636951 w 1940457"/>
                <a:gd name="connsiteY769" fmla="*/ 1091678 h 1270908"/>
                <a:gd name="connsiteX770" fmla="*/ 639024 w 1940457"/>
                <a:gd name="connsiteY770" fmla="*/ 1096612 h 1270908"/>
                <a:gd name="connsiteX771" fmla="*/ 643168 w 1940457"/>
                <a:gd name="connsiteY771" fmla="*/ 1094984 h 1270908"/>
                <a:gd name="connsiteX772" fmla="*/ 645290 w 1940457"/>
                <a:gd name="connsiteY772" fmla="*/ 1090049 h 1270908"/>
                <a:gd name="connsiteX773" fmla="*/ 645290 w 1940457"/>
                <a:gd name="connsiteY773" fmla="*/ 1086842 h 1270908"/>
                <a:gd name="connsiteX774" fmla="*/ 649435 w 1940457"/>
                <a:gd name="connsiteY774" fmla="*/ 1083635 h 1270908"/>
                <a:gd name="connsiteX775" fmla="*/ 651507 w 1940457"/>
                <a:gd name="connsiteY775" fmla="*/ 1086842 h 1270908"/>
                <a:gd name="connsiteX776" fmla="*/ 651507 w 1940457"/>
                <a:gd name="connsiteY776" fmla="*/ 1093306 h 1270908"/>
                <a:gd name="connsiteX777" fmla="*/ 657773 w 1940457"/>
                <a:gd name="connsiteY777" fmla="*/ 1091678 h 1270908"/>
                <a:gd name="connsiteX778" fmla="*/ 663990 w 1940457"/>
                <a:gd name="connsiteY778" fmla="*/ 1081810 h 1270908"/>
                <a:gd name="connsiteX779" fmla="*/ 668184 w 1940457"/>
                <a:gd name="connsiteY779" fmla="*/ 1081810 h 1270908"/>
                <a:gd name="connsiteX780" fmla="*/ 670256 w 1940457"/>
                <a:gd name="connsiteY780" fmla="*/ 1085017 h 1270908"/>
                <a:gd name="connsiteX781" fmla="*/ 668184 w 1940457"/>
                <a:gd name="connsiteY781" fmla="*/ 1088224 h 1270908"/>
                <a:gd name="connsiteX782" fmla="*/ 670256 w 1940457"/>
                <a:gd name="connsiteY782" fmla="*/ 1091480 h 1270908"/>
                <a:gd name="connsiteX783" fmla="*/ 676522 w 1940457"/>
                <a:gd name="connsiteY783" fmla="*/ 1091480 h 1270908"/>
                <a:gd name="connsiteX784" fmla="*/ 680667 w 1940457"/>
                <a:gd name="connsiteY784" fmla="*/ 1085017 h 1270908"/>
                <a:gd name="connsiteX785" fmla="*/ 680667 w 1940457"/>
                <a:gd name="connsiteY785" fmla="*/ 1088224 h 1270908"/>
                <a:gd name="connsiteX786" fmla="*/ 682739 w 1940457"/>
                <a:gd name="connsiteY786" fmla="*/ 1089852 h 1270908"/>
                <a:gd name="connsiteX787" fmla="*/ 684812 w 1940457"/>
                <a:gd name="connsiteY787" fmla="*/ 1084918 h 1270908"/>
                <a:gd name="connsiteX788" fmla="*/ 689006 w 1940457"/>
                <a:gd name="connsiteY788" fmla="*/ 1083339 h 1270908"/>
                <a:gd name="connsiteX789" fmla="*/ 695222 w 1940457"/>
                <a:gd name="connsiteY789" fmla="*/ 1083339 h 1270908"/>
                <a:gd name="connsiteX790" fmla="*/ 701489 w 1940457"/>
                <a:gd name="connsiteY790" fmla="*/ 1080083 h 1270908"/>
                <a:gd name="connsiteX791" fmla="*/ 705633 w 1940457"/>
                <a:gd name="connsiteY791" fmla="*/ 1072040 h 1270908"/>
                <a:gd name="connsiteX792" fmla="*/ 705633 w 1940457"/>
                <a:gd name="connsiteY792" fmla="*/ 1067106 h 1270908"/>
                <a:gd name="connsiteX793" fmla="*/ 711899 w 1940457"/>
                <a:gd name="connsiteY793" fmla="*/ 1063850 h 1270908"/>
                <a:gd name="connsiteX794" fmla="*/ 718166 w 1940457"/>
                <a:gd name="connsiteY794" fmla="*/ 1058916 h 1270908"/>
                <a:gd name="connsiteX795" fmla="*/ 720287 w 1940457"/>
                <a:gd name="connsiteY795" fmla="*/ 1058916 h 1270908"/>
                <a:gd name="connsiteX796" fmla="*/ 728626 w 1940457"/>
                <a:gd name="connsiteY796" fmla="*/ 1063850 h 1270908"/>
                <a:gd name="connsiteX797" fmla="*/ 726504 w 1940457"/>
                <a:gd name="connsiteY797" fmla="*/ 1065478 h 1270908"/>
                <a:gd name="connsiteX798" fmla="*/ 720287 w 1940457"/>
                <a:gd name="connsiteY798" fmla="*/ 1067106 h 1270908"/>
                <a:gd name="connsiteX799" fmla="*/ 716093 w 1940457"/>
                <a:gd name="connsiteY799" fmla="*/ 1072040 h 1270908"/>
                <a:gd name="connsiteX800" fmla="*/ 716093 w 1940457"/>
                <a:gd name="connsiteY800" fmla="*/ 1076974 h 1270908"/>
                <a:gd name="connsiteX801" fmla="*/ 718215 w 1940457"/>
                <a:gd name="connsiteY801" fmla="*/ 1078553 h 1270908"/>
                <a:gd name="connsiteX802" fmla="*/ 728626 w 1940457"/>
                <a:gd name="connsiteY802" fmla="*/ 1072139 h 1270908"/>
                <a:gd name="connsiteX803" fmla="*/ 730698 w 1940457"/>
                <a:gd name="connsiteY803" fmla="*/ 1068932 h 1270908"/>
                <a:gd name="connsiteX804" fmla="*/ 734843 w 1940457"/>
                <a:gd name="connsiteY804" fmla="*/ 1067304 h 1270908"/>
                <a:gd name="connsiteX805" fmla="*/ 736915 w 1940457"/>
                <a:gd name="connsiteY805" fmla="*/ 1070511 h 1270908"/>
                <a:gd name="connsiteX806" fmla="*/ 739037 w 1940457"/>
                <a:gd name="connsiteY806" fmla="*/ 1065577 h 1270908"/>
                <a:gd name="connsiteX807" fmla="*/ 741109 w 1940457"/>
                <a:gd name="connsiteY807" fmla="*/ 1067205 h 1270908"/>
                <a:gd name="connsiteX808" fmla="*/ 743181 w 1940457"/>
                <a:gd name="connsiteY808" fmla="*/ 1070412 h 1270908"/>
                <a:gd name="connsiteX809" fmla="*/ 741109 w 1940457"/>
                <a:gd name="connsiteY809" fmla="*/ 1073619 h 1270908"/>
                <a:gd name="connsiteX810" fmla="*/ 743181 w 1940457"/>
                <a:gd name="connsiteY810" fmla="*/ 1075247 h 1270908"/>
                <a:gd name="connsiteX811" fmla="*/ 749447 w 1940457"/>
                <a:gd name="connsiteY811" fmla="*/ 1068833 h 1270908"/>
                <a:gd name="connsiteX812" fmla="*/ 753592 w 1940457"/>
                <a:gd name="connsiteY812" fmla="*/ 1068833 h 1270908"/>
                <a:gd name="connsiteX813" fmla="*/ 759858 w 1940457"/>
                <a:gd name="connsiteY813" fmla="*/ 1065577 h 1270908"/>
                <a:gd name="connsiteX814" fmla="*/ 766075 w 1940457"/>
                <a:gd name="connsiteY814" fmla="*/ 1065577 h 1270908"/>
                <a:gd name="connsiteX815" fmla="*/ 772341 w 1940457"/>
                <a:gd name="connsiteY815" fmla="*/ 1057485 h 1270908"/>
                <a:gd name="connsiteX816" fmla="*/ 778608 w 1940457"/>
                <a:gd name="connsiteY816" fmla="*/ 1054278 h 1270908"/>
                <a:gd name="connsiteX817" fmla="*/ 784824 w 1940457"/>
                <a:gd name="connsiteY817" fmla="*/ 1055906 h 1270908"/>
                <a:gd name="connsiteX818" fmla="*/ 784824 w 1940457"/>
                <a:gd name="connsiteY818" fmla="*/ 1059310 h 1270908"/>
                <a:gd name="connsiteX819" fmla="*/ 778608 w 1940457"/>
                <a:gd name="connsiteY819" fmla="*/ 1064244 h 1270908"/>
                <a:gd name="connsiteX820" fmla="*/ 774414 w 1940457"/>
                <a:gd name="connsiteY820" fmla="*/ 1070708 h 1270908"/>
                <a:gd name="connsiteX821" fmla="*/ 774414 w 1940457"/>
                <a:gd name="connsiteY821" fmla="*/ 1073915 h 1270908"/>
                <a:gd name="connsiteX822" fmla="*/ 778608 w 1940457"/>
                <a:gd name="connsiteY822" fmla="*/ 1073915 h 1270908"/>
                <a:gd name="connsiteX823" fmla="*/ 788969 w 1940457"/>
                <a:gd name="connsiteY823" fmla="*/ 1065873 h 1270908"/>
                <a:gd name="connsiteX824" fmla="*/ 788969 w 1940457"/>
                <a:gd name="connsiteY824" fmla="*/ 1054376 h 1270908"/>
                <a:gd name="connsiteX825" fmla="*/ 793163 w 1940457"/>
                <a:gd name="connsiteY825" fmla="*/ 1057583 h 1270908"/>
                <a:gd name="connsiteX826" fmla="*/ 797308 w 1940457"/>
                <a:gd name="connsiteY826" fmla="*/ 1056005 h 1270908"/>
                <a:gd name="connsiteX827" fmla="*/ 809840 w 1940457"/>
                <a:gd name="connsiteY827" fmla="*/ 1056005 h 1270908"/>
                <a:gd name="connsiteX828" fmla="*/ 816008 w 1940457"/>
                <a:gd name="connsiteY828" fmla="*/ 1049442 h 1270908"/>
                <a:gd name="connsiteX829" fmla="*/ 818080 w 1940457"/>
                <a:gd name="connsiteY829" fmla="*/ 1049442 h 1270908"/>
                <a:gd name="connsiteX830" fmla="*/ 820152 w 1940457"/>
                <a:gd name="connsiteY830" fmla="*/ 1051070 h 1270908"/>
                <a:gd name="connsiteX831" fmla="*/ 824346 w 1940457"/>
                <a:gd name="connsiteY831" fmla="*/ 1043028 h 1270908"/>
                <a:gd name="connsiteX832" fmla="*/ 828491 w 1940457"/>
                <a:gd name="connsiteY832" fmla="*/ 1039772 h 1270908"/>
                <a:gd name="connsiteX833" fmla="*/ 830563 w 1940457"/>
                <a:gd name="connsiteY833" fmla="*/ 1043028 h 1270908"/>
                <a:gd name="connsiteX834" fmla="*/ 828491 w 1940457"/>
                <a:gd name="connsiteY834" fmla="*/ 1046235 h 1270908"/>
                <a:gd name="connsiteX835" fmla="*/ 828491 w 1940457"/>
                <a:gd name="connsiteY835" fmla="*/ 1052699 h 1270908"/>
                <a:gd name="connsiteX836" fmla="*/ 832685 w 1940457"/>
                <a:gd name="connsiteY836" fmla="*/ 1051070 h 1270908"/>
                <a:gd name="connsiteX837" fmla="*/ 838704 w 1940457"/>
                <a:gd name="connsiteY837" fmla="*/ 1044508 h 1270908"/>
                <a:gd name="connsiteX838" fmla="*/ 834560 w 1940457"/>
                <a:gd name="connsiteY838" fmla="*/ 1044508 h 1270908"/>
                <a:gd name="connsiteX839" fmla="*/ 840826 w 1940457"/>
                <a:gd name="connsiteY839" fmla="*/ 1039574 h 1270908"/>
                <a:gd name="connsiteX840" fmla="*/ 840826 w 1940457"/>
                <a:gd name="connsiteY840" fmla="*/ 1037995 h 1270908"/>
                <a:gd name="connsiteX841" fmla="*/ 830366 w 1940457"/>
                <a:gd name="connsiteY841" fmla="*/ 1037995 h 1270908"/>
                <a:gd name="connsiteX842" fmla="*/ 826221 w 1940457"/>
                <a:gd name="connsiteY842" fmla="*/ 1036367 h 1270908"/>
                <a:gd name="connsiteX843" fmla="*/ 836632 w 1940457"/>
                <a:gd name="connsiteY843" fmla="*/ 1033111 h 1270908"/>
                <a:gd name="connsiteX844" fmla="*/ 847043 w 1940457"/>
                <a:gd name="connsiteY844" fmla="*/ 1028177 h 1270908"/>
                <a:gd name="connsiteX845" fmla="*/ 861845 w 1940457"/>
                <a:gd name="connsiteY845" fmla="*/ 1028177 h 1270908"/>
                <a:gd name="connsiteX846" fmla="*/ 863966 w 1940457"/>
                <a:gd name="connsiteY846" fmla="*/ 1024920 h 1270908"/>
                <a:gd name="connsiteX847" fmla="*/ 863966 w 1940457"/>
                <a:gd name="connsiteY847" fmla="*/ 1021713 h 1270908"/>
                <a:gd name="connsiteX848" fmla="*/ 861845 w 1940457"/>
                <a:gd name="connsiteY848" fmla="*/ 1020085 h 1270908"/>
                <a:gd name="connsiteX849" fmla="*/ 863966 w 1940457"/>
                <a:gd name="connsiteY849" fmla="*/ 1018457 h 1270908"/>
                <a:gd name="connsiteX850" fmla="*/ 870183 w 1940457"/>
                <a:gd name="connsiteY850" fmla="*/ 1018457 h 1270908"/>
                <a:gd name="connsiteX851" fmla="*/ 874377 w 1940457"/>
                <a:gd name="connsiteY851" fmla="*/ 1015249 h 1270908"/>
                <a:gd name="connsiteX852" fmla="*/ 878522 w 1940457"/>
                <a:gd name="connsiteY852" fmla="*/ 1015249 h 1270908"/>
                <a:gd name="connsiteX853" fmla="*/ 880594 w 1940457"/>
                <a:gd name="connsiteY853" fmla="*/ 1020184 h 1270908"/>
                <a:gd name="connsiteX854" fmla="*/ 882716 w 1940457"/>
                <a:gd name="connsiteY854" fmla="*/ 1020184 h 1270908"/>
                <a:gd name="connsiteX855" fmla="*/ 886860 w 1940457"/>
                <a:gd name="connsiteY855" fmla="*/ 1016976 h 1270908"/>
                <a:gd name="connsiteX856" fmla="*/ 884788 w 1940457"/>
                <a:gd name="connsiteY856" fmla="*/ 1015348 h 1270908"/>
                <a:gd name="connsiteX857" fmla="*/ 888933 w 1940457"/>
                <a:gd name="connsiteY857" fmla="*/ 1010414 h 1270908"/>
                <a:gd name="connsiteX858" fmla="*/ 891005 w 1940457"/>
                <a:gd name="connsiteY858" fmla="*/ 1005480 h 1270908"/>
                <a:gd name="connsiteX859" fmla="*/ 893077 w 1940457"/>
                <a:gd name="connsiteY859" fmla="*/ 1003901 h 1270908"/>
                <a:gd name="connsiteX860" fmla="*/ 895199 w 1940457"/>
                <a:gd name="connsiteY860" fmla="*/ 1005480 h 1270908"/>
                <a:gd name="connsiteX861" fmla="*/ 895199 w 1940457"/>
                <a:gd name="connsiteY861" fmla="*/ 1010414 h 1270908"/>
                <a:gd name="connsiteX862" fmla="*/ 899343 w 1940457"/>
                <a:gd name="connsiteY862" fmla="*/ 1012042 h 1270908"/>
                <a:gd name="connsiteX863" fmla="*/ 907682 w 1940457"/>
                <a:gd name="connsiteY863" fmla="*/ 1007108 h 1270908"/>
                <a:gd name="connsiteX864" fmla="*/ 911827 w 1940457"/>
                <a:gd name="connsiteY864" fmla="*/ 1002174 h 1270908"/>
                <a:gd name="connsiteX865" fmla="*/ 916020 w 1940457"/>
                <a:gd name="connsiteY865" fmla="*/ 1003852 h 1270908"/>
                <a:gd name="connsiteX866" fmla="*/ 920165 w 1940457"/>
                <a:gd name="connsiteY866" fmla="*/ 997388 h 1270908"/>
                <a:gd name="connsiteX867" fmla="*/ 922237 w 1940457"/>
                <a:gd name="connsiteY867" fmla="*/ 997388 h 1270908"/>
                <a:gd name="connsiteX868" fmla="*/ 926431 w 1940457"/>
                <a:gd name="connsiteY868" fmla="*/ 998967 h 1270908"/>
                <a:gd name="connsiteX869" fmla="*/ 932451 w 1940457"/>
                <a:gd name="connsiteY869" fmla="*/ 998967 h 1270908"/>
                <a:gd name="connsiteX870" fmla="*/ 938717 w 1940457"/>
                <a:gd name="connsiteY870" fmla="*/ 990925 h 1270908"/>
                <a:gd name="connsiteX871" fmla="*/ 938717 w 1940457"/>
                <a:gd name="connsiteY871" fmla="*/ 985991 h 1270908"/>
                <a:gd name="connsiteX872" fmla="*/ 932451 w 1940457"/>
                <a:gd name="connsiteY872" fmla="*/ 985991 h 1270908"/>
                <a:gd name="connsiteX873" fmla="*/ 930378 w 1940457"/>
                <a:gd name="connsiteY873" fmla="*/ 984362 h 1270908"/>
                <a:gd name="connsiteX874" fmla="*/ 940789 w 1940457"/>
                <a:gd name="connsiteY874" fmla="*/ 977899 h 1270908"/>
                <a:gd name="connsiteX875" fmla="*/ 947055 w 1940457"/>
                <a:gd name="connsiteY875" fmla="*/ 976320 h 1270908"/>
                <a:gd name="connsiteX876" fmla="*/ 953272 w 1940457"/>
                <a:gd name="connsiteY876" fmla="*/ 971386 h 1270908"/>
                <a:gd name="connsiteX877" fmla="*/ 955394 w 1940457"/>
                <a:gd name="connsiteY877" fmla="*/ 971386 h 1270908"/>
                <a:gd name="connsiteX878" fmla="*/ 957466 w 1940457"/>
                <a:gd name="connsiteY878" fmla="*/ 974593 h 1270908"/>
                <a:gd name="connsiteX879" fmla="*/ 965805 w 1940457"/>
                <a:gd name="connsiteY879" fmla="*/ 968129 h 1270908"/>
                <a:gd name="connsiteX880" fmla="*/ 972022 w 1940457"/>
                <a:gd name="connsiteY880" fmla="*/ 964922 h 1270908"/>
                <a:gd name="connsiteX881" fmla="*/ 974094 w 1940457"/>
                <a:gd name="connsiteY881" fmla="*/ 959988 h 1270908"/>
                <a:gd name="connsiteX882" fmla="*/ 978288 w 1940457"/>
                <a:gd name="connsiteY882" fmla="*/ 958360 h 1270908"/>
                <a:gd name="connsiteX883" fmla="*/ 980360 w 1940457"/>
                <a:gd name="connsiteY883" fmla="*/ 956781 h 1270908"/>
                <a:gd name="connsiteX884" fmla="*/ 984505 w 1940457"/>
                <a:gd name="connsiteY884" fmla="*/ 955153 h 1270908"/>
                <a:gd name="connsiteX885" fmla="*/ 986627 w 1940457"/>
                <a:gd name="connsiteY885" fmla="*/ 958360 h 1270908"/>
                <a:gd name="connsiteX886" fmla="*/ 990771 w 1940457"/>
                <a:gd name="connsiteY886" fmla="*/ 959988 h 1270908"/>
                <a:gd name="connsiteX887" fmla="*/ 992843 w 1940457"/>
                <a:gd name="connsiteY887" fmla="*/ 956781 h 1270908"/>
                <a:gd name="connsiteX888" fmla="*/ 999110 w 1940457"/>
                <a:gd name="connsiteY888" fmla="*/ 956781 h 1270908"/>
                <a:gd name="connsiteX889" fmla="*/ 1001182 w 1940457"/>
                <a:gd name="connsiteY889" fmla="*/ 953525 h 1270908"/>
                <a:gd name="connsiteX890" fmla="*/ 1001182 w 1940457"/>
                <a:gd name="connsiteY890" fmla="*/ 950318 h 1270908"/>
                <a:gd name="connsiteX891" fmla="*/ 1007448 w 1940457"/>
                <a:gd name="connsiteY891" fmla="*/ 948689 h 1270908"/>
                <a:gd name="connsiteX892" fmla="*/ 1009520 w 1940457"/>
                <a:gd name="connsiteY892" fmla="*/ 947110 h 1270908"/>
                <a:gd name="connsiteX893" fmla="*/ 1011593 w 1940457"/>
                <a:gd name="connsiteY893" fmla="*/ 948689 h 1270908"/>
                <a:gd name="connsiteX894" fmla="*/ 1022003 w 1940457"/>
                <a:gd name="connsiteY894" fmla="*/ 948689 h 1270908"/>
                <a:gd name="connsiteX895" fmla="*/ 1024076 w 1940457"/>
                <a:gd name="connsiteY895" fmla="*/ 943755 h 1270908"/>
                <a:gd name="connsiteX896" fmla="*/ 1026197 w 1940457"/>
                <a:gd name="connsiteY896" fmla="*/ 943755 h 1270908"/>
                <a:gd name="connsiteX897" fmla="*/ 1028319 w 1940457"/>
                <a:gd name="connsiteY897" fmla="*/ 947012 h 1270908"/>
                <a:gd name="connsiteX898" fmla="*/ 1030391 w 1940457"/>
                <a:gd name="connsiteY898" fmla="*/ 945384 h 1270908"/>
                <a:gd name="connsiteX899" fmla="*/ 1034536 w 1940457"/>
                <a:gd name="connsiteY899" fmla="*/ 943755 h 1270908"/>
                <a:gd name="connsiteX900" fmla="*/ 1036608 w 1940457"/>
                <a:gd name="connsiteY900" fmla="*/ 945384 h 1270908"/>
                <a:gd name="connsiteX901" fmla="*/ 1038730 w 1940457"/>
                <a:gd name="connsiteY901" fmla="*/ 943755 h 1270908"/>
                <a:gd name="connsiteX902" fmla="*/ 1042874 w 1940457"/>
                <a:gd name="connsiteY902" fmla="*/ 935713 h 1270908"/>
                <a:gd name="connsiteX903" fmla="*/ 1038730 w 1940457"/>
                <a:gd name="connsiteY903" fmla="*/ 935713 h 1270908"/>
                <a:gd name="connsiteX904" fmla="*/ 1036608 w 1940457"/>
                <a:gd name="connsiteY904" fmla="*/ 937292 h 1270908"/>
                <a:gd name="connsiteX905" fmla="*/ 1038730 w 1940457"/>
                <a:gd name="connsiteY905" fmla="*/ 932358 h 1270908"/>
                <a:gd name="connsiteX906" fmla="*/ 1044947 w 1940457"/>
                <a:gd name="connsiteY906" fmla="*/ 927424 h 1270908"/>
                <a:gd name="connsiteX907" fmla="*/ 1049141 w 1940457"/>
                <a:gd name="connsiteY907" fmla="*/ 927424 h 1270908"/>
                <a:gd name="connsiteX908" fmla="*/ 1051213 w 1940457"/>
                <a:gd name="connsiteY908" fmla="*/ 929052 h 1270908"/>
                <a:gd name="connsiteX909" fmla="*/ 1053285 w 1940457"/>
                <a:gd name="connsiteY909" fmla="*/ 927424 h 1270908"/>
                <a:gd name="connsiteX910" fmla="*/ 1051213 w 1940457"/>
                <a:gd name="connsiteY910" fmla="*/ 924216 h 1270908"/>
                <a:gd name="connsiteX911" fmla="*/ 1047019 w 1940457"/>
                <a:gd name="connsiteY911" fmla="*/ 922638 h 1270908"/>
                <a:gd name="connsiteX912" fmla="*/ 1049141 w 1940457"/>
                <a:gd name="connsiteY912" fmla="*/ 921009 h 1270908"/>
                <a:gd name="connsiteX913" fmla="*/ 1055358 w 1940457"/>
                <a:gd name="connsiteY913" fmla="*/ 922638 h 1270908"/>
                <a:gd name="connsiteX914" fmla="*/ 1063696 w 1940457"/>
                <a:gd name="connsiteY914" fmla="*/ 916174 h 1270908"/>
                <a:gd name="connsiteX915" fmla="*/ 1072035 w 1940457"/>
                <a:gd name="connsiteY915" fmla="*/ 916174 h 1270908"/>
                <a:gd name="connsiteX916" fmla="*/ 1080373 w 1940457"/>
                <a:gd name="connsiteY916" fmla="*/ 911240 h 1270908"/>
                <a:gd name="connsiteX917" fmla="*/ 1084518 w 1940457"/>
                <a:gd name="connsiteY917" fmla="*/ 909612 h 1270908"/>
                <a:gd name="connsiteX918" fmla="*/ 1092856 w 1940457"/>
                <a:gd name="connsiteY918" fmla="*/ 903148 h 1270908"/>
                <a:gd name="connsiteX919" fmla="*/ 1092856 w 1940457"/>
                <a:gd name="connsiteY919" fmla="*/ 893280 h 1270908"/>
                <a:gd name="connsiteX920" fmla="*/ 1090784 w 1940457"/>
                <a:gd name="connsiteY920" fmla="*/ 891701 h 1270908"/>
                <a:gd name="connsiteX921" fmla="*/ 1088662 w 1940457"/>
                <a:gd name="connsiteY921" fmla="*/ 891701 h 1270908"/>
                <a:gd name="connsiteX922" fmla="*/ 1086590 w 1940457"/>
                <a:gd name="connsiteY922" fmla="*/ 885238 h 1270908"/>
                <a:gd name="connsiteX923" fmla="*/ 1082445 w 1940457"/>
                <a:gd name="connsiteY923" fmla="*/ 882031 h 1270908"/>
                <a:gd name="connsiteX924" fmla="*/ 1072035 w 1940457"/>
                <a:gd name="connsiteY924" fmla="*/ 883609 h 1270908"/>
                <a:gd name="connsiteX925" fmla="*/ 1074107 w 1940457"/>
                <a:gd name="connsiteY925" fmla="*/ 877195 h 1270908"/>
                <a:gd name="connsiteX926" fmla="*/ 1074107 w 1940457"/>
                <a:gd name="connsiteY926" fmla="*/ 870732 h 1270908"/>
                <a:gd name="connsiteX927" fmla="*/ 1082445 w 1940457"/>
                <a:gd name="connsiteY927" fmla="*/ 867524 h 1270908"/>
                <a:gd name="connsiteX928" fmla="*/ 1084518 w 1940457"/>
                <a:gd name="connsiteY928" fmla="*/ 864268 h 1270908"/>
                <a:gd name="connsiteX929" fmla="*/ 1090784 w 1940457"/>
                <a:gd name="connsiteY929" fmla="*/ 864268 h 1270908"/>
                <a:gd name="connsiteX930" fmla="*/ 1092856 w 1940457"/>
                <a:gd name="connsiteY930" fmla="*/ 861061 h 1270908"/>
                <a:gd name="connsiteX931" fmla="*/ 1090784 w 1940457"/>
                <a:gd name="connsiteY931" fmla="*/ 859433 h 1270908"/>
                <a:gd name="connsiteX932" fmla="*/ 1094929 w 1940457"/>
                <a:gd name="connsiteY932" fmla="*/ 857804 h 1270908"/>
                <a:gd name="connsiteX933" fmla="*/ 1101195 w 1940457"/>
                <a:gd name="connsiteY933" fmla="*/ 857804 h 1270908"/>
                <a:gd name="connsiteX934" fmla="*/ 1109484 w 1940457"/>
                <a:gd name="connsiteY934" fmla="*/ 852870 h 1270908"/>
                <a:gd name="connsiteX935" fmla="*/ 1117823 w 1940457"/>
                <a:gd name="connsiteY935" fmla="*/ 857804 h 1270908"/>
                <a:gd name="connsiteX936" fmla="*/ 1126161 w 1940457"/>
                <a:gd name="connsiteY936" fmla="*/ 852870 h 1270908"/>
                <a:gd name="connsiteX937" fmla="*/ 1124089 w 1940457"/>
                <a:gd name="connsiteY937" fmla="*/ 857804 h 1270908"/>
                <a:gd name="connsiteX938" fmla="*/ 1126161 w 1940457"/>
                <a:gd name="connsiteY938" fmla="*/ 861061 h 1270908"/>
                <a:gd name="connsiteX939" fmla="*/ 1130306 w 1940457"/>
                <a:gd name="connsiteY939" fmla="*/ 861061 h 1270908"/>
                <a:gd name="connsiteX940" fmla="*/ 1138644 w 1940457"/>
                <a:gd name="connsiteY940" fmla="*/ 854597 h 1270908"/>
                <a:gd name="connsiteX941" fmla="*/ 1136572 w 1940457"/>
                <a:gd name="connsiteY941" fmla="*/ 851390 h 1270908"/>
                <a:gd name="connsiteX942" fmla="*/ 1132427 w 1940457"/>
                <a:gd name="connsiteY942" fmla="*/ 849762 h 1270908"/>
                <a:gd name="connsiteX943" fmla="*/ 1132427 w 1940457"/>
                <a:gd name="connsiteY943" fmla="*/ 846555 h 1270908"/>
                <a:gd name="connsiteX944" fmla="*/ 1134746 w 1940457"/>
                <a:gd name="connsiteY944" fmla="*/ 846555 h 1270908"/>
                <a:gd name="connsiteX945" fmla="*/ 1143085 w 1940457"/>
                <a:gd name="connsiteY945" fmla="*/ 848134 h 1270908"/>
                <a:gd name="connsiteX946" fmla="*/ 1153495 w 1940457"/>
                <a:gd name="connsiteY946" fmla="*/ 844926 h 1270908"/>
                <a:gd name="connsiteX947" fmla="*/ 1157640 w 1940457"/>
                <a:gd name="connsiteY947" fmla="*/ 836884 h 1270908"/>
                <a:gd name="connsiteX948" fmla="*/ 1153495 w 1940457"/>
                <a:gd name="connsiteY948" fmla="*/ 828792 h 1270908"/>
                <a:gd name="connsiteX949" fmla="*/ 1143085 w 1940457"/>
                <a:gd name="connsiteY949" fmla="*/ 823858 h 1270908"/>
                <a:gd name="connsiteX950" fmla="*/ 1138891 w 1940457"/>
                <a:gd name="connsiteY950" fmla="*/ 823858 h 1270908"/>
                <a:gd name="connsiteX951" fmla="*/ 1136819 w 1940457"/>
                <a:gd name="connsiteY951" fmla="*/ 827115 h 1270908"/>
                <a:gd name="connsiteX952" fmla="*/ 1136819 w 1940457"/>
                <a:gd name="connsiteY952" fmla="*/ 825486 h 1270908"/>
                <a:gd name="connsiteX953" fmla="*/ 1140963 w 1940457"/>
                <a:gd name="connsiteY953" fmla="*/ 822279 h 1270908"/>
                <a:gd name="connsiteX954" fmla="*/ 1149302 w 1940457"/>
                <a:gd name="connsiteY954" fmla="*/ 820651 h 1270908"/>
                <a:gd name="connsiteX955" fmla="*/ 1155568 w 1940457"/>
                <a:gd name="connsiteY955" fmla="*/ 825585 h 1270908"/>
                <a:gd name="connsiteX956" fmla="*/ 1163906 w 1940457"/>
                <a:gd name="connsiteY956" fmla="*/ 823957 h 1270908"/>
                <a:gd name="connsiteX957" fmla="*/ 1172196 w 1940457"/>
                <a:gd name="connsiteY957" fmla="*/ 819023 h 1270908"/>
                <a:gd name="connsiteX958" fmla="*/ 1172196 w 1940457"/>
                <a:gd name="connsiteY958" fmla="*/ 817543 h 1270908"/>
                <a:gd name="connsiteX959" fmla="*/ 1186998 w 1940457"/>
                <a:gd name="connsiteY959" fmla="*/ 809451 h 1270908"/>
                <a:gd name="connsiteX960" fmla="*/ 1197409 w 1940457"/>
                <a:gd name="connsiteY960" fmla="*/ 802987 h 1270908"/>
                <a:gd name="connsiteX961" fmla="*/ 1203625 w 1940457"/>
                <a:gd name="connsiteY961" fmla="*/ 802987 h 1270908"/>
                <a:gd name="connsiteX962" fmla="*/ 1207819 w 1940457"/>
                <a:gd name="connsiteY962" fmla="*/ 799780 h 1270908"/>
                <a:gd name="connsiteX963" fmla="*/ 1207819 w 1940457"/>
                <a:gd name="connsiteY963" fmla="*/ 796573 h 1270908"/>
                <a:gd name="connsiteX964" fmla="*/ 1222375 w 1940457"/>
                <a:gd name="connsiteY964" fmla="*/ 786705 h 1270908"/>
                <a:gd name="connsiteX965" fmla="*/ 1234858 w 1940457"/>
                <a:gd name="connsiteY965" fmla="*/ 785077 h 1270908"/>
                <a:gd name="connsiteX966" fmla="*/ 1249660 w 1940457"/>
                <a:gd name="connsiteY966" fmla="*/ 773827 h 1270908"/>
                <a:gd name="connsiteX967" fmla="*/ 1262143 w 1940457"/>
                <a:gd name="connsiteY967" fmla="*/ 773827 h 1270908"/>
                <a:gd name="connsiteX968" fmla="*/ 1274626 w 1940457"/>
                <a:gd name="connsiteY968" fmla="*/ 759321 h 1270908"/>
                <a:gd name="connsiteX969" fmla="*/ 1270482 w 1940457"/>
                <a:gd name="connsiteY969" fmla="*/ 767363 h 1270908"/>
                <a:gd name="connsiteX970" fmla="*/ 1270482 w 1940457"/>
                <a:gd name="connsiteY970" fmla="*/ 775406 h 1270908"/>
                <a:gd name="connsiteX971" fmla="*/ 1274626 w 1940457"/>
                <a:gd name="connsiteY971" fmla="*/ 777034 h 1270908"/>
                <a:gd name="connsiteX972" fmla="*/ 1278820 w 1940457"/>
                <a:gd name="connsiteY972" fmla="*/ 777034 h 1270908"/>
                <a:gd name="connsiteX973" fmla="*/ 1280892 w 1940457"/>
                <a:gd name="connsiteY973" fmla="*/ 780291 h 1270908"/>
                <a:gd name="connsiteX974" fmla="*/ 1291303 w 1940457"/>
                <a:gd name="connsiteY974" fmla="*/ 770423 h 1270908"/>
                <a:gd name="connsiteX975" fmla="*/ 1297520 w 1940457"/>
                <a:gd name="connsiteY975" fmla="*/ 768794 h 1270908"/>
                <a:gd name="connsiteX976" fmla="*/ 1312322 w 1940457"/>
                <a:gd name="connsiteY976" fmla="*/ 765587 h 1270908"/>
                <a:gd name="connsiteX977" fmla="*/ 1316467 w 1940457"/>
                <a:gd name="connsiteY977" fmla="*/ 760653 h 1270908"/>
                <a:gd name="connsiteX978" fmla="*/ 1314394 w 1940457"/>
                <a:gd name="connsiteY978" fmla="*/ 767117 h 1270908"/>
                <a:gd name="connsiteX979" fmla="*/ 1303984 w 1940457"/>
                <a:gd name="connsiteY979" fmla="*/ 773580 h 1270908"/>
                <a:gd name="connsiteX980" fmla="*/ 1292635 w 1940457"/>
                <a:gd name="connsiteY980" fmla="*/ 773580 h 1270908"/>
                <a:gd name="connsiteX981" fmla="*/ 1277833 w 1940457"/>
                <a:gd name="connsiteY981" fmla="*/ 788086 h 1270908"/>
                <a:gd name="connsiteX982" fmla="*/ 1275712 w 1940457"/>
                <a:gd name="connsiteY982" fmla="*/ 793021 h 1270908"/>
                <a:gd name="connsiteX983" fmla="*/ 1284050 w 1940457"/>
                <a:gd name="connsiteY983" fmla="*/ 802642 h 1270908"/>
                <a:gd name="connsiteX984" fmla="*/ 1286122 w 1940457"/>
                <a:gd name="connsiteY984" fmla="*/ 809106 h 1270908"/>
                <a:gd name="connsiteX985" fmla="*/ 1277833 w 1940457"/>
                <a:gd name="connsiteY985" fmla="*/ 804171 h 1270908"/>
                <a:gd name="connsiteX986" fmla="*/ 1273639 w 1940457"/>
                <a:gd name="connsiteY986" fmla="*/ 804171 h 1270908"/>
                <a:gd name="connsiteX987" fmla="*/ 1269495 w 1940457"/>
                <a:gd name="connsiteY987" fmla="*/ 805750 h 1270908"/>
                <a:gd name="connsiteX988" fmla="*/ 1263229 w 1940457"/>
                <a:gd name="connsiteY988" fmla="*/ 805750 h 1270908"/>
                <a:gd name="connsiteX989" fmla="*/ 1257012 w 1940457"/>
                <a:gd name="connsiteY989" fmla="*/ 800816 h 1270908"/>
                <a:gd name="connsiteX990" fmla="*/ 1254890 w 1940457"/>
                <a:gd name="connsiteY990" fmla="*/ 792774 h 1270908"/>
                <a:gd name="connsiteX991" fmla="*/ 1244479 w 1940457"/>
                <a:gd name="connsiteY991" fmla="*/ 797708 h 1270908"/>
                <a:gd name="connsiteX992" fmla="*/ 1238262 w 1940457"/>
                <a:gd name="connsiteY992" fmla="*/ 797708 h 1270908"/>
                <a:gd name="connsiteX993" fmla="*/ 1228493 w 1940457"/>
                <a:gd name="connsiteY993" fmla="*/ 804517 h 1270908"/>
                <a:gd name="connsiteX994" fmla="*/ 1218082 w 1940457"/>
                <a:gd name="connsiteY994" fmla="*/ 804517 h 1270908"/>
                <a:gd name="connsiteX995" fmla="*/ 1211816 w 1940457"/>
                <a:gd name="connsiteY995" fmla="*/ 810931 h 1270908"/>
                <a:gd name="connsiteX996" fmla="*/ 1209744 w 1940457"/>
                <a:gd name="connsiteY996" fmla="*/ 817395 h 1270908"/>
                <a:gd name="connsiteX997" fmla="*/ 1211816 w 1940457"/>
                <a:gd name="connsiteY997" fmla="*/ 818974 h 1270908"/>
                <a:gd name="connsiteX998" fmla="*/ 1205599 w 1940457"/>
                <a:gd name="connsiteY998" fmla="*/ 828842 h 1270908"/>
                <a:gd name="connsiteX999" fmla="*/ 1197261 w 1940457"/>
                <a:gd name="connsiteY999" fmla="*/ 833776 h 1270908"/>
                <a:gd name="connsiteX1000" fmla="*/ 1195188 w 1940457"/>
                <a:gd name="connsiteY1000" fmla="*/ 841867 h 1270908"/>
                <a:gd name="connsiteX1001" fmla="*/ 1174218 w 1940457"/>
                <a:gd name="connsiteY1001" fmla="*/ 857706 h 1270908"/>
                <a:gd name="connsiteX1002" fmla="*/ 1167952 w 1940457"/>
                <a:gd name="connsiteY1002" fmla="*/ 864120 h 1270908"/>
                <a:gd name="connsiteX1003" fmla="*/ 1167952 w 1940457"/>
                <a:gd name="connsiteY1003" fmla="*/ 867327 h 1270908"/>
                <a:gd name="connsiteX1004" fmla="*/ 1176291 w 1940457"/>
                <a:gd name="connsiteY1004" fmla="*/ 877195 h 1270908"/>
                <a:gd name="connsiteX1005" fmla="*/ 1180435 w 1940457"/>
                <a:gd name="connsiteY1005" fmla="*/ 872261 h 1270908"/>
                <a:gd name="connsiteX1006" fmla="*/ 1182508 w 1940457"/>
                <a:gd name="connsiteY1006" fmla="*/ 872261 h 1270908"/>
                <a:gd name="connsiteX1007" fmla="*/ 1190846 w 1940457"/>
                <a:gd name="connsiteY1007" fmla="*/ 867327 h 1270908"/>
                <a:gd name="connsiteX1008" fmla="*/ 1195040 w 1940457"/>
                <a:gd name="connsiteY1008" fmla="*/ 869005 h 1270908"/>
                <a:gd name="connsiteX1009" fmla="*/ 1195040 w 1940457"/>
                <a:gd name="connsiteY1009" fmla="*/ 872212 h 1270908"/>
                <a:gd name="connsiteX1010" fmla="*/ 1182508 w 1940457"/>
                <a:gd name="connsiteY1010" fmla="*/ 880254 h 1270908"/>
                <a:gd name="connsiteX1011" fmla="*/ 1176291 w 1940457"/>
                <a:gd name="connsiteY1011" fmla="*/ 880254 h 1270908"/>
                <a:gd name="connsiteX1012" fmla="*/ 1174218 w 1940457"/>
                <a:gd name="connsiteY1012" fmla="*/ 886619 h 1270908"/>
                <a:gd name="connsiteX1013" fmla="*/ 1167952 w 1940457"/>
                <a:gd name="connsiteY1013" fmla="*/ 883412 h 1270908"/>
                <a:gd name="connsiteX1014" fmla="*/ 1161686 w 1940457"/>
                <a:gd name="connsiteY1014" fmla="*/ 883412 h 1270908"/>
                <a:gd name="connsiteX1015" fmla="*/ 1155469 w 1940457"/>
                <a:gd name="connsiteY1015" fmla="*/ 884991 h 1270908"/>
                <a:gd name="connsiteX1016" fmla="*/ 1155469 w 1940457"/>
                <a:gd name="connsiteY1016" fmla="*/ 891553 h 1270908"/>
                <a:gd name="connsiteX1017" fmla="*/ 1151275 w 1940457"/>
                <a:gd name="connsiteY1017" fmla="*/ 889925 h 1270908"/>
                <a:gd name="connsiteX1018" fmla="*/ 1145058 w 1940457"/>
                <a:gd name="connsiteY1018" fmla="*/ 891553 h 1270908"/>
                <a:gd name="connsiteX1019" fmla="*/ 1145058 w 1940457"/>
                <a:gd name="connsiteY1019" fmla="*/ 897967 h 1270908"/>
                <a:gd name="connsiteX1020" fmla="*/ 1155469 w 1940457"/>
                <a:gd name="connsiteY1020" fmla="*/ 907835 h 1270908"/>
                <a:gd name="connsiteX1021" fmla="*/ 1159614 w 1940457"/>
                <a:gd name="connsiteY1021" fmla="*/ 906207 h 1270908"/>
                <a:gd name="connsiteX1022" fmla="*/ 1161686 w 1940457"/>
                <a:gd name="connsiteY1022" fmla="*/ 903000 h 1270908"/>
                <a:gd name="connsiteX1023" fmla="*/ 1165880 w 1940457"/>
                <a:gd name="connsiteY1023" fmla="*/ 906207 h 1270908"/>
                <a:gd name="connsiteX1024" fmla="*/ 1167952 w 1940457"/>
                <a:gd name="connsiteY1024" fmla="*/ 899793 h 1270908"/>
                <a:gd name="connsiteX1025" fmla="*/ 1174218 w 1940457"/>
                <a:gd name="connsiteY1025" fmla="*/ 899793 h 1270908"/>
                <a:gd name="connsiteX1026" fmla="*/ 1174218 w 1940457"/>
                <a:gd name="connsiteY1026" fmla="*/ 904727 h 1270908"/>
                <a:gd name="connsiteX1027" fmla="*/ 1178363 w 1940457"/>
                <a:gd name="connsiteY1027" fmla="*/ 901520 h 1270908"/>
                <a:gd name="connsiteX1028" fmla="*/ 1180435 w 1940457"/>
                <a:gd name="connsiteY1028" fmla="*/ 898263 h 1270908"/>
                <a:gd name="connsiteX1029" fmla="*/ 1184629 w 1940457"/>
                <a:gd name="connsiteY1029" fmla="*/ 896685 h 1270908"/>
                <a:gd name="connsiteX1030" fmla="*/ 1192919 w 1940457"/>
                <a:gd name="connsiteY1030" fmla="*/ 891751 h 1270908"/>
                <a:gd name="connsiteX1031" fmla="*/ 1192919 w 1940457"/>
                <a:gd name="connsiteY1031" fmla="*/ 885287 h 1270908"/>
                <a:gd name="connsiteX1032" fmla="*/ 1197112 w 1940457"/>
                <a:gd name="connsiteY1032" fmla="*/ 880353 h 1270908"/>
                <a:gd name="connsiteX1033" fmla="*/ 1199185 w 1940457"/>
                <a:gd name="connsiteY1033" fmla="*/ 883609 h 1270908"/>
                <a:gd name="connsiteX1034" fmla="*/ 1195040 w 1940457"/>
                <a:gd name="connsiteY1034" fmla="*/ 886817 h 1270908"/>
                <a:gd name="connsiteX1035" fmla="*/ 1199185 w 1940457"/>
                <a:gd name="connsiteY1035" fmla="*/ 891751 h 1270908"/>
                <a:gd name="connsiteX1036" fmla="*/ 1207523 w 1940457"/>
                <a:gd name="connsiteY1036" fmla="*/ 890122 h 1270908"/>
                <a:gd name="connsiteX1037" fmla="*/ 1217934 w 1940457"/>
                <a:gd name="connsiteY1037" fmla="*/ 883708 h 1270908"/>
                <a:gd name="connsiteX1038" fmla="*/ 1226273 w 1940457"/>
                <a:gd name="connsiteY1038" fmla="*/ 883708 h 1270908"/>
                <a:gd name="connsiteX1039" fmla="*/ 1228345 w 1940457"/>
                <a:gd name="connsiteY1039" fmla="*/ 886915 h 1270908"/>
                <a:gd name="connsiteX1040" fmla="*/ 1232489 w 1940457"/>
                <a:gd name="connsiteY1040" fmla="*/ 883708 h 1270908"/>
                <a:gd name="connsiteX1041" fmla="*/ 1234562 w 1940457"/>
                <a:gd name="connsiteY1041" fmla="*/ 872409 h 1270908"/>
                <a:gd name="connsiteX1042" fmla="*/ 1242900 w 1940457"/>
                <a:gd name="connsiteY1042" fmla="*/ 867475 h 1270908"/>
                <a:gd name="connsiteX1043" fmla="*/ 1247094 w 1940457"/>
                <a:gd name="connsiteY1043" fmla="*/ 869153 h 1270908"/>
                <a:gd name="connsiteX1044" fmla="*/ 1238756 w 1940457"/>
                <a:gd name="connsiteY1044" fmla="*/ 877195 h 1270908"/>
                <a:gd name="connsiteX1045" fmla="*/ 1238756 w 1940457"/>
                <a:gd name="connsiteY1045" fmla="*/ 882129 h 1270908"/>
                <a:gd name="connsiteX1046" fmla="*/ 1242900 w 1940457"/>
                <a:gd name="connsiteY1046" fmla="*/ 878922 h 1270908"/>
                <a:gd name="connsiteX1047" fmla="*/ 1251239 w 1940457"/>
                <a:gd name="connsiteY1047" fmla="*/ 870830 h 1270908"/>
                <a:gd name="connsiteX1048" fmla="*/ 1255383 w 1940457"/>
                <a:gd name="connsiteY1048" fmla="*/ 859531 h 1270908"/>
                <a:gd name="connsiteX1049" fmla="*/ 1259577 w 1940457"/>
                <a:gd name="connsiteY1049" fmla="*/ 857952 h 1270908"/>
                <a:gd name="connsiteX1050" fmla="*/ 1259577 w 1940457"/>
                <a:gd name="connsiteY1050" fmla="*/ 861160 h 1270908"/>
                <a:gd name="connsiteX1051" fmla="*/ 1255383 w 1940457"/>
                <a:gd name="connsiteY1051" fmla="*/ 869251 h 1270908"/>
                <a:gd name="connsiteX1052" fmla="*/ 1255383 w 1940457"/>
                <a:gd name="connsiteY1052" fmla="*/ 872458 h 1270908"/>
                <a:gd name="connsiteX1053" fmla="*/ 1263722 w 1940457"/>
                <a:gd name="connsiteY1053" fmla="*/ 864367 h 1270908"/>
                <a:gd name="connsiteX1054" fmla="*/ 1267916 w 1940457"/>
                <a:gd name="connsiteY1054" fmla="*/ 867574 h 1270908"/>
                <a:gd name="connsiteX1055" fmla="*/ 1265794 w 1940457"/>
                <a:gd name="connsiteY1055" fmla="*/ 872508 h 1270908"/>
                <a:gd name="connsiteX1056" fmla="*/ 1274133 w 1940457"/>
                <a:gd name="connsiteY1056" fmla="*/ 872508 h 1270908"/>
                <a:gd name="connsiteX1057" fmla="*/ 1278327 w 1940457"/>
                <a:gd name="connsiteY1057" fmla="*/ 875764 h 1270908"/>
                <a:gd name="connsiteX1058" fmla="*/ 1282471 w 1940457"/>
                <a:gd name="connsiteY1058" fmla="*/ 870830 h 1270908"/>
                <a:gd name="connsiteX1059" fmla="*/ 1286616 w 1940457"/>
                <a:gd name="connsiteY1059" fmla="*/ 864367 h 1270908"/>
                <a:gd name="connsiteX1060" fmla="*/ 1297027 w 1940457"/>
                <a:gd name="connsiteY1060" fmla="*/ 862788 h 1270908"/>
                <a:gd name="connsiteX1061" fmla="*/ 1301221 w 1940457"/>
                <a:gd name="connsiteY1061" fmla="*/ 859531 h 1270908"/>
                <a:gd name="connsiteX1062" fmla="*/ 1297027 w 1940457"/>
                <a:gd name="connsiteY1062" fmla="*/ 857952 h 1270908"/>
                <a:gd name="connsiteX1063" fmla="*/ 1299148 w 1940457"/>
                <a:gd name="connsiteY1063" fmla="*/ 851489 h 1270908"/>
                <a:gd name="connsiteX1064" fmla="*/ 1313704 w 1940457"/>
                <a:gd name="connsiteY1064" fmla="*/ 846555 h 1270908"/>
                <a:gd name="connsiteX1065" fmla="*/ 1315776 w 1940457"/>
                <a:gd name="connsiteY1065" fmla="*/ 843298 h 1270908"/>
                <a:gd name="connsiteX1066" fmla="*/ 1315776 w 1940457"/>
                <a:gd name="connsiteY1066" fmla="*/ 836884 h 1270908"/>
                <a:gd name="connsiteX1067" fmla="*/ 1309559 w 1940457"/>
                <a:gd name="connsiteY1067" fmla="*/ 838512 h 1270908"/>
                <a:gd name="connsiteX1068" fmla="*/ 1305365 w 1940457"/>
                <a:gd name="connsiteY1068" fmla="*/ 835256 h 1270908"/>
                <a:gd name="connsiteX1069" fmla="*/ 1297027 w 1940457"/>
                <a:gd name="connsiteY1069" fmla="*/ 833628 h 1270908"/>
                <a:gd name="connsiteX1070" fmla="*/ 1299148 w 1940457"/>
                <a:gd name="connsiteY1070" fmla="*/ 830420 h 1270908"/>
                <a:gd name="connsiteX1071" fmla="*/ 1305365 w 1940457"/>
                <a:gd name="connsiteY1071" fmla="*/ 830420 h 1270908"/>
                <a:gd name="connsiteX1072" fmla="*/ 1311631 w 1940457"/>
                <a:gd name="connsiteY1072" fmla="*/ 832049 h 1270908"/>
                <a:gd name="connsiteX1073" fmla="*/ 1313704 w 1940457"/>
                <a:gd name="connsiteY1073" fmla="*/ 828842 h 1270908"/>
                <a:gd name="connsiteX1074" fmla="*/ 1313704 w 1940457"/>
                <a:gd name="connsiteY1074" fmla="*/ 823908 h 1270908"/>
                <a:gd name="connsiteX1075" fmla="*/ 1307437 w 1940457"/>
                <a:gd name="connsiteY1075" fmla="*/ 825486 h 1270908"/>
                <a:gd name="connsiteX1076" fmla="*/ 1301221 w 1940457"/>
                <a:gd name="connsiteY1076" fmla="*/ 820552 h 1270908"/>
                <a:gd name="connsiteX1077" fmla="*/ 1301221 w 1940457"/>
                <a:gd name="connsiteY1077" fmla="*/ 815618 h 1270908"/>
                <a:gd name="connsiteX1078" fmla="*/ 1309559 w 1940457"/>
                <a:gd name="connsiteY1078" fmla="*/ 814040 h 1270908"/>
                <a:gd name="connsiteX1079" fmla="*/ 1313704 w 1940457"/>
                <a:gd name="connsiteY1079" fmla="*/ 812411 h 1270908"/>
                <a:gd name="connsiteX1080" fmla="*/ 1317848 w 1940457"/>
                <a:gd name="connsiteY1080" fmla="*/ 814040 h 1270908"/>
                <a:gd name="connsiteX1081" fmla="*/ 1317848 w 1940457"/>
                <a:gd name="connsiteY1081" fmla="*/ 810783 h 1270908"/>
                <a:gd name="connsiteX1082" fmla="*/ 1315776 w 1940457"/>
                <a:gd name="connsiteY1082" fmla="*/ 804369 h 1270908"/>
                <a:gd name="connsiteX1083" fmla="*/ 1326187 w 1940457"/>
                <a:gd name="connsiteY1083" fmla="*/ 799435 h 1270908"/>
                <a:gd name="connsiteX1084" fmla="*/ 1334525 w 1940457"/>
                <a:gd name="connsiteY1084" fmla="*/ 804369 h 1270908"/>
                <a:gd name="connsiteX1085" fmla="*/ 1338670 w 1940457"/>
                <a:gd name="connsiteY1085" fmla="*/ 802691 h 1270908"/>
                <a:gd name="connsiteX1086" fmla="*/ 1346910 w 1940457"/>
                <a:gd name="connsiteY1086" fmla="*/ 802691 h 1270908"/>
                <a:gd name="connsiteX1087" fmla="*/ 1334427 w 1940457"/>
                <a:gd name="connsiteY1087" fmla="*/ 810783 h 1270908"/>
                <a:gd name="connsiteX1088" fmla="*/ 1334427 w 1940457"/>
                <a:gd name="connsiteY1088" fmla="*/ 815717 h 1270908"/>
                <a:gd name="connsiteX1089" fmla="*/ 1336499 w 1940457"/>
                <a:gd name="connsiteY1089" fmla="*/ 827016 h 1270908"/>
                <a:gd name="connsiteX1090" fmla="*/ 1340693 w 1940457"/>
                <a:gd name="connsiteY1090" fmla="*/ 825388 h 1270908"/>
                <a:gd name="connsiteX1091" fmla="*/ 1344837 w 1940457"/>
                <a:gd name="connsiteY1091" fmla="*/ 814138 h 1270908"/>
                <a:gd name="connsiteX1092" fmla="*/ 1351104 w 1940457"/>
                <a:gd name="connsiteY1092" fmla="*/ 810882 h 1270908"/>
                <a:gd name="connsiteX1093" fmla="*/ 1353176 w 1940457"/>
                <a:gd name="connsiteY1093" fmla="*/ 810882 h 1270908"/>
                <a:gd name="connsiteX1094" fmla="*/ 1351104 w 1940457"/>
                <a:gd name="connsiteY1094" fmla="*/ 814138 h 1270908"/>
                <a:gd name="connsiteX1095" fmla="*/ 1346910 w 1940457"/>
                <a:gd name="connsiteY1095" fmla="*/ 819072 h 1270908"/>
                <a:gd name="connsiteX1096" fmla="*/ 1348982 w 1940457"/>
                <a:gd name="connsiteY1096" fmla="*/ 824006 h 1270908"/>
                <a:gd name="connsiteX1097" fmla="*/ 1357320 w 1940457"/>
                <a:gd name="connsiteY1097" fmla="*/ 817543 h 1270908"/>
                <a:gd name="connsiteX1098" fmla="*/ 1359442 w 1940457"/>
                <a:gd name="connsiteY1098" fmla="*/ 814336 h 1270908"/>
                <a:gd name="connsiteX1099" fmla="*/ 1365659 w 1940457"/>
                <a:gd name="connsiteY1099" fmla="*/ 817543 h 1270908"/>
                <a:gd name="connsiteX1100" fmla="*/ 1371925 w 1940457"/>
                <a:gd name="connsiteY1100" fmla="*/ 814336 h 1270908"/>
                <a:gd name="connsiteX1101" fmla="*/ 1373998 w 1940457"/>
                <a:gd name="connsiteY1101" fmla="*/ 814336 h 1270908"/>
                <a:gd name="connsiteX1102" fmla="*/ 1382336 w 1940457"/>
                <a:gd name="connsiteY1102" fmla="*/ 809402 h 1270908"/>
                <a:gd name="connsiteX1103" fmla="*/ 1390675 w 1940457"/>
                <a:gd name="connsiteY1103" fmla="*/ 807823 h 1270908"/>
                <a:gd name="connsiteX1104" fmla="*/ 1396892 w 1940457"/>
                <a:gd name="connsiteY1104" fmla="*/ 809402 h 1270908"/>
                <a:gd name="connsiteX1105" fmla="*/ 1394819 w 1940457"/>
                <a:gd name="connsiteY1105" fmla="*/ 812658 h 1270908"/>
                <a:gd name="connsiteX1106" fmla="*/ 1386382 w 1940457"/>
                <a:gd name="connsiteY1106" fmla="*/ 812658 h 1270908"/>
                <a:gd name="connsiteX1107" fmla="*/ 1380116 w 1940457"/>
                <a:gd name="connsiteY1107" fmla="*/ 819072 h 1270908"/>
                <a:gd name="connsiteX1108" fmla="*/ 1374047 w 1940457"/>
                <a:gd name="connsiteY1108" fmla="*/ 819072 h 1270908"/>
                <a:gd name="connsiteX1109" fmla="*/ 1371975 w 1940457"/>
                <a:gd name="connsiteY1109" fmla="*/ 824006 h 1270908"/>
                <a:gd name="connsiteX1110" fmla="*/ 1374047 w 1940457"/>
                <a:gd name="connsiteY1110" fmla="*/ 827213 h 1270908"/>
                <a:gd name="connsiteX1111" fmla="*/ 1386530 w 1940457"/>
                <a:gd name="connsiteY1111" fmla="*/ 828842 h 1270908"/>
                <a:gd name="connsiteX1112" fmla="*/ 1392796 w 1940457"/>
                <a:gd name="connsiteY1112" fmla="*/ 833776 h 1270908"/>
                <a:gd name="connsiteX1113" fmla="*/ 1390724 w 1940457"/>
                <a:gd name="connsiteY1113" fmla="*/ 837032 h 1270908"/>
                <a:gd name="connsiteX1114" fmla="*/ 1384458 w 1940457"/>
                <a:gd name="connsiteY1114" fmla="*/ 830569 h 1270908"/>
                <a:gd name="connsiteX1115" fmla="*/ 1374047 w 1940457"/>
                <a:gd name="connsiteY1115" fmla="*/ 830569 h 1270908"/>
                <a:gd name="connsiteX1116" fmla="*/ 1367781 w 1940457"/>
                <a:gd name="connsiteY1116" fmla="*/ 832197 h 1270908"/>
                <a:gd name="connsiteX1117" fmla="*/ 1367781 w 1940457"/>
                <a:gd name="connsiteY1117" fmla="*/ 837131 h 1270908"/>
                <a:gd name="connsiteX1118" fmla="*/ 1371975 w 1940457"/>
                <a:gd name="connsiteY1118" fmla="*/ 838759 h 1270908"/>
                <a:gd name="connsiteX1119" fmla="*/ 1378191 w 1940457"/>
                <a:gd name="connsiteY1119" fmla="*/ 835503 h 1270908"/>
                <a:gd name="connsiteX1120" fmla="*/ 1384458 w 1940457"/>
                <a:gd name="connsiteY1120" fmla="*/ 840437 h 1270908"/>
                <a:gd name="connsiteX1121" fmla="*/ 1380264 w 1940457"/>
                <a:gd name="connsiteY1121" fmla="*/ 842065 h 1270908"/>
                <a:gd name="connsiteX1122" fmla="*/ 1374047 w 1940457"/>
                <a:gd name="connsiteY1122" fmla="*/ 842065 h 1270908"/>
                <a:gd name="connsiteX1123" fmla="*/ 1374047 w 1940457"/>
                <a:gd name="connsiteY1123" fmla="*/ 845321 h 1270908"/>
                <a:gd name="connsiteX1124" fmla="*/ 1384458 w 1940457"/>
                <a:gd name="connsiteY1124" fmla="*/ 848528 h 1270908"/>
                <a:gd name="connsiteX1125" fmla="*/ 1386530 w 1940457"/>
                <a:gd name="connsiteY1125" fmla="*/ 851735 h 1270908"/>
                <a:gd name="connsiteX1126" fmla="*/ 1382385 w 1940457"/>
                <a:gd name="connsiteY1126" fmla="*/ 853364 h 1270908"/>
                <a:gd name="connsiteX1127" fmla="*/ 1376119 w 1940457"/>
                <a:gd name="connsiteY1127" fmla="*/ 854992 h 1270908"/>
                <a:gd name="connsiteX1128" fmla="*/ 1376119 w 1940457"/>
                <a:gd name="connsiteY1128" fmla="*/ 858199 h 1270908"/>
                <a:gd name="connsiteX1129" fmla="*/ 1384458 w 1940457"/>
                <a:gd name="connsiteY1129" fmla="*/ 858199 h 1270908"/>
                <a:gd name="connsiteX1130" fmla="*/ 1390724 w 1940457"/>
                <a:gd name="connsiteY1130" fmla="*/ 856571 h 1270908"/>
                <a:gd name="connsiteX1131" fmla="*/ 1396941 w 1940457"/>
                <a:gd name="connsiteY1131" fmla="*/ 861505 h 1270908"/>
                <a:gd name="connsiteX1132" fmla="*/ 1403207 w 1940457"/>
                <a:gd name="connsiteY1132" fmla="*/ 863133 h 1270908"/>
                <a:gd name="connsiteX1133" fmla="*/ 1413618 w 1940457"/>
                <a:gd name="connsiteY1133" fmla="*/ 859877 h 1270908"/>
                <a:gd name="connsiteX1134" fmla="*/ 1417762 w 1940457"/>
                <a:gd name="connsiteY1134" fmla="*/ 863133 h 1270908"/>
                <a:gd name="connsiteX1135" fmla="*/ 1417762 w 1940457"/>
                <a:gd name="connsiteY1135" fmla="*/ 866340 h 1270908"/>
                <a:gd name="connsiteX1136" fmla="*/ 1411496 w 1940457"/>
                <a:gd name="connsiteY1136" fmla="*/ 869597 h 1270908"/>
                <a:gd name="connsiteX1137" fmla="*/ 1413618 w 1940457"/>
                <a:gd name="connsiteY1137" fmla="*/ 872804 h 1270908"/>
                <a:gd name="connsiteX1138" fmla="*/ 1415690 w 1940457"/>
                <a:gd name="connsiteY1138" fmla="*/ 874383 h 1270908"/>
                <a:gd name="connsiteX1139" fmla="*/ 1417762 w 1940457"/>
                <a:gd name="connsiteY1139" fmla="*/ 877639 h 1270908"/>
                <a:gd name="connsiteX1140" fmla="*/ 1424029 w 1940457"/>
                <a:gd name="connsiteY1140" fmla="*/ 879267 h 1270908"/>
                <a:gd name="connsiteX1141" fmla="*/ 1428173 w 1940457"/>
                <a:gd name="connsiteY1141" fmla="*/ 872804 h 1270908"/>
                <a:gd name="connsiteX1142" fmla="*/ 1426101 w 1940457"/>
                <a:gd name="connsiteY1142" fmla="*/ 871176 h 1270908"/>
                <a:gd name="connsiteX1143" fmla="*/ 1428173 w 1940457"/>
                <a:gd name="connsiteY1143" fmla="*/ 867919 h 1270908"/>
                <a:gd name="connsiteX1144" fmla="*/ 1436512 w 1940457"/>
                <a:gd name="connsiteY1144" fmla="*/ 867919 h 1270908"/>
                <a:gd name="connsiteX1145" fmla="*/ 1432367 w 1940457"/>
                <a:gd name="connsiteY1145" fmla="*/ 874383 h 1270908"/>
                <a:gd name="connsiteX1146" fmla="*/ 1432367 w 1940457"/>
                <a:gd name="connsiteY1146" fmla="*/ 877639 h 1270908"/>
                <a:gd name="connsiteX1147" fmla="*/ 1421956 w 1940457"/>
                <a:gd name="connsiteY1147" fmla="*/ 885682 h 1270908"/>
                <a:gd name="connsiteX1148" fmla="*/ 1430246 w 1940457"/>
                <a:gd name="connsiteY1148" fmla="*/ 890616 h 1270908"/>
                <a:gd name="connsiteX1149" fmla="*/ 1426101 w 1940457"/>
                <a:gd name="connsiteY1149" fmla="*/ 892244 h 1270908"/>
                <a:gd name="connsiteX1150" fmla="*/ 1417762 w 1940457"/>
                <a:gd name="connsiteY1150" fmla="*/ 892244 h 1270908"/>
                <a:gd name="connsiteX1151" fmla="*/ 1419835 w 1940457"/>
                <a:gd name="connsiteY1151" fmla="*/ 897178 h 1270908"/>
                <a:gd name="connsiteX1152" fmla="*/ 1438584 w 1940457"/>
                <a:gd name="connsiteY1152" fmla="*/ 900434 h 1270908"/>
                <a:gd name="connsiteX1153" fmla="*/ 1442729 w 1940457"/>
                <a:gd name="connsiteY1153" fmla="*/ 897178 h 1270908"/>
                <a:gd name="connsiteX1154" fmla="*/ 1448995 w 1940457"/>
                <a:gd name="connsiteY1154" fmla="*/ 898757 h 1270908"/>
                <a:gd name="connsiteX1155" fmla="*/ 1465672 w 1940457"/>
                <a:gd name="connsiteY1155" fmla="*/ 898757 h 1270908"/>
                <a:gd name="connsiteX1156" fmla="*/ 1471889 w 1940457"/>
                <a:gd name="connsiteY1156" fmla="*/ 897178 h 1270908"/>
                <a:gd name="connsiteX1157" fmla="*/ 1476083 w 1940457"/>
                <a:gd name="connsiteY1157" fmla="*/ 898757 h 1270908"/>
                <a:gd name="connsiteX1158" fmla="*/ 1476083 w 1940457"/>
                <a:gd name="connsiteY1158" fmla="*/ 903691 h 1270908"/>
                <a:gd name="connsiteX1159" fmla="*/ 1480129 w 1940457"/>
                <a:gd name="connsiteY1159" fmla="*/ 903691 h 1270908"/>
                <a:gd name="connsiteX1160" fmla="*/ 1486395 w 1940457"/>
                <a:gd name="connsiteY1160" fmla="*/ 908625 h 1270908"/>
                <a:gd name="connsiteX1161" fmla="*/ 1490539 w 1940457"/>
                <a:gd name="connsiteY1161" fmla="*/ 911832 h 1270908"/>
                <a:gd name="connsiteX1162" fmla="*/ 1492612 w 1940457"/>
                <a:gd name="connsiteY1162" fmla="*/ 915039 h 1270908"/>
                <a:gd name="connsiteX1163" fmla="*/ 1498878 w 1940457"/>
                <a:gd name="connsiteY1163" fmla="*/ 915039 h 1270908"/>
                <a:gd name="connsiteX1164" fmla="*/ 1507216 w 1940457"/>
                <a:gd name="connsiteY1164" fmla="*/ 911832 h 1270908"/>
                <a:gd name="connsiteX1165" fmla="*/ 1509289 w 1940457"/>
                <a:gd name="connsiteY1165" fmla="*/ 908625 h 1270908"/>
                <a:gd name="connsiteX1166" fmla="*/ 1513433 w 1940457"/>
                <a:gd name="connsiteY1166" fmla="*/ 910253 h 1270908"/>
                <a:gd name="connsiteX1167" fmla="*/ 1513433 w 1940457"/>
                <a:gd name="connsiteY1167" fmla="*/ 915187 h 1270908"/>
                <a:gd name="connsiteX1168" fmla="*/ 1507216 w 1940457"/>
                <a:gd name="connsiteY1168" fmla="*/ 920121 h 1270908"/>
                <a:gd name="connsiteX1169" fmla="*/ 1500950 w 1940457"/>
                <a:gd name="connsiteY1169" fmla="*/ 920121 h 1270908"/>
                <a:gd name="connsiteX1170" fmla="*/ 1503023 w 1940457"/>
                <a:gd name="connsiteY1170" fmla="*/ 923378 h 1270908"/>
                <a:gd name="connsiteX1171" fmla="*/ 1513433 w 1940457"/>
                <a:gd name="connsiteY1171" fmla="*/ 926585 h 1270908"/>
                <a:gd name="connsiteX1172" fmla="*/ 1515555 w 1940457"/>
                <a:gd name="connsiteY1172" fmla="*/ 931519 h 1270908"/>
                <a:gd name="connsiteX1173" fmla="*/ 1519700 w 1940457"/>
                <a:gd name="connsiteY1173" fmla="*/ 934775 h 1270908"/>
                <a:gd name="connsiteX1174" fmla="*/ 1530110 w 1940457"/>
                <a:gd name="connsiteY1174" fmla="*/ 937982 h 1270908"/>
                <a:gd name="connsiteX1175" fmla="*/ 1542594 w 1940457"/>
                <a:gd name="connsiteY1175" fmla="*/ 934775 h 1270908"/>
                <a:gd name="connsiteX1176" fmla="*/ 1548860 w 1940457"/>
                <a:gd name="connsiteY1176" fmla="*/ 933147 h 1270908"/>
                <a:gd name="connsiteX1177" fmla="*/ 1550932 w 1940457"/>
                <a:gd name="connsiteY1177" fmla="*/ 936354 h 1270908"/>
                <a:gd name="connsiteX1178" fmla="*/ 1555077 w 1940457"/>
                <a:gd name="connsiteY1178" fmla="*/ 931420 h 1270908"/>
                <a:gd name="connsiteX1179" fmla="*/ 1563415 w 1940457"/>
                <a:gd name="connsiteY1179" fmla="*/ 926486 h 1270908"/>
                <a:gd name="connsiteX1180" fmla="*/ 1567609 w 1940457"/>
                <a:gd name="connsiteY1180" fmla="*/ 926486 h 1270908"/>
                <a:gd name="connsiteX1181" fmla="*/ 1565487 w 1940457"/>
                <a:gd name="connsiteY1181" fmla="*/ 929693 h 1270908"/>
                <a:gd name="connsiteX1182" fmla="*/ 1559271 w 1940457"/>
                <a:gd name="connsiteY1182" fmla="*/ 934627 h 1270908"/>
                <a:gd name="connsiteX1183" fmla="*/ 1557198 w 1940457"/>
                <a:gd name="connsiteY1183" fmla="*/ 945877 h 1270908"/>
                <a:gd name="connsiteX1184" fmla="*/ 1553004 w 1940457"/>
                <a:gd name="connsiteY1184" fmla="*/ 952341 h 1270908"/>
                <a:gd name="connsiteX1185" fmla="*/ 1549205 w 1940457"/>
                <a:gd name="connsiteY1185" fmla="*/ 952341 h 1270908"/>
                <a:gd name="connsiteX1186" fmla="*/ 1542939 w 1940457"/>
                <a:gd name="connsiteY1186" fmla="*/ 949133 h 1270908"/>
                <a:gd name="connsiteX1187" fmla="*/ 1538794 w 1940457"/>
                <a:gd name="connsiteY1187" fmla="*/ 949133 h 1270908"/>
                <a:gd name="connsiteX1188" fmla="*/ 1545011 w 1940457"/>
                <a:gd name="connsiteY1188" fmla="*/ 957176 h 1270908"/>
                <a:gd name="connsiteX1189" fmla="*/ 1547133 w 1940457"/>
                <a:gd name="connsiteY1189" fmla="*/ 963590 h 1270908"/>
                <a:gd name="connsiteX1190" fmla="*/ 1551278 w 1940457"/>
                <a:gd name="connsiteY1190" fmla="*/ 966847 h 1270908"/>
                <a:gd name="connsiteX1191" fmla="*/ 1557544 w 1940457"/>
                <a:gd name="connsiteY1191" fmla="*/ 965268 h 1270908"/>
                <a:gd name="connsiteX1192" fmla="*/ 1561688 w 1940457"/>
                <a:gd name="connsiteY1192" fmla="*/ 966847 h 1270908"/>
                <a:gd name="connsiteX1193" fmla="*/ 1559616 w 1940457"/>
                <a:gd name="connsiteY1193" fmla="*/ 970054 h 1270908"/>
                <a:gd name="connsiteX1194" fmla="*/ 1555422 w 1940457"/>
                <a:gd name="connsiteY1194" fmla="*/ 970054 h 1270908"/>
                <a:gd name="connsiteX1195" fmla="*/ 1555422 w 1940457"/>
                <a:gd name="connsiteY1195" fmla="*/ 973310 h 1270908"/>
                <a:gd name="connsiteX1196" fmla="*/ 1565833 w 1940457"/>
                <a:gd name="connsiteY1196" fmla="*/ 981353 h 1270908"/>
                <a:gd name="connsiteX1197" fmla="*/ 1567954 w 1940457"/>
                <a:gd name="connsiteY1197" fmla="*/ 979724 h 1270908"/>
                <a:gd name="connsiteX1198" fmla="*/ 1576244 w 1940457"/>
                <a:gd name="connsiteY1198" fmla="*/ 979724 h 1270908"/>
                <a:gd name="connsiteX1199" fmla="*/ 1580438 w 1940457"/>
                <a:gd name="connsiteY1199" fmla="*/ 974790 h 1270908"/>
                <a:gd name="connsiteX1200" fmla="*/ 1588776 w 1940457"/>
                <a:gd name="connsiteY1200" fmla="*/ 961863 h 1270908"/>
                <a:gd name="connsiteX1201" fmla="*/ 1584582 w 1940457"/>
                <a:gd name="connsiteY1201" fmla="*/ 971731 h 1270908"/>
                <a:gd name="connsiteX1202" fmla="*/ 1584582 w 1940457"/>
                <a:gd name="connsiteY1202" fmla="*/ 978195 h 1270908"/>
                <a:gd name="connsiteX1203" fmla="*/ 1582510 w 1940457"/>
                <a:gd name="connsiteY1203" fmla="*/ 983129 h 1270908"/>
                <a:gd name="connsiteX1204" fmla="*/ 1578365 w 1940457"/>
                <a:gd name="connsiteY1204" fmla="*/ 984757 h 1270908"/>
                <a:gd name="connsiteX1205" fmla="*/ 1574171 w 1940457"/>
                <a:gd name="connsiteY1205" fmla="*/ 989691 h 1270908"/>
                <a:gd name="connsiteX1206" fmla="*/ 1574171 w 1940457"/>
                <a:gd name="connsiteY1206" fmla="*/ 992898 h 1270908"/>
                <a:gd name="connsiteX1207" fmla="*/ 1580438 w 1940457"/>
                <a:gd name="connsiteY1207" fmla="*/ 996105 h 1270908"/>
                <a:gd name="connsiteX1208" fmla="*/ 1578365 w 1940457"/>
                <a:gd name="connsiteY1208" fmla="*/ 999362 h 1270908"/>
                <a:gd name="connsiteX1209" fmla="*/ 1576244 w 1940457"/>
                <a:gd name="connsiteY1209" fmla="*/ 1013868 h 1270908"/>
                <a:gd name="connsiteX1210" fmla="*/ 1580438 w 1940457"/>
                <a:gd name="connsiteY1210" fmla="*/ 1017075 h 1270908"/>
                <a:gd name="connsiteX1211" fmla="*/ 1586654 w 1940457"/>
                <a:gd name="connsiteY1211" fmla="*/ 1017075 h 1270908"/>
                <a:gd name="connsiteX1212" fmla="*/ 1584582 w 1940457"/>
                <a:gd name="connsiteY1212" fmla="*/ 1022009 h 1270908"/>
                <a:gd name="connsiteX1213" fmla="*/ 1586654 w 1940457"/>
                <a:gd name="connsiteY1213" fmla="*/ 1028473 h 1270908"/>
                <a:gd name="connsiteX1214" fmla="*/ 1597065 w 1940457"/>
                <a:gd name="connsiteY1214" fmla="*/ 1038341 h 1270908"/>
                <a:gd name="connsiteX1215" fmla="*/ 1601259 w 1940457"/>
                <a:gd name="connsiteY1215" fmla="*/ 1039969 h 1270908"/>
                <a:gd name="connsiteX1216" fmla="*/ 1601259 w 1940457"/>
                <a:gd name="connsiteY1216" fmla="*/ 1043176 h 1270908"/>
                <a:gd name="connsiteX1217" fmla="*/ 1605404 w 1940457"/>
                <a:gd name="connsiteY1217" fmla="*/ 1041548 h 1270908"/>
                <a:gd name="connsiteX1218" fmla="*/ 1609598 w 1940457"/>
                <a:gd name="connsiteY1218" fmla="*/ 1044804 h 1270908"/>
                <a:gd name="connsiteX1219" fmla="*/ 1613742 w 1940457"/>
                <a:gd name="connsiteY1219" fmla="*/ 1043176 h 1270908"/>
                <a:gd name="connsiteX1220" fmla="*/ 1611670 w 1940457"/>
                <a:gd name="connsiteY1220" fmla="*/ 1041548 h 1270908"/>
                <a:gd name="connsiteX1221" fmla="*/ 1613742 w 1940457"/>
                <a:gd name="connsiteY1221" fmla="*/ 1038341 h 1270908"/>
                <a:gd name="connsiteX1222" fmla="*/ 1615815 w 1940457"/>
                <a:gd name="connsiteY1222" fmla="*/ 1041548 h 1270908"/>
                <a:gd name="connsiteX1223" fmla="*/ 1620009 w 1940457"/>
                <a:gd name="connsiteY1223" fmla="*/ 1041548 h 1270908"/>
                <a:gd name="connsiteX1224" fmla="*/ 1624153 w 1940457"/>
                <a:gd name="connsiteY1224" fmla="*/ 1036614 h 1270908"/>
                <a:gd name="connsiteX1225" fmla="*/ 1620009 w 1940457"/>
                <a:gd name="connsiteY1225" fmla="*/ 1028522 h 1270908"/>
                <a:gd name="connsiteX1226" fmla="*/ 1615815 w 1940457"/>
                <a:gd name="connsiteY1226" fmla="*/ 1028522 h 1270908"/>
                <a:gd name="connsiteX1227" fmla="*/ 1613742 w 1940457"/>
                <a:gd name="connsiteY1227" fmla="*/ 1030150 h 1270908"/>
                <a:gd name="connsiteX1228" fmla="*/ 1609598 w 1940457"/>
                <a:gd name="connsiteY1228" fmla="*/ 1026894 h 1270908"/>
                <a:gd name="connsiteX1229" fmla="*/ 1615815 w 1940457"/>
                <a:gd name="connsiteY1229" fmla="*/ 1021960 h 1270908"/>
                <a:gd name="connsiteX1230" fmla="*/ 1615815 w 1940457"/>
                <a:gd name="connsiteY1230" fmla="*/ 1018753 h 1270908"/>
                <a:gd name="connsiteX1231" fmla="*/ 1613742 w 1940457"/>
                <a:gd name="connsiteY1231" fmla="*/ 1013819 h 1270908"/>
                <a:gd name="connsiteX1232" fmla="*/ 1607476 w 1940457"/>
                <a:gd name="connsiteY1232" fmla="*/ 1012190 h 1270908"/>
                <a:gd name="connsiteX1233" fmla="*/ 1607476 w 1940457"/>
                <a:gd name="connsiteY1233" fmla="*/ 1008983 h 1270908"/>
                <a:gd name="connsiteX1234" fmla="*/ 1609598 w 1940457"/>
                <a:gd name="connsiteY1234" fmla="*/ 1005776 h 1270908"/>
                <a:gd name="connsiteX1235" fmla="*/ 1611670 w 1940457"/>
                <a:gd name="connsiteY1235" fmla="*/ 999312 h 1270908"/>
                <a:gd name="connsiteX1236" fmla="*/ 1615815 w 1940457"/>
                <a:gd name="connsiteY1236" fmla="*/ 999312 h 1270908"/>
                <a:gd name="connsiteX1237" fmla="*/ 1615815 w 1940457"/>
                <a:gd name="connsiteY1237" fmla="*/ 1005776 h 1270908"/>
                <a:gd name="connsiteX1238" fmla="*/ 1617887 w 1940457"/>
                <a:gd name="connsiteY1238" fmla="*/ 1008983 h 1270908"/>
                <a:gd name="connsiteX1239" fmla="*/ 1622081 w 1940457"/>
                <a:gd name="connsiteY1239" fmla="*/ 1004049 h 1270908"/>
                <a:gd name="connsiteX1240" fmla="*/ 1624153 w 1940457"/>
                <a:gd name="connsiteY1240" fmla="*/ 1007306 h 1270908"/>
                <a:gd name="connsiteX1241" fmla="*/ 1626225 w 1940457"/>
                <a:gd name="connsiteY1241" fmla="*/ 1012240 h 1270908"/>
                <a:gd name="connsiteX1242" fmla="*/ 1624153 w 1940457"/>
                <a:gd name="connsiteY1242" fmla="*/ 1017174 h 1270908"/>
                <a:gd name="connsiteX1243" fmla="*/ 1626225 w 1940457"/>
                <a:gd name="connsiteY1243" fmla="*/ 1022108 h 1270908"/>
                <a:gd name="connsiteX1244" fmla="*/ 1630419 w 1940457"/>
                <a:gd name="connsiteY1244" fmla="*/ 1023736 h 1270908"/>
                <a:gd name="connsiteX1245" fmla="*/ 1636636 w 1940457"/>
                <a:gd name="connsiteY1245" fmla="*/ 1018802 h 1270908"/>
                <a:gd name="connsiteX1246" fmla="*/ 1638709 w 1940457"/>
                <a:gd name="connsiteY1246" fmla="*/ 1017174 h 1270908"/>
                <a:gd name="connsiteX1247" fmla="*/ 1636636 w 1940457"/>
                <a:gd name="connsiteY1247" fmla="*/ 1022108 h 1270908"/>
                <a:gd name="connsiteX1248" fmla="*/ 1632492 w 1940457"/>
                <a:gd name="connsiteY1248" fmla="*/ 1027042 h 1270908"/>
                <a:gd name="connsiteX1249" fmla="*/ 1632492 w 1940457"/>
                <a:gd name="connsiteY1249" fmla="*/ 1031976 h 1270908"/>
                <a:gd name="connsiteX1250" fmla="*/ 1634564 w 1940457"/>
                <a:gd name="connsiteY1250" fmla="*/ 1036910 h 1270908"/>
                <a:gd name="connsiteX1251" fmla="*/ 1632492 w 1940457"/>
                <a:gd name="connsiteY1251" fmla="*/ 1043324 h 1270908"/>
                <a:gd name="connsiteX1252" fmla="*/ 1634564 w 1940457"/>
                <a:gd name="connsiteY1252" fmla="*/ 1046531 h 1270908"/>
                <a:gd name="connsiteX1253" fmla="*/ 1640830 w 1940457"/>
                <a:gd name="connsiteY1253" fmla="*/ 1048159 h 1270908"/>
                <a:gd name="connsiteX1254" fmla="*/ 1642902 w 1940457"/>
                <a:gd name="connsiteY1254" fmla="*/ 1046531 h 1270908"/>
                <a:gd name="connsiteX1255" fmla="*/ 1644975 w 1940457"/>
                <a:gd name="connsiteY1255" fmla="*/ 1041597 h 1270908"/>
                <a:gd name="connsiteX1256" fmla="*/ 1647047 w 1940457"/>
                <a:gd name="connsiteY1256" fmla="*/ 1044854 h 1270908"/>
                <a:gd name="connsiteX1257" fmla="*/ 1644975 w 1940457"/>
                <a:gd name="connsiteY1257" fmla="*/ 1048061 h 1270908"/>
                <a:gd name="connsiteX1258" fmla="*/ 1647047 w 1940457"/>
                <a:gd name="connsiteY1258" fmla="*/ 1054524 h 1270908"/>
                <a:gd name="connsiteX1259" fmla="*/ 1651241 w 1940457"/>
                <a:gd name="connsiteY1259" fmla="*/ 1057731 h 1270908"/>
                <a:gd name="connsiteX1260" fmla="*/ 1657458 w 1940457"/>
                <a:gd name="connsiteY1260" fmla="*/ 1047863 h 1270908"/>
                <a:gd name="connsiteX1261" fmla="*/ 1659530 w 1940457"/>
                <a:gd name="connsiteY1261" fmla="*/ 1039821 h 1270908"/>
                <a:gd name="connsiteX1262" fmla="*/ 1661652 w 1940457"/>
                <a:gd name="connsiteY1262" fmla="*/ 1034887 h 1270908"/>
                <a:gd name="connsiteX1263" fmla="*/ 1661652 w 1940457"/>
                <a:gd name="connsiteY1263" fmla="*/ 1020381 h 1270908"/>
                <a:gd name="connsiteX1264" fmla="*/ 1667622 w 1940457"/>
                <a:gd name="connsiteY1264" fmla="*/ 1006023 h 1270908"/>
                <a:gd name="connsiteX1265" fmla="*/ 1667622 w 1940457"/>
                <a:gd name="connsiteY1265" fmla="*/ 993096 h 1270908"/>
                <a:gd name="connsiteX1266" fmla="*/ 1665550 w 1940457"/>
                <a:gd name="connsiteY1266" fmla="*/ 983474 h 1270908"/>
                <a:gd name="connsiteX1267" fmla="*/ 1663477 w 1940457"/>
                <a:gd name="connsiteY1267" fmla="*/ 980218 h 1270908"/>
                <a:gd name="connsiteX1268" fmla="*/ 1663477 w 1940457"/>
                <a:gd name="connsiteY1268" fmla="*/ 978590 h 1270908"/>
                <a:gd name="connsiteX1269" fmla="*/ 1665550 w 1940457"/>
                <a:gd name="connsiteY1269" fmla="*/ 980218 h 1270908"/>
                <a:gd name="connsiteX1270" fmla="*/ 1669694 w 1940457"/>
                <a:gd name="connsiteY1270" fmla="*/ 986681 h 1270908"/>
                <a:gd name="connsiteX1271" fmla="*/ 1673888 w 1940457"/>
                <a:gd name="connsiteY1271" fmla="*/ 988310 h 1270908"/>
                <a:gd name="connsiteX1272" fmla="*/ 1678033 w 1940457"/>
                <a:gd name="connsiteY1272" fmla="*/ 980218 h 1270908"/>
                <a:gd name="connsiteX1273" fmla="*/ 1684299 w 1940457"/>
                <a:gd name="connsiteY1273" fmla="*/ 977011 h 1270908"/>
                <a:gd name="connsiteX1274" fmla="*/ 1680105 w 1940457"/>
                <a:gd name="connsiteY1274" fmla="*/ 985053 h 1270908"/>
                <a:gd name="connsiteX1275" fmla="*/ 1675961 w 1940457"/>
                <a:gd name="connsiteY1275" fmla="*/ 994921 h 1270908"/>
                <a:gd name="connsiteX1276" fmla="*/ 1678033 w 1940457"/>
                <a:gd name="connsiteY1276" fmla="*/ 1004789 h 1270908"/>
                <a:gd name="connsiteX1277" fmla="*/ 1671816 w 1940457"/>
                <a:gd name="connsiteY1277" fmla="*/ 1016039 h 1270908"/>
                <a:gd name="connsiteX1278" fmla="*/ 1671816 w 1940457"/>
                <a:gd name="connsiteY1278" fmla="*/ 1022503 h 1270908"/>
                <a:gd name="connsiteX1279" fmla="*/ 1673888 w 1940457"/>
                <a:gd name="connsiteY1279" fmla="*/ 1027437 h 1270908"/>
                <a:gd name="connsiteX1280" fmla="*/ 1669694 w 1940457"/>
                <a:gd name="connsiteY1280" fmla="*/ 1030644 h 1270908"/>
                <a:gd name="connsiteX1281" fmla="*/ 1667622 w 1940457"/>
                <a:gd name="connsiteY1281" fmla="*/ 1040512 h 1270908"/>
                <a:gd name="connsiteX1282" fmla="*/ 1669694 w 1940457"/>
                <a:gd name="connsiteY1282" fmla="*/ 1045446 h 1270908"/>
                <a:gd name="connsiteX1283" fmla="*/ 1671816 w 1940457"/>
                <a:gd name="connsiteY1283" fmla="*/ 1051909 h 1270908"/>
                <a:gd name="connsiteX1284" fmla="*/ 1678033 w 1940457"/>
                <a:gd name="connsiteY1284" fmla="*/ 1056843 h 1270908"/>
                <a:gd name="connsiteX1285" fmla="*/ 1678033 w 1940457"/>
                <a:gd name="connsiteY1285" fmla="*/ 1063307 h 1270908"/>
                <a:gd name="connsiteX1286" fmla="*/ 1682424 w 1940457"/>
                <a:gd name="connsiteY1286" fmla="*/ 1063307 h 1270908"/>
                <a:gd name="connsiteX1287" fmla="*/ 1682424 w 1940457"/>
                <a:gd name="connsiteY1287" fmla="*/ 1069178 h 1270908"/>
                <a:gd name="connsiteX1288" fmla="*/ 1688641 w 1940457"/>
                <a:gd name="connsiteY1288" fmla="*/ 1074112 h 1270908"/>
                <a:gd name="connsiteX1289" fmla="*/ 1692835 w 1940457"/>
                <a:gd name="connsiteY1289" fmla="*/ 1070905 h 1270908"/>
                <a:gd name="connsiteX1290" fmla="*/ 1694907 w 1940457"/>
                <a:gd name="connsiteY1290" fmla="*/ 1074112 h 1270908"/>
                <a:gd name="connsiteX1291" fmla="*/ 1701124 w 1940457"/>
                <a:gd name="connsiteY1291" fmla="*/ 1070905 h 1270908"/>
                <a:gd name="connsiteX1292" fmla="*/ 1711535 w 1940457"/>
                <a:gd name="connsiteY1292" fmla="*/ 1070905 h 1270908"/>
                <a:gd name="connsiteX1293" fmla="*/ 1709463 w 1940457"/>
                <a:gd name="connsiteY1293" fmla="*/ 1072534 h 1270908"/>
                <a:gd name="connsiteX1294" fmla="*/ 1701124 w 1940457"/>
                <a:gd name="connsiteY1294" fmla="*/ 1077468 h 1270908"/>
                <a:gd name="connsiteX1295" fmla="*/ 1696980 w 1940457"/>
                <a:gd name="connsiteY1295" fmla="*/ 1079047 h 1270908"/>
                <a:gd name="connsiteX1296" fmla="*/ 1696980 w 1940457"/>
                <a:gd name="connsiteY1296" fmla="*/ 1082303 h 1270908"/>
                <a:gd name="connsiteX1297" fmla="*/ 1701124 w 1940457"/>
                <a:gd name="connsiteY1297" fmla="*/ 1085510 h 1270908"/>
                <a:gd name="connsiteX1298" fmla="*/ 1699052 w 1940457"/>
                <a:gd name="connsiteY1298" fmla="*/ 1087138 h 1270908"/>
                <a:gd name="connsiteX1299" fmla="*/ 1692835 w 1940457"/>
                <a:gd name="connsiteY1299" fmla="*/ 1087138 h 1270908"/>
                <a:gd name="connsiteX1300" fmla="*/ 1692835 w 1940457"/>
                <a:gd name="connsiteY1300" fmla="*/ 1092072 h 1270908"/>
                <a:gd name="connsiteX1301" fmla="*/ 1699052 w 1940457"/>
                <a:gd name="connsiteY1301" fmla="*/ 1098487 h 1270908"/>
                <a:gd name="connsiteX1302" fmla="*/ 1699052 w 1940457"/>
                <a:gd name="connsiteY1302" fmla="*/ 1104950 h 1270908"/>
                <a:gd name="connsiteX1303" fmla="*/ 1694907 w 1940457"/>
                <a:gd name="connsiteY1303" fmla="*/ 1104950 h 1270908"/>
                <a:gd name="connsiteX1304" fmla="*/ 1690713 w 1940457"/>
                <a:gd name="connsiteY1304" fmla="*/ 1101743 h 1270908"/>
                <a:gd name="connsiteX1305" fmla="*/ 1688641 w 1940457"/>
                <a:gd name="connsiteY1305" fmla="*/ 1096809 h 1270908"/>
                <a:gd name="connsiteX1306" fmla="*/ 1686569 w 1940457"/>
                <a:gd name="connsiteY1306" fmla="*/ 1098388 h 1270908"/>
                <a:gd name="connsiteX1307" fmla="*/ 1688641 w 1940457"/>
                <a:gd name="connsiteY1307" fmla="*/ 1103322 h 1270908"/>
                <a:gd name="connsiteX1308" fmla="*/ 1684496 w 1940457"/>
                <a:gd name="connsiteY1308" fmla="*/ 1108256 h 1270908"/>
                <a:gd name="connsiteX1309" fmla="*/ 1684496 w 1940457"/>
                <a:gd name="connsiteY1309" fmla="*/ 1114670 h 1270908"/>
                <a:gd name="connsiteX1310" fmla="*/ 1686569 w 1940457"/>
                <a:gd name="connsiteY1310" fmla="*/ 1116298 h 1270908"/>
                <a:gd name="connsiteX1311" fmla="*/ 1684496 w 1940457"/>
                <a:gd name="connsiteY1311" fmla="*/ 1119506 h 1270908"/>
                <a:gd name="connsiteX1312" fmla="*/ 1678230 w 1940457"/>
                <a:gd name="connsiteY1312" fmla="*/ 1119506 h 1270908"/>
                <a:gd name="connsiteX1313" fmla="*/ 1676158 w 1940457"/>
                <a:gd name="connsiteY1313" fmla="*/ 1124440 h 1270908"/>
                <a:gd name="connsiteX1314" fmla="*/ 1676158 w 1940457"/>
                <a:gd name="connsiteY1314" fmla="*/ 1127647 h 1270908"/>
                <a:gd name="connsiteX1315" fmla="*/ 1684496 w 1940457"/>
                <a:gd name="connsiteY1315" fmla="*/ 1127647 h 1270908"/>
                <a:gd name="connsiteX1316" fmla="*/ 1686569 w 1940457"/>
                <a:gd name="connsiteY1316" fmla="*/ 1132581 h 1270908"/>
                <a:gd name="connsiteX1317" fmla="*/ 1692835 w 1940457"/>
                <a:gd name="connsiteY1317" fmla="*/ 1137515 h 1270908"/>
                <a:gd name="connsiteX1318" fmla="*/ 1696980 w 1940457"/>
                <a:gd name="connsiteY1318" fmla="*/ 1135887 h 1270908"/>
                <a:gd name="connsiteX1319" fmla="*/ 1699052 w 1940457"/>
                <a:gd name="connsiteY1319" fmla="*/ 1139094 h 1270908"/>
                <a:gd name="connsiteX1320" fmla="*/ 1699052 w 1940457"/>
                <a:gd name="connsiteY1320" fmla="*/ 1140722 h 1270908"/>
                <a:gd name="connsiteX1321" fmla="*/ 1694907 w 1940457"/>
                <a:gd name="connsiteY1321" fmla="*/ 1140722 h 1270908"/>
                <a:gd name="connsiteX1322" fmla="*/ 1690713 w 1940457"/>
                <a:gd name="connsiteY1322" fmla="*/ 1142350 h 1270908"/>
                <a:gd name="connsiteX1323" fmla="*/ 1692835 w 1940457"/>
                <a:gd name="connsiteY1323" fmla="*/ 1145557 h 1270908"/>
                <a:gd name="connsiteX1324" fmla="*/ 1699052 w 1940457"/>
                <a:gd name="connsiteY1324" fmla="*/ 1148814 h 1270908"/>
                <a:gd name="connsiteX1325" fmla="*/ 1701124 w 1940457"/>
                <a:gd name="connsiteY1325" fmla="*/ 1153748 h 1270908"/>
                <a:gd name="connsiteX1326" fmla="*/ 1707390 w 1940457"/>
                <a:gd name="connsiteY1326" fmla="*/ 1158682 h 1270908"/>
                <a:gd name="connsiteX1327" fmla="*/ 1709463 w 1940457"/>
                <a:gd name="connsiteY1327" fmla="*/ 1158682 h 1270908"/>
                <a:gd name="connsiteX1328" fmla="*/ 1705318 w 1940457"/>
                <a:gd name="connsiteY1328" fmla="*/ 1160261 h 1270908"/>
                <a:gd name="connsiteX1329" fmla="*/ 1701124 w 1940457"/>
                <a:gd name="connsiteY1329" fmla="*/ 1160261 h 1270908"/>
                <a:gd name="connsiteX1330" fmla="*/ 1696980 w 1940457"/>
                <a:gd name="connsiteY1330" fmla="*/ 1165195 h 1270908"/>
                <a:gd name="connsiteX1331" fmla="*/ 1696980 w 1940457"/>
                <a:gd name="connsiteY1331" fmla="*/ 1171609 h 1270908"/>
                <a:gd name="connsiteX1332" fmla="*/ 1703246 w 1940457"/>
                <a:gd name="connsiteY1332" fmla="*/ 1181477 h 1270908"/>
                <a:gd name="connsiteX1333" fmla="*/ 1709463 w 1940457"/>
                <a:gd name="connsiteY1333" fmla="*/ 1184684 h 1270908"/>
                <a:gd name="connsiteX1334" fmla="*/ 1721896 w 1940457"/>
                <a:gd name="connsiteY1334" fmla="*/ 1184684 h 1270908"/>
                <a:gd name="connsiteX1335" fmla="*/ 1713607 w 1940457"/>
                <a:gd name="connsiteY1335" fmla="*/ 1189618 h 1270908"/>
                <a:gd name="connsiteX1336" fmla="*/ 1705269 w 1940457"/>
                <a:gd name="connsiteY1336" fmla="*/ 1187990 h 1270908"/>
                <a:gd name="connsiteX1337" fmla="*/ 1701075 w 1940457"/>
                <a:gd name="connsiteY1337" fmla="*/ 1187990 h 1270908"/>
                <a:gd name="connsiteX1338" fmla="*/ 1696930 w 1940457"/>
                <a:gd name="connsiteY1338" fmla="*/ 1196082 h 1270908"/>
                <a:gd name="connsiteX1339" fmla="*/ 1686519 w 1940457"/>
                <a:gd name="connsiteY1339" fmla="*/ 1207331 h 1270908"/>
                <a:gd name="connsiteX1340" fmla="*/ 1678181 w 1940457"/>
                <a:gd name="connsiteY1340" fmla="*/ 1212265 h 1270908"/>
                <a:gd name="connsiteX1341" fmla="*/ 1678181 w 1940457"/>
                <a:gd name="connsiteY1341" fmla="*/ 1217200 h 1270908"/>
                <a:gd name="connsiteX1342" fmla="*/ 1680253 w 1940457"/>
                <a:gd name="connsiteY1342" fmla="*/ 1222134 h 1270908"/>
                <a:gd name="connsiteX1343" fmla="*/ 1688592 w 1940457"/>
                <a:gd name="connsiteY1343" fmla="*/ 1217200 h 1270908"/>
                <a:gd name="connsiteX1344" fmla="*/ 1692786 w 1940457"/>
                <a:gd name="connsiteY1344" fmla="*/ 1209157 h 1270908"/>
                <a:gd name="connsiteX1345" fmla="*/ 1692786 w 1940457"/>
                <a:gd name="connsiteY1345" fmla="*/ 1205950 h 1270908"/>
                <a:gd name="connsiteX1346" fmla="*/ 1699002 w 1940457"/>
                <a:gd name="connsiteY1346" fmla="*/ 1204322 h 1270908"/>
                <a:gd name="connsiteX1347" fmla="*/ 1707341 w 1940457"/>
                <a:gd name="connsiteY1347" fmla="*/ 1197907 h 1270908"/>
                <a:gd name="connsiteX1348" fmla="*/ 1709413 w 1940457"/>
                <a:gd name="connsiteY1348" fmla="*/ 1199486 h 1270908"/>
                <a:gd name="connsiteX1349" fmla="*/ 1724215 w 1940457"/>
                <a:gd name="connsiteY1349" fmla="*/ 1199486 h 1270908"/>
                <a:gd name="connsiteX1350" fmla="*/ 1717949 w 1940457"/>
                <a:gd name="connsiteY1350" fmla="*/ 1204420 h 1270908"/>
                <a:gd name="connsiteX1351" fmla="*/ 1717949 w 1940457"/>
                <a:gd name="connsiteY1351" fmla="*/ 1206049 h 1270908"/>
                <a:gd name="connsiteX1352" fmla="*/ 1726288 w 1940457"/>
                <a:gd name="connsiteY1352" fmla="*/ 1206049 h 1270908"/>
                <a:gd name="connsiteX1353" fmla="*/ 1726288 w 1940457"/>
                <a:gd name="connsiteY1353" fmla="*/ 1209256 h 1270908"/>
                <a:gd name="connsiteX1354" fmla="*/ 1720021 w 1940457"/>
                <a:gd name="connsiteY1354" fmla="*/ 1214190 h 1270908"/>
                <a:gd name="connsiteX1355" fmla="*/ 1720021 w 1940457"/>
                <a:gd name="connsiteY1355" fmla="*/ 1220653 h 1270908"/>
                <a:gd name="connsiteX1356" fmla="*/ 1722094 w 1940457"/>
                <a:gd name="connsiteY1356" fmla="*/ 1223860 h 1270908"/>
                <a:gd name="connsiteX1357" fmla="*/ 1715531 w 1940457"/>
                <a:gd name="connsiteY1357" fmla="*/ 1232002 h 1270908"/>
                <a:gd name="connsiteX1358" fmla="*/ 1713459 w 1940457"/>
                <a:gd name="connsiteY1358" fmla="*/ 1235209 h 1270908"/>
                <a:gd name="connsiteX1359" fmla="*/ 1715531 w 1940457"/>
                <a:gd name="connsiteY1359" fmla="*/ 1238416 h 1270908"/>
                <a:gd name="connsiteX1360" fmla="*/ 1717604 w 1940457"/>
                <a:gd name="connsiteY1360" fmla="*/ 1241672 h 1270908"/>
                <a:gd name="connsiteX1361" fmla="*/ 1705121 w 1940457"/>
                <a:gd name="connsiteY1361" fmla="*/ 1241672 h 1270908"/>
                <a:gd name="connsiteX1362" fmla="*/ 1700927 w 1940457"/>
                <a:gd name="connsiteY1362" fmla="*/ 1246606 h 1270908"/>
                <a:gd name="connsiteX1363" fmla="*/ 1700927 w 1940457"/>
                <a:gd name="connsiteY1363" fmla="*/ 1249813 h 1270908"/>
                <a:gd name="connsiteX1364" fmla="*/ 1705121 w 1940457"/>
                <a:gd name="connsiteY1364" fmla="*/ 1249813 h 1270908"/>
                <a:gd name="connsiteX1365" fmla="*/ 1709265 w 1940457"/>
                <a:gd name="connsiteY1365" fmla="*/ 1248185 h 1270908"/>
                <a:gd name="connsiteX1366" fmla="*/ 1715531 w 1940457"/>
                <a:gd name="connsiteY1366" fmla="*/ 1248185 h 1270908"/>
                <a:gd name="connsiteX1367" fmla="*/ 1717604 w 1940457"/>
                <a:gd name="connsiteY1367" fmla="*/ 1249813 h 1270908"/>
                <a:gd name="connsiteX1368" fmla="*/ 1711337 w 1940457"/>
                <a:gd name="connsiteY1368" fmla="*/ 1254747 h 1270908"/>
                <a:gd name="connsiteX1369" fmla="*/ 1703048 w 1940457"/>
                <a:gd name="connsiteY1369" fmla="*/ 1254747 h 1270908"/>
                <a:gd name="connsiteX1370" fmla="*/ 1698854 w 1940457"/>
                <a:gd name="connsiteY1370" fmla="*/ 1256376 h 1270908"/>
                <a:gd name="connsiteX1371" fmla="*/ 1696782 w 1940457"/>
                <a:gd name="connsiteY1371" fmla="*/ 1264418 h 1270908"/>
                <a:gd name="connsiteX1372" fmla="*/ 1700927 w 1940457"/>
                <a:gd name="connsiteY1372" fmla="*/ 1270882 h 1270908"/>
                <a:gd name="connsiteX1373" fmla="*/ 1705121 w 1940457"/>
                <a:gd name="connsiteY1373" fmla="*/ 1267675 h 1270908"/>
                <a:gd name="connsiteX1374" fmla="*/ 1707193 w 1940457"/>
                <a:gd name="connsiteY1374" fmla="*/ 1264418 h 1270908"/>
                <a:gd name="connsiteX1375" fmla="*/ 1711337 w 1940457"/>
                <a:gd name="connsiteY1375" fmla="*/ 1264418 h 1270908"/>
                <a:gd name="connsiteX1376" fmla="*/ 1717604 w 1940457"/>
                <a:gd name="connsiteY1376" fmla="*/ 1262839 h 1270908"/>
                <a:gd name="connsiteX1377" fmla="*/ 1725942 w 1940457"/>
                <a:gd name="connsiteY1377" fmla="*/ 1252971 h 1270908"/>
                <a:gd name="connsiteX1378" fmla="*/ 1734281 w 1940457"/>
                <a:gd name="connsiteY1378" fmla="*/ 1243103 h 1270908"/>
                <a:gd name="connsiteX1379" fmla="*/ 1736353 w 1940457"/>
                <a:gd name="connsiteY1379" fmla="*/ 1230176 h 1270908"/>
                <a:gd name="connsiteX1380" fmla="*/ 1744692 w 1940457"/>
                <a:gd name="connsiteY1380" fmla="*/ 1215670 h 1270908"/>
                <a:gd name="connsiteX1381" fmla="*/ 1746764 w 1940457"/>
                <a:gd name="connsiteY1381" fmla="*/ 1214042 h 1270908"/>
                <a:gd name="connsiteX1382" fmla="*/ 1640583 w 1940457"/>
                <a:gd name="connsiteY1382" fmla="*/ 1247840 h 1270908"/>
                <a:gd name="connsiteX1383" fmla="*/ 1638462 w 1940457"/>
                <a:gd name="connsiteY1383" fmla="*/ 1246261 h 1270908"/>
                <a:gd name="connsiteX1384" fmla="*/ 1640583 w 1940457"/>
                <a:gd name="connsiteY1384" fmla="*/ 1241327 h 1270908"/>
                <a:gd name="connsiteX1385" fmla="*/ 1642656 w 1940457"/>
                <a:gd name="connsiteY1385" fmla="*/ 1244534 h 1270908"/>
                <a:gd name="connsiteX1386" fmla="*/ 1680056 w 1940457"/>
                <a:gd name="connsiteY1386" fmla="*/ 1259188 h 1270908"/>
                <a:gd name="connsiteX1387" fmla="*/ 1686322 w 1940457"/>
                <a:gd name="connsiteY1387" fmla="*/ 1255932 h 1270908"/>
                <a:gd name="connsiteX1388" fmla="*/ 1692588 w 1940457"/>
                <a:gd name="connsiteY1388" fmla="*/ 1259188 h 1270908"/>
                <a:gd name="connsiteX1389" fmla="*/ 1686322 w 1940457"/>
                <a:gd name="connsiteY1389" fmla="*/ 1264122 h 1270908"/>
                <a:gd name="connsiteX1390" fmla="*/ 1684250 w 1940457"/>
                <a:gd name="connsiteY1390" fmla="*/ 1243054 h 1270908"/>
                <a:gd name="connsiteX1391" fmla="*/ 1688394 w 1940457"/>
                <a:gd name="connsiteY1391" fmla="*/ 1239797 h 1270908"/>
                <a:gd name="connsiteX1392" fmla="*/ 1692588 w 1940457"/>
                <a:gd name="connsiteY1392" fmla="*/ 1247840 h 1270908"/>
                <a:gd name="connsiteX1393" fmla="*/ 1686322 w 1940457"/>
                <a:gd name="connsiteY1393" fmla="*/ 1252774 h 1270908"/>
                <a:gd name="connsiteX1394" fmla="*/ 1680056 w 1940457"/>
                <a:gd name="connsiteY1394" fmla="*/ 1249517 h 1270908"/>
                <a:gd name="connsiteX1395" fmla="*/ 1684250 w 1940457"/>
                <a:gd name="connsiteY1395" fmla="*/ 1246310 h 1270908"/>
                <a:gd name="connsiteX1396" fmla="*/ 1682424 w 1940457"/>
                <a:gd name="connsiteY1396" fmla="*/ 1228548 h 1270908"/>
                <a:gd name="connsiteX1397" fmla="*/ 1686569 w 1940457"/>
                <a:gd name="connsiteY1397" fmla="*/ 1234962 h 1270908"/>
                <a:gd name="connsiteX1398" fmla="*/ 1680302 w 1940457"/>
                <a:gd name="connsiteY1398" fmla="*/ 1239896 h 1270908"/>
                <a:gd name="connsiteX1399" fmla="*/ 1682424 w 1940457"/>
                <a:gd name="connsiteY1399" fmla="*/ 1234962 h 1270908"/>
                <a:gd name="connsiteX1400" fmla="*/ 1678230 w 1940457"/>
                <a:gd name="connsiteY1400" fmla="*/ 1231755 h 1270908"/>
                <a:gd name="connsiteX1401" fmla="*/ 1688641 w 1940457"/>
                <a:gd name="connsiteY1401" fmla="*/ 1228548 h 1270908"/>
                <a:gd name="connsiteX1402" fmla="*/ 1694907 w 1940457"/>
                <a:gd name="connsiteY1402" fmla="*/ 1222084 h 1270908"/>
                <a:gd name="connsiteX1403" fmla="*/ 1694907 w 1940457"/>
                <a:gd name="connsiteY1403" fmla="*/ 1220456 h 1270908"/>
                <a:gd name="connsiteX1404" fmla="*/ 1696980 w 1940457"/>
                <a:gd name="connsiteY1404" fmla="*/ 1210588 h 1270908"/>
                <a:gd name="connsiteX1405" fmla="*/ 1705318 w 1940457"/>
                <a:gd name="connsiteY1405" fmla="*/ 1208960 h 1270908"/>
                <a:gd name="connsiteX1406" fmla="*/ 1705318 w 1940457"/>
                <a:gd name="connsiteY1406" fmla="*/ 1205753 h 1270908"/>
                <a:gd name="connsiteX1407" fmla="*/ 1713656 w 1940457"/>
                <a:gd name="connsiteY1407" fmla="*/ 1205753 h 1270908"/>
                <a:gd name="connsiteX1408" fmla="*/ 1715729 w 1940457"/>
                <a:gd name="connsiteY1408" fmla="*/ 1212216 h 1270908"/>
                <a:gd name="connsiteX1409" fmla="*/ 1713656 w 1940457"/>
                <a:gd name="connsiteY1409" fmla="*/ 1218680 h 1270908"/>
                <a:gd name="connsiteX1410" fmla="*/ 1715729 w 1940457"/>
                <a:gd name="connsiteY1410" fmla="*/ 1223614 h 1270908"/>
                <a:gd name="connsiteX1411" fmla="*/ 1707094 w 1940457"/>
                <a:gd name="connsiteY1411" fmla="*/ 1234962 h 1270908"/>
                <a:gd name="connsiteX1412" fmla="*/ 1694611 w 1940457"/>
                <a:gd name="connsiteY1412" fmla="*/ 1243054 h 1270908"/>
                <a:gd name="connsiteX1413" fmla="*/ 1692539 w 1940457"/>
                <a:gd name="connsiteY1413" fmla="*/ 1239797 h 1270908"/>
                <a:gd name="connsiteX1414" fmla="*/ 1696684 w 1940457"/>
                <a:gd name="connsiteY1414" fmla="*/ 1233334 h 1270908"/>
                <a:gd name="connsiteX1415" fmla="*/ 1705022 w 1940457"/>
                <a:gd name="connsiteY1415" fmla="*/ 1228400 h 1270908"/>
                <a:gd name="connsiteX1416" fmla="*/ 1705022 w 1940457"/>
                <a:gd name="connsiteY1416" fmla="*/ 1225143 h 1270908"/>
                <a:gd name="connsiteX1417" fmla="*/ 1690220 w 1940457"/>
                <a:gd name="connsiteY1417" fmla="*/ 1231607 h 1270908"/>
                <a:gd name="connsiteX1418" fmla="*/ 1624104 w 1940457"/>
                <a:gd name="connsiteY1418" fmla="*/ 1247840 h 1270908"/>
                <a:gd name="connsiteX1419" fmla="*/ 1628248 w 1940457"/>
                <a:gd name="connsiteY1419" fmla="*/ 1246261 h 1270908"/>
                <a:gd name="connsiteX1420" fmla="*/ 1632442 w 1940457"/>
                <a:gd name="connsiteY1420" fmla="*/ 1249468 h 1270908"/>
                <a:gd name="connsiteX1421" fmla="*/ 1632442 w 1940457"/>
                <a:gd name="connsiteY1421" fmla="*/ 1252725 h 1270908"/>
                <a:gd name="connsiteX1422" fmla="*/ 1636587 w 1940457"/>
                <a:gd name="connsiteY1422" fmla="*/ 1259188 h 1270908"/>
                <a:gd name="connsiteX1423" fmla="*/ 1630370 w 1940457"/>
                <a:gd name="connsiteY1423" fmla="*/ 1267231 h 1270908"/>
                <a:gd name="connsiteX1424" fmla="*/ 1628248 w 1940457"/>
                <a:gd name="connsiteY1424" fmla="*/ 1263974 h 1270908"/>
                <a:gd name="connsiteX1425" fmla="*/ 1628248 w 1940457"/>
                <a:gd name="connsiteY1425" fmla="*/ 1259040 h 1270908"/>
                <a:gd name="connsiteX1426" fmla="*/ 1624104 w 1940457"/>
                <a:gd name="connsiteY1426" fmla="*/ 1250948 h 1270908"/>
                <a:gd name="connsiteX1427" fmla="*/ 1626176 w 1940457"/>
                <a:gd name="connsiteY1427" fmla="*/ 1237972 h 1270908"/>
                <a:gd name="connsiteX1428" fmla="*/ 1632442 w 1940457"/>
                <a:gd name="connsiteY1428" fmla="*/ 1237972 h 1270908"/>
                <a:gd name="connsiteX1429" fmla="*/ 1634515 w 1940457"/>
                <a:gd name="connsiteY1429" fmla="*/ 1242906 h 1270908"/>
                <a:gd name="connsiteX1430" fmla="*/ 1628248 w 1940457"/>
                <a:gd name="connsiteY1430" fmla="*/ 1244485 h 1270908"/>
                <a:gd name="connsiteX1431" fmla="*/ 1622032 w 1940457"/>
                <a:gd name="connsiteY1431" fmla="*/ 1231558 h 1270908"/>
                <a:gd name="connsiteX1432" fmla="*/ 1628248 w 1940457"/>
                <a:gd name="connsiteY1432" fmla="*/ 1226624 h 1270908"/>
                <a:gd name="connsiteX1433" fmla="*/ 1628248 w 1940457"/>
                <a:gd name="connsiteY1433" fmla="*/ 1234666 h 1270908"/>
                <a:gd name="connsiteX1434" fmla="*/ 1617838 w 1940457"/>
                <a:gd name="connsiteY1434" fmla="*/ 1221689 h 1270908"/>
                <a:gd name="connsiteX1435" fmla="*/ 1624104 w 1940457"/>
                <a:gd name="connsiteY1435" fmla="*/ 1224897 h 1270908"/>
                <a:gd name="connsiteX1436" fmla="*/ 1617838 w 1940457"/>
                <a:gd name="connsiteY1436" fmla="*/ 1229831 h 1270908"/>
                <a:gd name="connsiteX1437" fmla="*/ 1613693 w 1940457"/>
                <a:gd name="connsiteY1437" fmla="*/ 1194306 h 1270908"/>
                <a:gd name="connsiteX1438" fmla="*/ 1613693 w 1940457"/>
                <a:gd name="connsiteY1438" fmla="*/ 1189371 h 1270908"/>
                <a:gd name="connsiteX1439" fmla="*/ 1617838 w 1940457"/>
                <a:gd name="connsiteY1439" fmla="*/ 1191000 h 1270908"/>
                <a:gd name="connsiteX1440" fmla="*/ 1632442 w 1940457"/>
                <a:gd name="connsiteY1440" fmla="*/ 1200720 h 1270908"/>
                <a:gd name="connsiteX1441" fmla="*/ 1636587 w 1940457"/>
                <a:gd name="connsiteY1441" fmla="*/ 1199092 h 1270908"/>
                <a:gd name="connsiteX1442" fmla="*/ 1638659 w 1940457"/>
                <a:gd name="connsiteY1442" fmla="*/ 1202348 h 1270908"/>
                <a:gd name="connsiteX1443" fmla="*/ 1636587 w 1940457"/>
                <a:gd name="connsiteY1443" fmla="*/ 1205555 h 1270908"/>
                <a:gd name="connsiteX1444" fmla="*/ 1634515 w 1940457"/>
                <a:gd name="connsiteY1444" fmla="*/ 1192628 h 1270908"/>
                <a:gd name="connsiteX1445" fmla="*/ 1640781 w 1940457"/>
                <a:gd name="connsiteY1445" fmla="*/ 1184586 h 1270908"/>
                <a:gd name="connsiteX1446" fmla="*/ 1646998 w 1940457"/>
                <a:gd name="connsiteY1446" fmla="*/ 1182957 h 1270908"/>
                <a:gd name="connsiteX1447" fmla="*/ 1651192 w 1940457"/>
                <a:gd name="connsiteY1447" fmla="*/ 1186214 h 1270908"/>
                <a:gd name="connsiteX1448" fmla="*/ 1646998 w 1940457"/>
                <a:gd name="connsiteY1448" fmla="*/ 1189421 h 1270908"/>
                <a:gd name="connsiteX1449" fmla="*/ 1642853 w 1940457"/>
                <a:gd name="connsiteY1449" fmla="*/ 1189421 h 1270908"/>
                <a:gd name="connsiteX1450" fmla="*/ 1638659 w 1940457"/>
                <a:gd name="connsiteY1450" fmla="*/ 1192628 h 1270908"/>
                <a:gd name="connsiteX1451" fmla="*/ 1651192 w 1940457"/>
                <a:gd name="connsiteY1451" fmla="*/ 1195884 h 1270908"/>
                <a:gd name="connsiteX1452" fmla="*/ 1653264 w 1940457"/>
                <a:gd name="connsiteY1452" fmla="*/ 1187842 h 1270908"/>
                <a:gd name="connsiteX1453" fmla="*/ 1653264 w 1940457"/>
                <a:gd name="connsiteY1453" fmla="*/ 1181378 h 1270908"/>
                <a:gd name="connsiteX1454" fmla="*/ 1646998 w 1940457"/>
                <a:gd name="connsiteY1454" fmla="*/ 1176444 h 1270908"/>
                <a:gd name="connsiteX1455" fmla="*/ 1651192 w 1940457"/>
                <a:gd name="connsiteY1455" fmla="*/ 1173188 h 1270908"/>
                <a:gd name="connsiteX1456" fmla="*/ 1657408 w 1940457"/>
                <a:gd name="connsiteY1456" fmla="*/ 1174816 h 1270908"/>
                <a:gd name="connsiteX1457" fmla="*/ 1661602 w 1940457"/>
                <a:gd name="connsiteY1457" fmla="*/ 1181280 h 1270908"/>
                <a:gd name="connsiteX1458" fmla="*/ 1657408 w 1940457"/>
                <a:gd name="connsiteY1458" fmla="*/ 1187743 h 1270908"/>
                <a:gd name="connsiteX1459" fmla="*/ 1655336 w 1940457"/>
                <a:gd name="connsiteY1459" fmla="*/ 1190950 h 1270908"/>
                <a:gd name="connsiteX1460" fmla="*/ 1659481 w 1940457"/>
                <a:gd name="connsiteY1460" fmla="*/ 1194207 h 1270908"/>
                <a:gd name="connsiteX1461" fmla="*/ 1661602 w 1940457"/>
                <a:gd name="connsiteY1461" fmla="*/ 1194207 h 1270908"/>
                <a:gd name="connsiteX1462" fmla="*/ 1669892 w 1940457"/>
                <a:gd name="connsiteY1462" fmla="*/ 1197414 h 1270908"/>
                <a:gd name="connsiteX1463" fmla="*/ 1669892 w 1940457"/>
                <a:gd name="connsiteY1463" fmla="*/ 1207282 h 1270908"/>
                <a:gd name="connsiteX1464" fmla="*/ 1665747 w 1940457"/>
                <a:gd name="connsiteY1464" fmla="*/ 1207282 h 1270908"/>
                <a:gd name="connsiteX1465" fmla="*/ 1672013 w 1940457"/>
                <a:gd name="connsiteY1465" fmla="*/ 1213746 h 1270908"/>
                <a:gd name="connsiteX1466" fmla="*/ 1672013 w 1940457"/>
                <a:gd name="connsiteY1466" fmla="*/ 1217200 h 1270908"/>
                <a:gd name="connsiteX1467" fmla="*/ 1665747 w 1940457"/>
                <a:gd name="connsiteY1467" fmla="*/ 1218877 h 1270908"/>
                <a:gd name="connsiteX1468" fmla="*/ 1663675 w 1940457"/>
                <a:gd name="connsiteY1468" fmla="*/ 1217200 h 1270908"/>
                <a:gd name="connsiteX1469" fmla="*/ 1661602 w 1940457"/>
                <a:gd name="connsiteY1469" fmla="*/ 1222134 h 1270908"/>
                <a:gd name="connsiteX1470" fmla="*/ 1669892 w 1940457"/>
                <a:gd name="connsiteY1470" fmla="*/ 1227068 h 1270908"/>
                <a:gd name="connsiteX1471" fmla="*/ 1672013 w 1940457"/>
                <a:gd name="connsiteY1471" fmla="*/ 1233482 h 1270908"/>
                <a:gd name="connsiteX1472" fmla="*/ 1665747 w 1940457"/>
                <a:gd name="connsiteY1472" fmla="*/ 1236738 h 1270908"/>
                <a:gd name="connsiteX1473" fmla="*/ 1665747 w 1940457"/>
                <a:gd name="connsiteY1473" fmla="*/ 1238317 h 1270908"/>
                <a:gd name="connsiteX1474" fmla="*/ 1669892 w 1940457"/>
                <a:gd name="connsiteY1474" fmla="*/ 1238317 h 1270908"/>
                <a:gd name="connsiteX1475" fmla="*/ 1672013 w 1940457"/>
                <a:gd name="connsiteY1475" fmla="*/ 1239945 h 1270908"/>
                <a:gd name="connsiteX1476" fmla="*/ 1672013 w 1940457"/>
                <a:gd name="connsiteY1476" fmla="*/ 1243202 h 1270908"/>
                <a:gd name="connsiteX1477" fmla="*/ 1665747 w 1940457"/>
                <a:gd name="connsiteY1477" fmla="*/ 1248136 h 1270908"/>
                <a:gd name="connsiteX1478" fmla="*/ 1661602 w 1940457"/>
                <a:gd name="connsiteY1478" fmla="*/ 1248136 h 1270908"/>
                <a:gd name="connsiteX1479" fmla="*/ 1659481 w 1940457"/>
                <a:gd name="connsiteY1479" fmla="*/ 1253070 h 1270908"/>
                <a:gd name="connsiteX1480" fmla="*/ 1661602 w 1940457"/>
                <a:gd name="connsiteY1480" fmla="*/ 1253070 h 1270908"/>
                <a:gd name="connsiteX1481" fmla="*/ 1665747 w 1940457"/>
                <a:gd name="connsiteY1481" fmla="*/ 1256277 h 1270908"/>
                <a:gd name="connsiteX1482" fmla="*/ 1661602 w 1940457"/>
                <a:gd name="connsiteY1482" fmla="*/ 1259533 h 1270908"/>
                <a:gd name="connsiteX1483" fmla="*/ 1663675 w 1940457"/>
                <a:gd name="connsiteY1483" fmla="*/ 1264467 h 1270908"/>
                <a:gd name="connsiteX1484" fmla="*/ 1661602 w 1940457"/>
                <a:gd name="connsiteY1484" fmla="*/ 1267724 h 1270908"/>
                <a:gd name="connsiteX1485" fmla="*/ 1655336 w 1940457"/>
                <a:gd name="connsiteY1485" fmla="*/ 1267724 h 1270908"/>
                <a:gd name="connsiteX1486" fmla="*/ 1651192 w 1940457"/>
                <a:gd name="connsiteY1486" fmla="*/ 1264467 h 1270908"/>
                <a:gd name="connsiteX1487" fmla="*/ 1653264 w 1940457"/>
                <a:gd name="connsiteY1487" fmla="*/ 1259533 h 1270908"/>
                <a:gd name="connsiteX1488" fmla="*/ 1646998 w 1940457"/>
                <a:gd name="connsiteY1488" fmla="*/ 1254599 h 1270908"/>
                <a:gd name="connsiteX1489" fmla="*/ 1646998 w 1940457"/>
                <a:gd name="connsiteY1489" fmla="*/ 1249665 h 1270908"/>
                <a:gd name="connsiteX1490" fmla="*/ 1653264 w 1940457"/>
                <a:gd name="connsiteY1490" fmla="*/ 1246458 h 1270908"/>
                <a:gd name="connsiteX1491" fmla="*/ 1649070 w 1940457"/>
                <a:gd name="connsiteY1491" fmla="*/ 1243251 h 1270908"/>
                <a:gd name="connsiteX1492" fmla="*/ 1649070 w 1940457"/>
                <a:gd name="connsiteY1492" fmla="*/ 1239995 h 1270908"/>
                <a:gd name="connsiteX1493" fmla="*/ 1655336 w 1940457"/>
                <a:gd name="connsiteY1493" fmla="*/ 1236788 h 1270908"/>
                <a:gd name="connsiteX1494" fmla="*/ 1651192 w 1940457"/>
                <a:gd name="connsiteY1494" fmla="*/ 1233531 h 1270908"/>
                <a:gd name="connsiteX1495" fmla="*/ 1646998 w 1940457"/>
                <a:gd name="connsiteY1495" fmla="*/ 1235159 h 1270908"/>
                <a:gd name="connsiteX1496" fmla="*/ 1644925 w 1940457"/>
                <a:gd name="connsiteY1496" fmla="*/ 1238367 h 1270908"/>
                <a:gd name="connsiteX1497" fmla="*/ 1642853 w 1940457"/>
                <a:gd name="connsiteY1497" fmla="*/ 1235159 h 1270908"/>
                <a:gd name="connsiteX1498" fmla="*/ 1636587 w 1940457"/>
                <a:gd name="connsiteY1498" fmla="*/ 1235159 h 1270908"/>
                <a:gd name="connsiteX1499" fmla="*/ 1634515 w 1940457"/>
                <a:gd name="connsiteY1499" fmla="*/ 1231952 h 1270908"/>
                <a:gd name="connsiteX1500" fmla="*/ 1638659 w 1940457"/>
                <a:gd name="connsiteY1500" fmla="*/ 1228745 h 1270908"/>
                <a:gd name="connsiteX1501" fmla="*/ 1640781 w 1940457"/>
                <a:gd name="connsiteY1501" fmla="*/ 1228745 h 1270908"/>
                <a:gd name="connsiteX1502" fmla="*/ 1642853 w 1940457"/>
                <a:gd name="connsiteY1502" fmla="*/ 1223811 h 1270908"/>
                <a:gd name="connsiteX1503" fmla="*/ 1642853 w 1940457"/>
                <a:gd name="connsiteY1503" fmla="*/ 1220604 h 1270908"/>
                <a:gd name="connsiteX1504" fmla="*/ 1651192 w 1940457"/>
                <a:gd name="connsiteY1504" fmla="*/ 1217348 h 1270908"/>
                <a:gd name="connsiteX1505" fmla="*/ 1651192 w 1940457"/>
                <a:gd name="connsiteY1505" fmla="*/ 1214140 h 1270908"/>
                <a:gd name="connsiteX1506" fmla="*/ 1646998 w 1940457"/>
                <a:gd name="connsiteY1506" fmla="*/ 1212561 h 1270908"/>
                <a:gd name="connsiteX1507" fmla="*/ 1642853 w 1940457"/>
                <a:gd name="connsiteY1507" fmla="*/ 1214140 h 1270908"/>
                <a:gd name="connsiteX1508" fmla="*/ 1640781 w 1940457"/>
                <a:gd name="connsiteY1508" fmla="*/ 1210933 h 1270908"/>
                <a:gd name="connsiteX1509" fmla="*/ 1642853 w 1940457"/>
                <a:gd name="connsiteY1509" fmla="*/ 1209305 h 1270908"/>
                <a:gd name="connsiteX1510" fmla="*/ 1649070 w 1940457"/>
                <a:gd name="connsiteY1510" fmla="*/ 1207677 h 1270908"/>
                <a:gd name="connsiteX1511" fmla="*/ 1651192 w 1940457"/>
                <a:gd name="connsiteY1511" fmla="*/ 1201263 h 1270908"/>
                <a:gd name="connsiteX1512" fmla="*/ 1694907 w 1940457"/>
                <a:gd name="connsiteY1512" fmla="*/ 1190950 h 1270908"/>
                <a:gd name="connsiteX1513" fmla="*/ 1690713 w 1940457"/>
                <a:gd name="connsiteY1513" fmla="*/ 1186016 h 1270908"/>
                <a:gd name="connsiteX1514" fmla="*/ 1692835 w 1940457"/>
                <a:gd name="connsiteY1514" fmla="*/ 1182760 h 1270908"/>
                <a:gd name="connsiteX1515" fmla="*/ 1696980 w 1940457"/>
                <a:gd name="connsiteY1515" fmla="*/ 1177826 h 1270908"/>
                <a:gd name="connsiteX1516" fmla="*/ 1699052 w 1940457"/>
                <a:gd name="connsiteY1516" fmla="*/ 1179405 h 1270908"/>
                <a:gd name="connsiteX1517" fmla="*/ 1699052 w 1940457"/>
                <a:gd name="connsiteY1517" fmla="*/ 1185868 h 1270908"/>
                <a:gd name="connsiteX1518" fmla="*/ 1680105 w 1940457"/>
                <a:gd name="connsiteY1518" fmla="*/ 1197414 h 1270908"/>
                <a:gd name="connsiteX1519" fmla="*/ 1684299 w 1940457"/>
                <a:gd name="connsiteY1519" fmla="*/ 1189322 h 1270908"/>
                <a:gd name="connsiteX1520" fmla="*/ 1688444 w 1940457"/>
                <a:gd name="connsiteY1520" fmla="*/ 1189322 h 1270908"/>
                <a:gd name="connsiteX1521" fmla="*/ 1688444 w 1940457"/>
                <a:gd name="connsiteY1521" fmla="*/ 1195786 h 1270908"/>
                <a:gd name="connsiteX1522" fmla="*/ 1684299 w 1940457"/>
                <a:gd name="connsiteY1522" fmla="*/ 1198993 h 1270908"/>
                <a:gd name="connsiteX1523" fmla="*/ 1673888 w 1940457"/>
                <a:gd name="connsiteY1523" fmla="*/ 1190950 h 1270908"/>
                <a:gd name="connsiteX1524" fmla="*/ 1675961 w 1940457"/>
                <a:gd name="connsiteY1524" fmla="*/ 1186016 h 1270908"/>
                <a:gd name="connsiteX1525" fmla="*/ 1686371 w 1940457"/>
                <a:gd name="connsiteY1525" fmla="*/ 1179553 h 1270908"/>
                <a:gd name="connsiteX1526" fmla="*/ 1686371 w 1940457"/>
                <a:gd name="connsiteY1526" fmla="*/ 1184487 h 1270908"/>
                <a:gd name="connsiteX1527" fmla="*/ 1684299 w 1940457"/>
                <a:gd name="connsiteY1527" fmla="*/ 1186115 h 1270908"/>
                <a:gd name="connsiteX1528" fmla="*/ 1680105 w 1940457"/>
                <a:gd name="connsiteY1528" fmla="*/ 1192529 h 1270908"/>
                <a:gd name="connsiteX1529" fmla="*/ 1667622 w 1940457"/>
                <a:gd name="connsiteY1529" fmla="*/ 1176938 h 1270908"/>
                <a:gd name="connsiteX1530" fmla="*/ 1673888 w 1940457"/>
                <a:gd name="connsiteY1530" fmla="*/ 1170474 h 1270908"/>
                <a:gd name="connsiteX1531" fmla="*/ 1684299 w 1940457"/>
                <a:gd name="connsiteY1531" fmla="*/ 1172102 h 1270908"/>
                <a:gd name="connsiteX1532" fmla="*/ 1684299 w 1940457"/>
                <a:gd name="connsiteY1532" fmla="*/ 1175310 h 1270908"/>
                <a:gd name="connsiteX1533" fmla="*/ 1675961 w 1940457"/>
                <a:gd name="connsiteY1533" fmla="*/ 1183352 h 1270908"/>
                <a:gd name="connsiteX1534" fmla="*/ 1671816 w 1940457"/>
                <a:gd name="connsiteY1534" fmla="*/ 1181773 h 1270908"/>
                <a:gd name="connsiteX1535" fmla="*/ 1678033 w 1940457"/>
                <a:gd name="connsiteY1535" fmla="*/ 1160804 h 1270908"/>
                <a:gd name="connsiteX1536" fmla="*/ 1684299 w 1940457"/>
                <a:gd name="connsiteY1536" fmla="*/ 1152712 h 1270908"/>
                <a:gd name="connsiteX1537" fmla="*/ 1688444 w 1940457"/>
                <a:gd name="connsiteY1537" fmla="*/ 1149505 h 1270908"/>
                <a:gd name="connsiteX1538" fmla="*/ 1692638 w 1940457"/>
                <a:gd name="connsiteY1538" fmla="*/ 1160804 h 1270908"/>
                <a:gd name="connsiteX1539" fmla="*/ 1688444 w 1940457"/>
                <a:gd name="connsiteY1539" fmla="*/ 1165738 h 1270908"/>
                <a:gd name="connsiteX1540" fmla="*/ 1680105 w 1940457"/>
                <a:gd name="connsiteY1540" fmla="*/ 1167366 h 1270908"/>
                <a:gd name="connsiteX1541" fmla="*/ 1678033 w 1940457"/>
                <a:gd name="connsiteY1541" fmla="*/ 1165738 h 1270908"/>
                <a:gd name="connsiteX1542" fmla="*/ 1653067 w 1940457"/>
                <a:gd name="connsiteY1542" fmla="*/ 1168846 h 1270908"/>
                <a:gd name="connsiteX1543" fmla="*/ 1653067 w 1940457"/>
                <a:gd name="connsiteY1543" fmla="*/ 1162382 h 1270908"/>
                <a:gd name="connsiteX1544" fmla="*/ 1657211 w 1940457"/>
                <a:gd name="connsiteY1544" fmla="*/ 1147926 h 1270908"/>
                <a:gd name="connsiteX1545" fmla="*/ 1661405 w 1940457"/>
                <a:gd name="connsiteY1545" fmla="*/ 1142992 h 1270908"/>
                <a:gd name="connsiteX1546" fmla="*/ 1655139 w 1940457"/>
                <a:gd name="connsiteY1546" fmla="*/ 1141413 h 1270908"/>
                <a:gd name="connsiteX1547" fmla="*/ 1657211 w 1940457"/>
                <a:gd name="connsiteY1547" fmla="*/ 1136479 h 1270908"/>
                <a:gd name="connsiteX1548" fmla="*/ 1653067 w 1940457"/>
                <a:gd name="connsiteY1548" fmla="*/ 1133272 h 1270908"/>
                <a:gd name="connsiteX1549" fmla="*/ 1655139 w 1940457"/>
                <a:gd name="connsiteY1549" fmla="*/ 1128337 h 1270908"/>
                <a:gd name="connsiteX1550" fmla="*/ 1663477 w 1940457"/>
                <a:gd name="connsiteY1550" fmla="*/ 1128337 h 1270908"/>
                <a:gd name="connsiteX1551" fmla="*/ 1671816 w 1940457"/>
                <a:gd name="connsiteY1551" fmla="*/ 1134801 h 1270908"/>
                <a:gd name="connsiteX1552" fmla="*/ 1678033 w 1940457"/>
                <a:gd name="connsiteY1552" fmla="*/ 1134801 h 1270908"/>
                <a:gd name="connsiteX1553" fmla="*/ 1682227 w 1940457"/>
                <a:gd name="connsiteY1553" fmla="*/ 1141265 h 1270908"/>
                <a:gd name="connsiteX1554" fmla="*/ 1682227 w 1940457"/>
                <a:gd name="connsiteY1554" fmla="*/ 1148123 h 1270908"/>
                <a:gd name="connsiteX1555" fmla="*/ 1678033 w 1940457"/>
                <a:gd name="connsiteY1555" fmla="*/ 1156166 h 1270908"/>
                <a:gd name="connsiteX1556" fmla="*/ 1673888 w 1940457"/>
                <a:gd name="connsiteY1556" fmla="*/ 1157794 h 1270908"/>
                <a:gd name="connsiteX1557" fmla="*/ 1671816 w 1940457"/>
                <a:gd name="connsiteY1557" fmla="*/ 1149702 h 1270908"/>
                <a:gd name="connsiteX1558" fmla="*/ 1669694 w 1940457"/>
                <a:gd name="connsiteY1558" fmla="*/ 1151330 h 1270908"/>
                <a:gd name="connsiteX1559" fmla="*/ 1669694 w 1940457"/>
                <a:gd name="connsiteY1559" fmla="*/ 1157794 h 1270908"/>
                <a:gd name="connsiteX1560" fmla="*/ 1665550 w 1940457"/>
                <a:gd name="connsiteY1560" fmla="*/ 1161001 h 1270908"/>
                <a:gd name="connsiteX1561" fmla="*/ 1669694 w 1940457"/>
                <a:gd name="connsiteY1561" fmla="*/ 1165935 h 1270908"/>
                <a:gd name="connsiteX1562" fmla="*/ 1665550 w 1940457"/>
                <a:gd name="connsiteY1562" fmla="*/ 1167563 h 1270908"/>
                <a:gd name="connsiteX1563" fmla="*/ 1661405 w 1940457"/>
                <a:gd name="connsiteY1563" fmla="*/ 1165935 h 1270908"/>
                <a:gd name="connsiteX1564" fmla="*/ 1657211 w 1940457"/>
                <a:gd name="connsiteY1564" fmla="*/ 1170869 h 1270908"/>
                <a:gd name="connsiteX1565" fmla="*/ 1634317 w 1940457"/>
                <a:gd name="connsiteY1565" fmla="*/ 1160804 h 1270908"/>
                <a:gd name="connsiteX1566" fmla="*/ 1630173 w 1940457"/>
                <a:gd name="connsiteY1566" fmla="*/ 1157596 h 1270908"/>
                <a:gd name="connsiteX1567" fmla="*/ 1634317 w 1940457"/>
                <a:gd name="connsiteY1567" fmla="*/ 1151133 h 1270908"/>
                <a:gd name="connsiteX1568" fmla="*/ 1630173 w 1940457"/>
                <a:gd name="connsiteY1568" fmla="*/ 1147926 h 1270908"/>
                <a:gd name="connsiteX1569" fmla="*/ 1632245 w 1940457"/>
                <a:gd name="connsiteY1569" fmla="*/ 1141462 h 1270908"/>
                <a:gd name="connsiteX1570" fmla="*/ 1634317 w 1940457"/>
                <a:gd name="connsiteY1570" fmla="*/ 1138206 h 1270908"/>
                <a:gd name="connsiteX1571" fmla="*/ 1640583 w 1940457"/>
                <a:gd name="connsiteY1571" fmla="*/ 1139834 h 1270908"/>
                <a:gd name="connsiteX1572" fmla="*/ 1640583 w 1940457"/>
                <a:gd name="connsiteY1572" fmla="*/ 1133321 h 1270908"/>
                <a:gd name="connsiteX1573" fmla="*/ 1644728 w 1940457"/>
                <a:gd name="connsiteY1573" fmla="*/ 1133321 h 1270908"/>
                <a:gd name="connsiteX1574" fmla="*/ 1650994 w 1940457"/>
                <a:gd name="connsiteY1574" fmla="*/ 1141363 h 1270908"/>
                <a:gd name="connsiteX1575" fmla="*/ 1646800 w 1940457"/>
                <a:gd name="connsiteY1575" fmla="*/ 1146297 h 1270908"/>
                <a:gd name="connsiteX1576" fmla="*/ 1648873 w 1940457"/>
                <a:gd name="connsiteY1576" fmla="*/ 1149505 h 1270908"/>
                <a:gd name="connsiteX1577" fmla="*/ 1650994 w 1940457"/>
                <a:gd name="connsiteY1577" fmla="*/ 1146297 h 1270908"/>
                <a:gd name="connsiteX1578" fmla="*/ 1655139 w 1940457"/>
                <a:gd name="connsiteY1578" fmla="*/ 1149505 h 1270908"/>
                <a:gd name="connsiteX1579" fmla="*/ 1648873 w 1940457"/>
                <a:gd name="connsiteY1579" fmla="*/ 1162382 h 1270908"/>
                <a:gd name="connsiteX1580" fmla="*/ 1638462 w 1940457"/>
                <a:gd name="connsiteY1580" fmla="*/ 1172251 h 1270908"/>
                <a:gd name="connsiteX1581" fmla="*/ 1638462 w 1940457"/>
                <a:gd name="connsiteY1581" fmla="*/ 1177185 h 1270908"/>
                <a:gd name="connsiteX1582" fmla="*/ 1634317 w 1940457"/>
                <a:gd name="connsiteY1582" fmla="*/ 1182119 h 1270908"/>
                <a:gd name="connsiteX1583" fmla="*/ 1628051 w 1940457"/>
                <a:gd name="connsiteY1583" fmla="*/ 1183697 h 1270908"/>
                <a:gd name="connsiteX1584" fmla="*/ 1630173 w 1940457"/>
                <a:gd name="connsiteY1584" fmla="*/ 1177283 h 1270908"/>
                <a:gd name="connsiteX1585" fmla="*/ 1628051 w 1940457"/>
                <a:gd name="connsiteY1585" fmla="*/ 1174027 h 1270908"/>
                <a:gd name="connsiteX1586" fmla="*/ 1623907 w 1940457"/>
                <a:gd name="connsiteY1586" fmla="*/ 1185326 h 1270908"/>
                <a:gd name="connsiteX1587" fmla="*/ 1621834 w 1940457"/>
                <a:gd name="connsiteY1587" fmla="*/ 1182119 h 1270908"/>
                <a:gd name="connsiteX1588" fmla="*/ 1621834 w 1940457"/>
                <a:gd name="connsiteY1588" fmla="*/ 1177185 h 1270908"/>
                <a:gd name="connsiteX1589" fmla="*/ 1623907 w 1940457"/>
                <a:gd name="connsiteY1589" fmla="*/ 1172251 h 1270908"/>
                <a:gd name="connsiteX1590" fmla="*/ 1623907 w 1940457"/>
                <a:gd name="connsiteY1590" fmla="*/ 1168994 h 1270908"/>
                <a:gd name="connsiteX1591" fmla="*/ 1628051 w 1940457"/>
                <a:gd name="connsiteY1591" fmla="*/ 1165787 h 1270908"/>
                <a:gd name="connsiteX1592" fmla="*/ 1632245 w 1940457"/>
                <a:gd name="connsiteY1592" fmla="*/ 1167415 h 1270908"/>
                <a:gd name="connsiteX1593" fmla="*/ 1634317 w 1940457"/>
                <a:gd name="connsiteY1593" fmla="*/ 1164208 h 1270908"/>
                <a:gd name="connsiteX1594" fmla="*/ 1630173 w 1940457"/>
                <a:gd name="connsiteY1594" fmla="*/ 1107615 h 1270908"/>
                <a:gd name="connsiteX1595" fmla="*/ 1636390 w 1940457"/>
                <a:gd name="connsiteY1595" fmla="*/ 1107615 h 1270908"/>
                <a:gd name="connsiteX1596" fmla="*/ 1634317 w 1940457"/>
                <a:gd name="connsiteY1596" fmla="*/ 1110822 h 1270908"/>
                <a:gd name="connsiteX1597" fmla="*/ 1613496 w 1940457"/>
                <a:gd name="connsiteY1597" fmla="*/ 1109193 h 1270908"/>
                <a:gd name="connsiteX1598" fmla="*/ 1619762 w 1940457"/>
                <a:gd name="connsiteY1598" fmla="*/ 1105986 h 1270908"/>
                <a:gd name="connsiteX1599" fmla="*/ 1621834 w 1940457"/>
                <a:gd name="connsiteY1599" fmla="*/ 1102779 h 1270908"/>
                <a:gd name="connsiteX1600" fmla="*/ 1625979 w 1940457"/>
                <a:gd name="connsiteY1600" fmla="*/ 1104358 h 1270908"/>
                <a:gd name="connsiteX1601" fmla="*/ 1630173 w 1940457"/>
                <a:gd name="connsiteY1601" fmla="*/ 1112450 h 1270908"/>
                <a:gd name="connsiteX1602" fmla="*/ 1630173 w 1940457"/>
                <a:gd name="connsiteY1602" fmla="*/ 1123749 h 1270908"/>
                <a:gd name="connsiteX1603" fmla="*/ 1628051 w 1940457"/>
                <a:gd name="connsiteY1603" fmla="*/ 1133617 h 1270908"/>
                <a:gd name="connsiteX1604" fmla="*/ 1625979 w 1940457"/>
                <a:gd name="connsiteY1604" fmla="*/ 1136824 h 1270908"/>
                <a:gd name="connsiteX1605" fmla="*/ 1623907 w 1940457"/>
                <a:gd name="connsiteY1605" fmla="*/ 1146692 h 1270908"/>
                <a:gd name="connsiteX1606" fmla="*/ 1619762 w 1940457"/>
                <a:gd name="connsiteY1606" fmla="*/ 1151626 h 1270908"/>
                <a:gd name="connsiteX1607" fmla="*/ 1615568 w 1940457"/>
                <a:gd name="connsiteY1607" fmla="*/ 1159669 h 1270908"/>
                <a:gd name="connsiteX1608" fmla="*/ 1615568 w 1940457"/>
                <a:gd name="connsiteY1608" fmla="*/ 1167761 h 1270908"/>
                <a:gd name="connsiteX1609" fmla="*/ 1613496 w 1940457"/>
                <a:gd name="connsiteY1609" fmla="*/ 1170968 h 1270908"/>
                <a:gd name="connsiteX1610" fmla="*/ 1609351 w 1940457"/>
                <a:gd name="connsiteY1610" fmla="*/ 1172596 h 1270908"/>
                <a:gd name="connsiteX1611" fmla="*/ 1609351 w 1940457"/>
                <a:gd name="connsiteY1611" fmla="*/ 1169339 h 1270908"/>
                <a:gd name="connsiteX1612" fmla="*/ 1611423 w 1940457"/>
                <a:gd name="connsiteY1612" fmla="*/ 1164405 h 1270908"/>
                <a:gd name="connsiteX1613" fmla="*/ 1607229 w 1940457"/>
                <a:gd name="connsiteY1613" fmla="*/ 1161149 h 1270908"/>
                <a:gd name="connsiteX1614" fmla="*/ 1605157 w 1940457"/>
                <a:gd name="connsiteY1614" fmla="*/ 1153057 h 1270908"/>
                <a:gd name="connsiteX1615" fmla="*/ 1607229 w 1940457"/>
                <a:gd name="connsiteY1615" fmla="*/ 1148123 h 1270908"/>
                <a:gd name="connsiteX1616" fmla="*/ 1613348 w 1940457"/>
                <a:gd name="connsiteY1616" fmla="*/ 1148123 h 1270908"/>
                <a:gd name="connsiteX1617" fmla="*/ 1615420 w 1940457"/>
                <a:gd name="connsiteY1617" fmla="*/ 1144867 h 1270908"/>
                <a:gd name="connsiteX1618" fmla="*/ 1615420 w 1940457"/>
                <a:gd name="connsiteY1618" fmla="*/ 1141659 h 1270908"/>
                <a:gd name="connsiteX1619" fmla="*/ 1611275 w 1940457"/>
                <a:gd name="connsiteY1619" fmla="*/ 1144867 h 1270908"/>
                <a:gd name="connsiteX1620" fmla="*/ 1607081 w 1940457"/>
                <a:gd name="connsiteY1620" fmla="*/ 1144867 h 1270908"/>
                <a:gd name="connsiteX1621" fmla="*/ 1607081 w 1940457"/>
                <a:gd name="connsiteY1621" fmla="*/ 1139933 h 1270908"/>
                <a:gd name="connsiteX1622" fmla="*/ 1611275 w 1940457"/>
                <a:gd name="connsiteY1622" fmla="*/ 1138304 h 1270908"/>
                <a:gd name="connsiteX1623" fmla="*/ 1611275 w 1940457"/>
                <a:gd name="connsiteY1623" fmla="*/ 1136725 h 1270908"/>
                <a:gd name="connsiteX1624" fmla="*/ 1605009 w 1940457"/>
                <a:gd name="connsiteY1624" fmla="*/ 1133518 h 1270908"/>
                <a:gd name="connsiteX1625" fmla="*/ 1605009 w 1940457"/>
                <a:gd name="connsiteY1625" fmla="*/ 1131890 h 1270908"/>
                <a:gd name="connsiteX1626" fmla="*/ 1611275 w 1940457"/>
                <a:gd name="connsiteY1626" fmla="*/ 1130262 h 1270908"/>
                <a:gd name="connsiteX1627" fmla="*/ 1615420 w 1940457"/>
                <a:gd name="connsiteY1627" fmla="*/ 1127055 h 1270908"/>
                <a:gd name="connsiteX1628" fmla="*/ 1615420 w 1940457"/>
                <a:gd name="connsiteY1628" fmla="*/ 1120492 h 1270908"/>
                <a:gd name="connsiteX1629" fmla="*/ 1619614 w 1940457"/>
                <a:gd name="connsiteY1629" fmla="*/ 1115558 h 1270908"/>
                <a:gd name="connsiteX1630" fmla="*/ 1613348 w 1940457"/>
                <a:gd name="connsiteY1630" fmla="*/ 1112351 h 1270908"/>
                <a:gd name="connsiteX1631" fmla="*/ 1601013 w 1940457"/>
                <a:gd name="connsiteY1631" fmla="*/ 1109193 h 1270908"/>
                <a:gd name="connsiteX1632" fmla="*/ 1605157 w 1940457"/>
                <a:gd name="connsiteY1632" fmla="*/ 1105986 h 1270908"/>
                <a:gd name="connsiteX1633" fmla="*/ 1607229 w 1940457"/>
                <a:gd name="connsiteY1633" fmla="*/ 1110920 h 1270908"/>
                <a:gd name="connsiteX1634" fmla="*/ 1605157 w 1940457"/>
                <a:gd name="connsiteY1634" fmla="*/ 1115854 h 1270908"/>
                <a:gd name="connsiteX1635" fmla="*/ 1605157 w 1940457"/>
                <a:gd name="connsiteY1635" fmla="*/ 1122269 h 1270908"/>
                <a:gd name="connsiteX1636" fmla="*/ 1598940 w 1940457"/>
                <a:gd name="connsiteY1636" fmla="*/ 1123946 h 1270908"/>
                <a:gd name="connsiteX1637" fmla="*/ 1596819 w 1940457"/>
                <a:gd name="connsiteY1637" fmla="*/ 1120690 h 1270908"/>
                <a:gd name="connsiteX1638" fmla="*/ 1601013 w 1940457"/>
                <a:gd name="connsiteY1638" fmla="*/ 1117483 h 1270908"/>
                <a:gd name="connsiteX1639" fmla="*/ 1598940 w 1940457"/>
                <a:gd name="connsiteY1639" fmla="*/ 1114226 h 1270908"/>
                <a:gd name="connsiteX1640" fmla="*/ 1634317 w 1940457"/>
                <a:gd name="connsiteY1640" fmla="*/ 1123749 h 1270908"/>
                <a:gd name="connsiteX1641" fmla="*/ 1638462 w 1940457"/>
                <a:gd name="connsiteY1641" fmla="*/ 1117285 h 1270908"/>
                <a:gd name="connsiteX1642" fmla="*/ 1638462 w 1940457"/>
                <a:gd name="connsiteY1642" fmla="*/ 1110822 h 1270908"/>
                <a:gd name="connsiteX1643" fmla="*/ 1642656 w 1940457"/>
                <a:gd name="connsiteY1643" fmla="*/ 1107615 h 1270908"/>
                <a:gd name="connsiteX1644" fmla="*/ 1650994 w 1940457"/>
                <a:gd name="connsiteY1644" fmla="*/ 1107615 h 1270908"/>
                <a:gd name="connsiteX1645" fmla="*/ 1648873 w 1940457"/>
                <a:gd name="connsiteY1645" fmla="*/ 1102681 h 1270908"/>
                <a:gd name="connsiteX1646" fmla="*/ 1653067 w 1940457"/>
                <a:gd name="connsiteY1646" fmla="*/ 1099474 h 1270908"/>
                <a:gd name="connsiteX1647" fmla="*/ 1646800 w 1940457"/>
                <a:gd name="connsiteY1647" fmla="*/ 1096217 h 1270908"/>
                <a:gd name="connsiteX1648" fmla="*/ 1646800 w 1940457"/>
                <a:gd name="connsiteY1648" fmla="*/ 1086349 h 1270908"/>
                <a:gd name="connsiteX1649" fmla="*/ 1655139 w 1940457"/>
                <a:gd name="connsiteY1649" fmla="*/ 1078257 h 1270908"/>
                <a:gd name="connsiteX1650" fmla="*/ 1657211 w 1940457"/>
                <a:gd name="connsiteY1650" fmla="*/ 1058965 h 1270908"/>
                <a:gd name="connsiteX1651" fmla="*/ 1661405 w 1940457"/>
                <a:gd name="connsiteY1651" fmla="*/ 1050873 h 1270908"/>
                <a:gd name="connsiteX1652" fmla="*/ 1663477 w 1940457"/>
                <a:gd name="connsiteY1652" fmla="*/ 1054080 h 1270908"/>
                <a:gd name="connsiteX1653" fmla="*/ 1663477 w 1940457"/>
                <a:gd name="connsiteY1653" fmla="*/ 1059014 h 1270908"/>
                <a:gd name="connsiteX1654" fmla="*/ 1671816 w 1940457"/>
                <a:gd name="connsiteY1654" fmla="*/ 1065429 h 1270908"/>
                <a:gd name="connsiteX1655" fmla="*/ 1678033 w 1940457"/>
                <a:gd name="connsiteY1655" fmla="*/ 1070363 h 1270908"/>
                <a:gd name="connsiteX1656" fmla="*/ 1678033 w 1940457"/>
                <a:gd name="connsiteY1656" fmla="*/ 1092961 h 1270908"/>
                <a:gd name="connsiteX1657" fmla="*/ 1673888 w 1940457"/>
                <a:gd name="connsiteY1657" fmla="*/ 1101003 h 1270908"/>
                <a:gd name="connsiteX1658" fmla="*/ 1671816 w 1940457"/>
                <a:gd name="connsiteY1658" fmla="*/ 1099424 h 1270908"/>
                <a:gd name="connsiteX1659" fmla="*/ 1673888 w 1940457"/>
                <a:gd name="connsiteY1659" fmla="*/ 1084622 h 1270908"/>
                <a:gd name="connsiteX1660" fmla="*/ 1669694 w 1940457"/>
                <a:gd name="connsiteY1660" fmla="*/ 1073323 h 1270908"/>
                <a:gd name="connsiteX1661" fmla="*/ 1667622 w 1940457"/>
                <a:gd name="connsiteY1661" fmla="*/ 1078257 h 1270908"/>
                <a:gd name="connsiteX1662" fmla="*/ 1667622 w 1940457"/>
                <a:gd name="connsiteY1662" fmla="*/ 1099276 h 1270908"/>
                <a:gd name="connsiteX1663" fmla="*/ 1665550 w 1940457"/>
                <a:gd name="connsiteY1663" fmla="*/ 1104210 h 1270908"/>
                <a:gd name="connsiteX1664" fmla="*/ 1665550 w 1940457"/>
                <a:gd name="connsiteY1664" fmla="*/ 1109144 h 1270908"/>
                <a:gd name="connsiteX1665" fmla="*/ 1661405 w 1940457"/>
                <a:gd name="connsiteY1665" fmla="*/ 1112401 h 1270908"/>
                <a:gd name="connsiteX1666" fmla="*/ 1655139 w 1940457"/>
                <a:gd name="connsiteY1666" fmla="*/ 1109144 h 1270908"/>
                <a:gd name="connsiteX1667" fmla="*/ 1655139 w 1940457"/>
                <a:gd name="connsiteY1667" fmla="*/ 1119012 h 1270908"/>
                <a:gd name="connsiteX1668" fmla="*/ 1644728 w 1940457"/>
                <a:gd name="connsiteY1668" fmla="*/ 1123946 h 1270908"/>
                <a:gd name="connsiteX1669" fmla="*/ 1638462 w 1940457"/>
                <a:gd name="connsiteY1669" fmla="*/ 1128880 h 1270908"/>
                <a:gd name="connsiteX1670" fmla="*/ 1615568 w 1940457"/>
                <a:gd name="connsiteY1670" fmla="*/ 1054376 h 1270908"/>
                <a:gd name="connsiteX1671" fmla="*/ 1625979 w 1940457"/>
                <a:gd name="connsiteY1671" fmla="*/ 1051169 h 1270908"/>
                <a:gd name="connsiteX1672" fmla="*/ 1634317 w 1940457"/>
                <a:gd name="connsiteY1672" fmla="*/ 1054376 h 1270908"/>
                <a:gd name="connsiteX1673" fmla="*/ 1634317 w 1940457"/>
                <a:gd name="connsiteY1673" fmla="*/ 1059310 h 1270908"/>
                <a:gd name="connsiteX1674" fmla="*/ 1630173 w 1940457"/>
                <a:gd name="connsiteY1674" fmla="*/ 1064244 h 1270908"/>
                <a:gd name="connsiteX1675" fmla="*/ 1632245 w 1940457"/>
                <a:gd name="connsiteY1675" fmla="*/ 1067501 h 1270908"/>
                <a:gd name="connsiteX1676" fmla="*/ 1634317 w 1940457"/>
                <a:gd name="connsiteY1676" fmla="*/ 1064244 h 1270908"/>
                <a:gd name="connsiteX1677" fmla="*/ 1640583 w 1940457"/>
                <a:gd name="connsiteY1677" fmla="*/ 1062666 h 1270908"/>
                <a:gd name="connsiteX1678" fmla="*/ 1648873 w 1940457"/>
                <a:gd name="connsiteY1678" fmla="*/ 1067600 h 1270908"/>
                <a:gd name="connsiteX1679" fmla="*/ 1648873 w 1940457"/>
                <a:gd name="connsiteY1679" fmla="*/ 1072534 h 1270908"/>
                <a:gd name="connsiteX1680" fmla="*/ 1642656 w 1940457"/>
                <a:gd name="connsiteY1680" fmla="*/ 1074112 h 1270908"/>
                <a:gd name="connsiteX1681" fmla="*/ 1644728 w 1940457"/>
                <a:gd name="connsiteY1681" fmla="*/ 1077369 h 1270908"/>
                <a:gd name="connsiteX1682" fmla="*/ 1640583 w 1940457"/>
                <a:gd name="connsiteY1682" fmla="*/ 1080576 h 1270908"/>
                <a:gd name="connsiteX1683" fmla="*/ 1634317 w 1940457"/>
                <a:gd name="connsiteY1683" fmla="*/ 1080576 h 1270908"/>
                <a:gd name="connsiteX1684" fmla="*/ 1630173 w 1940457"/>
                <a:gd name="connsiteY1684" fmla="*/ 1074112 h 1270908"/>
                <a:gd name="connsiteX1685" fmla="*/ 1621834 w 1940457"/>
                <a:gd name="connsiteY1685" fmla="*/ 1066070 h 1270908"/>
                <a:gd name="connsiteX1686" fmla="*/ 1621834 w 1940457"/>
                <a:gd name="connsiteY1686" fmla="*/ 1067698 h 1270908"/>
                <a:gd name="connsiteX1687" fmla="*/ 1630173 w 1940457"/>
                <a:gd name="connsiteY1687" fmla="*/ 1080576 h 1270908"/>
                <a:gd name="connsiteX1688" fmla="*/ 1630173 w 1940457"/>
                <a:gd name="connsiteY1688" fmla="*/ 1085510 h 1270908"/>
                <a:gd name="connsiteX1689" fmla="*/ 1638462 w 1940457"/>
                <a:gd name="connsiteY1689" fmla="*/ 1087138 h 1270908"/>
                <a:gd name="connsiteX1690" fmla="*/ 1640583 w 1940457"/>
                <a:gd name="connsiteY1690" fmla="*/ 1092072 h 1270908"/>
                <a:gd name="connsiteX1691" fmla="*/ 1638462 w 1940457"/>
                <a:gd name="connsiteY1691" fmla="*/ 1093701 h 1270908"/>
                <a:gd name="connsiteX1692" fmla="*/ 1636390 w 1940457"/>
                <a:gd name="connsiteY1692" fmla="*/ 1103569 h 1270908"/>
                <a:gd name="connsiteX1693" fmla="*/ 1632245 w 1940457"/>
                <a:gd name="connsiteY1693" fmla="*/ 1103569 h 1270908"/>
                <a:gd name="connsiteX1694" fmla="*/ 1625979 w 1940457"/>
                <a:gd name="connsiteY1694" fmla="*/ 1097105 h 1270908"/>
                <a:gd name="connsiteX1695" fmla="*/ 1625979 w 1940457"/>
                <a:gd name="connsiteY1695" fmla="*/ 1090642 h 1270908"/>
                <a:gd name="connsiteX1696" fmla="*/ 1617640 w 1940457"/>
                <a:gd name="connsiteY1696" fmla="*/ 1077764 h 1270908"/>
                <a:gd name="connsiteX1697" fmla="*/ 1615568 w 1940457"/>
                <a:gd name="connsiteY1697" fmla="*/ 1084227 h 1270908"/>
                <a:gd name="connsiteX1698" fmla="*/ 1619762 w 1940457"/>
                <a:gd name="connsiteY1698" fmla="*/ 1092270 h 1270908"/>
                <a:gd name="connsiteX1699" fmla="*/ 1619762 w 1940457"/>
                <a:gd name="connsiteY1699" fmla="*/ 1100362 h 1270908"/>
                <a:gd name="connsiteX1700" fmla="*/ 1615568 w 1940457"/>
                <a:gd name="connsiteY1700" fmla="*/ 1103569 h 1270908"/>
                <a:gd name="connsiteX1701" fmla="*/ 1609351 w 1940457"/>
                <a:gd name="connsiteY1701" fmla="*/ 1103569 h 1270908"/>
                <a:gd name="connsiteX1702" fmla="*/ 1603085 w 1940457"/>
                <a:gd name="connsiteY1702" fmla="*/ 1097105 h 1270908"/>
                <a:gd name="connsiteX1703" fmla="*/ 1607229 w 1940457"/>
                <a:gd name="connsiteY1703" fmla="*/ 1092171 h 1270908"/>
                <a:gd name="connsiteX1704" fmla="*/ 1603085 w 1940457"/>
                <a:gd name="connsiteY1704" fmla="*/ 1088915 h 1270908"/>
                <a:gd name="connsiteX1705" fmla="*/ 1605157 w 1940457"/>
                <a:gd name="connsiteY1705" fmla="*/ 1083981 h 1270908"/>
                <a:gd name="connsiteX1706" fmla="*/ 1598940 w 1940457"/>
                <a:gd name="connsiteY1706" fmla="*/ 1075889 h 1270908"/>
                <a:gd name="connsiteX1707" fmla="*/ 1603085 w 1940457"/>
                <a:gd name="connsiteY1707" fmla="*/ 1069474 h 1270908"/>
                <a:gd name="connsiteX1708" fmla="*/ 1607229 w 1940457"/>
                <a:gd name="connsiteY1708" fmla="*/ 1072682 h 1270908"/>
                <a:gd name="connsiteX1709" fmla="*/ 1609351 w 1940457"/>
                <a:gd name="connsiteY1709" fmla="*/ 1069474 h 1270908"/>
                <a:gd name="connsiteX1710" fmla="*/ 1605157 w 1940457"/>
                <a:gd name="connsiteY1710" fmla="*/ 1066218 h 1270908"/>
                <a:gd name="connsiteX1711" fmla="*/ 1605157 w 1940457"/>
                <a:gd name="connsiteY1711" fmla="*/ 1059310 h 1270908"/>
                <a:gd name="connsiteX1712" fmla="*/ 1609351 w 1940457"/>
                <a:gd name="connsiteY1712" fmla="*/ 1052847 h 1270908"/>
                <a:gd name="connsiteX1713" fmla="*/ 1611423 w 1940457"/>
                <a:gd name="connsiteY1713" fmla="*/ 1057781 h 1270908"/>
                <a:gd name="connsiteX1714" fmla="*/ 1615568 w 1940457"/>
                <a:gd name="connsiteY1714" fmla="*/ 1057781 h 1270908"/>
                <a:gd name="connsiteX1715" fmla="*/ 1617640 w 1940457"/>
                <a:gd name="connsiteY1715" fmla="*/ 1046334 h 1270908"/>
                <a:gd name="connsiteX1716" fmla="*/ 1623907 w 1940457"/>
                <a:gd name="connsiteY1716" fmla="*/ 1041400 h 1270908"/>
                <a:gd name="connsiteX1717" fmla="*/ 1628051 w 1940457"/>
                <a:gd name="connsiteY1717" fmla="*/ 1046334 h 1270908"/>
                <a:gd name="connsiteX1718" fmla="*/ 1621834 w 1940457"/>
                <a:gd name="connsiteY1718" fmla="*/ 1049541 h 1270908"/>
                <a:gd name="connsiteX1719" fmla="*/ 539060 w 1940457"/>
                <a:gd name="connsiteY1719" fmla="*/ 665821 h 1270908"/>
                <a:gd name="connsiteX1720" fmla="*/ 536988 w 1940457"/>
                <a:gd name="connsiteY1720" fmla="*/ 662614 h 1270908"/>
                <a:gd name="connsiteX1721" fmla="*/ 541182 w 1940457"/>
                <a:gd name="connsiteY1721" fmla="*/ 659407 h 1270908"/>
                <a:gd name="connsiteX1722" fmla="*/ 543254 w 1940457"/>
                <a:gd name="connsiteY1722" fmla="*/ 664341 h 1270908"/>
                <a:gd name="connsiteX1723" fmla="*/ 539060 w 1940457"/>
                <a:gd name="connsiteY1723" fmla="*/ 669078 h 1270908"/>
                <a:gd name="connsiteX1724" fmla="*/ 543254 w 1940457"/>
                <a:gd name="connsiteY1724" fmla="*/ 672285 h 1270908"/>
                <a:gd name="connsiteX1725" fmla="*/ 543254 w 1940457"/>
                <a:gd name="connsiteY1725" fmla="*/ 677219 h 1270908"/>
                <a:gd name="connsiteX1726" fmla="*/ 551593 w 1940457"/>
                <a:gd name="connsiteY1726" fmla="*/ 687087 h 1270908"/>
                <a:gd name="connsiteX1727" fmla="*/ 551593 w 1940457"/>
                <a:gd name="connsiteY1727" fmla="*/ 692021 h 1270908"/>
                <a:gd name="connsiteX1728" fmla="*/ 536790 w 1940457"/>
                <a:gd name="connsiteY1728" fmla="*/ 682153 h 1270908"/>
                <a:gd name="connsiteX1729" fmla="*/ 536790 w 1940457"/>
                <a:gd name="connsiteY1729" fmla="*/ 675689 h 1270908"/>
                <a:gd name="connsiteX1730" fmla="*/ 534718 w 1940457"/>
                <a:gd name="connsiteY1730" fmla="*/ 672482 h 1270908"/>
                <a:gd name="connsiteX1731" fmla="*/ 539060 w 1940457"/>
                <a:gd name="connsiteY1731" fmla="*/ 669078 h 1270908"/>
                <a:gd name="connsiteX1732" fmla="*/ 914047 w 1940457"/>
                <a:gd name="connsiteY1732" fmla="*/ 565858 h 1270908"/>
                <a:gd name="connsiteX1733" fmla="*/ 909853 w 1940457"/>
                <a:gd name="connsiteY1733" fmla="*/ 572321 h 1270908"/>
                <a:gd name="connsiteX1734" fmla="*/ 907781 w 1940457"/>
                <a:gd name="connsiteY1734" fmla="*/ 585199 h 1270908"/>
                <a:gd name="connsiteX1735" fmla="*/ 901514 w 1940457"/>
                <a:gd name="connsiteY1735" fmla="*/ 583620 h 1270908"/>
                <a:gd name="connsiteX1736" fmla="*/ 903636 w 1940457"/>
                <a:gd name="connsiteY1736" fmla="*/ 578686 h 1270908"/>
                <a:gd name="connsiteX1737" fmla="*/ 897370 w 1940457"/>
                <a:gd name="connsiteY1737" fmla="*/ 577058 h 1270908"/>
                <a:gd name="connsiteX1738" fmla="*/ 889031 w 1940457"/>
                <a:gd name="connsiteY1738" fmla="*/ 578686 h 1270908"/>
                <a:gd name="connsiteX1739" fmla="*/ 882814 w 1940457"/>
                <a:gd name="connsiteY1739" fmla="*/ 573752 h 1270908"/>
                <a:gd name="connsiteX1740" fmla="*/ 882814 w 1940457"/>
                <a:gd name="connsiteY1740" fmla="*/ 570841 h 1270908"/>
                <a:gd name="connsiteX1741" fmla="*/ 901514 w 1940457"/>
                <a:gd name="connsiteY1741" fmla="*/ 554756 h 1270908"/>
                <a:gd name="connsiteX1742" fmla="*/ 909853 w 1940457"/>
                <a:gd name="connsiteY1742" fmla="*/ 549822 h 1270908"/>
                <a:gd name="connsiteX1743" fmla="*/ 914047 w 1940457"/>
                <a:gd name="connsiteY1743" fmla="*/ 553029 h 1270908"/>
                <a:gd name="connsiteX1744" fmla="*/ 918191 w 1940457"/>
                <a:gd name="connsiteY1744" fmla="*/ 564279 h 1270908"/>
                <a:gd name="connsiteX1745" fmla="*/ 922336 w 1940457"/>
                <a:gd name="connsiteY1745" fmla="*/ 561022 h 1270908"/>
                <a:gd name="connsiteX1746" fmla="*/ 924458 w 1940457"/>
                <a:gd name="connsiteY1746" fmla="*/ 557815 h 1270908"/>
                <a:gd name="connsiteX1747" fmla="*/ 918191 w 1940457"/>
                <a:gd name="connsiteY1747" fmla="*/ 554608 h 1270908"/>
                <a:gd name="connsiteX1748" fmla="*/ 920264 w 1940457"/>
                <a:gd name="connsiteY1748" fmla="*/ 549674 h 1270908"/>
                <a:gd name="connsiteX1749" fmla="*/ 914047 w 1940457"/>
                <a:gd name="connsiteY1749" fmla="*/ 544740 h 1270908"/>
                <a:gd name="connsiteX1750" fmla="*/ 918191 w 1940457"/>
                <a:gd name="connsiteY1750" fmla="*/ 541483 h 1270908"/>
                <a:gd name="connsiteX1751" fmla="*/ 932451 w 1940457"/>
                <a:gd name="connsiteY1751" fmla="*/ 541483 h 1270908"/>
                <a:gd name="connsiteX1752" fmla="*/ 944983 w 1940457"/>
                <a:gd name="connsiteY1752" fmla="*/ 547947 h 1270908"/>
                <a:gd name="connsiteX1753" fmla="*/ 944983 w 1940457"/>
                <a:gd name="connsiteY1753" fmla="*/ 551154 h 1270908"/>
                <a:gd name="connsiteX1754" fmla="*/ 938717 w 1940457"/>
                <a:gd name="connsiteY1754" fmla="*/ 554411 h 1270908"/>
                <a:gd name="connsiteX1755" fmla="*/ 924310 w 1940457"/>
                <a:gd name="connsiteY1755" fmla="*/ 565907 h 1270908"/>
                <a:gd name="connsiteX1756" fmla="*/ 988995 w 1940457"/>
                <a:gd name="connsiteY1756" fmla="*/ 525547 h 1270908"/>
                <a:gd name="connsiteX1757" fmla="*/ 991067 w 1940457"/>
                <a:gd name="connsiteY1757" fmla="*/ 523968 h 1270908"/>
                <a:gd name="connsiteX1758" fmla="*/ 999406 w 1940457"/>
                <a:gd name="connsiteY1758" fmla="*/ 523968 h 1270908"/>
                <a:gd name="connsiteX1759" fmla="*/ 1003550 w 1940457"/>
                <a:gd name="connsiteY1759" fmla="*/ 527175 h 1270908"/>
                <a:gd name="connsiteX1760" fmla="*/ 1001478 w 1940457"/>
                <a:gd name="connsiteY1760" fmla="*/ 532109 h 1270908"/>
                <a:gd name="connsiteX1761" fmla="*/ 997333 w 1940457"/>
                <a:gd name="connsiteY1761" fmla="*/ 533737 h 1270908"/>
                <a:gd name="connsiteX1762" fmla="*/ 1355446 w 1940457"/>
                <a:gd name="connsiteY1762" fmla="*/ 823858 h 1270908"/>
                <a:gd name="connsiteX1763" fmla="*/ 1359639 w 1940457"/>
                <a:gd name="connsiteY1763" fmla="*/ 820602 h 1270908"/>
                <a:gd name="connsiteX1764" fmla="*/ 1365856 w 1940457"/>
                <a:gd name="connsiteY1764" fmla="*/ 822230 h 1270908"/>
                <a:gd name="connsiteX1765" fmla="*/ 1361712 w 1940457"/>
                <a:gd name="connsiteY1765" fmla="*/ 825437 h 1270908"/>
                <a:gd name="connsiteX1766" fmla="*/ 1322240 w 1940457"/>
                <a:gd name="connsiteY1766" fmla="*/ 915730 h 1270908"/>
                <a:gd name="connsiteX1767" fmla="*/ 1328456 w 1940457"/>
                <a:gd name="connsiteY1767" fmla="*/ 912523 h 1270908"/>
                <a:gd name="connsiteX1768" fmla="*/ 1332650 w 1940457"/>
                <a:gd name="connsiteY1768" fmla="*/ 915730 h 1270908"/>
                <a:gd name="connsiteX1769" fmla="*/ 1401184 w 1940457"/>
                <a:gd name="connsiteY1769" fmla="*/ 899645 h 1270908"/>
                <a:gd name="connsiteX1770" fmla="*/ 1409473 w 1940457"/>
                <a:gd name="connsiteY1770" fmla="*/ 896389 h 1270908"/>
                <a:gd name="connsiteX1771" fmla="*/ 1413667 w 1940457"/>
                <a:gd name="connsiteY1771" fmla="*/ 896389 h 1270908"/>
                <a:gd name="connsiteX1772" fmla="*/ 1407401 w 1940457"/>
                <a:gd name="connsiteY1772" fmla="*/ 902852 h 1270908"/>
                <a:gd name="connsiteX1773" fmla="*/ 1401184 w 1940457"/>
                <a:gd name="connsiteY1773" fmla="*/ 904431 h 1270908"/>
                <a:gd name="connsiteX1774" fmla="*/ 1342864 w 1940457"/>
                <a:gd name="connsiteY1774" fmla="*/ 836736 h 1270908"/>
                <a:gd name="connsiteX1775" fmla="*/ 1342864 w 1940457"/>
                <a:gd name="connsiteY1775" fmla="*/ 831802 h 1270908"/>
                <a:gd name="connsiteX1776" fmla="*/ 1349081 w 1940457"/>
                <a:gd name="connsiteY1776" fmla="*/ 833381 h 1270908"/>
                <a:gd name="connsiteX1777" fmla="*/ 1349081 w 1940457"/>
                <a:gd name="connsiteY1777" fmla="*/ 838315 h 1270908"/>
                <a:gd name="connsiteX1778" fmla="*/ 1351202 w 1940457"/>
                <a:gd name="connsiteY1778" fmla="*/ 860913 h 1270908"/>
                <a:gd name="connsiteX1779" fmla="*/ 1351202 w 1940457"/>
                <a:gd name="connsiteY1779" fmla="*/ 851045 h 1270908"/>
                <a:gd name="connsiteX1780" fmla="*/ 1357419 w 1940457"/>
                <a:gd name="connsiteY1780" fmla="*/ 849416 h 1270908"/>
                <a:gd name="connsiteX1781" fmla="*/ 1361613 w 1940457"/>
                <a:gd name="connsiteY1781" fmla="*/ 851045 h 1270908"/>
                <a:gd name="connsiteX1782" fmla="*/ 1361613 w 1940457"/>
                <a:gd name="connsiteY1782" fmla="*/ 855979 h 1270908"/>
                <a:gd name="connsiteX1783" fmla="*/ 1365758 w 1940457"/>
                <a:gd name="connsiteY1783" fmla="*/ 855979 h 1270908"/>
                <a:gd name="connsiteX1784" fmla="*/ 1367830 w 1940457"/>
                <a:gd name="connsiteY1784" fmla="*/ 860913 h 1270908"/>
                <a:gd name="connsiteX1785" fmla="*/ 1361613 w 1940457"/>
                <a:gd name="connsiteY1785" fmla="*/ 862541 h 1270908"/>
                <a:gd name="connsiteX1786" fmla="*/ 1294905 w 1940457"/>
                <a:gd name="connsiteY1786" fmla="*/ 886619 h 1270908"/>
                <a:gd name="connsiteX1787" fmla="*/ 1299099 w 1940457"/>
                <a:gd name="connsiteY1787" fmla="*/ 884991 h 1270908"/>
                <a:gd name="connsiteX1788" fmla="*/ 1301171 w 1940457"/>
                <a:gd name="connsiteY1788" fmla="*/ 883412 h 1270908"/>
                <a:gd name="connsiteX1789" fmla="*/ 1303243 w 1940457"/>
                <a:gd name="connsiteY1789" fmla="*/ 880156 h 1270908"/>
                <a:gd name="connsiteX1790" fmla="*/ 1315727 w 1940457"/>
                <a:gd name="connsiteY1790" fmla="*/ 870288 h 1270908"/>
                <a:gd name="connsiteX1791" fmla="*/ 1321993 w 1940457"/>
                <a:gd name="connsiteY1791" fmla="*/ 868709 h 1270908"/>
                <a:gd name="connsiteX1792" fmla="*/ 1330331 w 1940457"/>
                <a:gd name="connsiteY1792" fmla="*/ 862245 h 1270908"/>
                <a:gd name="connsiteX1793" fmla="*/ 1332404 w 1940457"/>
                <a:gd name="connsiteY1793" fmla="*/ 860617 h 1270908"/>
                <a:gd name="connsiteX1794" fmla="*/ 1340742 w 1940457"/>
                <a:gd name="connsiteY1794" fmla="*/ 854203 h 1270908"/>
                <a:gd name="connsiteX1795" fmla="*/ 1340742 w 1940457"/>
                <a:gd name="connsiteY1795" fmla="*/ 857410 h 1270908"/>
                <a:gd name="connsiteX1796" fmla="*/ 1338621 w 1940457"/>
                <a:gd name="connsiteY1796" fmla="*/ 860617 h 1270908"/>
                <a:gd name="connsiteX1797" fmla="*/ 1342815 w 1940457"/>
                <a:gd name="connsiteY1797" fmla="*/ 862245 h 1270908"/>
                <a:gd name="connsiteX1798" fmla="*/ 1338621 w 1940457"/>
                <a:gd name="connsiteY1798" fmla="*/ 865452 h 1270908"/>
                <a:gd name="connsiteX1799" fmla="*/ 1330331 w 1940457"/>
                <a:gd name="connsiteY1799" fmla="*/ 868709 h 1270908"/>
                <a:gd name="connsiteX1800" fmla="*/ 1319921 w 1940457"/>
                <a:gd name="connsiteY1800" fmla="*/ 878577 h 1270908"/>
                <a:gd name="connsiteX1801" fmla="*/ 1313654 w 1940457"/>
                <a:gd name="connsiteY1801" fmla="*/ 880156 h 1270908"/>
                <a:gd name="connsiteX1802" fmla="*/ 1315727 w 1940457"/>
                <a:gd name="connsiteY1802" fmla="*/ 885090 h 1270908"/>
                <a:gd name="connsiteX1803" fmla="*/ 1313654 w 1940457"/>
                <a:gd name="connsiteY1803" fmla="*/ 888346 h 1270908"/>
                <a:gd name="connsiteX1804" fmla="*/ 1305316 w 1940457"/>
                <a:gd name="connsiteY1804" fmla="*/ 886718 h 1270908"/>
                <a:gd name="connsiteX1805" fmla="*/ 1301171 w 1940457"/>
                <a:gd name="connsiteY1805" fmla="*/ 888346 h 1270908"/>
                <a:gd name="connsiteX1806" fmla="*/ 1294905 w 1940457"/>
                <a:gd name="connsiteY1806" fmla="*/ 888346 h 1270908"/>
                <a:gd name="connsiteX1807" fmla="*/ 1292635 w 1940457"/>
                <a:gd name="connsiteY1807" fmla="*/ 873791 h 1270908"/>
                <a:gd name="connsiteX1808" fmla="*/ 1300974 w 1940457"/>
                <a:gd name="connsiteY1808" fmla="*/ 867327 h 1270908"/>
                <a:gd name="connsiteX1809" fmla="*/ 1303046 w 1940457"/>
                <a:gd name="connsiteY1809" fmla="*/ 872261 h 1270908"/>
                <a:gd name="connsiteX1810" fmla="*/ 1296780 w 1940457"/>
                <a:gd name="connsiteY1810" fmla="*/ 875518 h 1270908"/>
                <a:gd name="connsiteX1811" fmla="*/ 1292635 w 1940457"/>
                <a:gd name="connsiteY1811" fmla="*/ 873791 h 1270908"/>
                <a:gd name="connsiteX1812" fmla="*/ 1309312 w 1940457"/>
                <a:gd name="connsiteY1812" fmla="*/ 859285 h 1270908"/>
                <a:gd name="connsiteX1813" fmla="*/ 1319723 w 1940457"/>
                <a:gd name="connsiteY1813" fmla="*/ 851242 h 1270908"/>
                <a:gd name="connsiteX1814" fmla="*/ 1321795 w 1940457"/>
                <a:gd name="connsiteY1814" fmla="*/ 846308 h 1270908"/>
                <a:gd name="connsiteX1815" fmla="*/ 1325940 w 1940457"/>
                <a:gd name="connsiteY1815" fmla="*/ 843052 h 1270908"/>
                <a:gd name="connsiteX1816" fmla="*/ 1330134 w 1940457"/>
                <a:gd name="connsiteY1816" fmla="*/ 843052 h 1270908"/>
                <a:gd name="connsiteX1817" fmla="*/ 1332206 w 1940457"/>
                <a:gd name="connsiteY1817" fmla="*/ 846308 h 1270908"/>
                <a:gd name="connsiteX1818" fmla="*/ 1325940 w 1940457"/>
                <a:gd name="connsiteY1818" fmla="*/ 849515 h 1270908"/>
                <a:gd name="connsiteX1819" fmla="*/ 1323868 w 1940457"/>
                <a:gd name="connsiteY1819" fmla="*/ 854449 h 1270908"/>
                <a:gd name="connsiteX1820" fmla="*/ 1317602 w 1940457"/>
                <a:gd name="connsiteY1820" fmla="*/ 859383 h 1270908"/>
                <a:gd name="connsiteX1821" fmla="*/ 1315529 w 1940457"/>
                <a:gd name="connsiteY1821" fmla="*/ 862640 h 1270908"/>
                <a:gd name="connsiteX1822" fmla="*/ 1311385 w 1940457"/>
                <a:gd name="connsiteY1822" fmla="*/ 862640 h 1270908"/>
                <a:gd name="connsiteX1823" fmla="*/ 1321795 w 1940457"/>
                <a:gd name="connsiteY1823" fmla="*/ 820602 h 1270908"/>
                <a:gd name="connsiteX1824" fmla="*/ 1325940 w 1940457"/>
                <a:gd name="connsiteY1824" fmla="*/ 815668 h 1270908"/>
                <a:gd name="connsiteX1825" fmla="*/ 1330134 w 1940457"/>
                <a:gd name="connsiteY1825" fmla="*/ 817296 h 1270908"/>
                <a:gd name="connsiteX1826" fmla="*/ 1328012 w 1940457"/>
                <a:gd name="connsiteY1826" fmla="*/ 820503 h 1270908"/>
                <a:gd name="connsiteX1827" fmla="*/ 1330134 w 1940457"/>
                <a:gd name="connsiteY1827" fmla="*/ 823760 h 1270908"/>
                <a:gd name="connsiteX1828" fmla="*/ 1328012 w 1940457"/>
                <a:gd name="connsiteY1828" fmla="*/ 826967 h 1270908"/>
                <a:gd name="connsiteX1829" fmla="*/ 886614 w 1940457"/>
                <a:gd name="connsiteY1829" fmla="*/ 390157 h 1270908"/>
                <a:gd name="connsiteX1830" fmla="*/ 892830 w 1940457"/>
                <a:gd name="connsiteY1830" fmla="*/ 388528 h 1270908"/>
                <a:gd name="connsiteX1831" fmla="*/ 897024 w 1940457"/>
                <a:gd name="connsiteY1831" fmla="*/ 390157 h 1270908"/>
                <a:gd name="connsiteX1832" fmla="*/ 892830 w 1940457"/>
                <a:gd name="connsiteY1832" fmla="*/ 395091 h 1270908"/>
                <a:gd name="connsiteX1833" fmla="*/ 747079 w 1940457"/>
                <a:gd name="connsiteY1833" fmla="*/ 519132 h 1270908"/>
                <a:gd name="connsiteX1834" fmla="*/ 753345 w 1940457"/>
                <a:gd name="connsiteY1834" fmla="*/ 511040 h 1270908"/>
                <a:gd name="connsiteX1835" fmla="*/ 751273 w 1940457"/>
                <a:gd name="connsiteY1835" fmla="*/ 504626 h 1270908"/>
                <a:gd name="connsiteX1836" fmla="*/ 742934 w 1940457"/>
                <a:gd name="connsiteY1836" fmla="*/ 499692 h 1270908"/>
                <a:gd name="connsiteX1837" fmla="*/ 745007 w 1940457"/>
                <a:gd name="connsiteY1837" fmla="*/ 493229 h 1270908"/>
                <a:gd name="connsiteX1838" fmla="*/ 742934 w 1940457"/>
                <a:gd name="connsiteY1838" fmla="*/ 481930 h 1270908"/>
                <a:gd name="connsiteX1839" fmla="*/ 734596 w 1940457"/>
                <a:gd name="connsiteY1839" fmla="*/ 476996 h 1270908"/>
                <a:gd name="connsiteX1840" fmla="*/ 722113 w 1940457"/>
                <a:gd name="connsiteY1840" fmla="*/ 476996 h 1270908"/>
                <a:gd name="connsiteX1841" fmla="*/ 720041 w 1940457"/>
                <a:gd name="connsiteY1841" fmla="*/ 481930 h 1270908"/>
                <a:gd name="connsiteX1842" fmla="*/ 711899 w 1940457"/>
                <a:gd name="connsiteY1842" fmla="*/ 481930 h 1270908"/>
                <a:gd name="connsiteX1843" fmla="*/ 705485 w 1940457"/>
                <a:gd name="connsiteY1843" fmla="*/ 473986 h 1270908"/>
                <a:gd name="connsiteX1844" fmla="*/ 705485 w 1940457"/>
                <a:gd name="connsiteY1844" fmla="*/ 467522 h 1270908"/>
                <a:gd name="connsiteX1845" fmla="*/ 722162 w 1940457"/>
                <a:gd name="connsiteY1845" fmla="*/ 454644 h 1270908"/>
                <a:gd name="connsiteX1846" fmla="*/ 728428 w 1940457"/>
                <a:gd name="connsiteY1846" fmla="*/ 441717 h 1270908"/>
                <a:gd name="connsiteX1847" fmla="*/ 732573 w 1940457"/>
                <a:gd name="connsiteY1847" fmla="*/ 441717 h 1270908"/>
                <a:gd name="connsiteX1848" fmla="*/ 732573 w 1940457"/>
                <a:gd name="connsiteY1848" fmla="*/ 453016 h 1270908"/>
                <a:gd name="connsiteX1849" fmla="*/ 728428 w 1940457"/>
                <a:gd name="connsiteY1849" fmla="*/ 457950 h 1270908"/>
                <a:gd name="connsiteX1850" fmla="*/ 738839 w 1940457"/>
                <a:gd name="connsiteY1850" fmla="*/ 461157 h 1270908"/>
                <a:gd name="connsiteX1851" fmla="*/ 738839 w 1940457"/>
                <a:gd name="connsiteY1851" fmla="*/ 464414 h 1270908"/>
                <a:gd name="connsiteX1852" fmla="*/ 747128 w 1940457"/>
                <a:gd name="connsiteY1852" fmla="*/ 465993 h 1270908"/>
                <a:gd name="connsiteX1853" fmla="*/ 751322 w 1940457"/>
                <a:gd name="connsiteY1853" fmla="*/ 462786 h 1270908"/>
                <a:gd name="connsiteX1854" fmla="*/ 763805 w 1940457"/>
                <a:gd name="connsiteY1854" fmla="*/ 464414 h 1270908"/>
                <a:gd name="connsiteX1855" fmla="*/ 770072 w 1940457"/>
                <a:gd name="connsiteY1855" fmla="*/ 469348 h 1270908"/>
                <a:gd name="connsiteX1856" fmla="*/ 770072 w 1940457"/>
                <a:gd name="connsiteY1856" fmla="*/ 474282 h 1270908"/>
                <a:gd name="connsiteX1857" fmla="*/ 765878 w 1940457"/>
                <a:gd name="connsiteY1857" fmla="*/ 477489 h 1270908"/>
                <a:gd name="connsiteX1858" fmla="*/ 770072 w 1940457"/>
                <a:gd name="connsiteY1858" fmla="*/ 483953 h 1270908"/>
                <a:gd name="connsiteX1859" fmla="*/ 776289 w 1940457"/>
                <a:gd name="connsiteY1859" fmla="*/ 488887 h 1270908"/>
                <a:gd name="connsiteX1860" fmla="*/ 776289 w 1940457"/>
                <a:gd name="connsiteY1860" fmla="*/ 495350 h 1270908"/>
                <a:gd name="connsiteX1861" fmla="*/ 791091 w 1940457"/>
                <a:gd name="connsiteY1861" fmla="*/ 506600 h 1270908"/>
                <a:gd name="connsiteX1862" fmla="*/ 793163 w 1940457"/>
                <a:gd name="connsiteY1862" fmla="*/ 511534 h 1270908"/>
                <a:gd name="connsiteX1863" fmla="*/ 786897 w 1940457"/>
                <a:gd name="connsiteY1863" fmla="*/ 514790 h 1270908"/>
                <a:gd name="connsiteX1864" fmla="*/ 776486 w 1940457"/>
                <a:gd name="connsiteY1864" fmla="*/ 509856 h 1270908"/>
                <a:gd name="connsiteX1865" fmla="*/ 772341 w 1940457"/>
                <a:gd name="connsiteY1865" fmla="*/ 511435 h 1270908"/>
                <a:gd name="connsiteX1866" fmla="*/ 770269 w 1940457"/>
                <a:gd name="connsiteY1866" fmla="*/ 514692 h 1270908"/>
                <a:gd name="connsiteX1867" fmla="*/ 764003 w 1940457"/>
                <a:gd name="connsiteY1867" fmla="*/ 514692 h 1270908"/>
                <a:gd name="connsiteX1868" fmla="*/ 753592 w 1940457"/>
                <a:gd name="connsiteY1868" fmla="*/ 522734 h 1270908"/>
                <a:gd name="connsiteX1869" fmla="*/ 699416 w 1940457"/>
                <a:gd name="connsiteY1869" fmla="*/ 728730 h 1270908"/>
                <a:gd name="connsiteX1870" fmla="*/ 707755 w 1940457"/>
                <a:gd name="connsiteY1870" fmla="*/ 728730 h 1270908"/>
                <a:gd name="connsiteX1871" fmla="*/ 716044 w 1940457"/>
                <a:gd name="connsiteY1871" fmla="*/ 730309 h 1270908"/>
                <a:gd name="connsiteX1872" fmla="*/ 722310 w 1940457"/>
                <a:gd name="connsiteY1872" fmla="*/ 730309 h 1270908"/>
                <a:gd name="connsiteX1873" fmla="*/ 728576 w 1940457"/>
                <a:gd name="connsiteY1873" fmla="*/ 731937 h 1270908"/>
                <a:gd name="connsiteX1874" fmla="*/ 736866 w 1940457"/>
                <a:gd name="connsiteY1874" fmla="*/ 725474 h 1270908"/>
                <a:gd name="connsiteX1875" fmla="*/ 747276 w 1940457"/>
                <a:gd name="connsiteY1875" fmla="*/ 723895 h 1270908"/>
                <a:gd name="connsiteX1876" fmla="*/ 745204 w 1940457"/>
                <a:gd name="connsiteY1876" fmla="*/ 728829 h 1270908"/>
                <a:gd name="connsiteX1877" fmla="*/ 753543 w 1940457"/>
                <a:gd name="connsiteY1877" fmla="*/ 733763 h 1270908"/>
                <a:gd name="connsiteX1878" fmla="*/ 755615 w 1940457"/>
                <a:gd name="connsiteY1878" fmla="*/ 740177 h 1270908"/>
                <a:gd name="connsiteX1879" fmla="*/ 749398 w 1940457"/>
                <a:gd name="connsiteY1879" fmla="*/ 748269 h 1270908"/>
                <a:gd name="connsiteX1880" fmla="*/ 745204 w 1940457"/>
                <a:gd name="connsiteY1880" fmla="*/ 756311 h 1270908"/>
                <a:gd name="connsiteX1881" fmla="*/ 736866 w 1940457"/>
                <a:gd name="connsiteY1881" fmla="*/ 756311 h 1270908"/>
                <a:gd name="connsiteX1882" fmla="*/ 728576 w 1940457"/>
                <a:gd name="connsiteY1882" fmla="*/ 753104 h 1270908"/>
                <a:gd name="connsiteX1883" fmla="*/ 722310 w 1940457"/>
                <a:gd name="connsiteY1883" fmla="*/ 756311 h 1270908"/>
                <a:gd name="connsiteX1884" fmla="*/ 716044 w 1940457"/>
                <a:gd name="connsiteY1884" fmla="*/ 753104 h 1270908"/>
                <a:gd name="connsiteX1885" fmla="*/ 709827 w 1940457"/>
                <a:gd name="connsiteY1885" fmla="*/ 751476 h 1270908"/>
                <a:gd name="connsiteX1886" fmla="*/ 701489 w 1940457"/>
                <a:gd name="connsiteY1886" fmla="*/ 740177 h 1270908"/>
                <a:gd name="connsiteX1887" fmla="*/ 1176241 w 1940457"/>
                <a:gd name="connsiteY1887" fmla="*/ 823858 h 1270908"/>
                <a:gd name="connsiteX1888" fmla="*/ 1186652 w 1940457"/>
                <a:gd name="connsiteY1888" fmla="*/ 813990 h 1270908"/>
                <a:gd name="connsiteX1889" fmla="*/ 1192869 w 1940457"/>
                <a:gd name="connsiteY1889" fmla="*/ 813990 h 1270908"/>
                <a:gd name="connsiteX1890" fmla="*/ 1192869 w 1940457"/>
                <a:gd name="connsiteY1890" fmla="*/ 818924 h 1270908"/>
                <a:gd name="connsiteX1891" fmla="*/ 1184580 w 1940457"/>
                <a:gd name="connsiteY1891" fmla="*/ 823858 h 1270908"/>
                <a:gd name="connsiteX1892" fmla="*/ 1101293 w 1940457"/>
                <a:gd name="connsiteY1892" fmla="*/ 867327 h 1270908"/>
                <a:gd name="connsiteX1893" fmla="*/ 1111704 w 1940457"/>
                <a:gd name="connsiteY1893" fmla="*/ 867327 h 1270908"/>
                <a:gd name="connsiteX1894" fmla="*/ 1107510 w 1940457"/>
                <a:gd name="connsiteY1894" fmla="*/ 870584 h 1270908"/>
                <a:gd name="connsiteX1895" fmla="*/ 1101293 w 1940457"/>
                <a:gd name="connsiteY1895" fmla="*/ 920565 h 1270908"/>
                <a:gd name="connsiteX1896" fmla="*/ 1109583 w 1940457"/>
                <a:gd name="connsiteY1896" fmla="*/ 920565 h 1270908"/>
                <a:gd name="connsiteX1897" fmla="*/ 1109583 w 1940457"/>
                <a:gd name="connsiteY1897" fmla="*/ 925499 h 1270908"/>
                <a:gd name="connsiteX1898" fmla="*/ 1103366 w 1940457"/>
                <a:gd name="connsiteY1898" fmla="*/ 928706 h 1270908"/>
                <a:gd name="connsiteX1899" fmla="*/ 1099172 w 1940457"/>
                <a:gd name="connsiteY1899" fmla="*/ 925499 h 1270908"/>
                <a:gd name="connsiteX1900" fmla="*/ 1072133 w 1940457"/>
                <a:gd name="connsiteY1900" fmla="*/ 949577 h 1270908"/>
                <a:gd name="connsiteX1901" fmla="*/ 1072133 w 1940457"/>
                <a:gd name="connsiteY1901" fmla="*/ 947999 h 1270908"/>
                <a:gd name="connsiteX1902" fmla="*/ 1074206 w 1940457"/>
                <a:gd name="connsiteY1902" fmla="*/ 944742 h 1270908"/>
                <a:gd name="connsiteX1903" fmla="*/ 1078350 w 1940457"/>
                <a:gd name="connsiteY1903" fmla="*/ 946370 h 1270908"/>
                <a:gd name="connsiteX1904" fmla="*/ 1082544 w 1940457"/>
                <a:gd name="connsiteY1904" fmla="*/ 944742 h 1270908"/>
                <a:gd name="connsiteX1905" fmla="*/ 1086689 w 1940457"/>
                <a:gd name="connsiteY1905" fmla="*/ 946370 h 1270908"/>
                <a:gd name="connsiteX1906" fmla="*/ 1090883 w 1940457"/>
                <a:gd name="connsiteY1906" fmla="*/ 939956 h 1270908"/>
                <a:gd name="connsiteX1907" fmla="*/ 1086689 w 1940457"/>
                <a:gd name="connsiteY1907" fmla="*/ 936700 h 1270908"/>
                <a:gd name="connsiteX1908" fmla="*/ 1090883 w 1940457"/>
                <a:gd name="connsiteY1908" fmla="*/ 933492 h 1270908"/>
                <a:gd name="connsiteX1909" fmla="*/ 1097100 w 1940457"/>
                <a:gd name="connsiteY1909" fmla="*/ 931864 h 1270908"/>
                <a:gd name="connsiteX1910" fmla="*/ 1101293 w 1940457"/>
                <a:gd name="connsiteY1910" fmla="*/ 933492 h 1270908"/>
                <a:gd name="connsiteX1911" fmla="*/ 1099172 w 1940457"/>
                <a:gd name="connsiteY1911" fmla="*/ 938427 h 1270908"/>
                <a:gd name="connsiteX1912" fmla="*/ 1103366 w 1940457"/>
                <a:gd name="connsiteY1912" fmla="*/ 940104 h 1270908"/>
                <a:gd name="connsiteX1913" fmla="*/ 1105438 w 1940457"/>
                <a:gd name="connsiteY1913" fmla="*/ 936848 h 1270908"/>
                <a:gd name="connsiteX1914" fmla="*/ 1109583 w 1940457"/>
                <a:gd name="connsiteY1914" fmla="*/ 935219 h 1270908"/>
                <a:gd name="connsiteX1915" fmla="*/ 1111704 w 1940457"/>
                <a:gd name="connsiteY1915" fmla="*/ 940153 h 1270908"/>
                <a:gd name="connsiteX1916" fmla="*/ 1107510 w 1940457"/>
                <a:gd name="connsiteY1916" fmla="*/ 943361 h 1270908"/>
                <a:gd name="connsiteX1917" fmla="*/ 1105438 w 1940457"/>
                <a:gd name="connsiteY1917" fmla="*/ 946568 h 1270908"/>
                <a:gd name="connsiteX1918" fmla="*/ 1109583 w 1940457"/>
                <a:gd name="connsiteY1918" fmla="*/ 948196 h 1270908"/>
                <a:gd name="connsiteX1919" fmla="*/ 1111704 w 1940457"/>
                <a:gd name="connsiteY1919" fmla="*/ 953130 h 1270908"/>
                <a:gd name="connsiteX1920" fmla="*/ 1107510 w 1940457"/>
                <a:gd name="connsiteY1920" fmla="*/ 953130 h 1270908"/>
                <a:gd name="connsiteX1921" fmla="*/ 1103366 w 1940457"/>
                <a:gd name="connsiteY1921" fmla="*/ 951502 h 1270908"/>
                <a:gd name="connsiteX1922" fmla="*/ 1097100 w 1940457"/>
                <a:gd name="connsiteY1922" fmla="*/ 956436 h 1270908"/>
                <a:gd name="connsiteX1923" fmla="*/ 1095274 w 1940457"/>
                <a:gd name="connsiteY1923" fmla="*/ 956436 h 1270908"/>
                <a:gd name="connsiteX1924" fmla="*/ 1093202 w 1940457"/>
                <a:gd name="connsiteY1924" fmla="*/ 951502 h 1270908"/>
                <a:gd name="connsiteX1925" fmla="*/ 1084863 w 1940457"/>
                <a:gd name="connsiteY1925" fmla="*/ 956436 h 1270908"/>
                <a:gd name="connsiteX1926" fmla="*/ 1080718 w 1940457"/>
                <a:gd name="connsiteY1926" fmla="*/ 958064 h 1270908"/>
                <a:gd name="connsiteX1927" fmla="*/ 997185 w 1940457"/>
                <a:gd name="connsiteY1927" fmla="*/ 1014065 h 1270908"/>
                <a:gd name="connsiteX1928" fmla="*/ 997185 w 1940457"/>
                <a:gd name="connsiteY1928" fmla="*/ 1017322 h 1270908"/>
                <a:gd name="connsiteX1929" fmla="*/ 990919 w 1940457"/>
                <a:gd name="connsiteY1929" fmla="*/ 1018901 h 1270908"/>
                <a:gd name="connsiteX1930" fmla="*/ 986775 w 1940457"/>
                <a:gd name="connsiteY1930" fmla="*/ 1017322 h 1270908"/>
                <a:gd name="connsiteX1931" fmla="*/ 986775 w 1940457"/>
                <a:gd name="connsiteY1931" fmla="*/ 1010858 h 1270908"/>
                <a:gd name="connsiteX1932" fmla="*/ 988847 w 1940457"/>
                <a:gd name="connsiteY1932" fmla="*/ 1005924 h 1270908"/>
                <a:gd name="connsiteX1933" fmla="*/ 990919 w 1940457"/>
                <a:gd name="connsiteY1933" fmla="*/ 1000990 h 1270908"/>
                <a:gd name="connsiteX1934" fmla="*/ 990919 w 1940457"/>
                <a:gd name="connsiteY1934" fmla="*/ 992898 h 1270908"/>
                <a:gd name="connsiteX1935" fmla="*/ 988847 w 1940457"/>
                <a:gd name="connsiteY1935" fmla="*/ 989691 h 1270908"/>
                <a:gd name="connsiteX1936" fmla="*/ 990919 w 1940457"/>
                <a:gd name="connsiteY1936" fmla="*/ 986484 h 1270908"/>
                <a:gd name="connsiteX1937" fmla="*/ 999258 w 1940457"/>
                <a:gd name="connsiteY1937" fmla="*/ 980020 h 1270908"/>
                <a:gd name="connsiteX1938" fmla="*/ 1015885 w 1940457"/>
                <a:gd name="connsiteY1938" fmla="*/ 973606 h 1270908"/>
                <a:gd name="connsiteX1939" fmla="*/ 1024224 w 1940457"/>
                <a:gd name="connsiteY1939" fmla="*/ 971978 h 1270908"/>
                <a:gd name="connsiteX1940" fmla="*/ 1026296 w 1940457"/>
                <a:gd name="connsiteY1940" fmla="*/ 973606 h 1270908"/>
                <a:gd name="connsiteX1941" fmla="*/ 1028418 w 1940457"/>
                <a:gd name="connsiteY1941" fmla="*/ 984856 h 1270908"/>
                <a:gd name="connsiteX1942" fmla="*/ 1030490 w 1940457"/>
                <a:gd name="connsiteY1942" fmla="*/ 986484 h 1270908"/>
                <a:gd name="connsiteX1943" fmla="*/ 1036707 w 1940457"/>
                <a:gd name="connsiteY1943" fmla="*/ 980020 h 1270908"/>
                <a:gd name="connsiteX1944" fmla="*/ 1034635 w 1940457"/>
                <a:gd name="connsiteY1944" fmla="*/ 975086 h 1270908"/>
                <a:gd name="connsiteX1945" fmla="*/ 1036707 w 1940457"/>
                <a:gd name="connsiteY1945" fmla="*/ 973507 h 1270908"/>
                <a:gd name="connsiteX1946" fmla="*/ 1040901 w 1940457"/>
                <a:gd name="connsiteY1946" fmla="*/ 976715 h 1270908"/>
                <a:gd name="connsiteX1947" fmla="*/ 1042973 w 1940457"/>
                <a:gd name="connsiteY1947" fmla="*/ 971781 h 1270908"/>
                <a:gd name="connsiteX1948" fmla="*/ 1036707 w 1940457"/>
                <a:gd name="connsiteY1948" fmla="*/ 966847 h 1270908"/>
                <a:gd name="connsiteX1949" fmla="*/ 1034635 w 1940457"/>
                <a:gd name="connsiteY1949" fmla="*/ 965218 h 1270908"/>
                <a:gd name="connsiteX1950" fmla="*/ 1040901 w 1940457"/>
                <a:gd name="connsiteY1950" fmla="*/ 958755 h 1270908"/>
                <a:gd name="connsiteX1951" fmla="*/ 1047118 w 1940457"/>
                <a:gd name="connsiteY1951" fmla="*/ 957176 h 1270908"/>
                <a:gd name="connsiteX1952" fmla="*/ 1051312 w 1940457"/>
                <a:gd name="connsiteY1952" fmla="*/ 960383 h 1270908"/>
                <a:gd name="connsiteX1953" fmla="*/ 1051312 w 1940457"/>
                <a:gd name="connsiteY1953" fmla="*/ 966847 h 1270908"/>
                <a:gd name="connsiteX1954" fmla="*/ 1047118 w 1940457"/>
                <a:gd name="connsiteY1954" fmla="*/ 970054 h 1270908"/>
                <a:gd name="connsiteX1955" fmla="*/ 1047118 w 1940457"/>
                <a:gd name="connsiteY1955" fmla="*/ 974988 h 1270908"/>
                <a:gd name="connsiteX1956" fmla="*/ 1051312 w 1940457"/>
                <a:gd name="connsiteY1956" fmla="*/ 973409 h 1270908"/>
                <a:gd name="connsiteX1957" fmla="*/ 1055456 w 1940457"/>
                <a:gd name="connsiteY1957" fmla="*/ 968475 h 1270908"/>
                <a:gd name="connsiteX1958" fmla="*/ 1057529 w 1940457"/>
                <a:gd name="connsiteY1958" fmla="*/ 966896 h 1270908"/>
                <a:gd name="connsiteX1959" fmla="*/ 1061723 w 1940457"/>
                <a:gd name="connsiteY1959" fmla="*/ 968475 h 1270908"/>
                <a:gd name="connsiteX1960" fmla="*/ 1063795 w 1940457"/>
                <a:gd name="connsiteY1960" fmla="*/ 963541 h 1270908"/>
                <a:gd name="connsiteX1961" fmla="*/ 1061723 w 1940457"/>
                <a:gd name="connsiteY1961" fmla="*/ 958607 h 1270908"/>
                <a:gd name="connsiteX1962" fmla="*/ 1065867 w 1940457"/>
                <a:gd name="connsiteY1962" fmla="*/ 957028 h 1270908"/>
                <a:gd name="connsiteX1963" fmla="*/ 1072133 w 1940457"/>
                <a:gd name="connsiteY1963" fmla="*/ 960235 h 1270908"/>
                <a:gd name="connsiteX1964" fmla="*/ 1072133 w 1940457"/>
                <a:gd name="connsiteY1964" fmla="*/ 965169 h 1270908"/>
                <a:gd name="connsiteX1965" fmla="*/ 1067939 w 1940457"/>
                <a:gd name="connsiteY1965" fmla="*/ 968376 h 1270908"/>
                <a:gd name="connsiteX1966" fmla="*/ 1067939 w 1940457"/>
                <a:gd name="connsiteY1966" fmla="*/ 970498 h 1270908"/>
                <a:gd name="connsiteX1967" fmla="*/ 1072133 w 1940457"/>
                <a:gd name="connsiteY1967" fmla="*/ 972126 h 1270908"/>
                <a:gd name="connsiteX1968" fmla="*/ 1078350 w 1940457"/>
                <a:gd name="connsiteY1968" fmla="*/ 965662 h 1270908"/>
                <a:gd name="connsiteX1969" fmla="*/ 1084616 w 1940457"/>
                <a:gd name="connsiteY1969" fmla="*/ 964084 h 1270908"/>
                <a:gd name="connsiteX1970" fmla="*/ 1088761 w 1940457"/>
                <a:gd name="connsiteY1970" fmla="*/ 965662 h 1270908"/>
                <a:gd name="connsiteX1971" fmla="*/ 1092955 w 1940457"/>
                <a:gd name="connsiteY1971" fmla="*/ 972126 h 1270908"/>
                <a:gd name="connsiteX1972" fmla="*/ 1086689 w 1940457"/>
                <a:gd name="connsiteY1972" fmla="*/ 973754 h 1270908"/>
                <a:gd name="connsiteX1973" fmla="*/ 1080472 w 1940457"/>
                <a:gd name="connsiteY1973" fmla="*/ 973754 h 1270908"/>
                <a:gd name="connsiteX1974" fmla="*/ 1080472 w 1940457"/>
                <a:gd name="connsiteY1974" fmla="*/ 976961 h 1270908"/>
                <a:gd name="connsiteX1975" fmla="*/ 1082544 w 1940457"/>
                <a:gd name="connsiteY1975" fmla="*/ 978540 h 1270908"/>
                <a:gd name="connsiteX1976" fmla="*/ 1084616 w 1940457"/>
                <a:gd name="connsiteY1976" fmla="*/ 983474 h 1270908"/>
                <a:gd name="connsiteX1977" fmla="*/ 1080472 w 1940457"/>
                <a:gd name="connsiteY1977" fmla="*/ 989888 h 1270908"/>
                <a:gd name="connsiteX1978" fmla="*/ 1074206 w 1940457"/>
                <a:gd name="connsiteY1978" fmla="*/ 988310 h 1270908"/>
                <a:gd name="connsiteX1979" fmla="*/ 1074206 w 1940457"/>
                <a:gd name="connsiteY1979" fmla="*/ 985300 h 1270908"/>
                <a:gd name="connsiteX1980" fmla="*/ 1067939 w 1940457"/>
                <a:gd name="connsiteY1980" fmla="*/ 986928 h 1270908"/>
                <a:gd name="connsiteX1981" fmla="*/ 1063795 w 1940457"/>
                <a:gd name="connsiteY1981" fmla="*/ 985300 h 1270908"/>
                <a:gd name="connsiteX1982" fmla="*/ 1057529 w 1940457"/>
                <a:gd name="connsiteY1982" fmla="*/ 985300 h 1270908"/>
                <a:gd name="connsiteX1983" fmla="*/ 1055456 w 1940457"/>
                <a:gd name="connsiteY1983" fmla="*/ 988556 h 1270908"/>
                <a:gd name="connsiteX1984" fmla="*/ 1061723 w 1940457"/>
                <a:gd name="connsiteY1984" fmla="*/ 990135 h 1270908"/>
                <a:gd name="connsiteX1985" fmla="*/ 1065867 w 1940457"/>
                <a:gd name="connsiteY1985" fmla="*/ 996599 h 1270908"/>
                <a:gd name="connsiteX1986" fmla="*/ 1061723 w 1940457"/>
                <a:gd name="connsiteY1986" fmla="*/ 1001533 h 1270908"/>
                <a:gd name="connsiteX1987" fmla="*/ 1055456 w 1940457"/>
                <a:gd name="connsiteY1987" fmla="*/ 1001533 h 1270908"/>
                <a:gd name="connsiteX1988" fmla="*/ 1051312 w 1940457"/>
                <a:gd name="connsiteY1988" fmla="*/ 995069 h 1270908"/>
                <a:gd name="connsiteX1989" fmla="*/ 1042973 w 1940457"/>
                <a:gd name="connsiteY1989" fmla="*/ 995069 h 1270908"/>
                <a:gd name="connsiteX1990" fmla="*/ 1036707 w 1940457"/>
                <a:gd name="connsiteY1990" fmla="*/ 996697 h 1270908"/>
                <a:gd name="connsiteX1991" fmla="*/ 1045045 w 1940457"/>
                <a:gd name="connsiteY1991" fmla="*/ 999905 h 1270908"/>
                <a:gd name="connsiteX1992" fmla="*/ 1047118 w 1940457"/>
                <a:gd name="connsiteY1992" fmla="*/ 1003112 h 1270908"/>
                <a:gd name="connsiteX1993" fmla="*/ 1042973 w 1940457"/>
                <a:gd name="connsiteY1993" fmla="*/ 1006368 h 1270908"/>
                <a:gd name="connsiteX1994" fmla="*/ 1036707 w 1940457"/>
                <a:gd name="connsiteY1994" fmla="*/ 1004789 h 1270908"/>
                <a:gd name="connsiteX1995" fmla="*/ 1030490 w 1940457"/>
                <a:gd name="connsiteY1995" fmla="*/ 1006368 h 1270908"/>
                <a:gd name="connsiteX1996" fmla="*/ 1026197 w 1940457"/>
                <a:gd name="connsiteY1996" fmla="*/ 1006368 h 1270908"/>
                <a:gd name="connsiteX1997" fmla="*/ 1022053 w 1940457"/>
                <a:gd name="connsiteY1997" fmla="*/ 1012832 h 1270908"/>
                <a:gd name="connsiteX1998" fmla="*/ 1019980 w 1940457"/>
                <a:gd name="connsiteY1998" fmla="*/ 1012832 h 1270908"/>
                <a:gd name="connsiteX1999" fmla="*/ 1015787 w 1940457"/>
                <a:gd name="connsiteY1999" fmla="*/ 1014411 h 1270908"/>
                <a:gd name="connsiteX2000" fmla="*/ 1017908 w 1940457"/>
                <a:gd name="connsiteY2000" fmla="*/ 1019345 h 1270908"/>
                <a:gd name="connsiteX2001" fmla="*/ 1009570 w 1940457"/>
                <a:gd name="connsiteY2001" fmla="*/ 1022601 h 1270908"/>
                <a:gd name="connsiteX2002" fmla="*/ 1009570 w 1940457"/>
                <a:gd name="connsiteY2002" fmla="*/ 1025808 h 1270908"/>
                <a:gd name="connsiteX2003" fmla="*/ 1005376 w 1940457"/>
                <a:gd name="connsiteY2003" fmla="*/ 1029065 h 1270908"/>
                <a:gd name="connsiteX2004" fmla="*/ 1001231 w 1940457"/>
                <a:gd name="connsiteY2004" fmla="*/ 1032272 h 1270908"/>
                <a:gd name="connsiteX2005" fmla="*/ 994965 w 1940457"/>
                <a:gd name="connsiteY2005" fmla="*/ 1030644 h 1270908"/>
                <a:gd name="connsiteX2006" fmla="*/ 994965 w 1940457"/>
                <a:gd name="connsiteY2006" fmla="*/ 1029065 h 1270908"/>
                <a:gd name="connsiteX2007" fmla="*/ 1007497 w 1940457"/>
                <a:gd name="connsiteY2007" fmla="*/ 1019197 h 1270908"/>
                <a:gd name="connsiteX2008" fmla="*/ 1007497 w 1940457"/>
                <a:gd name="connsiteY2008" fmla="*/ 1015990 h 1270908"/>
                <a:gd name="connsiteX2009" fmla="*/ 1011642 w 1940457"/>
                <a:gd name="connsiteY2009" fmla="*/ 1011056 h 1270908"/>
                <a:gd name="connsiteX2010" fmla="*/ 1009570 w 1940457"/>
                <a:gd name="connsiteY2010" fmla="*/ 1011056 h 1270908"/>
                <a:gd name="connsiteX2011" fmla="*/ 1003303 w 1940457"/>
                <a:gd name="connsiteY2011" fmla="*/ 1014263 h 1270908"/>
                <a:gd name="connsiteX2012" fmla="*/ 1001231 w 1940457"/>
                <a:gd name="connsiteY2012" fmla="*/ 1012684 h 1270908"/>
                <a:gd name="connsiteX2013" fmla="*/ 1003303 w 1940457"/>
                <a:gd name="connsiteY2013" fmla="*/ 1009427 h 1270908"/>
                <a:gd name="connsiteX2014" fmla="*/ 994965 w 1940457"/>
                <a:gd name="connsiteY2014" fmla="*/ 1009427 h 1270908"/>
                <a:gd name="connsiteX2015" fmla="*/ 992893 w 1940457"/>
                <a:gd name="connsiteY2015" fmla="*/ 1012684 h 1270908"/>
                <a:gd name="connsiteX2016" fmla="*/ 994965 w 1940457"/>
                <a:gd name="connsiteY2016" fmla="*/ 1012684 h 1270908"/>
                <a:gd name="connsiteX2017" fmla="*/ 982383 w 1940457"/>
                <a:gd name="connsiteY2017" fmla="*/ 1038291 h 1270908"/>
                <a:gd name="connsiteX2018" fmla="*/ 988649 w 1940457"/>
                <a:gd name="connsiteY2018" fmla="*/ 1038291 h 1270908"/>
                <a:gd name="connsiteX2019" fmla="*/ 984456 w 1940457"/>
                <a:gd name="connsiteY2019" fmla="*/ 1041499 h 1270908"/>
                <a:gd name="connsiteX2020" fmla="*/ 961562 w 1940457"/>
                <a:gd name="connsiteY2020" fmla="*/ 1044706 h 1270908"/>
                <a:gd name="connsiteX2021" fmla="*/ 967828 w 1940457"/>
                <a:gd name="connsiteY2021" fmla="*/ 1038291 h 1270908"/>
                <a:gd name="connsiteX2022" fmla="*/ 982630 w 1940457"/>
                <a:gd name="connsiteY2022" fmla="*/ 1033357 h 1270908"/>
                <a:gd name="connsiteX2023" fmla="*/ 967828 w 1940457"/>
                <a:gd name="connsiteY2023" fmla="*/ 1044656 h 1270908"/>
                <a:gd name="connsiteX2024" fmla="*/ 913701 w 1940457"/>
                <a:gd name="connsiteY2024" fmla="*/ 1080181 h 1270908"/>
                <a:gd name="connsiteX2025" fmla="*/ 911580 w 1940457"/>
                <a:gd name="connsiteY2025" fmla="*/ 1080181 h 1270908"/>
                <a:gd name="connsiteX2026" fmla="*/ 911580 w 1940457"/>
                <a:gd name="connsiteY2026" fmla="*/ 1076974 h 1270908"/>
                <a:gd name="connsiteX2027" fmla="*/ 919918 w 1940457"/>
                <a:gd name="connsiteY2027" fmla="*/ 1073718 h 1270908"/>
                <a:gd name="connsiteX2028" fmla="*/ 917846 w 1940457"/>
                <a:gd name="connsiteY2028" fmla="*/ 1078652 h 1270908"/>
                <a:gd name="connsiteX2029" fmla="*/ 886614 w 1940457"/>
                <a:gd name="connsiteY2029" fmla="*/ 1025364 h 1270908"/>
                <a:gd name="connsiteX2030" fmla="*/ 894952 w 1940457"/>
                <a:gd name="connsiteY2030" fmla="*/ 1025364 h 1270908"/>
                <a:gd name="connsiteX2031" fmla="*/ 897024 w 1940457"/>
                <a:gd name="connsiteY2031" fmla="*/ 1028621 h 1270908"/>
                <a:gd name="connsiteX2032" fmla="*/ 892830 w 1940457"/>
                <a:gd name="connsiteY2032" fmla="*/ 1030200 h 1270908"/>
                <a:gd name="connsiteX2033" fmla="*/ 747079 w 1940457"/>
                <a:gd name="connsiteY2033" fmla="*/ 1080181 h 1270908"/>
                <a:gd name="connsiteX2034" fmla="*/ 749201 w 1940457"/>
                <a:gd name="connsiteY2034" fmla="*/ 1078553 h 1270908"/>
                <a:gd name="connsiteX2035" fmla="*/ 751273 w 1940457"/>
                <a:gd name="connsiteY2035" fmla="*/ 1081810 h 1270908"/>
                <a:gd name="connsiteX2036" fmla="*/ 738790 w 1940457"/>
                <a:gd name="connsiteY2036" fmla="*/ 1081810 h 1270908"/>
                <a:gd name="connsiteX2037" fmla="*/ 742934 w 1940457"/>
                <a:gd name="connsiteY2037" fmla="*/ 1083438 h 1270908"/>
                <a:gd name="connsiteX2038" fmla="*/ 738790 w 1940457"/>
                <a:gd name="connsiteY2038" fmla="*/ 1086645 h 1270908"/>
                <a:gd name="connsiteX2039" fmla="*/ 770022 w 1940457"/>
                <a:gd name="connsiteY2039" fmla="*/ 1104358 h 1270908"/>
                <a:gd name="connsiteX2040" fmla="*/ 772095 w 1940457"/>
                <a:gd name="connsiteY2040" fmla="*/ 1109292 h 1270908"/>
                <a:gd name="connsiteX2041" fmla="*/ 767901 w 1940457"/>
                <a:gd name="connsiteY2041" fmla="*/ 1110920 h 1270908"/>
                <a:gd name="connsiteX2042" fmla="*/ 767901 w 1940457"/>
                <a:gd name="connsiteY2042" fmla="*/ 1107713 h 1270908"/>
                <a:gd name="connsiteX2043" fmla="*/ 763756 w 1940457"/>
                <a:gd name="connsiteY2043" fmla="*/ 1102779 h 1270908"/>
                <a:gd name="connsiteX2044" fmla="*/ 767901 w 1940457"/>
                <a:gd name="connsiteY2044" fmla="*/ 1094687 h 1270908"/>
                <a:gd name="connsiteX2045" fmla="*/ 767901 w 1940457"/>
                <a:gd name="connsiteY2045" fmla="*/ 1099622 h 1270908"/>
                <a:gd name="connsiteX2046" fmla="*/ 734596 w 1940457"/>
                <a:gd name="connsiteY2046" fmla="*/ 1110822 h 1270908"/>
                <a:gd name="connsiteX2047" fmla="*/ 738790 w 1940457"/>
                <a:gd name="connsiteY2047" fmla="*/ 1100954 h 1270908"/>
                <a:gd name="connsiteX2048" fmla="*/ 747079 w 1940457"/>
                <a:gd name="connsiteY2048" fmla="*/ 1096020 h 1270908"/>
                <a:gd name="connsiteX2049" fmla="*/ 747079 w 1940457"/>
                <a:gd name="connsiteY2049" fmla="*/ 1092813 h 1270908"/>
                <a:gd name="connsiteX2050" fmla="*/ 757490 w 1940457"/>
                <a:gd name="connsiteY2050" fmla="*/ 1092813 h 1270908"/>
                <a:gd name="connsiteX2051" fmla="*/ 751273 w 1940457"/>
                <a:gd name="connsiteY2051" fmla="*/ 1097747 h 1270908"/>
                <a:gd name="connsiteX2052" fmla="*/ 749201 w 1940457"/>
                <a:gd name="connsiteY2052" fmla="*/ 1101003 h 1270908"/>
                <a:gd name="connsiteX2053" fmla="*/ 738790 w 1940457"/>
                <a:gd name="connsiteY2053" fmla="*/ 1105937 h 1270908"/>
                <a:gd name="connsiteX2054" fmla="*/ 726257 w 1940457"/>
                <a:gd name="connsiteY2054" fmla="*/ 1091480 h 1270908"/>
                <a:gd name="connsiteX2055" fmla="*/ 722113 w 1940457"/>
                <a:gd name="connsiteY2055" fmla="*/ 1086546 h 1270908"/>
                <a:gd name="connsiteX2056" fmla="*/ 724185 w 1940457"/>
                <a:gd name="connsiteY2056" fmla="*/ 1081612 h 1270908"/>
                <a:gd name="connsiteX2057" fmla="*/ 730451 w 1940457"/>
                <a:gd name="connsiteY2057" fmla="*/ 1078356 h 1270908"/>
                <a:gd name="connsiteX2058" fmla="*/ 734596 w 1940457"/>
                <a:gd name="connsiteY2058" fmla="*/ 1081612 h 1270908"/>
                <a:gd name="connsiteX2059" fmla="*/ 730451 w 1940457"/>
                <a:gd name="connsiteY2059" fmla="*/ 1088027 h 1270908"/>
                <a:gd name="connsiteX2060" fmla="*/ 730451 w 1940457"/>
                <a:gd name="connsiteY2060" fmla="*/ 1091283 h 1270908"/>
                <a:gd name="connsiteX2061" fmla="*/ 688808 w 1940457"/>
                <a:gd name="connsiteY2061" fmla="*/ 1088224 h 1270908"/>
                <a:gd name="connsiteX2062" fmla="*/ 692953 w 1940457"/>
                <a:gd name="connsiteY2062" fmla="*/ 1086645 h 1270908"/>
                <a:gd name="connsiteX2063" fmla="*/ 697147 w 1940457"/>
                <a:gd name="connsiteY2063" fmla="*/ 1091579 h 1270908"/>
                <a:gd name="connsiteX2064" fmla="*/ 692953 w 1940457"/>
                <a:gd name="connsiteY2064" fmla="*/ 1093207 h 1270908"/>
                <a:gd name="connsiteX2065" fmla="*/ 666013 w 1940457"/>
                <a:gd name="connsiteY2065" fmla="*/ 1102779 h 1270908"/>
                <a:gd name="connsiteX2066" fmla="*/ 663891 w 1940457"/>
                <a:gd name="connsiteY2066" fmla="*/ 1097845 h 1270908"/>
                <a:gd name="connsiteX2067" fmla="*/ 670157 w 1940457"/>
                <a:gd name="connsiteY2067" fmla="*/ 1092911 h 1270908"/>
                <a:gd name="connsiteX2068" fmla="*/ 672230 w 1940457"/>
                <a:gd name="connsiteY2068" fmla="*/ 1097845 h 1270908"/>
                <a:gd name="connsiteX2069" fmla="*/ 641343 w 1940457"/>
                <a:gd name="connsiteY2069" fmla="*/ 1117285 h 1270908"/>
                <a:gd name="connsiteX2070" fmla="*/ 647609 w 1940457"/>
                <a:gd name="connsiteY2070" fmla="*/ 1123749 h 1270908"/>
                <a:gd name="connsiteX2071" fmla="*/ 643415 w 1940457"/>
                <a:gd name="connsiteY2071" fmla="*/ 1125328 h 1270908"/>
                <a:gd name="connsiteX2072" fmla="*/ 637198 w 1940457"/>
                <a:gd name="connsiteY2072" fmla="*/ 1120394 h 1270908"/>
                <a:gd name="connsiteX2073" fmla="*/ 3964 w 1940457"/>
                <a:gd name="connsiteY2073" fmla="*/ 1223663 h 1270908"/>
                <a:gd name="connsiteX2074" fmla="*/ -82 w 1940457"/>
                <a:gd name="connsiteY2074" fmla="*/ 1230127 h 1270908"/>
                <a:gd name="connsiteX2075" fmla="*/ 8257 w 1940457"/>
                <a:gd name="connsiteY2075" fmla="*/ 1226920 h 1270908"/>
                <a:gd name="connsiteX2076" fmla="*/ 10181 w 1940457"/>
                <a:gd name="connsiteY2076" fmla="*/ 1210785 h 1270908"/>
                <a:gd name="connsiteX2077" fmla="*/ 3964 w 1940457"/>
                <a:gd name="connsiteY2077" fmla="*/ 1212413 h 1270908"/>
                <a:gd name="connsiteX2078" fmla="*/ 8109 w 1940457"/>
                <a:gd name="connsiteY2078" fmla="*/ 1217348 h 1270908"/>
                <a:gd name="connsiteX2079" fmla="*/ 16447 w 1940457"/>
                <a:gd name="connsiteY2079" fmla="*/ 1212413 h 1270908"/>
                <a:gd name="connsiteX2080" fmla="*/ 18519 w 1940457"/>
                <a:gd name="connsiteY2080" fmla="*/ 1196279 h 1270908"/>
                <a:gd name="connsiteX2081" fmla="*/ 22713 w 1940457"/>
                <a:gd name="connsiteY2081" fmla="*/ 1199486 h 1270908"/>
                <a:gd name="connsiteX2082" fmla="*/ 24588 w 1940457"/>
                <a:gd name="connsiteY2082" fmla="*/ 1193023 h 1270908"/>
                <a:gd name="connsiteX2083" fmla="*/ 64357 w 1940457"/>
                <a:gd name="connsiteY2083" fmla="*/ 1201213 h 1270908"/>
                <a:gd name="connsiteX2084" fmla="*/ 56018 w 1940457"/>
                <a:gd name="connsiteY2084" fmla="*/ 1193121 h 1270908"/>
                <a:gd name="connsiteX2085" fmla="*/ 49752 w 1940457"/>
                <a:gd name="connsiteY2085" fmla="*/ 1191542 h 1270908"/>
                <a:gd name="connsiteX2086" fmla="*/ 45607 w 1940457"/>
                <a:gd name="connsiteY2086" fmla="*/ 1196476 h 1270908"/>
                <a:gd name="connsiteX2087" fmla="*/ 45607 w 1940457"/>
                <a:gd name="connsiteY2087" fmla="*/ 1199684 h 1270908"/>
                <a:gd name="connsiteX2088" fmla="*/ 53946 w 1940457"/>
                <a:gd name="connsiteY2088" fmla="*/ 1202940 h 1270908"/>
                <a:gd name="connsiteX2089" fmla="*/ 47680 w 1940457"/>
                <a:gd name="connsiteY2089" fmla="*/ 1204519 h 1270908"/>
                <a:gd name="connsiteX2090" fmla="*/ 49752 w 1940457"/>
                <a:gd name="connsiteY2090" fmla="*/ 1207726 h 1270908"/>
                <a:gd name="connsiteX2091" fmla="*/ 56018 w 1940457"/>
                <a:gd name="connsiteY2091" fmla="*/ 1207726 h 1270908"/>
                <a:gd name="connsiteX2092" fmla="*/ 60163 w 1940457"/>
                <a:gd name="connsiteY2092" fmla="*/ 1202792 h 1270908"/>
                <a:gd name="connsiteX2093" fmla="*/ 68501 w 1940457"/>
                <a:gd name="connsiteY2093" fmla="*/ 1212265 h 1270908"/>
                <a:gd name="connsiteX2094" fmla="*/ 72646 w 1940457"/>
                <a:gd name="connsiteY2094" fmla="*/ 1213844 h 1270908"/>
                <a:gd name="connsiteX2095" fmla="*/ 80984 w 1940457"/>
                <a:gd name="connsiteY2095" fmla="*/ 1208910 h 1270908"/>
                <a:gd name="connsiteX2096" fmla="*/ 80984 w 1940457"/>
                <a:gd name="connsiteY2096" fmla="*/ 1203976 h 1270908"/>
                <a:gd name="connsiteX2097" fmla="*/ 85178 w 1940457"/>
                <a:gd name="connsiteY2097" fmla="*/ 1199042 h 1270908"/>
                <a:gd name="connsiteX2098" fmla="*/ 83057 w 1940457"/>
                <a:gd name="connsiteY2098" fmla="*/ 1197463 h 1270908"/>
                <a:gd name="connsiteX2099" fmla="*/ 76840 w 1940457"/>
                <a:gd name="connsiteY2099" fmla="*/ 1202397 h 1270908"/>
                <a:gd name="connsiteX2100" fmla="*/ 74767 w 1940457"/>
                <a:gd name="connsiteY2100" fmla="*/ 1208812 h 1270908"/>
                <a:gd name="connsiteX2101" fmla="*/ 106000 w 1940457"/>
                <a:gd name="connsiteY2101" fmla="*/ 1207331 h 1270908"/>
                <a:gd name="connsiteX2102" fmla="*/ 103878 w 1940457"/>
                <a:gd name="connsiteY2102" fmla="*/ 1199289 h 1270908"/>
                <a:gd name="connsiteX2103" fmla="*/ 99734 w 1940457"/>
                <a:gd name="connsiteY2103" fmla="*/ 1199289 h 1270908"/>
                <a:gd name="connsiteX2104" fmla="*/ 97661 w 1940457"/>
                <a:gd name="connsiteY2104" fmla="*/ 1205753 h 1270908"/>
                <a:gd name="connsiteX2105" fmla="*/ 93665 w 1940457"/>
                <a:gd name="connsiteY2105" fmla="*/ 1207331 h 1270908"/>
                <a:gd name="connsiteX2106" fmla="*/ 89520 w 1940457"/>
                <a:gd name="connsiteY2106" fmla="*/ 1215423 h 1270908"/>
                <a:gd name="connsiteX2107" fmla="*/ 97859 w 1940457"/>
                <a:gd name="connsiteY2107" fmla="*/ 1215423 h 1270908"/>
                <a:gd name="connsiteX2108" fmla="*/ 191359 w 1940457"/>
                <a:gd name="connsiteY2108" fmla="*/ 1205753 h 1270908"/>
                <a:gd name="connsiteX2109" fmla="*/ 191359 w 1940457"/>
                <a:gd name="connsiteY2109" fmla="*/ 1200818 h 1270908"/>
                <a:gd name="connsiteX2110" fmla="*/ 197576 w 1940457"/>
                <a:gd name="connsiteY2110" fmla="*/ 1197611 h 1270908"/>
                <a:gd name="connsiteX2111" fmla="*/ 195503 w 1940457"/>
                <a:gd name="connsiteY2111" fmla="*/ 1191148 h 1270908"/>
                <a:gd name="connsiteX2112" fmla="*/ 191359 w 1940457"/>
                <a:gd name="connsiteY2112" fmla="*/ 1189520 h 1270908"/>
                <a:gd name="connsiteX2113" fmla="*/ 183020 w 1940457"/>
                <a:gd name="connsiteY2113" fmla="*/ 1192727 h 1270908"/>
                <a:gd name="connsiteX2114" fmla="*/ 183020 w 1940457"/>
                <a:gd name="connsiteY2114" fmla="*/ 1197661 h 1270908"/>
                <a:gd name="connsiteX2115" fmla="*/ 180948 w 1940457"/>
                <a:gd name="connsiteY2115" fmla="*/ 1199240 h 1270908"/>
                <a:gd name="connsiteX2116" fmla="*/ 176754 w 1940457"/>
                <a:gd name="connsiteY2116" fmla="*/ 1199240 h 1270908"/>
                <a:gd name="connsiteX2117" fmla="*/ 170537 w 1940457"/>
                <a:gd name="connsiteY2117" fmla="*/ 1202496 h 1270908"/>
                <a:gd name="connsiteX2118" fmla="*/ 166343 w 1940457"/>
                <a:gd name="connsiteY2118" fmla="*/ 1202496 h 1270908"/>
                <a:gd name="connsiteX2119" fmla="*/ 160126 w 1940457"/>
                <a:gd name="connsiteY2119" fmla="*/ 1200868 h 1270908"/>
                <a:gd name="connsiteX2120" fmla="*/ 158054 w 1940457"/>
                <a:gd name="connsiteY2120" fmla="*/ 1204075 h 1270908"/>
                <a:gd name="connsiteX2121" fmla="*/ 164271 w 1940457"/>
                <a:gd name="connsiteY2121" fmla="*/ 1207282 h 1270908"/>
                <a:gd name="connsiteX2122" fmla="*/ 174682 w 1940457"/>
                <a:gd name="connsiteY2122" fmla="*/ 1207282 h 1270908"/>
                <a:gd name="connsiteX2123" fmla="*/ 183020 w 1940457"/>
                <a:gd name="connsiteY2123" fmla="*/ 1204075 h 1270908"/>
                <a:gd name="connsiteX2124" fmla="*/ 203842 w 1940457"/>
                <a:gd name="connsiteY2124" fmla="*/ 1207331 h 1270908"/>
                <a:gd name="connsiteX2125" fmla="*/ 220519 w 1940457"/>
                <a:gd name="connsiteY2125" fmla="*/ 1210588 h 1270908"/>
                <a:gd name="connsiteX2126" fmla="*/ 226736 w 1940457"/>
                <a:gd name="connsiteY2126" fmla="*/ 1208960 h 1270908"/>
                <a:gd name="connsiteX2127" fmla="*/ 233002 w 1940457"/>
                <a:gd name="connsiteY2127" fmla="*/ 1213894 h 1270908"/>
                <a:gd name="connsiteX2128" fmla="*/ 222591 w 1940457"/>
                <a:gd name="connsiteY2128" fmla="*/ 1215522 h 1270908"/>
                <a:gd name="connsiteX2129" fmla="*/ 207789 w 1940457"/>
                <a:gd name="connsiteY2129" fmla="*/ 1210588 h 1270908"/>
                <a:gd name="connsiteX2130" fmla="*/ 201572 w 1940457"/>
                <a:gd name="connsiteY2130" fmla="*/ 1212216 h 1270908"/>
                <a:gd name="connsiteX2131" fmla="*/ 197378 w 1940457"/>
                <a:gd name="connsiteY2131" fmla="*/ 1208960 h 1270908"/>
                <a:gd name="connsiteX2132" fmla="*/ 264234 w 1940457"/>
                <a:gd name="connsiteY2132" fmla="*/ 1200917 h 1270908"/>
                <a:gd name="connsiteX2133" fmla="*/ 257968 w 1940457"/>
                <a:gd name="connsiteY2133" fmla="*/ 1195983 h 1270908"/>
                <a:gd name="connsiteX2134" fmla="*/ 247557 w 1940457"/>
                <a:gd name="connsiteY2134" fmla="*/ 1197611 h 1270908"/>
                <a:gd name="connsiteX2135" fmla="*/ 245485 w 1940457"/>
                <a:gd name="connsiteY2135" fmla="*/ 1204026 h 1270908"/>
                <a:gd name="connsiteX2136" fmla="*/ 255896 w 1940457"/>
                <a:gd name="connsiteY2136" fmla="*/ 1204026 h 1270908"/>
                <a:gd name="connsiteX2137" fmla="*/ 303707 w 1940457"/>
                <a:gd name="connsiteY2137" fmla="*/ 1197710 h 1270908"/>
                <a:gd name="connsiteX2138" fmla="*/ 299513 w 1940457"/>
                <a:gd name="connsiteY2138" fmla="*/ 1189618 h 1270908"/>
                <a:gd name="connsiteX2139" fmla="*/ 297440 w 1940457"/>
                <a:gd name="connsiteY2139" fmla="*/ 1196082 h 1270908"/>
                <a:gd name="connsiteX2140" fmla="*/ 330745 w 1940457"/>
                <a:gd name="connsiteY2140" fmla="*/ 1187842 h 1270908"/>
                <a:gd name="connsiteX2141" fmla="*/ 324528 w 1940457"/>
                <a:gd name="connsiteY2141" fmla="*/ 1182908 h 1270908"/>
                <a:gd name="connsiteX2142" fmla="*/ 318262 w 1940457"/>
                <a:gd name="connsiteY2142" fmla="*/ 1187842 h 1270908"/>
                <a:gd name="connsiteX2143" fmla="*/ 316190 w 1940457"/>
                <a:gd name="connsiteY2143" fmla="*/ 1192776 h 1270908"/>
                <a:gd name="connsiteX2144" fmla="*/ 324528 w 1940457"/>
                <a:gd name="connsiteY2144" fmla="*/ 1187842 h 1270908"/>
                <a:gd name="connsiteX2145" fmla="*/ 347422 w 1940457"/>
                <a:gd name="connsiteY2145" fmla="*/ 1186214 h 1270908"/>
                <a:gd name="connsiteX2146" fmla="*/ 343278 w 1940457"/>
                <a:gd name="connsiteY2146" fmla="*/ 1182957 h 1270908"/>
                <a:gd name="connsiteX2147" fmla="*/ 339084 w 1940457"/>
                <a:gd name="connsiteY2147" fmla="*/ 1186214 h 1270908"/>
                <a:gd name="connsiteX2148" fmla="*/ 345350 w 1940457"/>
                <a:gd name="connsiteY2148" fmla="*/ 1187842 h 1270908"/>
                <a:gd name="connsiteX2149" fmla="*/ 351567 w 1940457"/>
                <a:gd name="connsiteY2149" fmla="*/ 1176346 h 1270908"/>
                <a:gd name="connsiteX2150" fmla="*/ 349495 w 1940457"/>
                <a:gd name="connsiteY2150" fmla="*/ 1173089 h 1270908"/>
                <a:gd name="connsiteX2151" fmla="*/ 343278 w 1940457"/>
                <a:gd name="connsiteY2151" fmla="*/ 1176346 h 1270908"/>
                <a:gd name="connsiteX2152" fmla="*/ 351567 w 1940457"/>
                <a:gd name="connsiteY2152" fmla="*/ 1181280 h 1270908"/>
                <a:gd name="connsiteX2153" fmla="*/ 357833 w 1940457"/>
                <a:gd name="connsiteY2153" fmla="*/ 1184487 h 1270908"/>
                <a:gd name="connsiteX2154" fmla="*/ 361978 w 1940457"/>
                <a:gd name="connsiteY2154" fmla="*/ 1181280 h 1270908"/>
                <a:gd name="connsiteX2155" fmla="*/ 359905 w 1940457"/>
                <a:gd name="connsiteY2155" fmla="*/ 1178073 h 1270908"/>
                <a:gd name="connsiteX2156" fmla="*/ 437074 w 1940457"/>
                <a:gd name="connsiteY2156" fmla="*/ 1148123 h 1270908"/>
                <a:gd name="connsiteX2157" fmla="*/ 439146 w 1940457"/>
                <a:gd name="connsiteY2157" fmla="*/ 1154537 h 1270908"/>
                <a:gd name="connsiteX2158" fmla="*/ 443291 w 1940457"/>
                <a:gd name="connsiteY2158" fmla="*/ 1156166 h 1270908"/>
                <a:gd name="connsiteX2159" fmla="*/ 434952 w 1940457"/>
                <a:gd name="connsiteY2159" fmla="*/ 1157794 h 1270908"/>
                <a:gd name="connsiteX2160" fmla="*/ 432880 w 1940457"/>
                <a:gd name="connsiteY2160" fmla="*/ 1164257 h 1270908"/>
                <a:gd name="connsiteX2161" fmla="*/ 422469 w 1940457"/>
                <a:gd name="connsiteY2161" fmla="*/ 1167465 h 1270908"/>
                <a:gd name="connsiteX2162" fmla="*/ 412058 w 1940457"/>
                <a:gd name="connsiteY2162" fmla="*/ 1178763 h 1270908"/>
                <a:gd name="connsiteX2163" fmla="*/ 401647 w 1940457"/>
                <a:gd name="connsiteY2163" fmla="*/ 1178763 h 1270908"/>
                <a:gd name="connsiteX2164" fmla="*/ 393309 w 1940457"/>
                <a:gd name="connsiteY2164" fmla="*/ 1186806 h 1270908"/>
                <a:gd name="connsiteX2165" fmla="*/ 380826 w 1940457"/>
                <a:gd name="connsiteY2165" fmla="*/ 1186806 h 1270908"/>
                <a:gd name="connsiteX2166" fmla="*/ 387092 w 1940457"/>
                <a:gd name="connsiteY2166" fmla="*/ 1181872 h 1270908"/>
                <a:gd name="connsiteX2167" fmla="*/ 391236 w 1940457"/>
                <a:gd name="connsiteY2167" fmla="*/ 1180244 h 1270908"/>
                <a:gd name="connsiteX2168" fmla="*/ 397503 w 1940457"/>
                <a:gd name="connsiteY2168" fmla="*/ 1173780 h 1270908"/>
                <a:gd name="connsiteX2169" fmla="*/ 401647 w 1940457"/>
                <a:gd name="connsiteY2169" fmla="*/ 1172201 h 1270908"/>
                <a:gd name="connsiteX2170" fmla="*/ 401647 w 1940457"/>
                <a:gd name="connsiteY2170" fmla="*/ 1168945 h 1270908"/>
                <a:gd name="connsiteX2171" fmla="*/ 409986 w 1940457"/>
                <a:gd name="connsiteY2171" fmla="*/ 1162481 h 1270908"/>
                <a:gd name="connsiteX2172" fmla="*/ 416252 w 1940457"/>
                <a:gd name="connsiteY2172" fmla="*/ 1160902 h 1270908"/>
                <a:gd name="connsiteX2173" fmla="*/ 420397 w 1940457"/>
                <a:gd name="connsiteY2173" fmla="*/ 1155968 h 1270908"/>
                <a:gd name="connsiteX2174" fmla="*/ 418324 w 1940457"/>
                <a:gd name="connsiteY2174" fmla="*/ 1151034 h 1270908"/>
                <a:gd name="connsiteX2175" fmla="*/ 428735 w 1940457"/>
                <a:gd name="connsiteY2175" fmla="*/ 1151034 h 1270908"/>
                <a:gd name="connsiteX2176" fmla="*/ 497417 w 1940457"/>
                <a:gd name="connsiteY2176" fmla="*/ 1127153 h 1270908"/>
                <a:gd name="connsiteX2177" fmla="*/ 491200 w 1940457"/>
                <a:gd name="connsiteY2177" fmla="*/ 1128732 h 1270908"/>
                <a:gd name="connsiteX2178" fmla="*/ 482862 w 1940457"/>
                <a:gd name="connsiteY2178" fmla="*/ 1133666 h 1270908"/>
                <a:gd name="connsiteX2179" fmla="*/ 482862 w 1940457"/>
                <a:gd name="connsiteY2179" fmla="*/ 1138600 h 1270908"/>
                <a:gd name="connsiteX2180" fmla="*/ 489128 w 1940457"/>
                <a:gd name="connsiteY2180" fmla="*/ 1143534 h 1270908"/>
                <a:gd name="connsiteX2181" fmla="*/ 487006 w 1940457"/>
                <a:gd name="connsiteY2181" fmla="*/ 1145163 h 1270908"/>
                <a:gd name="connsiteX2182" fmla="*/ 478717 w 1940457"/>
                <a:gd name="connsiteY2182" fmla="*/ 1141955 h 1270908"/>
                <a:gd name="connsiteX2183" fmla="*/ 472451 w 1940457"/>
                <a:gd name="connsiteY2183" fmla="*/ 1146890 h 1270908"/>
                <a:gd name="connsiteX2184" fmla="*/ 472451 w 1940457"/>
                <a:gd name="connsiteY2184" fmla="*/ 1150097 h 1270908"/>
                <a:gd name="connsiteX2185" fmla="*/ 470378 w 1940457"/>
                <a:gd name="connsiteY2185" fmla="*/ 1151725 h 1270908"/>
                <a:gd name="connsiteX2186" fmla="*/ 462040 w 1940457"/>
                <a:gd name="connsiteY2186" fmla="*/ 1158188 h 1270908"/>
                <a:gd name="connsiteX2187" fmla="*/ 457895 w 1940457"/>
                <a:gd name="connsiteY2187" fmla="*/ 1158188 h 1270908"/>
                <a:gd name="connsiteX2188" fmla="*/ 449557 w 1940457"/>
                <a:gd name="connsiteY2188" fmla="*/ 1163123 h 1270908"/>
                <a:gd name="connsiteX2189" fmla="*/ 443291 w 1940457"/>
                <a:gd name="connsiteY2189" fmla="*/ 1163123 h 1270908"/>
                <a:gd name="connsiteX2190" fmla="*/ 439146 w 1940457"/>
                <a:gd name="connsiteY2190" fmla="*/ 1164800 h 1270908"/>
                <a:gd name="connsiteX2191" fmla="*/ 443291 w 1940457"/>
                <a:gd name="connsiteY2191" fmla="*/ 1168007 h 1270908"/>
                <a:gd name="connsiteX2192" fmla="*/ 455774 w 1940457"/>
                <a:gd name="connsiteY2192" fmla="*/ 1168007 h 1270908"/>
                <a:gd name="connsiteX2193" fmla="*/ 466184 w 1940457"/>
                <a:gd name="connsiteY2193" fmla="*/ 1166379 h 1270908"/>
                <a:gd name="connsiteX2194" fmla="*/ 472451 w 1940457"/>
                <a:gd name="connsiteY2194" fmla="*/ 1158337 h 1270908"/>
                <a:gd name="connsiteX2195" fmla="*/ 474523 w 1940457"/>
                <a:gd name="connsiteY2195" fmla="*/ 1163271 h 1270908"/>
                <a:gd name="connsiteX2196" fmla="*/ 478717 w 1940457"/>
                <a:gd name="connsiteY2196" fmla="*/ 1164948 h 1270908"/>
                <a:gd name="connsiteX2197" fmla="*/ 480789 w 1940457"/>
                <a:gd name="connsiteY2197" fmla="*/ 1158485 h 1270908"/>
                <a:gd name="connsiteX2198" fmla="*/ 482862 w 1940457"/>
                <a:gd name="connsiteY2198" fmla="*/ 1153550 h 1270908"/>
                <a:gd name="connsiteX2199" fmla="*/ 487006 w 1940457"/>
                <a:gd name="connsiteY2199" fmla="*/ 1155179 h 1270908"/>
                <a:gd name="connsiteX2200" fmla="*/ 489128 w 1940457"/>
                <a:gd name="connsiteY2200" fmla="*/ 1158435 h 1270908"/>
                <a:gd name="connsiteX2201" fmla="*/ 493322 w 1940457"/>
                <a:gd name="connsiteY2201" fmla="*/ 1158435 h 1270908"/>
                <a:gd name="connsiteX2202" fmla="*/ 497466 w 1940457"/>
                <a:gd name="connsiteY2202" fmla="*/ 1151972 h 1270908"/>
                <a:gd name="connsiteX2203" fmla="*/ 507877 w 1940457"/>
                <a:gd name="connsiteY2203" fmla="*/ 1148764 h 1270908"/>
                <a:gd name="connsiteX2204" fmla="*/ 507877 w 1940457"/>
                <a:gd name="connsiteY2204" fmla="*/ 1145508 h 1270908"/>
                <a:gd name="connsiteX2205" fmla="*/ 501660 w 1940457"/>
                <a:gd name="connsiteY2205" fmla="*/ 1143880 h 1270908"/>
                <a:gd name="connsiteX2206" fmla="*/ 507877 w 1940457"/>
                <a:gd name="connsiteY2206" fmla="*/ 1138946 h 1270908"/>
                <a:gd name="connsiteX2207" fmla="*/ 507877 w 1940457"/>
                <a:gd name="connsiteY2207" fmla="*/ 1134012 h 1270908"/>
                <a:gd name="connsiteX2208" fmla="*/ 499588 w 1940457"/>
                <a:gd name="connsiteY2208" fmla="*/ 1132383 h 1270908"/>
                <a:gd name="connsiteX2209" fmla="*/ 518239 w 1940457"/>
                <a:gd name="connsiteY2209" fmla="*/ 1137021 h 1270908"/>
                <a:gd name="connsiteX2210" fmla="*/ 518239 w 1940457"/>
                <a:gd name="connsiteY2210" fmla="*/ 1133321 h 1270908"/>
                <a:gd name="connsiteX2211" fmla="*/ 514094 w 1940457"/>
                <a:gd name="connsiteY2211" fmla="*/ 1130064 h 1270908"/>
                <a:gd name="connsiteX2212" fmla="*/ 514094 w 1940457"/>
                <a:gd name="connsiteY2212" fmla="*/ 1133321 h 1270908"/>
                <a:gd name="connsiteX2213" fmla="*/ 555737 w 1940457"/>
                <a:gd name="connsiteY2213" fmla="*/ 1132087 h 1270908"/>
                <a:gd name="connsiteX2214" fmla="*/ 555737 w 1940457"/>
                <a:gd name="connsiteY2214" fmla="*/ 1128387 h 1270908"/>
                <a:gd name="connsiteX2215" fmla="*/ 562003 w 1940457"/>
                <a:gd name="connsiteY2215" fmla="*/ 1128387 h 1270908"/>
                <a:gd name="connsiteX2216" fmla="*/ 564076 w 1940457"/>
                <a:gd name="connsiteY2216" fmla="*/ 1131643 h 1270908"/>
                <a:gd name="connsiteX2217" fmla="*/ 555737 w 1940457"/>
                <a:gd name="connsiteY2217" fmla="*/ 1131643 h 1270908"/>
                <a:gd name="connsiteX2218" fmla="*/ 543254 w 1940457"/>
                <a:gd name="connsiteY2218" fmla="*/ 1133716 h 1270908"/>
                <a:gd name="connsiteX2219" fmla="*/ 547399 w 1940457"/>
                <a:gd name="connsiteY2219" fmla="*/ 1130459 h 1270908"/>
                <a:gd name="connsiteX2220" fmla="*/ 551593 w 1940457"/>
                <a:gd name="connsiteY2220" fmla="*/ 1133716 h 1270908"/>
                <a:gd name="connsiteX2221" fmla="*/ 539060 w 1940457"/>
                <a:gd name="connsiteY2221" fmla="*/ 1127252 h 1270908"/>
                <a:gd name="connsiteX2222" fmla="*/ 541182 w 1940457"/>
                <a:gd name="connsiteY2222" fmla="*/ 1122318 h 1270908"/>
                <a:gd name="connsiteX2223" fmla="*/ 541182 w 1940457"/>
                <a:gd name="connsiteY2223" fmla="*/ 1117384 h 1270908"/>
                <a:gd name="connsiteX2224" fmla="*/ 543254 w 1940457"/>
                <a:gd name="connsiteY2224" fmla="*/ 1118963 h 1270908"/>
                <a:gd name="connsiteX2225" fmla="*/ 545326 w 1940457"/>
                <a:gd name="connsiteY2225" fmla="*/ 1123897 h 1270908"/>
                <a:gd name="connsiteX2226" fmla="*/ 526577 w 1940457"/>
                <a:gd name="connsiteY2226" fmla="*/ 1120788 h 1270908"/>
                <a:gd name="connsiteX2227" fmla="*/ 520360 w 1940457"/>
                <a:gd name="connsiteY2227" fmla="*/ 1122367 h 1270908"/>
                <a:gd name="connsiteX2228" fmla="*/ 520360 w 1940457"/>
                <a:gd name="connsiteY2228" fmla="*/ 1127301 h 1270908"/>
                <a:gd name="connsiteX2229" fmla="*/ 526577 w 1940457"/>
                <a:gd name="connsiteY2229" fmla="*/ 1132235 h 1270908"/>
                <a:gd name="connsiteX2230" fmla="*/ 532843 w 1940457"/>
                <a:gd name="connsiteY2230" fmla="*/ 1130607 h 1270908"/>
                <a:gd name="connsiteX2231" fmla="*/ 534916 w 1940457"/>
                <a:gd name="connsiteY2231" fmla="*/ 1127400 h 1270908"/>
                <a:gd name="connsiteX2232" fmla="*/ 530771 w 1940457"/>
                <a:gd name="connsiteY2232" fmla="*/ 1125772 h 1270908"/>
                <a:gd name="connsiteX2233" fmla="*/ 859723 w 1940457"/>
                <a:gd name="connsiteY2233" fmla="*/ 870880 h 1270908"/>
                <a:gd name="connsiteX2234" fmla="*/ 857651 w 1940457"/>
                <a:gd name="connsiteY2234" fmla="*/ 867623 h 1270908"/>
                <a:gd name="connsiteX2235" fmla="*/ 865989 w 1940457"/>
                <a:gd name="connsiteY2235" fmla="*/ 866044 h 1270908"/>
                <a:gd name="connsiteX2236" fmla="*/ 863917 w 1940457"/>
                <a:gd name="connsiteY2236" fmla="*/ 869301 h 1270908"/>
                <a:gd name="connsiteX2237" fmla="*/ 845168 w 1940457"/>
                <a:gd name="connsiteY2237" fmla="*/ 872508 h 1270908"/>
                <a:gd name="connsiteX2238" fmla="*/ 843095 w 1940457"/>
                <a:gd name="connsiteY2238" fmla="*/ 870880 h 1270908"/>
                <a:gd name="connsiteX2239" fmla="*/ 843095 w 1940457"/>
                <a:gd name="connsiteY2239" fmla="*/ 865946 h 1270908"/>
                <a:gd name="connsiteX2240" fmla="*/ 851434 w 1940457"/>
                <a:gd name="connsiteY2240" fmla="*/ 861011 h 1270908"/>
                <a:gd name="connsiteX2241" fmla="*/ 857651 w 1940457"/>
                <a:gd name="connsiteY2241" fmla="*/ 857804 h 1270908"/>
                <a:gd name="connsiteX2242" fmla="*/ 857651 w 1940457"/>
                <a:gd name="connsiteY2242" fmla="*/ 861011 h 1270908"/>
                <a:gd name="connsiteX2243" fmla="*/ 849312 w 1940457"/>
                <a:gd name="connsiteY2243" fmla="*/ 869103 h 1270908"/>
                <a:gd name="connsiteX2244" fmla="*/ 570293 w 1940457"/>
                <a:gd name="connsiteY2244" fmla="*/ 1107615 h 1270908"/>
                <a:gd name="connsiteX2245" fmla="*/ 572414 w 1940457"/>
                <a:gd name="connsiteY2245" fmla="*/ 1101151 h 1270908"/>
                <a:gd name="connsiteX2246" fmla="*/ 574487 w 1940457"/>
                <a:gd name="connsiteY2246" fmla="*/ 1097895 h 1270908"/>
                <a:gd name="connsiteX2247" fmla="*/ 578631 w 1940457"/>
                <a:gd name="connsiteY2247" fmla="*/ 1099572 h 1270908"/>
                <a:gd name="connsiteX2248" fmla="*/ 584897 w 1940457"/>
                <a:gd name="connsiteY2248" fmla="*/ 1096316 h 1270908"/>
                <a:gd name="connsiteX2249" fmla="*/ 586970 w 1940457"/>
                <a:gd name="connsiteY2249" fmla="*/ 1094687 h 1270908"/>
                <a:gd name="connsiteX2250" fmla="*/ 593236 w 1940457"/>
                <a:gd name="connsiteY2250" fmla="*/ 1083438 h 1270908"/>
                <a:gd name="connsiteX2251" fmla="*/ 595308 w 1940457"/>
                <a:gd name="connsiteY2251" fmla="*/ 1085017 h 1270908"/>
                <a:gd name="connsiteX2252" fmla="*/ 601525 w 1940457"/>
                <a:gd name="connsiteY2252" fmla="*/ 1089951 h 1270908"/>
                <a:gd name="connsiteX2253" fmla="*/ 605719 w 1940457"/>
                <a:gd name="connsiteY2253" fmla="*/ 1086744 h 1270908"/>
                <a:gd name="connsiteX2254" fmla="*/ 611738 w 1940457"/>
                <a:gd name="connsiteY2254" fmla="*/ 1086744 h 1270908"/>
                <a:gd name="connsiteX2255" fmla="*/ 618005 w 1940457"/>
                <a:gd name="connsiteY2255" fmla="*/ 1085115 h 1270908"/>
                <a:gd name="connsiteX2256" fmla="*/ 620077 w 1940457"/>
                <a:gd name="connsiteY2256" fmla="*/ 1081908 h 1270908"/>
                <a:gd name="connsiteX2257" fmla="*/ 630488 w 1940457"/>
                <a:gd name="connsiteY2257" fmla="*/ 1083537 h 1270908"/>
                <a:gd name="connsiteX2258" fmla="*/ 634682 w 1940457"/>
                <a:gd name="connsiteY2258" fmla="*/ 1088471 h 1270908"/>
                <a:gd name="connsiteX2259" fmla="*/ 630488 w 1940457"/>
                <a:gd name="connsiteY2259" fmla="*/ 1094934 h 1270908"/>
                <a:gd name="connsiteX2260" fmla="*/ 640899 w 1940457"/>
                <a:gd name="connsiteY2260" fmla="*/ 1101398 h 1270908"/>
                <a:gd name="connsiteX2261" fmla="*/ 640899 w 1940457"/>
                <a:gd name="connsiteY2261" fmla="*/ 1104605 h 1270908"/>
                <a:gd name="connsiteX2262" fmla="*/ 630488 w 1940457"/>
                <a:gd name="connsiteY2262" fmla="*/ 1103026 h 1270908"/>
                <a:gd name="connsiteX2263" fmla="*/ 626343 w 1940457"/>
                <a:gd name="connsiteY2263" fmla="*/ 1107960 h 1270908"/>
                <a:gd name="connsiteX2264" fmla="*/ 613860 w 1940457"/>
                <a:gd name="connsiteY2264" fmla="*/ 1107960 h 1270908"/>
                <a:gd name="connsiteX2265" fmla="*/ 607594 w 1940457"/>
                <a:gd name="connsiteY2265" fmla="*/ 1106332 h 1270908"/>
                <a:gd name="connsiteX2266" fmla="*/ 595111 w 1940457"/>
                <a:gd name="connsiteY2266" fmla="*/ 1106332 h 1270908"/>
                <a:gd name="connsiteX2267" fmla="*/ 587068 w 1940457"/>
                <a:gd name="connsiteY2267" fmla="*/ 1114029 h 1270908"/>
                <a:gd name="connsiteX2268" fmla="*/ 582924 w 1940457"/>
                <a:gd name="connsiteY2268" fmla="*/ 1114029 h 1270908"/>
                <a:gd name="connsiteX2269" fmla="*/ 578730 w 1940457"/>
                <a:gd name="connsiteY2269" fmla="*/ 1115657 h 1270908"/>
                <a:gd name="connsiteX2270" fmla="*/ 572513 w 1940457"/>
                <a:gd name="connsiteY2270" fmla="*/ 1112450 h 127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</a:cxnLst>
              <a:rect l="l" t="t" r="r" b="b"/>
              <a:pathLst>
                <a:path w="1940457" h="1270908">
                  <a:moveTo>
                    <a:pt x="1748836" y="1213992"/>
                  </a:moveTo>
                  <a:lnTo>
                    <a:pt x="1748836" y="1207331"/>
                  </a:lnTo>
                  <a:lnTo>
                    <a:pt x="1750909" y="1205753"/>
                  </a:lnTo>
                  <a:lnTo>
                    <a:pt x="1750909" y="1204124"/>
                  </a:lnTo>
                  <a:lnTo>
                    <a:pt x="1752981" y="1200917"/>
                  </a:lnTo>
                  <a:lnTo>
                    <a:pt x="1750909" y="1197710"/>
                  </a:lnTo>
                  <a:lnTo>
                    <a:pt x="1746764" y="1196082"/>
                  </a:lnTo>
                  <a:lnTo>
                    <a:pt x="1746764" y="1189618"/>
                  </a:lnTo>
                  <a:lnTo>
                    <a:pt x="1742570" y="1184684"/>
                  </a:lnTo>
                  <a:lnTo>
                    <a:pt x="1734281" y="1179750"/>
                  </a:lnTo>
                  <a:lnTo>
                    <a:pt x="1730087" y="1176543"/>
                  </a:lnTo>
                  <a:lnTo>
                    <a:pt x="1728015" y="1171609"/>
                  </a:lnTo>
                  <a:lnTo>
                    <a:pt x="1721896" y="1164060"/>
                  </a:lnTo>
                  <a:lnTo>
                    <a:pt x="1717752" y="1162382"/>
                  </a:lnTo>
                  <a:lnTo>
                    <a:pt x="1711486" y="1162382"/>
                  </a:lnTo>
                  <a:lnTo>
                    <a:pt x="1711486" y="1160804"/>
                  </a:lnTo>
                  <a:lnTo>
                    <a:pt x="1713607" y="1157596"/>
                  </a:lnTo>
                  <a:lnTo>
                    <a:pt x="1711486" y="1152662"/>
                  </a:lnTo>
                  <a:lnTo>
                    <a:pt x="1709413" y="1151083"/>
                  </a:lnTo>
                  <a:lnTo>
                    <a:pt x="1707341" y="1146149"/>
                  </a:lnTo>
                  <a:lnTo>
                    <a:pt x="1711486" y="1144521"/>
                  </a:lnTo>
                  <a:lnTo>
                    <a:pt x="1713607" y="1142893"/>
                  </a:lnTo>
                  <a:lnTo>
                    <a:pt x="1713607" y="1139686"/>
                  </a:lnTo>
                  <a:lnTo>
                    <a:pt x="1709413" y="1138058"/>
                  </a:lnTo>
                  <a:lnTo>
                    <a:pt x="1705269" y="1138058"/>
                  </a:lnTo>
                  <a:lnTo>
                    <a:pt x="1705269" y="1134850"/>
                  </a:lnTo>
                  <a:lnTo>
                    <a:pt x="1711486" y="1131643"/>
                  </a:lnTo>
                  <a:lnTo>
                    <a:pt x="1709413" y="1109045"/>
                  </a:lnTo>
                  <a:lnTo>
                    <a:pt x="1709413" y="1086497"/>
                  </a:lnTo>
                  <a:lnTo>
                    <a:pt x="1713607" y="1068784"/>
                  </a:lnTo>
                  <a:lnTo>
                    <a:pt x="1711486" y="1063850"/>
                  </a:lnTo>
                  <a:lnTo>
                    <a:pt x="1709413" y="1057386"/>
                  </a:lnTo>
                  <a:lnTo>
                    <a:pt x="1713607" y="1052452"/>
                  </a:lnTo>
                  <a:lnTo>
                    <a:pt x="1711486" y="1045988"/>
                  </a:lnTo>
                  <a:lnTo>
                    <a:pt x="1709413" y="1041054"/>
                  </a:lnTo>
                  <a:lnTo>
                    <a:pt x="1707094" y="1030200"/>
                  </a:lnTo>
                  <a:lnTo>
                    <a:pt x="1698756" y="1022157"/>
                  </a:lnTo>
                  <a:lnTo>
                    <a:pt x="1696684" y="1010858"/>
                  </a:lnTo>
                  <a:lnTo>
                    <a:pt x="1698756" y="1005924"/>
                  </a:lnTo>
                  <a:lnTo>
                    <a:pt x="1690417" y="988211"/>
                  </a:lnTo>
                  <a:lnTo>
                    <a:pt x="1692539" y="983277"/>
                  </a:lnTo>
                  <a:lnTo>
                    <a:pt x="1698756" y="975185"/>
                  </a:lnTo>
                  <a:lnTo>
                    <a:pt x="1696684" y="970251"/>
                  </a:lnTo>
                  <a:lnTo>
                    <a:pt x="1696684" y="965317"/>
                  </a:lnTo>
                  <a:lnTo>
                    <a:pt x="1688345" y="960383"/>
                  </a:lnTo>
                  <a:lnTo>
                    <a:pt x="1677934" y="960383"/>
                  </a:lnTo>
                  <a:lnTo>
                    <a:pt x="1665451" y="963639"/>
                  </a:lnTo>
                  <a:lnTo>
                    <a:pt x="1661306" y="965218"/>
                  </a:lnTo>
                  <a:lnTo>
                    <a:pt x="1648774" y="968425"/>
                  </a:lnTo>
                  <a:lnTo>
                    <a:pt x="1640583" y="975432"/>
                  </a:lnTo>
                  <a:lnTo>
                    <a:pt x="1630173" y="988359"/>
                  </a:lnTo>
                  <a:lnTo>
                    <a:pt x="1621834" y="993293"/>
                  </a:lnTo>
                  <a:lnTo>
                    <a:pt x="1611423" y="994921"/>
                  </a:lnTo>
                  <a:lnTo>
                    <a:pt x="1596621" y="996549"/>
                  </a:lnTo>
                  <a:lnTo>
                    <a:pt x="1594549" y="996549"/>
                  </a:lnTo>
                  <a:lnTo>
                    <a:pt x="1594549" y="991615"/>
                  </a:lnTo>
                  <a:lnTo>
                    <a:pt x="1600815" y="983573"/>
                  </a:lnTo>
                  <a:lnTo>
                    <a:pt x="1596621" y="975481"/>
                  </a:lnTo>
                  <a:lnTo>
                    <a:pt x="1586210" y="940055"/>
                  </a:lnTo>
                  <a:lnTo>
                    <a:pt x="1579993" y="923920"/>
                  </a:lnTo>
                  <a:lnTo>
                    <a:pt x="1577921" y="915829"/>
                  </a:lnTo>
                  <a:lnTo>
                    <a:pt x="1584138" y="902951"/>
                  </a:lnTo>
                  <a:lnTo>
                    <a:pt x="1567510" y="901323"/>
                  </a:lnTo>
                  <a:lnTo>
                    <a:pt x="1552708" y="907786"/>
                  </a:lnTo>
                  <a:lnTo>
                    <a:pt x="1544370" y="904530"/>
                  </a:lnTo>
                  <a:lnTo>
                    <a:pt x="1521476" y="904530"/>
                  </a:lnTo>
                  <a:lnTo>
                    <a:pt x="1940375" y="250129"/>
                  </a:lnTo>
                  <a:lnTo>
                    <a:pt x="1938303" y="248500"/>
                  </a:lnTo>
                  <a:lnTo>
                    <a:pt x="1932086" y="245195"/>
                  </a:lnTo>
                  <a:lnTo>
                    <a:pt x="1925820" y="246774"/>
                  </a:lnTo>
                  <a:lnTo>
                    <a:pt x="1921675" y="243566"/>
                  </a:lnTo>
                  <a:lnTo>
                    <a:pt x="1919603" y="230689"/>
                  </a:lnTo>
                  <a:lnTo>
                    <a:pt x="1915409" y="224225"/>
                  </a:lnTo>
                  <a:lnTo>
                    <a:pt x="1911265" y="222597"/>
                  </a:lnTo>
                  <a:lnTo>
                    <a:pt x="1909143" y="216133"/>
                  </a:lnTo>
                  <a:lnTo>
                    <a:pt x="1904998" y="208091"/>
                  </a:lnTo>
                  <a:lnTo>
                    <a:pt x="1900854" y="204884"/>
                  </a:lnTo>
                  <a:lnTo>
                    <a:pt x="1888371" y="204884"/>
                  </a:lnTo>
                  <a:lnTo>
                    <a:pt x="1886249" y="206462"/>
                  </a:lnTo>
                  <a:lnTo>
                    <a:pt x="1875838" y="204884"/>
                  </a:lnTo>
                  <a:lnTo>
                    <a:pt x="1867500" y="206462"/>
                  </a:lnTo>
                  <a:lnTo>
                    <a:pt x="1863355" y="203255"/>
                  </a:lnTo>
                  <a:lnTo>
                    <a:pt x="1859210" y="204884"/>
                  </a:lnTo>
                  <a:lnTo>
                    <a:pt x="1857138" y="203255"/>
                  </a:lnTo>
                  <a:lnTo>
                    <a:pt x="1855017" y="204884"/>
                  </a:lnTo>
                  <a:lnTo>
                    <a:pt x="1850872" y="204884"/>
                  </a:lnTo>
                  <a:lnTo>
                    <a:pt x="1848800" y="203255"/>
                  </a:lnTo>
                  <a:lnTo>
                    <a:pt x="1852944" y="201627"/>
                  </a:lnTo>
                  <a:lnTo>
                    <a:pt x="1852944" y="200048"/>
                  </a:lnTo>
                  <a:lnTo>
                    <a:pt x="1846678" y="195114"/>
                  </a:lnTo>
                  <a:lnTo>
                    <a:pt x="1842534" y="198321"/>
                  </a:lnTo>
                  <a:lnTo>
                    <a:pt x="1838389" y="196693"/>
                  </a:lnTo>
                  <a:lnTo>
                    <a:pt x="1840461" y="193486"/>
                  </a:lnTo>
                  <a:lnTo>
                    <a:pt x="1842534" y="191858"/>
                  </a:lnTo>
                  <a:lnTo>
                    <a:pt x="1840461" y="190279"/>
                  </a:lnTo>
                  <a:lnTo>
                    <a:pt x="1836267" y="190279"/>
                  </a:lnTo>
                  <a:lnTo>
                    <a:pt x="1830050" y="188651"/>
                  </a:lnTo>
                  <a:lnTo>
                    <a:pt x="1832123" y="185443"/>
                  </a:lnTo>
                  <a:lnTo>
                    <a:pt x="1825857" y="182187"/>
                  </a:lnTo>
                  <a:lnTo>
                    <a:pt x="1815643" y="174095"/>
                  </a:lnTo>
                  <a:lnTo>
                    <a:pt x="1813571" y="175723"/>
                  </a:lnTo>
                  <a:lnTo>
                    <a:pt x="1809426" y="174095"/>
                  </a:lnTo>
                  <a:lnTo>
                    <a:pt x="1807354" y="174095"/>
                  </a:lnTo>
                  <a:lnTo>
                    <a:pt x="1803160" y="175723"/>
                  </a:lnTo>
                  <a:lnTo>
                    <a:pt x="1805232" y="174095"/>
                  </a:lnTo>
                  <a:lnTo>
                    <a:pt x="1803160" y="172467"/>
                  </a:lnTo>
                  <a:lnTo>
                    <a:pt x="1799015" y="169260"/>
                  </a:lnTo>
                  <a:lnTo>
                    <a:pt x="1794821" y="174194"/>
                  </a:lnTo>
                  <a:lnTo>
                    <a:pt x="1790677" y="172566"/>
                  </a:lnTo>
                  <a:lnTo>
                    <a:pt x="1790677" y="169359"/>
                  </a:lnTo>
                  <a:lnTo>
                    <a:pt x="1792749" y="167730"/>
                  </a:lnTo>
                  <a:lnTo>
                    <a:pt x="1790677" y="164523"/>
                  </a:lnTo>
                  <a:lnTo>
                    <a:pt x="1786532" y="162895"/>
                  </a:lnTo>
                  <a:lnTo>
                    <a:pt x="1780266" y="164523"/>
                  </a:lnTo>
                  <a:lnTo>
                    <a:pt x="1782338" y="161267"/>
                  </a:lnTo>
                  <a:lnTo>
                    <a:pt x="1782338" y="159688"/>
                  </a:lnTo>
                  <a:lnTo>
                    <a:pt x="1776121" y="154754"/>
                  </a:lnTo>
                  <a:lnTo>
                    <a:pt x="1769855" y="149820"/>
                  </a:lnTo>
                  <a:lnTo>
                    <a:pt x="1771928" y="148191"/>
                  </a:lnTo>
                  <a:lnTo>
                    <a:pt x="1769855" y="146563"/>
                  </a:lnTo>
                  <a:lnTo>
                    <a:pt x="1765711" y="144984"/>
                  </a:lnTo>
                  <a:lnTo>
                    <a:pt x="1761369" y="146514"/>
                  </a:lnTo>
                  <a:lnTo>
                    <a:pt x="1746567" y="157961"/>
                  </a:lnTo>
                  <a:lnTo>
                    <a:pt x="1731764" y="164424"/>
                  </a:lnTo>
                  <a:lnTo>
                    <a:pt x="1746567" y="156333"/>
                  </a:lnTo>
                  <a:lnTo>
                    <a:pt x="1752783" y="146465"/>
                  </a:lnTo>
                  <a:lnTo>
                    <a:pt x="1761122" y="140050"/>
                  </a:lnTo>
                  <a:lnTo>
                    <a:pt x="1763194" y="131959"/>
                  </a:lnTo>
                  <a:lnTo>
                    <a:pt x="1759050" y="128751"/>
                  </a:lnTo>
                  <a:lnTo>
                    <a:pt x="1748639" y="123817"/>
                  </a:lnTo>
                  <a:lnTo>
                    <a:pt x="1740300" y="123817"/>
                  </a:lnTo>
                  <a:lnTo>
                    <a:pt x="1731962" y="127024"/>
                  </a:lnTo>
                  <a:lnTo>
                    <a:pt x="1725745" y="127024"/>
                  </a:lnTo>
                  <a:lnTo>
                    <a:pt x="1723673" y="128653"/>
                  </a:lnTo>
                  <a:lnTo>
                    <a:pt x="1713262" y="130281"/>
                  </a:lnTo>
                  <a:lnTo>
                    <a:pt x="1702851" y="138323"/>
                  </a:lnTo>
                  <a:lnTo>
                    <a:pt x="1694513" y="144787"/>
                  </a:lnTo>
                  <a:lnTo>
                    <a:pt x="1700729" y="138323"/>
                  </a:lnTo>
                  <a:lnTo>
                    <a:pt x="1700729" y="128455"/>
                  </a:lnTo>
                  <a:lnTo>
                    <a:pt x="1702851" y="121992"/>
                  </a:lnTo>
                  <a:lnTo>
                    <a:pt x="1700729" y="117058"/>
                  </a:lnTo>
                  <a:lnTo>
                    <a:pt x="1690319" y="110643"/>
                  </a:lnTo>
                  <a:lnTo>
                    <a:pt x="1690319" y="109015"/>
                  </a:lnTo>
                  <a:lnTo>
                    <a:pt x="1696585" y="105759"/>
                  </a:lnTo>
                  <a:lnTo>
                    <a:pt x="1702851" y="105759"/>
                  </a:lnTo>
                  <a:lnTo>
                    <a:pt x="1702851" y="104180"/>
                  </a:lnTo>
                  <a:lnTo>
                    <a:pt x="1684102" y="94312"/>
                  </a:lnTo>
                  <a:lnTo>
                    <a:pt x="1682029" y="91055"/>
                  </a:lnTo>
                  <a:lnTo>
                    <a:pt x="1686174" y="86121"/>
                  </a:lnTo>
                  <a:lnTo>
                    <a:pt x="1696585" y="81187"/>
                  </a:lnTo>
                  <a:lnTo>
                    <a:pt x="1700729" y="77980"/>
                  </a:lnTo>
                  <a:lnTo>
                    <a:pt x="1696585" y="73046"/>
                  </a:lnTo>
                  <a:lnTo>
                    <a:pt x="1694513" y="66583"/>
                  </a:lnTo>
                  <a:lnTo>
                    <a:pt x="1690319" y="66583"/>
                  </a:lnTo>
                  <a:lnTo>
                    <a:pt x="1686174" y="68211"/>
                  </a:lnTo>
                  <a:lnTo>
                    <a:pt x="1684102" y="65004"/>
                  </a:lnTo>
                  <a:lnTo>
                    <a:pt x="1677835" y="61747"/>
                  </a:lnTo>
                  <a:lnTo>
                    <a:pt x="1671619" y="61747"/>
                  </a:lnTo>
                  <a:lnTo>
                    <a:pt x="1663280" y="60168"/>
                  </a:lnTo>
                  <a:lnTo>
                    <a:pt x="1659086" y="58540"/>
                  </a:lnTo>
                  <a:lnTo>
                    <a:pt x="1652869" y="60168"/>
                  </a:lnTo>
                  <a:lnTo>
                    <a:pt x="1646603" y="60168"/>
                  </a:lnTo>
                  <a:lnTo>
                    <a:pt x="1642458" y="65102"/>
                  </a:lnTo>
                  <a:lnTo>
                    <a:pt x="1642458" y="68309"/>
                  </a:lnTo>
                  <a:lnTo>
                    <a:pt x="1638264" y="63375"/>
                  </a:lnTo>
                  <a:lnTo>
                    <a:pt x="1640386" y="56912"/>
                  </a:lnTo>
                  <a:lnTo>
                    <a:pt x="1644531" y="55333"/>
                  </a:lnTo>
                  <a:lnTo>
                    <a:pt x="1642458" y="50399"/>
                  </a:lnTo>
                  <a:lnTo>
                    <a:pt x="1644531" y="47192"/>
                  </a:lnTo>
                  <a:lnTo>
                    <a:pt x="1648675" y="43985"/>
                  </a:lnTo>
                  <a:lnTo>
                    <a:pt x="1648675" y="39051"/>
                  </a:lnTo>
                  <a:lnTo>
                    <a:pt x="1650797" y="34117"/>
                  </a:lnTo>
                  <a:lnTo>
                    <a:pt x="1648675" y="29183"/>
                  </a:lnTo>
                  <a:lnTo>
                    <a:pt x="1646603" y="29183"/>
                  </a:lnTo>
                  <a:lnTo>
                    <a:pt x="1638264" y="37225"/>
                  </a:lnTo>
                  <a:lnTo>
                    <a:pt x="1636192" y="42159"/>
                  </a:lnTo>
                  <a:lnTo>
                    <a:pt x="1636192" y="42159"/>
                  </a:lnTo>
                  <a:lnTo>
                    <a:pt x="1629975" y="38952"/>
                  </a:lnTo>
                  <a:lnTo>
                    <a:pt x="1623709" y="42159"/>
                  </a:lnTo>
                  <a:lnTo>
                    <a:pt x="1621637" y="43787"/>
                  </a:lnTo>
                  <a:lnTo>
                    <a:pt x="1623709" y="50202"/>
                  </a:lnTo>
                  <a:lnTo>
                    <a:pt x="1617443" y="55136"/>
                  </a:lnTo>
                  <a:lnTo>
                    <a:pt x="1615371" y="55136"/>
                  </a:lnTo>
                  <a:lnTo>
                    <a:pt x="1613298" y="53507"/>
                  </a:lnTo>
                  <a:lnTo>
                    <a:pt x="1609154" y="61550"/>
                  </a:lnTo>
                  <a:lnTo>
                    <a:pt x="1609154" y="66484"/>
                  </a:lnTo>
                  <a:lnTo>
                    <a:pt x="1607032" y="60070"/>
                  </a:lnTo>
                  <a:lnTo>
                    <a:pt x="1607032" y="53606"/>
                  </a:lnTo>
                  <a:lnTo>
                    <a:pt x="1609154" y="48672"/>
                  </a:lnTo>
                  <a:lnTo>
                    <a:pt x="1607032" y="48672"/>
                  </a:lnTo>
                  <a:lnTo>
                    <a:pt x="1600815" y="51879"/>
                  </a:lnTo>
                  <a:lnTo>
                    <a:pt x="1600815" y="56813"/>
                  </a:lnTo>
                  <a:lnTo>
                    <a:pt x="1594549" y="58441"/>
                  </a:lnTo>
                  <a:lnTo>
                    <a:pt x="1598743" y="48573"/>
                  </a:lnTo>
                  <a:lnTo>
                    <a:pt x="1594549" y="42110"/>
                  </a:lnTo>
                  <a:lnTo>
                    <a:pt x="1588332" y="43738"/>
                  </a:lnTo>
                  <a:lnTo>
                    <a:pt x="1588332" y="38804"/>
                  </a:lnTo>
                  <a:lnTo>
                    <a:pt x="1596621" y="33870"/>
                  </a:lnTo>
                  <a:lnTo>
                    <a:pt x="1604960" y="32242"/>
                  </a:lnTo>
                  <a:lnTo>
                    <a:pt x="1613298" y="37176"/>
                  </a:lnTo>
                  <a:lnTo>
                    <a:pt x="1621637" y="33969"/>
                  </a:lnTo>
                  <a:lnTo>
                    <a:pt x="1627854" y="32340"/>
                  </a:lnTo>
                  <a:lnTo>
                    <a:pt x="1636192" y="25877"/>
                  </a:lnTo>
                  <a:lnTo>
                    <a:pt x="1636192" y="22670"/>
                  </a:lnTo>
                  <a:lnTo>
                    <a:pt x="1638264" y="21041"/>
                  </a:lnTo>
                  <a:lnTo>
                    <a:pt x="1636192" y="17834"/>
                  </a:lnTo>
                  <a:lnTo>
                    <a:pt x="1627854" y="14627"/>
                  </a:lnTo>
                  <a:lnTo>
                    <a:pt x="1625781" y="14627"/>
                  </a:lnTo>
                  <a:lnTo>
                    <a:pt x="1625781" y="9693"/>
                  </a:lnTo>
                  <a:lnTo>
                    <a:pt x="1621637" y="6437"/>
                  </a:lnTo>
                  <a:lnTo>
                    <a:pt x="1619565" y="4858"/>
                  </a:lnTo>
                  <a:lnTo>
                    <a:pt x="1621637" y="3230"/>
                  </a:lnTo>
                  <a:lnTo>
                    <a:pt x="1625781" y="3230"/>
                  </a:lnTo>
                  <a:lnTo>
                    <a:pt x="1625781" y="-27"/>
                  </a:lnTo>
                  <a:lnTo>
                    <a:pt x="1623709" y="-27"/>
                  </a:lnTo>
                  <a:lnTo>
                    <a:pt x="1609154" y="4907"/>
                  </a:lnTo>
                  <a:lnTo>
                    <a:pt x="1607032" y="8114"/>
                  </a:lnTo>
                  <a:lnTo>
                    <a:pt x="1596621" y="8114"/>
                  </a:lnTo>
                  <a:lnTo>
                    <a:pt x="1590404" y="13048"/>
                  </a:lnTo>
                  <a:lnTo>
                    <a:pt x="1573727" y="22916"/>
                  </a:lnTo>
                  <a:lnTo>
                    <a:pt x="1565389" y="26123"/>
                  </a:lnTo>
                  <a:lnTo>
                    <a:pt x="1549205" y="26123"/>
                  </a:lnTo>
                  <a:lnTo>
                    <a:pt x="1538794" y="21189"/>
                  </a:lnTo>
                  <a:lnTo>
                    <a:pt x="1534600" y="17982"/>
                  </a:lnTo>
                  <a:lnTo>
                    <a:pt x="1534600" y="21189"/>
                  </a:lnTo>
                  <a:lnTo>
                    <a:pt x="1530456" y="21189"/>
                  </a:lnTo>
                  <a:lnTo>
                    <a:pt x="1522117" y="16255"/>
                  </a:lnTo>
                  <a:lnTo>
                    <a:pt x="1515900" y="17884"/>
                  </a:lnTo>
                  <a:lnTo>
                    <a:pt x="1513779" y="22818"/>
                  </a:lnTo>
                  <a:lnTo>
                    <a:pt x="1509634" y="22818"/>
                  </a:lnTo>
                  <a:lnTo>
                    <a:pt x="1509634" y="16354"/>
                  </a:lnTo>
                  <a:lnTo>
                    <a:pt x="1515900" y="13147"/>
                  </a:lnTo>
                  <a:lnTo>
                    <a:pt x="1513779" y="11519"/>
                  </a:lnTo>
                  <a:lnTo>
                    <a:pt x="1505490" y="13147"/>
                  </a:lnTo>
                  <a:lnTo>
                    <a:pt x="1490688" y="19611"/>
                  </a:lnTo>
                  <a:lnTo>
                    <a:pt x="1480277" y="22818"/>
                  </a:lnTo>
                  <a:lnTo>
                    <a:pt x="1478204" y="29281"/>
                  </a:lnTo>
                  <a:lnTo>
                    <a:pt x="1478204" y="35695"/>
                  </a:lnTo>
                  <a:lnTo>
                    <a:pt x="1486543" y="37324"/>
                  </a:lnTo>
                  <a:lnTo>
                    <a:pt x="1482349" y="40531"/>
                  </a:lnTo>
                  <a:lnTo>
                    <a:pt x="1474060" y="40531"/>
                  </a:lnTo>
                  <a:lnTo>
                    <a:pt x="1463649" y="46994"/>
                  </a:lnTo>
                  <a:lnTo>
                    <a:pt x="1457333" y="62635"/>
                  </a:lnTo>
                  <a:lnTo>
                    <a:pt x="1453189" y="72503"/>
                  </a:lnTo>
                  <a:lnTo>
                    <a:pt x="1448995" y="72503"/>
                  </a:lnTo>
                  <a:lnTo>
                    <a:pt x="1448995" y="70924"/>
                  </a:lnTo>
                  <a:lnTo>
                    <a:pt x="1451067" y="59626"/>
                  </a:lnTo>
                  <a:lnTo>
                    <a:pt x="1461478" y="46698"/>
                  </a:lnTo>
                  <a:lnTo>
                    <a:pt x="1461478" y="41764"/>
                  </a:lnTo>
                  <a:lnTo>
                    <a:pt x="1457333" y="41764"/>
                  </a:lnTo>
                  <a:lnTo>
                    <a:pt x="1440656" y="48327"/>
                  </a:lnTo>
                  <a:lnTo>
                    <a:pt x="1432367" y="48327"/>
                  </a:lnTo>
                  <a:lnTo>
                    <a:pt x="1428173" y="46698"/>
                  </a:lnTo>
                  <a:lnTo>
                    <a:pt x="1421956" y="40284"/>
                  </a:lnTo>
                  <a:lnTo>
                    <a:pt x="1413618" y="38656"/>
                  </a:lnTo>
                  <a:lnTo>
                    <a:pt x="1409424" y="38656"/>
                  </a:lnTo>
                  <a:lnTo>
                    <a:pt x="1409424" y="41863"/>
                  </a:lnTo>
                  <a:lnTo>
                    <a:pt x="1419835" y="45119"/>
                  </a:lnTo>
                  <a:lnTo>
                    <a:pt x="1424029" y="50054"/>
                  </a:lnTo>
                  <a:lnTo>
                    <a:pt x="1419835" y="51632"/>
                  </a:lnTo>
                  <a:lnTo>
                    <a:pt x="1409424" y="48425"/>
                  </a:lnTo>
                  <a:lnTo>
                    <a:pt x="1399013" y="46797"/>
                  </a:lnTo>
                  <a:lnTo>
                    <a:pt x="1382385" y="53261"/>
                  </a:lnTo>
                  <a:lnTo>
                    <a:pt x="1365708" y="67569"/>
                  </a:lnTo>
                  <a:lnTo>
                    <a:pt x="1344887" y="75661"/>
                  </a:lnTo>
                  <a:lnTo>
                    <a:pt x="1330331" y="85529"/>
                  </a:lnTo>
                  <a:lnTo>
                    <a:pt x="1313654" y="96779"/>
                  </a:lnTo>
                  <a:lnTo>
                    <a:pt x="1296977" y="109706"/>
                  </a:lnTo>
                  <a:lnTo>
                    <a:pt x="1284494" y="114640"/>
                  </a:lnTo>
                  <a:lnTo>
                    <a:pt x="1278277" y="116268"/>
                  </a:lnTo>
                  <a:lnTo>
                    <a:pt x="1267867" y="121202"/>
                  </a:lnTo>
                  <a:lnTo>
                    <a:pt x="1259528" y="121202"/>
                  </a:lnTo>
                  <a:lnTo>
                    <a:pt x="1247045" y="127617"/>
                  </a:lnTo>
                  <a:lnTo>
                    <a:pt x="1236634" y="127617"/>
                  </a:lnTo>
                  <a:lnTo>
                    <a:pt x="1232440" y="124409"/>
                  </a:lnTo>
                  <a:lnTo>
                    <a:pt x="1219957" y="122781"/>
                  </a:lnTo>
                  <a:lnTo>
                    <a:pt x="1211618" y="117847"/>
                  </a:lnTo>
                  <a:lnTo>
                    <a:pt x="1203280" y="114640"/>
                  </a:lnTo>
                  <a:lnTo>
                    <a:pt x="1192869" y="109706"/>
                  </a:lnTo>
                  <a:lnTo>
                    <a:pt x="1188725" y="111334"/>
                  </a:lnTo>
                  <a:lnTo>
                    <a:pt x="1180386" y="117748"/>
                  </a:lnTo>
                  <a:lnTo>
                    <a:pt x="1167903" y="130676"/>
                  </a:lnTo>
                  <a:lnTo>
                    <a:pt x="1163758" y="137090"/>
                  </a:lnTo>
                  <a:lnTo>
                    <a:pt x="1157492" y="143553"/>
                  </a:lnTo>
                  <a:lnTo>
                    <a:pt x="1153347" y="150017"/>
                  </a:lnTo>
                  <a:lnTo>
                    <a:pt x="1147081" y="150017"/>
                  </a:lnTo>
                  <a:lnTo>
                    <a:pt x="1142937" y="146761"/>
                  </a:lnTo>
                  <a:lnTo>
                    <a:pt x="1138743" y="150017"/>
                  </a:lnTo>
                  <a:lnTo>
                    <a:pt x="1145009" y="162895"/>
                  </a:lnTo>
                  <a:lnTo>
                    <a:pt x="1155420" y="190328"/>
                  </a:lnTo>
                  <a:lnTo>
                    <a:pt x="1163758" y="211248"/>
                  </a:lnTo>
                  <a:lnTo>
                    <a:pt x="1167903" y="229011"/>
                  </a:lnTo>
                  <a:lnTo>
                    <a:pt x="1165831" y="246724"/>
                  </a:lnTo>
                  <a:lnTo>
                    <a:pt x="1157492" y="259651"/>
                  </a:lnTo>
                  <a:lnTo>
                    <a:pt x="1151226" y="266066"/>
                  </a:lnTo>
                  <a:lnTo>
                    <a:pt x="1151226" y="271000"/>
                  </a:lnTo>
                  <a:lnTo>
                    <a:pt x="1163758" y="283877"/>
                  </a:lnTo>
                  <a:lnTo>
                    <a:pt x="1172048" y="287085"/>
                  </a:lnTo>
                  <a:lnTo>
                    <a:pt x="1172048" y="280670"/>
                  </a:lnTo>
                  <a:lnTo>
                    <a:pt x="1174169" y="283877"/>
                  </a:lnTo>
                  <a:lnTo>
                    <a:pt x="1180386" y="280670"/>
                  </a:lnTo>
                  <a:lnTo>
                    <a:pt x="1186652" y="280670"/>
                  </a:lnTo>
                  <a:lnTo>
                    <a:pt x="1180386" y="283877"/>
                  </a:lnTo>
                  <a:lnTo>
                    <a:pt x="1180386" y="288811"/>
                  </a:lnTo>
                  <a:lnTo>
                    <a:pt x="1197063" y="300110"/>
                  </a:lnTo>
                  <a:lnTo>
                    <a:pt x="1192869" y="303318"/>
                  </a:lnTo>
                  <a:lnTo>
                    <a:pt x="1186652" y="301689"/>
                  </a:lnTo>
                  <a:lnTo>
                    <a:pt x="1184580" y="306623"/>
                  </a:lnTo>
                  <a:lnTo>
                    <a:pt x="1182458" y="322758"/>
                  </a:lnTo>
                  <a:lnTo>
                    <a:pt x="1182458" y="329073"/>
                  </a:lnTo>
                  <a:lnTo>
                    <a:pt x="1186652" y="332280"/>
                  </a:lnTo>
                  <a:lnTo>
                    <a:pt x="1192869" y="327346"/>
                  </a:lnTo>
                  <a:lnTo>
                    <a:pt x="1201208" y="325718"/>
                  </a:lnTo>
                  <a:lnTo>
                    <a:pt x="1205402" y="327346"/>
                  </a:lnTo>
                  <a:lnTo>
                    <a:pt x="1209546" y="332280"/>
                  </a:lnTo>
                  <a:lnTo>
                    <a:pt x="1217885" y="329073"/>
                  </a:lnTo>
                  <a:lnTo>
                    <a:pt x="1228295" y="332280"/>
                  </a:lnTo>
                  <a:lnTo>
                    <a:pt x="1238706" y="337214"/>
                  </a:lnTo>
                  <a:lnTo>
                    <a:pt x="1230368" y="342148"/>
                  </a:lnTo>
                  <a:lnTo>
                    <a:pt x="1232440" y="348612"/>
                  </a:lnTo>
                  <a:lnTo>
                    <a:pt x="1228295" y="355076"/>
                  </a:lnTo>
                  <a:lnTo>
                    <a:pt x="1217885" y="355076"/>
                  </a:lnTo>
                  <a:lnTo>
                    <a:pt x="1217885" y="351819"/>
                  </a:lnTo>
                  <a:lnTo>
                    <a:pt x="1211618" y="348612"/>
                  </a:lnTo>
                  <a:lnTo>
                    <a:pt x="1207474" y="350240"/>
                  </a:lnTo>
                  <a:lnTo>
                    <a:pt x="1197063" y="348612"/>
                  </a:lnTo>
                  <a:lnTo>
                    <a:pt x="1192869" y="345405"/>
                  </a:lnTo>
                  <a:lnTo>
                    <a:pt x="1190797" y="337313"/>
                  </a:lnTo>
                  <a:lnTo>
                    <a:pt x="1184580" y="335734"/>
                  </a:lnTo>
                  <a:lnTo>
                    <a:pt x="1180386" y="335734"/>
                  </a:lnTo>
                  <a:lnTo>
                    <a:pt x="1172048" y="329073"/>
                  </a:lnTo>
                  <a:lnTo>
                    <a:pt x="1172048" y="320981"/>
                  </a:lnTo>
                  <a:lnTo>
                    <a:pt x="1180386" y="301640"/>
                  </a:lnTo>
                  <a:lnTo>
                    <a:pt x="1180386" y="296706"/>
                  </a:lnTo>
                  <a:lnTo>
                    <a:pt x="1176241" y="296706"/>
                  </a:lnTo>
                  <a:lnTo>
                    <a:pt x="1169975" y="301640"/>
                  </a:lnTo>
                  <a:lnTo>
                    <a:pt x="1169975" y="319205"/>
                  </a:lnTo>
                  <a:lnTo>
                    <a:pt x="1165831" y="332083"/>
                  </a:lnTo>
                  <a:lnTo>
                    <a:pt x="1159416" y="338547"/>
                  </a:lnTo>
                  <a:lnTo>
                    <a:pt x="1159416" y="343481"/>
                  </a:lnTo>
                  <a:lnTo>
                    <a:pt x="1163610" y="337017"/>
                  </a:lnTo>
                  <a:lnTo>
                    <a:pt x="1169827" y="337017"/>
                  </a:lnTo>
                  <a:lnTo>
                    <a:pt x="1171899" y="338645"/>
                  </a:lnTo>
                  <a:lnTo>
                    <a:pt x="1182310" y="338645"/>
                  </a:lnTo>
                  <a:lnTo>
                    <a:pt x="1184432" y="346688"/>
                  </a:lnTo>
                  <a:lnTo>
                    <a:pt x="1184432" y="357987"/>
                  </a:lnTo>
                  <a:lnTo>
                    <a:pt x="1178166" y="364450"/>
                  </a:lnTo>
                  <a:lnTo>
                    <a:pt x="1167755" y="367657"/>
                  </a:lnTo>
                  <a:lnTo>
                    <a:pt x="1176093" y="357789"/>
                  </a:lnTo>
                  <a:lnTo>
                    <a:pt x="1176093" y="352855"/>
                  </a:lnTo>
                  <a:lnTo>
                    <a:pt x="1171899" y="351227"/>
                  </a:lnTo>
                  <a:lnTo>
                    <a:pt x="1167755" y="349648"/>
                  </a:lnTo>
                  <a:lnTo>
                    <a:pt x="1163610" y="352855"/>
                  </a:lnTo>
                  <a:lnTo>
                    <a:pt x="1153199" y="359319"/>
                  </a:lnTo>
                  <a:lnTo>
                    <a:pt x="1153199" y="365733"/>
                  </a:lnTo>
                  <a:lnTo>
                    <a:pt x="1146933" y="367361"/>
                  </a:lnTo>
                  <a:lnTo>
                    <a:pt x="1138595" y="368990"/>
                  </a:lnTo>
                  <a:lnTo>
                    <a:pt x="1138595" y="364056"/>
                  </a:lnTo>
                  <a:lnTo>
                    <a:pt x="1134450" y="362427"/>
                  </a:lnTo>
                  <a:lnTo>
                    <a:pt x="1126112" y="362427"/>
                  </a:lnTo>
                  <a:lnTo>
                    <a:pt x="1121967" y="360799"/>
                  </a:lnTo>
                  <a:lnTo>
                    <a:pt x="1119845" y="354385"/>
                  </a:lnTo>
                  <a:lnTo>
                    <a:pt x="1105290" y="354385"/>
                  </a:lnTo>
                  <a:lnTo>
                    <a:pt x="1103218" y="349451"/>
                  </a:lnTo>
                  <a:lnTo>
                    <a:pt x="1099024" y="346194"/>
                  </a:lnTo>
                  <a:lnTo>
                    <a:pt x="1094879" y="349451"/>
                  </a:lnTo>
                  <a:lnTo>
                    <a:pt x="1090735" y="349451"/>
                  </a:lnTo>
                  <a:lnTo>
                    <a:pt x="1090735" y="341359"/>
                  </a:lnTo>
                  <a:lnTo>
                    <a:pt x="1088613" y="336425"/>
                  </a:lnTo>
                  <a:lnTo>
                    <a:pt x="1088613" y="333218"/>
                  </a:lnTo>
                  <a:lnTo>
                    <a:pt x="1094879" y="331590"/>
                  </a:lnTo>
                  <a:lnTo>
                    <a:pt x="1101145" y="321721"/>
                  </a:lnTo>
                  <a:lnTo>
                    <a:pt x="1105290" y="321721"/>
                  </a:lnTo>
                  <a:lnTo>
                    <a:pt x="1111556" y="316787"/>
                  </a:lnTo>
                  <a:lnTo>
                    <a:pt x="1109435" y="313580"/>
                  </a:lnTo>
                  <a:lnTo>
                    <a:pt x="1101145" y="303712"/>
                  </a:lnTo>
                  <a:lnTo>
                    <a:pt x="1094879" y="302084"/>
                  </a:lnTo>
                  <a:lnTo>
                    <a:pt x="1088613" y="302084"/>
                  </a:lnTo>
                  <a:lnTo>
                    <a:pt x="1076130" y="307018"/>
                  </a:lnTo>
                  <a:lnTo>
                    <a:pt x="1069913" y="307018"/>
                  </a:lnTo>
                  <a:lnTo>
                    <a:pt x="1063647" y="303811"/>
                  </a:lnTo>
                  <a:lnTo>
                    <a:pt x="1057381" y="303811"/>
                  </a:lnTo>
                  <a:lnTo>
                    <a:pt x="1036559" y="311853"/>
                  </a:lnTo>
                  <a:lnTo>
                    <a:pt x="1034487" y="315061"/>
                  </a:lnTo>
                  <a:lnTo>
                    <a:pt x="1038681" y="318317"/>
                  </a:lnTo>
                  <a:lnTo>
                    <a:pt x="1046970" y="324731"/>
                  </a:lnTo>
                  <a:lnTo>
                    <a:pt x="1044897" y="326359"/>
                  </a:lnTo>
                  <a:lnTo>
                    <a:pt x="1038681" y="324731"/>
                  </a:lnTo>
                  <a:lnTo>
                    <a:pt x="1032414" y="324731"/>
                  </a:lnTo>
                  <a:lnTo>
                    <a:pt x="1030342" y="321524"/>
                  </a:lnTo>
                  <a:lnTo>
                    <a:pt x="1024076" y="319896"/>
                  </a:lnTo>
                  <a:lnTo>
                    <a:pt x="1011593" y="318317"/>
                  </a:lnTo>
                  <a:lnTo>
                    <a:pt x="997037" y="319896"/>
                  </a:lnTo>
                  <a:lnTo>
                    <a:pt x="992843" y="323152"/>
                  </a:lnTo>
                  <a:lnTo>
                    <a:pt x="990771" y="326359"/>
                  </a:lnTo>
                  <a:lnTo>
                    <a:pt x="984505" y="326359"/>
                  </a:lnTo>
                  <a:lnTo>
                    <a:pt x="982433" y="324731"/>
                  </a:lnTo>
                  <a:lnTo>
                    <a:pt x="978288" y="324731"/>
                  </a:lnTo>
                  <a:lnTo>
                    <a:pt x="967877" y="329665"/>
                  </a:lnTo>
                  <a:lnTo>
                    <a:pt x="967877" y="332922"/>
                  </a:lnTo>
                  <a:lnTo>
                    <a:pt x="961611" y="334550"/>
                  </a:lnTo>
                  <a:lnTo>
                    <a:pt x="951200" y="339484"/>
                  </a:lnTo>
                  <a:lnTo>
                    <a:pt x="942862" y="344418"/>
                  </a:lnTo>
                  <a:lnTo>
                    <a:pt x="938717" y="344418"/>
                  </a:lnTo>
                  <a:lnTo>
                    <a:pt x="940789" y="342790"/>
                  </a:lnTo>
                  <a:lnTo>
                    <a:pt x="942862" y="337856"/>
                  </a:lnTo>
                  <a:lnTo>
                    <a:pt x="936645" y="341063"/>
                  </a:lnTo>
                  <a:lnTo>
                    <a:pt x="930378" y="347527"/>
                  </a:lnTo>
                  <a:lnTo>
                    <a:pt x="930378" y="350734"/>
                  </a:lnTo>
                  <a:lnTo>
                    <a:pt x="940789" y="360602"/>
                  </a:lnTo>
                  <a:lnTo>
                    <a:pt x="949128" y="373529"/>
                  </a:lnTo>
                  <a:lnTo>
                    <a:pt x="959539" y="375108"/>
                  </a:lnTo>
                  <a:lnTo>
                    <a:pt x="967877" y="384976"/>
                  </a:lnTo>
                  <a:lnTo>
                    <a:pt x="976216" y="388183"/>
                  </a:lnTo>
                  <a:lnTo>
                    <a:pt x="978288" y="396225"/>
                  </a:lnTo>
                  <a:lnTo>
                    <a:pt x="986725" y="398150"/>
                  </a:lnTo>
                  <a:lnTo>
                    <a:pt x="995014" y="401357"/>
                  </a:lnTo>
                  <a:lnTo>
                    <a:pt x="990870" y="402985"/>
                  </a:lnTo>
                  <a:lnTo>
                    <a:pt x="978387" y="402985"/>
                  </a:lnTo>
                  <a:lnTo>
                    <a:pt x="978387" y="396521"/>
                  </a:lnTo>
                  <a:lnTo>
                    <a:pt x="970048" y="391587"/>
                  </a:lnTo>
                  <a:lnTo>
                    <a:pt x="963782" y="388380"/>
                  </a:lnTo>
                  <a:lnTo>
                    <a:pt x="961710" y="388380"/>
                  </a:lnTo>
                  <a:lnTo>
                    <a:pt x="953371" y="396423"/>
                  </a:lnTo>
                  <a:lnTo>
                    <a:pt x="949226" y="396423"/>
                  </a:lnTo>
                  <a:lnTo>
                    <a:pt x="942960" y="390009"/>
                  </a:lnTo>
                  <a:lnTo>
                    <a:pt x="949226" y="385075"/>
                  </a:lnTo>
                  <a:lnTo>
                    <a:pt x="949226" y="381818"/>
                  </a:lnTo>
                  <a:lnTo>
                    <a:pt x="945082" y="381818"/>
                  </a:lnTo>
                  <a:lnTo>
                    <a:pt x="938816" y="388282"/>
                  </a:lnTo>
                  <a:lnTo>
                    <a:pt x="940888" y="401159"/>
                  </a:lnTo>
                  <a:lnTo>
                    <a:pt x="942960" y="402788"/>
                  </a:lnTo>
                  <a:lnTo>
                    <a:pt x="942960" y="407722"/>
                  </a:lnTo>
                  <a:lnTo>
                    <a:pt x="934671" y="414185"/>
                  </a:lnTo>
                  <a:lnTo>
                    <a:pt x="928405" y="422228"/>
                  </a:lnTo>
                  <a:lnTo>
                    <a:pt x="928405" y="439990"/>
                  </a:lnTo>
                  <a:lnTo>
                    <a:pt x="940888" y="451240"/>
                  </a:lnTo>
                  <a:lnTo>
                    <a:pt x="953371" y="454496"/>
                  </a:lnTo>
                  <a:lnTo>
                    <a:pt x="961710" y="462539"/>
                  </a:lnTo>
                  <a:lnTo>
                    <a:pt x="965904" y="462539"/>
                  </a:lnTo>
                  <a:lnTo>
                    <a:pt x="974193" y="457605"/>
                  </a:lnTo>
                  <a:lnTo>
                    <a:pt x="984604" y="454398"/>
                  </a:lnTo>
                  <a:lnTo>
                    <a:pt x="992942" y="457605"/>
                  </a:lnTo>
                  <a:lnTo>
                    <a:pt x="1009619" y="459233"/>
                  </a:lnTo>
                  <a:lnTo>
                    <a:pt x="1015836" y="464167"/>
                  </a:lnTo>
                  <a:lnTo>
                    <a:pt x="1017958" y="470581"/>
                  </a:lnTo>
                  <a:lnTo>
                    <a:pt x="1022102" y="472210"/>
                  </a:lnTo>
                  <a:lnTo>
                    <a:pt x="1024174" y="469002"/>
                  </a:lnTo>
                  <a:lnTo>
                    <a:pt x="1024174" y="460911"/>
                  </a:lnTo>
                  <a:lnTo>
                    <a:pt x="1026247" y="457704"/>
                  </a:lnTo>
                  <a:lnTo>
                    <a:pt x="1034585" y="460911"/>
                  </a:lnTo>
                  <a:lnTo>
                    <a:pt x="1032513" y="464167"/>
                  </a:lnTo>
                  <a:lnTo>
                    <a:pt x="1026197" y="472160"/>
                  </a:lnTo>
                  <a:lnTo>
                    <a:pt x="1026197" y="477094"/>
                  </a:lnTo>
                  <a:lnTo>
                    <a:pt x="1030391" y="477094"/>
                  </a:lnTo>
                  <a:lnTo>
                    <a:pt x="1038730" y="470631"/>
                  </a:lnTo>
                  <a:lnTo>
                    <a:pt x="1042874" y="467424"/>
                  </a:lnTo>
                  <a:lnTo>
                    <a:pt x="1053285" y="465795"/>
                  </a:lnTo>
                  <a:lnTo>
                    <a:pt x="1067841" y="457753"/>
                  </a:lnTo>
                  <a:lnTo>
                    <a:pt x="1078251" y="456125"/>
                  </a:lnTo>
                  <a:lnTo>
                    <a:pt x="1084518" y="449710"/>
                  </a:lnTo>
                  <a:lnTo>
                    <a:pt x="1086590" y="449710"/>
                  </a:lnTo>
                  <a:lnTo>
                    <a:pt x="1088662" y="454644"/>
                  </a:lnTo>
                  <a:lnTo>
                    <a:pt x="1090784" y="454644"/>
                  </a:lnTo>
                  <a:lnTo>
                    <a:pt x="1103267" y="448181"/>
                  </a:lnTo>
                  <a:lnTo>
                    <a:pt x="1113678" y="448181"/>
                  </a:lnTo>
                  <a:lnTo>
                    <a:pt x="1117823" y="446553"/>
                  </a:lnTo>
                  <a:lnTo>
                    <a:pt x="1113678" y="449809"/>
                  </a:lnTo>
                  <a:lnTo>
                    <a:pt x="1105339" y="454743"/>
                  </a:lnTo>
                  <a:lnTo>
                    <a:pt x="1105339" y="457950"/>
                  </a:lnTo>
                  <a:lnTo>
                    <a:pt x="1109484" y="459578"/>
                  </a:lnTo>
                  <a:lnTo>
                    <a:pt x="1103267" y="469446"/>
                  </a:lnTo>
                  <a:lnTo>
                    <a:pt x="1092856" y="471025"/>
                  </a:lnTo>
                  <a:lnTo>
                    <a:pt x="1088662" y="467818"/>
                  </a:lnTo>
                  <a:lnTo>
                    <a:pt x="1084518" y="467818"/>
                  </a:lnTo>
                  <a:lnTo>
                    <a:pt x="1076179" y="474282"/>
                  </a:lnTo>
                  <a:lnTo>
                    <a:pt x="1076179" y="475861"/>
                  </a:lnTo>
                  <a:lnTo>
                    <a:pt x="1084518" y="477489"/>
                  </a:lnTo>
                  <a:lnTo>
                    <a:pt x="1088662" y="480696"/>
                  </a:lnTo>
                  <a:lnTo>
                    <a:pt x="1088662" y="490564"/>
                  </a:lnTo>
                  <a:lnTo>
                    <a:pt x="1076179" y="500432"/>
                  </a:lnTo>
                  <a:lnTo>
                    <a:pt x="1074107" y="508475"/>
                  </a:lnTo>
                  <a:lnTo>
                    <a:pt x="1069962" y="513409"/>
                  </a:lnTo>
                  <a:lnTo>
                    <a:pt x="1069962" y="516616"/>
                  </a:lnTo>
                  <a:lnTo>
                    <a:pt x="1072035" y="519872"/>
                  </a:lnTo>
                  <a:lnTo>
                    <a:pt x="1072035" y="524806"/>
                  </a:lnTo>
                  <a:lnTo>
                    <a:pt x="1069962" y="531221"/>
                  </a:lnTo>
                  <a:lnTo>
                    <a:pt x="1063696" y="537684"/>
                  </a:lnTo>
                  <a:lnTo>
                    <a:pt x="1057430" y="542618"/>
                  </a:lnTo>
                  <a:lnTo>
                    <a:pt x="1049141" y="540990"/>
                  </a:lnTo>
                  <a:lnTo>
                    <a:pt x="1044947" y="544246"/>
                  </a:lnTo>
                  <a:lnTo>
                    <a:pt x="1038730" y="549181"/>
                  </a:lnTo>
                  <a:lnTo>
                    <a:pt x="1032464" y="550809"/>
                  </a:lnTo>
                  <a:lnTo>
                    <a:pt x="1024224" y="550809"/>
                  </a:lnTo>
                  <a:lnTo>
                    <a:pt x="1013813" y="544345"/>
                  </a:lnTo>
                  <a:lnTo>
                    <a:pt x="1011741" y="545973"/>
                  </a:lnTo>
                  <a:lnTo>
                    <a:pt x="1007596" y="542717"/>
                  </a:lnTo>
                  <a:lnTo>
                    <a:pt x="1003402" y="537783"/>
                  </a:lnTo>
                  <a:lnTo>
                    <a:pt x="1001527" y="537783"/>
                  </a:lnTo>
                  <a:lnTo>
                    <a:pt x="993189" y="545875"/>
                  </a:lnTo>
                  <a:lnTo>
                    <a:pt x="984850" y="550809"/>
                  </a:lnTo>
                  <a:lnTo>
                    <a:pt x="980706" y="557223"/>
                  </a:lnTo>
                  <a:lnTo>
                    <a:pt x="966150" y="562157"/>
                  </a:lnTo>
                  <a:lnTo>
                    <a:pt x="961956" y="565413"/>
                  </a:lnTo>
                  <a:lnTo>
                    <a:pt x="955739" y="565413"/>
                  </a:lnTo>
                  <a:lnTo>
                    <a:pt x="947401" y="563785"/>
                  </a:lnTo>
                  <a:lnTo>
                    <a:pt x="936990" y="563785"/>
                  </a:lnTo>
                  <a:lnTo>
                    <a:pt x="928652" y="568719"/>
                  </a:lnTo>
                  <a:lnTo>
                    <a:pt x="920313" y="570347"/>
                  </a:lnTo>
                  <a:lnTo>
                    <a:pt x="916169" y="571926"/>
                  </a:lnTo>
                  <a:lnTo>
                    <a:pt x="916169" y="580018"/>
                  </a:lnTo>
                  <a:lnTo>
                    <a:pt x="909902" y="591268"/>
                  </a:lnTo>
                  <a:lnTo>
                    <a:pt x="905758" y="596202"/>
                  </a:lnTo>
                  <a:lnTo>
                    <a:pt x="903685" y="591268"/>
                  </a:lnTo>
                  <a:lnTo>
                    <a:pt x="895347" y="583225"/>
                  </a:lnTo>
                  <a:lnTo>
                    <a:pt x="884936" y="583225"/>
                  </a:lnTo>
                  <a:lnTo>
                    <a:pt x="880742" y="584854"/>
                  </a:lnTo>
                  <a:lnTo>
                    <a:pt x="882864" y="589788"/>
                  </a:lnTo>
                  <a:lnTo>
                    <a:pt x="887008" y="592995"/>
                  </a:lnTo>
                  <a:lnTo>
                    <a:pt x="882864" y="597929"/>
                  </a:lnTo>
                  <a:lnTo>
                    <a:pt x="880742" y="597929"/>
                  </a:lnTo>
                  <a:lnTo>
                    <a:pt x="876597" y="592995"/>
                  </a:lnTo>
                  <a:lnTo>
                    <a:pt x="870331" y="586531"/>
                  </a:lnTo>
                  <a:lnTo>
                    <a:pt x="868308" y="586531"/>
                  </a:lnTo>
                  <a:lnTo>
                    <a:pt x="857897" y="594623"/>
                  </a:lnTo>
                  <a:lnTo>
                    <a:pt x="853753" y="602665"/>
                  </a:lnTo>
                  <a:lnTo>
                    <a:pt x="849559" y="604294"/>
                  </a:lnTo>
                  <a:lnTo>
                    <a:pt x="845414" y="604294"/>
                  </a:lnTo>
                  <a:lnTo>
                    <a:pt x="828737" y="617172"/>
                  </a:lnTo>
                  <a:lnTo>
                    <a:pt x="826665" y="627040"/>
                  </a:lnTo>
                  <a:lnTo>
                    <a:pt x="822520" y="628668"/>
                  </a:lnTo>
                  <a:lnTo>
                    <a:pt x="816254" y="630296"/>
                  </a:lnTo>
                  <a:lnTo>
                    <a:pt x="807916" y="628668"/>
                  </a:lnTo>
                  <a:lnTo>
                    <a:pt x="807916" y="630296"/>
                  </a:lnTo>
                  <a:lnTo>
                    <a:pt x="814034" y="634983"/>
                  </a:lnTo>
                  <a:lnTo>
                    <a:pt x="811962" y="639917"/>
                  </a:lnTo>
                  <a:lnTo>
                    <a:pt x="807768" y="639917"/>
                  </a:lnTo>
                  <a:lnTo>
                    <a:pt x="803623" y="634983"/>
                  </a:lnTo>
                  <a:lnTo>
                    <a:pt x="801551" y="634983"/>
                  </a:lnTo>
                  <a:lnTo>
                    <a:pt x="797357" y="641447"/>
                  </a:lnTo>
                  <a:lnTo>
                    <a:pt x="788920" y="649785"/>
                  </a:lnTo>
                  <a:lnTo>
                    <a:pt x="788920" y="653042"/>
                  </a:lnTo>
                  <a:lnTo>
                    <a:pt x="795186" y="661084"/>
                  </a:lnTo>
                  <a:lnTo>
                    <a:pt x="797258" y="669176"/>
                  </a:lnTo>
                  <a:lnTo>
                    <a:pt x="795186" y="674110"/>
                  </a:lnTo>
                  <a:lnTo>
                    <a:pt x="791041" y="680525"/>
                  </a:lnTo>
                  <a:lnTo>
                    <a:pt x="793114" y="685459"/>
                  </a:lnTo>
                  <a:lnTo>
                    <a:pt x="797258" y="683880"/>
                  </a:lnTo>
                  <a:lnTo>
                    <a:pt x="801452" y="678946"/>
                  </a:lnTo>
                  <a:lnTo>
                    <a:pt x="803524" y="682153"/>
                  </a:lnTo>
                  <a:lnTo>
                    <a:pt x="805597" y="692021"/>
                  </a:lnTo>
                  <a:lnTo>
                    <a:pt x="801452" y="693649"/>
                  </a:lnTo>
                  <a:lnTo>
                    <a:pt x="799331" y="696856"/>
                  </a:lnTo>
                  <a:lnTo>
                    <a:pt x="801452" y="698484"/>
                  </a:lnTo>
                  <a:lnTo>
                    <a:pt x="805597" y="698484"/>
                  </a:lnTo>
                  <a:lnTo>
                    <a:pt x="809791" y="695228"/>
                  </a:lnTo>
                  <a:lnTo>
                    <a:pt x="814034" y="695228"/>
                  </a:lnTo>
                  <a:lnTo>
                    <a:pt x="816106" y="696856"/>
                  </a:lnTo>
                  <a:lnTo>
                    <a:pt x="816106" y="700063"/>
                  </a:lnTo>
                  <a:lnTo>
                    <a:pt x="824445" y="701691"/>
                  </a:lnTo>
                  <a:lnTo>
                    <a:pt x="830662" y="704899"/>
                  </a:lnTo>
                  <a:lnTo>
                    <a:pt x="836928" y="704899"/>
                  </a:lnTo>
                  <a:lnTo>
                    <a:pt x="843194" y="699965"/>
                  </a:lnTo>
                  <a:lnTo>
                    <a:pt x="845266" y="688715"/>
                  </a:lnTo>
                  <a:lnTo>
                    <a:pt x="851533" y="683781"/>
                  </a:lnTo>
                  <a:lnTo>
                    <a:pt x="864016" y="683781"/>
                  </a:lnTo>
                  <a:lnTo>
                    <a:pt x="868160" y="680525"/>
                  </a:lnTo>
                  <a:lnTo>
                    <a:pt x="861894" y="686988"/>
                  </a:lnTo>
                  <a:lnTo>
                    <a:pt x="857749" y="688616"/>
                  </a:lnTo>
                  <a:lnTo>
                    <a:pt x="845266" y="698484"/>
                  </a:lnTo>
                  <a:lnTo>
                    <a:pt x="845266" y="703418"/>
                  </a:lnTo>
                  <a:lnTo>
                    <a:pt x="839000" y="708352"/>
                  </a:lnTo>
                  <a:lnTo>
                    <a:pt x="847339" y="714816"/>
                  </a:lnTo>
                  <a:lnTo>
                    <a:pt x="847339" y="718023"/>
                  </a:lnTo>
                  <a:lnTo>
                    <a:pt x="836928" y="721230"/>
                  </a:lnTo>
                  <a:lnTo>
                    <a:pt x="834856" y="718023"/>
                  </a:lnTo>
                  <a:lnTo>
                    <a:pt x="834856" y="714816"/>
                  </a:lnTo>
                  <a:lnTo>
                    <a:pt x="830662" y="711560"/>
                  </a:lnTo>
                  <a:lnTo>
                    <a:pt x="824445" y="711560"/>
                  </a:lnTo>
                  <a:lnTo>
                    <a:pt x="820251" y="706626"/>
                  </a:lnTo>
                  <a:lnTo>
                    <a:pt x="811962" y="704997"/>
                  </a:lnTo>
                  <a:lnTo>
                    <a:pt x="807768" y="700063"/>
                  </a:lnTo>
                  <a:lnTo>
                    <a:pt x="801551" y="704997"/>
                  </a:lnTo>
                  <a:lnTo>
                    <a:pt x="795285" y="704997"/>
                  </a:lnTo>
                  <a:lnTo>
                    <a:pt x="795285" y="711461"/>
                  </a:lnTo>
                  <a:lnTo>
                    <a:pt x="789018" y="714717"/>
                  </a:lnTo>
                  <a:lnTo>
                    <a:pt x="780729" y="713089"/>
                  </a:lnTo>
                  <a:lnTo>
                    <a:pt x="780729" y="716296"/>
                  </a:lnTo>
                  <a:lnTo>
                    <a:pt x="782801" y="721230"/>
                  </a:lnTo>
                  <a:lnTo>
                    <a:pt x="786946" y="721230"/>
                  </a:lnTo>
                  <a:lnTo>
                    <a:pt x="782801" y="726164"/>
                  </a:lnTo>
                  <a:lnTo>
                    <a:pt x="780729" y="736032"/>
                  </a:lnTo>
                  <a:lnTo>
                    <a:pt x="782801" y="740966"/>
                  </a:lnTo>
                  <a:lnTo>
                    <a:pt x="789018" y="740966"/>
                  </a:lnTo>
                  <a:lnTo>
                    <a:pt x="789018" y="752265"/>
                  </a:lnTo>
                  <a:lnTo>
                    <a:pt x="791140" y="755473"/>
                  </a:lnTo>
                  <a:lnTo>
                    <a:pt x="791140" y="760407"/>
                  </a:lnTo>
                  <a:lnTo>
                    <a:pt x="797357" y="765341"/>
                  </a:lnTo>
                  <a:lnTo>
                    <a:pt x="797357" y="766919"/>
                  </a:lnTo>
                  <a:lnTo>
                    <a:pt x="789018" y="768548"/>
                  </a:lnTo>
                  <a:lnTo>
                    <a:pt x="786946" y="771755"/>
                  </a:lnTo>
                  <a:lnTo>
                    <a:pt x="809889" y="781623"/>
                  </a:lnTo>
                  <a:lnTo>
                    <a:pt x="820251" y="781623"/>
                  </a:lnTo>
                  <a:lnTo>
                    <a:pt x="830662" y="776689"/>
                  </a:lnTo>
                  <a:lnTo>
                    <a:pt x="836928" y="775110"/>
                  </a:lnTo>
                  <a:lnTo>
                    <a:pt x="841122" y="776689"/>
                  </a:lnTo>
                  <a:lnTo>
                    <a:pt x="845266" y="776689"/>
                  </a:lnTo>
                  <a:lnTo>
                    <a:pt x="853605" y="765439"/>
                  </a:lnTo>
                  <a:lnTo>
                    <a:pt x="853605" y="760505"/>
                  </a:lnTo>
                  <a:lnTo>
                    <a:pt x="851533" y="755571"/>
                  </a:lnTo>
                  <a:lnTo>
                    <a:pt x="851533" y="752364"/>
                  </a:lnTo>
                  <a:lnTo>
                    <a:pt x="859822" y="749157"/>
                  </a:lnTo>
                  <a:lnTo>
                    <a:pt x="870233" y="742693"/>
                  </a:lnTo>
                  <a:lnTo>
                    <a:pt x="886910" y="732825"/>
                  </a:lnTo>
                  <a:lnTo>
                    <a:pt x="892978" y="733664"/>
                  </a:lnTo>
                  <a:lnTo>
                    <a:pt x="886762" y="733664"/>
                  </a:lnTo>
                  <a:lnTo>
                    <a:pt x="870084" y="746542"/>
                  </a:lnTo>
                  <a:lnTo>
                    <a:pt x="861746" y="751476"/>
                  </a:lnTo>
                  <a:lnTo>
                    <a:pt x="861746" y="754683"/>
                  </a:lnTo>
                  <a:lnTo>
                    <a:pt x="868012" y="759617"/>
                  </a:lnTo>
                  <a:lnTo>
                    <a:pt x="868012" y="762824"/>
                  </a:lnTo>
                  <a:lnTo>
                    <a:pt x="861746" y="772692"/>
                  </a:lnTo>
                  <a:lnTo>
                    <a:pt x="853457" y="775899"/>
                  </a:lnTo>
                  <a:lnTo>
                    <a:pt x="851385" y="782363"/>
                  </a:lnTo>
                  <a:lnTo>
                    <a:pt x="853457" y="790405"/>
                  </a:lnTo>
                  <a:lnTo>
                    <a:pt x="851385" y="796869"/>
                  </a:lnTo>
                  <a:lnTo>
                    <a:pt x="851385" y="804961"/>
                  </a:lnTo>
                  <a:lnTo>
                    <a:pt x="853457" y="811375"/>
                  </a:lnTo>
                  <a:lnTo>
                    <a:pt x="843046" y="814632"/>
                  </a:lnTo>
                  <a:lnTo>
                    <a:pt x="838704" y="817543"/>
                  </a:lnTo>
                  <a:lnTo>
                    <a:pt x="836632" y="822477"/>
                  </a:lnTo>
                  <a:lnTo>
                    <a:pt x="832487" y="820849"/>
                  </a:lnTo>
                  <a:lnTo>
                    <a:pt x="830366" y="822477"/>
                  </a:lnTo>
                  <a:lnTo>
                    <a:pt x="832487" y="828940"/>
                  </a:lnTo>
                  <a:lnTo>
                    <a:pt x="832487" y="835354"/>
                  </a:lnTo>
                  <a:lnTo>
                    <a:pt x="836632" y="836983"/>
                  </a:lnTo>
                  <a:lnTo>
                    <a:pt x="842898" y="835354"/>
                  </a:lnTo>
                  <a:lnTo>
                    <a:pt x="847043" y="833726"/>
                  </a:lnTo>
                  <a:lnTo>
                    <a:pt x="849115" y="838660"/>
                  </a:lnTo>
                  <a:lnTo>
                    <a:pt x="844970" y="841867"/>
                  </a:lnTo>
                  <a:lnTo>
                    <a:pt x="836632" y="841867"/>
                  </a:lnTo>
                  <a:lnTo>
                    <a:pt x="834560" y="845124"/>
                  </a:lnTo>
                  <a:lnTo>
                    <a:pt x="836632" y="848331"/>
                  </a:lnTo>
                  <a:lnTo>
                    <a:pt x="834560" y="849910"/>
                  </a:lnTo>
                  <a:lnTo>
                    <a:pt x="836632" y="854844"/>
                  </a:lnTo>
                  <a:lnTo>
                    <a:pt x="832487" y="858051"/>
                  </a:lnTo>
                  <a:lnTo>
                    <a:pt x="826221" y="858051"/>
                  </a:lnTo>
                  <a:lnTo>
                    <a:pt x="819955" y="861258"/>
                  </a:lnTo>
                  <a:lnTo>
                    <a:pt x="815810" y="861258"/>
                  </a:lnTo>
                  <a:lnTo>
                    <a:pt x="813738" y="862886"/>
                  </a:lnTo>
                  <a:lnTo>
                    <a:pt x="817882" y="864465"/>
                  </a:lnTo>
                  <a:lnTo>
                    <a:pt x="824149" y="866094"/>
                  </a:lnTo>
                  <a:lnTo>
                    <a:pt x="828293" y="869350"/>
                  </a:lnTo>
                  <a:lnTo>
                    <a:pt x="836632" y="862886"/>
                  </a:lnTo>
                  <a:lnTo>
                    <a:pt x="851434" y="854844"/>
                  </a:lnTo>
                  <a:lnTo>
                    <a:pt x="853506" y="854844"/>
                  </a:lnTo>
                  <a:lnTo>
                    <a:pt x="859723" y="856423"/>
                  </a:lnTo>
                  <a:lnTo>
                    <a:pt x="865989" y="851489"/>
                  </a:lnTo>
                  <a:lnTo>
                    <a:pt x="876400" y="846555"/>
                  </a:lnTo>
                  <a:lnTo>
                    <a:pt x="874328" y="851489"/>
                  </a:lnTo>
                  <a:lnTo>
                    <a:pt x="870134" y="854745"/>
                  </a:lnTo>
                  <a:lnTo>
                    <a:pt x="870134" y="856324"/>
                  </a:lnTo>
                  <a:lnTo>
                    <a:pt x="876400" y="857952"/>
                  </a:lnTo>
                  <a:lnTo>
                    <a:pt x="876400" y="867574"/>
                  </a:lnTo>
                  <a:lnTo>
                    <a:pt x="880545" y="869251"/>
                  </a:lnTo>
                  <a:lnTo>
                    <a:pt x="886811" y="865995"/>
                  </a:lnTo>
                  <a:lnTo>
                    <a:pt x="890956" y="861061"/>
                  </a:lnTo>
                  <a:lnTo>
                    <a:pt x="893028" y="864268"/>
                  </a:lnTo>
                  <a:lnTo>
                    <a:pt x="890956" y="867475"/>
                  </a:lnTo>
                  <a:lnTo>
                    <a:pt x="895149" y="873939"/>
                  </a:lnTo>
                  <a:lnTo>
                    <a:pt x="897222" y="883807"/>
                  </a:lnTo>
                  <a:lnTo>
                    <a:pt x="895149" y="890221"/>
                  </a:lnTo>
                  <a:lnTo>
                    <a:pt x="899294" y="898263"/>
                  </a:lnTo>
                  <a:lnTo>
                    <a:pt x="903488" y="898263"/>
                  </a:lnTo>
                  <a:lnTo>
                    <a:pt x="907633" y="890221"/>
                  </a:lnTo>
                  <a:lnTo>
                    <a:pt x="905560" y="885287"/>
                  </a:lnTo>
                  <a:lnTo>
                    <a:pt x="911777" y="875666"/>
                  </a:lnTo>
                  <a:lnTo>
                    <a:pt x="913899" y="870732"/>
                  </a:lnTo>
                  <a:lnTo>
                    <a:pt x="922188" y="864268"/>
                  </a:lnTo>
                  <a:lnTo>
                    <a:pt x="924310" y="864268"/>
                  </a:lnTo>
                  <a:lnTo>
                    <a:pt x="930526" y="859334"/>
                  </a:lnTo>
                  <a:lnTo>
                    <a:pt x="940937" y="859334"/>
                  </a:lnTo>
                  <a:lnTo>
                    <a:pt x="932599" y="864268"/>
                  </a:lnTo>
                  <a:lnTo>
                    <a:pt x="922188" y="872360"/>
                  </a:lnTo>
                  <a:lnTo>
                    <a:pt x="922188" y="875616"/>
                  </a:lnTo>
                  <a:lnTo>
                    <a:pt x="930526" y="885238"/>
                  </a:lnTo>
                  <a:lnTo>
                    <a:pt x="934720" y="885238"/>
                  </a:lnTo>
                  <a:lnTo>
                    <a:pt x="945131" y="882031"/>
                  </a:lnTo>
                  <a:lnTo>
                    <a:pt x="959687" y="878823"/>
                  </a:lnTo>
                  <a:lnTo>
                    <a:pt x="965953" y="875616"/>
                  </a:lnTo>
                  <a:lnTo>
                    <a:pt x="970097" y="875616"/>
                  </a:lnTo>
                  <a:lnTo>
                    <a:pt x="982581" y="869153"/>
                  </a:lnTo>
                  <a:lnTo>
                    <a:pt x="986725" y="869153"/>
                  </a:lnTo>
                  <a:lnTo>
                    <a:pt x="982531" y="870732"/>
                  </a:lnTo>
                  <a:lnTo>
                    <a:pt x="976314" y="878823"/>
                  </a:lnTo>
                  <a:lnTo>
                    <a:pt x="976314" y="881685"/>
                  </a:lnTo>
                  <a:lnTo>
                    <a:pt x="970048" y="886619"/>
                  </a:lnTo>
                  <a:lnTo>
                    <a:pt x="951299" y="896487"/>
                  </a:lnTo>
                  <a:lnTo>
                    <a:pt x="940888" y="902951"/>
                  </a:lnTo>
                  <a:lnTo>
                    <a:pt x="934671" y="912819"/>
                  </a:lnTo>
                  <a:lnTo>
                    <a:pt x="934671" y="917753"/>
                  </a:lnTo>
                  <a:lnTo>
                    <a:pt x="936743" y="922687"/>
                  </a:lnTo>
                  <a:lnTo>
                    <a:pt x="945082" y="927621"/>
                  </a:lnTo>
                  <a:lnTo>
                    <a:pt x="932549" y="925993"/>
                  </a:lnTo>
                  <a:lnTo>
                    <a:pt x="928405" y="927621"/>
                  </a:lnTo>
                  <a:lnTo>
                    <a:pt x="922139" y="934085"/>
                  </a:lnTo>
                  <a:lnTo>
                    <a:pt x="917994" y="942127"/>
                  </a:lnTo>
                  <a:lnTo>
                    <a:pt x="909656" y="950170"/>
                  </a:lnTo>
                  <a:lnTo>
                    <a:pt x="905511" y="956633"/>
                  </a:lnTo>
                  <a:lnTo>
                    <a:pt x="907583" y="959840"/>
                  </a:lnTo>
                  <a:lnTo>
                    <a:pt x="909656" y="961469"/>
                  </a:lnTo>
                  <a:lnTo>
                    <a:pt x="907583" y="966403"/>
                  </a:lnTo>
                  <a:lnTo>
                    <a:pt x="903439" y="964824"/>
                  </a:lnTo>
                  <a:lnTo>
                    <a:pt x="901317" y="961567"/>
                  </a:lnTo>
                  <a:lnTo>
                    <a:pt x="897172" y="959939"/>
                  </a:lnTo>
                  <a:lnTo>
                    <a:pt x="890956" y="965564"/>
                  </a:lnTo>
                  <a:lnTo>
                    <a:pt x="882666" y="970498"/>
                  </a:lnTo>
                  <a:lnTo>
                    <a:pt x="884739" y="973754"/>
                  </a:lnTo>
                  <a:lnTo>
                    <a:pt x="882666" y="978688"/>
                  </a:lnTo>
                  <a:lnTo>
                    <a:pt x="876400" y="978688"/>
                  </a:lnTo>
                  <a:lnTo>
                    <a:pt x="876400" y="975432"/>
                  </a:lnTo>
                  <a:lnTo>
                    <a:pt x="872255" y="977060"/>
                  </a:lnTo>
                  <a:lnTo>
                    <a:pt x="855578" y="988359"/>
                  </a:lnTo>
                  <a:lnTo>
                    <a:pt x="851434" y="994773"/>
                  </a:lnTo>
                  <a:lnTo>
                    <a:pt x="853506" y="998030"/>
                  </a:lnTo>
                  <a:lnTo>
                    <a:pt x="849312" y="999609"/>
                  </a:lnTo>
                  <a:lnTo>
                    <a:pt x="845168" y="998030"/>
                  </a:lnTo>
                  <a:lnTo>
                    <a:pt x="845168" y="991566"/>
                  </a:lnTo>
                  <a:lnTo>
                    <a:pt x="834757" y="996500"/>
                  </a:lnTo>
                  <a:lnTo>
                    <a:pt x="826418" y="1001434"/>
                  </a:lnTo>
                  <a:lnTo>
                    <a:pt x="820152" y="1003013"/>
                  </a:lnTo>
                  <a:lnTo>
                    <a:pt x="818080" y="1007947"/>
                  </a:lnTo>
                  <a:lnTo>
                    <a:pt x="811863" y="1009526"/>
                  </a:lnTo>
                  <a:lnTo>
                    <a:pt x="801452" y="1009526"/>
                  </a:lnTo>
                  <a:lnTo>
                    <a:pt x="793114" y="1017618"/>
                  </a:lnTo>
                  <a:lnTo>
                    <a:pt x="776437" y="1024032"/>
                  </a:lnTo>
                  <a:lnTo>
                    <a:pt x="763954" y="1030496"/>
                  </a:lnTo>
                  <a:lnTo>
                    <a:pt x="759809" y="1040364"/>
                  </a:lnTo>
                  <a:lnTo>
                    <a:pt x="759809" y="1043620"/>
                  </a:lnTo>
                  <a:lnTo>
                    <a:pt x="761881" y="1048554"/>
                  </a:lnTo>
                  <a:lnTo>
                    <a:pt x="761881" y="1051761"/>
                  </a:lnTo>
                  <a:lnTo>
                    <a:pt x="759809" y="1053389"/>
                  </a:lnTo>
                  <a:lnTo>
                    <a:pt x="755615" y="1048455"/>
                  </a:lnTo>
                  <a:lnTo>
                    <a:pt x="751470" y="1048455"/>
                  </a:lnTo>
                  <a:lnTo>
                    <a:pt x="751470" y="1056498"/>
                  </a:lnTo>
                  <a:lnTo>
                    <a:pt x="747276" y="1058077"/>
                  </a:lnTo>
                  <a:lnTo>
                    <a:pt x="743132" y="1053143"/>
                  </a:lnTo>
                  <a:lnTo>
                    <a:pt x="743132" y="1048209"/>
                  </a:lnTo>
                  <a:lnTo>
                    <a:pt x="747276" y="1043275"/>
                  </a:lnTo>
                  <a:lnTo>
                    <a:pt x="741060" y="1041647"/>
                  </a:lnTo>
                  <a:lnTo>
                    <a:pt x="734793" y="1041647"/>
                  </a:lnTo>
                  <a:lnTo>
                    <a:pt x="730649" y="1040018"/>
                  </a:lnTo>
                  <a:lnTo>
                    <a:pt x="724383" y="1041647"/>
                  </a:lnTo>
                  <a:lnTo>
                    <a:pt x="713972" y="1043275"/>
                  </a:lnTo>
                  <a:lnTo>
                    <a:pt x="707755" y="1044854"/>
                  </a:lnTo>
                  <a:lnTo>
                    <a:pt x="703561" y="1051317"/>
                  </a:lnTo>
                  <a:lnTo>
                    <a:pt x="693150" y="1054524"/>
                  </a:lnTo>
                  <a:lnTo>
                    <a:pt x="684812" y="1059458"/>
                  </a:lnTo>
                  <a:lnTo>
                    <a:pt x="676522" y="1065873"/>
                  </a:lnTo>
                  <a:lnTo>
                    <a:pt x="678595" y="1069129"/>
                  </a:lnTo>
                  <a:lnTo>
                    <a:pt x="674401" y="1072336"/>
                  </a:lnTo>
                  <a:lnTo>
                    <a:pt x="672328" y="1070708"/>
                  </a:lnTo>
                  <a:lnTo>
                    <a:pt x="663990" y="1073915"/>
                  </a:lnTo>
                  <a:lnTo>
                    <a:pt x="657773" y="1077172"/>
                  </a:lnTo>
                  <a:lnTo>
                    <a:pt x="657773" y="1080379"/>
                  </a:lnTo>
                  <a:lnTo>
                    <a:pt x="653579" y="1082007"/>
                  </a:lnTo>
                  <a:lnTo>
                    <a:pt x="647362" y="1080379"/>
                  </a:lnTo>
                  <a:lnTo>
                    <a:pt x="641096" y="1082007"/>
                  </a:lnTo>
                  <a:lnTo>
                    <a:pt x="639024" y="1085214"/>
                  </a:lnTo>
                  <a:lnTo>
                    <a:pt x="636951" y="1091678"/>
                  </a:lnTo>
                  <a:lnTo>
                    <a:pt x="639024" y="1096612"/>
                  </a:lnTo>
                  <a:lnTo>
                    <a:pt x="643168" y="1094984"/>
                  </a:lnTo>
                  <a:lnTo>
                    <a:pt x="645290" y="1090049"/>
                  </a:lnTo>
                  <a:lnTo>
                    <a:pt x="645290" y="1086842"/>
                  </a:lnTo>
                  <a:lnTo>
                    <a:pt x="649435" y="1083635"/>
                  </a:lnTo>
                  <a:lnTo>
                    <a:pt x="651507" y="1086842"/>
                  </a:lnTo>
                  <a:lnTo>
                    <a:pt x="651507" y="1093306"/>
                  </a:lnTo>
                  <a:lnTo>
                    <a:pt x="657773" y="1091678"/>
                  </a:lnTo>
                  <a:lnTo>
                    <a:pt x="663990" y="1081810"/>
                  </a:lnTo>
                  <a:lnTo>
                    <a:pt x="668184" y="1081810"/>
                  </a:lnTo>
                  <a:lnTo>
                    <a:pt x="670256" y="1085017"/>
                  </a:lnTo>
                  <a:lnTo>
                    <a:pt x="668184" y="1088224"/>
                  </a:lnTo>
                  <a:lnTo>
                    <a:pt x="670256" y="1091480"/>
                  </a:lnTo>
                  <a:lnTo>
                    <a:pt x="676522" y="1091480"/>
                  </a:lnTo>
                  <a:lnTo>
                    <a:pt x="680667" y="1085017"/>
                  </a:lnTo>
                  <a:lnTo>
                    <a:pt x="680667" y="1088224"/>
                  </a:lnTo>
                  <a:lnTo>
                    <a:pt x="682739" y="1089852"/>
                  </a:lnTo>
                  <a:lnTo>
                    <a:pt x="684812" y="1084918"/>
                  </a:lnTo>
                  <a:lnTo>
                    <a:pt x="689006" y="1083339"/>
                  </a:lnTo>
                  <a:lnTo>
                    <a:pt x="695222" y="1083339"/>
                  </a:lnTo>
                  <a:lnTo>
                    <a:pt x="701489" y="1080083"/>
                  </a:lnTo>
                  <a:lnTo>
                    <a:pt x="705633" y="1072040"/>
                  </a:lnTo>
                  <a:lnTo>
                    <a:pt x="705633" y="1067106"/>
                  </a:lnTo>
                  <a:lnTo>
                    <a:pt x="711899" y="1063850"/>
                  </a:lnTo>
                  <a:lnTo>
                    <a:pt x="718166" y="1058916"/>
                  </a:lnTo>
                  <a:lnTo>
                    <a:pt x="720287" y="1058916"/>
                  </a:lnTo>
                  <a:lnTo>
                    <a:pt x="728626" y="1063850"/>
                  </a:lnTo>
                  <a:lnTo>
                    <a:pt x="726504" y="1065478"/>
                  </a:lnTo>
                  <a:lnTo>
                    <a:pt x="720287" y="1067106"/>
                  </a:lnTo>
                  <a:lnTo>
                    <a:pt x="716093" y="1072040"/>
                  </a:lnTo>
                  <a:lnTo>
                    <a:pt x="716093" y="1076974"/>
                  </a:lnTo>
                  <a:lnTo>
                    <a:pt x="718215" y="1078553"/>
                  </a:lnTo>
                  <a:lnTo>
                    <a:pt x="728626" y="1072139"/>
                  </a:lnTo>
                  <a:lnTo>
                    <a:pt x="730698" y="1068932"/>
                  </a:lnTo>
                  <a:lnTo>
                    <a:pt x="734843" y="1067304"/>
                  </a:lnTo>
                  <a:lnTo>
                    <a:pt x="736915" y="1070511"/>
                  </a:lnTo>
                  <a:lnTo>
                    <a:pt x="739037" y="1065577"/>
                  </a:lnTo>
                  <a:lnTo>
                    <a:pt x="741109" y="1067205"/>
                  </a:lnTo>
                  <a:lnTo>
                    <a:pt x="743181" y="1070412"/>
                  </a:lnTo>
                  <a:lnTo>
                    <a:pt x="741109" y="1073619"/>
                  </a:lnTo>
                  <a:lnTo>
                    <a:pt x="743181" y="1075247"/>
                  </a:lnTo>
                  <a:lnTo>
                    <a:pt x="749447" y="1068833"/>
                  </a:lnTo>
                  <a:lnTo>
                    <a:pt x="753592" y="1068833"/>
                  </a:lnTo>
                  <a:lnTo>
                    <a:pt x="759858" y="1065577"/>
                  </a:lnTo>
                  <a:lnTo>
                    <a:pt x="766075" y="1065577"/>
                  </a:lnTo>
                  <a:lnTo>
                    <a:pt x="772341" y="1057485"/>
                  </a:lnTo>
                  <a:lnTo>
                    <a:pt x="778608" y="1054278"/>
                  </a:lnTo>
                  <a:lnTo>
                    <a:pt x="784824" y="1055906"/>
                  </a:lnTo>
                  <a:lnTo>
                    <a:pt x="784824" y="1059310"/>
                  </a:lnTo>
                  <a:lnTo>
                    <a:pt x="778608" y="1064244"/>
                  </a:lnTo>
                  <a:lnTo>
                    <a:pt x="774414" y="1070708"/>
                  </a:lnTo>
                  <a:lnTo>
                    <a:pt x="774414" y="1073915"/>
                  </a:lnTo>
                  <a:lnTo>
                    <a:pt x="778608" y="1073915"/>
                  </a:lnTo>
                  <a:lnTo>
                    <a:pt x="788969" y="1065873"/>
                  </a:lnTo>
                  <a:lnTo>
                    <a:pt x="788969" y="1054376"/>
                  </a:lnTo>
                  <a:lnTo>
                    <a:pt x="793163" y="1057583"/>
                  </a:lnTo>
                  <a:lnTo>
                    <a:pt x="797308" y="1056005"/>
                  </a:lnTo>
                  <a:lnTo>
                    <a:pt x="809840" y="1056005"/>
                  </a:lnTo>
                  <a:lnTo>
                    <a:pt x="816008" y="1049442"/>
                  </a:lnTo>
                  <a:lnTo>
                    <a:pt x="818080" y="1049442"/>
                  </a:lnTo>
                  <a:lnTo>
                    <a:pt x="820152" y="1051070"/>
                  </a:lnTo>
                  <a:lnTo>
                    <a:pt x="824346" y="1043028"/>
                  </a:lnTo>
                  <a:lnTo>
                    <a:pt x="828491" y="1039772"/>
                  </a:lnTo>
                  <a:lnTo>
                    <a:pt x="830563" y="1043028"/>
                  </a:lnTo>
                  <a:lnTo>
                    <a:pt x="828491" y="1046235"/>
                  </a:lnTo>
                  <a:lnTo>
                    <a:pt x="828491" y="1052699"/>
                  </a:lnTo>
                  <a:lnTo>
                    <a:pt x="832685" y="1051070"/>
                  </a:lnTo>
                  <a:lnTo>
                    <a:pt x="838704" y="1044508"/>
                  </a:lnTo>
                  <a:lnTo>
                    <a:pt x="834560" y="1044508"/>
                  </a:lnTo>
                  <a:lnTo>
                    <a:pt x="840826" y="1039574"/>
                  </a:lnTo>
                  <a:lnTo>
                    <a:pt x="840826" y="1037995"/>
                  </a:lnTo>
                  <a:lnTo>
                    <a:pt x="830366" y="1037995"/>
                  </a:lnTo>
                  <a:lnTo>
                    <a:pt x="826221" y="1036367"/>
                  </a:lnTo>
                  <a:lnTo>
                    <a:pt x="836632" y="1033111"/>
                  </a:lnTo>
                  <a:lnTo>
                    <a:pt x="847043" y="1028177"/>
                  </a:lnTo>
                  <a:lnTo>
                    <a:pt x="861845" y="1028177"/>
                  </a:lnTo>
                  <a:lnTo>
                    <a:pt x="863966" y="1024920"/>
                  </a:lnTo>
                  <a:lnTo>
                    <a:pt x="863966" y="1021713"/>
                  </a:lnTo>
                  <a:lnTo>
                    <a:pt x="861845" y="1020085"/>
                  </a:lnTo>
                  <a:lnTo>
                    <a:pt x="863966" y="1018457"/>
                  </a:lnTo>
                  <a:lnTo>
                    <a:pt x="870183" y="1018457"/>
                  </a:lnTo>
                  <a:lnTo>
                    <a:pt x="874377" y="1015249"/>
                  </a:lnTo>
                  <a:lnTo>
                    <a:pt x="878522" y="1015249"/>
                  </a:lnTo>
                  <a:lnTo>
                    <a:pt x="880594" y="1020184"/>
                  </a:lnTo>
                  <a:lnTo>
                    <a:pt x="882716" y="1020184"/>
                  </a:lnTo>
                  <a:lnTo>
                    <a:pt x="886860" y="1016976"/>
                  </a:lnTo>
                  <a:lnTo>
                    <a:pt x="884788" y="1015348"/>
                  </a:lnTo>
                  <a:lnTo>
                    <a:pt x="888933" y="1010414"/>
                  </a:lnTo>
                  <a:lnTo>
                    <a:pt x="891005" y="1005480"/>
                  </a:lnTo>
                  <a:lnTo>
                    <a:pt x="893077" y="1003901"/>
                  </a:lnTo>
                  <a:lnTo>
                    <a:pt x="895199" y="1005480"/>
                  </a:lnTo>
                  <a:lnTo>
                    <a:pt x="895199" y="1010414"/>
                  </a:lnTo>
                  <a:lnTo>
                    <a:pt x="899343" y="1012042"/>
                  </a:lnTo>
                  <a:lnTo>
                    <a:pt x="907682" y="1007108"/>
                  </a:lnTo>
                  <a:lnTo>
                    <a:pt x="911827" y="1002174"/>
                  </a:lnTo>
                  <a:lnTo>
                    <a:pt x="916020" y="1003852"/>
                  </a:lnTo>
                  <a:lnTo>
                    <a:pt x="920165" y="997388"/>
                  </a:lnTo>
                  <a:lnTo>
                    <a:pt x="922237" y="997388"/>
                  </a:lnTo>
                  <a:lnTo>
                    <a:pt x="926431" y="998967"/>
                  </a:lnTo>
                  <a:lnTo>
                    <a:pt x="932451" y="998967"/>
                  </a:lnTo>
                  <a:lnTo>
                    <a:pt x="938717" y="990925"/>
                  </a:lnTo>
                  <a:lnTo>
                    <a:pt x="938717" y="985991"/>
                  </a:lnTo>
                  <a:lnTo>
                    <a:pt x="932451" y="985991"/>
                  </a:lnTo>
                  <a:lnTo>
                    <a:pt x="930378" y="984362"/>
                  </a:lnTo>
                  <a:lnTo>
                    <a:pt x="940789" y="977899"/>
                  </a:lnTo>
                  <a:lnTo>
                    <a:pt x="947055" y="976320"/>
                  </a:lnTo>
                  <a:lnTo>
                    <a:pt x="953272" y="971386"/>
                  </a:lnTo>
                  <a:lnTo>
                    <a:pt x="955394" y="971386"/>
                  </a:lnTo>
                  <a:lnTo>
                    <a:pt x="957466" y="974593"/>
                  </a:lnTo>
                  <a:lnTo>
                    <a:pt x="965805" y="968129"/>
                  </a:lnTo>
                  <a:lnTo>
                    <a:pt x="972022" y="964922"/>
                  </a:lnTo>
                  <a:lnTo>
                    <a:pt x="974094" y="959988"/>
                  </a:lnTo>
                  <a:lnTo>
                    <a:pt x="978288" y="958360"/>
                  </a:lnTo>
                  <a:lnTo>
                    <a:pt x="980360" y="956781"/>
                  </a:lnTo>
                  <a:lnTo>
                    <a:pt x="984505" y="955153"/>
                  </a:lnTo>
                  <a:lnTo>
                    <a:pt x="986627" y="958360"/>
                  </a:lnTo>
                  <a:lnTo>
                    <a:pt x="990771" y="959988"/>
                  </a:lnTo>
                  <a:lnTo>
                    <a:pt x="992843" y="956781"/>
                  </a:lnTo>
                  <a:lnTo>
                    <a:pt x="999110" y="956781"/>
                  </a:lnTo>
                  <a:lnTo>
                    <a:pt x="1001182" y="953525"/>
                  </a:lnTo>
                  <a:lnTo>
                    <a:pt x="1001182" y="950318"/>
                  </a:lnTo>
                  <a:lnTo>
                    <a:pt x="1007448" y="948689"/>
                  </a:lnTo>
                  <a:lnTo>
                    <a:pt x="1009520" y="947110"/>
                  </a:lnTo>
                  <a:lnTo>
                    <a:pt x="1011593" y="948689"/>
                  </a:lnTo>
                  <a:lnTo>
                    <a:pt x="1022003" y="948689"/>
                  </a:lnTo>
                  <a:lnTo>
                    <a:pt x="1024076" y="943755"/>
                  </a:lnTo>
                  <a:lnTo>
                    <a:pt x="1026197" y="943755"/>
                  </a:lnTo>
                  <a:lnTo>
                    <a:pt x="1028319" y="947012"/>
                  </a:lnTo>
                  <a:lnTo>
                    <a:pt x="1030391" y="945384"/>
                  </a:lnTo>
                  <a:lnTo>
                    <a:pt x="1034536" y="943755"/>
                  </a:lnTo>
                  <a:lnTo>
                    <a:pt x="1036608" y="945384"/>
                  </a:lnTo>
                  <a:lnTo>
                    <a:pt x="1038730" y="943755"/>
                  </a:lnTo>
                  <a:lnTo>
                    <a:pt x="1042874" y="935713"/>
                  </a:lnTo>
                  <a:lnTo>
                    <a:pt x="1038730" y="935713"/>
                  </a:lnTo>
                  <a:lnTo>
                    <a:pt x="1036608" y="937292"/>
                  </a:lnTo>
                  <a:lnTo>
                    <a:pt x="1038730" y="932358"/>
                  </a:lnTo>
                  <a:lnTo>
                    <a:pt x="1044947" y="927424"/>
                  </a:lnTo>
                  <a:lnTo>
                    <a:pt x="1049141" y="927424"/>
                  </a:lnTo>
                  <a:lnTo>
                    <a:pt x="1051213" y="929052"/>
                  </a:lnTo>
                  <a:lnTo>
                    <a:pt x="1053285" y="927424"/>
                  </a:lnTo>
                  <a:lnTo>
                    <a:pt x="1051213" y="924216"/>
                  </a:lnTo>
                  <a:lnTo>
                    <a:pt x="1047019" y="922638"/>
                  </a:lnTo>
                  <a:lnTo>
                    <a:pt x="1049141" y="921009"/>
                  </a:lnTo>
                  <a:lnTo>
                    <a:pt x="1055358" y="922638"/>
                  </a:lnTo>
                  <a:lnTo>
                    <a:pt x="1063696" y="916174"/>
                  </a:lnTo>
                  <a:lnTo>
                    <a:pt x="1072035" y="916174"/>
                  </a:lnTo>
                  <a:lnTo>
                    <a:pt x="1080373" y="911240"/>
                  </a:lnTo>
                  <a:lnTo>
                    <a:pt x="1084518" y="909612"/>
                  </a:lnTo>
                  <a:lnTo>
                    <a:pt x="1092856" y="903148"/>
                  </a:lnTo>
                  <a:lnTo>
                    <a:pt x="1092856" y="893280"/>
                  </a:lnTo>
                  <a:lnTo>
                    <a:pt x="1090784" y="891701"/>
                  </a:lnTo>
                  <a:lnTo>
                    <a:pt x="1088662" y="891701"/>
                  </a:lnTo>
                  <a:lnTo>
                    <a:pt x="1086590" y="885238"/>
                  </a:lnTo>
                  <a:lnTo>
                    <a:pt x="1082445" y="882031"/>
                  </a:lnTo>
                  <a:lnTo>
                    <a:pt x="1072035" y="883609"/>
                  </a:lnTo>
                  <a:lnTo>
                    <a:pt x="1074107" y="877195"/>
                  </a:lnTo>
                  <a:lnTo>
                    <a:pt x="1074107" y="870732"/>
                  </a:lnTo>
                  <a:lnTo>
                    <a:pt x="1082445" y="867524"/>
                  </a:lnTo>
                  <a:lnTo>
                    <a:pt x="1084518" y="864268"/>
                  </a:lnTo>
                  <a:lnTo>
                    <a:pt x="1090784" y="864268"/>
                  </a:lnTo>
                  <a:lnTo>
                    <a:pt x="1092856" y="861061"/>
                  </a:lnTo>
                  <a:lnTo>
                    <a:pt x="1090784" y="859433"/>
                  </a:lnTo>
                  <a:lnTo>
                    <a:pt x="1094929" y="857804"/>
                  </a:lnTo>
                  <a:lnTo>
                    <a:pt x="1101195" y="857804"/>
                  </a:lnTo>
                  <a:lnTo>
                    <a:pt x="1109484" y="852870"/>
                  </a:lnTo>
                  <a:lnTo>
                    <a:pt x="1117823" y="857804"/>
                  </a:lnTo>
                  <a:lnTo>
                    <a:pt x="1126161" y="852870"/>
                  </a:lnTo>
                  <a:lnTo>
                    <a:pt x="1124089" y="857804"/>
                  </a:lnTo>
                  <a:lnTo>
                    <a:pt x="1126161" y="861061"/>
                  </a:lnTo>
                  <a:lnTo>
                    <a:pt x="1130306" y="861061"/>
                  </a:lnTo>
                  <a:lnTo>
                    <a:pt x="1138644" y="854597"/>
                  </a:lnTo>
                  <a:lnTo>
                    <a:pt x="1136572" y="851390"/>
                  </a:lnTo>
                  <a:lnTo>
                    <a:pt x="1132427" y="849762"/>
                  </a:lnTo>
                  <a:lnTo>
                    <a:pt x="1132427" y="846555"/>
                  </a:lnTo>
                  <a:lnTo>
                    <a:pt x="1134746" y="846555"/>
                  </a:lnTo>
                  <a:lnTo>
                    <a:pt x="1143085" y="848134"/>
                  </a:lnTo>
                  <a:lnTo>
                    <a:pt x="1153495" y="844926"/>
                  </a:lnTo>
                  <a:lnTo>
                    <a:pt x="1157640" y="836884"/>
                  </a:lnTo>
                  <a:lnTo>
                    <a:pt x="1153495" y="828792"/>
                  </a:lnTo>
                  <a:lnTo>
                    <a:pt x="1143085" y="823858"/>
                  </a:lnTo>
                  <a:lnTo>
                    <a:pt x="1138891" y="823858"/>
                  </a:lnTo>
                  <a:lnTo>
                    <a:pt x="1136819" y="827115"/>
                  </a:lnTo>
                  <a:lnTo>
                    <a:pt x="1136819" y="825486"/>
                  </a:lnTo>
                  <a:lnTo>
                    <a:pt x="1140963" y="822279"/>
                  </a:lnTo>
                  <a:lnTo>
                    <a:pt x="1149302" y="820651"/>
                  </a:lnTo>
                  <a:lnTo>
                    <a:pt x="1155568" y="825585"/>
                  </a:lnTo>
                  <a:lnTo>
                    <a:pt x="1163906" y="823957"/>
                  </a:lnTo>
                  <a:lnTo>
                    <a:pt x="1172196" y="819023"/>
                  </a:lnTo>
                  <a:lnTo>
                    <a:pt x="1172196" y="817543"/>
                  </a:lnTo>
                  <a:lnTo>
                    <a:pt x="1186998" y="809451"/>
                  </a:lnTo>
                  <a:lnTo>
                    <a:pt x="1197409" y="802987"/>
                  </a:lnTo>
                  <a:lnTo>
                    <a:pt x="1203625" y="802987"/>
                  </a:lnTo>
                  <a:lnTo>
                    <a:pt x="1207819" y="799780"/>
                  </a:lnTo>
                  <a:lnTo>
                    <a:pt x="1207819" y="796573"/>
                  </a:lnTo>
                  <a:lnTo>
                    <a:pt x="1222375" y="786705"/>
                  </a:lnTo>
                  <a:lnTo>
                    <a:pt x="1234858" y="785077"/>
                  </a:lnTo>
                  <a:lnTo>
                    <a:pt x="1249660" y="773827"/>
                  </a:lnTo>
                  <a:lnTo>
                    <a:pt x="1262143" y="773827"/>
                  </a:lnTo>
                  <a:lnTo>
                    <a:pt x="1274626" y="759321"/>
                  </a:lnTo>
                  <a:lnTo>
                    <a:pt x="1270482" y="767363"/>
                  </a:lnTo>
                  <a:lnTo>
                    <a:pt x="1270482" y="775406"/>
                  </a:lnTo>
                  <a:lnTo>
                    <a:pt x="1274626" y="777034"/>
                  </a:lnTo>
                  <a:lnTo>
                    <a:pt x="1278820" y="777034"/>
                  </a:lnTo>
                  <a:lnTo>
                    <a:pt x="1280892" y="780291"/>
                  </a:lnTo>
                  <a:lnTo>
                    <a:pt x="1291303" y="770423"/>
                  </a:lnTo>
                  <a:lnTo>
                    <a:pt x="1297520" y="768794"/>
                  </a:lnTo>
                  <a:lnTo>
                    <a:pt x="1312322" y="765587"/>
                  </a:lnTo>
                  <a:lnTo>
                    <a:pt x="1316467" y="760653"/>
                  </a:lnTo>
                  <a:lnTo>
                    <a:pt x="1314394" y="767117"/>
                  </a:lnTo>
                  <a:lnTo>
                    <a:pt x="1303984" y="773580"/>
                  </a:lnTo>
                  <a:lnTo>
                    <a:pt x="1292635" y="773580"/>
                  </a:lnTo>
                  <a:lnTo>
                    <a:pt x="1277833" y="788086"/>
                  </a:lnTo>
                  <a:lnTo>
                    <a:pt x="1275712" y="793021"/>
                  </a:lnTo>
                  <a:lnTo>
                    <a:pt x="1284050" y="802642"/>
                  </a:lnTo>
                  <a:lnTo>
                    <a:pt x="1286122" y="809106"/>
                  </a:lnTo>
                  <a:lnTo>
                    <a:pt x="1277833" y="804171"/>
                  </a:lnTo>
                  <a:lnTo>
                    <a:pt x="1273639" y="804171"/>
                  </a:lnTo>
                  <a:lnTo>
                    <a:pt x="1269495" y="805750"/>
                  </a:lnTo>
                  <a:lnTo>
                    <a:pt x="1263229" y="805750"/>
                  </a:lnTo>
                  <a:lnTo>
                    <a:pt x="1257012" y="800816"/>
                  </a:lnTo>
                  <a:lnTo>
                    <a:pt x="1254890" y="792774"/>
                  </a:lnTo>
                  <a:lnTo>
                    <a:pt x="1244479" y="797708"/>
                  </a:lnTo>
                  <a:lnTo>
                    <a:pt x="1238262" y="797708"/>
                  </a:lnTo>
                  <a:lnTo>
                    <a:pt x="1228493" y="804517"/>
                  </a:lnTo>
                  <a:lnTo>
                    <a:pt x="1218082" y="804517"/>
                  </a:lnTo>
                  <a:lnTo>
                    <a:pt x="1211816" y="810931"/>
                  </a:lnTo>
                  <a:lnTo>
                    <a:pt x="1209744" y="817395"/>
                  </a:lnTo>
                  <a:lnTo>
                    <a:pt x="1211816" y="818974"/>
                  </a:lnTo>
                  <a:lnTo>
                    <a:pt x="1205599" y="828842"/>
                  </a:lnTo>
                  <a:lnTo>
                    <a:pt x="1197261" y="833776"/>
                  </a:lnTo>
                  <a:lnTo>
                    <a:pt x="1195188" y="841867"/>
                  </a:lnTo>
                  <a:lnTo>
                    <a:pt x="1174218" y="857706"/>
                  </a:lnTo>
                  <a:lnTo>
                    <a:pt x="1167952" y="864120"/>
                  </a:lnTo>
                  <a:lnTo>
                    <a:pt x="1167952" y="867327"/>
                  </a:lnTo>
                  <a:lnTo>
                    <a:pt x="1176291" y="877195"/>
                  </a:lnTo>
                  <a:lnTo>
                    <a:pt x="1180435" y="872261"/>
                  </a:lnTo>
                  <a:lnTo>
                    <a:pt x="1182508" y="872261"/>
                  </a:lnTo>
                  <a:lnTo>
                    <a:pt x="1190846" y="867327"/>
                  </a:lnTo>
                  <a:lnTo>
                    <a:pt x="1195040" y="869005"/>
                  </a:lnTo>
                  <a:lnTo>
                    <a:pt x="1195040" y="872212"/>
                  </a:lnTo>
                  <a:lnTo>
                    <a:pt x="1182508" y="880254"/>
                  </a:lnTo>
                  <a:lnTo>
                    <a:pt x="1176291" y="880254"/>
                  </a:lnTo>
                  <a:lnTo>
                    <a:pt x="1174218" y="886619"/>
                  </a:lnTo>
                  <a:lnTo>
                    <a:pt x="1167952" y="883412"/>
                  </a:lnTo>
                  <a:lnTo>
                    <a:pt x="1161686" y="883412"/>
                  </a:lnTo>
                  <a:lnTo>
                    <a:pt x="1155469" y="884991"/>
                  </a:lnTo>
                  <a:lnTo>
                    <a:pt x="1155469" y="891553"/>
                  </a:lnTo>
                  <a:lnTo>
                    <a:pt x="1151275" y="889925"/>
                  </a:lnTo>
                  <a:lnTo>
                    <a:pt x="1145058" y="891553"/>
                  </a:lnTo>
                  <a:lnTo>
                    <a:pt x="1145058" y="897967"/>
                  </a:lnTo>
                  <a:lnTo>
                    <a:pt x="1155469" y="907835"/>
                  </a:lnTo>
                  <a:lnTo>
                    <a:pt x="1159614" y="906207"/>
                  </a:lnTo>
                  <a:lnTo>
                    <a:pt x="1161686" y="903000"/>
                  </a:lnTo>
                  <a:lnTo>
                    <a:pt x="1165880" y="906207"/>
                  </a:lnTo>
                  <a:lnTo>
                    <a:pt x="1167952" y="899793"/>
                  </a:lnTo>
                  <a:lnTo>
                    <a:pt x="1174218" y="899793"/>
                  </a:lnTo>
                  <a:lnTo>
                    <a:pt x="1174218" y="904727"/>
                  </a:lnTo>
                  <a:lnTo>
                    <a:pt x="1178363" y="901520"/>
                  </a:lnTo>
                  <a:lnTo>
                    <a:pt x="1180435" y="898263"/>
                  </a:lnTo>
                  <a:lnTo>
                    <a:pt x="1184629" y="896685"/>
                  </a:lnTo>
                  <a:lnTo>
                    <a:pt x="1192919" y="891751"/>
                  </a:lnTo>
                  <a:lnTo>
                    <a:pt x="1192919" y="885287"/>
                  </a:lnTo>
                  <a:lnTo>
                    <a:pt x="1197112" y="880353"/>
                  </a:lnTo>
                  <a:lnTo>
                    <a:pt x="1199185" y="883609"/>
                  </a:lnTo>
                  <a:lnTo>
                    <a:pt x="1195040" y="886817"/>
                  </a:lnTo>
                  <a:lnTo>
                    <a:pt x="1199185" y="891751"/>
                  </a:lnTo>
                  <a:lnTo>
                    <a:pt x="1207523" y="890122"/>
                  </a:lnTo>
                  <a:lnTo>
                    <a:pt x="1217934" y="883708"/>
                  </a:lnTo>
                  <a:lnTo>
                    <a:pt x="1226273" y="883708"/>
                  </a:lnTo>
                  <a:lnTo>
                    <a:pt x="1228345" y="886915"/>
                  </a:lnTo>
                  <a:lnTo>
                    <a:pt x="1232489" y="883708"/>
                  </a:lnTo>
                  <a:lnTo>
                    <a:pt x="1234562" y="872409"/>
                  </a:lnTo>
                  <a:lnTo>
                    <a:pt x="1242900" y="867475"/>
                  </a:lnTo>
                  <a:lnTo>
                    <a:pt x="1247094" y="869153"/>
                  </a:lnTo>
                  <a:lnTo>
                    <a:pt x="1238756" y="877195"/>
                  </a:lnTo>
                  <a:lnTo>
                    <a:pt x="1238756" y="882129"/>
                  </a:lnTo>
                  <a:lnTo>
                    <a:pt x="1242900" y="878922"/>
                  </a:lnTo>
                  <a:lnTo>
                    <a:pt x="1251239" y="870830"/>
                  </a:lnTo>
                  <a:lnTo>
                    <a:pt x="1255383" y="859531"/>
                  </a:lnTo>
                  <a:lnTo>
                    <a:pt x="1259577" y="857952"/>
                  </a:lnTo>
                  <a:lnTo>
                    <a:pt x="1259577" y="861160"/>
                  </a:lnTo>
                  <a:lnTo>
                    <a:pt x="1255383" y="869251"/>
                  </a:lnTo>
                  <a:lnTo>
                    <a:pt x="1255383" y="872458"/>
                  </a:lnTo>
                  <a:lnTo>
                    <a:pt x="1263722" y="864367"/>
                  </a:lnTo>
                  <a:lnTo>
                    <a:pt x="1267916" y="867574"/>
                  </a:lnTo>
                  <a:lnTo>
                    <a:pt x="1265794" y="872508"/>
                  </a:lnTo>
                  <a:lnTo>
                    <a:pt x="1274133" y="872508"/>
                  </a:lnTo>
                  <a:lnTo>
                    <a:pt x="1278327" y="875764"/>
                  </a:lnTo>
                  <a:lnTo>
                    <a:pt x="1282471" y="870830"/>
                  </a:lnTo>
                  <a:lnTo>
                    <a:pt x="1286616" y="864367"/>
                  </a:lnTo>
                  <a:lnTo>
                    <a:pt x="1297027" y="862788"/>
                  </a:lnTo>
                  <a:lnTo>
                    <a:pt x="1301221" y="859531"/>
                  </a:lnTo>
                  <a:lnTo>
                    <a:pt x="1297027" y="857952"/>
                  </a:lnTo>
                  <a:lnTo>
                    <a:pt x="1299148" y="851489"/>
                  </a:lnTo>
                  <a:lnTo>
                    <a:pt x="1313704" y="846555"/>
                  </a:lnTo>
                  <a:lnTo>
                    <a:pt x="1315776" y="843298"/>
                  </a:lnTo>
                  <a:lnTo>
                    <a:pt x="1315776" y="836884"/>
                  </a:lnTo>
                  <a:lnTo>
                    <a:pt x="1309559" y="838512"/>
                  </a:lnTo>
                  <a:lnTo>
                    <a:pt x="1305365" y="835256"/>
                  </a:lnTo>
                  <a:lnTo>
                    <a:pt x="1297027" y="833628"/>
                  </a:lnTo>
                  <a:lnTo>
                    <a:pt x="1299148" y="830420"/>
                  </a:lnTo>
                  <a:lnTo>
                    <a:pt x="1305365" y="830420"/>
                  </a:lnTo>
                  <a:lnTo>
                    <a:pt x="1311631" y="832049"/>
                  </a:lnTo>
                  <a:lnTo>
                    <a:pt x="1313704" y="828842"/>
                  </a:lnTo>
                  <a:lnTo>
                    <a:pt x="1313704" y="823908"/>
                  </a:lnTo>
                  <a:lnTo>
                    <a:pt x="1307437" y="825486"/>
                  </a:lnTo>
                  <a:lnTo>
                    <a:pt x="1301221" y="820552"/>
                  </a:lnTo>
                  <a:lnTo>
                    <a:pt x="1301221" y="815618"/>
                  </a:lnTo>
                  <a:lnTo>
                    <a:pt x="1309559" y="814040"/>
                  </a:lnTo>
                  <a:lnTo>
                    <a:pt x="1313704" y="812411"/>
                  </a:lnTo>
                  <a:lnTo>
                    <a:pt x="1317848" y="814040"/>
                  </a:lnTo>
                  <a:lnTo>
                    <a:pt x="1317848" y="810783"/>
                  </a:lnTo>
                  <a:lnTo>
                    <a:pt x="1315776" y="804369"/>
                  </a:lnTo>
                  <a:lnTo>
                    <a:pt x="1326187" y="799435"/>
                  </a:lnTo>
                  <a:lnTo>
                    <a:pt x="1334525" y="804369"/>
                  </a:lnTo>
                  <a:lnTo>
                    <a:pt x="1338670" y="802691"/>
                  </a:lnTo>
                  <a:lnTo>
                    <a:pt x="1346910" y="802691"/>
                  </a:lnTo>
                  <a:lnTo>
                    <a:pt x="1334427" y="810783"/>
                  </a:lnTo>
                  <a:lnTo>
                    <a:pt x="1334427" y="815717"/>
                  </a:lnTo>
                  <a:lnTo>
                    <a:pt x="1336499" y="827016"/>
                  </a:lnTo>
                  <a:lnTo>
                    <a:pt x="1340693" y="825388"/>
                  </a:lnTo>
                  <a:lnTo>
                    <a:pt x="1344837" y="814138"/>
                  </a:lnTo>
                  <a:lnTo>
                    <a:pt x="1351104" y="810882"/>
                  </a:lnTo>
                  <a:lnTo>
                    <a:pt x="1353176" y="810882"/>
                  </a:lnTo>
                  <a:lnTo>
                    <a:pt x="1351104" y="814138"/>
                  </a:lnTo>
                  <a:lnTo>
                    <a:pt x="1346910" y="819072"/>
                  </a:lnTo>
                  <a:lnTo>
                    <a:pt x="1348982" y="824006"/>
                  </a:lnTo>
                  <a:lnTo>
                    <a:pt x="1357320" y="817543"/>
                  </a:lnTo>
                  <a:lnTo>
                    <a:pt x="1359442" y="814336"/>
                  </a:lnTo>
                  <a:lnTo>
                    <a:pt x="1365659" y="817543"/>
                  </a:lnTo>
                  <a:lnTo>
                    <a:pt x="1371925" y="814336"/>
                  </a:lnTo>
                  <a:lnTo>
                    <a:pt x="1373998" y="814336"/>
                  </a:lnTo>
                  <a:lnTo>
                    <a:pt x="1382336" y="809402"/>
                  </a:lnTo>
                  <a:lnTo>
                    <a:pt x="1390675" y="807823"/>
                  </a:lnTo>
                  <a:lnTo>
                    <a:pt x="1396892" y="809402"/>
                  </a:lnTo>
                  <a:lnTo>
                    <a:pt x="1394819" y="812658"/>
                  </a:lnTo>
                  <a:lnTo>
                    <a:pt x="1386382" y="812658"/>
                  </a:lnTo>
                  <a:lnTo>
                    <a:pt x="1380116" y="819072"/>
                  </a:lnTo>
                  <a:lnTo>
                    <a:pt x="1374047" y="819072"/>
                  </a:lnTo>
                  <a:lnTo>
                    <a:pt x="1371975" y="824006"/>
                  </a:lnTo>
                  <a:lnTo>
                    <a:pt x="1374047" y="827213"/>
                  </a:lnTo>
                  <a:lnTo>
                    <a:pt x="1386530" y="828842"/>
                  </a:lnTo>
                  <a:lnTo>
                    <a:pt x="1392796" y="833776"/>
                  </a:lnTo>
                  <a:lnTo>
                    <a:pt x="1390724" y="837032"/>
                  </a:lnTo>
                  <a:lnTo>
                    <a:pt x="1384458" y="830569"/>
                  </a:lnTo>
                  <a:lnTo>
                    <a:pt x="1374047" y="830569"/>
                  </a:lnTo>
                  <a:lnTo>
                    <a:pt x="1367781" y="832197"/>
                  </a:lnTo>
                  <a:lnTo>
                    <a:pt x="1367781" y="837131"/>
                  </a:lnTo>
                  <a:lnTo>
                    <a:pt x="1371975" y="838759"/>
                  </a:lnTo>
                  <a:lnTo>
                    <a:pt x="1378191" y="835503"/>
                  </a:lnTo>
                  <a:lnTo>
                    <a:pt x="1384458" y="840437"/>
                  </a:lnTo>
                  <a:lnTo>
                    <a:pt x="1380264" y="842065"/>
                  </a:lnTo>
                  <a:lnTo>
                    <a:pt x="1374047" y="842065"/>
                  </a:lnTo>
                  <a:lnTo>
                    <a:pt x="1374047" y="845321"/>
                  </a:lnTo>
                  <a:lnTo>
                    <a:pt x="1384458" y="848528"/>
                  </a:lnTo>
                  <a:lnTo>
                    <a:pt x="1386530" y="851735"/>
                  </a:lnTo>
                  <a:lnTo>
                    <a:pt x="1382385" y="853364"/>
                  </a:lnTo>
                  <a:lnTo>
                    <a:pt x="1376119" y="854992"/>
                  </a:lnTo>
                  <a:lnTo>
                    <a:pt x="1376119" y="858199"/>
                  </a:lnTo>
                  <a:lnTo>
                    <a:pt x="1384458" y="858199"/>
                  </a:lnTo>
                  <a:lnTo>
                    <a:pt x="1390724" y="856571"/>
                  </a:lnTo>
                  <a:lnTo>
                    <a:pt x="1396941" y="861505"/>
                  </a:lnTo>
                  <a:lnTo>
                    <a:pt x="1403207" y="863133"/>
                  </a:lnTo>
                  <a:lnTo>
                    <a:pt x="1413618" y="859877"/>
                  </a:lnTo>
                  <a:lnTo>
                    <a:pt x="1417762" y="863133"/>
                  </a:lnTo>
                  <a:lnTo>
                    <a:pt x="1417762" y="866340"/>
                  </a:lnTo>
                  <a:lnTo>
                    <a:pt x="1411496" y="869597"/>
                  </a:lnTo>
                  <a:lnTo>
                    <a:pt x="1413618" y="872804"/>
                  </a:lnTo>
                  <a:lnTo>
                    <a:pt x="1415690" y="874383"/>
                  </a:lnTo>
                  <a:lnTo>
                    <a:pt x="1417762" y="877639"/>
                  </a:lnTo>
                  <a:lnTo>
                    <a:pt x="1424029" y="879267"/>
                  </a:lnTo>
                  <a:lnTo>
                    <a:pt x="1428173" y="872804"/>
                  </a:lnTo>
                  <a:lnTo>
                    <a:pt x="1426101" y="871176"/>
                  </a:lnTo>
                  <a:lnTo>
                    <a:pt x="1428173" y="867919"/>
                  </a:lnTo>
                  <a:lnTo>
                    <a:pt x="1436512" y="867919"/>
                  </a:lnTo>
                  <a:lnTo>
                    <a:pt x="1432367" y="874383"/>
                  </a:lnTo>
                  <a:lnTo>
                    <a:pt x="1432367" y="877639"/>
                  </a:lnTo>
                  <a:lnTo>
                    <a:pt x="1421956" y="885682"/>
                  </a:lnTo>
                  <a:lnTo>
                    <a:pt x="1430246" y="890616"/>
                  </a:lnTo>
                  <a:lnTo>
                    <a:pt x="1426101" y="892244"/>
                  </a:lnTo>
                  <a:lnTo>
                    <a:pt x="1417762" y="892244"/>
                  </a:lnTo>
                  <a:lnTo>
                    <a:pt x="1419835" y="897178"/>
                  </a:lnTo>
                  <a:lnTo>
                    <a:pt x="1438584" y="900434"/>
                  </a:lnTo>
                  <a:lnTo>
                    <a:pt x="1442729" y="897178"/>
                  </a:lnTo>
                  <a:lnTo>
                    <a:pt x="1448995" y="898757"/>
                  </a:lnTo>
                  <a:lnTo>
                    <a:pt x="1465672" y="898757"/>
                  </a:lnTo>
                  <a:lnTo>
                    <a:pt x="1471889" y="897178"/>
                  </a:lnTo>
                  <a:lnTo>
                    <a:pt x="1476083" y="898757"/>
                  </a:lnTo>
                  <a:lnTo>
                    <a:pt x="1476083" y="903691"/>
                  </a:lnTo>
                  <a:lnTo>
                    <a:pt x="1480129" y="903691"/>
                  </a:lnTo>
                  <a:lnTo>
                    <a:pt x="1486395" y="908625"/>
                  </a:lnTo>
                  <a:lnTo>
                    <a:pt x="1490539" y="911832"/>
                  </a:lnTo>
                  <a:lnTo>
                    <a:pt x="1492612" y="915039"/>
                  </a:lnTo>
                  <a:lnTo>
                    <a:pt x="1498878" y="915039"/>
                  </a:lnTo>
                  <a:lnTo>
                    <a:pt x="1507216" y="911832"/>
                  </a:lnTo>
                  <a:lnTo>
                    <a:pt x="1509289" y="908625"/>
                  </a:lnTo>
                  <a:lnTo>
                    <a:pt x="1513433" y="910253"/>
                  </a:lnTo>
                  <a:lnTo>
                    <a:pt x="1513433" y="915187"/>
                  </a:lnTo>
                  <a:lnTo>
                    <a:pt x="1507216" y="920121"/>
                  </a:lnTo>
                  <a:lnTo>
                    <a:pt x="1500950" y="920121"/>
                  </a:lnTo>
                  <a:lnTo>
                    <a:pt x="1503023" y="923378"/>
                  </a:lnTo>
                  <a:lnTo>
                    <a:pt x="1513433" y="926585"/>
                  </a:lnTo>
                  <a:lnTo>
                    <a:pt x="1515555" y="931519"/>
                  </a:lnTo>
                  <a:lnTo>
                    <a:pt x="1519700" y="934775"/>
                  </a:lnTo>
                  <a:lnTo>
                    <a:pt x="1530110" y="937982"/>
                  </a:lnTo>
                  <a:lnTo>
                    <a:pt x="1542594" y="934775"/>
                  </a:lnTo>
                  <a:lnTo>
                    <a:pt x="1548860" y="933147"/>
                  </a:lnTo>
                  <a:lnTo>
                    <a:pt x="1550932" y="936354"/>
                  </a:lnTo>
                  <a:lnTo>
                    <a:pt x="1555077" y="931420"/>
                  </a:lnTo>
                  <a:lnTo>
                    <a:pt x="1563415" y="926486"/>
                  </a:lnTo>
                  <a:lnTo>
                    <a:pt x="1567609" y="926486"/>
                  </a:lnTo>
                  <a:lnTo>
                    <a:pt x="1565487" y="929693"/>
                  </a:lnTo>
                  <a:lnTo>
                    <a:pt x="1559271" y="934627"/>
                  </a:lnTo>
                  <a:lnTo>
                    <a:pt x="1557198" y="945877"/>
                  </a:lnTo>
                  <a:lnTo>
                    <a:pt x="1553004" y="952341"/>
                  </a:lnTo>
                  <a:lnTo>
                    <a:pt x="1549205" y="952341"/>
                  </a:lnTo>
                  <a:lnTo>
                    <a:pt x="1542939" y="949133"/>
                  </a:lnTo>
                  <a:lnTo>
                    <a:pt x="1538794" y="949133"/>
                  </a:lnTo>
                  <a:lnTo>
                    <a:pt x="1545011" y="957176"/>
                  </a:lnTo>
                  <a:lnTo>
                    <a:pt x="1547133" y="963590"/>
                  </a:lnTo>
                  <a:lnTo>
                    <a:pt x="1551278" y="966847"/>
                  </a:lnTo>
                  <a:lnTo>
                    <a:pt x="1557544" y="965268"/>
                  </a:lnTo>
                  <a:lnTo>
                    <a:pt x="1561688" y="966847"/>
                  </a:lnTo>
                  <a:lnTo>
                    <a:pt x="1559616" y="970054"/>
                  </a:lnTo>
                  <a:lnTo>
                    <a:pt x="1555422" y="970054"/>
                  </a:lnTo>
                  <a:lnTo>
                    <a:pt x="1555422" y="973310"/>
                  </a:lnTo>
                  <a:lnTo>
                    <a:pt x="1565833" y="981353"/>
                  </a:lnTo>
                  <a:lnTo>
                    <a:pt x="1567954" y="979724"/>
                  </a:lnTo>
                  <a:lnTo>
                    <a:pt x="1576244" y="979724"/>
                  </a:lnTo>
                  <a:lnTo>
                    <a:pt x="1580438" y="974790"/>
                  </a:lnTo>
                  <a:lnTo>
                    <a:pt x="1588776" y="961863"/>
                  </a:lnTo>
                  <a:lnTo>
                    <a:pt x="1584582" y="971731"/>
                  </a:lnTo>
                  <a:lnTo>
                    <a:pt x="1584582" y="978195"/>
                  </a:lnTo>
                  <a:lnTo>
                    <a:pt x="1582510" y="983129"/>
                  </a:lnTo>
                  <a:lnTo>
                    <a:pt x="1578365" y="984757"/>
                  </a:lnTo>
                  <a:lnTo>
                    <a:pt x="1574171" y="989691"/>
                  </a:lnTo>
                  <a:lnTo>
                    <a:pt x="1574171" y="992898"/>
                  </a:lnTo>
                  <a:lnTo>
                    <a:pt x="1580438" y="996105"/>
                  </a:lnTo>
                  <a:lnTo>
                    <a:pt x="1578365" y="999362"/>
                  </a:lnTo>
                  <a:lnTo>
                    <a:pt x="1576244" y="1013868"/>
                  </a:lnTo>
                  <a:lnTo>
                    <a:pt x="1580438" y="1017075"/>
                  </a:lnTo>
                  <a:lnTo>
                    <a:pt x="1586654" y="1017075"/>
                  </a:lnTo>
                  <a:lnTo>
                    <a:pt x="1584582" y="1022009"/>
                  </a:lnTo>
                  <a:lnTo>
                    <a:pt x="1586654" y="1028473"/>
                  </a:lnTo>
                  <a:lnTo>
                    <a:pt x="1597065" y="1038341"/>
                  </a:lnTo>
                  <a:lnTo>
                    <a:pt x="1601259" y="1039969"/>
                  </a:lnTo>
                  <a:lnTo>
                    <a:pt x="1601259" y="1043176"/>
                  </a:lnTo>
                  <a:lnTo>
                    <a:pt x="1605404" y="1041548"/>
                  </a:lnTo>
                  <a:lnTo>
                    <a:pt x="1609598" y="1044804"/>
                  </a:lnTo>
                  <a:lnTo>
                    <a:pt x="1613742" y="1043176"/>
                  </a:lnTo>
                  <a:lnTo>
                    <a:pt x="1611670" y="1041548"/>
                  </a:lnTo>
                  <a:lnTo>
                    <a:pt x="1613742" y="1038341"/>
                  </a:lnTo>
                  <a:lnTo>
                    <a:pt x="1615815" y="1041548"/>
                  </a:lnTo>
                  <a:lnTo>
                    <a:pt x="1620009" y="1041548"/>
                  </a:lnTo>
                  <a:lnTo>
                    <a:pt x="1624153" y="1036614"/>
                  </a:lnTo>
                  <a:lnTo>
                    <a:pt x="1620009" y="1028522"/>
                  </a:lnTo>
                  <a:lnTo>
                    <a:pt x="1615815" y="1028522"/>
                  </a:lnTo>
                  <a:lnTo>
                    <a:pt x="1613742" y="1030150"/>
                  </a:lnTo>
                  <a:lnTo>
                    <a:pt x="1609598" y="1026894"/>
                  </a:lnTo>
                  <a:lnTo>
                    <a:pt x="1615815" y="1021960"/>
                  </a:lnTo>
                  <a:lnTo>
                    <a:pt x="1615815" y="1018753"/>
                  </a:lnTo>
                  <a:lnTo>
                    <a:pt x="1613742" y="1013819"/>
                  </a:lnTo>
                  <a:lnTo>
                    <a:pt x="1607476" y="1012190"/>
                  </a:lnTo>
                  <a:lnTo>
                    <a:pt x="1607476" y="1008983"/>
                  </a:lnTo>
                  <a:lnTo>
                    <a:pt x="1609598" y="1005776"/>
                  </a:lnTo>
                  <a:lnTo>
                    <a:pt x="1611670" y="999312"/>
                  </a:lnTo>
                  <a:lnTo>
                    <a:pt x="1615815" y="999312"/>
                  </a:lnTo>
                  <a:lnTo>
                    <a:pt x="1615815" y="1005776"/>
                  </a:lnTo>
                  <a:lnTo>
                    <a:pt x="1617887" y="1008983"/>
                  </a:lnTo>
                  <a:lnTo>
                    <a:pt x="1622081" y="1004049"/>
                  </a:lnTo>
                  <a:lnTo>
                    <a:pt x="1624153" y="1007306"/>
                  </a:lnTo>
                  <a:lnTo>
                    <a:pt x="1626225" y="1012240"/>
                  </a:lnTo>
                  <a:lnTo>
                    <a:pt x="1624153" y="1017174"/>
                  </a:lnTo>
                  <a:lnTo>
                    <a:pt x="1626225" y="1022108"/>
                  </a:lnTo>
                  <a:lnTo>
                    <a:pt x="1630419" y="1023736"/>
                  </a:lnTo>
                  <a:lnTo>
                    <a:pt x="1636636" y="1018802"/>
                  </a:lnTo>
                  <a:lnTo>
                    <a:pt x="1638709" y="1017174"/>
                  </a:lnTo>
                  <a:lnTo>
                    <a:pt x="1636636" y="1022108"/>
                  </a:lnTo>
                  <a:lnTo>
                    <a:pt x="1632492" y="1027042"/>
                  </a:lnTo>
                  <a:lnTo>
                    <a:pt x="1632492" y="1031976"/>
                  </a:lnTo>
                  <a:lnTo>
                    <a:pt x="1634564" y="1036910"/>
                  </a:lnTo>
                  <a:lnTo>
                    <a:pt x="1632492" y="1043324"/>
                  </a:lnTo>
                  <a:lnTo>
                    <a:pt x="1634564" y="1046531"/>
                  </a:lnTo>
                  <a:lnTo>
                    <a:pt x="1640830" y="1048159"/>
                  </a:lnTo>
                  <a:lnTo>
                    <a:pt x="1642902" y="1046531"/>
                  </a:lnTo>
                  <a:lnTo>
                    <a:pt x="1644975" y="1041597"/>
                  </a:lnTo>
                  <a:lnTo>
                    <a:pt x="1647047" y="1044854"/>
                  </a:lnTo>
                  <a:lnTo>
                    <a:pt x="1644975" y="1048061"/>
                  </a:lnTo>
                  <a:lnTo>
                    <a:pt x="1647047" y="1054524"/>
                  </a:lnTo>
                  <a:lnTo>
                    <a:pt x="1651241" y="1057731"/>
                  </a:lnTo>
                  <a:lnTo>
                    <a:pt x="1657458" y="1047863"/>
                  </a:lnTo>
                  <a:lnTo>
                    <a:pt x="1659530" y="1039821"/>
                  </a:lnTo>
                  <a:lnTo>
                    <a:pt x="1661652" y="1034887"/>
                  </a:lnTo>
                  <a:lnTo>
                    <a:pt x="1661652" y="1020381"/>
                  </a:lnTo>
                  <a:lnTo>
                    <a:pt x="1667622" y="1006023"/>
                  </a:lnTo>
                  <a:lnTo>
                    <a:pt x="1667622" y="993096"/>
                  </a:lnTo>
                  <a:lnTo>
                    <a:pt x="1665550" y="983474"/>
                  </a:lnTo>
                  <a:lnTo>
                    <a:pt x="1663477" y="980218"/>
                  </a:lnTo>
                  <a:lnTo>
                    <a:pt x="1663477" y="978590"/>
                  </a:lnTo>
                  <a:lnTo>
                    <a:pt x="1665550" y="980218"/>
                  </a:lnTo>
                  <a:lnTo>
                    <a:pt x="1669694" y="986681"/>
                  </a:lnTo>
                  <a:lnTo>
                    <a:pt x="1673888" y="988310"/>
                  </a:lnTo>
                  <a:lnTo>
                    <a:pt x="1678033" y="980218"/>
                  </a:lnTo>
                  <a:lnTo>
                    <a:pt x="1684299" y="977011"/>
                  </a:lnTo>
                  <a:lnTo>
                    <a:pt x="1680105" y="985053"/>
                  </a:lnTo>
                  <a:lnTo>
                    <a:pt x="1675961" y="994921"/>
                  </a:lnTo>
                  <a:lnTo>
                    <a:pt x="1678033" y="1004789"/>
                  </a:lnTo>
                  <a:lnTo>
                    <a:pt x="1671816" y="1016039"/>
                  </a:lnTo>
                  <a:lnTo>
                    <a:pt x="1671816" y="1022503"/>
                  </a:lnTo>
                  <a:lnTo>
                    <a:pt x="1673888" y="1027437"/>
                  </a:lnTo>
                  <a:lnTo>
                    <a:pt x="1669694" y="1030644"/>
                  </a:lnTo>
                  <a:lnTo>
                    <a:pt x="1667622" y="1040512"/>
                  </a:lnTo>
                  <a:lnTo>
                    <a:pt x="1669694" y="1045446"/>
                  </a:lnTo>
                  <a:lnTo>
                    <a:pt x="1671816" y="1051909"/>
                  </a:lnTo>
                  <a:lnTo>
                    <a:pt x="1678033" y="1056843"/>
                  </a:lnTo>
                  <a:lnTo>
                    <a:pt x="1678033" y="1063307"/>
                  </a:lnTo>
                  <a:lnTo>
                    <a:pt x="1682424" y="1063307"/>
                  </a:lnTo>
                  <a:lnTo>
                    <a:pt x="1682424" y="1069178"/>
                  </a:lnTo>
                  <a:lnTo>
                    <a:pt x="1688641" y="1074112"/>
                  </a:lnTo>
                  <a:lnTo>
                    <a:pt x="1692835" y="1070905"/>
                  </a:lnTo>
                  <a:lnTo>
                    <a:pt x="1694907" y="1074112"/>
                  </a:lnTo>
                  <a:lnTo>
                    <a:pt x="1701124" y="1070905"/>
                  </a:lnTo>
                  <a:lnTo>
                    <a:pt x="1711535" y="1070905"/>
                  </a:lnTo>
                  <a:lnTo>
                    <a:pt x="1709463" y="1072534"/>
                  </a:lnTo>
                  <a:lnTo>
                    <a:pt x="1701124" y="1077468"/>
                  </a:lnTo>
                  <a:lnTo>
                    <a:pt x="1696980" y="1079047"/>
                  </a:lnTo>
                  <a:lnTo>
                    <a:pt x="1696980" y="1082303"/>
                  </a:lnTo>
                  <a:lnTo>
                    <a:pt x="1701124" y="1085510"/>
                  </a:lnTo>
                  <a:lnTo>
                    <a:pt x="1699052" y="1087138"/>
                  </a:lnTo>
                  <a:lnTo>
                    <a:pt x="1692835" y="1087138"/>
                  </a:lnTo>
                  <a:lnTo>
                    <a:pt x="1692835" y="1092072"/>
                  </a:lnTo>
                  <a:lnTo>
                    <a:pt x="1699052" y="1098487"/>
                  </a:lnTo>
                  <a:lnTo>
                    <a:pt x="1699052" y="1104950"/>
                  </a:lnTo>
                  <a:lnTo>
                    <a:pt x="1694907" y="1104950"/>
                  </a:lnTo>
                  <a:lnTo>
                    <a:pt x="1690713" y="1101743"/>
                  </a:lnTo>
                  <a:lnTo>
                    <a:pt x="1688641" y="1096809"/>
                  </a:lnTo>
                  <a:lnTo>
                    <a:pt x="1686569" y="1098388"/>
                  </a:lnTo>
                  <a:lnTo>
                    <a:pt x="1688641" y="1103322"/>
                  </a:lnTo>
                  <a:lnTo>
                    <a:pt x="1684496" y="1108256"/>
                  </a:lnTo>
                  <a:lnTo>
                    <a:pt x="1684496" y="1114670"/>
                  </a:lnTo>
                  <a:lnTo>
                    <a:pt x="1686569" y="1116298"/>
                  </a:lnTo>
                  <a:lnTo>
                    <a:pt x="1684496" y="1119506"/>
                  </a:lnTo>
                  <a:lnTo>
                    <a:pt x="1678230" y="1119506"/>
                  </a:lnTo>
                  <a:lnTo>
                    <a:pt x="1676158" y="1124440"/>
                  </a:lnTo>
                  <a:lnTo>
                    <a:pt x="1676158" y="1127647"/>
                  </a:lnTo>
                  <a:lnTo>
                    <a:pt x="1684496" y="1127647"/>
                  </a:lnTo>
                  <a:lnTo>
                    <a:pt x="1686569" y="1132581"/>
                  </a:lnTo>
                  <a:lnTo>
                    <a:pt x="1692835" y="1137515"/>
                  </a:lnTo>
                  <a:lnTo>
                    <a:pt x="1696980" y="1135887"/>
                  </a:lnTo>
                  <a:lnTo>
                    <a:pt x="1699052" y="1139094"/>
                  </a:lnTo>
                  <a:lnTo>
                    <a:pt x="1699052" y="1140722"/>
                  </a:lnTo>
                  <a:lnTo>
                    <a:pt x="1694907" y="1140722"/>
                  </a:lnTo>
                  <a:lnTo>
                    <a:pt x="1690713" y="1142350"/>
                  </a:lnTo>
                  <a:lnTo>
                    <a:pt x="1692835" y="1145557"/>
                  </a:lnTo>
                  <a:lnTo>
                    <a:pt x="1699052" y="1148814"/>
                  </a:lnTo>
                  <a:lnTo>
                    <a:pt x="1701124" y="1153748"/>
                  </a:lnTo>
                  <a:lnTo>
                    <a:pt x="1707390" y="1158682"/>
                  </a:lnTo>
                  <a:lnTo>
                    <a:pt x="1709463" y="1158682"/>
                  </a:lnTo>
                  <a:lnTo>
                    <a:pt x="1705318" y="1160261"/>
                  </a:lnTo>
                  <a:lnTo>
                    <a:pt x="1701124" y="1160261"/>
                  </a:lnTo>
                  <a:lnTo>
                    <a:pt x="1696980" y="1165195"/>
                  </a:lnTo>
                  <a:lnTo>
                    <a:pt x="1696980" y="1171609"/>
                  </a:lnTo>
                  <a:lnTo>
                    <a:pt x="1703246" y="1181477"/>
                  </a:lnTo>
                  <a:lnTo>
                    <a:pt x="1709463" y="1184684"/>
                  </a:lnTo>
                  <a:lnTo>
                    <a:pt x="1721896" y="1184684"/>
                  </a:lnTo>
                  <a:lnTo>
                    <a:pt x="1713607" y="1189618"/>
                  </a:lnTo>
                  <a:lnTo>
                    <a:pt x="1705269" y="1187990"/>
                  </a:lnTo>
                  <a:lnTo>
                    <a:pt x="1701075" y="1187990"/>
                  </a:lnTo>
                  <a:lnTo>
                    <a:pt x="1696930" y="1196082"/>
                  </a:lnTo>
                  <a:lnTo>
                    <a:pt x="1686519" y="1207331"/>
                  </a:lnTo>
                  <a:lnTo>
                    <a:pt x="1678181" y="1212265"/>
                  </a:lnTo>
                  <a:lnTo>
                    <a:pt x="1678181" y="1217200"/>
                  </a:lnTo>
                  <a:lnTo>
                    <a:pt x="1680253" y="1222134"/>
                  </a:lnTo>
                  <a:lnTo>
                    <a:pt x="1688592" y="1217200"/>
                  </a:lnTo>
                  <a:lnTo>
                    <a:pt x="1692786" y="1209157"/>
                  </a:lnTo>
                  <a:lnTo>
                    <a:pt x="1692786" y="1205950"/>
                  </a:lnTo>
                  <a:lnTo>
                    <a:pt x="1699002" y="1204322"/>
                  </a:lnTo>
                  <a:lnTo>
                    <a:pt x="1707341" y="1197907"/>
                  </a:lnTo>
                  <a:lnTo>
                    <a:pt x="1709413" y="1199486"/>
                  </a:lnTo>
                  <a:lnTo>
                    <a:pt x="1724215" y="1199486"/>
                  </a:lnTo>
                  <a:lnTo>
                    <a:pt x="1717949" y="1204420"/>
                  </a:lnTo>
                  <a:lnTo>
                    <a:pt x="1717949" y="1206049"/>
                  </a:lnTo>
                  <a:lnTo>
                    <a:pt x="1726288" y="1206049"/>
                  </a:lnTo>
                  <a:lnTo>
                    <a:pt x="1726288" y="1209256"/>
                  </a:lnTo>
                  <a:lnTo>
                    <a:pt x="1720021" y="1214190"/>
                  </a:lnTo>
                  <a:lnTo>
                    <a:pt x="1720021" y="1220653"/>
                  </a:lnTo>
                  <a:lnTo>
                    <a:pt x="1722094" y="1223860"/>
                  </a:lnTo>
                  <a:lnTo>
                    <a:pt x="1715531" y="1232002"/>
                  </a:lnTo>
                  <a:lnTo>
                    <a:pt x="1713459" y="1235209"/>
                  </a:lnTo>
                  <a:lnTo>
                    <a:pt x="1715531" y="1238416"/>
                  </a:lnTo>
                  <a:lnTo>
                    <a:pt x="1717604" y="1241672"/>
                  </a:lnTo>
                  <a:lnTo>
                    <a:pt x="1705121" y="1241672"/>
                  </a:lnTo>
                  <a:lnTo>
                    <a:pt x="1700927" y="1246606"/>
                  </a:lnTo>
                  <a:lnTo>
                    <a:pt x="1700927" y="1249813"/>
                  </a:lnTo>
                  <a:lnTo>
                    <a:pt x="1705121" y="1249813"/>
                  </a:lnTo>
                  <a:lnTo>
                    <a:pt x="1709265" y="1248185"/>
                  </a:lnTo>
                  <a:lnTo>
                    <a:pt x="1715531" y="1248185"/>
                  </a:lnTo>
                  <a:lnTo>
                    <a:pt x="1717604" y="1249813"/>
                  </a:lnTo>
                  <a:lnTo>
                    <a:pt x="1711337" y="1254747"/>
                  </a:lnTo>
                  <a:lnTo>
                    <a:pt x="1703048" y="1254747"/>
                  </a:lnTo>
                  <a:lnTo>
                    <a:pt x="1698854" y="1256376"/>
                  </a:lnTo>
                  <a:lnTo>
                    <a:pt x="1696782" y="1264418"/>
                  </a:lnTo>
                  <a:lnTo>
                    <a:pt x="1700927" y="1270882"/>
                  </a:lnTo>
                  <a:lnTo>
                    <a:pt x="1705121" y="1267675"/>
                  </a:lnTo>
                  <a:lnTo>
                    <a:pt x="1707193" y="1264418"/>
                  </a:lnTo>
                  <a:lnTo>
                    <a:pt x="1711337" y="1264418"/>
                  </a:lnTo>
                  <a:lnTo>
                    <a:pt x="1717604" y="1262839"/>
                  </a:lnTo>
                  <a:lnTo>
                    <a:pt x="1725942" y="1252971"/>
                  </a:lnTo>
                  <a:lnTo>
                    <a:pt x="1734281" y="1243103"/>
                  </a:lnTo>
                  <a:lnTo>
                    <a:pt x="1736353" y="1230176"/>
                  </a:lnTo>
                  <a:lnTo>
                    <a:pt x="1744692" y="1215670"/>
                  </a:lnTo>
                  <a:lnTo>
                    <a:pt x="1746764" y="1214042"/>
                  </a:lnTo>
                  <a:close/>
                  <a:moveTo>
                    <a:pt x="1640583" y="1247840"/>
                  </a:moveTo>
                  <a:lnTo>
                    <a:pt x="1638462" y="1246261"/>
                  </a:lnTo>
                  <a:lnTo>
                    <a:pt x="1640583" y="1241327"/>
                  </a:lnTo>
                  <a:lnTo>
                    <a:pt x="1642656" y="1244534"/>
                  </a:lnTo>
                  <a:close/>
                  <a:moveTo>
                    <a:pt x="1680056" y="1259188"/>
                  </a:moveTo>
                  <a:lnTo>
                    <a:pt x="1686322" y="1255932"/>
                  </a:lnTo>
                  <a:lnTo>
                    <a:pt x="1692588" y="1259188"/>
                  </a:lnTo>
                  <a:lnTo>
                    <a:pt x="1686322" y="1264122"/>
                  </a:lnTo>
                  <a:close/>
                  <a:moveTo>
                    <a:pt x="1684250" y="1243054"/>
                  </a:moveTo>
                  <a:lnTo>
                    <a:pt x="1688394" y="1239797"/>
                  </a:lnTo>
                  <a:lnTo>
                    <a:pt x="1692588" y="1247840"/>
                  </a:lnTo>
                  <a:lnTo>
                    <a:pt x="1686322" y="1252774"/>
                  </a:lnTo>
                  <a:lnTo>
                    <a:pt x="1680056" y="1249517"/>
                  </a:lnTo>
                  <a:lnTo>
                    <a:pt x="1684250" y="1246310"/>
                  </a:lnTo>
                  <a:close/>
                  <a:moveTo>
                    <a:pt x="1682424" y="1228548"/>
                  </a:moveTo>
                  <a:lnTo>
                    <a:pt x="1686569" y="1234962"/>
                  </a:lnTo>
                  <a:lnTo>
                    <a:pt x="1680302" y="1239896"/>
                  </a:lnTo>
                  <a:lnTo>
                    <a:pt x="1682424" y="1234962"/>
                  </a:lnTo>
                  <a:lnTo>
                    <a:pt x="1678230" y="1231755"/>
                  </a:lnTo>
                  <a:close/>
                  <a:moveTo>
                    <a:pt x="1688641" y="1228548"/>
                  </a:moveTo>
                  <a:lnTo>
                    <a:pt x="1694907" y="1222084"/>
                  </a:lnTo>
                  <a:lnTo>
                    <a:pt x="1694907" y="1220456"/>
                  </a:lnTo>
                  <a:lnTo>
                    <a:pt x="1696980" y="1210588"/>
                  </a:lnTo>
                  <a:lnTo>
                    <a:pt x="1705318" y="1208960"/>
                  </a:lnTo>
                  <a:lnTo>
                    <a:pt x="1705318" y="1205753"/>
                  </a:lnTo>
                  <a:lnTo>
                    <a:pt x="1713656" y="1205753"/>
                  </a:lnTo>
                  <a:lnTo>
                    <a:pt x="1715729" y="1212216"/>
                  </a:lnTo>
                  <a:lnTo>
                    <a:pt x="1713656" y="1218680"/>
                  </a:lnTo>
                  <a:lnTo>
                    <a:pt x="1715729" y="1223614"/>
                  </a:lnTo>
                  <a:lnTo>
                    <a:pt x="1707094" y="1234962"/>
                  </a:lnTo>
                  <a:lnTo>
                    <a:pt x="1694611" y="1243054"/>
                  </a:lnTo>
                  <a:lnTo>
                    <a:pt x="1692539" y="1239797"/>
                  </a:lnTo>
                  <a:lnTo>
                    <a:pt x="1696684" y="1233334"/>
                  </a:lnTo>
                  <a:lnTo>
                    <a:pt x="1705022" y="1228400"/>
                  </a:lnTo>
                  <a:lnTo>
                    <a:pt x="1705022" y="1225143"/>
                  </a:lnTo>
                  <a:lnTo>
                    <a:pt x="1690220" y="1231607"/>
                  </a:lnTo>
                  <a:close/>
                  <a:moveTo>
                    <a:pt x="1624104" y="1247840"/>
                  </a:moveTo>
                  <a:lnTo>
                    <a:pt x="1628248" y="1246261"/>
                  </a:lnTo>
                  <a:lnTo>
                    <a:pt x="1632442" y="1249468"/>
                  </a:lnTo>
                  <a:lnTo>
                    <a:pt x="1632442" y="1252725"/>
                  </a:lnTo>
                  <a:lnTo>
                    <a:pt x="1636587" y="1259188"/>
                  </a:lnTo>
                  <a:lnTo>
                    <a:pt x="1630370" y="1267231"/>
                  </a:lnTo>
                  <a:lnTo>
                    <a:pt x="1628248" y="1263974"/>
                  </a:lnTo>
                  <a:lnTo>
                    <a:pt x="1628248" y="1259040"/>
                  </a:lnTo>
                  <a:lnTo>
                    <a:pt x="1624104" y="1250948"/>
                  </a:lnTo>
                  <a:close/>
                  <a:moveTo>
                    <a:pt x="1626176" y="1237972"/>
                  </a:moveTo>
                  <a:lnTo>
                    <a:pt x="1632442" y="1237972"/>
                  </a:lnTo>
                  <a:lnTo>
                    <a:pt x="1634515" y="1242906"/>
                  </a:lnTo>
                  <a:lnTo>
                    <a:pt x="1628248" y="1244485"/>
                  </a:lnTo>
                  <a:close/>
                  <a:moveTo>
                    <a:pt x="1622032" y="1231558"/>
                  </a:moveTo>
                  <a:lnTo>
                    <a:pt x="1628248" y="1226624"/>
                  </a:lnTo>
                  <a:lnTo>
                    <a:pt x="1628248" y="1234666"/>
                  </a:lnTo>
                  <a:close/>
                  <a:moveTo>
                    <a:pt x="1617838" y="1221689"/>
                  </a:moveTo>
                  <a:lnTo>
                    <a:pt x="1624104" y="1224897"/>
                  </a:lnTo>
                  <a:lnTo>
                    <a:pt x="1617838" y="1229831"/>
                  </a:lnTo>
                  <a:close/>
                  <a:moveTo>
                    <a:pt x="1613693" y="1194306"/>
                  </a:moveTo>
                  <a:lnTo>
                    <a:pt x="1613693" y="1189371"/>
                  </a:lnTo>
                  <a:lnTo>
                    <a:pt x="1617838" y="1191000"/>
                  </a:lnTo>
                  <a:close/>
                  <a:moveTo>
                    <a:pt x="1632442" y="1200720"/>
                  </a:moveTo>
                  <a:lnTo>
                    <a:pt x="1636587" y="1199092"/>
                  </a:lnTo>
                  <a:lnTo>
                    <a:pt x="1638659" y="1202348"/>
                  </a:lnTo>
                  <a:lnTo>
                    <a:pt x="1636587" y="1205555"/>
                  </a:lnTo>
                  <a:close/>
                  <a:moveTo>
                    <a:pt x="1634515" y="1192628"/>
                  </a:moveTo>
                  <a:lnTo>
                    <a:pt x="1640781" y="1184586"/>
                  </a:lnTo>
                  <a:lnTo>
                    <a:pt x="1646998" y="1182957"/>
                  </a:lnTo>
                  <a:lnTo>
                    <a:pt x="1651192" y="1186214"/>
                  </a:lnTo>
                  <a:lnTo>
                    <a:pt x="1646998" y="1189421"/>
                  </a:lnTo>
                  <a:lnTo>
                    <a:pt x="1642853" y="1189421"/>
                  </a:lnTo>
                  <a:lnTo>
                    <a:pt x="1638659" y="1192628"/>
                  </a:lnTo>
                  <a:close/>
                  <a:moveTo>
                    <a:pt x="1651192" y="1195884"/>
                  </a:moveTo>
                  <a:lnTo>
                    <a:pt x="1653264" y="1187842"/>
                  </a:lnTo>
                  <a:lnTo>
                    <a:pt x="1653264" y="1181378"/>
                  </a:lnTo>
                  <a:lnTo>
                    <a:pt x="1646998" y="1176444"/>
                  </a:lnTo>
                  <a:lnTo>
                    <a:pt x="1651192" y="1173188"/>
                  </a:lnTo>
                  <a:lnTo>
                    <a:pt x="1657408" y="1174816"/>
                  </a:lnTo>
                  <a:lnTo>
                    <a:pt x="1661602" y="1181280"/>
                  </a:lnTo>
                  <a:lnTo>
                    <a:pt x="1657408" y="1187743"/>
                  </a:lnTo>
                  <a:lnTo>
                    <a:pt x="1655336" y="1190950"/>
                  </a:lnTo>
                  <a:lnTo>
                    <a:pt x="1659481" y="1194207"/>
                  </a:lnTo>
                  <a:lnTo>
                    <a:pt x="1661602" y="1194207"/>
                  </a:lnTo>
                  <a:lnTo>
                    <a:pt x="1669892" y="1197414"/>
                  </a:lnTo>
                  <a:lnTo>
                    <a:pt x="1669892" y="1207282"/>
                  </a:lnTo>
                  <a:lnTo>
                    <a:pt x="1665747" y="1207282"/>
                  </a:lnTo>
                  <a:lnTo>
                    <a:pt x="1672013" y="1213746"/>
                  </a:lnTo>
                  <a:lnTo>
                    <a:pt x="1672013" y="1217200"/>
                  </a:lnTo>
                  <a:lnTo>
                    <a:pt x="1665747" y="1218877"/>
                  </a:lnTo>
                  <a:lnTo>
                    <a:pt x="1663675" y="1217200"/>
                  </a:lnTo>
                  <a:lnTo>
                    <a:pt x="1661602" y="1222134"/>
                  </a:lnTo>
                  <a:lnTo>
                    <a:pt x="1669892" y="1227068"/>
                  </a:lnTo>
                  <a:lnTo>
                    <a:pt x="1672013" y="1233482"/>
                  </a:lnTo>
                  <a:lnTo>
                    <a:pt x="1665747" y="1236738"/>
                  </a:lnTo>
                  <a:lnTo>
                    <a:pt x="1665747" y="1238317"/>
                  </a:lnTo>
                  <a:lnTo>
                    <a:pt x="1669892" y="1238317"/>
                  </a:lnTo>
                  <a:lnTo>
                    <a:pt x="1672013" y="1239945"/>
                  </a:lnTo>
                  <a:lnTo>
                    <a:pt x="1672013" y="1243202"/>
                  </a:lnTo>
                  <a:lnTo>
                    <a:pt x="1665747" y="1248136"/>
                  </a:lnTo>
                  <a:lnTo>
                    <a:pt x="1661602" y="1248136"/>
                  </a:lnTo>
                  <a:lnTo>
                    <a:pt x="1659481" y="1253070"/>
                  </a:lnTo>
                  <a:lnTo>
                    <a:pt x="1661602" y="1253070"/>
                  </a:lnTo>
                  <a:lnTo>
                    <a:pt x="1665747" y="1256277"/>
                  </a:lnTo>
                  <a:lnTo>
                    <a:pt x="1661602" y="1259533"/>
                  </a:lnTo>
                  <a:lnTo>
                    <a:pt x="1663675" y="1264467"/>
                  </a:lnTo>
                  <a:lnTo>
                    <a:pt x="1661602" y="1267724"/>
                  </a:lnTo>
                  <a:lnTo>
                    <a:pt x="1655336" y="1267724"/>
                  </a:lnTo>
                  <a:lnTo>
                    <a:pt x="1651192" y="1264467"/>
                  </a:lnTo>
                  <a:lnTo>
                    <a:pt x="1653264" y="1259533"/>
                  </a:lnTo>
                  <a:lnTo>
                    <a:pt x="1646998" y="1254599"/>
                  </a:lnTo>
                  <a:lnTo>
                    <a:pt x="1646998" y="1249665"/>
                  </a:lnTo>
                  <a:lnTo>
                    <a:pt x="1653264" y="1246458"/>
                  </a:lnTo>
                  <a:lnTo>
                    <a:pt x="1649070" y="1243251"/>
                  </a:lnTo>
                  <a:lnTo>
                    <a:pt x="1649070" y="1239995"/>
                  </a:lnTo>
                  <a:lnTo>
                    <a:pt x="1655336" y="1236788"/>
                  </a:lnTo>
                  <a:lnTo>
                    <a:pt x="1651192" y="1233531"/>
                  </a:lnTo>
                  <a:lnTo>
                    <a:pt x="1646998" y="1235159"/>
                  </a:lnTo>
                  <a:lnTo>
                    <a:pt x="1644925" y="1238367"/>
                  </a:lnTo>
                  <a:lnTo>
                    <a:pt x="1642853" y="1235159"/>
                  </a:lnTo>
                  <a:lnTo>
                    <a:pt x="1636587" y="1235159"/>
                  </a:lnTo>
                  <a:lnTo>
                    <a:pt x="1634515" y="1231952"/>
                  </a:lnTo>
                  <a:lnTo>
                    <a:pt x="1638659" y="1228745"/>
                  </a:lnTo>
                  <a:lnTo>
                    <a:pt x="1640781" y="1228745"/>
                  </a:lnTo>
                  <a:lnTo>
                    <a:pt x="1642853" y="1223811"/>
                  </a:lnTo>
                  <a:lnTo>
                    <a:pt x="1642853" y="1220604"/>
                  </a:lnTo>
                  <a:lnTo>
                    <a:pt x="1651192" y="1217348"/>
                  </a:lnTo>
                  <a:lnTo>
                    <a:pt x="1651192" y="1214140"/>
                  </a:lnTo>
                  <a:lnTo>
                    <a:pt x="1646998" y="1212561"/>
                  </a:lnTo>
                  <a:lnTo>
                    <a:pt x="1642853" y="1214140"/>
                  </a:lnTo>
                  <a:lnTo>
                    <a:pt x="1640781" y="1210933"/>
                  </a:lnTo>
                  <a:lnTo>
                    <a:pt x="1642853" y="1209305"/>
                  </a:lnTo>
                  <a:lnTo>
                    <a:pt x="1649070" y="1207677"/>
                  </a:lnTo>
                  <a:lnTo>
                    <a:pt x="1651192" y="1201263"/>
                  </a:lnTo>
                  <a:close/>
                  <a:moveTo>
                    <a:pt x="1694907" y="1190950"/>
                  </a:moveTo>
                  <a:lnTo>
                    <a:pt x="1690713" y="1186016"/>
                  </a:lnTo>
                  <a:lnTo>
                    <a:pt x="1692835" y="1182760"/>
                  </a:lnTo>
                  <a:lnTo>
                    <a:pt x="1696980" y="1177826"/>
                  </a:lnTo>
                  <a:lnTo>
                    <a:pt x="1699052" y="1179405"/>
                  </a:lnTo>
                  <a:lnTo>
                    <a:pt x="1699052" y="1185868"/>
                  </a:lnTo>
                  <a:close/>
                  <a:moveTo>
                    <a:pt x="1680105" y="1197414"/>
                  </a:moveTo>
                  <a:lnTo>
                    <a:pt x="1684299" y="1189322"/>
                  </a:lnTo>
                  <a:lnTo>
                    <a:pt x="1688444" y="1189322"/>
                  </a:lnTo>
                  <a:lnTo>
                    <a:pt x="1688444" y="1195786"/>
                  </a:lnTo>
                  <a:lnTo>
                    <a:pt x="1684299" y="1198993"/>
                  </a:lnTo>
                  <a:close/>
                  <a:moveTo>
                    <a:pt x="1673888" y="1190950"/>
                  </a:moveTo>
                  <a:lnTo>
                    <a:pt x="1675961" y="1186016"/>
                  </a:lnTo>
                  <a:lnTo>
                    <a:pt x="1686371" y="1179553"/>
                  </a:lnTo>
                  <a:lnTo>
                    <a:pt x="1686371" y="1184487"/>
                  </a:lnTo>
                  <a:lnTo>
                    <a:pt x="1684299" y="1186115"/>
                  </a:lnTo>
                  <a:lnTo>
                    <a:pt x="1680105" y="1192529"/>
                  </a:lnTo>
                  <a:close/>
                  <a:moveTo>
                    <a:pt x="1667622" y="1176938"/>
                  </a:moveTo>
                  <a:lnTo>
                    <a:pt x="1673888" y="1170474"/>
                  </a:lnTo>
                  <a:lnTo>
                    <a:pt x="1684299" y="1172102"/>
                  </a:lnTo>
                  <a:lnTo>
                    <a:pt x="1684299" y="1175310"/>
                  </a:lnTo>
                  <a:lnTo>
                    <a:pt x="1675961" y="1183352"/>
                  </a:lnTo>
                  <a:lnTo>
                    <a:pt x="1671816" y="1181773"/>
                  </a:lnTo>
                  <a:close/>
                  <a:moveTo>
                    <a:pt x="1678033" y="1160804"/>
                  </a:moveTo>
                  <a:lnTo>
                    <a:pt x="1684299" y="1152712"/>
                  </a:lnTo>
                  <a:lnTo>
                    <a:pt x="1688444" y="1149505"/>
                  </a:lnTo>
                  <a:lnTo>
                    <a:pt x="1692638" y="1160804"/>
                  </a:lnTo>
                  <a:lnTo>
                    <a:pt x="1688444" y="1165738"/>
                  </a:lnTo>
                  <a:lnTo>
                    <a:pt x="1680105" y="1167366"/>
                  </a:lnTo>
                  <a:lnTo>
                    <a:pt x="1678033" y="1165738"/>
                  </a:lnTo>
                  <a:close/>
                  <a:moveTo>
                    <a:pt x="1653067" y="1168846"/>
                  </a:moveTo>
                  <a:lnTo>
                    <a:pt x="1653067" y="1162382"/>
                  </a:lnTo>
                  <a:lnTo>
                    <a:pt x="1657211" y="1147926"/>
                  </a:lnTo>
                  <a:lnTo>
                    <a:pt x="1661405" y="1142992"/>
                  </a:lnTo>
                  <a:lnTo>
                    <a:pt x="1655139" y="1141413"/>
                  </a:lnTo>
                  <a:lnTo>
                    <a:pt x="1657211" y="1136479"/>
                  </a:lnTo>
                  <a:lnTo>
                    <a:pt x="1653067" y="1133272"/>
                  </a:lnTo>
                  <a:lnTo>
                    <a:pt x="1655139" y="1128337"/>
                  </a:lnTo>
                  <a:lnTo>
                    <a:pt x="1663477" y="1128337"/>
                  </a:lnTo>
                  <a:lnTo>
                    <a:pt x="1671816" y="1134801"/>
                  </a:lnTo>
                  <a:lnTo>
                    <a:pt x="1678033" y="1134801"/>
                  </a:lnTo>
                  <a:lnTo>
                    <a:pt x="1682227" y="1141265"/>
                  </a:lnTo>
                  <a:lnTo>
                    <a:pt x="1682227" y="1148123"/>
                  </a:lnTo>
                  <a:lnTo>
                    <a:pt x="1678033" y="1156166"/>
                  </a:lnTo>
                  <a:lnTo>
                    <a:pt x="1673888" y="1157794"/>
                  </a:lnTo>
                  <a:lnTo>
                    <a:pt x="1671816" y="1149702"/>
                  </a:lnTo>
                  <a:lnTo>
                    <a:pt x="1669694" y="1151330"/>
                  </a:lnTo>
                  <a:lnTo>
                    <a:pt x="1669694" y="1157794"/>
                  </a:lnTo>
                  <a:lnTo>
                    <a:pt x="1665550" y="1161001"/>
                  </a:lnTo>
                  <a:lnTo>
                    <a:pt x="1669694" y="1165935"/>
                  </a:lnTo>
                  <a:lnTo>
                    <a:pt x="1665550" y="1167563"/>
                  </a:lnTo>
                  <a:lnTo>
                    <a:pt x="1661405" y="1165935"/>
                  </a:lnTo>
                  <a:lnTo>
                    <a:pt x="1657211" y="1170869"/>
                  </a:lnTo>
                  <a:close/>
                  <a:moveTo>
                    <a:pt x="1634317" y="1160804"/>
                  </a:moveTo>
                  <a:lnTo>
                    <a:pt x="1630173" y="1157596"/>
                  </a:lnTo>
                  <a:lnTo>
                    <a:pt x="1634317" y="1151133"/>
                  </a:lnTo>
                  <a:lnTo>
                    <a:pt x="1630173" y="1147926"/>
                  </a:lnTo>
                  <a:lnTo>
                    <a:pt x="1632245" y="1141462"/>
                  </a:lnTo>
                  <a:lnTo>
                    <a:pt x="1634317" y="1138206"/>
                  </a:lnTo>
                  <a:lnTo>
                    <a:pt x="1640583" y="1139834"/>
                  </a:lnTo>
                  <a:lnTo>
                    <a:pt x="1640583" y="1133321"/>
                  </a:lnTo>
                  <a:lnTo>
                    <a:pt x="1644728" y="1133321"/>
                  </a:lnTo>
                  <a:lnTo>
                    <a:pt x="1650994" y="1141363"/>
                  </a:lnTo>
                  <a:lnTo>
                    <a:pt x="1646800" y="1146297"/>
                  </a:lnTo>
                  <a:lnTo>
                    <a:pt x="1648873" y="1149505"/>
                  </a:lnTo>
                  <a:lnTo>
                    <a:pt x="1650994" y="1146297"/>
                  </a:lnTo>
                  <a:lnTo>
                    <a:pt x="1655139" y="1149505"/>
                  </a:lnTo>
                  <a:lnTo>
                    <a:pt x="1648873" y="1162382"/>
                  </a:lnTo>
                  <a:lnTo>
                    <a:pt x="1638462" y="1172251"/>
                  </a:lnTo>
                  <a:lnTo>
                    <a:pt x="1638462" y="1177185"/>
                  </a:lnTo>
                  <a:lnTo>
                    <a:pt x="1634317" y="1182119"/>
                  </a:lnTo>
                  <a:lnTo>
                    <a:pt x="1628051" y="1183697"/>
                  </a:lnTo>
                  <a:lnTo>
                    <a:pt x="1630173" y="1177283"/>
                  </a:lnTo>
                  <a:lnTo>
                    <a:pt x="1628051" y="1174027"/>
                  </a:lnTo>
                  <a:lnTo>
                    <a:pt x="1623907" y="1185326"/>
                  </a:lnTo>
                  <a:lnTo>
                    <a:pt x="1621834" y="1182119"/>
                  </a:lnTo>
                  <a:lnTo>
                    <a:pt x="1621834" y="1177185"/>
                  </a:lnTo>
                  <a:lnTo>
                    <a:pt x="1623907" y="1172251"/>
                  </a:lnTo>
                  <a:lnTo>
                    <a:pt x="1623907" y="1168994"/>
                  </a:lnTo>
                  <a:lnTo>
                    <a:pt x="1628051" y="1165787"/>
                  </a:lnTo>
                  <a:lnTo>
                    <a:pt x="1632245" y="1167415"/>
                  </a:lnTo>
                  <a:lnTo>
                    <a:pt x="1634317" y="1164208"/>
                  </a:lnTo>
                  <a:close/>
                  <a:moveTo>
                    <a:pt x="1630173" y="1107615"/>
                  </a:moveTo>
                  <a:lnTo>
                    <a:pt x="1636390" y="1107615"/>
                  </a:lnTo>
                  <a:lnTo>
                    <a:pt x="1634317" y="1110822"/>
                  </a:lnTo>
                  <a:close/>
                  <a:moveTo>
                    <a:pt x="1613496" y="1109193"/>
                  </a:moveTo>
                  <a:lnTo>
                    <a:pt x="1619762" y="1105986"/>
                  </a:lnTo>
                  <a:lnTo>
                    <a:pt x="1621834" y="1102779"/>
                  </a:lnTo>
                  <a:lnTo>
                    <a:pt x="1625979" y="1104358"/>
                  </a:lnTo>
                  <a:lnTo>
                    <a:pt x="1630173" y="1112450"/>
                  </a:lnTo>
                  <a:lnTo>
                    <a:pt x="1630173" y="1123749"/>
                  </a:lnTo>
                  <a:lnTo>
                    <a:pt x="1628051" y="1133617"/>
                  </a:lnTo>
                  <a:lnTo>
                    <a:pt x="1625979" y="1136824"/>
                  </a:lnTo>
                  <a:lnTo>
                    <a:pt x="1623907" y="1146692"/>
                  </a:lnTo>
                  <a:lnTo>
                    <a:pt x="1619762" y="1151626"/>
                  </a:lnTo>
                  <a:lnTo>
                    <a:pt x="1615568" y="1159669"/>
                  </a:lnTo>
                  <a:lnTo>
                    <a:pt x="1615568" y="1167761"/>
                  </a:lnTo>
                  <a:lnTo>
                    <a:pt x="1613496" y="1170968"/>
                  </a:lnTo>
                  <a:lnTo>
                    <a:pt x="1609351" y="1172596"/>
                  </a:lnTo>
                  <a:lnTo>
                    <a:pt x="1609351" y="1169339"/>
                  </a:lnTo>
                  <a:lnTo>
                    <a:pt x="1611423" y="1164405"/>
                  </a:lnTo>
                  <a:lnTo>
                    <a:pt x="1607229" y="1161149"/>
                  </a:lnTo>
                  <a:lnTo>
                    <a:pt x="1605157" y="1153057"/>
                  </a:lnTo>
                  <a:lnTo>
                    <a:pt x="1607229" y="1148123"/>
                  </a:lnTo>
                  <a:lnTo>
                    <a:pt x="1613348" y="1148123"/>
                  </a:lnTo>
                  <a:lnTo>
                    <a:pt x="1615420" y="1144867"/>
                  </a:lnTo>
                  <a:lnTo>
                    <a:pt x="1615420" y="1141659"/>
                  </a:lnTo>
                  <a:lnTo>
                    <a:pt x="1611275" y="1144867"/>
                  </a:lnTo>
                  <a:lnTo>
                    <a:pt x="1607081" y="1144867"/>
                  </a:lnTo>
                  <a:lnTo>
                    <a:pt x="1607081" y="1139933"/>
                  </a:lnTo>
                  <a:lnTo>
                    <a:pt x="1611275" y="1138304"/>
                  </a:lnTo>
                  <a:lnTo>
                    <a:pt x="1611275" y="1136725"/>
                  </a:lnTo>
                  <a:lnTo>
                    <a:pt x="1605009" y="1133518"/>
                  </a:lnTo>
                  <a:lnTo>
                    <a:pt x="1605009" y="1131890"/>
                  </a:lnTo>
                  <a:lnTo>
                    <a:pt x="1611275" y="1130262"/>
                  </a:lnTo>
                  <a:lnTo>
                    <a:pt x="1615420" y="1127055"/>
                  </a:lnTo>
                  <a:lnTo>
                    <a:pt x="1615420" y="1120492"/>
                  </a:lnTo>
                  <a:lnTo>
                    <a:pt x="1619614" y="1115558"/>
                  </a:lnTo>
                  <a:lnTo>
                    <a:pt x="1613348" y="1112351"/>
                  </a:lnTo>
                  <a:close/>
                  <a:moveTo>
                    <a:pt x="1601013" y="1109193"/>
                  </a:moveTo>
                  <a:lnTo>
                    <a:pt x="1605157" y="1105986"/>
                  </a:lnTo>
                  <a:lnTo>
                    <a:pt x="1607229" y="1110920"/>
                  </a:lnTo>
                  <a:lnTo>
                    <a:pt x="1605157" y="1115854"/>
                  </a:lnTo>
                  <a:lnTo>
                    <a:pt x="1605157" y="1122269"/>
                  </a:lnTo>
                  <a:lnTo>
                    <a:pt x="1598940" y="1123946"/>
                  </a:lnTo>
                  <a:lnTo>
                    <a:pt x="1596819" y="1120690"/>
                  </a:lnTo>
                  <a:lnTo>
                    <a:pt x="1601013" y="1117483"/>
                  </a:lnTo>
                  <a:lnTo>
                    <a:pt x="1598940" y="1114226"/>
                  </a:lnTo>
                  <a:close/>
                  <a:moveTo>
                    <a:pt x="1634317" y="1123749"/>
                  </a:moveTo>
                  <a:lnTo>
                    <a:pt x="1638462" y="1117285"/>
                  </a:lnTo>
                  <a:lnTo>
                    <a:pt x="1638462" y="1110822"/>
                  </a:lnTo>
                  <a:lnTo>
                    <a:pt x="1642656" y="1107615"/>
                  </a:lnTo>
                  <a:lnTo>
                    <a:pt x="1650994" y="1107615"/>
                  </a:lnTo>
                  <a:lnTo>
                    <a:pt x="1648873" y="1102681"/>
                  </a:lnTo>
                  <a:lnTo>
                    <a:pt x="1653067" y="1099474"/>
                  </a:lnTo>
                  <a:lnTo>
                    <a:pt x="1646800" y="1096217"/>
                  </a:lnTo>
                  <a:lnTo>
                    <a:pt x="1646800" y="1086349"/>
                  </a:lnTo>
                  <a:lnTo>
                    <a:pt x="1655139" y="1078257"/>
                  </a:lnTo>
                  <a:lnTo>
                    <a:pt x="1657211" y="1058965"/>
                  </a:lnTo>
                  <a:lnTo>
                    <a:pt x="1661405" y="1050873"/>
                  </a:lnTo>
                  <a:lnTo>
                    <a:pt x="1663477" y="1054080"/>
                  </a:lnTo>
                  <a:lnTo>
                    <a:pt x="1663477" y="1059014"/>
                  </a:lnTo>
                  <a:lnTo>
                    <a:pt x="1671816" y="1065429"/>
                  </a:lnTo>
                  <a:lnTo>
                    <a:pt x="1678033" y="1070363"/>
                  </a:lnTo>
                  <a:lnTo>
                    <a:pt x="1678033" y="1092961"/>
                  </a:lnTo>
                  <a:lnTo>
                    <a:pt x="1673888" y="1101003"/>
                  </a:lnTo>
                  <a:lnTo>
                    <a:pt x="1671816" y="1099424"/>
                  </a:lnTo>
                  <a:lnTo>
                    <a:pt x="1673888" y="1084622"/>
                  </a:lnTo>
                  <a:lnTo>
                    <a:pt x="1669694" y="1073323"/>
                  </a:lnTo>
                  <a:lnTo>
                    <a:pt x="1667622" y="1078257"/>
                  </a:lnTo>
                  <a:lnTo>
                    <a:pt x="1667622" y="1099276"/>
                  </a:lnTo>
                  <a:lnTo>
                    <a:pt x="1665550" y="1104210"/>
                  </a:lnTo>
                  <a:lnTo>
                    <a:pt x="1665550" y="1109144"/>
                  </a:lnTo>
                  <a:lnTo>
                    <a:pt x="1661405" y="1112401"/>
                  </a:lnTo>
                  <a:lnTo>
                    <a:pt x="1655139" y="1109144"/>
                  </a:lnTo>
                  <a:lnTo>
                    <a:pt x="1655139" y="1119012"/>
                  </a:lnTo>
                  <a:lnTo>
                    <a:pt x="1644728" y="1123946"/>
                  </a:lnTo>
                  <a:lnTo>
                    <a:pt x="1638462" y="1128880"/>
                  </a:lnTo>
                  <a:close/>
                  <a:moveTo>
                    <a:pt x="1615568" y="1054376"/>
                  </a:moveTo>
                  <a:lnTo>
                    <a:pt x="1625979" y="1051169"/>
                  </a:lnTo>
                  <a:lnTo>
                    <a:pt x="1634317" y="1054376"/>
                  </a:lnTo>
                  <a:lnTo>
                    <a:pt x="1634317" y="1059310"/>
                  </a:lnTo>
                  <a:lnTo>
                    <a:pt x="1630173" y="1064244"/>
                  </a:lnTo>
                  <a:lnTo>
                    <a:pt x="1632245" y="1067501"/>
                  </a:lnTo>
                  <a:lnTo>
                    <a:pt x="1634317" y="1064244"/>
                  </a:lnTo>
                  <a:lnTo>
                    <a:pt x="1640583" y="1062666"/>
                  </a:lnTo>
                  <a:lnTo>
                    <a:pt x="1648873" y="1067600"/>
                  </a:lnTo>
                  <a:lnTo>
                    <a:pt x="1648873" y="1072534"/>
                  </a:lnTo>
                  <a:lnTo>
                    <a:pt x="1642656" y="1074112"/>
                  </a:lnTo>
                  <a:lnTo>
                    <a:pt x="1644728" y="1077369"/>
                  </a:lnTo>
                  <a:lnTo>
                    <a:pt x="1640583" y="1080576"/>
                  </a:lnTo>
                  <a:lnTo>
                    <a:pt x="1634317" y="1080576"/>
                  </a:lnTo>
                  <a:lnTo>
                    <a:pt x="1630173" y="1074112"/>
                  </a:lnTo>
                  <a:lnTo>
                    <a:pt x="1621834" y="1066070"/>
                  </a:lnTo>
                  <a:lnTo>
                    <a:pt x="1621834" y="1067698"/>
                  </a:lnTo>
                  <a:lnTo>
                    <a:pt x="1630173" y="1080576"/>
                  </a:lnTo>
                  <a:lnTo>
                    <a:pt x="1630173" y="1085510"/>
                  </a:lnTo>
                  <a:lnTo>
                    <a:pt x="1638462" y="1087138"/>
                  </a:lnTo>
                  <a:lnTo>
                    <a:pt x="1640583" y="1092072"/>
                  </a:lnTo>
                  <a:lnTo>
                    <a:pt x="1638462" y="1093701"/>
                  </a:lnTo>
                  <a:lnTo>
                    <a:pt x="1636390" y="1103569"/>
                  </a:lnTo>
                  <a:lnTo>
                    <a:pt x="1632245" y="1103569"/>
                  </a:lnTo>
                  <a:lnTo>
                    <a:pt x="1625979" y="1097105"/>
                  </a:lnTo>
                  <a:lnTo>
                    <a:pt x="1625979" y="1090642"/>
                  </a:lnTo>
                  <a:lnTo>
                    <a:pt x="1617640" y="1077764"/>
                  </a:lnTo>
                  <a:lnTo>
                    <a:pt x="1615568" y="1084227"/>
                  </a:lnTo>
                  <a:lnTo>
                    <a:pt x="1619762" y="1092270"/>
                  </a:lnTo>
                  <a:lnTo>
                    <a:pt x="1619762" y="1100362"/>
                  </a:lnTo>
                  <a:lnTo>
                    <a:pt x="1615568" y="1103569"/>
                  </a:lnTo>
                  <a:lnTo>
                    <a:pt x="1609351" y="1103569"/>
                  </a:lnTo>
                  <a:lnTo>
                    <a:pt x="1603085" y="1097105"/>
                  </a:lnTo>
                  <a:lnTo>
                    <a:pt x="1607229" y="1092171"/>
                  </a:lnTo>
                  <a:lnTo>
                    <a:pt x="1603085" y="1088915"/>
                  </a:lnTo>
                  <a:lnTo>
                    <a:pt x="1605157" y="1083981"/>
                  </a:lnTo>
                  <a:lnTo>
                    <a:pt x="1598940" y="1075889"/>
                  </a:lnTo>
                  <a:lnTo>
                    <a:pt x="1603085" y="1069474"/>
                  </a:lnTo>
                  <a:lnTo>
                    <a:pt x="1607229" y="1072682"/>
                  </a:lnTo>
                  <a:lnTo>
                    <a:pt x="1609351" y="1069474"/>
                  </a:lnTo>
                  <a:lnTo>
                    <a:pt x="1605157" y="1066218"/>
                  </a:lnTo>
                  <a:lnTo>
                    <a:pt x="1605157" y="1059310"/>
                  </a:lnTo>
                  <a:lnTo>
                    <a:pt x="1609351" y="1052847"/>
                  </a:lnTo>
                  <a:lnTo>
                    <a:pt x="1611423" y="1057781"/>
                  </a:lnTo>
                  <a:lnTo>
                    <a:pt x="1615568" y="1057781"/>
                  </a:lnTo>
                  <a:close/>
                  <a:moveTo>
                    <a:pt x="1617640" y="1046334"/>
                  </a:moveTo>
                  <a:lnTo>
                    <a:pt x="1623907" y="1041400"/>
                  </a:lnTo>
                  <a:lnTo>
                    <a:pt x="1628051" y="1046334"/>
                  </a:lnTo>
                  <a:lnTo>
                    <a:pt x="1621834" y="1049541"/>
                  </a:lnTo>
                  <a:close/>
                  <a:moveTo>
                    <a:pt x="539060" y="665821"/>
                  </a:moveTo>
                  <a:lnTo>
                    <a:pt x="536988" y="662614"/>
                  </a:lnTo>
                  <a:lnTo>
                    <a:pt x="541182" y="659407"/>
                  </a:lnTo>
                  <a:lnTo>
                    <a:pt x="543254" y="664341"/>
                  </a:lnTo>
                  <a:close/>
                  <a:moveTo>
                    <a:pt x="539060" y="669078"/>
                  </a:moveTo>
                  <a:lnTo>
                    <a:pt x="543254" y="672285"/>
                  </a:lnTo>
                  <a:lnTo>
                    <a:pt x="543254" y="677219"/>
                  </a:lnTo>
                  <a:lnTo>
                    <a:pt x="551593" y="687087"/>
                  </a:lnTo>
                  <a:lnTo>
                    <a:pt x="551593" y="692021"/>
                  </a:lnTo>
                  <a:lnTo>
                    <a:pt x="536790" y="682153"/>
                  </a:lnTo>
                  <a:lnTo>
                    <a:pt x="536790" y="675689"/>
                  </a:lnTo>
                  <a:lnTo>
                    <a:pt x="534718" y="672482"/>
                  </a:lnTo>
                  <a:cubicBezTo>
                    <a:pt x="534718" y="672482"/>
                    <a:pt x="536988" y="669078"/>
                    <a:pt x="539060" y="669078"/>
                  </a:cubicBezTo>
                  <a:close/>
                  <a:moveTo>
                    <a:pt x="914047" y="565858"/>
                  </a:moveTo>
                  <a:lnTo>
                    <a:pt x="909853" y="572321"/>
                  </a:lnTo>
                  <a:lnTo>
                    <a:pt x="907781" y="585199"/>
                  </a:lnTo>
                  <a:lnTo>
                    <a:pt x="901514" y="583620"/>
                  </a:lnTo>
                  <a:lnTo>
                    <a:pt x="903636" y="578686"/>
                  </a:lnTo>
                  <a:lnTo>
                    <a:pt x="897370" y="577058"/>
                  </a:lnTo>
                  <a:lnTo>
                    <a:pt x="889031" y="578686"/>
                  </a:lnTo>
                  <a:lnTo>
                    <a:pt x="882814" y="573752"/>
                  </a:lnTo>
                  <a:lnTo>
                    <a:pt x="882814" y="570841"/>
                  </a:lnTo>
                  <a:lnTo>
                    <a:pt x="901514" y="554756"/>
                  </a:lnTo>
                  <a:lnTo>
                    <a:pt x="909853" y="549822"/>
                  </a:lnTo>
                  <a:lnTo>
                    <a:pt x="914047" y="553029"/>
                  </a:lnTo>
                  <a:close/>
                  <a:moveTo>
                    <a:pt x="918191" y="564279"/>
                  </a:moveTo>
                  <a:lnTo>
                    <a:pt x="922336" y="561022"/>
                  </a:lnTo>
                  <a:lnTo>
                    <a:pt x="924458" y="557815"/>
                  </a:lnTo>
                  <a:lnTo>
                    <a:pt x="918191" y="554608"/>
                  </a:lnTo>
                  <a:lnTo>
                    <a:pt x="920264" y="549674"/>
                  </a:lnTo>
                  <a:lnTo>
                    <a:pt x="914047" y="544740"/>
                  </a:lnTo>
                  <a:lnTo>
                    <a:pt x="918191" y="541483"/>
                  </a:lnTo>
                  <a:lnTo>
                    <a:pt x="932451" y="541483"/>
                  </a:lnTo>
                  <a:lnTo>
                    <a:pt x="944983" y="547947"/>
                  </a:lnTo>
                  <a:lnTo>
                    <a:pt x="944983" y="551154"/>
                  </a:lnTo>
                  <a:lnTo>
                    <a:pt x="938717" y="554411"/>
                  </a:lnTo>
                  <a:lnTo>
                    <a:pt x="924310" y="565907"/>
                  </a:lnTo>
                  <a:close/>
                  <a:moveTo>
                    <a:pt x="988995" y="525547"/>
                  </a:moveTo>
                  <a:lnTo>
                    <a:pt x="991067" y="523968"/>
                  </a:lnTo>
                  <a:lnTo>
                    <a:pt x="999406" y="523968"/>
                  </a:lnTo>
                  <a:lnTo>
                    <a:pt x="1003550" y="527175"/>
                  </a:lnTo>
                  <a:lnTo>
                    <a:pt x="1001478" y="532109"/>
                  </a:lnTo>
                  <a:lnTo>
                    <a:pt x="997333" y="533737"/>
                  </a:lnTo>
                  <a:close/>
                  <a:moveTo>
                    <a:pt x="1355446" y="823858"/>
                  </a:moveTo>
                  <a:lnTo>
                    <a:pt x="1359639" y="820602"/>
                  </a:lnTo>
                  <a:lnTo>
                    <a:pt x="1365856" y="822230"/>
                  </a:lnTo>
                  <a:lnTo>
                    <a:pt x="1361712" y="825437"/>
                  </a:lnTo>
                  <a:close/>
                  <a:moveTo>
                    <a:pt x="1322240" y="915730"/>
                  </a:moveTo>
                  <a:lnTo>
                    <a:pt x="1328456" y="912523"/>
                  </a:lnTo>
                  <a:lnTo>
                    <a:pt x="1332650" y="915730"/>
                  </a:lnTo>
                  <a:close/>
                  <a:moveTo>
                    <a:pt x="1401184" y="899645"/>
                  </a:moveTo>
                  <a:lnTo>
                    <a:pt x="1409473" y="896389"/>
                  </a:lnTo>
                  <a:lnTo>
                    <a:pt x="1413667" y="896389"/>
                  </a:lnTo>
                  <a:lnTo>
                    <a:pt x="1407401" y="902852"/>
                  </a:lnTo>
                  <a:lnTo>
                    <a:pt x="1401184" y="904431"/>
                  </a:lnTo>
                  <a:close/>
                  <a:moveTo>
                    <a:pt x="1342864" y="836736"/>
                  </a:moveTo>
                  <a:lnTo>
                    <a:pt x="1342864" y="831802"/>
                  </a:lnTo>
                  <a:lnTo>
                    <a:pt x="1349081" y="833381"/>
                  </a:lnTo>
                  <a:lnTo>
                    <a:pt x="1349081" y="838315"/>
                  </a:lnTo>
                  <a:close/>
                  <a:moveTo>
                    <a:pt x="1351202" y="860913"/>
                  </a:moveTo>
                  <a:lnTo>
                    <a:pt x="1351202" y="851045"/>
                  </a:lnTo>
                  <a:lnTo>
                    <a:pt x="1357419" y="849416"/>
                  </a:lnTo>
                  <a:lnTo>
                    <a:pt x="1361613" y="851045"/>
                  </a:lnTo>
                  <a:lnTo>
                    <a:pt x="1361613" y="855979"/>
                  </a:lnTo>
                  <a:lnTo>
                    <a:pt x="1365758" y="855979"/>
                  </a:lnTo>
                  <a:lnTo>
                    <a:pt x="1367830" y="860913"/>
                  </a:lnTo>
                  <a:lnTo>
                    <a:pt x="1361613" y="862541"/>
                  </a:lnTo>
                  <a:close/>
                  <a:moveTo>
                    <a:pt x="1294905" y="886619"/>
                  </a:moveTo>
                  <a:lnTo>
                    <a:pt x="1299099" y="884991"/>
                  </a:lnTo>
                  <a:lnTo>
                    <a:pt x="1301171" y="883412"/>
                  </a:lnTo>
                  <a:lnTo>
                    <a:pt x="1303243" y="880156"/>
                  </a:lnTo>
                  <a:lnTo>
                    <a:pt x="1315727" y="870288"/>
                  </a:lnTo>
                  <a:lnTo>
                    <a:pt x="1321993" y="868709"/>
                  </a:lnTo>
                  <a:lnTo>
                    <a:pt x="1330331" y="862245"/>
                  </a:lnTo>
                  <a:lnTo>
                    <a:pt x="1332404" y="860617"/>
                  </a:lnTo>
                  <a:lnTo>
                    <a:pt x="1340742" y="854203"/>
                  </a:lnTo>
                  <a:lnTo>
                    <a:pt x="1340742" y="857410"/>
                  </a:lnTo>
                  <a:lnTo>
                    <a:pt x="1338621" y="860617"/>
                  </a:lnTo>
                  <a:lnTo>
                    <a:pt x="1342815" y="862245"/>
                  </a:lnTo>
                  <a:lnTo>
                    <a:pt x="1338621" y="865452"/>
                  </a:lnTo>
                  <a:lnTo>
                    <a:pt x="1330331" y="868709"/>
                  </a:lnTo>
                  <a:lnTo>
                    <a:pt x="1319921" y="878577"/>
                  </a:lnTo>
                  <a:lnTo>
                    <a:pt x="1313654" y="880156"/>
                  </a:lnTo>
                  <a:lnTo>
                    <a:pt x="1315727" y="885090"/>
                  </a:lnTo>
                  <a:lnTo>
                    <a:pt x="1313654" y="888346"/>
                  </a:lnTo>
                  <a:lnTo>
                    <a:pt x="1305316" y="886718"/>
                  </a:lnTo>
                  <a:lnTo>
                    <a:pt x="1301171" y="888346"/>
                  </a:lnTo>
                  <a:lnTo>
                    <a:pt x="1294905" y="888346"/>
                  </a:lnTo>
                  <a:close/>
                  <a:moveTo>
                    <a:pt x="1292635" y="873791"/>
                  </a:moveTo>
                  <a:lnTo>
                    <a:pt x="1300974" y="867327"/>
                  </a:lnTo>
                  <a:lnTo>
                    <a:pt x="1303046" y="872261"/>
                  </a:lnTo>
                  <a:lnTo>
                    <a:pt x="1296780" y="875518"/>
                  </a:lnTo>
                  <a:cubicBezTo>
                    <a:pt x="1296780" y="875518"/>
                    <a:pt x="1292635" y="875468"/>
                    <a:pt x="1292635" y="873791"/>
                  </a:cubicBezTo>
                  <a:close/>
                  <a:moveTo>
                    <a:pt x="1309312" y="859285"/>
                  </a:moveTo>
                  <a:lnTo>
                    <a:pt x="1319723" y="851242"/>
                  </a:lnTo>
                  <a:lnTo>
                    <a:pt x="1321795" y="846308"/>
                  </a:lnTo>
                  <a:lnTo>
                    <a:pt x="1325940" y="843052"/>
                  </a:lnTo>
                  <a:lnTo>
                    <a:pt x="1330134" y="843052"/>
                  </a:lnTo>
                  <a:lnTo>
                    <a:pt x="1332206" y="846308"/>
                  </a:lnTo>
                  <a:lnTo>
                    <a:pt x="1325940" y="849515"/>
                  </a:lnTo>
                  <a:lnTo>
                    <a:pt x="1323868" y="854449"/>
                  </a:lnTo>
                  <a:lnTo>
                    <a:pt x="1317602" y="859383"/>
                  </a:lnTo>
                  <a:lnTo>
                    <a:pt x="1315529" y="862640"/>
                  </a:lnTo>
                  <a:lnTo>
                    <a:pt x="1311385" y="862640"/>
                  </a:lnTo>
                  <a:close/>
                  <a:moveTo>
                    <a:pt x="1321795" y="820602"/>
                  </a:moveTo>
                  <a:lnTo>
                    <a:pt x="1325940" y="815668"/>
                  </a:lnTo>
                  <a:lnTo>
                    <a:pt x="1330134" y="817296"/>
                  </a:lnTo>
                  <a:lnTo>
                    <a:pt x="1328012" y="820503"/>
                  </a:lnTo>
                  <a:lnTo>
                    <a:pt x="1330134" y="823760"/>
                  </a:lnTo>
                  <a:lnTo>
                    <a:pt x="1328012" y="826967"/>
                  </a:lnTo>
                  <a:close/>
                  <a:moveTo>
                    <a:pt x="886614" y="390157"/>
                  </a:moveTo>
                  <a:lnTo>
                    <a:pt x="892830" y="388528"/>
                  </a:lnTo>
                  <a:lnTo>
                    <a:pt x="897024" y="390157"/>
                  </a:lnTo>
                  <a:lnTo>
                    <a:pt x="892830" y="395091"/>
                  </a:lnTo>
                  <a:close/>
                  <a:moveTo>
                    <a:pt x="747079" y="519132"/>
                  </a:moveTo>
                  <a:lnTo>
                    <a:pt x="753345" y="511040"/>
                  </a:lnTo>
                  <a:lnTo>
                    <a:pt x="751273" y="504626"/>
                  </a:lnTo>
                  <a:lnTo>
                    <a:pt x="742934" y="499692"/>
                  </a:lnTo>
                  <a:lnTo>
                    <a:pt x="745007" y="493229"/>
                  </a:lnTo>
                  <a:lnTo>
                    <a:pt x="742934" y="481930"/>
                  </a:lnTo>
                  <a:lnTo>
                    <a:pt x="734596" y="476996"/>
                  </a:lnTo>
                  <a:lnTo>
                    <a:pt x="722113" y="476996"/>
                  </a:lnTo>
                  <a:lnTo>
                    <a:pt x="720041" y="481930"/>
                  </a:lnTo>
                  <a:lnTo>
                    <a:pt x="711899" y="481930"/>
                  </a:lnTo>
                  <a:lnTo>
                    <a:pt x="705485" y="473986"/>
                  </a:lnTo>
                  <a:lnTo>
                    <a:pt x="705485" y="467522"/>
                  </a:lnTo>
                  <a:lnTo>
                    <a:pt x="722162" y="454644"/>
                  </a:lnTo>
                  <a:lnTo>
                    <a:pt x="728428" y="441717"/>
                  </a:lnTo>
                  <a:lnTo>
                    <a:pt x="732573" y="441717"/>
                  </a:lnTo>
                  <a:lnTo>
                    <a:pt x="732573" y="453016"/>
                  </a:lnTo>
                  <a:lnTo>
                    <a:pt x="728428" y="457950"/>
                  </a:lnTo>
                  <a:lnTo>
                    <a:pt x="738839" y="461157"/>
                  </a:lnTo>
                  <a:lnTo>
                    <a:pt x="738839" y="464414"/>
                  </a:lnTo>
                  <a:lnTo>
                    <a:pt x="747128" y="465993"/>
                  </a:lnTo>
                  <a:lnTo>
                    <a:pt x="751322" y="462786"/>
                  </a:lnTo>
                  <a:lnTo>
                    <a:pt x="763805" y="464414"/>
                  </a:lnTo>
                  <a:lnTo>
                    <a:pt x="770072" y="469348"/>
                  </a:lnTo>
                  <a:lnTo>
                    <a:pt x="770072" y="474282"/>
                  </a:lnTo>
                  <a:lnTo>
                    <a:pt x="765878" y="477489"/>
                  </a:lnTo>
                  <a:lnTo>
                    <a:pt x="770072" y="483953"/>
                  </a:lnTo>
                  <a:lnTo>
                    <a:pt x="776289" y="488887"/>
                  </a:lnTo>
                  <a:lnTo>
                    <a:pt x="776289" y="495350"/>
                  </a:lnTo>
                  <a:lnTo>
                    <a:pt x="791091" y="506600"/>
                  </a:lnTo>
                  <a:lnTo>
                    <a:pt x="793163" y="511534"/>
                  </a:lnTo>
                  <a:lnTo>
                    <a:pt x="786897" y="514790"/>
                  </a:lnTo>
                  <a:lnTo>
                    <a:pt x="776486" y="509856"/>
                  </a:lnTo>
                  <a:lnTo>
                    <a:pt x="772341" y="511435"/>
                  </a:lnTo>
                  <a:lnTo>
                    <a:pt x="770269" y="514692"/>
                  </a:lnTo>
                  <a:lnTo>
                    <a:pt x="764003" y="514692"/>
                  </a:lnTo>
                  <a:lnTo>
                    <a:pt x="753592" y="522734"/>
                  </a:lnTo>
                  <a:close/>
                  <a:moveTo>
                    <a:pt x="699416" y="728730"/>
                  </a:moveTo>
                  <a:lnTo>
                    <a:pt x="707755" y="728730"/>
                  </a:lnTo>
                  <a:lnTo>
                    <a:pt x="716044" y="730309"/>
                  </a:lnTo>
                  <a:lnTo>
                    <a:pt x="722310" y="730309"/>
                  </a:lnTo>
                  <a:lnTo>
                    <a:pt x="728576" y="731937"/>
                  </a:lnTo>
                  <a:lnTo>
                    <a:pt x="736866" y="725474"/>
                  </a:lnTo>
                  <a:lnTo>
                    <a:pt x="747276" y="723895"/>
                  </a:lnTo>
                  <a:lnTo>
                    <a:pt x="745204" y="728829"/>
                  </a:lnTo>
                  <a:lnTo>
                    <a:pt x="753543" y="733763"/>
                  </a:lnTo>
                  <a:lnTo>
                    <a:pt x="755615" y="740177"/>
                  </a:lnTo>
                  <a:lnTo>
                    <a:pt x="749398" y="748269"/>
                  </a:lnTo>
                  <a:lnTo>
                    <a:pt x="745204" y="756311"/>
                  </a:lnTo>
                  <a:lnTo>
                    <a:pt x="736866" y="756311"/>
                  </a:lnTo>
                  <a:lnTo>
                    <a:pt x="728576" y="753104"/>
                  </a:lnTo>
                  <a:lnTo>
                    <a:pt x="722310" y="756311"/>
                  </a:lnTo>
                  <a:lnTo>
                    <a:pt x="716044" y="753104"/>
                  </a:lnTo>
                  <a:lnTo>
                    <a:pt x="709827" y="751476"/>
                  </a:lnTo>
                  <a:lnTo>
                    <a:pt x="701489" y="740177"/>
                  </a:lnTo>
                  <a:close/>
                  <a:moveTo>
                    <a:pt x="1176241" y="823858"/>
                  </a:moveTo>
                  <a:lnTo>
                    <a:pt x="1186652" y="813990"/>
                  </a:lnTo>
                  <a:lnTo>
                    <a:pt x="1192869" y="813990"/>
                  </a:lnTo>
                  <a:lnTo>
                    <a:pt x="1192869" y="818924"/>
                  </a:lnTo>
                  <a:lnTo>
                    <a:pt x="1184580" y="823858"/>
                  </a:lnTo>
                  <a:close/>
                  <a:moveTo>
                    <a:pt x="1101293" y="867327"/>
                  </a:moveTo>
                  <a:lnTo>
                    <a:pt x="1111704" y="867327"/>
                  </a:lnTo>
                  <a:lnTo>
                    <a:pt x="1107510" y="870584"/>
                  </a:lnTo>
                  <a:close/>
                  <a:moveTo>
                    <a:pt x="1101293" y="920565"/>
                  </a:moveTo>
                  <a:lnTo>
                    <a:pt x="1109583" y="920565"/>
                  </a:lnTo>
                  <a:lnTo>
                    <a:pt x="1109583" y="925499"/>
                  </a:lnTo>
                  <a:lnTo>
                    <a:pt x="1103366" y="928706"/>
                  </a:lnTo>
                  <a:lnTo>
                    <a:pt x="1099172" y="925499"/>
                  </a:lnTo>
                  <a:close/>
                  <a:moveTo>
                    <a:pt x="1072133" y="949577"/>
                  </a:moveTo>
                  <a:lnTo>
                    <a:pt x="1072133" y="947999"/>
                  </a:lnTo>
                  <a:lnTo>
                    <a:pt x="1074206" y="944742"/>
                  </a:lnTo>
                  <a:lnTo>
                    <a:pt x="1078350" y="946370"/>
                  </a:lnTo>
                  <a:lnTo>
                    <a:pt x="1082544" y="944742"/>
                  </a:lnTo>
                  <a:lnTo>
                    <a:pt x="1086689" y="946370"/>
                  </a:lnTo>
                  <a:lnTo>
                    <a:pt x="1090883" y="939956"/>
                  </a:lnTo>
                  <a:lnTo>
                    <a:pt x="1086689" y="936700"/>
                  </a:lnTo>
                  <a:lnTo>
                    <a:pt x="1090883" y="933492"/>
                  </a:lnTo>
                  <a:lnTo>
                    <a:pt x="1097100" y="931864"/>
                  </a:lnTo>
                  <a:lnTo>
                    <a:pt x="1101293" y="933492"/>
                  </a:lnTo>
                  <a:lnTo>
                    <a:pt x="1099172" y="938427"/>
                  </a:lnTo>
                  <a:lnTo>
                    <a:pt x="1103366" y="940104"/>
                  </a:lnTo>
                  <a:lnTo>
                    <a:pt x="1105438" y="936848"/>
                  </a:lnTo>
                  <a:lnTo>
                    <a:pt x="1109583" y="935219"/>
                  </a:lnTo>
                  <a:lnTo>
                    <a:pt x="1111704" y="940153"/>
                  </a:lnTo>
                  <a:lnTo>
                    <a:pt x="1107510" y="943361"/>
                  </a:lnTo>
                  <a:lnTo>
                    <a:pt x="1105438" y="946568"/>
                  </a:lnTo>
                  <a:lnTo>
                    <a:pt x="1109583" y="948196"/>
                  </a:lnTo>
                  <a:lnTo>
                    <a:pt x="1111704" y="953130"/>
                  </a:lnTo>
                  <a:lnTo>
                    <a:pt x="1107510" y="953130"/>
                  </a:lnTo>
                  <a:lnTo>
                    <a:pt x="1103366" y="951502"/>
                  </a:lnTo>
                  <a:lnTo>
                    <a:pt x="1097100" y="956436"/>
                  </a:lnTo>
                  <a:lnTo>
                    <a:pt x="1095274" y="956436"/>
                  </a:lnTo>
                  <a:lnTo>
                    <a:pt x="1093202" y="951502"/>
                  </a:lnTo>
                  <a:lnTo>
                    <a:pt x="1084863" y="956436"/>
                  </a:lnTo>
                  <a:lnTo>
                    <a:pt x="1080718" y="958064"/>
                  </a:lnTo>
                  <a:close/>
                  <a:moveTo>
                    <a:pt x="997185" y="1014065"/>
                  </a:moveTo>
                  <a:lnTo>
                    <a:pt x="997185" y="1017322"/>
                  </a:lnTo>
                  <a:lnTo>
                    <a:pt x="990919" y="1018901"/>
                  </a:lnTo>
                  <a:lnTo>
                    <a:pt x="986775" y="1017322"/>
                  </a:lnTo>
                  <a:lnTo>
                    <a:pt x="986775" y="1010858"/>
                  </a:lnTo>
                  <a:lnTo>
                    <a:pt x="988847" y="1005924"/>
                  </a:lnTo>
                  <a:lnTo>
                    <a:pt x="990919" y="1000990"/>
                  </a:lnTo>
                  <a:lnTo>
                    <a:pt x="990919" y="992898"/>
                  </a:lnTo>
                  <a:lnTo>
                    <a:pt x="988847" y="989691"/>
                  </a:lnTo>
                  <a:lnTo>
                    <a:pt x="990919" y="986484"/>
                  </a:lnTo>
                  <a:lnTo>
                    <a:pt x="999258" y="980020"/>
                  </a:lnTo>
                  <a:lnTo>
                    <a:pt x="1015885" y="973606"/>
                  </a:lnTo>
                  <a:lnTo>
                    <a:pt x="1024224" y="971978"/>
                  </a:lnTo>
                  <a:lnTo>
                    <a:pt x="1026296" y="973606"/>
                  </a:lnTo>
                  <a:lnTo>
                    <a:pt x="1028418" y="984856"/>
                  </a:lnTo>
                  <a:lnTo>
                    <a:pt x="1030490" y="986484"/>
                  </a:lnTo>
                  <a:lnTo>
                    <a:pt x="1036707" y="980020"/>
                  </a:lnTo>
                  <a:lnTo>
                    <a:pt x="1034635" y="975086"/>
                  </a:lnTo>
                  <a:lnTo>
                    <a:pt x="1036707" y="973507"/>
                  </a:lnTo>
                  <a:lnTo>
                    <a:pt x="1040901" y="976715"/>
                  </a:lnTo>
                  <a:lnTo>
                    <a:pt x="1042973" y="971781"/>
                  </a:lnTo>
                  <a:lnTo>
                    <a:pt x="1036707" y="966847"/>
                  </a:lnTo>
                  <a:lnTo>
                    <a:pt x="1034635" y="965218"/>
                  </a:lnTo>
                  <a:lnTo>
                    <a:pt x="1040901" y="958755"/>
                  </a:lnTo>
                  <a:lnTo>
                    <a:pt x="1047118" y="957176"/>
                  </a:lnTo>
                  <a:lnTo>
                    <a:pt x="1051312" y="960383"/>
                  </a:lnTo>
                  <a:lnTo>
                    <a:pt x="1051312" y="966847"/>
                  </a:lnTo>
                  <a:lnTo>
                    <a:pt x="1047118" y="970054"/>
                  </a:lnTo>
                  <a:lnTo>
                    <a:pt x="1047118" y="974988"/>
                  </a:lnTo>
                  <a:lnTo>
                    <a:pt x="1051312" y="973409"/>
                  </a:lnTo>
                  <a:lnTo>
                    <a:pt x="1055456" y="968475"/>
                  </a:lnTo>
                  <a:lnTo>
                    <a:pt x="1057529" y="966896"/>
                  </a:lnTo>
                  <a:lnTo>
                    <a:pt x="1061723" y="968475"/>
                  </a:lnTo>
                  <a:lnTo>
                    <a:pt x="1063795" y="963541"/>
                  </a:lnTo>
                  <a:lnTo>
                    <a:pt x="1061723" y="958607"/>
                  </a:lnTo>
                  <a:lnTo>
                    <a:pt x="1065867" y="957028"/>
                  </a:lnTo>
                  <a:lnTo>
                    <a:pt x="1072133" y="960235"/>
                  </a:lnTo>
                  <a:lnTo>
                    <a:pt x="1072133" y="965169"/>
                  </a:lnTo>
                  <a:lnTo>
                    <a:pt x="1067939" y="968376"/>
                  </a:lnTo>
                  <a:lnTo>
                    <a:pt x="1067939" y="970498"/>
                  </a:lnTo>
                  <a:lnTo>
                    <a:pt x="1072133" y="972126"/>
                  </a:lnTo>
                  <a:lnTo>
                    <a:pt x="1078350" y="965662"/>
                  </a:lnTo>
                  <a:lnTo>
                    <a:pt x="1084616" y="964084"/>
                  </a:lnTo>
                  <a:lnTo>
                    <a:pt x="1088761" y="965662"/>
                  </a:lnTo>
                  <a:lnTo>
                    <a:pt x="1092955" y="972126"/>
                  </a:lnTo>
                  <a:lnTo>
                    <a:pt x="1086689" y="973754"/>
                  </a:lnTo>
                  <a:lnTo>
                    <a:pt x="1080472" y="973754"/>
                  </a:lnTo>
                  <a:lnTo>
                    <a:pt x="1080472" y="976961"/>
                  </a:lnTo>
                  <a:lnTo>
                    <a:pt x="1082544" y="978540"/>
                  </a:lnTo>
                  <a:lnTo>
                    <a:pt x="1084616" y="983474"/>
                  </a:lnTo>
                  <a:lnTo>
                    <a:pt x="1080472" y="989888"/>
                  </a:lnTo>
                  <a:lnTo>
                    <a:pt x="1074206" y="988310"/>
                  </a:lnTo>
                  <a:lnTo>
                    <a:pt x="1074206" y="985300"/>
                  </a:lnTo>
                  <a:lnTo>
                    <a:pt x="1067939" y="986928"/>
                  </a:lnTo>
                  <a:lnTo>
                    <a:pt x="1063795" y="985300"/>
                  </a:lnTo>
                  <a:lnTo>
                    <a:pt x="1057529" y="985300"/>
                  </a:lnTo>
                  <a:lnTo>
                    <a:pt x="1055456" y="988556"/>
                  </a:lnTo>
                  <a:lnTo>
                    <a:pt x="1061723" y="990135"/>
                  </a:lnTo>
                  <a:lnTo>
                    <a:pt x="1065867" y="996599"/>
                  </a:lnTo>
                  <a:lnTo>
                    <a:pt x="1061723" y="1001533"/>
                  </a:lnTo>
                  <a:lnTo>
                    <a:pt x="1055456" y="1001533"/>
                  </a:lnTo>
                  <a:lnTo>
                    <a:pt x="1051312" y="995069"/>
                  </a:lnTo>
                  <a:lnTo>
                    <a:pt x="1042973" y="995069"/>
                  </a:lnTo>
                  <a:lnTo>
                    <a:pt x="1036707" y="996697"/>
                  </a:lnTo>
                  <a:lnTo>
                    <a:pt x="1045045" y="999905"/>
                  </a:lnTo>
                  <a:lnTo>
                    <a:pt x="1047118" y="1003112"/>
                  </a:lnTo>
                  <a:lnTo>
                    <a:pt x="1042973" y="1006368"/>
                  </a:lnTo>
                  <a:lnTo>
                    <a:pt x="1036707" y="1004789"/>
                  </a:lnTo>
                  <a:lnTo>
                    <a:pt x="1030490" y="1006368"/>
                  </a:lnTo>
                  <a:lnTo>
                    <a:pt x="1026197" y="1006368"/>
                  </a:lnTo>
                  <a:lnTo>
                    <a:pt x="1022053" y="1012832"/>
                  </a:lnTo>
                  <a:lnTo>
                    <a:pt x="1019980" y="1012832"/>
                  </a:lnTo>
                  <a:lnTo>
                    <a:pt x="1015787" y="1014411"/>
                  </a:lnTo>
                  <a:lnTo>
                    <a:pt x="1017908" y="1019345"/>
                  </a:lnTo>
                  <a:lnTo>
                    <a:pt x="1009570" y="1022601"/>
                  </a:lnTo>
                  <a:lnTo>
                    <a:pt x="1009570" y="1025808"/>
                  </a:lnTo>
                  <a:lnTo>
                    <a:pt x="1005376" y="1029065"/>
                  </a:lnTo>
                  <a:lnTo>
                    <a:pt x="1001231" y="1032272"/>
                  </a:lnTo>
                  <a:lnTo>
                    <a:pt x="994965" y="1030644"/>
                  </a:lnTo>
                  <a:lnTo>
                    <a:pt x="994965" y="1029065"/>
                  </a:lnTo>
                  <a:lnTo>
                    <a:pt x="1007497" y="1019197"/>
                  </a:lnTo>
                  <a:lnTo>
                    <a:pt x="1007497" y="1015990"/>
                  </a:lnTo>
                  <a:lnTo>
                    <a:pt x="1011642" y="1011056"/>
                  </a:lnTo>
                  <a:lnTo>
                    <a:pt x="1009570" y="1011056"/>
                  </a:lnTo>
                  <a:lnTo>
                    <a:pt x="1003303" y="1014263"/>
                  </a:lnTo>
                  <a:lnTo>
                    <a:pt x="1001231" y="1012684"/>
                  </a:lnTo>
                  <a:lnTo>
                    <a:pt x="1003303" y="1009427"/>
                  </a:lnTo>
                  <a:lnTo>
                    <a:pt x="994965" y="1009427"/>
                  </a:lnTo>
                  <a:lnTo>
                    <a:pt x="992893" y="1012684"/>
                  </a:lnTo>
                  <a:lnTo>
                    <a:pt x="994965" y="1012684"/>
                  </a:lnTo>
                  <a:close/>
                  <a:moveTo>
                    <a:pt x="982383" y="1038291"/>
                  </a:moveTo>
                  <a:lnTo>
                    <a:pt x="988649" y="1038291"/>
                  </a:lnTo>
                  <a:lnTo>
                    <a:pt x="984456" y="1041499"/>
                  </a:lnTo>
                  <a:close/>
                  <a:moveTo>
                    <a:pt x="961562" y="1044706"/>
                  </a:moveTo>
                  <a:lnTo>
                    <a:pt x="967828" y="1038291"/>
                  </a:lnTo>
                  <a:lnTo>
                    <a:pt x="982630" y="1033357"/>
                  </a:lnTo>
                  <a:lnTo>
                    <a:pt x="967828" y="1044656"/>
                  </a:lnTo>
                  <a:close/>
                  <a:moveTo>
                    <a:pt x="913701" y="1080181"/>
                  </a:moveTo>
                  <a:lnTo>
                    <a:pt x="911580" y="1080181"/>
                  </a:lnTo>
                  <a:lnTo>
                    <a:pt x="911580" y="1076974"/>
                  </a:lnTo>
                  <a:lnTo>
                    <a:pt x="919918" y="1073718"/>
                  </a:lnTo>
                  <a:lnTo>
                    <a:pt x="917846" y="1078652"/>
                  </a:lnTo>
                  <a:close/>
                  <a:moveTo>
                    <a:pt x="886614" y="1025364"/>
                  </a:moveTo>
                  <a:lnTo>
                    <a:pt x="894952" y="1025364"/>
                  </a:lnTo>
                  <a:lnTo>
                    <a:pt x="897024" y="1028621"/>
                  </a:lnTo>
                  <a:lnTo>
                    <a:pt x="892830" y="1030200"/>
                  </a:lnTo>
                  <a:close/>
                  <a:moveTo>
                    <a:pt x="747079" y="1080181"/>
                  </a:moveTo>
                  <a:lnTo>
                    <a:pt x="749201" y="1078553"/>
                  </a:lnTo>
                  <a:lnTo>
                    <a:pt x="751273" y="1081810"/>
                  </a:lnTo>
                  <a:close/>
                  <a:moveTo>
                    <a:pt x="738790" y="1081810"/>
                  </a:moveTo>
                  <a:lnTo>
                    <a:pt x="742934" y="1083438"/>
                  </a:lnTo>
                  <a:lnTo>
                    <a:pt x="738790" y="1086645"/>
                  </a:lnTo>
                  <a:close/>
                  <a:moveTo>
                    <a:pt x="770022" y="1104358"/>
                  </a:moveTo>
                  <a:lnTo>
                    <a:pt x="772095" y="1109292"/>
                  </a:lnTo>
                  <a:lnTo>
                    <a:pt x="767901" y="1110920"/>
                  </a:lnTo>
                  <a:lnTo>
                    <a:pt x="767901" y="1107713"/>
                  </a:lnTo>
                  <a:close/>
                  <a:moveTo>
                    <a:pt x="763756" y="1102779"/>
                  </a:moveTo>
                  <a:lnTo>
                    <a:pt x="767901" y="1094687"/>
                  </a:lnTo>
                  <a:lnTo>
                    <a:pt x="767901" y="1099622"/>
                  </a:lnTo>
                  <a:close/>
                  <a:moveTo>
                    <a:pt x="734596" y="1110822"/>
                  </a:moveTo>
                  <a:lnTo>
                    <a:pt x="738790" y="1100954"/>
                  </a:lnTo>
                  <a:lnTo>
                    <a:pt x="747079" y="1096020"/>
                  </a:lnTo>
                  <a:lnTo>
                    <a:pt x="747079" y="1092813"/>
                  </a:lnTo>
                  <a:lnTo>
                    <a:pt x="757490" y="1092813"/>
                  </a:lnTo>
                  <a:lnTo>
                    <a:pt x="751273" y="1097747"/>
                  </a:lnTo>
                  <a:lnTo>
                    <a:pt x="749201" y="1101003"/>
                  </a:lnTo>
                  <a:lnTo>
                    <a:pt x="738790" y="1105937"/>
                  </a:lnTo>
                  <a:close/>
                  <a:moveTo>
                    <a:pt x="726257" y="1091480"/>
                  </a:moveTo>
                  <a:lnTo>
                    <a:pt x="722113" y="1086546"/>
                  </a:lnTo>
                  <a:lnTo>
                    <a:pt x="724185" y="1081612"/>
                  </a:lnTo>
                  <a:lnTo>
                    <a:pt x="730451" y="1078356"/>
                  </a:lnTo>
                  <a:lnTo>
                    <a:pt x="734596" y="1081612"/>
                  </a:lnTo>
                  <a:lnTo>
                    <a:pt x="730451" y="1088027"/>
                  </a:lnTo>
                  <a:lnTo>
                    <a:pt x="730451" y="1091283"/>
                  </a:lnTo>
                  <a:close/>
                  <a:moveTo>
                    <a:pt x="688808" y="1088224"/>
                  </a:moveTo>
                  <a:lnTo>
                    <a:pt x="692953" y="1086645"/>
                  </a:lnTo>
                  <a:lnTo>
                    <a:pt x="697147" y="1091579"/>
                  </a:lnTo>
                  <a:lnTo>
                    <a:pt x="692953" y="1093207"/>
                  </a:lnTo>
                  <a:close/>
                  <a:moveTo>
                    <a:pt x="666013" y="1102779"/>
                  </a:moveTo>
                  <a:lnTo>
                    <a:pt x="663891" y="1097845"/>
                  </a:lnTo>
                  <a:lnTo>
                    <a:pt x="670157" y="1092911"/>
                  </a:lnTo>
                  <a:lnTo>
                    <a:pt x="672230" y="1097845"/>
                  </a:lnTo>
                  <a:close/>
                  <a:moveTo>
                    <a:pt x="641343" y="1117285"/>
                  </a:moveTo>
                  <a:lnTo>
                    <a:pt x="647609" y="1123749"/>
                  </a:lnTo>
                  <a:lnTo>
                    <a:pt x="643415" y="1125328"/>
                  </a:lnTo>
                  <a:lnTo>
                    <a:pt x="637198" y="1120394"/>
                  </a:lnTo>
                  <a:close/>
                  <a:moveTo>
                    <a:pt x="3964" y="1223663"/>
                  </a:moveTo>
                  <a:lnTo>
                    <a:pt x="-82" y="1230127"/>
                  </a:lnTo>
                  <a:lnTo>
                    <a:pt x="8257" y="1226920"/>
                  </a:lnTo>
                  <a:close/>
                  <a:moveTo>
                    <a:pt x="10181" y="1210785"/>
                  </a:moveTo>
                  <a:lnTo>
                    <a:pt x="3964" y="1212413"/>
                  </a:lnTo>
                  <a:lnTo>
                    <a:pt x="8109" y="1217348"/>
                  </a:lnTo>
                  <a:lnTo>
                    <a:pt x="16447" y="1212413"/>
                  </a:lnTo>
                  <a:close/>
                  <a:moveTo>
                    <a:pt x="18519" y="1196279"/>
                  </a:moveTo>
                  <a:lnTo>
                    <a:pt x="22713" y="1199486"/>
                  </a:lnTo>
                  <a:lnTo>
                    <a:pt x="24588" y="1193023"/>
                  </a:lnTo>
                  <a:close/>
                  <a:moveTo>
                    <a:pt x="64357" y="1201213"/>
                  </a:moveTo>
                  <a:lnTo>
                    <a:pt x="56018" y="1193121"/>
                  </a:lnTo>
                  <a:lnTo>
                    <a:pt x="49752" y="1191542"/>
                  </a:lnTo>
                  <a:lnTo>
                    <a:pt x="45607" y="1196476"/>
                  </a:lnTo>
                  <a:lnTo>
                    <a:pt x="45607" y="1199684"/>
                  </a:lnTo>
                  <a:lnTo>
                    <a:pt x="53946" y="1202940"/>
                  </a:lnTo>
                  <a:lnTo>
                    <a:pt x="47680" y="1204519"/>
                  </a:lnTo>
                  <a:lnTo>
                    <a:pt x="49752" y="1207726"/>
                  </a:lnTo>
                  <a:lnTo>
                    <a:pt x="56018" y="1207726"/>
                  </a:lnTo>
                  <a:lnTo>
                    <a:pt x="60163" y="1202792"/>
                  </a:lnTo>
                  <a:close/>
                  <a:moveTo>
                    <a:pt x="68501" y="1212265"/>
                  </a:moveTo>
                  <a:lnTo>
                    <a:pt x="72646" y="1213844"/>
                  </a:lnTo>
                  <a:lnTo>
                    <a:pt x="80984" y="1208910"/>
                  </a:lnTo>
                  <a:lnTo>
                    <a:pt x="80984" y="1203976"/>
                  </a:lnTo>
                  <a:lnTo>
                    <a:pt x="85178" y="1199042"/>
                  </a:lnTo>
                  <a:lnTo>
                    <a:pt x="83057" y="1197463"/>
                  </a:lnTo>
                  <a:lnTo>
                    <a:pt x="76840" y="1202397"/>
                  </a:lnTo>
                  <a:lnTo>
                    <a:pt x="74767" y="1208812"/>
                  </a:lnTo>
                  <a:close/>
                  <a:moveTo>
                    <a:pt x="106000" y="1207331"/>
                  </a:moveTo>
                  <a:lnTo>
                    <a:pt x="103878" y="1199289"/>
                  </a:lnTo>
                  <a:lnTo>
                    <a:pt x="99734" y="1199289"/>
                  </a:lnTo>
                  <a:lnTo>
                    <a:pt x="97661" y="1205753"/>
                  </a:lnTo>
                  <a:lnTo>
                    <a:pt x="93665" y="1207331"/>
                  </a:lnTo>
                  <a:lnTo>
                    <a:pt x="89520" y="1215423"/>
                  </a:lnTo>
                  <a:lnTo>
                    <a:pt x="97859" y="1215423"/>
                  </a:lnTo>
                  <a:close/>
                  <a:moveTo>
                    <a:pt x="191359" y="1205753"/>
                  </a:moveTo>
                  <a:lnTo>
                    <a:pt x="191359" y="1200818"/>
                  </a:lnTo>
                  <a:lnTo>
                    <a:pt x="197576" y="1197611"/>
                  </a:lnTo>
                  <a:lnTo>
                    <a:pt x="195503" y="1191148"/>
                  </a:lnTo>
                  <a:lnTo>
                    <a:pt x="191359" y="1189520"/>
                  </a:lnTo>
                  <a:lnTo>
                    <a:pt x="183020" y="1192727"/>
                  </a:lnTo>
                  <a:lnTo>
                    <a:pt x="183020" y="1197661"/>
                  </a:lnTo>
                  <a:lnTo>
                    <a:pt x="180948" y="1199240"/>
                  </a:lnTo>
                  <a:lnTo>
                    <a:pt x="176754" y="1199240"/>
                  </a:lnTo>
                  <a:lnTo>
                    <a:pt x="170537" y="1202496"/>
                  </a:lnTo>
                  <a:lnTo>
                    <a:pt x="166343" y="1202496"/>
                  </a:lnTo>
                  <a:lnTo>
                    <a:pt x="160126" y="1200868"/>
                  </a:lnTo>
                  <a:lnTo>
                    <a:pt x="158054" y="1204075"/>
                  </a:lnTo>
                  <a:lnTo>
                    <a:pt x="164271" y="1207282"/>
                  </a:lnTo>
                  <a:lnTo>
                    <a:pt x="174682" y="1207282"/>
                  </a:lnTo>
                  <a:lnTo>
                    <a:pt x="183020" y="1204075"/>
                  </a:lnTo>
                  <a:close/>
                  <a:moveTo>
                    <a:pt x="203842" y="1207331"/>
                  </a:moveTo>
                  <a:lnTo>
                    <a:pt x="220519" y="1210588"/>
                  </a:lnTo>
                  <a:lnTo>
                    <a:pt x="226736" y="1208960"/>
                  </a:lnTo>
                  <a:lnTo>
                    <a:pt x="233002" y="1213894"/>
                  </a:lnTo>
                  <a:lnTo>
                    <a:pt x="222591" y="1215522"/>
                  </a:lnTo>
                  <a:lnTo>
                    <a:pt x="207789" y="1210588"/>
                  </a:lnTo>
                  <a:lnTo>
                    <a:pt x="201572" y="1212216"/>
                  </a:lnTo>
                  <a:lnTo>
                    <a:pt x="197378" y="1208960"/>
                  </a:lnTo>
                  <a:close/>
                  <a:moveTo>
                    <a:pt x="264234" y="1200917"/>
                  </a:moveTo>
                  <a:lnTo>
                    <a:pt x="257968" y="1195983"/>
                  </a:lnTo>
                  <a:lnTo>
                    <a:pt x="247557" y="1197611"/>
                  </a:lnTo>
                  <a:lnTo>
                    <a:pt x="245485" y="1204026"/>
                  </a:lnTo>
                  <a:lnTo>
                    <a:pt x="255896" y="1204026"/>
                  </a:lnTo>
                  <a:close/>
                  <a:moveTo>
                    <a:pt x="303707" y="1197710"/>
                  </a:moveTo>
                  <a:lnTo>
                    <a:pt x="299513" y="1189618"/>
                  </a:lnTo>
                  <a:lnTo>
                    <a:pt x="297440" y="1196082"/>
                  </a:lnTo>
                  <a:close/>
                  <a:moveTo>
                    <a:pt x="330745" y="1187842"/>
                  </a:moveTo>
                  <a:lnTo>
                    <a:pt x="324528" y="1182908"/>
                  </a:lnTo>
                  <a:lnTo>
                    <a:pt x="318262" y="1187842"/>
                  </a:lnTo>
                  <a:lnTo>
                    <a:pt x="316190" y="1192776"/>
                  </a:lnTo>
                  <a:lnTo>
                    <a:pt x="324528" y="1187842"/>
                  </a:lnTo>
                  <a:close/>
                  <a:moveTo>
                    <a:pt x="347422" y="1186214"/>
                  </a:moveTo>
                  <a:lnTo>
                    <a:pt x="343278" y="1182957"/>
                  </a:lnTo>
                  <a:lnTo>
                    <a:pt x="339084" y="1186214"/>
                  </a:lnTo>
                  <a:lnTo>
                    <a:pt x="345350" y="1187842"/>
                  </a:lnTo>
                  <a:close/>
                  <a:moveTo>
                    <a:pt x="351567" y="1176346"/>
                  </a:moveTo>
                  <a:lnTo>
                    <a:pt x="349495" y="1173089"/>
                  </a:lnTo>
                  <a:lnTo>
                    <a:pt x="343278" y="1176346"/>
                  </a:lnTo>
                  <a:close/>
                  <a:moveTo>
                    <a:pt x="351567" y="1181280"/>
                  </a:moveTo>
                  <a:lnTo>
                    <a:pt x="357833" y="1184487"/>
                  </a:lnTo>
                  <a:lnTo>
                    <a:pt x="361978" y="1181280"/>
                  </a:lnTo>
                  <a:lnTo>
                    <a:pt x="359905" y="1178073"/>
                  </a:lnTo>
                  <a:close/>
                  <a:moveTo>
                    <a:pt x="437074" y="1148123"/>
                  </a:moveTo>
                  <a:lnTo>
                    <a:pt x="439146" y="1154537"/>
                  </a:lnTo>
                  <a:lnTo>
                    <a:pt x="443291" y="1156166"/>
                  </a:lnTo>
                  <a:lnTo>
                    <a:pt x="434952" y="1157794"/>
                  </a:lnTo>
                  <a:lnTo>
                    <a:pt x="432880" y="1164257"/>
                  </a:lnTo>
                  <a:lnTo>
                    <a:pt x="422469" y="1167465"/>
                  </a:lnTo>
                  <a:lnTo>
                    <a:pt x="412058" y="1178763"/>
                  </a:lnTo>
                  <a:lnTo>
                    <a:pt x="401647" y="1178763"/>
                  </a:lnTo>
                  <a:lnTo>
                    <a:pt x="393309" y="1186806"/>
                  </a:lnTo>
                  <a:lnTo>
                    <a:pt x="380826" y="1186806"/>
                  </a:lnTo>
                  <a:lnTo>
                    <a:pt x="387092" y="1181872"/>
                  </a:lnTo>
                  <a:lnTo>
                    <a:pt x="391236" y="1180244"/>
                  </a:lnTo>
                  <a:lnTo>
                    <a:pt x="397503" y="1173780"/>
                  </a:lnTo>
                  <a:lnTo>
                    <a:pt x="401647" y="1172201"/>
                  </a:lnTo>
                  <a:lnTo>
                    <a:pt x="401647" y="1168945"/>
                  </a:lnTo>
                  <a:lnTo>
                    <a:pt x="409986" y="1162481"/>
                  </a:lnTo>
                  <a:lnTo>
                    <a:pt x="416252" y="1160902"/>
                  </a:lnTo>
                  <a:lnTo>
                    <a:pt x="420397" y="1155968"/>
                  </a:lnTo>
                  <a:lnTo>
                    <a:pt x="418324" y="1151034"/>
                  </a:lnTo>
                  <a:lnTo>
                    <a:pt x="428735" y="1151034"/>
                  </a:lnTo>
                  <a:close/>
                  <a:moveTo>
                    <a:pt x="497417" y="1127153"/>
                  </a:moveTo>
                  <a:lnTo>
                    <a:pt x="491200" y="1128732"/>
                  </a:lnTo>
                  <a:lnTo>
                    <a:pt x="482862" y="1133666"/>
                  </a:lnTo>
                  <a:lnTo>
                    <a:pt x="482862" y="1138600"/>
                  </a:lnTo>
                  <a:lnTo>
                    <a:pt x="489128" y="1143534"/>
                  </a:lnTo>
                  <a:lnTo>
                    <a:pt x="487006" y="1145163"/>
                  </a:lnTo>
                  <a:lnTo>
                    <a:pt x="478717" y="1141955"/>
                  </a:lnTo>
                  <a:lnTo>
                    <a:pt x="472451" y="1146890"/>
                  </a:lnTo>
                  <a:lnTo>
                    <a:pt x="472451" y="1150097"/>
                  </a:lnTo>
                  <a:lnTo>
                    <a:pt x="470378" y="1151725"/>
                  </a:lnTo>
                  <a:lnTo>
                    <a:pt x="462040" y="1158188"/>
                  </a:lnTo>
                  <a:lnTo>
                    <a:pt x="457895" y="1158188"/>
                  </a:lnTo>
                  <a:lnTo>
                    <a:pt x="449557" y="1163123"/>
                  </a:lnTo>
                  <a:lnTo>
                    <a:pt x="443291" y="1163123"/>
                  </a:lnTo>
                  <a:lnTo>
                    <a:pt x="439146" y="1164800"/>
                  </a:lnTo>
                  <a:lnTo>
                    <a:pt x="443291" y="1168007"/>
                  </a:lnTo>
                  <a:lnTo>
                    <a:pt x="455774" y="1168007"/>
                  </a:lnTo>
                  <a:lnTo>
                    <a:pt x="466184" y="1166379"/>
                  </a:lnTo>
                  <a:lnTo>
                    <a:pt x="472451" y="1158337"/>
                  </a:lnTo>
                  <a:lnTo>
                    <a:pt x="474523" y="1163271"/>
                  </a:lnTo>
                  <a:lnTo>
                    <a:pt x="478717" y="1164948"/>
                  </a:lnTo>
                  <a:lnTo>
                    <a:pt x="480789" y="1158485"/>
                  </a:lnTo>
                  <a:lnTo>
                    <a:pt x="482862" y="1153550"/>
                  </a:lnTo>
                  <a:lnTo>
                    <a:pt x="487006" y="1155179"/>
                  </a:lnTo>
                  <a:lnTo>
                    <a:pt x="489128" y="1158435"/>
                  </a:lnTo>
                  <a:lnTo>
                    <a:pt x="493322" y="1158435"/>
                  </a:lnTo>
                  <a:lnTo>
                    <a:pt x="497466" y="1151972"/>
                  </a:lnTo>
                  <a:lnTo>
                    <a:pt x="507877" y="1148764"/>
                  </a:lnTo>
                  <a:lnTo>
                    <a:pt x="507877" y="1145508"/>
                  </a:lnTo>
                  <a:lnTo>
                    <a:pt x="501660" y="1143880"/>
                  </a:lnTo>
                  <a:lnTo>
                    <a:pt x="507877" y="1138946"/>
                  </a:lnTo>
                  <a:lnTo>
                    <a:pt x="507877" y="1134012"/>
                  </a:lnTo>
                  <a:lnTo>
                    <a:pt x="499588" y="1132383"/>
                  </a:lnTo>
                  <a:close/>
                  <a:moveTo>
                    <a:pt x="518239" y="1137021"/>
                  </a:moveTo>
                  <a:lnTo>
                    <a:pt x="518239" y="1133321"/>
                  </a:lnTo>
                  <a:lnTo>
                    <a:pt x="514094" y="1130064"/>
                  </a:lnTo>
                  <a:lnTo>
                    <a:pt x="514094" y="1133321"/>
                  </a:lnTo>
                  <a:close/>
                  <a:moveTo>
                    <a:pt x="555737" y="1132087"/>
                  </a:moveTo>
                  <a:lnTo>
                    <a:pt x="555737" y="1128387"/>
                  </a:lnTo>
                  <a:lnTo>
                    <a:pt x="562003" y="1128387"/>
                  </a:lnTo>
                  <a:lnTo>
                    <a:pt x="564076" y="1131643"/>
                  </a:lnTo>
                  <a:lnTo>
                    <a:pt x="555737" y="1131643"/>
                  </a:lnTo>
                  <a:close/>
                  <a:moveTo>
                    <a:pt x="543254" y="1133716"/>
                  </a:moveTo>
                  <a:lnTo>
                    <a:pt x="547399" y="1130459"/>
                  </a:lnTo>
                  <a:lnTo>
                    <a:pt x="551593" y="1133716"/>
                  </a:lnTo>
                  <a:close/>
                  <a:moveTo>
                    <a:pt x="539060" y="1127252"/>
                  </a:moveTo>
                  <a:lnTo>
                    <a:pt x="541182" y="1122318"/>
                  </a:lnTo>
                  <a:lnTo>
                    <a:pt x="541182" y="1117384"/>
                  </a:lnTo>
                  <a:lnTo>
                    <a:pt x="543254" y="1118963"/>
                  </a:lnTo>
                  <a:lnTo>
                    <a:pt x="545326" y="1123897"/>
                  </a:lnTo>
                  <a:close/>
                  <a:moveTo>
                    <a:pt x="526577" y="1120788"/>
                  </a:moveTo>
                  <a:lnTo>
                    <a:pt x="520360" y="1122367"/>
                  </a:lnTo>
                  <a:lnTo>
                    <a:pt x="520360" y="1127301"/>
                  </a:lnTo>
                  <a:lnTo>
                    <a:pt x="526577" y="1132235"/>
                  </a:lnTo>
                  <a:lnTo>
                    <a:pt x="532843" y="1130607"/>
                  </a:lnTo>
                  <a:lnTo>
                    <a:pt x="534916" y="1127400"/>
                  </a:lnTo>
                  <a:lnTo>
                    <a:pt x="530771" y="1125772"/>
                  </a:lnTo>
                  <a:close/>
                  <a:moveTo>
                    <a:pt x="859723" y="870880"/>
                  </a:moveTo>
                  <a:lnTo>
                    <a:pt x="857651" y="867623"/>
                  </a:lnTo>
                  <a:lnTo>
                    <a:pt x="865989" y="866044"/>
                  </a:lnTo>
                  <a:lnTo>
                    <a:pt x="863917" y="869301"/>
                  </a:lnTo>
                  <a:close/>
                  <a:moveTo>
                    <a:pt x="845168" y="872508"/>
                  </a:moveTo>
                  <a:lnTo>
                    <a:pt x="843095" y="870880"/>
                  </a:lnTo>
                  <a:lnTo>
                    <a:pt x="843095" y="865946"/>
                  </a:lnTo>
                  <a:lnTo>
                    <a:pt x="851434" y="861011"/>
                  </a:lnTo>
                  <a:lnTo>
                    <a:pt x="857651" y="857804"/>
                  </a:lnTo>
                  <a:lnTo>
                    <a:pt x="857651" y="861011"/>
                  </a:lnTo>
                  <a:lnTo>
                    <a:pt x="849312" y="869103"/>
                  </a:lnTo>
                  <a:close/>
                  <a:moveTo>
                    <a:pt x="570293" y="1107615"/>
                  </a:moveTo>
                  <a:lnTo>
                    <a:pt x="572414" y="1101151"/>
                  </a:lnTo>
                  <a:lnTo>
                    <a:pt x="574487" y="1097895"/>
                  </a:lnTo>
                  <a:lnTo>
                    <a:pt x="578631" y="1099572"/>
                  </a:lnTo>
                  <a:lnTo>
                    <a:pt x="584897" y="1096316"/>
                  </a:lnTo>
                  <a:lnTo>
                    <a:pt x="586970" y="1094687"/>
                  </a:lnTo>
                  <a:lnTo>
                    <a:pt x="593236" y="1083438"/>
                  </a:lnTo>
                  <a:lnTo>
                    <a:pt x="595308" y="1085017"/>
                  </a:lnTo>
                  <a:lnTo>
                    <a:pt x="601525" y="1089951"/>
                  </a:lnTo>
                  <a:lnTo>
                    <a:pt x="605719" y="1086744"/>
                  </a:lnTo>
                  <a:lnTo>
                    <a:pt x="611738" y="1086744"/>
                  </a:lnTo>
                  <a:lnTo>
                    <a:pt x="618005" y="1085115"/>
                  </a:lnTo>
                  <a:lnTo>
                    <a:pt x="620077" y="1081908"/>
                  </a:lnTo>
                  <a:lnTo>
                    <a:pt x="630488" y="1083537"/>
                  </a:lnTo>
                  <a:lnTo>
                    <a:pt x="634682" y="1088471"/>
                  </a:lnTo>
                  <a:lnTo>
                    <a:pt x="630488" y="1094934"/>
                  </a:lnTo>
                  <a:lnTo>
                    <a:pt x="640899" y="1101398"/>
                  </a:lnTo>
                  <a:lnTo>
                    <a:pt x="640899" y="1104605"/>
                  </a:lnTo>
                  <a:lnTo>
                    <a:pt x="630488" y="1103026"/>
                  </a:lnTo>
                  <a:lnTo>
                    <a:pt x="626343" y="1107960"/>
                  </a:lnTo>
                  <a:lnTo>
                    <a:pt x="613860" y="1107960"/>
                  </a:lnTo>
                  <a:lnTo>
                    <a:pt x="607594" y="1106332"/>
                  </a:lnTo>
                  <a:lnTo>
                    <a:pt x="595111" y="1106332"/>
                  </a:lnTo>
                  <a:lnTo>
                    <a:pt x="587068" y="1114029"/>
                  </a:lnTo>
                  <a:lnTo>
                    <a:pt x="582924" y="1114029"/>
                  </a:lnTo>
                  <a:lnTo>
                    <a:pt x="578730" y="1115657"/>
                  </a:lnTo>
                  <a:lnTo>
                    <a:pt x="572513" y="111245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Graphic 2">
              <a:extLst>
                <a:ext uri="{FF2B5EF4-FFF2-40B4-BE49-F238E27FC236}">
                  <a16:creationId xmlns:a16="http://schemas.microsoft.com/office/drawing/2014/main" id="{CD358E52-A741-4BEE-B2DC-8860AA15C286}"/>
                </a:ext>
              </a:extLst>
            </p:cNvPr>
            <p:cNvSpPr/>
            <p:nvPr/>
          </p:nvSpPr>
          <p:spPr>
            <a:xfrm>
              <a:off x="1379579" y="1050943"/>
              <a:ext cx="2848401" cy="2265073"/>
            </a:xfrm>
            <a:custGeom>
              <a:avLst/>
              <a:gdLst>
                <a:gd name="connsiteX0" fmla="*/ 2268489 w 3135233"/>
                <a:gd name="connsiteY0" fmla="*/ 439102 h 2493266"/>
                <a:gd name="connsiteX1" fmla="*/ 2272683 w 3135233"/>
                <a:gd name="connsiteY1" fmla="*/ 434168 h 2493266"/>
                <a:gd name="connsiteX2" fmla="*/ 2276877 w 3135233"/>
                <a:gd name="connsiteY2" fmla="*/ 427705 h 2493266"/>
                <a:gd name="connsiteX3" fmla="*/ 2289360 w 3135233"/>
                <a:gd name="connsiteY3" fmla="*/ 417837 h 2493266"/>
                <a:gd name="connsiteX4" fmla="*/ 2293504 w 3135233"/>
                <a:gd name="connsiteY4" fmla="*/ 401702 h 2493266"/>
                <a:gd name="connsiteX5" fmla="*/ 2297698 w 3135233"/>
                <a:gd name="connsiteY5" fmla="*/ 400074 h 2493266"/>
                <a:gd name="connsiteX6" fmla="*/ 2299771 w 3135233"/>
                <a:gd name="connsiteY6" fmla="*/ 405008 h 2493266"/>
                <a:gd name="connsiteX7" fmla="*/ 2295577 w 3135233"/>
                <a:gd name="connsiteY7" fmla="*/ 413100 h 2493266"/>
                <a:gd name="connsiteX8" fmla="*/ 2295577 w 3135233"/>
                <a:gd name="connsiteY8" fmla="*/ 416307 h 2493266"/>
                <a:gd name="connsiteX9" fmla="*/ 2301843 w 3135233"/>
                <a:gd name="connsiteY9" fmla="*/ 417935 h 2493266"/>
                <a:gd name="connsiteX10" fmla="*/ 2310181 w 3135233"/>
                <a:gd name="connsiteY10" fmla="*/ 411472 h 2493266"/>
                <a:gd name="connsiteX11" fmla="*/ 2316398 w 3135233"/>
                <a:gd name="connsiteY11" fmla="*/ 408264 h 2493266"/>
                <a:gd name="connsiteX12" fmla="*/ 2314326 w 3135233"/>
                <a:gd name="connsiteY12" fmla="*/ 401801 h 2493266"/>
                <a:gd name="connsiteX13" fmla="*/ 2308109 w 3135233"/>
                <a:gd name="connsiteY13" fmla="*/ 400173 h 2493266"/>
                <a:gd name="connsiteX14" fmla="*/ 2308109 w 3135233"/>
                <a:gd name="connsiteY14" fmla="*/ 398544 h 2493266"/>
                <a:gd name="connsiteX15" fmla="*/ 2316398 w 3135233"/>
                <a:gd name="connsiteY15" fmla="*/ 395337 h 2493266"/>
                <a:gd name="connsiteX16" fmla="*/ 2316398 w 3135233"/>
                <a:gd name="connsiteY16" fmla="*/ 387245 h 2493266"/>
                <a:gd name="connsiteX17" fmla="*/ 2312303 w 3135233"/>
                <a:gd name="connsiteY17" fmla="*/ 384038 h 2493266"/>
                <a:gd name="connsiteX18" fmla="*/ 2314326 w 3135233"/>
                <a:gd name="connsiteY18" fmla="*/ 377575 h 2493266"/>
                <a:gd name="connsiteX19" fmla="*/ 2322714 w 3135233"/>
                <a:gd name="connsiteY19" fmla="*/ 371111 h 2493266"/>
                <a:gd name="connsiteX20" fmla="*/ 2324737 w 3135233"/>
                <a:gd name="connsiteY20" fmla="*/ 361243 h 2493266"/>
                <a:gd name="connsiteX21" fmla="*/ 2333125 w 3135233"/>
                <a:gd name="connsiteY21" fmla="*/ 359615 h 2493266"/>
                <a:gd name="connsiteX22" fmla="*/ 2335147 w 3135233"/>
                <a:gd name="connsiteY22" fmla="*/ 354681 h 2493266"/>
                <a:gd name="connsiteX23" fmla="*/ 2335147 w 3135233"/>
                <a:gd name="connsiteY23" fmla="*/ 359615 h 2493266"/>
                <a:gd name="connsiteX24" fmla="*/ 2337269 w 3135233"/>
                <a:gd name="connsiteY24" fmla="*/ 362871 h 2493266"/>
                <a:gd name="connsiteX25" fmla="*/ 2331003 w 3135233"/>
                <a:gd name="connsiteY25" fmla="*/ 364500 h 2493266"/>
                <a:gd name="connsiteX26" fmla="*/ 2326858 w 3135233"/>
                <a:gd name="connsiteY26" fmla="*/ 374368 h 2493266"/>
                <a:gd name="connsiteX27" fmla="*/ 2320592 w 3135233"/>
                <a:gd name="connsiteY27" fmla="*/ 380831 h 2493266"/>
                <a:gd name="connsiteX28" fmla="*/ 2318520 w 3135233"/>
                <a:gd name="connsiteY28" fmla="*/ 390699 h 2493266"/>
                <a:gd name="connsiteX29" fmla="*/ 2322714 w 3135233"/>
                <a:gd name="connsiteY29" fmla="*/ 395633 h 2493266"/>
                <a:gd name="connsiteX30" fmla="*/ 2324737 w 3135233"/>
                <a:gd name="connsiteY30" fmla="*/ 403676 h 2493266"/>
                <a:gd name="connsiteX31" fmla="*/ 2328931 w 3135233"/>
                <a:gd name="connsiteY31" fmla="*/ 400469 h 2493266"/>
                <a:gd name="connsiteX32" fmla="*/ 2333125 w 3135233"/>
                <a:gd name="connsiteY32" fmla="*/ 389170 h 2493266"/>
                <a:gd name="connsiteX33" fmla="*/ 2347927 w 3135233"/>
                <a:gd name="connsiteY33" fmla="*/ 379302 h 2493266"/>
                <a:gd name="connsiteX34" fmla="*/ 2352071 w 3135233"/>
                <a:gd name="connsiteY34" fmla="*/ 372838 h 2493266"/>
                <a:gd name="connsiteX35" fmla="*/ 2352071 w 3135233"/>
                <a:gd name="connsiteY35" fmla="*/ 364796 h 2493266"/>
                <a:gd name="connsiteX36" fmla="*/ 2356265 w 3135233"/>
                <a:gd name="connsiteY36" fmla="*/ 358332 h 2493266"/>
                <a:gd name="connsiteX37" fmla="*/ 2362482 w 3135233"/>
                <a:gd name="connsiteY37" fmla="*/ 356704 h 2493266"/>
                <a:gd name="connsiteX38" fmla="*/ 2362482 w 3135233"/>
                <a:gd name="connsiteY38" fmla="*/ 361638 h 2493266"/>
                <a:gd name="connsiteX39" fmla="*/ 2360410 w 3135233"/>
                <a:gd name="connsiteY39" fmla="*/ 363266 h 2493266"/>
                <a:gd name="connsiteX40" fmla="*/ 2360410 w 3135233"/>
                <a:gd name="connsiteY40" fmla="*/ 369730 h 2493266"/>
                <a:gd name="connsiteX41" fmla="*/ 2366676 w 3135233"/>
                <a:gd name="connsiteY41" fmla="*/ 368101 h 2493266"/>
                <a:gd name="connsiteX42" fmla="*/ 2372893 w 3135233"/>
                <a:gd name="connsiteY42" fmla="*/ 360010 h 2493266"/>
                <a:gd name="connsiteX43" fmla="*/ 2391642 w 3135233"/>
                <a:gd name="connsiteY43" fmla="*/ 360010 h 2493266"/>
                <a:gd name="connsiteX44" fmla="*/ 2402102 w 3135233"/>
                <a:gd name="connsiteY44" fmla="*/ 356803 h 2493266"/>
                <a:gd name="connsiteX45" fmla="*/ 2408319 w 3135233"/>
                <a:gd name="connsiteY45" fmla="*/ 356803 h 2493266"/>
                <a:gd name="connsiteX46" fmla="*/ 2414536 w 3135233"/>
                <a:gd name="connsiteY46" fmla="*/ 351868 h 2493266"/>
                <a:gd name="connsiteX47" fmla="*/ 2420852 w 3135233"/>
                <a:gd name="connsiteY47" fmla="*/ 350240 h 2493266"/>
                <a:gd name="connsiteX48" fmla="*/ 2422924 w 3135233"/>
                <a:gd name="connsiteY48" fmla="*/ 345306 h 2493266"/>
                <a:gd name="connsiteX49" fmla="*/ 2422924 w 3135233"/>
                <a:gd name="connsiteY49" fmla="*/ 340422 h 2493266"/>
                <a:gd name="connsiteX50" fmla="*/ 2424947 w 3135233"/>
                <a:gd name="connsiteY50" fmla="*/ 335487 h 2493266"/>
                <a:gd name="connsiteX51" fmla="*/ 2420852 w 3135233"/>
                <a:gd name="connsiteY51" fmla="*/ 332280 h 2493266"/>
                <a:gd name="connsiteX52" fmla="*/ 2422924 w 3135233"/>
                <a:gd name="connsiteY52" fmla="*/ 324189 h 2493266"/>
                <a:gd name="connsiteX53" fmla="*/ 2422924 w 3135233"/>
                <a:gd name="connsiteY53" fmla="*/ 309929 h 2493266"/>
                <a:gd name="connsiteX54" fmla="*/ 2420852 w 3135233"/>
                <a:gd name="connsiteY54" fmla="*/ 309929 h 2493266"/>
                <a:gd name="connsiteX55" fmla="*/ 2414536 w 3135233"/>
                <a:gd name="connsiteY55" fmla="*/ 319797 h 2493266"/>
                <a:gd name="connsiteX56" fmla="*/ 2406247 w 3135233"/>
                <a:gd name="connsiteY56" fmla="*/ 327840 h 2493266"/>
                <a:gd name="connsiteX57" fmla="*/ 2402102 w 3135233"/>
                <a:gd name="connsiteY57" fmla="*/ 327840 h 2493266"/>
                <a:gd name="connsiteX58" fmla="*/ 2402102 w 3135233"/>
                <a:gd name="connsiteY58" fmla="*/ 322906 h 2493266"/>
                <a:gd name="connsiteX59" fmla="*/ 2408319 w 3135233"/>
                <a:gd name="connsiteY59" fmla="*/ 316442 h 2493266"/>
                <a:gd name="connsiteX60" fmla="*/ 2416658 w 3135233"/>
                <a:gd name="connsiteY60" fmla="*/ 313235 h 2493266"/>
                <a:gd name="connsiteX61" fmla="*/ 2416658 w 3135233"/>
                <a:gd name="connsiteY61" fmla="*/ 308301 h 2493266"/>
                <a:gd name="connsiteX62" fmla="*/ 2408319 w 3135233"/>
                <a:gd name="connsiteY62" fmla="*/ 301837 h 2493266"/>
                <a:gd name="connsiteX63" fmla="*/ 2406247 w 3135233"/>
                <a:gd name="connsiteY63" fmla="*/ 296903 h 2493266"/>
                <a:gd name="connsiteX64" fmla="*/ 2403977 w 3135233"/>
                <a:gd name="connsiteY64" fmla="*/ 296903 h 2493266"/>
                <a:gd name="connsiteX65" fmla="*/ 2399833 w 3135233"/>
                <a:gd name="connsiteY65" fmla="*/ 300110 h 2493266"/>
                <a:gd name="connsiteX66" fmla="*/ 2397760 w 3135233"/>
                <a:gd name="connsiteY66" fmla="*/ 303367 h 2493266"/>
                <a:gd name="connsiteX67" fmla="*/ 2393567 w 3135233"/>
                <a:gd name="connsiteY67" fmla="*/ 300110 h 2493266"/>
                <a:gd name="connsiteX68" fmla="*/ 2387350 w 3135233"/>
                <a:gd name="connsiteY68" fmla="*/ 300110 h 2493266"/>
                <a:gd name="connsiteX69" fmla="*/ 2381083 w 3135233"/>
                <a:gd name="connsiteY69" fmla="*/ 305044 h 2493266"/>
                <a:gd name="connsiteX70" fmla="*/ 2376939 w 3135233"/>
                <a:gd name="connsiteY70" fmla="*/ 303416 h 2493266"/>
                <a:gd name="connsiteX71" fmla="*/ 2379011 w 3135233"/>
                <a:gd name="connsiteY71" fmla="*/ 300160 h 2493266"/>
                <a:gd name="connsiteX72" fmla="*/ 2395688 w 3135233"/>
                <a:gd name="connsiteY72" fmla="*/ 293746 h 2493266"/>
                <a:gd name="connsiteX73" fmla="*/ 2401955 w 3135233"/>
                <a:gd name="connsiteY73" fmla="*/ 292117 h 2493266"/>
                <a:gd name="connsiteX74" fmla="*/ 2414388 w 3135233"/>
                <a:gd name="connsiteY74" fmla="*/ 282249 h 2493266"/>
                <a:gd name="connsiteX75" fmla="*/ 2418582 w 3135233"/>
                <a:gd name="connsiteY75" fmla="*/ 278993 h 2493266"/>
                <a:gd name="connsiteX76" fmla="*/ 2426921 w 3135233"/>
                <a:gd name="connsiteY76" fmla="*/ 267694 h 2493266"/>
                <a:gd name="connsiteX77" fmla="*/ 2428993 w 3135233"/>
                <a:gd name="connsiteY77" fmla="*/ 256444 h 2493266"/>
                <a:gd name="connsiteX78" fmla="*/ 2426921 w 3135233"/>
                <a:gd name="connsiteY78" fmla="*/ 254816 h 2493266"/>
                <a:gd name="connsiteX79" fmla="*/ 2420704 w 3135233"/>
                <a:gd name="connsiteY79" fmla="*/ 256444 h 2493266"/>
                <a:gd name="connsiteX80" fmla="*/ 2416510 w 3135233"/>
                <a:gd name="connsiteY80" fmla="*/ 258023 h 2493266"/>
                <a:gd name="connsiteX81" fmla="*/ 2414388 w 3135233"/>
                <a:gd name="connsiteY81" fmla="*/ 256444 h 2493266"/>
                <a:gd name="connsiteX82" fmla="*/ 2416510 w 3135233"/>
                <a:gd name="connsiteY82" fmla="*/ 251510 h 2493266"/>
                <a:gd name="connsiteX83" fmla="*/ 2420704 w 3135233"/>
                <a:gd name="connsiteY83" fmla="*/ 249931 h 2493266"/>
                <a:gd name="connsiteX84" fmla="*/ 2426921 w 3135233"/>
                <a:gd name="connsiteY84" fmla="*/ 249931 h 2493266"/>
                <a:gd name="connsiteX85" fmla="*/ 2428993 w 3135233"/>
                <a:gd name="connsiteY85" fmla="*/ 246675 h 2493266"/>
                <a:gd name="connsiteX86" fmla="*/ 2428993 w 3135233"/>
                <a:gd name="connsiteY86" fmla="*/ 240507 h 2493266"/>
                <a:gd name="connsiteX87" fmla="*/ 2437331 w 3135233"/>
                <a:gd name="connsiteY87" fmla="*/ 234093 h 2493266"/>
                <a:gd name="connsiteX88" fmla="*/ 2435259 w 3135233"/>
                <a:gd name="connsiteY88" fmla="*/ 227629 h 2493266"/>
                <a:gd name="connsiteX89" fmla="*/ 2435259 w 3135233"/>
                <a:gd name="connsiteY89" fmla="*/ 219538 h 2493266"/>
                <a:gd name="connsiteX90" fmla="*/ 2428993 w 3135233"/>
                <a:gd name="connsiteY90" fmla="*/ 217959 h 2493266"/>
                <a:gd name="connsiteX91" fmla="*/ 2422776 w 3135233"/>
                <a:gd name="connsiteY91" fmla="*/ 221166 h 2493266"/>
                <a:gd name="connsiteX92" fmla="*/ 2414388 w 3135233"/>
                <a:gd name="connsiteY92" fmla="*/ 234093 h 2493266"/>
                <a:gd name="connsiteX93" fmla="*/ 2412365 w 3135233"/>
                <a:gd name="connsiteY93" fmla="*/ 240507 h 2493266"/>
                <a:gd name="connsiteX94" fmla="*/ 2416510 w 3135233"/>
                <a:gd name="connsiteY94" fmla="*/ 245441 h 2493266"/>
                <a:gd name="connsiteX95" fmla="*/ 2412365 w 3135233"/>
                <a:gd name="connsiteY95" fmla="*/ 250375 h 2493266"/>
                <a:gd name="connsiteX96" fmla="*/ 2408171 w 3135233"/>
                <a:gd name="connsiteY96" fmla="*/ 251954 h 2493266"/>
                <a:gd name="connsiteX97" fmla="*/ 2406099 w 3135233"/>
                <a:gd name="connsiteY97" fmla="*/ 251954 h 2493266"/>
                <a:gd name="connsiteX98" fmla="*/ 2406099 w 3135233"/>
                <a:gd name="connsiteY98" fmla="*/ 248747 h 2493266"/>
                <a:gd name="connsiteX99" fmla="*/ 2403977 w 3135233"/>
                <a:gd name="connsiteY99" fmla="*/ 245540 h 2493266"/>
                <a:gd name="connsiteX100" fmla="*/ 2403977 w 3135233"/>
                <a:gd name="connsiteY100" fmla="*/ 238928 h 2493266"/>
                <a:gd name="connsiteX101" fmla="*/ 2410244 w 3135233"/>
                <a:gd name="connsiteY101" fmla="*/ 229060 h 2493266"/>
                <a:gd name="connsiteX102" fmla="*/ 2408171 w 3135233"/>
                <a:gd name="connsiteY102" fmla="*/ 222597 h 2493266"/>
                <a:gd name="connsiteX103" fmla="*/ 2408171 w 3135233"/>
                <a:gd name="connsiteY103" fmla="*/ 219538 h 2493266"/>
                <a:gd name="connsiteX104" fmla="*/ 2412365 w 3135233"/>
                <a:gd name="connsiteY104" fmla="*/ 222794 h 2493266"/>
                <a:gd name="connsiteX105" fmla="*/ 2416510 w 3135233"/>
                <a:gd name="connsiteY105" fmla="*/ 219538 h 2493266"/>
                <a:gd name="connsiteX106" fmla="*/ 2414388 w 3135233"/>
                <a:gd name="connsiteY106" fmla="*/ 211495 h 2493266"/>
                <a:gd name="connsiteX107" fmla="*/ 2410244 w 3135233"/>
                <a:gd name="connsiteY107" fmla="*/ 205032 h 2493266"/>
                <a:gd name="connsiteX108" fmla="*/ 2403977 w 3135233"/>
                <a:gd name="connsiteY108" fmla="*/ 205032 h 2493266"/>
                <a:gd name="connsiteX109" fmla="*/ 2395688 w 3135233"/>
                <a:gd name="connsiteY109" fmla="*/ 208239 h 2493266"/>
                <a:gd name="connsiteX110" fmla="*/ 2391494 w 3135233"/>
                <a:gd name="connsiteY110" fmla="*/ 213173 h 2493266"/>
                <a:gd name="connsiteX111" fmla="*/ 2391494 w 3135233"/>
                <a:gd name="connsiteY111" fmla="*/ 209916 h 2493266"/>
                <a:gd name="connsiteX112" fmla="*/ 2389422 w 3135233"/>
                <a:gd name="connsiteY112" fmla="*/ 208288 h 2493266"/>
                <a:gd name="connsiteX113" fmla="*/ 2389422 w 3135233"/>
                <a:gd name="connsiteY113" fmla="*/ 198420 h 2493266"/>
                <a:gd name="connsiteX114" fmla="*/ 2385277 w 3135233"/>
                <a:gd name="connsiteY114" fmla="*/ 190377 h 2493266"/>
                <a:gd name="connsiteX115" fmla="*/ 2387350 w 3135233"/>
                <a:gd name="connsiteY115" fmla="*/ 177450 h 2493266"/>
                <a:gd name="connsiteX116" fmla="*/ 2387350 w 3135233"/>
                <a:gd name="connsiteY116" fmla="*/ 167730 h 2493266"/>
                <a:gd name="connsiteX117" fmla="*/ 2391494 w 3135233"/>
                <a:gd name="connsiteY117" fmla="*/ 161267 h 2493266"/>
                <a:gd name="connsiteX118" fmla="*/ 2391494 w 3135233"/>
                <a:gd name="connsiteY118" fmla="*/ 143504 h 2493266"/>
                <a:gd name="connsiteX119" fmla="*/ 2395688 w 3135233"/>
                <a:gd name="connsiteY119" fmla="*/ 133636 h 2493266"/>
                <a:gd name="connsiteX120" fmla="*/ 2397760 w 3135233"/>
                <a:gd name="connsiteY120" fmla="*/ 125594 h 2493266"/>
                <a:gd name="connsiteX121" fmla="*/ 2391494 w 3135233"/>
                <a:gd name="connsiteY121" fmla="*/ 119130 h 2493266"/>
                <a:gd name="connsiteX122" fmla="*/ 2389175 w 3135233"/>
                <a:gd name="connsiteY122" fmla="*/ 113061 h 2493266"/>
                <a:gd name="connsiteX123" fmla="*/ 2378764 w 3135233"/>
                <a:gd name="connsiteY123" fmla="*/ 106598 h 2493266"/>
                <a:gd name="connsiteX124" fmla="*/ 2376692 w 3135233"/>
                <a:gd name="connsiteY124" fmla="*/ 100134 h 2493266"/>
                <a:gd name="connsiteX125" fmla="*/ 2366281 w 3135233"/>
                <a:gd name="connsiteY125" fmla="*/ 96927 h 2493266"/>
                <a:gd name="connsiteX126" fmla="*/ 2362087 w 3135233"/>
                <a:gd name="connsiteY126" fmla="*/ 98555 h 2493266"/>
                <a:gd name="connsiteX127" fmla="*/ 2362087 w 3135233"/>
                <a:gd name="connsiteY127" fmla="*/ 101762 h 2493266"/>
                <a:gd name="connsiteX128" fmla="*/ 2360015 w 3135233"/>
                <a:gd name="connsiteY128" fmla="*/ 103390 h 2493266"/>
                <a:gd name="connsiteX129" fmla="*/ 2349703 w 3135233"/>
                <a:gd name="connsiteY129" fmla="*/ 95299 h 2493266"/>
                <a:gd name="connsiteX130" fmla="*/ 2343486 w 3135233"/>
                <a:gd name="connsiteY130" fmla="*/ 96927 h 2493266"/>
                <a:gd name="connsiteX131" fmla="*/ 2343486 w 3135233"/>
                <a:gd name="connsiteY131" fmla="*/ 103588 h 2493266"/>
                <a:gd name="connsiteX132" fmla="*/ 2337220 w 3135233"/>
                <a:gd name="connsiteY132" fmla="*/ 111630 h 2493266"/>
                <a:gd name="connsiteX133" fmla="*/ 2341364 w 3135233"/>
                <a:gd name="connsiteY133" fmla="*/ 116564 h 2493266"/>
                <a:gd name="connsiteX134" fmla="*/ 2349703 w 3135233"/>
                <a:gd name="connsiteY134" fmla="*/ 116564 h 2493266"/>
                <a:gd name="connsiteX135" fmla="*/ 2355969 w 3135233"/>
                <a:gd name="connsiteY135" fmla="*/ 114985 h 2493266"/>
                <a:gd name="connsiteX136" fmla="*/ 2364308 w 3135233"/>
                <a:gd name="connsiteY136" fmla="*/ 118193 h 2493266"/>
                <a:gd name="connsiteX137" fmla="*/ 2366380 w 3135233"/>
                <a:gd name="connsiteY137" fmla="*/ 123127 h 2493266"/>
                <a:gd name="connsiteX138" fmla="*/ 2372597 w 3135233"/>
                <a:gd name="connsiteY138" fmla="*/ 123127 h 2493266"/>
                <a:gd name="connsiteX139" fmla="*/ 2372597 w 3135233"/>
                <a:gd name="connsiteY139" fmla="*/ 128061 h 2493266"/>
                <a:gd name="connsiteX140" fmla="*/ 2362186 w 3135233"/>
                <a:gd name="connsiteY140" fmla="*/ 137929 h 2493266"/>
                <a:gd name="connsiteX141" fmla="*/ 2355969 w 3135233"/>
                <a:gd name="connsiteY141" fmla="*/ 137929 h 2493266"/>
                <a:gd name="connsiteX142" fmla="*/ 2349703 w 3135233"/>
                <a:gd name="connsiteY142" fmla="*/ 132995 h 2493266"/>
                <a:gd name="connsiteX143" fmla="*/ 2343486 w 3135233"/>
                <a:gd name="connsiteY143" fmla="*/ 132995 h 2493266"/>
                <a:gd name="connsiteX144" fmla="*/ 2335098 w 3135233"/>
                <a:gd name="connsiteY144" fmla="*/ 131416 h 2493266"/>
                <a:gd name="connsiteX145" fmla="*/ 2339292 w 3135233"/>
                <a:gd name="connsiteY145" fmla="*/ 136350 h 2493266"/>
                <a:gd name="connsiteX146" fmla="*/ 2343486 w 3135233"/>
                <a:gd name="connsiteY146" fmla="*/ 137978 h 2493266"/>
                <a:gd name="connsiteX147" fmla="*/ 2339292 w 3135233"/>
                <a:gd name="connsiteY147" fmla="*/ 142912 h 2493266"/>
                <a:gd name="connsiteX148" fmla="*/ 2333075 w 3135233"/>
                <a:gd name="connsiteY148" fmla="*/ 144491 h 2493266"/>
                <a:gd name="connsiteX149" fmla="*/ 2322665 w 3135233"/>
                <a:gd name="connsiteY149" fmla="*/ 134623 h 2493266"/>
                <a:gd name="connsiteX150" fmla="*/ 2312254 w 3135233"/>
                <a:gd name="connsiteY150" fmla="*/ 139557 h 2493266"/>
                <a:gd name="connsiteX151" fmla="*/ 2310231 w 3135233"/>
                <a:gd name="connsiteY151" fmla="*/ 146958 h 2493266"/>
                <a:gd name="connsiteX152" fmla="*/ 2303964 w 3135233"/>
                <a:gd name="connsiteY152" fmla="*/ 151892 h 2493266"/>
                <a:gd name="connsiteX153" fmla="*/ 2306037 w 3135233"/>
                <a:gd name="connsiteY153" fmla="*/ 155099 h 2493266"/>
                <a:gd name="connsiteX154" fmla="*/ 2310231 w 3135233"/>
                <a:gd name="connsiteY154" fmla="*/ 156727 h 2493266"/>
                <a:gd name="connsiteX155" fmla="*/ 2312352 w 3135233"/>
                <a:gd name="connsiteY155" fmla="*/ 164770 h 2493266"/>
                <a:gd name="connsiteX156" fmla="*/ 2320641 w 3135233"/>
                <a:gd name="connsiteY156" fmla="*/ 168026 h 2493266"/>
                <a:gd name="connsiteX157" fmla="*/ 2320641 w 3135233"/>
                <a:gd name="connsiteY157" fmla="*/ 171233 h 2493266"/>
                <a:gd name="connsiteX158" fmla="*/ 2316448 w 3135233"/>
                <a:gd name="connsiteY158" fmla="*/ 171233 h 2493266"/>
                <a:gd name="connsiteX159" fmla="*/ 2314375 w 3135233"/>
                <a:gd name="connsiteY159" fmla="*/ 176167 h 2493266"/>
                <a:gd name="connsiteX160" fmla="*/ 2318569 w 3135233"/>
                <a:gd name="connsiteY160" fmla="*/ 179424 h 2493266"/>
                <a:gd name="connsiteX161" fmla="*/ 2318569 w 3135233"/>
                <a:gd name="connsiteY161" fmla="*/ 182532 h 2493266"/>
                <a:gd name="connsiteX162" fmla="*/ 2312352 w 3135233"/>
                <a:gd name="connsiteY162" fmla="*/ 182532 h 2493266"/>
                <a:gd name="connsiteX163" fmla="*/ 2308158 w 3135233"/>
                <a:gd name="connsiteY163" fmla="*/ 179325 h 2493266"/>
                <a:gd name="connsiteX164" fmla="*/ 2301843 w 3135233"/>
                <a:gd name="connsiteY164" fmla="*/ 179325 h 2493266"/>
                <a:gd name="connsiteX165" fmla="*/ 2293504 w 3135233"/>
                <a:gd name="connsiteY165" fmla="*/ 174391 h 2493266"/>
                <a:gd name="connsiteX166" fmla="*/ 2289360 w 3135233"/>
                <a:gd name="connsiteY166" fmla="*/ 172763 h 2493266"/>
                <a:gd name="connsiteX167" fmla="*/ 2281021 w 3135233"/>
                <a:gd name="connsiteY167" fmla="*/ 175970 h 2493266"/>
                <a:gd name="connsiteX168" fmla="*/ 2281021 w 3135233"/>
                <a:gd name="connsiteY168" fmla="*/ 180904 h 2493266"/>
                <a:gd name="connsiteX169" fmla="*/ 2285166 w 3135233"/>
                <a:gd name="connsiteY169" fmla="*/ 187318 h 2493266"/>
                <a:gd name="connsiteX170" fmla="*/ 2281021 w 3135233"/>
                <a:gd name="connsiteY170" fmla="*/ 192252 h 2493266"/>
                <a:gd name="connsiteX171" fmla="*/ 2278900 w 3135233"/>
                <a:gd name="connsiteY171" fmla="*/ 190674 h 2493266"/>
                <a:gd name="connsiteX172" fmla="*/ 2278900 w 3135233"/>
                <a:gd name="connsiteY172" fmla="*/ 185740 h 2493266"/>
                <a:gd name="connsiteX173" fmla="*/ 2272683 w 3135233"/>
                <a:gd name="connsiteY173" fmla="*/ 182532 h 2493266"/>
                <a:gd name="connsiteX174" fmla="*/ 2264344 w 3135233"/>
                <a:gd name="connsiteY174" fmla="*/ 180954 h 2493266"/>
                <a:gd name="connsiteX175" fmla="*/ 2262272 w 3135233"/>
                <a:gd name="connsiteY175" fmla="*/ 180954 h 2493266"/>
                <a:gd name="connsiteX176" fmla="*/ 2258078 w 3135233"/>
                <a:gd name="connsiteY176" fmla="*/ 176019 h 2493266"/>
                <a:gd name="connsiteX177" fmla="*/ 2253933 w 3135233"/>
                <a:gd name="connsiteY177" fmla="*/ 176019 h 2493266"/>
                <a:gd name="connsiteX178" fmla="*/ 2251861 w 3135233"/>
                <a:gd name="connsiteY178" fmla="*/ 179276 h 2493266"/>
                <a:gd name="connsiteX179" fmla="*/ 2255956 w 3135233"/>
                <a:gd name="connsiteY179" fmla="*/ 187466 h 2493266"/>
                <a:gd name="connsiteX180" fmla="*/ 2253835 w 3135233"/>
                <a:gd name="connsiteY180" fmla="*/ 193930 h 2493266"/>
                <a:gd name="connsiteX181" fmla="*/ 2255956 w 3135233"/>
                <a:gd name="connsiteY181" fmla="*/ 202022 h 2493266"/>
                <a:gd name="connsiteX182" fmla="*/ 2262173 w 3135233"/>
                <a:gd name="connsiteY182" fmla="*/ 205229 h 2493266"/>
                <a:gd name="connsiteX183" fmla="*/ 2270512 w 3135233"/>
                <a:gd name="connsiteY183" fmla="*/ 206857 h 2493266"/>
                <a:gd name="connsiteX184" fmla="*/ 2274656 w 3135233"/>
                <a:gd name="connsiteY184" fmla="*/ 210064 h 2493266"/>
                <a:gd name="connsiteX185" fmla="*/ 2264344 w 3135233"/>
                <a:gd name="connsiteY185" fmla="*/ 210064 h 2493266"/>
                <a:gd name="connsiteX186" fmla="*/ 2272683 w 3135233"/>
                <a:gd name="connsiteY186" fmla="*/ 214998 h 2493266"/>
                <a:gd name="connsiteX187" fmla="*/ 2274755 w 3135233"/>
                <a:gd name="connsiteY187" fmla="*/ 219932 h 2493266"/>
                <a:gd name="connsiteX188" fmla="*/ 2281021 w 3135233"/>
                <a:gd name="connsiteY188" fmla="*/ 223189 h 2493266"/>
                <a:gd name="connsiteX189" fmla="*/ 2291432 w 3135233"/>
                <a:gd name="connsiteY189" fmla="*/ 223189 h 2493266"/>
                <a:gd name="connsiteX190" fmla="*/ 2295577 w 3135233"/>
                <a:gd name="connsiteY190" fmla="*/ 219932 h 2493266"/>
                <a:gd name="connsiteX191" fmla="*/ 2297698 w 3135233"/>
                <a:gd name="connsiteY191" fmla="*/ 219932 h 2493266"/>
                <a:gd name="connsiteX192" fmla="*/ 2299771 w 3135233"/>
                <a:gd name="connsiteY192" fmla="*/ 223189 h 2493266"/>
                <a:gd name="connsiteX193" fmla="*/ 2293504 w 3135233"/>
                <a:gd name="connsiteY193" fmla="*/ 228123 h 2493266"/>
                <a:gd name="connsiteX194" fmla="*/ 2291432 w 3135233"/>
                <a:gd name="connsiteY194" fmla="*/ 236165 h 2493266"/>
                <a:gd name="connsiteX195" fmla="*/ 2287287 w 3135233"/>
                <a:gd name="connsiteY195" fmla="*/ 237794 h 2493266"/>
                <a:gd name="connsiteX196" fmla="*/ 2276877 w 3135233"/>
                <a:gd name="connsiteY196" fmla="*/ 231330 h 2493266"/>
                <a:gd name="connsiteX197" fmla="*/ 2258078 w 3135233"/>
                <a:gd name="connsiteY197" fmla="*/ 228123 h 2493266"/>
                <a:gd name="connsiteX198" fmla="*/ 2249789 w 3135233"/>
                <a:gd name="connsiteY198" fmla="*/ 218255 h 2493266"/>
                <a:gd name="connsiteX199" fmla="*/ 2245595 w 3135233"/>
                <a:gd name="connsiteY199" fmla="*/ 216627 h 2493266"/>
                <a:gd name="connsiteX200" fmla="*/ 2243522 w 3135233"/>
                <a:gd name="connsiteY200" fmla="*/ 213419 h 2493266"/>
                <a:gd name="connsiteX201" fmla="*/ 2241450 w 3135233"/>
                <a:gd name="connsiteY201" fmla="*/ 213419 h 2493266"/>
                <a:gd name="connsiteX202" fmla="*/ 2237256 w 3135233"/>
                <a:gd name="connsiteY202" fmla="*/ 219834 h 2493266"/>
                <a:gd name="connsiteX203" fmla="*/ 2239378 w 3135233"/>
                <a:gd name="connsiteY203" fmla="*/ 223090 h 2493266"/>
                <a:gd name="connsiteX204" fmla="*/ 2235184 w 3135233"/>
                <a:gd name="connsiteY204" fmla="*/ 226297 h 2493266"/>
                <a:gd name="connsiteX205" fmla="*/ 2239378 w 3135233"/>
                <a:gd name="connsiteY205" fmla="*/ 236165 h 2493266"/>
                <a:gd name="connsiteX206" fmla="*/ 2233112 w 3135233"/>
                <a:gd name="connsiteY206" fmla="*/ 239422 h 2493266"/>
                <a:gd name="connsiteX207" fmla="*/ 2228967 w 3135233"/>
                <a:gd name="connsiteY207" fmla="*/ 237794 h 2493266"/>
                <a:gd name="connsiteX208" fmla="*/ 2228967 w 3135233"/>
                <a:gd name="connsiteY208" fmla="*/ 245885 h 2493266"/>
                <a:gd name="connsiteX209" fmla="*/ 2224773 w 3135233"/>
                <a:gd name="connsiteY209" fmla="*/ 247464 h 2493266"/>
                <a:gd name="connsiteX210" fmla="*/ 2224773 w 3135233"/>
                <a:gd name="connsiteY210" fmla="*/ 260391 h 2493266"/>
                <a:gd name="connsiteX211" fmla="*/ 2228967 w 3135233"/>
                <a:gd name="connsiteY211" fmla="*/ 263599 h 2493266"/>
                <a:gd name="connsiteX212" fmla="*/ 2239378 w 3135233"/>
                <a:gd name="connsiteY212" fmla="*/ 265227 h 2493266"/>
                <a:gd name="connsiteX213" fmla="*/ 2245595 w 3135233"/>
                <a:gd name="connsiteY213" fmla="*/ 266855 h 2493266"/>
                <a:gd name="connsiteX214" fmla="*/ 2253933 w 3135233"/>
                <a:gd name="connsiteY214" fmla="*/ 265227 h 2493266"/>
                <a:gd name="connsiteX215" fmla="*/ 2253933 w 3135233"/>
                <a:gd name="connsiteY215" fmla="*/ 268434 h 2493266"/>
                <a:gd name="connsiteX216" fmla="*/ 2247667 w 3135233"/>
                <a:gd name="connsiteY216" fmla="*/ 271690 h 2493266"/>
                <a:gd name="connsiteX217" fmla="*/ 2241450 w 3135233"/>
                <a:gd name="connsiteY217" fmla="*/ 268434 h 2493266"/>
                <a:gd name="connsiteX218" fmla="*/ 2228967 w 3135233"/>
                <a:gd name="connsiteY218" fmla="*/ 268434 h 2493266"/>
                <a:gd name="connsiteX219" fmla="*/ 2226845 w 3135233"/>
                <a:gd name="connsiteY219" fmla="*/ 266411 h 2493266"/>
                <a:gd name="connsiteX220" fmla="*/ 2218556 w 3135233"/>
                <a:gd name="connsiteY220" fmla="*/ 267990 h 2493266"/>
                <a:gd name="connsiteX221" fmla="*/ 2210218 w 3135233"/>
                <a:gd name="connsiteY221" fmla="*/ 277858 h 2493266"/>
                <a:gd name="connsiteX222" fmla="*/ 2208145 w 3135233"/>
                <a:gd name="connsiteY222" fmla="*/ 282792 h 2493266"/>
                <a:gd name="connsiteX223" fmla="*/ 2212241 w 3135233"/>
                <a:gd name="connsiteY223" fmla="*/ 287726 h 2493266"/>
                <a:gd name="connsiteX224" fmla="*/ 2212241 w 3135233"/>
                <a:gd name="connsiteY224" fmla="*/ 290933 h 2493266"/>
                <a:gd name="connsiteX225" fmla="*/ 2208145 w 3135233"/>
                <a:gd name="connsiteY225" fmla="*/ 292561 h 2493266"/>
                <a:gd name="connsiteX226" fmla="*/ 2206024 w 3135233"/>
                <a:gd name="connsiteY226" fmla="*/ 297495 h 2493266"/>
                <a:gd name="connsiteX227" fmla="*/ 2210218 w 3135233"/>
                <a:gd name="connsiteY227" fmla="*/ 300703 h 2493266"/>
                <a:gd name="connsiteX228" fmla="*/ 2216484 w 3135233"/>
                <a:gd name="connsiteY228" fmla="*/ 297002 h 2493266"/>
                <a:gd name="connsiteX229" fmla="*/ 2224823 w 3135233"/>
                <a:gd name="connsiteY229" fmla="*/ 298630 h 2493266"/>
                <a:gd name="connsiteX230" fmla="*/ 2231286 w 3135233"/>
                <a:gd name="connsiteY230" fmla="*/ 292167 h 2493266"/>
                <a:gd name="connsiteX231" fmla="*/ 2233358 w 3135233"/>
                <a:gd name="connsiteY231" fmla="*/ 295374 h 2493266"/>
                <a:gd name="connsiteX232" fmla="*/ 2233358 w 3135233"/>
                <a:gd name="connsiteY232" fmla="*/ 300308 h 2493266"/>
                <a:gd name="connsiteX233" fmla="*/ 2226845 w 3135233"/>
                <a:gd name="connsiteY233" fmla="*/ 300308 h 2493266"/>
                <a:gd name="connsiteX234" fmla="*/ 2222701 w 3135233"/>
                <a:gd name="connsiteY234" fmla="*/ 306771 h 2493266"/>
                <a:gd name="connsiteX235" fmla="*/ 2224773 w 3135233"/>
                <a:gd name="connsiteY235" fmla="*/ 310028 h 2493266"/>
                <a:gd name="connsiteX236" fmla="*/ 2231286 w 3135233"/>
                <a:gd name="connsiteY236" fmla="*/ 310028 h 2493266"/>
                <a:gd name="connsiteX237" fmla="*/ 2237503 w 3135233"/>
                <a:gd name="connsiteY237" fmla="*/ 305094 h 2493266"/>
                <a:gd name="connsiteX238" fmla="*/ 2241697 w 3135233"/>
                <a:gd name="connsiteY238" fmla="*/ 305094 h 2493266"/>
                <a:gd name="connsiteX239" fmla="*/ 2247914 w 3135233"/>
                <a:gd name="connsiteY239" fmla="*/ 301837 h 2493266"/>
                <a:gd name="connsiteX240" fmla="*/ 2247914 w 3135233"/>
                <a:gd name="connsiteY240" fmla="*/ 305094 h 2493266"/>
                <a:gd name="connsiteX241" fmla="*/ 2243769 w 3135233"/>
                <a:gd name="connsiteY241" fmla="*/ 308301 h 2493266"/>
                <a:gd name="connsiteX242" fmla="*/ 2247914 w 3135233"/>
                <a:gd name="connsiteY242" fmla="*/ 309929 h 2493266"/>
                <a:gd name="connsiteX243" fmla="*/ 2258325 w 3135233"/>
                <a:gd name="connsiteY243" fmla="*/ 309929 h 2493266"/>
                <a:gd name="connsiteX244" fmla="*/ 2260446 w 3135233"/>
                <a:gd name="connsiteY244" fmla="*/ 313136 h 2493266"/>
                <a:gd name="connsiteX245" fmla="*/ 2254180 w 3135233"/>
                <a:gd name="connsiteY245" fmla="*/ 313136 h 2493266"/>
                <a:gd name="connsiteX246" fmla="*/ 2254180 w 3135233"/>
                <a:gd name="connsiteY246" fmla="*/ 319600 h 2493266"/>
                <a:gd name="connsiteX247" fmla="*/ 2260446 w 3135233"/>
                <a:gd name="connsiteY247" fmla="*/ 319600 h 2493266"/>
                <a:gd name="connsiteX248" fmla="*/ 2268736 w 3135233"/>
                <a:gd name="connsiteY248" fmla="*/ 317972 h 2493266"/>
                <a:gd name="connsiteX249" fmla="*/ 2277123 w 3135233"/>
                <a:gd name="connsiteY249" fmla="*/ 322906 h 2493266"/>
                <a:gd name="connsiteX250" fmla="*/ 2293751 w 3135233"/>
                <a:gd name="connsiteY250" fmla="*/ 326162 h 2493266"/>
                <a:gd name="connsiteX251" fmla="*/ 2295823 w 3135233"/>
                <a:gd name="connsiteY251" fmla="*/ 329369 h 2493266"/>
                <a:gd name="connsiteX252" fmla="*/ 2272929 w 3135233"/>
                <a:gd name="connsiteY252" fmla="*/ 329369 h 2493266"/>
                <a:gd name="connsiteX253" fmla="*/ 2264591 w 3135233"/>
                <a:gd name="connsiteY253" fmla="*/ 324435 h 2493266"/>
                <a:gd name="connsiteX254" fmla="*/ 2254180 w 3135233"/>
                <a:gd name="connsiteY254" fmla="*/ 327642 h 2493266"/>
                <a:gd name="connsiteX255" fmla="*/ 2254180 w 3135233"/>
                <a:gd name="connsiteY255" fmla="*/ 330899 h 2493266"/>
                <a:gd name="connsiteX256" fmla="*/ 2264591 w 3135233"/>
                <a:gd name="connsiteY256" fmla="*/ 334106 h 2493266"/>
                <a:gd name="connsiteX257" fmla="*/ 2277123 w 3135233"/>
                <a:gd name="connsiteY257" fmla="*/ 335734 h 2493266"/>
                <a:gd name="connsiteX258" fmla="*/ 2291925 w 3135233"/>
                <a:gd name="connsiteY258" fmla="*/ 335734 h 2493266"/>
                <a:gd name="connsiteX259" fmla="*/ 2298192 w 3135233"/>
                <a:gd name="connsiteY259" fmla="*/ 338941 h 2493266"/>
                <a:gd name="connsiteX260" fmla="*/ 2281515 w 3135233"/>
                <a:gd name="connsiteY260" fmla="*/ 340570 h 2493266"/>
                <a:gd name="connsiteX261" fmla="*/ 2277370 w 3135233"/>
                <a:gd name="connsiteY261" fmla="*/ 338941 h 2493266"/>
                <a:gd name="connsiteX262" fmla="*/ 2262568 w 3135233"/>
                <a:gd name="connsiteY262" fmla="*/ 337362 h 2493266"/>
                <a:gd name="connsiteX263" fmla="*/ 2254230 w 3135233"/>
                <a:gd name="connsiteY263" fmla="*/ 337362 h 2493266"/>
                <a:gd name="connsiteX264" fmla="*/ 2250085 w 3135233"/>
                <a:gd name="connsiteY264" fmla="*/ 332428 h 2493266"/>
                <a:gd name="connsiteX265" fmla="*/ 2241746 w 3135233"/>
                <a:gd name="connsiteY265" fmla="*/ 330800 h 2493266"/>
                <a:gd name="connsiteX266" fmla="*/ 2231286 w 3135233"/>
                <a:gd name="connsiteY266" fmla="*/ 322807 h 2493266"/>
                <a:gd name="connsiteX267" fmla="*/ 2227092 w 3135233"/>
                <a:gd name="connsiteY267" fmla="*/ 326063 h 2493266"/>
                <a:gd name="connsiteX268" fmla="*/ 2222948 w 3135233"/>
                <a:gd name="connsiteY268" fmla="*/ 330997 h 2493266"/>
                <a:gd name="connsiteX269" fmla="*/ 2212487 w 3135233"/>
                <a:gd name="connsiteY269" fmla="*/ 330997 h 2493266"/>
                <a:gd name="connsiteX270" fmla="*/ 2206271 w 3135233"/>
                <a:gd name="connsiteY270" fmla="*/ 334205 h 2493266"/>
                <a:gd name="connsiteX271" fmla="*/ 2203952 w 3135233"/>
                <a:gd name="connsiteY271" fmla="*/ 345356 h 2493266"/>
                <a:gd name="connsiteX272" fmla="*/ 2212241 w 3135233"/>
                <a:gd name="connsiteY272" fmla="*/ 351819 h 2493266"/>
                <a:gd name="connsiteX273" fmla="*/ 2212241 w 3135233"/>
                <a:gd name="connsiteY273" fmla="*/ 358283 h 2493266"/>
                <a:gd name="connsiteX274" fmla="*/ 2210218 w 3135233"/>
                <a:gd name="connsiteY274" fmla="*/ 361490 h 2493266"/>
                <a:gd name="connsiteX275" fmla="*/ 2206024 w 3135233"/>
                <a:gd name="connsiteY275" fmla="*/ 351622 h 2493266"/>
                <a:gd name="connsiteX276" fmla="*/ 2201682 w 3135233"/>
                <a:gd name="connsiteY276" fmla="*/ 350290 h 2493266"/>
                <a:gd name="connsiteX277" fmla="*/ 2197537 w 3135233"/>
                <a:gd name="connsiteY277" fmla="*/ 365092 h 2493266"/>
                <a:gd name="connsiteX278" fmla="*/ 2197537 w 3135233"/>
                <a:gd name="connsiteY278" fmla="*/ 373134 h 2493266"/>
                <a:gd name="connsiteX279" fmla="*/ 2203804 w 3135233"/>
                <a:gd name="connsiteY279" fmla="*/ 374762 h 2493266"/>
                <a:gd name="connsiteX280" fmla="*/ 2205876 w 3135233"/>
                <a:gd name="connsiteY280" fmla="*/ 371506 h 2493266"/>
                <a:gd name="connsiteX281" fmla="*/ 2210070 w 3135233"/>
                <a:gd name="connsiteY281" fmla="*/ 371506 h 2493266"/>
                <a:gd name="connsiteX282" fmla="*/ 2214214 w 3135233"/>
                <a:gd name="connsiteY282" fmla="*/ 379598 h 2493266"/>
                <a:gd name="connsiteX283" fmla="*/ 2220481 w 3135233"/>
                <a:gd name="connsiteY283" fmla="*/ 379598 h 2493266"/>
                <a:gd name="connsiteX284" fmla="*/ 2214214 w 3135233"/>
                <a:gd name="connsiteY284" fmla="*/ 381226 h 2493266"/>
                <a:gd name="connsiteX285" fmla="*/ 2210070 w 3135233"/>
                <a:gd name="connsiteY285" fmla="*/ 384433 h 2493266"/>
                <a:gd name="connsiteX286" fmla="*/ 2203804 w 3135233"/>
                <a:gd name="connsiteY286" fmla="*/ 377970 h 2493266"/>
                <a:gd name="connsiteX287" fmla="*/ 2195465 w 3135233"/>
                <a:gd name="connsiteY287" fmla="*/ 379598 h 2493266"/>
                <a:gd name="connsiteX288" fmla="*/ 2193393 w 3135233"/>
                <a:gd name="connsiteY288" fmla="*/ 389466 h 2493266"/>
                <a:gd name="connsiteX289" fmla="*/ 2197537 w 3135233"/>
                <a:gd name="connsiteY289" fmla="*/ 394400 h 2493266"/>
                <a:gd name="connsiteX290" fmla="*/ 2201682 w 3135233"/>
                <a:gd name="connsiteY290" fmla="*/ 391193 h 2493266"/>
                <a:gd name="connsiteX291" fmla="*/ 2197537 w 3135233"/>
                <a:gd name="connsiteY291" fmla="*/ 396127 h 2493266"/>
                <a:gd name="connsiteX292" fmla="*/ 2199659 w 3135233"/>
                <a:gd name="connsiteY292" fmla="*/ 410633 h 2493266"/>
                <a:gd name="connsiteX293" fmla="*/ 2203804 w 3135233"/>
                <a:gd name="connsiteY293" fmla="*/ 407426 h 2493266"/>
                <a:gd name="connsiteX294" fmla="*/ 2207998 w 3135233"/>
                <a:gd name="connsiteY294" fmla="*/ 409054 h 2493266"/>
                <a:gd name="connsiteX295" fmla="*/ 2207998 w 3135233"/>
                <a:gd name="connsiteY295" fmla="*/ 417096 h 2493266"/>
                <a:gd name="connsiteX296" fmla="*/ 2218408 w 3135233"/>
                <a:gd name="connsiteY296" fmla="*/ 420304 h 2493266"/>
                <a:gd name="connsiteX297" fmla="*/ 2233210 w 3135233"/>
                <a:gd name="connsiteY297" fmla="*/ 428395 h 2493266"/>
                <a:gd name="connsiteX298" fmla="*/ 2239476 w 3135233"/>
                <a:gd name="connsiteY298" fmla="*/ 426767 h 2493266"/>
                <a:gd name="connsiteX299" fmla="*/ 2243621 w 3135233"/>
                <a:gd name="connsiteY299" fmla="*/ 420304 h 2493266"/>
                <a:gd name="connsiteX300" fmla="*/ 2241549 w 3135233"/>
                <a:gd name="connsiteY300" fmla="*/ 415370 h 2493266"/>
                <a:gd name="connsiteX301" fmla="*/ 2251960 w 3135233"/>
                <a:gd name="connsiteY301" fmla="*/ 415370 h 2493266"/>
                <a:gd name="connsiteX302" fmla="*/ 2251960 w 3135233"/>
                <a:gd name="connsiteY302" fmla="*/ 433132 h 2493266"/>
                <a:gd name="connsiteX303" fmla="*/ 2256154 w 3135233"/>
                <a:gd name="connsiteY303" fmla="*/ 431504 h 2493266"/>
                <a:gd name="connsiteX304" fmla="*/ 2262370 w 3135233"/>
                <a:gd name="connsiteY304" fmla="*/ 416998 h 2493266"/>
                <a:gd name="connsiteX305" fmla="*/ 2260298 w 3135233"/>
                <a:gd name="connsiteY305" fmla="*/ 404071 h 2493266"/>
                <a:gd name="connsiteX306" fmla="*/ 2264443 w 3135233"/>
                <a:gd name="connsiteY306" fmla="*/ 396028 h 2493266"/>
                <a:gd name="connsiteX307" fmla="*/ 2272781 w 3135233"/>
                <a:gd name="connsiteY307" fmla="*/ 387936 h 2493266"/>
                <a:gd name="connsiteX308" fmla="*/ 2274854 w 3135233"/>
                <a:gd name="connsiteY308" fmla="*/ 381522 h 2493266"/>
                <a:gd name="connsiteX309" fmla="*/ 2274854 w 3135233"/>
                <a:gd name="connsiteY309" fmla="*/ 389564 h 2493266"/>
                <a:gd name="connsiteX310" fmla="*/ 2266565 w 3135233"/>
                <a:gd name="connsiteY310" fmla="*/ 402492 h 2493266"/>
                <a:gd name="connsiteX311" fmla="*/ 2264443 w 3135233"/>
                <a:gd name="connsiteY311" fmla="*/ 410534 h 2493266"/>
                <a:gd name="connsiteX312" fmla="*/ 2266565 w 3135233"/>
                <a:gd name="connsiteY312" fmla="*/ 415468 h 2493266"/>
                <a:gd name="connsiteX313" fmla="*/ 2264443 w 3135233"/>
                <a:gd name="connsiteY313" fmla="*/ 426767 h 2493266"/>
                <a:gd name="connsiteX314" fmla="*/ 2268587 w 3135233"/>
                <a:gd name="connsiteY314" fmla="*/ 433231 h 2493266"/>
                <a:gd name="connsiteX315" fmla="*/ 2266565 w 3135233"/>
                <a:gd name="connsiteY315" fmla="*/ 436438 h 2493266"/>
                <a:gd name="connsiteX316" fmla="*/ 2285166 w 3135233"/>
                <a:gd name="connsiteY316" fmla="*/ 166398 h 2493266"/>
                <a:gd name="connsiteX317" fmla="*/ 2287287 w 3135233"/>
                <a:gd name="connsiteY317" fmla="*/ 164770 h 2493266"/>
                <a:gd name="connsiteX318" fmla="*/ 2293504 w 3135233"/>
                <a:gd name="connsiteY318" fmla="*/ 164770 h 2493266"/>
                <a:gd name="connsiteX319" fmla="*/ 2295577 w 3135233"/>
                <a:gd name="connsiteY319" fmla="*/ 166398 h 2493266"/>
                <a:gd name="connsiteX320" fmla="*/ 2301843 w 3135233"/>
                <a:gd name="connsiteY320" fmla="*/ 166398 h 2493266"/>
                <a:gd name="connsiteX321" fmla="*/ 2301843 w 3135233"/>
                <a:gd name="connsiteY321" fmla="*/ 171332 h 2493266"/>
                <a:gd name="connsiteX322" fmla="*/ 2297698 w 3135233"/>
                <a:gd name="connsiteY322" fmla="*/ 171332 h 2493266"/>
                <a:gd name="connsiteX323" fmla="*/ 2295577 w 3135233"/>
                <a:gd name="connsiteY323" fmla="*/ 169753 h 2493266"/>
                <a:gd name="connsiteX324" fmla="*/ 2287287 w 3135233"/>
                <a:gd name="connsiteY324" fmla="*/ 167730 h 2493266"/>
                <a:gd name="connsiteX325" fmla="*/ 2291432 w 3135233"/>
                <a:gd name="connsiteY325" fmla="*/ 435846 h 2493266"/>
                <a:gd name="connsiteX326" fmla="*/ 2291432 w 3135233"/>
                <a:gd name="connsiteY326" fmla="*/ 429234 h 2493266"/>
                <a:gd name="connsiteX327" fmla="*/ 2297698 w 3135233"/>
                <a:gd name="connsiteY327" fmla="*/ 425978 h 2493266"/>
                <a:gd name="connsiteX328" fmla="*/ 2297698 w 3135233"/>
                <a:gd name="connsiteY328" fmla="*/ 421044 h 2493266"/>
                <a:gd name="connsiteX329" fmla="*/ 2301843 w 3135233"/>
                <a:gd name="connsiteY329" fmla="*/ 419415 h 2493266"/>
                <a:gd name="connsiteX330" fmla="*/ 2303915 w 3135233"/>
                <a:gd name="connsiteY330" fmla="*/ 421044 h 2493266"/>
                <a:gd name="connsiteX331" fmla="*/ 2301843 w 3135233"/>
                <a:gd name="connsiteY331" fmla="*/ 425978 h 2493266"/>
                <a:gd name="connsiteX332" fmla="*/ 2301843 w 3135233"/>
                <a:gd name="connsiteY332" fmla="*/ 429234 h 2493266"/>
                <a:gd name="connsiteX333" fmla="*/ 2293504 w 3135233"/>
                <a:gd name="connsiteY333" fmla="*/ 435648 h 2493266"/>
                <a:gd name="connsiteX334" fmla="*/ 2366429 w 3135233"/>
                <a:gd name="connsiteY334" fmla="*/ 376193 h 2493266"/>
                <a:gd name="connsiteX335" fmla="*/ 2374768 w 3135233"/>
                <a:gd name="connsiteY335" fmla="*/ 366325 h 2493266"/>
                <a:gd name="connsiteX336" fmla="*/ 2378912 w 3135233"/>
                <a:gd name="connsiteY336" fmla="*/ 366325 h 2493266"/>
                <a:gd name="connsiteX337" fmla="*/ 2385179 w 3135233"/>
                <a:gd name="connsiteY337" fmla="*/ 363118 h 2493266"/>
                <a:gd name="connsiteX338" fmla="*/ 2393468 w 3135233"/>
                <a:gd name="connsiteY338" fmla="*/ 366325 h 2493266"/>
                <a:gd name="connsiteX339" fmla="*/ 2399734 w 3135233"/>
                <a:gd name="connsiteY339" fmla="*/ 371259 h 2493266"/>
                <a:gd name="connsiteX340" fmla="*/ 2397662 w 3135233"/>
                <a:gd name="connsiteY340" fmla="*/ 376193 h 2493266"/>
                <a:gd name="connsiteX341" fmla="*/ 2387251 w 3135233"/>
                <a:gd name="connsiteY341" fmla="*/ 374565 h 2493266"/>
                <a:gd name="connsiteX342" fmla="*/ 2383057 w 3135233"/>
                <a:gd name="connsiteY342" fmla="*/ 381029 h 2493266"/>
                <a:gd name="connsiteX343" fmla="*/ 2372646 w 3135233"/>
                <a:gd name="connsiteY343" fmla="*/ 381029 h 2493266"/>
                <a:gd name="connsiteX344" fmla="*/ 2366429 w 3135233"/>
                <a:gd name="connsiteY344" fmla="*/ 379400 h 2493266"/>
                <a:gd name="connsiteX345" fmla="*/ 2907989 w 3135233"/>
                <a:gd name="connsiteY345" fmla="*/ 12999 h 2493266"/>
                <a:gd name="connsiteX346" fmla="*/ 2912134 w 3135233"/>
                <a:gd name="connsiteY346" fmla="*/ 6585 h 2493266"/>
                <a:gd name="connsiteX347" fmla="*/ 2916328 w 3135233"/>
                <a:gd name="connsiteY347" fmla="*/ 6585 h 2493266"/>
                <a:gd name="connsiteX348" fmla="*/ 2920472 w 3135233"/>
                <a:gd name="connsiteY348" fmla="*/ 11519 h 2493266"/>
                <a:gd name="connsiteX349" fmla="*/ 2912183 w 3135233"/>
                <a:gd name="connsiteY349" fmla="*/ 14775 h 2493266"/>
                <a:gd name="connsiteX350" fmla="*/ 2647620 w 3135233"/>
                <a:gd name="connsiteY350" fmla="*/ 448674 h 2493266"/>
                <a:gd name="connsiteX351" fmla="*/ 2645548 w 3135233"/>
                <a:gd name="connsiteY351" fmla="*/ 451931 h 2493266"/>
                <a:gd name="connsiteX352" fmla="*/ 2647620 w 3135233"/>
                <a:gd name="connsiteY352" fmla="*/ 455138 h 2493266"/>
                <a:gd name="connsiteX353" fmla="*/ 2655959 w 3135233"/>
                <a:gd name="connsiteY353" fmla="*/ 455138 h 2493266"/>
                <a:gd name="connsiteX354" fmla="*/ 2655959 w 3135233"/>
                <a:gd name="connsiteY354" fmla="*/ 450204 h 2493266"/>
                <a:gd name="connsiteX355" fmla="*/ 2651764 w 3135233"/>
                <a:gd name="connsiteY355" fmla="*/ 448576 h 2493266"/>
                <a:gd name="connsiteX356" fmla="*/ 2518447 w 3135233"/>
                <a:gd name="connsiteY356" fmla="*/ 518047 h 2493266"/>
                <a:gd name="connsiteX357" fmla="*/ 2520569 w 3135233"/>
                <a:gd name="connsiteY357" fmla="*/ 521303 h 2493266"/>
                <a:gd name="connsiteX358" fmla="*/ 2526786 w 3135233"/>
                <a:gd name="connsiteY358" fmla="*/ 521303 h 2493266"/>
                <a:gd name="connsiteX359" fmla="*/ 2524762 w 3135233"/>
                <a:gd name="connsiteY359" fmla="*/ 516369 h 2493266"/>
                <a:gd name="connsiteX360" fmla="*/ 2335147 w 3135233"/>
                <a:gd name="connsiteY360" fmla="*/ 514840 h 2493266"/>
                <a:gd name="connsiteX361" fmla="*/ 2331003 w 3135233"/>
                <a:gd name="connsiteY361" fmla="*/ 506748 h 2493266"/>
                <a:gd name="connsiteX362" fmla="*/ 2331003 w 3135233"/>
                <a:gd name="connsiteY362" fmla="*/ 503541 h 2493266"/>
                <a:gd name="connsiteX363" fmla="*/ 2335147 w 3135233"/>
                <a:gd name="connsiteY363" fmla="*/ 503541 h 2493266"/>
                <a:gd name="connsiteX364" fmla="*/ 2339342 w 3135233"/>
                <a:gd name="connsiteY364" fmla="*/ 506748 h 2493266"/>
                <a:gd name="connsiteX365" fmla="*/ 2339342 w 3135233"/>
                <a:gd name="connsiteY365" fmla="*/ 511682 h 2493266"/>
                <a:gd name="connsiteX366" fmla="*/ 2337269 w 3135233"/>
                <a:gd name="connsiteY366" fmla="*/ 514938 h 2493266"/>
                <a:gd name="connsiteX367" fmla="*/ 2283093 w 3135233"/>
                <a:gd name="connsiteY367" fmla="*/ 608586 h 2493266"/>
                <a:gd name="connsiteX368" fmla="*/ 2283093 w 3135233"/>
                <a:gd name="connsiteY368" fmla="*/ 598718 h 2493266"/>
                <a:gd name="connsiteX369" fmla="*/ 2278900 w 3135233"/>
                <a:gd name="connsiteY369" fmla="*/ 592304 h 2493266"/>
                <a:gd name="connsiteX370" fmla="*/ 2278900 w 3135233"/>
                <a:gd name="connsiteY370" fmla="*/ 590676 h 2493266"/>
                <a:gd name="connsiteX371" fmla="*/ 2274755 w 3135233"/>
                <a:gd name="connsiteY371" fmla="*/ 592304 h 2493266"/>
                <a:gd name="connsiteX372" fmla="*/ 2272683 w 3135233"/>
                <a:gd name="connsiteY372" fmla="*/ 598718 h 2493266"/>
                <a:gd name="connsiteX373" fmla="*/ 2274755 w 3135233"/>
                <a:gd name="connsiteY373" fmla="*/ 608586 h 2493266"/>
                <a:gd name="connsiteX374" fmla="*/ 2278900 w 3135233"/>
                <a:gd name="connsiteY374" fmla="*/ 616629 h 2493266"/>
                <a:gd name="connsiteX375" fmla="*/ 2276877 w 3135233"/>
                <a:gd name="connsiteY375" fmla="*/ 621563 h 2493266"/>
                <a:gd name="connsiteX376" fmla="*/ 2274755 w 3135233"/>
                <a:gd name="connsiteY376" fmla="*/ 621563 h 2493266"/>
                <a:gd name="connsiteX377" fmla="*/ 2268489 w 3135233"/>
                <a:gd name="connsiteY377" fmla="*/ 619984 h 2493266"/>
                <a:gd name="connsiteX378" fmla="*/ 2256055 w 3135233"/>
                <a:gd name="connsiteY378" fmla="*/ 618356 h 2493266"/>
                <a:gd name="connsiteX379" fmla="*/ 2256055 w 3135233"/>
                <a:gd name="connsiteY379" fmla="*/ 613422 h 2493266"/>
                <a:gd name="connsiteX380" fmla="*/ 2251861 w 3135233"/>
                <a:gd name="connsiteY380" fmla="*/ 613422 h 2493266"/>
                <a:gd name="connsiteX381" fmla="*/ 2241450 w 3135233"/>
                <a:gd name="connsiteY381" fmla="*/ 606859 h 2493266"/>
                <a:gd name="connsiteX382" fmla="*/ 2237256 w 3135233"/>
                <a:gd name="connsiteY382" fmla="*/ 606859 h 2493266"/>
                <a:gd name="connsiteX383" fmla="*/ 2235184 w 3135233"/>
                <a:gd name="connsiteY383" fmla="*/ 605231 h 2493266"/>
                <a:gd name="connsiteX384" fmla="*/ 2233112 w 3135233"/>
                <a:gd name="connsiteY384" fmla="*/ 603652 h 2493266"/>
                <a:gd name="connsiteX385" fmla="*/ 2228967 w 3135233"/>
                <a:gd name="connsiteY385" fmla="*/ 603652 h 2493266"/>
                <a:gd name="connsiteX386" fmla="*/ 2228967 w 3135233"/>
                <a:gd name="connsiteY386" fmla="*/ 600396 h 2493266"/>
                <a:gd name="connsiteX387" fmla="*/ 2231039 w 3135233"/>
                <a:gd name="connsiteY387" fmla="*/ 595462 h 2493266"/>
                <a:gd name="connsiteX388" fmla="*/ 2235184 w 3135233"/>
                <a:gd name="connsiteY388" fmla="*/ 593834 h 2493266"/>
                <a:gd name="connsiteX389" fmla="*/ 2239378 w 3135233"/>
                <a:gd name="connsiteY389" fmla="*/ 588900 h 2493266"/>
                <a:gd name="connsiteX390" fmla="*/ 2237256 w 3135233"/>
                <a:gd name="connsiteY390" fmla="*/ 585692 h 2493266"/>
                <a:gd name="connsiteX391" fmla="*/ 2233112 w 3135233"/>
                <a:gd name="connsiteY391" fmla="*/ 577601 h 2493266"/>
                <a:gd name="connsiteX392" fmla="*/ 2231039 w 3135233"/>
                <a:gd name="connsiteY392" fmla="*/ 574393 h 2493266"/>
                <a:gd name="connsiteX393" fmla="*/ 2231039 w 3135233"/>
                <a:gd name="connsiteY393" fmla="*/ 579327 h 2493266"/>
                <a:gd name="connsiteX394" fmla="*/ 2233112 w 3135233"/>
                <a:gd name="connsiteY394" fmla="*/ 582535 h 2493266"/>
                <a:gd name="connsiteX395" fmla="*/ 2233112 w 3135233"/>
                <a:gd name="connsiteY395" fmla="*/ 587469 h 2493266"/>
                <a:gd name="connsiteX396" fmla="*/ 2231039 w 3135233"/>
                <a:gd name="connsiteY396" fmla="*/ 590676 h 2493266"/>
                <a:gd name="connsiteX397" fmla="*/ 2226845 w 3135233"/>
                <a:gd name="connsiteY397" fmla="*/ 590676 h 2493266"/>
                <a:gd name="connsiteX398" fmla="*/ 2224773 w 3135233"/>
                <a:gd name="connsiteY398" fmla="*/ 592304 h 2493266"/>
                <a:gd name="connsiteX399" fmla="*/ 2224773 w 3135233"/>
                <a:gd name="connsiteY399" fmla="*/ 593883 h 2493266"/>
                <a:gd name="connsiteX400" fmla="*/ 2226845 w 3135233"/>
                <a:gd name="connsiteY400" fmla="*/ 597139 h 2493266"/>
                <a:gd name="connsiteX401" fmla="*/ 2222701 w 3135233"/>
                <a:gd name="connsiteY401" fmla="*/ 602073 h 2493266"/>
                <a:gd name="connsiteX402" fmla="*/ 2218556 w 3135233"/>
                <a:gd name="connsiteY402" fmla="*/ 600445 h 2493266"/>
                <a:gd name="connsiteX403" fmla="*/ 2214362 w 3135233"/>
                <a:gd name="connsiteY403" fmla="*/ 593982 h 2493266"/>
                <a:gd name="connsiteX404" fmla="*/ 2214362 w 3135233"/>
                <a:gd name="connsiteY404" fmla="*/ 590774 h 2493266"/>
                <a:gd name="connsiteX405" fmla="*/ 2212241 w 3135233"/>
                <a:gd name="connsiteY405" fmla="*/ 587567 h 2493266"/>
                <a:gd name="connsiteX406" fmla="*/ 2216435 w 3135233"/>
                <a:gd name="connsiteY406" fmla="*/ 579475 h 2493266"/>
                <a:gd name="connsiteX407" fmla="*/ 2214362 w 3135233"/>
                <a:gd name="connsiteY407" fmla="*/ 576268 h 2493266"/>
                <a:gd name="connsiteX408" fmla="*/ 2216435 w 3135233"/>
                <a:gd name="connsiteY408" fmla="*/ 573012 h 2493266"/>
                <a:gd name="connsiteX409" fmla="*/ 2212241 w 3135233"/>
                <a:gd name="connsiteY409" fmla="*/ 576268 h 2493266"/>
                <a:gd name="connsiteX410" fmla="*/ 2210218 w 3135233"/>
                <a:gd name="connsiteY410" fmla="*/ 581202 h 2493266"/>
                <a:gd name="connsiteX411" fmla="*/ 2206024 w 3135233"/>
                <a:gd name="connsiteY411" fmla="*/ 586136 h 2493266"/>
                <a:gd name="connsiteX412" fmla="*/ 2208145 w 3135233"/>
                <a:gd name="connsiteY412" fmla="*/ 589344 h 2493266"/>
                <a:gd name="connsiteX413" fmla="*/ 2206024 w 3135233"/>
                <a:gd name="connsiteY413" fmla="*/ 594278 h 2493266"/>
                <a:gd name="connsiteX414" fmla="*/ 2199807 w 3135233"/>
                <a:gd name="connsiteY414" fmla="*/ 592699 h 2493266"/>
                <a:gd name="connsiteX415" fmla="*/ 2195613 w 3135233"/>
                <a:gd name="connsiteY415" fmla="*/ 589442 h 2493266"/>
                <a:gd name="connsiteX416" fmla="*/ 2191419 w 3135233"/>
                <a:gd name="connsiteY416" fmla="*/ 589442 h 2493266"/>
                <a:gd name="connsiteX417" fmla="*/ 2189347 w 3135233"/>
                <a:gd name="connsiteY417" fmla="*/ 587863 h 2493266"/>
                <a:gd name="connsiteX418" fmla="*/ 2191419 w 3135233"/>
                <a:gd name="connsiteY418" fmla="*/ 581400 h 2493266"/>
                <a:gd name="connsiteX419" fmla="*/ 2193541 w 3135233"/>
                <a:gd name="connsiteY419" fmla="*/ 574936 h 2493266"/>
                <a:gd name="connsiteX420" fmla="*/ 2195613 w 3135233"/>
                <a:gd name="connsiteY420" fmla="*/ 573308 h 2493266"/>
                <a:gd name="connsiteX421" fmla="*/ 2195613 w 3135233"/>
                <a:gd name="connsiteY421" fmla="*/ 566844 h 2493266"/>
                <a:gd name="connsiteX422" fmla="*/ 2201830 w 3135233"/>
                <a:gd name="connsiteY422" fmla="*/ 555545 h 2493266"/>
                <a:gd name="connsiteX423" fmla="*/ 2197685 w 3135233"/>
                <a:gd name="connsiteY423" fmla="*/ 557174 h 2493266"/>
                <a:gd name="connsiteX424" fmla="*/ 2193541 w 3135233"/>
                <a:gd name="connsiteY424" fmla="*/ 558802 h 2493266"/>
                <a:gd name="connsiteX425" fmla="*/ 2189347 w 3135233"/>
                <a:gd name="connsiteY425" fmla="*/ 571680 h 2493266"/>
                <a:gd name="connsiteX426" fmla="*/ 2189347 w 3135233"/>
                <a:gd name="connsiteY426" fmla="*/ 579772 h 2493266"/>
                <a:gd name="connsiteX427" fmla="*/ 2185202 w 3135233"/>
                <a:gd name="connsiteY427" fmla="*/ 584706 h 2493266"/>
                <a:gd name="connsiteX428" fmla="*/ 2183130 w 3135233"/>
                <a:gd name="connsiteY428" fmla="*/ 583077 h 2493266"/>
                <a:gd name="connsiteX429" fmla="*/ 2185202 w 3135233"/>
                <a:gd name="connsiteY429" fmla="*/ 576663 h 2493266"/>
                <a:gd name="connsiteX430" fmla="*/ 2187275 w 3135233"/>
                <a:gd name="connsiteY430" fmla="*/ 575035 h 2493266"/>
                <a:gd name="connsiteX431" fmla="*/ 2185202 w 3135233"/>
                <a:gd name="connsiteY431" fmla="*/ 575035 h 2493266"/>
                <a:gd name="connsiteX432" fmla="*/ 2181008 w 3135233"/>
                <a:gd name="connsiteY432" fmla="*/ 583077 h 2493266"/>
                <a:gd name="connsiteX433" fmla="*/ 2172719 w 3135233"/>
                <a:gd name="connsiteY433" fmla="*/ 583077 h 2493266"/>
                <a:gd name="connsiteX434" fmla="*/ 2170598 w 3135233"/>
                <a:gd name="connsiteY434" fmla="*/ 579870 h 2493266"/>
                <a:gd name="connsiteX435" fmla="*/ 2170598 w 3135233"/>
                <a:gd name="connsiteY435" fmla="*/ 571778 h 2493266"/>
                <a:gd name="connsiteX436" fmla="*/ 2168525 w 3135233"/>
                <a:gd name="connsiteY436" fmla="*/ 568571 h 2493266"/>
                <a:gd name="connsiteX437" fmla="*/ 2170598 w 3135233"/>
                <a:gd name="connsiteY437" fmla="*/ 563637 h 2493266"/>
                <a:gd name="connsiteX438" fmla="*/ 2176864 w 3135233"/>
                <a:gd name="connsiteY438" fmla="*/ 560430 h 2493266"/>
                <a:gd name="connsiteX439" fmla="*/ 2178936 w 3135233"/>
                <a:gd name="connsiteY439" fmla="*/ 555496 h 2493266"/>
                <a:gd name="connsiteX440" fmla="*/ 2178936 w 3135233"/>
                <a:gd name="connsiteY440" fmla="*/ 552289 h 2493266"/>
                <a:gd name="connsiteX441" fmla="*/ 2181008 w 3135233"/>
                <a:gd name="connsiteY441" fmla="*/ 547355 h 2493266"/>
                <a:gd name="connsiteX442" fmla="*/ 2185202 w 3135233"/>
                <a:gd name="connsiteY442" fmla="*/ 542421 h 2493266"/>
                <a:gd name="connsiteX443" fmla="*/ 2191419 w 3135233"/>
                <a:gd name="connsiteY443" fmla="*/ 542421 h 2493266"/>
                <a:gd name="connsiteX444" fmla="*/ 2195613 w 3135233"/>
                <a:gd name="connsiteY444" fmla="*/ 539164 h 2493266"/>
                <a:gd name="connsiteX445" fmla="*/ 2203952 w 3135233"/>
                <a:gd name="connsiteY445" fmla="*/ 539164 h 2493266"/>
                <a:gd name="connsiteX446" fmla="*/ 2208145 w 3135233"/>
                <a:gd name="connsiteY446" fmla="*/ 534230 h 2493266"/>
                <a:gd name="connsiteX447" fmla="*/ 2214362 w 3135233"/>
                <a:gd name="connsiteY447" fmla="*/ 532652 h 2493266"/>
                <a:gd name="connsiteX448" fmla="*/ 2218556 w 3135233"/>
                <a:gd name="connsiteY448" fmla="*/ 531023 h 2493266"/>
                <a:gd name="connsiteX449" fmla="*/ 2220629 w 3135233"/>
                <a:gd name="connsiteY449" fmla="*/ 527816 h 2493266"/>
                <a:gd name="connsiteX450" fmla="*/ 2222701 w 3135233"/>
                <a:gd name="connsiteY450" fmla="*/ 526188 h 2493266"/>
                <a:gd name="connsiteX451" fmla="*/ 2228967 w 3135233"/>
                <a:gd name="connsiteY451" fmla="*/ 524560 h 2493266"/>
                <a:gd name="connsiteX452" fmla="*/ 2239378 w 3135233"/>
                <a:gd name="connsiteY452" fmla="*/ 529494 h 2493266"/>
                <a:gd name="connsiteX453" fmla="*/ 2249789 w 3135233"/>
                <a:gd name="connsiteY453" fmla="*/ 529494 h 2493266"/>
                <a:gd name="connsiteX454" fmla="*/ 2253933 w 3135233"/>
                <a:gd name="connsiteY454" fmla="*/ 526287 h 2493266"/>
                <a:gd name="connsiteX455" fmla="*/ 2260199 w 3135233"/>
                <a:gd name="connsiteY455" fmla="*/ 527915 h 2493266"/>
                <a:gd name="connsiteX456" fmla="*/ 2262272 w 3135233"/>
                <a:gd name="connsiteY456" fmla="*/ 534329 h 2493266"/>
                <a:gd name="connsiteX457" fmla="*/ 2268489 w 3135233"/>
                <a:gd name="connsiteY457" fmla="*/ 534329 h 2493266"/>
                <a:gd name="connsiteX458" fmla="*/ 2268489 w 3135233"/>
                <a:gd name="connsiteY458" fmla="*/ 529395 h 2493266"/>
                <a:gd name="connsiteX459" fmla="*/ 2272683 w 3135233"/>
                <a:gd name="connsiteY459" fmla="*/ 529395 h 2493266"/>
                <a:gd name="connsiteX460" fmla="*/ 2278900 w 3135233"/>
                <a:gd name="connsiteY460" fmla="*/ 534329 h 2493266"/>
                <a:gd name="connsiteX461" fmla="*/ 2283093 w 3135233"/>
                <a:gd name="connsiteY461" fmla="*/ 532750 h 2493266"/>
                <a:gd name="connsiteX462" fmla="*/ 2289360 w 3135233"/>
                <a:gd name="connsiteY462" fmla="*/ 534329 h 2493266"/>
                <a:gd name="connsiteX463" fmla="*/ 2291432 w 3135233"/>
                <a:gd name="connsiteY463" fmla="*/ 531122 h 2493266"/>
                <a:gd name="connsiteX464" fmla="*/ 2289360 w 3135233"/>
                <a:gd name="connsiteY464" fmla="*/ 527915 h 2493266"/>
                <a:gd name="connsiteX465" fmla="*/ 2285166 w 3135233"/>
                <a:gd name="connsiteY465" fmla="*/ 529494 h 2493266"/>
                <a:gd name="connsiteX466" fmla="*/ 2278900 w 3135233"/>
                <a:gd name="connsiteY466" fmla="*/ 526287 h 2493266"/>
                <a:gd name="connsiteX467" fmla="*/ 2276877 w 3135233"/>
                <a:gd name="connsiteY467" fmla="*/ 526287 h 2493266"/>
                <a:gd name="connsiteX468" fmla="*/ 2276877 w 3135233"/>
                <a:gd name="connsiteY468" fmla="*/ 522981 h 2493266"/>
                <a:gd name="connsiteX469" fmla="*/ 2281021 w 3135233"/>
                <a:gd name="connsiteY469" fmla="*/ 519774 h 2493266"/>
                <a:gd name="connsiteX470" fmla="*/ 2281021 w 3135233"/>
                <a:gd name="connsiteY470" fmla="*/ 516567 h 2493266"/>
                <a:gd name="connsiteX471" fmla="*/ 2276877 w 3135233"/>
                <a:gd name="connsiteY471" fmla="*/ 514938 h 2493266"/>
                <a:gd name="connsiteX472" fmla="*/ 2276877 w 3135233"/>
                <a:gd name="connsiteY472" fmla="*/ 513113 h 2493266"/>
                <a:gd name="connsiteX473" fmla="*/ 2285166 w 3135233"/>
                <a:gd name="connsiteY473" fmla="*/ 513113 h 2493266"/>
                <a:gd name="connsiteX474" fmla="*/ 2285166 w 3135233"/>
                <a:gd name="connsiteY474" fmla="*/ 511484 h 2493266"/>
                <a:gd name="connsiteX475" fmla="*/ 2278900 w 3135233"/>
                <a:gd name="connsiteY475" fmla="*/ 509906 h 2493266"/>
                <a:gd name="connsiteX476" fmla="*/ 2276877 w 3135233"/>
                <a:gd name="connsiteY476" fmla="*/ 511484 h 2493266"/>
                <a:gd name="connsiteX477" fmla="*/ 2272683 w 3135233"/>
                <a:gd name="connsiteY477" fmla="*/ 511484 h 2493266"/>
                <a:gd name="connsiteX478" fmla="*/ 2268489 w 3135233"/>
                <a:gd name="connsiteY478" fmla="*/ 506550 h 2493266"/>
                <a:gd name="connsiteX479" fmla="*/ 2268489 w 3135233"/>
                <a:gd name="connsiteY479" fmla="*/ 503343 h 2493266"/>
                <a:gd name="connsiteX480" fmla="*/ 2274755 w 3135233"/>
                <a:gd name="connsiteY480" fmla="*/ 498409 h 2493266"/>
                <a:gd name="connsiteX481" fmla="*/ 2274755 w 3135233"/>
                <a:gd name="connsiteY481" fmla="*/ 495153 h 2493266"/>
                <a:gd name="connsiteX482" fmla="*/ 2272683 w 3135233"/>
                <a:gd name="connsiteY482" fmla="*/ 495153 h 2493266"/>
                <a:gd name="connsiteX483" fmla="*/ 2270610 w 3135233"/>
                <a:gd name="connsiteY483" fmla="*/ 490219 h 2493266"/>
                <a:gd name="connsiteX484" fmla="*/ 2270610 w 3135233"/>
                <a:gd name="connsiteY484" fmla="*/ 480351 h 2493266"/>
                <a:gd name="connsiteX485" fmla="*/ 2272683 w 3135233"/>
                <a:gd name="connsiteY485" fmla="*/ 478722 h 2493266"/>
                <a:gd name="connsiteX486" fmla="*/ 2270610 w 3135233"/>
                <a:gd name="connsiteY486" fmla="*/ 472308 h 2493266"/>
                <a:gd name="connsiteX487" fmla="*/ 2270610 w 3135233"/>
                <a:gd name="connsiteY487" fmla="*/ 467374 h 2493266"/>
                <a:gd name="connsiteX488" fmla="*/ 2276877 w 3135233"/>
                <a:gd name="connsiteY488" fmla="*/ 467374 h 2493266"/>
                <a:gd name="connsiteX489" fmla="*/ 2283093 w 3135233"/>
                <a:gd name="connsiteY489" fmla="*/ 465746 h 2493266"/>
                <a:gd name="connsiteX490" fmla="*/ 2291432 w 3135233"/>
                <a:gd name="connsiteY490" fmla="*/ 465746 h 2493266"/>
                <a:gd name="connsiteX491" fmla="*/ 2295577 w 3135233"/>
                <a:gd name="connsiteY491" fmla="*/ 464118 h 2493266"/>
                <a:gd name="connsiteX492" fmla="*/ 2301843 w 3135233"/>
                <a:gd name="connsiteY492" fmla="*/ 467374 h 2493266"/>
                <a:gd name="connsiteX493" fmla="*/ 2308109 w 3135233"/>
                <a:gd name="connsiteY493" fmla="*/ 467374 h 2493266"/>
                <a:gd name="connsiteX494" fmla="*/ 2316398 w 3135233"/>
                <a:gd name="connsiteY494" fmla="*/ 473788 h 2493266"/>
                <a:gd name="connsiteX495" fmla="*/ 2318520 w 3135233"/>
                <a:gd name="connsiteY495" fmla="*/ 486716 h 2493266"/>
                <a:gd name="connsiteX496" fmla="*/ 2318520 w 3135233"/>
                <a:gd name="connsiteY496" fmla="*/ 504478 h 2493266"/>
                <a:gd name="connsiteX497" fmla="*/ 2316398 w 3135233"/>
                <a:gd name="connsiteY497" fmla="*/ 512521 h 2493266"/>
                <a:gd name="connsiteX498" fmla="*/ 2320592 w 3135233"/>
                <a:gd name="connsiteY498" fmla="*/ 514149 h 2493266"/>
                <a:gd name="connsiteX499" fmla="*/ 2324737 w 3135233"/>
                <a:gd name="connsiteY499" fmla="*/ 512521 h 2493266"/>
                <a:gd name="connsiteX500" fmla="*/ 2337269 w 3135233"/>
                <a:gd name="connsiteY500" fmla="*/ 518984 h 2493266"/>
                <a:gd name="connsiteX501" fmla="*/ 2341414 w 3135233"/>
                <a:gd name="connsiteY501" fmla="*/ 525448 h 2493266"/>
                <a:gd name="connsiteX502" fmla="*/ 2345608 w 3135233"/>
                <a:gd name="connsiteY502" fmla="*/ 527076 h 2493266"/>
                <a:gd name="connsiteX503" fmla="*/ 2345608 w 3135233"/>
                <a:gd name="connsiteY503" fmla="*/ 523820 h 2493266"/>
                <a:gd name="connsiteX504" fmla="*/ 2360410 w 3135233"/>
                <a:gd name="connsiteY504" fmla="*/ 522191 h 2493266"/>
                <a:gd name="connsiteX505" fmla="*/ 2370821 w 3135233"/>
                <a:gd name="connsiteY505" fmla="*/ 530283 h 2493266"/>
                <a:gd name="connsiteX506" fmla="*/ 2375015 w 3135233"/>
                <a:gd name="connsiteY506" fmla="*/ 528655 h 2493266"/>
                <a:gd name="connsiteX507" fmla="*/ 2370821 w 3135233"/>
                <a:gd name="connsiteY507" fmla="*/ 523721 h 2493266"/>
                <a:gd name="connsiteX508" fmla="*/ 2375015 w 3135233"/>
                <a:gd name="connsiteY508" fmla="*/ 520514 h 2493266"/>
                <a:gd name="connsiteX509" fmla="*/ 2385425 w 3135233"/>
                <a:gd name="connsiteY509" fmla="*/ 515580 h 2493266"/>
                <a:gd name="connsiteX510" fmla="*/ 2393714 w 3135233"/>
                <a:gd name="connsiteY510" fmla="*/ 507488 h 2493266"/>
                <a:gd name="connsiteX511" fmla="*/ 2406247 w 3135233"/>
                <a:gd name="connsiteY511" fmla="*/ 499445 h 2493266"/>
                <a:gd name="connsiteX512" fmla="*/ 2418730 w 3135233"/>
                <a:gd name="connsiteY512" fmla="*/ 488147 h 2493266"/>
                <a:gd name="connsiteX513" fmla="*/ 2418730 w 3135233"/>
                <a:gd name="connsiteY513" fmla="*/ 483212 h 2493266"/>
                <a:gd name="connsiteX514" fmla="*/ 2424947 w 3135233"/>
                <a:gd name="connsiteY514" fmla="*/ 479956 h 2493266"/>
                <a:gd name="connsiteX515" fmla="*/ 2418730 w 3135233"/>
                <a:gd name="connsiteY515" fmla="*/ 479956 h 2493266"/>
                <a:gd name="connsiteX516" fmla="*/ 2414536 w 3135233"/>
                <a:gd name="connsiteY516" fmla="*/ 483212 h 2493266"/>
                <a:gd name="connsiteX517" fmla="*/ 2414536 w 3135233"/>
                <a:gd name="connsiteY517" fmla="*/ 488147 h 2493266"/>
                <a:gd name="connsiteX518" fmla="*/ 2402102 w 3135233"/>
                <a:gd name="connsiteY518" fmla="*/ 498015 h 2493266"/>
                <a:gd name="connsiteX519" fmla="*/ 2393714 w 3135233"/>
                <a:gd name="connsiteY519" fmla="*/ 502949 h 2493266"/>
                <a:gd name="connsiteX520" fmla="*/ 2393714 w 3135233"/>
                <a:gd name="connsiteY520" fmla="*/ 504577 h 2493266"/>
                <a:gd name="connsiteX521" fmla="*/ 2383057 w 3135233"/>
                <a:gd name="connsiteY521" fmla="*/ 513113 h 2493266"/>
                <a:gd name="connsiteX522" fmla="*/ 2370574 w 3135233"/>
                <a:gd name="connsiteY522" fmla="*/ 518047 h 2493266"/>
                <a:gd name="connsiteX523" fmla="*/ 2366429 w 3135233"/>
                <a:gd name="connsiteY523" fmla="*/ 514840 h 2493266"/>
                <a:gd name="connsiteX524" fmla="*/ 2362235 w 3135233"/>
                <a:gd name="connsiteY524" fmla="*/ 514840 h 2493266"/>
                <a:gd name="connsiteX525" fmla="*/ 2362235 w 3135233"/>
                <a:gd name="connsiteY525" fmla="*/ 516468 h 2493266"/>
                <a:gd name="connsiteX526" fmla="*/ 2353946 w 3135233"/>
                <a:gd name="connsiteY526" fmla="*/ 516468 h 2493266"/>
                <a:gd name="connsiteX527" fmla="*/ 2345608 w 3135233"/>
                <a:gd name="connsiteY527" fmla="*/ 511534 h 2493266"/>
                <a:gd name="connsiteX528" fmla="*/ 2345608 w 3135233"/>
                <a:gd name="connsiteY528" fmla="*/ 508179 h 2493266"/>
                <a:gd name="connsiteX529" fmla="*/ 2351825 w 3135233"/>
                <a:gd name="connsiteY529" fmla="*/ 503245 h 2493266"/>
                <a:gd name="connsiteX530" fmla="*/ 2358091 w 3135233"/>
                <a:gd name="connsiteY530" fmla="*/ 500038 h 2493266"/>
                <a:gd name="connsiteX531" fmla="*/ 2358091 w 3135233"/>
                <a:gd name="connsiteY531" fmla="*/ 493870 h 2493266"/>
                <a:gd name="connsiteX532" fmla="*/ 2349703 w 3135233"/>
                <a:gd name="connsiteY532" fmla="*/ 500334 h 2493266"/>
                <a:gd name="connsiteX533" fmla="*/ 2347631 w 3135233"/>
                <a:gd name="connsiteY533" fmla="*/ 503541 h 2493266"/>
                <a:gd name="connsiteX534" fmla="*/ 2341364 w 3135233"/>
                <a:gd name="connsiteY534" fmla="*/ 503541 h 2493266"/>
                <a:gd name="connsiteX535" fmla="*/ 2337220 w 3135233"/>
                <a:gd name="connsiteY535" fmla="*/ 495449 h 2493266"/>
                <a:gd name="connsiteX536" fmla="*/ 2337220 w 3135233"/>
                <a:gd name="connsiteY536" fmla="*/ 492242 h 2493266"/>
                <a:gd name="connsiteX537" fmla="*/ 2341364 w 3135233"/>
                <a:gd name="connsiteY537" fmla="*/ 492242 h 2493266"/>
                <a:gd name="connsiteX538" fmla="*/ 2347631 w 3135233"/>
                <a:gd name="connsiteY538" fmla="*/ 490614 h 2493266"/>
                <a:gd name="connsiteX539" fmla="*/ 2349703 w 3135233"/>
                <a:gd name="connsiteY539" fmla="*/ 487406 h 2493266"/>
                <a:gd name="connsiteX540" fmla="*/ 2343486 w 3135233"/>
                <a:gd name="connsiteY540" fmla="*/ 487406 h 2493266"/>
                <a:gd name="connsiteX541" fmla="*/ 2343486 w 3135233"/>
                <a:gd name="connsiteY541" fmla="*/ 484199 h 2493266"/>
                <a:gd name="connsiteX542" fmla="*/ 2345558 w 3135233"/>
                <a:gd name="connsiteY542" fmla="*/ 482571 h 2493266"/>
                <a:gd name="connsiteX543" fmla="*/ 2351775 w 3135233"/>
                <a:gd name="connsiteY543" fmla="*/ 484199 h 2493266"/>
                <a:gd name="connsiteX544" fmla="*/ 2355969 w 3135233"/>
                <a:gd name="connsiteY544" fmla="*/ 484199 h 2493266"/>
                <a:gd name="connsiteX545" fmla="*/ 2358041 w 3135233"/>
                <a:gd name="connsiteY545" fmla="*/ 480943 h 2493266"/>
                <a:gd name="connsiteX546" fmla="*/ 2351775 w 3135233"/>
                <a:gd name="connsiteY546" fmla="*/ 480943 h 2493266"/>
                <a:gd name="connsiteX547" fmla="*/ 2347631 w 3135233"/>
                <a:gd name="connsiteY547" fmla="*/ 477736 h 2493266"/>
                <a:gd name="connsiteX548" fmla="*/ 2345558 w 3135233"/>
                <a:gd name="connsiteY548" fmla="*/ 480943 h 2493266"/>
                <a:gd name="connsiteX549" fmla="*/ 2339342 w 3135233"/>
                <a:gd name="connsiteY549" fmla="*/ 480943 h 2493266"/>
                <a:gd name="connsiteX550" fmla="*/ 2337269 w 3135233"/>
                <a:gd name="connsiteY550" fmla="*/ 476009 h 2493266"/>
                <a:gd name="connsiteX551" fmla="*/ 2339342 w 3135233"/>
                <a:gd name="connsiteY551" fmla="*/ 472802 h 2493266"/>
                <a:gd name="connsiteX552" fmla="*/ 2345608 w 3135233"/>
                <a:gd name="connsiteY552" fmla="*/ 471173 h 2493266"/>
                <a:gd name="connsiteX553" fmla="*/ 2349752 w 3135233"/>
                <a:gd name="connsiteY553" fmla="*/ 467966 h 2493266"/>
                <a:gd name="connsiteX554" fmla="*/ 2356019 w 3135233"/>
                <a:gd name="connsiteY554" fmla="*/ 469545 h 2493266"/>
                <a:gd name="connsiteX555" fmla="*/ 2364357 w 3135233"/>
                <a:gd name="connsiteY555" fmla="*/ 471173 h 2493266"/>
                <a:gd name="connsiteX556" fmla="*/ 2368502 w 3135233"/>
                <a:gd name="connsiteY556" fmla="*/ 467966 h 2493266"/>
                <a:gd name="connsiteX557" fmla="*/ 2360163 w 3135233"/>
                <a:gd name="connsiteY557" fmla="*/ 467966 h 2493266"/>
                <a:gd name="connsiteX558" fmla="*/ 2360163 w 3135233"/>
                <a:gd name="connsiteY558" fmla="*/ 464710 h 2493266"/>
                <a:gd name="connsiteX559" fmla="*/ 2366429 w 3135233"/>
                <a:gd name="connsiteY559" fmla="*/ 459776 h 2493266"/>
                <a:gd name="connsiteX560" fmla="*/ 2370574 w 3135233"/>
                <a:gd name="connsiteY560" fmla="*/ 459776 h 2493266"/>
                <a:gd name="connsiteX561" fmla="*/ 2372646 w 3135233"/>
                <a:gd name="connsiteY561" fmla="*/ 456569 h 2493266"/>
                <a:gd name="connsiteX562" fmla="*/ 2368502 w 3135233"/>
                <a:gd name="connsiteY562" fmla="*/ 456569 h 2493266"/>
                <a:gd name="connsiteX563" fmla="*/ 2368502 w 3135233"/>
                <a:gd name="connsiteY563" fmla="*/ 453312 h 2493266"/>
                <a:gd name="connsiteX564" fmla="*/ 2372646 w 3135233"/>
                <a:gd name="connsiteY564" fmla="*/ 448378 h 2493266"/>
                <a:gd name="connsiteX565" fmla="*/ 2378912 w 3135233"/>
                <a:gd name="connsiteY565" fmla="*/ 446750 h 2493266"/>
                <a:gd name="connsiteX566" fmla="*/ 2374768 w 3135233"/>
                <a:gd name="connsiteY566" fmla="*/ 441816 h 2493266"/>
                <a:gd name="connsiteX567" fmla="*/ 2385179 w 3135233"/>
                <a:gd name="connsiteY567" fmla="*/ 430517 h 2493266"/>
                <a:gd name="connsiteX568" fmla="*/ 2391396 w 3135233"/>
                <a:gd name="connsiteY568" fmla="*/ 427310 h 2493266"/>
                <a:gd name="connsiteX569" fmla="*/ 2391396 w 3135233"/>
                <a:gd name="connsiteY569" fmla="*/ 424300 h 2493266"/>
                <a:gd name="connsiteX570" fmla="*/ 2385179 w 3135233"/>
                <a:gd name="connsiteY570" fmla="*/ 424300 h 2493266"/>
                <a:gd name="connsiteX571" fmla="*/ 2376840 w 3135233"/>
                <a:gd name="connsiteY571" fmla="*/ 435550 h 2493266"/>
                <a:gd name="connsiteX572" fmla="*/ 2368502 w 3135233"/>
                <a:gd name="connsiteY572" fmla="*/ 448477 h 2493266"/>
                <a:gd name="connsiteX573" fmla="*/ 2358091 w 3135233"/>
                <a:gd name="connsiteY573" fmla="*/ 454940 h 2493266"/>
                <a:gd name="connsiteX574" fmla="*/ 2349703 w 3135233"/>
                <a:gd name="connsiteY574" fmla="*/ 463180 h 2493266"/>
                <a:gd name="connsiteX575" fmla="*/ 2343486 w 3135233"/>
                <a:gd name="connsiteY575" fmla="*/ 461601 h 2493266"/>
                <a:gd name="connsiteX576" fmla="*/ 2333075 w 3135233"/>
                <a:gd name="connsiteY576" fmla="*/ 461601 h 2493266"/>
                <a:gd name="connsiteX577" fmla="*/ 2333075 w 3135233"/>
                <a:gd name="connsiteY577" fmla="*/ 456667 h 2493266"/>
                <a:gd name="connsiteX578" fmla="*/ 2337220 w 3135233"/>
                <a:gd name="connsiteY578" fmla="*/ 450204 h 2493266"/>
                <a:gd name="connsiteX579" fmla="*/ 2345558 w 3135233"/>
                <a:gd name="connsiteY579" fmla="*/ 448576 h 2493266"/>
                <a:gd name="connsiteX580" fmla="*/ 2345558 w 3135233"/>
                <a:gd name="connsiteY580" fmla="*/ 442112 h 2493266"/>
                <a:gd name="connsiteX581" fmla="*/ 2335098 w 3135233"/>
                <a:gd name="connsiteY581" fmla="*/ 448576 h 2493266"/>
                <a:gd name="connsiteX582" fmla="*/ 2324687 w 3135233"/>
                <a:gd name="connsiteY582" fmla="*/ 446947 h 2493266"/>
                <a:gd name="connsiteX583" fmla="*/ 2324687 w 3135233"/>
                <a:gd name="connsiteY583" fmla="*/ 451881 h 2493266"/>
                <a:gd name="connsiteX584" fmla="*/ 2318470 w 3135233"/>
                <a:gd name="connsiteY584" fmla="*/ 455088 h 2493266"/>
                <a:gd name="connsiteX585" fmla="*/ 2310231 w 3135233"/>
                <a:gd name="connsiteY585" fmla="*/ 455088 h 2493266"/>
                <a:gd name="connsiteX586" fmla="*/ 2301892 w 3135233"/>
                <a:gd name="connsiteY586" fmla="*/ 448625 h 2493266"/>
                <a:gd name="connsiteX587" fmla="*/ 2306037 w 3135233"/>
                <a:gd name="connsiteY587" fmla="*/ 445418 h 2493266"/>
                <a:gd name="connsiteX588" fmla="*/ 2312352 w 3135233"/>
                <a:gd name="connsiteY588" fmla="*/ 443790 h 2493266"/>
                <a:gd name="connsiteX589" fmla="*/ 2310231 w 3135233"/>
                <a:gd name="connsiteY589" fmla="*/ 440582 h 2493266"/>
                <a:gd name="connsiteX590" fmla="*/ 2306037 w 3135233"/>
                <a:gd name="connsiteY590" fmla="*/ 440582 h 2493266"/>
                <a:gd name="connsiteX591" fmla="*/ 2306037 w 3135233"/>
                <a:gd name="connsiteY591" fmla="*/ 434168 h 2493266"/>
                <a:gd name="connsiteX592" fmla="*/ 2314375 w 3135233"/>
                <a:gd name="connsiteY592" fmla="*/ 427705 h 2493266"/>
                <a:gd name="connsiteX593" fmla="*/ 2316448 w 3135233"/>
                <a:gd name="connsiteY593" fmla="*/ 422771 h 2493266"/>
                <a:gd name="connsiteX594" fmla="*/ 2324786 w 3135233"/>
                <a:gd name="connsiteY594" fmla="*/ 421142 h 2493266"/>
                <a:gd name="connsiteX595" fmla="*/ 2331052 w 3135233"/>
                <a:gd name="connsiteY595" fmla="*/ 416208 h 2493266"/>
                <a:gd name="connsiteX596" fmla="*/ 2337318 w 3135233"/>
                <a:gd name="connsiteY596" fmla="*/ 416208 h 2493266"/>
                <a:gd name="connsiteX597" fmla="*/ 2339391 w 3135233"/>
                <a:gd name="connsiteY597" fmla="*/ 408166 h 2493266"/>
                <a:gd name="connsiteX598" fmla="*/ 2343585 w 3135233"/>
                <a:gd name="connsiteY598" fmla="*/ 400074 h 2493266"/>
                <a:gd name="connsiteX599" fmla="*/ 2353996 w 3135233"/>
                <a:gd name="connsiteY599" fmla="*/ 390206 h 2493266"/>
                <a:gd name="connsiteX600" fmla="*/ 2358140 w 3135233"/>
                <a:gd name="connsiteY600" fmla="*/ 391785 h 2493266"/>
                <a:gd name="connsiteX601" fmla="*/ 2372695 w 3135233"/>
                <a:gd name="connsiteY601" fmla="*/ 388578 h 2493266"/>
                <a:gd name="connsiteX602" fmla="*/ 2383106 w 3135233"/>
                <a:gd name="connsiteY602" fmla="*/ 391785 h 2493266"/>
                <a:gd name="connsiteX603" fmla="*/ 2389372 w 3135233"/>
                <a:gd name="connsiteY603" fmla="*/ 388578 h 2493266"/>
                <a:gd name="connsiteX604" fmla="*/ 2395639 w 3135233"/>
                <a:gd name="connsiteY604" fmla="*/ 388578 h 2493266"/>
                <a:gd name="connsiteX605" fmla="*/ 2401905 w 3135233"/>
                <a:gd name="connsiteY605" fmla="*/ 383644 h 2493266"/>
                <a:gd name="connsiteX606" fmla="*/ 2408122 w 3135233"/>
                <a:gd name="connsiteY606" fmla="*/ 383644 h 2493266"/>
                <a:gd name="connsiteX607" fmla="*/ 2408122 w 3135233"/>
                <a:gd name="connsiteY607" fmla="*/ 385272 h 2493266"/>
                <a:gd name="connsiteX608" fmla="*/ 2416461 w 3135233"/>
                <a:gd name="connsiteY608" fmla="*/ 393314 h 2493266"/>
                <a:gd name="connsiteX609" fmla="*/ 2422727 w 3135233"/>
                <a:gd name="connsiteY609" fmla="*/ 394943 h 2493266"/>
                <a:gd name="connsiteX610" fmla="*/ 2437529 w 3135233"/>
                <a:gd name="connsiteY610" fmla="*/ 402985 h 2493266"/>
                <a:gd name="connsiteX611" fmla="*/ 2441723 w 3135233"/>
                <a:gd name="connsiteY611" fmla="*/ 407919 h 2493266"/>
                <a:gd name="connsiteX612" fmla="*/ 2445867 w 3135233"/>
                <a:gd name="connsiteY612" fmla="*/ 412853 h 2493266"/>
                <a:gd name="connsiteX613" fmla="*/ 2450012 w 3135233"/>
                <a:gd name="connsiteY613" fmla="*/ 412853 h 2493266"/>
                <a:gd name="connsiteX614" fmla="*/ 2458351 w 3135233"/>
                <a:gd name="connsiteY614" fmla="*/ 425731 h 2493266"/>
                <a:gd name="connsiteX615" fmla="*/ 2458351 w 3135233"/>
                <a:gd name="connsiteY615" fmla="*/ 417689 h 2493266"/>
                <a:gd name="connsiteX616" fmla="*/ 2464617 w 3135233"/>
                <a:gd name="connsiteY616" fmla="*/ 416060 h 2493266"/>
                <a:gd name="connsiteX617" fmla="*/ 2464617 w 3135233"/>
                <a:gd name="connsiteY617" fmla="*/ 412853 h 2493266"/>
                <a:gd name="connsiteX618" fmla="*/ 2456278 w 3135233"/>
                <a:gd name="connsiteY618" fmla="*/ 411225 h 2493266"/>
                <a:gd name="connsiteX619" fmla="*/ 2452134 w 3135233"/>
                <a:gd name="connsiteY619" fmla="*/ 411225 h 2493266"/>
                <a:gd name="connsiteX620" fmla="*/ 2452134 w 3135233"/>
                <a:gd name="connsiteY620" fmla="*/ 406291 h 2493266"/>
                <a:gd name="connsiteX621" fmla="*/ 2458351 w 3135233"/>
                <a:gd name="connsiteY621" fmla="*/ 403034 h 2493266"/>
                <a:gd name="connsiteX622" fmla="*/ 2473153 w 3135233"/>
                <a:gd name="connsiteY622" fmla="*/ 403034 h 2493266"/>
                <a:gd name="connsiteX623" fmla="*/ 2481442 w 3135233"/>
                <a:gd name="connsiteY623" fmla="*/ 406291 h 2493266"/>
                <a:gd name="connsiteX624" fmla="*/ 2483563 w 3135233"/>
                <a:gd name="connsiteY624" fmla="*/ 404663 h 2493266"/>
                <a:gd name="connsiteX625" fmla="*/ 2483563 w 3135233"/>
                <a:gd name="connsiteY625" fmla="*/ 396620 h 2493266"/>
                <a:gd name="connsiteX626" fmla="*/ 2487708 w 3135233"/>
                <a:gd name="connsiteY626" fmla="*/ 390157 h 2493266"/>
                <a:gd name="connsiteX627" fmla="*/ 2487708 w 3135233"/>
                <a:gd name="connsiteY627" fmla="*/ 386900 h 2493266"/>
                <a:gd name="connsiteX628" fmla="*/ 2483563 w 3135233"/>
                <a:gd name="connsiteY628" fmla="*/ 388528 h 2493266"/>
                <a:gd name="connsiteX629" fmla="*/ 2481442 w 3135233"/>
                <a:gd name="connsiteY629" fmla="*/ 393462 h 2493266"/>
                <a:gd name="connsiteX630" fmla="*/ 2475225 w 3135233"/>
                <a:gd name="connsiteY630" fmla="*/ 396719 h 2493266"/>
                <a:gd name="connsiteX631" fmla="*/ 2469008 w 3135233"/>
                <a:gd name="connsiteY631" fmla="*/ 401653 h 2493266"/>
                <a:gd name="connsiteX632" fmla="*/ 2456476 w 3135233"/>
                <a:gd name="connsiteY632" fmla="*/ 396719 h 2493266"/>
                <a:gd name="connsiteX633" fmla="*/ 2446065 w 3135233"/>
                <a:gd name="connsiteY633" fmla="*/ 396719 h 2493266"/>
                <a:gd name="connsiteX634" fmla="*/ 2439798 w 3135233"/>
                <a:gd name="connsiteY634" fmla="*/ 391785 h 2493266"/>
                <a:gd name="connsiteX635" fmla="*/ 2435654 w 3135233"/>
                <a:gd name="connsiteY635" fmla="*/ 390206 h 2493266"/>
                <a:gd name="connsiteX636" fmla="*/ 2424700 w 3135233"/>
                <a:gd name="connsiteY636" fmla="*/ 390206 h 2493266"/>
                <a:gd name="connsiteX637" fmla="*/ 2416411 w 3135233"/>
                <a:gd name="connsiteY637" fmla="*/ 377279 h 2493266"/>
                <a:gd name="connsiteX638" fmla="*/ 2414290 w 3135233"/>
                <a:gd name="connsiteY638" fmla="*/ 365980 h 2493266"/>
                <a:gd name="connsiteX639" fmla="*/ 2418483 w 3135233"/>
                <a:gd name="connsiteY639" fmla="*/ 362773 h 2493266"/>
                <a:gd name="connsiteX640" fmla="*/ 2426822 w 3135233"/>
                <a:gd name="connsiteY640" fmla="*/ 367707 h 2493266"/>
                <a:gd name="connsiteX641" fmla="*/ 2428894 w 3135233"/>
                <a:gd name="connsiteY641" fmla="*/ 372641 h 2493266"/>
                <a:gd name="connsiteX642" fmla="*/ 2431016 w 3135233"/>
                <a:gd name="connsiteY642" fmla="*/ 377575 h 2493266"/>
                <a:gd name="connsiteX643" fmla="*/ 2435160 w 3135233"/>
                <a:gd name="connsiteY643" fmla="*/ 369532 h 2493266"/>
                <a:gd name="connsiteX644" fmla="*/ 2439305 w 3135233"/>
                <a:gd name="connsiteY644" fmla="*/ 361441 h 2493266"/>
                <a:gd name="connsiteX645" fmla="*/ 2433088 w 3135233"/>
                <a:gd name="connsiteY645" fmla="*/ 363069 h 2493266"/>
                <a:gd name="connsiteX646" fmla="*/ 2431016 w 3135233"/>
                <a:gd name="connsiteY646" fmla="*/ 361441 h 2493266"/>
                <a:gd name="connsiteX647" fmla="*/ 2431016 w 3135233"/>
                <a:gd name="connsiteY647" fmla="*/ 355224 h 2493266"/>
                <a:gd name="connsiteX648" fmla="*/ 2437233 w 3135233"/>
                <a:gd name="connsiteY648" fmla="*/ 345356 h 2493266"/>
                <a:gd name="connsiteX649" fmla="*/ 2435160 w 3135233"/>
                <a:gd name="connsiteY649" fmla="*/ 337313 h 2493266"/>
                <a:gd name="connsiteX650" fmla="*/ 2441427 w 3135233"/>
                <a:gd name="connsiteY650" fmla="*/ 327445 h 2493266"/>
                <a:gd name="connsiteX651" fmla="*/ 2439305 w 3135233"/>
                <a:gd name="connsiteY651" fmla="*/ 311311 h 2493266"/>
                <a:gd name="connsiteX652" fmla="*/ 2435160 w 3135233"/>
                <a:gd name="connsiteY652" fmla="*/ 301443 h 2493266"/>
                <a:gd name="connsiteX653" fmla="*/ 2431016 w 3135233"/>
                <a:gd name="connsiteY653" fmla="*/ 299814 h 2493266"/>
                <a:gd name="connsiteX654" fmla="*/ 2428894 w 3135233"/>
                <a:gd name="connsiteY654" fmla="*/ 293400 h 2493266"/>
                <a:gd name="connsiteX655" fmla="*/ 2428894 w 3135233"/>
                <a:gd name="connsiteY655" fmla="*/ 288466 h 2493266"/>
                <a:gd name="connsiteX656" fmla="*/ 2435160 w 3135233"/>
                <a:gd name="connsiteY656" fmla="*/ 286838 h 2493266"/>
                <a:gd name="connsiteX657" fmla="*/ 2437233 w 3135233"/>
                <a:gd name="connsiteY657" fmla="*/ 285210 h 2493266"/>
                <a:gd name="connsiteX658" fmla="*/ 2441427 w 3135233"/>
                <a:gd name="connsiteY658" fmla="*/ 288466 h 2493266"/>
                <a:gd name="connsiteX659" fmla="*/ 2447643 w 3135233"/>
                <a:gd name="connsiteY659" fmla="*/ 290045 h 2493266"/>
                <a:gd name="connsiteX660" fmla="*/ 2451838 w 3135233"/>
                <a:gd name="connsiteY660" fmla="*/ 296509 h 2493266"/>
                <a:gd name="connsiteX661" fmla="*/ 2453910 w 3135233"/>
                <a:gd name="connsiteY661" fmla="*/ 296509 h 2493266"/>
                <a:gd name="connsiteX662" fmla="*/ 2453910 w 3135233"/>
                <a:gd name="connsiteY662" fmla="*/ 291575 h 2493266"/>
                <a:gd name="connsiteX663" fmla="*/ 2449716 w 3135233"/>
                <a:gd name="connsiteY663" fmla="*/ 283483 h 2493266"/>
                <a:gd name="connsiteX664" fmla="*/ 2443450 w 3135233"/>
                <a:gd name="connsiteY664" fmla="*/ 282496 h 2493266"/>
                <a:gd name="connsiteX665" fmla="*/ 2439256 w 3135233"/>
                <a:gd name="connsiteY665" fmla="*/ 279239 h 2493266"/>
                <a:gd name="connsiteX666" fmla="*/ 2437183 w 3135233"/>
                <a:gd name="connsiteY666" fmla="*/ 272776 h 2493266"/>
                <a:gd name="connsiteX667" fmla="*/ 2441377 w 3135233"/>
                <a:gd name="connsiteY667" fmla="*/ 266362 h 2493266"/>
                <a:gd name="connsiteX668" fmla="*/ 2462199 w 3135233"/>
                <a:gd name="connsiteY668" fmla="*/ 245392 h 2493266"/>
                <a:gd name="connsiteX669" fmla="*/ 2472610 w 3135233"/>
                <a:gd name="connsiteY669" fmla="*/ 243764 h 2493266"/>
                <a:gd name="connsiteX670" fmla="*/ 2478876 w 3135233"/>
                <a:gd name="connsiteY670" fmla="*/ 245392 h 2493266"/>
                <a:gd name="connsiteX671" fmla="*/ 2482922 w 3135233"/>
                <a:gd name="connsiteY671" fmla="*/ 251609 h 2493266"/>
                <a:gd name="connsiteX672" fmla="*/ 2491260 w 3135233"/>
                <a:gd name="connsiteY672" fmla="*/ 256543 h 2493266"/>
                <a:gd name="connsiteX673" fmla="*/ 2497724 w 3135233"/>
                <a:gd name="connsiteY673" fmla="*/ 256543 h 2493266"/>
                <a:gd name="connsiteX674" fmla="*/ 2512526 w 3135233"/>
                <a:gd name="connsiteY674" fmla="*/ 266411 h 2493266"/>
                <a:gd name="connsiteX675" fmla="*/ 2512526 w 3135233"/>
                <a:gd name="connsiteY675" fmla="*/ 272825 h 2493266"/>
                <a:gd name="connsiteX676" fmla="*/ 2520865 w 3135233"/>
                <a:gd name="connsiteY676" fmla="*/ 280917 h 2493266"/>
                <a:gd name="connsiteX677" fmla="*/ 2525058 w 3135233"/>
                <a:gd name="connsiteY677" fmla="*/ 295423 h 2493266"/>
                <a:gd name="connsiteX678" fmla="*/ 2525058 w 3135233"/>
                <a:gd name="connsiteY678" fmla="*/ 318021 h 2493266"/>
                <a:gd name="connsiteX679" fmla="*/ 2531275 w 3135233"/>
                <a:gd name="connsiteY679" fmla="*/ 322955 h 2493266"/>
                <a:gd name="connsiteX680" fmla="*/ 2533348 w 3135233"/>
                <a:gd name="connsiteY680" fmla="*/ 319748 h 2493266"/>
                <a:gd name="connsiteX681" fmla="*/ 2535469 w 3135233"/>
                <a:gd name="connsiteY681" fmla="*/ 319748 h 2493266"/>
                <a:gd name="connsiteX682" fmla="*/ 2543759 w 3135233"/>
                <a:gd name="connsiteY682" fmla="*/ 324682 h 2493266"/>
                <a:gd name="connsiteX683" fmla="*/ 2543759 w 3135233"/>
                <a:gd name="connsiteY683" fmla="*/ 331146 h 2493266"/>
                <a:gd name="connsiteX684" fmla="*/ 2545880 w 3135233"/>
                <a:gd name="connsiteY684" fmla="*/ 326212 h 2493266"/>
                <a:gd name="connsiteX685" fmla="*/ 2550025 w 3135233"/>
                <a:gd name="connsiteY685" fmla="*/ 324583 h 2493266"/>
                <a:gd name="connsiteX686" fmla="*/ 2558363 w 3135233"/>
                <a:gd name="connsiteY686" fmla="*/ 324583 h 2493266"/>
                <a:gd name="connsiteX687" fmla="*/ 2551998 w 3135233"/>
                <a:gd name="connsiteY687" fmla="*/ 321228 h 2493266"/>
                <a:gd name="connsiteX688" fmla="*/ 2543660 w 3135233"/>
                <a:gd name="connsiteY688" fmla="*/ 321228 h 2493266"/>
                <a:gd name="connsiteX689" fmla="*/ 2539515 w 3135233"/>
                <a:gd name="connsiteY689" fmla="*/ 314765 h 2493266"/>
                <a:gd name="connsiteX690" fmla="*/ 2533249 w 3135233"/>
                <a:gd name="connsiteY690" fmla="*/ 311508 h 2493266"/>
                <a:gd name="connsiteX691" fmla="*/ 2533249 w 3135233"/>
                <a:gd name="connsiteY691" fmla="*/ 308301 h 2493266"/>
                <a:gd name="connsiteX692" fmla="*/ 2541588 w 3135233"/>
                <a:gd name="connsiteY692" fmla="*/ 301837 h 2493266"/>
                <a:gd name="connsiteX693" fmla="*/ 2539515 w 3135233"/>
                <a:gd name="connsiteY693" fmla="*/ 298630 h 2493266"/>
                <a:gd name="connsiteX694" fmla="*/ 2539515 w 3135233"/>
                <a:gd name="connsiteY694" fmla="*/ 276279 h 2493266"/>
                <a:gd name="connsiteX695" fmla="*/ 2537196 w 3135233"/>
                <a:gd name="connsiteY695" fmla="*/ 269569 h 2493266"/>
                <a:gd name="connsiteX696" fmla="*/ 2539318 w 3135233"/>
                <a:gd name="connsiteY696" fmla="*/ 263105 h 2493266"/>
                <a:gd name="connsiteX697" fmla="*/ 2551998 w 3135233"/>
                <a:gd name="connsiteY697" fmla="*/ 263105 h 2493266"/>
                <a:gd name="connsiteX698" fmla="*/ 2558265 w 3135233"/>
                <a:gd name="connsiteY698" fmla="*/ 264733 h 2493266"/>
                <a:gd name="connsiteX699" fmla="*/ 2566603 w 3135233"/>
                <a:gd name="connsiteY699" fmla="*/ 267941 h 2493266"/>
                <a:gd name="connsiteX700" fmla="*/ 2576669 w 3135233"/>
                <a:gd name="connsiteY700" fmla="*/ 267941 h 2493266"/>
                <a:gd name="connsiteX701" fmla="*/ 2589152 w 3135233"/>
                <a:gd name="connsiteY701" fmla="*/ 271197 h 2493266"/>
                <a:gd name="connsiteX702" fmla="*/ 2601635 w 3135233"/>
                <a:gd name="connsiteY702" fmla="*/ 271197 h 2493266"/>
                <a:gd name="connsiteX703" fmla="*/ 2614167 w 3135233"/>
                <a:gd name="connsiteY703" fmla="*/ 266263 h 2493266"/>
                <a:gd name="connsiteX704" fmla="*/ 2620384 w 3135233"/>
                <a:gd name="connsiteY704" fmla="*/ 267842 h 2493266"/>
                <a:gd name="connsiteX705" fmla="*/ 2626601 w 3135233"/>
                <a:gd name="connsiteY705" fmla="*/ 272776 h 2493266"/>
                <a:gd name="connsiteX706" fmla="*/ 2641403 w 3135233"/>
                <a:gd name="connsiteY706" fmla="*/ 274404 h 2493266"/>
                <a:gd name="connsiteX707" fmla="*/ 2647669 w 3135233"/>
                <a:gd name="connsiteY707" fmla="*/ 277661 h 2493266"/>
                <a:gd name="connsiteX708" fmla="*/ 2656008 w 3135233"/>
                <a:gd name="connsiteY708" fmla="*/ 276032 h 2493266"/>
                <a:gd name="connsiteX709" fmla="*/ 2656008 w 3135233"/>
                <a:gd name="connsiteY709" fmla="*/ 272776 h 2493266"/>
                <a:gd name="connsiteX710" fmla="*/ 2649742 w 3135233"/>
                <a:gd name="connsiteY710" fmla="*/ 269569 h 2493266"/>
                <a:gd name="connsiteX711" fmla="*/ 2639331 w 3135233"/>
                <a:gd name="connsiteY711" fmla="*/ 269569 h 2493266"/>
                <a:gd name="connsiteX712" fmla="*/ 2628871 w 3135233"/>
                <a:gd name="connsiteY712" fmla="*/ 266411 h 2493266"/>
                <a:gd name="connsiteX713" fmla="*/ 2624726 w 3135233"/>
                <a:gd name="connsiteY713" fmla="*/ 263155 h 2493266"/>
                <a:gd name="connsiteX714" fmla="*/ 2626749 w 3135233"/>
                <a:gd name="connsiteY714" fmla="*/ 261576 h 2493266"/>
                <a:gd name="connsiteX715" fmla="*/ 2630943 w 3135233"/>
                <a:gd name="connsiteY715" fmla="*/ 261576 h 2493266"/>
                <a:gd name="connsiteX716" fmla="*/ 2641354 w 3135233"/>
                <a:gd name="connsiteY716" fmla="*/ 258319 h 2493266"/>
                <a:gd name="connsiteX717" fmla="*/ 2666369 w 3135233"/>
                <a:gd name="connsiteY717" fmla="*/ 255112 h 2493266"/>
                <a:gd name="connsiteX718" fmla="*/ 2682997 w 3135233"/>
                <a:gd name="connsiteY718" fmla="*/ 255112 h 2493266"/>
                <a:gd name="connsiteX719" fmla="*/ 2697799 w 3135233"/>
                <a:gd name="connsiteY719" fmla="*/ 258319 h 2493266"/>
                <a:gd name="connsiteX720" fmla="*/ 2706138 w 3135233"/>
                <a:gd name="connsiteY720" fmla="*/ 264783 h 2493266"/>
                <a:gd name="connsiteX721" fmla="*/ 2709888 w 3135233"/>
                <a:gd name="connsiteY721" fmla="*/ 261477 h 2493266"/>
                <a:gd name="connsiteX722" fmla="*/ 2720298 w 3135233"/>
                <a:gd name="connsiteY722" fmla="*/ 259849 h 2493266"/>
                <a:gd name="connsiteX723" fmla="*/ 2716154 w 3135233"/>
                <a:gd name="connsiteY723" fmla="*/ 256642 h 2493266"/>
                <a:gd name="connsiteX724" fmla="*/ 2712009 w 3135233"/>
                <a:gd name="connsiteY724" fmla="*/ 256642 h 2493266"/>
                <a:gd name="connsiteX725" fmla="*/ 2705743 w 3135233"/>
                <a:gd name="connsiteY725" fmla="*/ 253385 h 2493266"/>
                <a:gd name="connsiteX726" fmla="*/ 2705743 w 3135233"/>
                <a:gd name="connsiteY726" fmla="*/ 250178 h 2493266"/>
                <a:gd name="connsiteX727" fmla="*/ 2697404 w 3135233"/>
                <a:gd name="connsiteY727" fmla="*/ 246922 h 2493266"/>
                <a:gd name="connsiteX728" fmla="*/ 2689066 w 3135233"/>
                <a:gd name="connsiteY728" fmla="*/ 246922 h 2493266"/>
                <a:gd name="connsiteX729" fmla="*/ 2684921 w 3135233"/>
                <a:gd name="connsiteY729" fmla="*/ 243714 h 2493266"/>
                <a:gd name="connsiteX730" fmla="*/ 2666172 w 3135233"/>
                <a:gd name="connsiteY730" fmla="*/ 245343 h 2493266"/>
                <a:gd name="connsiteX731" fmla="*/ 2666172 w 3135233"/>
                <a:gd name="connsiteY731" fmla="*/ 243714 h 2493266"/>
                <a:gd name="connsiteX732" fmla="*/ 2670366 w 3135233"/>
                <a:gd name="connsiteY732" fmla="*/ 240458 h 2493266"/>
                <a:gd name="connsiteX733" fmla="*/ 2674511 w 3135233"/>
                <a:gd name="connsiteY733" fmla="*/ 232415 h 2493266"/>
                <a:gd name="connsiteX734" fmla="*/ 2682800 w 3135233"/>
                <a:gd name="connsiteY734" fmla="*/ 230787 h 2493266"/>
                <a:gd name="connsiteX735" fmla="*/ 2689066 w 3135233"/>
                <a:gd name="connsiteY735" fmla="*/ 225853 h 2493266"/>
                <a:gd name="connsiteX736" fmla="*/ 2693210 w 3135233"/>
                <a:gd name="connsiteY736" fmla="*/ 217811 h 2493266"/>
                <a:gd name="connsiteX737" fmla="*/ 2712009 w 3135233"/>
                <a:gd name="connsiteY737" fmla="*/ 207943 h 2493266"/>
                <a:gd name="connsiteX738" fmla="*/ 2722420 w 3135233"/>
                <a:gd name="connsiteY738" fmla="*/ 206364 h 2493266"/>
                <a:gd name="connsiteX739" fmla="*/ 2739492 w 3135233"/>
                <a:gd name="connsiteY739" fmla="*/ 200196 h 2493266"/>
                <a:gd name="connsiteX740" fmla="*/ 2741564 w 3135233"/>
                <a:gd name="connsiteY740" fmla="*/ 196940 h 2493266"/>
                <a:gd name="connsiteX741" fmla="*/ 2720742 w 3135233"/>
                <a:gd name="connsiteY741" fmla="*/ 203403 h 2493266"/>
                <a:gd name="connsiteX742" fmla="*/ 2706187 w 3135233"/>
                <a:gd name="connsiteY742" fmla="*/ 205032 h 2493266"/>
                <a:gd name="connsiteX743" fmla="*/ 2687438 w 3135233"/>
                <a:gd name="connsiteY743" fmla="*/ 216331 h 2493266"/>
                <a:gd name="connsiteX744" fmla="*/ 2687438 w 3135233"/>
                <a:gd name="connsiteY744" fmla="*/ 222794 h 2493266"/>
                <a:gd name="connsiteX745" fmla="*/ 2683244 w 3135233"/>
                <a:gd name="connsiteY745" fmla="*/ 222794 h 2493266"/>
                <a:gd name="connsiteX746" fmla="*/ 2681221 w 3135233"/>
                <a:gd name="connsiteY746" fmla="*/ 216331 h 2493266"/>
                <a:gd name="connsiteX747" fmla="*/ 2677027 w 3135233"/>
                <a:gd name="connsiteY747" fmla="*/ 216331 h 2493266"/>
                <a:gd name="connsiteX748" fmla="*/ 2672833 w 3135233"/>
                <a:gd name="connsiteY748" fmla="*/ 222794 h 2493266"/>
                <a:gd name="connsiteX749" fmla="*/ 2666616 w 3135233"/>
                <a:gd name="connsiteY749" fmla="*/ 222794 h 2493266"/>
                <a:gd name="connsiteX750" fmla="*/ 2658277 w 3135233"/>
                <a:gd name="connsiteY750" fmla="*/ 232662 h 2493266"/>
                <a:gd name="connsiteX751" fmla="*/ 2660350 w 3135233"/>
                <a:gd name="connsiteY751" fmla="*/ 232662 h 2493266"/>
                <a:gd name="connsiteX752" fmla="*/ 2662422 w 3135233"/>
                <a:gd name="connsiteY752" fmla="*/ 235869 h 2493266"/>
                <a:gd name="connsiteX753" fmla="*/ 2649939 w 3135233"/>
                <a:gd name="connsiteY753" fmla="*/ 243961 h 2493266"/>
                <a:gd name="connsiteX754" fmla="*/ 2641600 w 3135233"/>
                <a:gd name="connsiteY754" fmla="*/ 245589 h 2493266"/>
                <a:gd name="connsiteX755" fmla="*/ 2616585 w 3135233"/>
                <a:gd name="connsiteY755" fmla="*/ 255457 h 2493266"/>
                <a:gd name="connsiteX756" fmla="*/ 2581208 w 3135233"/>
                <a:gd name="connsiteY756" fmla="*/ 255457 h 2493266"/>
                <a:gd name="connsiteX757" fmla="*/ 2570797 w 3135233"/>
                <a:gd name="connsiteY757" fmla="*/ 247366 h 2493266"/>
                <a:gd name="connsiteX758" fmla="*/ 2560386 w 3135233"/>
                <a:gd name="connsiteY758" fmla="*/ 248994 h 2493266"/>
                <a:gd name="connsiteX759" fmla="*/ 2556242 w 3135233"/>
                <a:gd name="connsiteY759" fmla="*/ 247366 h 2493266"/>
                <a:gd name="connsiteX760" fmla="*/ 2554120 w 3135233"/>
                <a:gd name="connsiteY760" fmla="*/ 242432 h 2493266"/>
                <a:gd name="connsiteX761" fmla="*/ 2564531 w 3135233"/>
                <a:gd name="connsiteY761" fmla="*/ 234389 h 2493266"/>
                <a:gd name="connsiteX762" fmla="*/ 2572869 w 3135233"/>
                <a:gd name="connsiteY762" fmla="*/ 234389 h 2493266"/>
                <a:gd name="connsiteX763" fmla="*/ 2579136 w 3135233"/>
                <a:gd name="connsiteY763" fmla="*/ 232761 h 2493266"/>
                <a:gd name="connsiteX764" fmla="*/ 2593691 w 3135233"/>
                <a:gd name="connsiteY764" fmla="*/ 231133 h 2493266"/>
                <a:gd name="connsiteX765" fmla="*/ 2599957 w 3135233"/>
                <a:gd name="connsiteY765" fmla="*/ 226199 h 2493266"/>
                <a:gd name="connsiteX766" fmla="*/ 2593691 w 3135233"/>
                <a:gd name="connsiteY766" fmla="*/ 224570 h 2493266"/>
                <a:gd name="connsiteX767" fmla="*/ 2585353 w 3135233"/>
                <a:gd name="connsiteY767" fmla="*/ 227827 h 2493266"/>
                <a:gd name="connsiteX768" fmla="*/ 2576669 w 3135233"/>
                <a:gd name="connsiteY768" fmla="*/ 227827 h 2493266"/>
                <a:gd name="connsiteX769" fmla="*/ 2566258 w 3135233"/>
                <a:gd name="connsiteY769" fmla="*/ 231034 h 2493266"/>
                <a:gd name="connsiteX770" fmla="*/ 2559992 w 3135233"/>
                <a:gd name="connsiteY770" fmla="*/ 229455 h 2493266"/>
                <a:gd name="connsiteX771" fmla="*/ 2559992 w 3135233"/>
                <a:gd name="connsiteY771" fmla="*/ 224521 h 2493266"/>
                <a:gd name="connsiteX772" fmla="*/ 2568330 w 3135233"/>
                <a:gd name="connsiteY772" fmla="*/ 219587 h 2493266"/>
                <a:gd name="connsiteX773" fmla="*/ 2562064 w 3135233"/>
                <a:gd name="connsiteY773" fmla="*/ 219587 h 2493266"/>
                <a:gd name="connsiteX774" fmla="*/ 2551653 w 3135233"/>
                <a:gd name="connsiteY774" fmla="*/ 221215 h 2493266"/>
                <a:gd name="connsiteX775" fmla="*/ 2549581 w 3135233"/>
                <a:gd name="connsiteY775" fmla="*/ 231083 h 2493266"/>
                <a:gd name="connsiteX776" fmla="*/ 2539170 w 3135233"/>
                <a:gd name="connsiteY776" fmla="*/ 240951 h 2493266"/>
                <a:gd name="connsiteX777" fmla="*/ 2528710 w 3135233"/>
                <a:gd name="connsiteY777" fmla="*/ 240951 h 2493266"/>
                <a:gd name="connsiteX778" fmla="*/ 2512082 w 3135233"/>
                <a:gd name="connsiteY778" fmla="*/ 236017 h 2493266"/>
                <a:gd name="connsiteX779" fmla="*/ 2499599 w 3135233"/>
                <a:gd name="connsiteY779" fmla="*/ 236017 h 2493266"/>
                <a:gd name="connsiteX780" fmla="*/ 2493333 w 3135233"/>
                <a:gd name="connsiteY780" fmla="*/ 229603 h 2493266"/>
                <a:gd name="connsiteX781" fmla="*/ 2493333 w 3135233"/>
                <a:gd name="connsiteY781" fmla="*/ 226347 h 2493266"/>
                <a:gd name="connsiteX782" fmla="*/ 2484994 w 3135233"/>
                <a:gd name="connsiteY782" fmla="*/ 226347 h 2493266"/>
                <a:gd name="connsiteX783" fmla="*/ 2476656 w 3135233"/>
                <a:gd name="connsiteY783" fmla="*/ 219883 h 2493266"/>
                <a:gd name="connsiteX784" fmla="*/ 2476656 w 3135233"/>
                <a:gd name="connsiteY784" fmla="*/ 216676 h 2493266"/>
                <a:gd name="connsiteX785" fmla="*/ 2482922 w 3135233"/>
                <a:gd name="connsiteY785" fmla="*/ 213123 h 2493266"/>
                <a:gd name="connsiteX786" fmla="*/ 2489188 w 3135233"/>
                <a:gd name="connsiteY786" fmla="*/ 205032 h 2493266"/>
                <a:gd name="connsiteX787" fmla="*/ 2499599 w 3135233"/>
                <a:gd name="connsiteY787" fmla="*/ 200098 h 2493266"/>
                <a:gd name="connsiteX788" fmla="*/ 2505816 w 3135233"/>
                <a:gd name="connsiteY788" fmla="*/ 192006 h 2493266"/>
                <a:gd name="connsiteX789" fmla="*/ 2516227 w 3135233"/>
                <a:gd name="connsiteY789" fmla="*/ 187072 h 2493266"/>
                <a:gd name="connsiteX790" fmla="*/ 2520420 w 3135233"/>
                <a:gd name="connsiteY790" fmla="*/ 183865 h 2493266"/>
                <a:gd name="connsiteX791" fmla="*/ 2526637 w 3135233"/>
                <a:gd name="connsiteY791" fmla="*/ 185493 h 2493266"/>
                <a:gd name="connsiteX792" fmla="*/ 2541439 w 3135233"/>
                <a:gd name="connsiteY792" fmla="*/ 185493 h 2493266"/>
                <a:gd name="connsiteX793" fmla="*/ 2545634 w 3135233"/>
                <a:gd name="connsiteY793" fmla="*/ 183865 h 2493266"/>
                <a:gd name="connsiteX794" fmla="*/ 2553923 w 3135233"/>
                <a:gd name="connsiteY794" fmla="*/ 185493 h 2493266"/>
                <a:gd name="connsiteX795" fmla="*/ 2566455 w 3135233"/>
                <a:gd name="connsiteY795" fmla="*/ 191907 h 2493266"/>
                <a:gd name="connsiteX796" fmla="*/ 2578938 w 3135233"/>
                <a:gd name="connsiteY796" fmla="*/ 191907 h 2493266"/>
                <a:gd name="connsiteX797" fmla="*/ 2585155 w 3135233"/>
                <a:gd name="connsiteY797" fmla="*/ 193535 h 2493266"/>
                <a:gd name="connsiteX798" fmla="*/ 2597688 w 3135233"/>
                <a:gd name="connsiteY798" fmla="*/ 191907 h 2493266"/>
                <a:gd name="connsiteX799" fmla="*/ 2599760 w 3135233"/>
                <a:gd name="connsiteY799" fmla="*/ 190328 h 2493266"/>
                <a:gd name="connsiteX800" fmla="*/ 2593444 w 3135233"/>
                <a:gd name="connsiteY800" fmla="*/ 187466 h 2493266"/>
                <a:gd name="connsiteX801" fmla="*/ 2578889 w 3135233"/>
                <a:gd name="connsiteY801" fmla="*/ 189095 h 2493266"/>
                <a:gd name="connsiteX802" fmla="*/ 2564087 w 3135233"/>
                <a:gd name="connsiteY802" fmla="*/ 185888 h 2493266"/>
                <a:gd name="connsiteX803" fmla="*/ 2555798 w 3135233"/>
                <a:gd name="connsiteY803" fmla="*/ 180954 h 2493266"/>
                <a:gd name="connsiteX804" fmla="*/ 2545584 w 3135233"/>
                <a:gd name="connsiteY804" fmla="*/ 180954 h 2493266"/>
                <a:gd name="connsiteX805" fmla="*/ 2533052 w 3135233"/>
                <a:gd name="connsiteY805" fmla="*/ 182532 h 2493266"/>
                <a:gd name="connsiteX806" fmla="*/ 2516375 w 3135233"/>
                <a:gd name="connsiteY806" fmla="*/ 179325 h 2493266"/>
                <a:gd name="connsiteX807" fmla="*/ 2512230 w 3135233"/>
                <a:gd name="connsiteY807" fmla="*/ 179325 h 2493266"/>
                <a:gd name="connsiteX808" fmla="*/ 2508036 w 3135233"/>
                <a:gd name="connsiteY808" fmla="*/ 182532 h 2493266"/>
                <a:gd name="connsiteX809" fmla="*/ 2501819 w 3135233"/>
                <a:gd name="connsiteY809" fmla="*/ 190624 h 2493266"/>
                <a:gd name="connsiteX810" fmla="*/ 2489336 w 3135233"/>
                <a:gd name="connsiteY810" fmla="*/ 197038 h 2493266"/>
                <a:gd name="connsiteX811" fmla="*/ 2474534 w 3135233"/>
                <a:gd name="connsiteY811" fmla="*/ 201972 h 2493266"/>
                <a:gd name="connsiteX812" fmla="*/ 2466195 w 3135233"/>
                <a:gd name="connsiteY812" fmla="*/ 211841 h 2493266"/>
                <a:gd name="connsiteX813" fmla="*/ 2464123 w 3135233"/>
                <a:gd name="connsiteY813" fmla="*/ 213469 h 2493266"/>
                <a:gd name="connsiteX814" fmla="*/ 2458252 w 3135233"/>
                <a:gd name="connsiteY814" fmla="*/ 209867 h 2493266"/>
                <a:gd name="connsiteX815" fmla="*/ 2449913 w 3135233"/>
                <a:gd name="connsiteY815" fmla="*/ 199999 h 2493266"/>
                <a:gd name="connsiteX816" fmla="*/ 2445768 w 3135233"/>
                <a:gd name="connsiteY816" fmla="*/ 198371 h 2493266"/>
                <a:gd name="connsiteX817" fmla="*/ 2441624 w 3135233"/>
                <a:gd name="connsiteY817" fmla="*/ 195164 h 2493266"/>
                <a:gd name="connsiteX818" fmla="*/ 2437233 w 3135233"/>
                <a:gd name="connsiteY818" fmla="*/ 187466 h 2493266"/>
                <a:gd name="connsiteX819" fmla="*/ 2437233 w 3135233"/>
                <a:gd name="connsiteY819" fmla="*/ 179227 h 2493266"/>
                <a:gd name="connsiteX820" fmla="*/ 2433088 w 3135233"/>
                <a:gd name="connsiteY820" fmla="*/ 174293 h 2493266"/>
                <a:gd name="connsiteX821" fmla="*/ 2433088 w 3135233"/>
                <a:gd name="connsiteY821" fmla="*/ 166299 h 2493266"/>
                <a:gd name="connsiteX822" fmla="*/ 2435160 w 3135233"/>
                <a:gd name="connsiteY822" fmla="*/ 164671 h 2493266"/>
                <a:gd name="connsiteX823" fmla="*/ 2443499 w 3135233"/>
                <a:gd name="connsiteY823" fmla="*/ 166299 h 2493266"/>
                <a:gd name="connsiteX824" fmla="*/ 2449716 w 3135233"/>
                <a:gd name="connsiteY824" fmla="*/ 164671 h 2493266"/>
                <a:gd name="connsiteX825" fmla="*/ 2453910 w 3135233"/>
                <a:gd name="connsiteY825" fmla="*/ 166299 h 2493266"/>
                <a:gd name="connsiteX826" fmla="*/ 2474732 w 3135233"/>
                <a:gd name="connsiteY826" fmla="*/ 166299 h 2493266"/>
                <a:gd name="connsiteX827" fmla="*/ 2487214 w 3135233"/>
                <a:gd name="connsiteY827" fmla="*/ 172664 h 2493266"/>
                <a:gd name="connsiteX828" fmla="*/ 2493481 w 3135233"/>
                <a:gd name="connsiteY828" fmla="*/ 172664 h 2493266"/>
                <a:gd name="connsiteX829" fmla="*/ 2497625 w 3135233"/>
                <a:gd name="connsiteY829" fmla="*/ 175871 h 2493266"/>
                <a:gd name="connsiteX830" fmla="*/ 2503892 w 3135233"/>
                <a:gd name="connsiteY830" fmla="*/ 175871 h 2493266"/>
                <a:gd name="connsiteX831" fmla="*/ 2512230 w 3135233"/>
                <a:gd name="connsiteY831" fmla="*/ 170937 h 2493266"/>
                <a:gd name="connsiteX832" fmla="*/ 2520569 w 3135233"/>
                <a:gd name="connsiteY832" fmla="*/ 174194 h 2493266"/>
                <a:gd name="connsiteX833" fmla="*/ 2522641 w 3135233"/>
                <a:gd name="connsiteY833" fmla="*/ 172566 h 2493266"/>
                <a:gd name="connsiteX834" fmla="*/ 2528858 w 3135233"/>
                <a:gd name="connsiteY834" fmla="*/ 170937 h 2493266"/>
                <a:gd name="connsiteX835" fmla="*/ 2533052 w 3135233"/>
                <a:gd name="connsiteY835" fmla="*/ 167730 h 2493266"/>
                <a:gd name="connsiteX836" fmla="*/ 2547854 w 3135233"/>
                <a:gd name="connsiteY836" fmla="*/ 166102 h 2493266"/>
                <a:gd name="connsiteX837" fmla="*/ 2562656 w 3135233"/>
                <a:gd name="connsiteY837" fmla="*/ 162895 h 2493266"/>
                <a:gd name="connsiteX838" fmla="*/ 2564728 w 3135233"/>
                <a:gd name="connsiteY838" fmla="*/ 159638 h 2493266"/>
                <a:gd name="connsiteX839" fmla="*/ 2564728 w 3135233"/>
                <a:gd name="connsiteY839" fmla="*/ 156431 h 2493266"/>
                <a:gd name="connsiteX840" fmla="*/ 2558511 w 3135233"/>
                <a:gd name="connsiteY840" fmla="*/ 158060 h 2493266"/>
                <a:gd name="connsiteX841" fmla="*/ 2556439 w 3135233"/>
                <a:gd name="connsiteY841" fmla="*/ 158060 h 2493266"/>
                <a:gd name="connsiteX842" fmla="*/ 2550173 w 3135233"/>
                <a:gd name="connsiteY842" fmla="*/ 161267 h 2493266"/>
                <a:gd name="connsiteX843" fmla="*/ 2541834 w 3135233"/>
                <a:gd name="connsiteY843" fmla="*/ 162895 h 2493266"/>
                <a:gd name="connsiteX844" fmla="*/ 2527032 w 3135233"/>
                <a:gd name="connsiteY844" fmla="*/ 161267 h 2493266"/>
                <a:gd name="connsiteX845" fmla="*/ 2516375 w 3135233"/>
                <a:gd name="connsiteY845" fmla="*/ 167730 h 2493266"/>
                <a:gd name="connsiteX846" fmla="*/ 2501819 w 3135233"/>
                <a:gd name="connsiteY846" fmla="*/ 167730 h 2493266"/>
                <a:gd name="connsiteX847" fmla="*/ 2497625 w 3135233"/>
                <a:gd name="connsiteY847" fmla="*/ 169359 h 2493266"/>
                <a:gd name="connsiteX848" fmla="*/ 2491408 w 3135233"/>
                <a:gd name="connsiteY848" fmla="*/ 169359 h 2493266"/>
                <a:gd name="connsiteX849" fmla="*/ 2482922 w 3135233"/>
                <a:gd name="connsiteY849" fmla="*/ 163092 h 2493266"/>
                <a:gd name="connsiteX850" fmla="*/ 2476656 w 3135233"/>
                <a:gd name="connsiteY850" fmla="*/ 163092 h 2493266"/>
                <a:gd name="connsiteX851" fmla="*/ 2474583 w 3135233"/>
                <a:gd name="connsiteY851" fmla="*/ 159836 h 2493266"/>
                <a:gd name="connsiteX852" fmla="*/ 2466245 w 3135233"/>
                <a:gd name="connsiteY852" fmla="*/ 161464 h 2493266"/>
                <a:gd name="connsiteX853" fmla="*/ 2453762 w 3135233"/>
                <a:gd name="connsiteY853" fmla="*/ 155000 h 2493266"/>
                <a:gd name="connsiteX854" fmla="*/ 2445423 w 3135233"/>
                <a:gd name="connsiteY854" fmla="*/ 158257 h 2493266"/>
                <a:gd name="connsiteX855" fmla="*/ 2439157 w 3135233"/>
                <a:gd name="connsiteY855" fmla="*/ 155000 h 2493266"/>
                <a:gd name="connsiteX856" fmla="*/ 2437085 w 3135233"/>
                <a:gd name="connsiteY856" fmla="*/ 150066 h 2493266"/>
                <a:gd name="connsiteX857" fmla="*/ 2441279 w 3135233"/>
                <a:gd name="connsiteY857" fmla="*/ 146859 h 2493266"/>
                <a:gd name="connsiteX858" fmla="*/ 2439157 w 3135233"/>
                <a:gd name="connsiteY858" fmla="*/ 140396 h 2493266"/>
                <a:gd name="connsiteX859" fmla="*/ 2445423 w 3135233"/>
                <a:gd name="connsiteY859" fmla="*/ 137189 h 2493266"/>
                <a:gd name="connsiteX860" fmla="*/ 2449568 w 3135233"/>
                <a:gd name="connsiteY860" fmla="*/ 137189 h 2493266"/>
                <a:gd name="connsiteX861" fmla="*/ 2453762 w 3135233"/>
                <a:gd name="connsiteY861" fmla="*/ 142123 h 2493266"/>
                <a:gd name="connsiteX862" fmla="*/ 2464173 w 3135233"/>
                <a:gd name="connsiteY862" fmla="*/ 142123 h 2493266"/>
                <a:gd name="connsiteX863" fmla="*/ 2470390 w 3135233"/>
                <a:gd name="connsiteY863" fmla="*/ 140494 h 2493266"/>
                <a:gd name="connsiteX864" fmla="*/ 2464173 w 3135233"/>
                <a:gd name="connsiteY864" fmla="*/ 135560 h 2493266"/>
                <a:gd name="connsiteX865" fmla="*/ 2458252 w 3135233"/>
                <a:gd name="connsiteY865" fmla="*/ 135560 h 2493266"/>
                <a:gd name="connsiteX866" fmla="*/ 2452035 w 3135233"/>
                <a:gd name="connsiteY866" fmla="*/ 130626 h 2493266"/>
                <a:gd name="connsiteX867" fmla="*/ 2454107 w 3135233"/>
                <a:gd name="connsiteY867" fmla="*/ 127370 h 2493266"/>
                <a:gd name="connsiteX868" fmla="*/ 2464518 w 3135233"/>
                <a:gd name="connsiteY868" fmla="*/ 127370 h 2493266"/>
                <a:gd name="connsiteX869" fmla="*/ 2472857 w 3135233"/>
                <a:gd name="connsiteY869" fmla="*/ 120906 h 2493266"/>
                <a:gd name="connsiteX870" fmla="*/ 2485340 w 3135233"/>
                <a:gd name="connsiteY870" fmla="*/ 120906 h 2493266"/>
                <a:gd name="connsiteX871" fmla="*/ 2491606 w 3135233"/>
                <a:gd name="connsiteY871" fmla="*/ 115972 h 2493266"/>
                <a:gd name="connsiteX872" fmla="*/ 2497724 w 3135233"/>
                <a:gd name="connsiteY872" fmla="*/ 115972 h 2493266"/>
                <a:gd name="connsiteX873" fmla="*/ 2501918 w 3135233"/>
                <a:gd name="connsiteY873" fmla="*/ 119229 h 2493266"/>
                <a:gd name="connsiteX874" fmla="*/ 2508135 w 3135233"/>
                <a:gd name="connsiteY874" fmla="*/ 117600 h 2493266"/>
                <a:gd name="connsiteX875" fmla="*/ 2508135 w 3135233"/>
                <a:gd name="connsiteY875" fmla="*/ 114393 h 2493266"/>
                <a:gd name="connsiteX876" fmla="*/ 2503990 w 3135233"/>
                <a:gd name="connsiteY876" fmla="*/ 111137 h 2493266"/>
                <a:gd name="connsiteX877" fmla="*/ 2489188 w 3135233"/>
                <a:gd name="connsiteY877" fmla="*/ 112765 h 2493266"/>
                <a:gd name="connsiteX878" fmla="*/ 2476656 w 3135233"/>
                <a:gd name="connsiteY878" fmla="*/ 114393 h 2493266"/>
                <a:gd name="connsiteX879" fmla="*/ 2468366 w 3135233"/>
                <a:gd name="connsiteY879" fmla="*/ 117600 h 2493266"/>
                <a:gd name="connsiteX880" fmla="*/ 2459979 w 3135233"/>
                <a:gd name="connsiteY880" fmla="*/ 117600 h 2493266"/>
                <a:gd name="connsiteX881" fmla="*/ 2455834 w 3135233"/>
                <a:gd name="connsiteY881" fmla="*/ 122535 h 2493266"/>
                <a:gd name="connsiteX882" fmla="*/ 2449568 w 3135233"/>
                <a:gd name="connsiteY882" fmla="*/ 122535 h 2493266"/>
                <a:gd name="connsiteX883" fmla="*/ 2449568 w 3135233"/>
                <a:gd name="connsiteY883" fmla="*/ 111433 h 2493266"/>
                <a:gd name="connsiteX884" fmla="*/ 2457906 w 3135233"/>
                <a:gd name="connsiteY884" fmla="*/ 108226 h 2493266"/>
                <a:gd name="connsiteX885" fmla="*/ 2468366 w 3135233"/>
                <a:gd name="connsiteY885" fmla="*/ 101762 h 2493266"/>
                <a:gd name="connsiteX886" fmla="*/ 2478777 w 3135233"/>
                <a:gd name="connsiteY886" fmla="*/ 101762 h 2493266"/>
                <a:gd name="connsiteX887" fmla="*/ 2484994 w 3135233"/>
                <a:gd name="connsiteY887" fmla="*/ 98555 h 2493266"/>
                <a:gd name="connsiteX888" fmla="*/ 2476656 w 3135233"/>
                <a:gd name="connsiteY888" fmla="*/ 98555 h 2493266"/>
                <a:gd name="connsiteX889" fmla="*/ 2472511 w 3135233"/>
                <a:gd name="connsiteY889" fmla="*/ 95299 h 2493266"/>
                <a:gd name="connsiteX890" fmla="*/ 2474583 w 3135233"/>
                <a:gd name="connsiteY890" fmla="*/ 87256 h 2493266"/>
                <a:gd name="connsiteX891" fmla="*/ 2470390 w 3135233"/>
                <a:gd name="connsiteY891" fmla="*/ 88835 h 2493266"/>
                <a:gd name="connsiteX892" fmla="*/ 2470390 w 3135233"/>
                <a:gd name="connsiteY892" fmla="*/ 93769 h 2493266"/>
                <a:gd name="connsiteX893" fmla="*/ 2466245 w 3135233"/>
                <a:gd name="connsiteY893" fmla="*/ 96976 h 2493266"/>
                <a:gd name="connsiteX894" fmla="*/ 2464173 w 3135233"/>
                <a:gd name="connsiteY894" fmla="*/ 90513 h 2493266"/>
                <a:gd name="connsiteX895" fmla="*/ 2459979 w 3135233"/>
                <a:gd name="connsiteY895" fmla="*/ 90513 h 2493266"/>
                <a:gd name="connsiteX896" fmla="*/ 2455834 w 3135233"/>
                <a:gd name="connsiteY896" fmla="*/ 93769 h 2493266"/>
                <a:gd name="connsiteX897" fmla="*/ 2449568 w 3135233"/>
                <a:gd name="connsiteY897" fmla="*/ 95348 h 2493266"/>
                <a:gd name="connsiteX898" fmla="*/ 2449568 w 3135233"/>
                <a:gd name="connsiteY898" fmla="*/ 100282 h 2493266"/>
                <a:gd name="connsiteX899" fmla="*/ 2445423 w 3135233"/>
                <a:gd name="connsiteY899" fmla="*/ 103539 h 2493266"/>
                <a:gd name="connsiteX900" fmla="*/ 2437085 w 3135233"/>
                <a:gd name="connsiteY900" fmla="*/ 106746 h 2493266"/>
                <a:gd name="connsiteX901" fmla="*/ 2437085 w 3135233"/>
                <a:gd name="connsiteY901" fmla="*/ 93720 h 2493266"/>
                <a:gd name="connsiteX902" fmla="*/ 2435012 w 3135233"/>
                <a:gd name="connsiteY902" fmla="*/ 93720 h 2493266"/>
                <a:gd name="connsiteX903" fmla="*/ 2432940 w 3135233"/>
                <a:gd name="connsiteY903" fmla="*/ 87256 h 2493266"/>
                <a:gd name="connsiteX904" fmla="*/ 2435012 w 3135233"/>
                <a:gd name="connsiteY904" fmla="*/ 85628 h 2493266"/>
                <a:gd name="connsiteX905" fmla="*/ 2439157 w 3135233"/>
                <a:gd name="connsiteY905" fmla="*/ 87256 h 2493266"/>
                <a:gd name="connsiteX906" fmla="*/ 2441279 w 3135233"/>
                <a:gd name="connsiteY906" fmla="*/ 80793 h 2493266"/>
                <a:gd name="connsiteX907" fmla="*/ 2447496 w 3135233"/>
                <a:gd name="connsiteY907" fmla="*/ 77585 h 2493266"/>
                <a:gd name="connsiteX908" fmla="*/ 2455834 w 3135233"/>
                <a:gd name="connsiteY908" fmla="*/ 79164 h 2493266"/>
                <a:gd name="connsiteX909" fmla="*/ 2457906 w 3135233"/>
                <a:gd name="connsiteY909" fmla="*/ 72701 h 2493266"/>
                <a:gd name="connsiteX910" fmla="*/ 2466245 w 3135233"/>
                <a:gd name="connsiteY910" fmla="*/ 69494 h 2493266"/>
                <a:gd name="connsiteX911" fmla="*/ 2472511 w 3135233"/>
                <a:gd name="connsiteY911" fmla="*/ 69494 h 2493266"/>
                <a:gd name="connsiteX912" fmla="*/ 2482922 w 3135233"/>
                <a:gd name="connsiteY912" fmla="*/ 64560 h 2493266"/>
                <a:gd name="connsiteX913" fmla="*/ 2499599 w 3135233"/>
                <a:gd name="connsiteY913" fmla="*/ 64560 h 2493266"/>
                <a:gd name="connsiteX914" fmla="*/ 2501671 w 3135233"/>
                <a:gd name="connsiteY914" fmla="*/ 61352 h 2493266"/>
                <a:gd name="connsiteX915" fmla="*/ 2507888 w 3135233"/>
                <a:gd name="connsiteY915" fmla="*/ 62931 h 2493266"/>
                <a:gd name="connsiteX916" fmla="*/ 2507888 w 3135233"/>
                <a:gd name="connsiteY916" fmla="*/ 67865 h 2493266"/>
                <a:gd name="connsiteX917" fmla="*/ 2505816 w 3135233"/>
                <a:gd name="connsiteY917" fmla="*/ 71122 h 2493266"/>
                <a:gd name="connsiteX918" fmla="*/ 2505816 w 3135233"/>
                <a:gd name="connsiteY918" fmla="*/ 85628 h 2493266"/>
                <a:gd name="connsiteX919" fmla="*/ 2510010 w 3135233"/>
                <a:gd name="connsiteY919" fmla="*/ 84000 h 2493266"/>
                <a:gd name="connsiteX920" fmla="*/ 2514154 w 3135233"/>
                <a:gd name="connsiteY920" fmla="*/ 74132 h 2493266"/>
                <a:gd name="connsiteX921" fmla="*/ 2518299 w 3135233"/>
                <a:gd name="connsiteY921" fmla="*/ 70925 h 2493266"/>
                <a:gd name="connsiteX922" fmla="*/ 2520420 w 3135233"/>
                <a:gd name="connsiteY922" fmla="*/ 74132 h 2493266"/>
                <a:gd name="connsiteX923" fmla="*/ 2518299 w 3135233"/>
                <a:gd name="connsiteY923" fmla="*/ 77388 h 2493266"/>
                <a:gd name="connsiteX924" fmla="*/ 2520420 w 3135233"/>
                <a:gd name="connsiteY924" fmla="*/ 80595 h 2493266"/>
                <a:gd name="connsiteX925" fmla="*/ 2524615 w 3135233"/>
                <a:gd name="connsiteY925" fmla="*/ 78967 h 2493266"/>
                <a:gd name="connsiteX926" fmla="*/ 2524615 w 3135233"/>
                <a:gd name="connsiteY926" fmla="*/ 74033 h 2493266"/>
                <a:gd name="connsiteX927" fmla="*/ 2526637 w 3135233"/>
                <a:gd name="connsiteY927" fmla="*/ 70826 h 2493266"/>
                <a:gd name="connsiteX928" fmla="*/ 2524615 w 3135233"/>
                <a:gd name="connsiteY928" fmla="*/ 65892 h 2493266"/>
                <a:gd name="connsiteX929" fmla="*/ 2526637 w 3135233"/>
                <a:gd name="connsiteY929" fmla="*/ 59428 h 2493266"/>
                <a:gd name="connsiteX930" fmla="*/ 2530831 w 3135233"/>
                <a:gd name="connsiteY930" fmla="*/ 57800 h 2493266"/>
                <a:gd name="connsiteX931" fmla="*/ 2539170 w 3135233"/>
                <a:gd name="connsiteY931" fmla="*/ 51336 h 2493266"/>
                <a:gd name="connsiteX932" fmla="*/ 2543314 w 3135233"/>
                <a:gd name="connsiteY932" fmla="*/ 51336 h 2493266"/>
                <a:gd name="connsiteX933" fmla="*/ 2545436 w 3135233"/>
                <a:gd name="connsiteY933" fmla="*/ 57800 h 2493266"/>
                <a:gd name="connsiteX934" fmla="*/ 2545436 w 3135233"/>
                <a:gd name="connsiteY934" fmla="*/ 64264 h 2493266"/>
                <a:gd name="connsiteX935" fmla="*/ 2551653 w 3135233"/>
                <a:gd name="connsiteY935" fmla="*/ 67471 h 2493266"/>
                <a:gd name="connsiteX936" fmla="*/ 2551653 w 3135233"/>
                <a:gd name="connsiteY936" fmla="*/ 75957 h 2493266"/>
                <a:gd name="connsiteX937" fmla="*/ 2549581 w 3135233"/>
                <a:gd name="connsiteY937" fmla="*/ 80891 h 2493266"/>
                <a:gd name="connsiteX938" fmla="*/ 2553725 w 3135233"/>
                <a:gd name="connsiteY938" fmla="*/ 85825 h 2493266"/>
                <a:gd name="connsiteX939" fmla="*/ 2551653 w 3135233"/>
                <a:gd name="connsiteY939" fmla="*/ 90759 h 2493266"/>
                <a:gd name="connsiteX940" fmla="*/ 2557919 w 3135233"/>
                <a:gd name="connsiteY940" fmla="*/ 94016 h 2493266"/>
                <a:gd name="connsiteX941" fmla="*/ 2559992 w 3135233"/>
                <a:gd name="connsiteY941" fmla="*/ 92388 h 2493266"/>
                <a:gd name="connsiteX942" fmla="*/ 2557919 w 3135233"/>
                <a:gd name="connsiteY942" fmla="*/ 87454 h 2493266"/>
                <a:gd name="connsiteX943" fmla="*/ 2555847 w 3135233"/>
                <a:gd name="connsiteY943" fmla="*/ 79362 h 2493266"/>
                <a:gd name="connsiteX944" fmla="*/ 2559992 w 3135233"/>
                <a:gd name="connsiteY944" fmla="*/ 77783 h 2493266"/>
                <a:gd name="connsiteX945" fmla="*/ 2568330 w 3135233"/>
                <a:gd name="connsiteY945" fmla="*/ 67915 h 2493266"/>
                <a:gd name="connsiteX946" fmla="*/ 2572475 w 3135233"/>
                <a:gd name="connsiteY946" fmla="*/ 67915 h 2493266"/>
                <a:gd name="connsiteX947" fmla="*/ 2578741 w 3135233"/>
                <a:gd name="connsiteY947" fmla="*/ 76007 h 2493266"/>
                <a:gd name="connsiteX948" fmla="*/ 2578741 w 3135233"/>
                <a:gd name="connsiteY948" fmla="*/ 83852 h 2493266"/>
                <a:gd name="connsiteX949" fmla="*/ 2576669 w 3135233"/>
                <a:gd name="connsiteY949" fmla="*/ 90463 h 2493266"/>
                <a:gd name="connsiteX950" fmla="*/ 2580813 w 3135233"/>
                <a:gd name="connsiteY950" fmla="*/ 93720 h 2493266"/>
                <a:gd name="connsiteX951" fmla="*/ 2582885 w 3135233"/>
                <a:gd name="connsiteY951" fmla="*/ 98654 h 2493266"/>
                <a:gd name="connsiteX952" fmla="*/ 2584958 w 3135233"/>
                <a:gd name="connsiteY952" fmla="*/ 93720 h 2493266"/>
                <a:gd name="connsiteX953" fmla="*/ 2584958 w 3135233"/>
                <a:gd name="connsiteY953" fmla="*/ 85628 h 2493266"/>
                <a:gd name="connsiteX954" fmla="*/ 2589152 w 3135233"/>
                <a:gd name="connsiteY954" fmla="*/ 85628 h 2493266"/>
                <a:gd name="connsiteX955" fmla="*/ 2593296 w 3135233"/>
                <a:gd name="connsiteY955" fmla="*/ 82421 h 2493266"/>
                <a:gd name="connsiteX956" fmla="*/ 2595368 w 3135233"/>
                <a:gd name="connsiteY956" fmla="*/ 85628 h 2493266"/>
                <a:gd name="connsiteX957" fmla="*/ 2593296 w 3135233"/>
                <a:gd name="connsiteY957" fmla="*/ 88835 h 2493266"/>
                <a:gd name="connsiteX958" fmla="*/ 2593296 w 3135233"/>
                <a:gd name="connsiteY958" fmla="*/ 93769 h 2493266"/>
                <a:gd name="connsiteX959" fmla="*/ 2597490 w 3135233"/>
                <a:gd name="connsiteY959" fmla="*/ 96976 h 2493266"/>
                <a:gd name="connsiteX960" fmla="*/ 2601635 w 3135233"/>
                <a:gd name="connsiteY960" fmla="*/ 92042 h 2493266"/>
                <a:gd name="connsiteX961" fmla="*/ 2605779 w 3135233"/>
                <a:gd name="connsiteY961" fmla="*/ 92042 h 2493266"/>
                <a:gd name="connsiteX962" fmla="*/ 2603855 w 3135233"/>
                <a:gd name="connsiteY962" fmla="*/ 98654 h 2493266"/>
                <a:gd name="connsiteX963" fmla="*/ 2608049 w 3135233"/>
                <a:gd name="connsiteY963" fmla="*/ 95397 h 2493266"/>
                <a:gd name="connsiteX964" fmla="*/ 2608049 w 3135233"/>
                <a:gd name="connsiteY964" fmla="*/ 87256 h 2493266"/>
                <a:gd name="connsiteX965" fmla="*/ 2601783 w 3135233"/>
                <a:gd name="connsiteY965" fmla="*/ 79164 h 2493266"/>
                <a:gd name="connsiteX966" fmla="*/ 2599710 w 3135233"/>
                <a:gd name="connsiteY966" fmla="*/ 79164 h 2493266"/>
                <a:gd name="connsiteX967" fmla="*/ 2595517 w 3135233"/>
                <a:gd name="connsiteY967" fmla="*/ 74230 h 2493266"/>
                <a:gd name="connsiteX968" fmla="*/ 2595517 w 3135233"/>
                <a:gd name="connsiteY968" fmla="*/ 67865 h 2493266"/>
                <a:gd name="connsiteX969" fmla="*/ 2591372 w 3135233"/>
                <a:gd name="connsiteY969" fmla="*/ 62931 h 2493266"/>
                <a:gd name="connsiteX970" fmla="*/ 2587227 w 3135233"/>
                <a:gd name="connsiteY970" fmla="*/ 57997 h 2493266"/>
                <a:gd name="connsiteX971" fmla="*/ 2583033 w 3135233"/>
                <a:gd name="connsiteY971" fmla="*/ 54790 h 2493266"/>
                <a:gd name="connsiteX972" fmla="*/ 2585106 w 3135233"/>
                <a:gd name="connsiteY972" fmla="*/ 48327 h 2493266"/>
                <a:gd name="connsiteX973" fmla="*/ 2593444 w 3135233"/>
                <a:gd name="connsiteY973" fmla="*/ 48327 h 2493266"/>
                <a:gd name="connsiteX974" fmla="*/ 2597638 w 3135233"/>
                <a:gd name="connsiteY974" fmla="*/ 51534 h 2493266"/>
                <a:gd name="connsiteX975" fmla="*/ 2605927 w 3135233"/>
                <a:gd name="connsiteY975" fmla="*/ 49955 h 2493266"/>
                <a:gd name="connsiteX976" fmla="*/ 2610121 w 3135233"/>
                <a:gd name="connsiteY976" fmla="*/ 51534 h 2493266"/>
                <a:gd name="connsiteX977" fmla="*/ 2614315 w 3135233"/>
                <a:gd name="connsiteY977" fmla="*/ 48327 h 2493266"/>
                <a:gd name="connsiteX978" fmla="*/ 2614315 w 3135233"/>
                <a:gd name="connsiteY978" fmla="*/ 37225 h 2493266"/>
                <a:gd name="connsiteX979" fmla="*/ 2610121 w 3135233"/>
                <a:gd name="connsiteY979" fmla="*/ 32291 h 2493266"/>
                <a:gd name="connsiteX980" fmla="*/ 2612194 w 3135233"/>
                <a:gd name="connsiteY980" fmla="*/ 27357 h 2493266"/>
                <a:gd name="connsiteX981" fmla="*/ 2620532 w 3135233"/>
                <a:gd name="connsiteY981" fmla="*/ 25729 h 2493266"/>
                <a:gd name="connsiteX982" fmla="*/ 2622604 w 3135233"/>
                <a:gd name="connsiteY982" fmla="*/ 27357 h 2493266"/>
                <a:gd name="connsiteX983" fmla="*/ 2635137 w 3135233"/>
                <a:gd name="connsiteY983" fmla="*/ 28936 h 2493266"/>
                <a:gd name="connsiteX984" fmla="*/ 2641354 w 3135233"/>
                <a:gd name="connsiteY984" fmla="*/ 32192 h 2493266"/>
                <a:gd name="connsiteX985" fmla="*/ 2641354 w 3135233"/>
                <a:gd name="connsiteY985" fmla="*/ 37126 h 2493266"/>
                <a:gd name="connsiteX986" fmla="*/ 2635137 w 3135233"/>
                <a:gd name="connsiteY986" fmla="*/ 40334 h 2493266"/>
                <a:gd name="connsiteX987" fmla="*/ 2637160 w 3135233"/>
                <a:gd name="connsiteY987" fmla="*/ 43590 h 2493266"/>
                <a:gd name="connsiteX988" fmla="*/ 2651962 w 3135233"/>
                <a:gd name="connsiteY988" fmla="*/ 48524 h 2493266"/>
                <a:gd name="connsiteX989" fmla="*/ 2651962 w 3135233"/>
                <a:gd name="connsiteY989" fmla="*/ 51731 h 2493266"/>
                <a:gd name="connsiteX990" fmla="*/ 2649890 w 3135233"/>
                <a:gd name="connsiteY990" fmla="*/ 61599 h 2493266"/>
                <a:gd name="connsiteX991" fmla="*/ 2649890 w 3135233"/>
                <a:gd name="connsiteY991" fmla="*/ 74477 h 2493266"/>
                <a:gd name="connsiteX992" fmla="*/ 2656156 w 3135233"/>
                <a:gd name="connsiteY992" fmla="*/ 72849 h 2493266"/>
                <a:gd name="connsiteX993" fmla="*/ 2660301 w 3135233"/>
                <a:gd name="connsiteY993" fmla="*/ 64806 h 2493266"/>
                <a:gd name="connsiteX994" fmla="*/ 2662373 w 3135233"/>
                <a:gd name="connsiteY994" fmla="*/ 64806 h 2493266"/>
                <a:gd name="connsiteX995" fmla="*/ 2664494 w 3135233"/>
                <a:gd name="connsiteY995" fmla="*/ 71270 h 2493266"/>
                <a:gd name="connsiteX996" fmla="*/ 2666567 w 3135233"/>
                <a:gd name="connsiteY996" fmla="*/ 74477 h 2493266"/>
                <a:gd name="connsiteX997" fmla="*/ 2672783 w 3135233"/>
                <a:gd name="connsiteY997" fmla="*/ 71270 h 2493266"/>
                <a:gd name="connsiteX998" fmla="*/ 2674905 w 3135233"/>
                <a:gd name="connsiteY998" fmla="*/ 66336 h 2493266"/>
                <a:gd name="connsiteX999" fmla="*/ 2683195 w 3135233"/>
                <a:gd name="connsiteY999" fmla="*/ 63079 h 2493266"/>
                <a:gd name="connsiteX1000" fmla="*/ 2685316 w 3135233"/>
                <a:gd name="connsiteY1000" fmla="*/ 59872 h 2493266"/>
                <a:gd name="connsiteX1001" fmla="*/ 2681171 w 3135233"/>
                <a:gd name="connsiteY1001" fmla="*/ 48573 h 2493266"/>
                <a:gd name="connsiteX1002" fmla="*/ 2685316 w 3135233"/>
                <a:gd name="connsiteY1002" fmla="*/ 43639 h 2493266"/>
                <a:gd name="connsiteX1003" fmla="*/ 2689461 w 3135233"/>
                <a:gd name="connsiteY1003" fmla="*/ 43639 h 2493266"/>
                <a:gd name="connsiteX1004" fmla="*/ 2693605 w 3135233"/>
                <a:gd name="connsiteY1004" fmla="*/ 46846 h 2493266"/>
                <a:gd name="connsiteX1005" fmla="*/ 2704065 w 3135233"/>
                <a:gd name="connsiteY1005" fmla="*/ 46846 h 2493266"/>
                <a:gd name="connsiteX1006" fmla="*/ 2704065 w 3135233"/>
                <a:gd name="connsiteY1006" fmla="*/ 41912 h 2493266"/>
                <a:gd name="connsiteX1007" fmla="*/ 2693605 w 3135233"/>
                <a:gd name="connsiteY1007" fmla="*/ 35449 h 2493266"/>
                <a:gd name="connsiteX1008" fmla="*/ 2691582 w 3135233"/>
                <a:gd name="connsiteY1008" fmla="*/ 27406 h 2493266"/>
                <a:gd name="connsiteX1009" fmla="*/ 2693605 w 3135233"/>
                <a:gd name="connsiteY1009" fmla="*/ 24150 h 2493266"/>
                <a:gd name="connsiteX1010" fmla="*/ 2695727 w 3135233"/>
                <a:gd name="connsiteY1010" fmla="*/ 19216 h 2493266"/>
                <a:gd name="connsiteX1011" fmla="*/ 2699871 w 3135233"/>
                <a:gd name="connsiteY1011" fmla="*/ 17637 h 2493266"/>
                <a:gd name="connsiteX1012" fmla="*/ 2714673 w 3135233"/>
                <a:gd name="connsiteY1012" fmla="*/ 24051 h 2493266"/>
                <a:gd name="connsiteX1013" fmla="*/ 2714673 w 3135233"/>
                <a:gd name="connsiteY1013" fmla="*/ 33919 h 2493266"/>
                <a:gd name="connsiteX1014" fmla="*/ 2716746 w 3135233"/>
                <a:gd name="connsiteY1014" fmla="*/ 40334 h 2493266"/>
                <a:gd name="connsiteX1015" fmla="*/ 2716746 w 3135233"/>
                <a:gd name="connsiteY1015" fmla="*/ 46797 h 2493266"/>
                <a:gd name="connsiteX1016" fmla="*/ 2718818 w 3135233"/>
                <a:gd name="connsiteY1016" fmla="*/ 51731 h 2493266"/>
                <a:gd name="connsiteX1017" fmla="*/ 2720890 w 3135233"/>
                <a:gd name="connsiteY1017" fmla="*/ 59823 h 2493266"/>
                <a:gd name="connsiteX1018" fmla="*/ 2725084 w 3135233"/>
                <a:gd name="connsiteY1018" fmla="*/ 66287 h 2493266"/>
                <a:gd name="connsiteX1019" fmla="*/ 2727157 w 3135233"/>
                <a:gd name="connsiteY1019" fmla="*/ 63030 h 2493266"/>
                <a:gd name="connsiteX1020" fmla="*/ 2729229 w 3135233"/>
                <a:gd name="connsiteY1020" fmla="*/ 56566 h 2493266"/>
                <a:gd name="connsiteX1021" fmla="*/ 2727157 w 3135233"/>
                <a:gd name="connsiteY1021" fmla="*/ 51632 h 2493266"/>
                <a:gd name="connsiteX1022" fmla="*/ 2727157 w 3135233"/>
                <a:gd name="connsiteY1022" fmla="*/ 43689 h 2493266"/>
                <a:gd name="connsiteX1023" fmla="*/ 2723012 w 3135233"/>
                <a:gd name="connsiteY1023" fmla="*/ 33821 h 2493266"/>
                <a:gd name="connsiteX1024" fmla="*/ 2723012 w 3135233"/>
                <a:gd name="connsiteY1024" fmla="*/ 12999 h 2493266"/>
                <a:gd name="connsiteX1025" fmla="*/ 2725084 w 3135233"/>
                <a:gd name="connsiteY1025" fmla="*/ 6585 h 2493266"/>
                <a:gd name="connsiteX1026" fmla="*/ 2729229 w 3135233"/>
                <a:gd name="connsiteY1026" fmla="*/ 6585 h 2493266"/>
                <a:gd name="connsiteX1027" fmla="*/ 2737617 w 3135233"/>
                <a:gd name="connsiteY1027" fmla="*/ 11519 h 2493266"/>
                <a:gd name="connsiteX1028" fmla="*/ 2741712 w 3135233"/>
                <a:gd name="connsiteY1028" fmla="*/ 11519 h 2493266"/>
                <a:gd name="connsiteX1029" fmla="*/ 2743834 w 3135233"/>
                <a:gd name="connsiteY1029" fmla="*/ 13098 h 2493266"/>
                <a:gd name="connsiteX1030" fmla="*/ 2743834 w 3135233"/>
                <a:gd name="connsiteY1030" fmla="*/ 22966 h 2493266"/>
                <a:gd name="connsiteX1031" fmla="*/ 2748027 w 3135233"/>
                <a:gd name="connsiteY1031" fmla="*/ 29380 h 2493266"/>
                <a:gd name="connsiteX1032" fmla="*/ 2748027 w 3135233"/>
                <a:gd name="connsiteY1032" fmla="*/ 45514 h 2493266"/>
                <a:gd name="connsiteX1033" fmla="*/ 2752172 w 3135233"/>
                <a:gd name="connsiteY1033" fmla="*/ 47142 h 2493266"/>
                <a:gd name="connsiteX1034" fmla="*/ 2752172 w 3135233"/>
                <a:gd name="connsiteY1034" fmla="*/ 42208 h 2493266"/>
                <a:gd name="connsiteX1035" fmla="*/ 2754244 w 3135233"/>
                <a:gd name="connsiteY1035" fmla="*/ 37274 h 2493266"/>
                <a:gd name="connsiteX1036" fmla="*/ 2756317 w 3135233"/>
                <a:gd name="connsiteY1036" fmla="*/ 37274 h 2493266"/>
                <a:gd name="connsiteX1037" fmla="*/ 2768849 w 3135233"/>
                <a:gd name="connsiteY1037" fmla="*/ 50202 h 2493266"/>
                <a:gd name="connsiteX1038" fmla="*/ 2770921 w 3135233"/>
                <a:gd name="connsiteY1038" fmla="*/ 48573 h 2493266"/>
                <a:gd name="connsiteX1039" fmla="*/ 2777138 w 3135233"/>
                <a:gd name="connsiteY1039" fmla="*/ 46945 h 2493266"/>
                <a:gd name="connsiteX1040" fmla="*/ 2777138 w 3135233"/>
                <a:gd name="connsiteY1040" fmla="*/ 43738 h 2493266"/>
                <a:gd name="connsiteX1041" fmla="*/ 2770921 w 3135233"/>
                <a:gd name="connsiteY1041" fmla="*/ 42110 h 2493266"/>
                <a:gd name="connsiteX1042" fmla="*/ 2766728 w 3135233"/>
                <a:gd name="connsiteY1042" fmla="*/ 35646 h 2493266"/>
                <a:gd name="connsiteX1043" fmla="*/ 2768849 w 3135233"/>
                <a:gd name="connsiteY1043" fmla="*/ 34067 h 2493266"/>
                <a:gd name="connsiteX1044" fmla="*/ 2768849 w 3135233"/>
                <a:gd name="connsiteY1044" fmla="*/ 29133 h 2493266"/>
                <a:gd name="connsiteX1045" fmla="*/ 2760511 w 3135233"/>
                <a:gd name="connsiteY1045" fmla="*/ 24199 h 2493266"/>
                <a:gd name="connsiteX1046" fmla="*/ 2758439 w 3135233"/>
                <a:gd name="connsiteY1046" fmla="*/ 19265 h 2493266"/>
                <a:gd name="connsiteX1047" fmla="*/ 2760511 w 3135233"/>
                <a:gd name="connsiteY1047" fmla="*/ 16058 h 2493266"/>
                <a:gd name="connsiteX1048" fmla="*/ 2768849 w 3135233"/>
                <a:gd name="connsiteY1048" fmla="*/ 16058 h 2493266"/>
                <a:gd name="connsiteX1049" fmla="*/ 2764655 w 3135233"/>
                <a:gd name="connsiteY1049" fmla="*/ 12802 h 2493266"/>
                <a:gd name="connsiteX1050" fmla="*/ 2758439 w 3135233"/>
                <a:gd name="connsiteY1050" fmla="*/ 12802 h 2493266"/>
                <a:gd name="connsiteX1051" fmla="*/ 2754244 w 3135233"/>
                <a:gd name="connsiteY1051" fmla="*/ 7868 h 2493266"/>
                <a:gd name="connsiteX1052" fmla="*/ 2758439 w 3135233"/>
                <a:gd name="connsiteY1052" fmla="*/ 6289 h 2493266"/>
                <a:gd name="connsiteX1053" fmla="*/ 2764162 w 3135233"/>
                <a:gd name="connsiteY1053" fmla="*/ 6289 h 2493266"/>
                <a:gd name="connsiteX1054" fmla="*/ 2772599 w 3135233"/>
                <a:gd name="connsiteY1054" fmla="*/ -27 h 2493266"/>
                <a:gd name="connsiteX1055" fmla="*/ 2787154 w 3135233"/>
                <a:gd name="connsiteY1055" fmla="*/ 1552 h 2493266"/>
                <a:gd name="connsiteX1056" fmla="*/ 2791348 w 3135233"/>
                <a:gd name="connsiteY1056" fmla="*/ 4808 h 2493266"/>
                <a:gd name="connsiteX1057" fmla="*/ 2789276 w 3135233"/>
                <a:gd name="connsiteY1057" fmla="*/ 12851 h 2493266"/>
                <a:gd name="connsiteX1058" fmla="*/ 2785082 w 3135233"/>
                <a:gd name="connsiteY1058" fmla="*/ 17785 h 2493266"/>
                <a:gd name="connsiteX1059" fmla="*/ 2787154 w 3135233"/>
                <a:gd name="connsiteY1059" fmla="*/ 20992 h 2493266"/>
                <a:gd name="connsiteX1060" fmla="*/ 2793421 w 3135233"/>
                <a:gd name="connsiteY1060" fmla="*/ 20992 h 2493266"/>
                <a:gd name="connsiteX1061" fmla="*/ 2797565 w 3135233"/>
                <a:gd name="connsiteY1061" fmla="*/ 12900 h 2493266"/>
                <a:gd name="connsiteX1062" fmla="*/ 2801759 w 3135233"/>
                <a:gd name="connsiteY1062" fmla="*/ 9693 h 2493266"/>
                <a:gd name="connsiteX1063" fmla="*/ 2803831 w 3135233"/>
                <a:gd name="connsiteY1063" fmla="*/ 14627 h 2493266"/>
                <a:gd name="connsiteX1064" fmla="*/ 2799687 w 3135233"/>
                <a:gd name="connsiteY1064" fmla="*/ 22719 h 2493266"/>
                <a:gd name="connsiteX1065" fmla="*/ 2803831 w 3135233"/>
                <a:gd name="connsiteY1065" fmla="*/ 24298 h 2493266"/>
                <a:gd name="connsiteX1066" fmla="*/ 2807976 w 3135233"/>
                <a:gd name="connsiteY1066" fmla="*/ 24298 h 2493266"/>
                <a:gd name="connsiteX1067" fmla="*/ 2810098 w 3135233"/>
                <a:gd name="connsiteY1067" fmla="*/ 21091 h 2493266"/>
                <a:gd name="connsiteX1068" fmla="*/ 2818436 w 3135233"/>
                <a:gd name="connsiteY1068" fmla="*/ 14775 h 2493266"/>
                <a:gd name="connsiteX1069" fmla="*/ 2822630 w 3135233"/>
                <a:gd name="connsiteY1069" fmla="*/ 16403 h 2493266"/>
                <a:gd name="connsiteX1070" fmla="*/ 2820558 w 3135233"/>
                <a:gd name="connsiteY1070" fmla="*/ 24446 h 2493266"/>
                <a:gd name="connsiteX1071" fmla="*/ 2818436 w 3135233"/>
                <a:gd name="connsiteY1071" fmla="*/ 29380 h 2493266"/>
                <a:gd name="connsiteX1072" fmla="*/ 2820558 w 3135233"/>
                <a:gd name="connsiteY1072" fmla="*/ 39248 h 2493266"/>
                <a:gd name="connsiteX1073" fmla="*/ 2816364 w 3135233"/>
                <a:gd name="connsiteY1073" fmla="*/ 44182 h 2493266"/>
                <a:gd name="connsiteX1074" fmla="*/ 2818436 w 3135233"/>
                <a:gd name="connsiteY1074" fmla="*/ 47389 h 2493266"/>
                <a:gd name="connsiteX1075" fmla="*/ 2826824 w 3135233"/>
                <a:gd name="connsiteY1075" fmla="*/ 45761 h 2493266"/>
                <a:gd name="connsiteX1076" fmla="*/ 2833041 w 3135233"/>
                <a:gd name="connsiteY1076" fmla="*/ 47389 h 2493266"/>
                <a:gd name="connsiteX1077" fmla="*/ 2835113 w 3135233"/>
                <a:gd name="connsiteY1077" fmla="*/ 44182 h 2493266"/>
                <a:gd name="connsiteX1078" fmla="*/ 2835113 w 3135233"/>
                <a:gd name="connsiteY1078" fmla="*/ 35597 h 2493266"/>
                <a:gd name="connsiteX1079" fmla="*/ 2839258 w 3135233"/>
                <a:gd name="connsiteY1079" fmla="*/ 24298 h 2493266"/>
                <a:gd name="connsiteX1080" fmla="*/ 2835113 w 3135233"/>
                <a:gd name="connsiteY1080" fmla="*/ 11420 h 2493266"/>
                <a:gd name="connsiteX1081" fmla="*/ 2835113 w 3135233"/>
                <a:gd name="connsiteY1081" fmla="*/ 1552 h 2493266"/>
                <a:gd name="connsiteX1082" fmla="*/ 2841380 w 3135233"/>
                <a:gd name="connsiteY1082" fmla="*/ -27 h 2493266"/>
                <a:gd name="connsiteX1083" fmla="*/ 2845573 w 3135233"/>
                <a:gd name="connsiteY1083" fmla="*/ 3180 h 2493266"/>
                <a:gd name="connsiteX1084" fmla="*/ 2849718 w 3135233"/>
                <a:gd name="connsiteY1084" fmla="*/ 3180 h 2493266"/>
                <a:gd name="connsiteX1085" fmla="*/ 2857909 w 3135233"/>
                <a:gd name="connsiteY1085" fmla="*/ 4907 h 2493266"/>
                <a:gd name="connsiteX1086" fmla="*/ 2866247 w 3135233"/>
                <a:gd name="connsiteY1086" fmla="*/ 1651 h 2493266"/>
                <a:gd name="connsiteX1087" fmla="*/ 2874536 w 3135233"/>
                <a:gd name="connsiteY1087" fmla="*/ 4907 h 2493266"/>
                <a:gd name="connsiteX1088" fmla="*/ 2876658 w 3135233"/>
                <a:gd name="connsiteY1088" fmla="*/ 9841 h 2493266"/>
                <a:gd name="connsiteX1089" fmla="*/ 2887069 w 3135233"/>
                <a:gd name="connsiteY1089" fmla="*/ 11469 h 2493266"/>
                <a:gd name="connsiteX1090" fmla="*/ 2895358 w 3135233"/>
                <a:gd name="connsiteY1090" fmla="*/ 9841 h 2493266"/>
                <a:gd name="connsiteX1091" fmla="*/ 2903746 w 3135233"/>
                <a:gd name="connsiteY1091" fmla="*/ 14775 h 2493266"/>
                <a:gd name="connsiteX1092" fmla="*/ 2905769 w 3135233"/>
                <a:gd name="connsiteY1092" fmla="*/ 19709 h 2493266"/>
                <a:gd name="connsiteX1093" fmla="*/ 2907890 w 3135233"/>
                <a:gd name="connsiteY1093" fmla="*/ 22966 h 2493266"/>
                <a:gd name="connsiteX1094" fmla="*/ 2909963 w 3135233"/>
                <a:gd name="connsiteY1094" fmla="*/ 31008 h 2493266"/>
                <a:gd name="connsiteX1095" fmla="*/ 2905769 w 3135233"/>
                <a:gd name="connsiteY1095" fmla="*/ 37472 h 2493266"/>
                <a:gd name="connsiteX1096" fmla="*/ 2907890 w 3135233"/>
                <a:gd name="connsiteY1096" fmla="*/ 40679 h 2493266"/>
                <a:gd name="connsiteX1097" fmla="*/ 2912035 w 3135233"/>
                <a:gd name="connsiteY1097" fmla="*/ 39100 h 2493266"/>
                <a:gd name="connsiteX1098" fmla="*/ 2920373 w 3135233"/>
                <a:gd name="connsiteY1098" fmla="*/ 32636 h 2493266"/>
                <a:gd name="connsiteX1099" fmla="*/ 2930784 w 3135233"/>
                <a:gd name="connsiteY1099" fmla="*/ 24545 h 2493266"/>
                <a:gd name="connsiteX1100" fmla="*/ 2937050 w 3135233"/>
                <a:gd name="connsiteY1100" fmla="*/ 19611 h 2493266"/>
                <a:gd name="connsiteX1101" fmla="*/ 2943267 w 3135233"/>
                <a:gd name="connsiteY1101" fmla="*/ 19611 h 2493266"/>
                <a:gd name="connsiteX1102" fmla="*/ 2951606 w 3135233"/>
                <a:gd name="connsiteY1102" fmla="*/ 24545 h 2493266"/>
                <a:gd name="connsiteX1103" fmla="*/ 2962017 w 3135233"/>
                <a:gd name="connsiteY1103" fmla="*/ 24545 h 2493266"/>
                <a:gd name="connsiteX1104" fmla="*/ 2959994 w 3135233"/>
                <a:gd name="connsiteY1104" fmla="*/ 27801 h 2493266"/>
                <a:gd name="connsiteX1105" fmla="*/ 2951655 w 3135233"/>
                <a:gd name="connsiteY1105" fmla="*/ 35597 h 2493266"/>
                <a:gd name="connsiteX1106" fmla="*/ 2955849 w 3135233"/>
                <a:gd name="connsiteY1106" fmla="*/ 40531 h 2493266"/>
                <a:gd name="connsiteX1107" fmla="*/ 2960043 w 3135233"/>
                <a:gd name="connsiteY1107" fmla="*/ 38952 h 2493266"/>
                <a:gd name="connsiteX1108" fmla="*/ 2962066 w 3135233"/>
                <a:gd name="connsiteY1108" fmla="*/ 34018 h 2493266"/>
                <a:gd name="connsiteX1109" fmla="*/ 2970454 w 3135233"/>
                <a:gd name="connsiteY1109" fmla="*/ 27554 h 2493266"/>
                <a:gd name="connsiteX1110" fmla="*/ 2976671 w 3135233"/>
                <a:gd name="connsiteY1110" fmla="*/ 25926 h 2493266"/>
                <a:gd name="connsiteX1111" fmla="*/ 2987082 w 3135233"/>
                <a:gd name="connsiteY1111" fmla="*/ 30860 h 2493266"/>
                <a:gd name="connsiteX1112" fmla="*/ 3001884 w 3135233"/>
                <a:gd name="connsiteY1112" fmla="*/ 32488 h 2493266"/>
                <a:gd name="connsiteX1113" fmla="*/ 3006028 w 3135233"/>
                <a:gd name="connsiteY1113" fmla="*/ 37422 h 2493266"/>
                <a:gd name="connsiteX1114" fmla="*/ 3001884 w 3135233"/>
                <a:gd name="connsiteY1114" fmla="*/ 40630 h 2493266"/>
                <a:gd name="connsiteX1115" fmla="*/ 2997690 w 3135233"/>
                <a:gd name="connsiteY1115" fmla="*/ 40630 h 2493266"/>
                <a:gd name="connsiteX1116" fmla="*/ 2999762 w 3135233"/>
                <a:gd name="connsiteY1116" fmla="*/ 45564 h 2493266"/>
                <a:gd name="connsiteX1117" fmla="*/ 2995617 w 3135233"/>
                <a:gd name="connsiteY1117" fmla="*/ 48820 h 2493266"/>
                <a:gd name="connsiteX1118" fmla="*/ 2999762 w 3135233"/>
                <a:gd name="connsiteY1118" fmla="*/ 53754 h 2493266"/>
                <a:gd name="connsiteX1119" fmla="*/ 3003956 w 3135233"/>
                <a:gd name="connsiteY1119" fmla="*/ 50547 h 2493266"/>
                <a:gd name="connsiteX1120" fmla="*/ 3010173 w 3135233"/>
                <a:gd name="connsiteY1120" fmla="*/ 47290 h 2493266"/>
                <a:gd name="connsiteX1121" fmla="*/ 3012294 w 3135233"/>
                <a:gd name="connsiteY1121" fmla="*/ 53754 h 2493266"/>
                <a:gd name="connsiteX1122" fmla="*/ 3016439 w 3135233"/>
                <a:gd name="connsiteY1122" fmla="*/ 55382 h 2493266"/>
                <a:gd name="connsiteX1123" fmla="*/ 3020584 w 3135233"/>
                <a:gd name="connsiteY1123" fmla="*/ 50448 h 2493266"/>
                <a:gd name="connsiteX1124" fmla="*/ 3030995 w 3135233"/>
                <a:gd name="connsiteY1124" fmla="*/ 48820 h 2493266"/>
                <a:gd name="connsiteX1125" fmla="*/ 3030995 w 3135233"/>
                <a:gd name="connsiteY1125" fmla="*/ 53754 h 2493266"/>
                <a:gd name="connsiteX1126" fmla="*/ 3026850 w 3135233"/>
                <a:gd name="connsiteY1126" fmla="*/ 58688 h 2493266"/>
                <a:gd name="connsiteX1127" fmla="*/ 3028971 w 3135233"/>
                <a:gd name="connsiteY1127" fmla="*/ 61945 h 2493266"/>
                <a:gd name="connsiteX1128" fmla="*/ 3033116 w 3135233"/>
                <a:gd name="connsiteY1128" fmla="*/ 63523 h 2493266"/>
                <a:gd name="connsiteX1129" fmla="*/ 3037261 w 3135233"/>
                <a:gd name="connsiteY1129" fmla="*/ 60316 h 2493266"/>
                <a:gd name="connsiteX1130" fmla="*/ 3043527 w 3135233"/>
                <a:gd name="connsiteY1130" fmla="*/ 57060 h 2493266"/>
                <a:gd name="connsiteX1131" fmla="*/ 3045599 w 3135233"/>
                <a:gd name="connsiteY1131" fmla="*/ 57060 h 2493266"/>
                <a:gd name="connsiteX1132" fmla="*/ 3049793 w 3135233"/>
                <a:gd name="connsiteY1132" fmla="*/ 61994 h 2493266"/>
                <a:gd name="connsiteX1133" fmla="*/ 3062276 w 3135233"/>
                <a:gd name="connsiteY1133" fmla="*/ 68408 h 2493266"/>
                <a:gd name="connsiteX1134" fmla="*/ 3068543 w 3135233"/>
                <a:gd name="connsiteY1134" fmla="*/ 68408 h 2493266"/>
                <a:gd name="connsiteX1135" fmla="*/ 3070615 w 3135233"/>
                <a:gd name="connsiteY1135" fmla="*/ 71665 h 2493266"/>
                <a:gd name="connsiteX1136" fmla="*/ 3066421 w 3135233"/>
                <a:gd name="connsiteY1136" fmla="*/ 74872 h 2493266"/>
                <a:gd name="connsiteX1137" fmla="*/ 3053938 w 3135233"/>
                <a:gd name="connsiteY1137" fmla="*/ 79806 h 2493266"/>
                <a:gd name="connsiteX1138" fmla="*/ 3045402 w 3135233"/>
                <a:gd name="connsiteY1138" fmla="*/ 87256 h 2493266"/>
                <a:gd name="connsiteX1139" fmla="*/ 3037063 w 3135233"/>
                <a:gd name="connsiteY1139" fmla="*/ 88835 h 2493266"/>
                <a:gd name="connsiteX1140" fmla="*/ 3028774 w 3135233"/>
                <a:gd name="connsiteY1140" fmla="*/ 92092 h 2493266"/>
                <a:gd name="connsiteX1141" fmla="*/ 3022508 w 3135233"/>
                <a:gd name="connsiteY1141" fmla="*/ 92092 h 2493266"/>
                <a:gd name="connsiteX1142" fmla="*/ 3016242 w 3135233"/>
                <a:gd name="connsiteY1142" fmla="*/ 90463 h 2493266"/>
                <a:gd name="connsiteX1143" fmla="*/ 3014169 w 3135233"/>
                <a:gd name="connsiteY1143" fmla="*/ 93720 h 2493266"/>
                <a:gd name="connsiteX1144" fmla="*/ 3003759 w 3135233"/>
                <a:gd name="connsiteY1144" fmla="*/ 96927 h 2493266"/>
                <a:gd name="connsiteX1145" fmla="*/ 3018314 w 3135233"/>
                <a:gd name="connsiteY1145" fmla="*/ 96927 h 2493266"/>
                <a:gd name="connsiteX1146" fmla="*/ 3033116 w 3135233"/>
                <a:gd name="connsiteY1146" fmla="*/ 98555 h 2493266"/>
                <a:gd name="connsiteX1147" fmla="*/ 3037261 w 3135233"/>
                <a:gd name="connsiteY1147" fmla="*/ 100134 h 2493266"/>
                <a:gd name="connsiteX1148" fmla="*/ 3043527 w 3135233"/>
                <a:gd name="connsiteY1148" fmla="*/ 100134 h 2493266"/>
                <a:gd name="connsiteX1149" fmla="*/ 3047672 w 3135233"/>
                <a:gd name="connsiteY1149" fmla="*/ 95200 h 2493266"/>
                <a:gd name="connsiteX1150" fmla="*/ 3049793 w 3135233"/>
                <a:gd name="connsiteY1150" fmla="*/ 91993 h 2493266"/>
                <a:gd name="connsiteX1151" fmla="*/ 3058132 w 3135233"/>
                <a:gd name="connsiteY1151" fmla="*/ 93621 h 2493266"/>
                <a:gd name="connsiteX1152" fmla="*/ 3062276 w 3135233"/>
                <a:gd name="connsiteY1152" fmla="*/ 87157 h 2493266"/>
                <a:gd name="connsiteX1153" fmla="*/ 3072687 w 3135233"/>
                <a:gd name="connsiteY1153" fmla="*/ 82223 h 2493266"/>
                <a:gd name="connsiteX1154" fmla="*/ 3081025 w 3135233"/>
                <a:gd name="connsiteY1154" fmla="*/ 82223 h 2493266"/>
                <a:gd name="connsiteX1155" fmla="*/ 3081025 w 3135233"/>
                <a:gd name="connsiteY1155" fmla="*/ 87157 h 2493266"/>
                <a:gd name="connsiteX1156" fmla="*/ 3078953 w 3135233"/>
                <a:gd name="connsiteY1156" fmla="*/ 93621 h 2493266"/>
                <a:gd name="connsiteX1157" fmla="*/ 3081025 w 3135233"/>
                <a:gd name="connsiteY1157" fmla="*/ 96828 h 2493266"/>
                <a:gd name="connsiteX1158" fmla="*/ 3085170 w 3135233"/>
                <a:gd name="connsiteY1158" fmla="*/ 95200 h 2493266"/>
                <a:gd name="connsiteX1159" fmla="*/ 3087242 w 3135233"/>
                <a:gd name="connsiteY1159" fmla="*/ 88736 h 2493266"/>
                <a:gd name="connsiteX1160" fmla="*/ 3095630 w 3135233"/>
                <a:gd name="connsiteY1160" fmla="*/ 83802 h 2493266"/>
                <a:gd name="connsiteX1161" fmla="*/ 3097653 w 3135233"/>
                <a:gd name="connsiteY1161" fmla="*/ 85431 h 2493266"/>
                <a:gd name="connsiteX1162" fmla="*/ 3095630 w 3135233"/>
                <a:gd name="connsiteY1162" fmla="*/ 91894 h 2493266"/>
                <a:gd name="connsiteX1163" fmla="*/ 3095630 w 3135233"/>
                <a:gd name="connsiteY1163" fmla="*/ 95101 h 2493266"/>
                <a:gd name="connsiteX1164" fmla="*/ 3091436 w 3135233"/>
                <a:gd name="connsiteY1164" fmla="*/ 98358 h 2493266"/>
                <a:gd name="connsiteX1165" fmla="*/ 3093509 w 3135233"/>
                <a:gd name="connsiteY1165" fmla="*/ 101565 h 2493266"/>
                <a:gd name="connsiteX1166" fmla="*/ 3099775 w 3135233"/>
                <a:gd name="connsiteY1166" fmla="*/ 99937 h 2493266"/>
                <a:gd name="connsiteX1167" fmla="*/ 3103919 w 3135233"/>
                <a:gd name="connsiteY1167" fmla="*/ 96730 h 2493266"/>
                <a:gd name="connsiteX1168" fmla="*/ 3103919 w 3135233"/>
                <a:gd name="connsiteY1168" fmla="*/ 91795 h 2493266"/>
                <a:gd name="connsiteX1169" fmla="*/ 3112258 w 3135233"/>
                <a:gd name="connsiteY1169" fmla="*/ 90167 h 2493266"/>
                <a:gd name="connsiteX1170" fmla="*/ 3118524 w 3135233"/>
                <a:gd name="connsiteY1170" fmla="*/ 91795 h 2493266"/>
                <a:gd name="connsiteX1171" fmla="*/ 3114330 w 3135233"/>
                <a:gd name="connsiteY1171" fmla="*/ 104673 h 2493266"/>
                <a:gd name="connsiteX1172" fmla="*/ 3110186 w 3135233"/>
                <a:gd name="connsiteY1172" fmla="*/ 106302 h 2493266"/>
                <a:gd name="connsiteX1173" fmla="*/ 3112258 w 3135233"/>
                <a:gd name="connsiteY1173" fmla="*/ 107930 h 2493266"/>
                <a:gd name="connsiteX1174" fmla="*/ 3114330 w 3135233"/>
                <a:gd name="connsiteY1174" fmla="*/ 115972 h 2493266"/>
                <a:gd name="connsiteX1175" fmla="*/ 3114330 w 3135233"/>
                <a:gd name="connsiteY1175" fmla="*/ 124064 h 2493266"/>
                <a:gd name="connsiteX1176" fmla="*/ 3108064 w 3135233"/>
                <a:gd name="connsiteY1176" fmla="*/ 127271 h 2493266"/>
                <a:gd name="connsiteX1177" fmla="*/ 3106041 w 3135233"/>
                <a:gd name="connsiteY1177" fmla="*/ 132205 h 2493266"/>
                <a:gd name="connsiteX1178" fmla="*/ 3097653 w 3135233"/>
                <a:gd name="connsiteY1178" fmla="*/ 142073 h 2493266"/>
                <a:gd name="connsiteX1179" fmla="*/ 3099775 w 3135233"/>
                <a:gd name="connsiteY1179" fmla="*/ 143652 h 2493266"/>
                <a:gd name="connsiteX1180" fmla="*/ 3106041 w 3135233"/>
                <a:gd name="connsiteY1180" fmla="*/ 142073 h 2493266"/>
                <a:gd name="connsiteX1181" fmla="*/ 3110186 w 3135233"/>
                <a:gd name="connsiteY1181" fmla="*/ 135610 h 2493266"/>
                <a:gd name="connsiteX1182" fmla="*/ 3116452 w 3135233"/>
                <a:gd name="connsiteY1182" fmla="*/ 135610 h 2493266"/>
                <a:gd name="connsiteX1183" fmla="*/ 3118524 w 3135233"/>
                <a:gd name="connsiteY1183" fmla="*/ 133981 h 2493266"/>
                <a:gd name="connsiteX1184" fmla="*/ 3122669 w 3135233"/>
                <a:gd name="connsiteY1184" fmla="*/ 133981 h 2493266"/>
                <a:gd name="connsiteX1185" fmla="*/ 3131007 w 3135233"/>
                <a:gd name="connsiteY1185" fmla="*/ 138916 h 2493266"/>
                <a:gd name="connsiteX1186" fmla="*/ 3135152 w 3135233"/>
                <a:gd name="connsiteY1186" fmla="*/ 147007 h 2493266"/>
                <a:gd name="connsiteX1187" fmla="*/ 3135152 w 3135233"/>
                <a:gd name="connsiteY1187" fmla="*/ 155050 h 2493266"/>
                <a:gd name="connsiteX1188" fmla="*/ 3133080 w 3135233"/>
                <a:gd name="connsiteY1188" fmla="*/ 169605 h 2493266"/>
                <a:gd name="connsiteX1189" fmla="*/ 3124741 w 3135233"/>
                <a:gd name="connsiteY1189" fmla="*/ 184111 h 2493266"/>
                <a:gd name="connsiteX1190" fmla="*/ 3112258 w 3135233"/>
                <a:gd name="connsiteY1190" fmla="*/ 190575 h 2493266"/>
                <a:gd name="connsiteX1191" fmla="*/ 3108064 w 3135233"/>
                <a:gd name="connsiteY1191" fmla="*/ 193782 h 2493266"/>
                <a:gd name="connsiteX1192" fmla="*/ 3101847 w 3135233"/>
                <a:gd name="connsiteY1192" fmla="*/ 192154 h 2493266"/>
                <a:gd name="connsiteX1193" fmla="*/ 3093509 w 3135233"/>
                <a:gd name="connsiteY1193" fmla="*/ 193782 h 2493266"/>
                <a:gd name="connsiteX1194" fmla="*/ 3095630 w 3135233"/>
                <a:gd name="connsiteY1194" fmla="*/ 196989 h 2493266"/>
                <a:gd name="connsiteX1195" fmla="*/ 3089364 w 3135233"/>
                <a:gd name="connsiteY1195" fmla="*/ 200246 h 2493266"/>
                <a:gd name="connsiteX1196" fmla="*/ 3068543 w 3135233"/>
                <a:gd name="connsiteY1196" fmla="*/ 210114 h 2493266"/>
                <a:gd name="connsiteX1197" fmla="*/ 3060204 w 3135233"/>
                <a:gd name="connsiteY1197" fmla="*/ 215048 h 2493266"/>
                <a:gd name="connsiteX1198" fmla="*/ 3053938 w 3135233"/>
                <a:gd name="connsiteY1198" fmla="*/ 216676 h 2493266"/>
                <a:gd name="connsiteX1199" fmla="*/ 3043527 w 3135233"/>
                <a:gd name="connsiteY1199" fmla="*/ 219883 h 2493266"/>
                <a:gd name="connsiteX1200" fmla="*/ 3033116 w 3135233"/>
                <a:gd name="connsiteY1200" fmla="*/ 219883 h 2493266"/>
                <a:gd name="connsiteX1201" fmla="*/ 3026850 w 3135233"/>
                <a:gd name="connsiteY1201" fmla="*/ 214949 h 2493266"/>
                <a:gd name="connsiteX1202" fmla="*/ 3024778 w 3135233"/>
                <a:gd name="connsiteY1202" fmla="*/ 221413 h 2493266"/>
                <a:gd name="connsiteX1203" fmla="*/ 3020584 w 3135233"/>
                <a:gd name="connsiteY1203" fmla="*/ 223041 h 2493266"/>
                <a:gd name="connsiteX1204" fmla="*/ 3012294 w 3135233"/>
                <a:gd name="connsiteY1204" fmla="*/ 218107 h 2493266"/>
                <a:gd name="connsiteX1205" fmla="*/ 3003956 w 3135233"/>
                <a:gd name="connsiteY1205" fmla="*/ 214850 h 2493266"/>
                <a:gd name="connsiteX1206" fmla="*/ 2993545 w 3135233"/>
                <a:gd name="connsiteY1206" fmla="*/ 213271 h 2493266"/>
                <a:gd name="connsiteX1207" fmla="*/ 2993545 w 3135233"/>
                <a:gd name="connsiteY1207" fmla="*/ 218205 h 2493266"/>
                <a:gd name="connsiteX1208" fmla="*/ 3001884 w 3135233"/>
                <a:gd name="connsiteY1208" fmla="*/ 218205 h 2493266"/>
                <a:gd name="connsiteX1209" fmla="*/ 3006028 w 3135233"/>
                <a:gd name="connsiteY1209" fmla="*/ 221413 h 2493266"/>
                <a:gd name="connsiteX1210" fmla="*/ 3001884 w 3135233"/>
                <a:gd name="connsiteY1210" fmla="*/ 223041 h 2493266"/>
                <a:gd name="connsiteX1211" fmla="*/ 2991127 w 3135233"/>
                <a:gd name="connsiteY1211" fmla="*/ 221166 h 2493266"/>
                <a:gd name="connsiteX1212" fmla="*/ 2986934 w 3135233"/>
                <a:gd name="connsiteY1212" fmla="*/ 222794 h 2493266"/>
                <a:gd name="connsiteX1213" fmla="*/ 2980717 w 3135233"/>
                <a:gd name="connsiteY1213" fmla="*/ 219538 h 2493266"/>
                <a:gd name="connsiteX1214" fmla="*/ 2968184 w 3135233"/>
                <a:gd name="connsiteY1214" fmla="*/ 217959 h 2493266"/>
                <a:gd name="connsiteX1215" fmla="*/ 2964040 w 3135233"/>
                <a:gd name="connsiteY1215" fmla="*/ 214702 h 2493266"/>
                <a:gd name="connsiteX1216" fmla="*/ 2959895 w 3135233"/>
                <a:gd name="connsiteY1216" fmla="*/ 216331 h 2493266"/>
                <a:gd name="connsiteX1217" fmla="*/ 2955701 w 3135233"/>
                <a:gd name="connsiteY1217" fmla="*/ 216331 h 2493266"/>
                <a:gd name="connsiteX1218" fmla="*/ 2945290 w 3135233"/>
                <a:gd name="connsiteY1218" fmla="*/ 206462 h 2493266"/>
                <a:gd name="connsiteX1219" fmla="*/ 2939073 w 3135233"/>
                <a:gd name="connsiteY1219" fmla="*/ 199999 h 2493266"/>
                <a:gd name="connsiteX1220" fmla="*/ 2939073 w 3135233"/>
                <a:gd name="connsiteY1220" fmla="*/ 206462 h 2493266"/>
                <a:gd name="connsiteX1221" fmla="*/ 2947363 w 3135233"/>
                <a:gd name="connsiteY1221" fmla="*/ 212926 h 2493266"/>
                <a:gd name="connsiteX1222" fmla="*/ 2949484 w 3135233"/>
                <a:gd name="connsiteY1222" fmla="*/ 216133 h 2493266"/>
                <a:gd name="connsiteX1223" fmla="*/ 2943169 w 3135233"/>
                <a:gd name="connsiteY1223" fmla="*/ 216133 h 2493266"/>
                <a:gd name="connsiteX1224" fmla="*/ 2932758 w 3135233"/>
                <a:gd name="connsiteY1224" fmla="*/ 212926 h 2493266"/>
                <a:gd name="connsiteX1225" fmla="*/ 2936952 w 3135233"/>
                <a:gd name="connsiteY1225" fmla="*/ 219340 h 2493266"/>
                <a:gd name="connsiteX1226" fmla="*/ 2959895 w 3135233"/>
                <a:gd name="connsiteY1226" fmla="*/ 220969 h 2493266"/>
                <a:gd name="connsiteX1227" fmla="*/ 2974450 w 3135233"/>
                <a:gd name="connsiteY1227" fmla="*/ 224176 h 2493266"/>
                <a:gd name="connsiteX1228" fmla="*/ 2978595 w 3135233"/>
                <a:gd name="connsiteY1228" fmla="*/ 227432 h 2493266"/>
                <a:gd name="connsiteX1229" fmla="*/ 2972378 w 3135233"/>
                <a:gd name="connsiteY1229" fmla="*/ 232366 h 2493266"/>
                <a:gd name="connsiteX1230" fmla="*/ 2941096 w 3135233"/>
                <a:gd name="connsiteY1230" fmla="*/ 242234 h 2493266"/>
                <a:gd name="connsiteX1231" fmla="*/ 2920275 w 3135233"/>
                <a:gd name="connsiteY1231" fmla="*/ 245491 h 2493266"/>
                <a:gd name="connsiteX1232" fmla="*/ 2914058 w 3135233"/>
                <a:gd name="connsiteY1232" fmla="*/ 245491 h 2493266"/>
                <a:gd name="connsiteX1233" fmla="*/ 2901526 w 3135233"/>
                <a:gd name="connsiteY1233" fmla="*/ 247070 h 2493266"/>
                <a:gd name="connsiteX1234" fmla="*/ 2893434 w 3135233"/>
                <a:gd name="connsiteY1234" fmla="*/ 247070 h 2493266"/>
                <a:gd name="connsiteX1235" fmla="*/ 2891312 w 3135233"/>
                <a:gd name="connsiteY1235" fmla="*/ 242136 h 2493266"/>
                <a:gd name="connsiteX1236" fmla="*/ 2885046 w 3135233"/>
                <a:gd name="connsiteY1236" fmla="*/ 245392 h 2493266"/>
                <a:gd name="connsiteX1237" fmla="*/ 2878829 w 3135233"/>
                <a:gd name="connsiteY1237" fmla="*/ 243764 h 2493266"/>
                <a:gd name="connsiteX1238" fmla="*/ 2872562 w 3135233"/>
                <a:gd name="connsiteY1238" fmla="*/ 245392 h 2493266"/>
                <a:gd name="connsiteX1239" fmla="*/ 2868418 w 3135233"/>
                <a:gd name="connsiteY1239" fmla="*/ 250326 h 2493266"/>
                <a:gd name="connsiteX1240" fmla="*/ 2874635 w 3135233"/>
                <a:gd name="connsiteY1240" fmla="*/ 250326 h 2493266"/>
                <a:gd name="connsiteX1241" fmla="*/ 2876757 w 3135233"/>
                <a:gd name="connsiteY1241" fmla="*/ 255260 h 2493266"/>
                <a:gd name="connsiteX1242" fmla="*/ 2887167 w 3135233"/>
                <a:gd name="connsiteY1242" fmla="*/ 250326 h 2493266"/>
                <a:gd name="connsiteX1243" fmla="*/ 2907989 w 3135233"/>
                <a:gd name="connsiteY1243" fmla="*/ 250326 h 2493266"/>
                <a:gd name="connsiteX1244" fmla="*/ 2916328 w 3135233"/>
                <a:gd name="connsiteY1244" fmla="*/ 251905 h 2493266"/>
                <a:gd name="connsiteX1245" fmla="*/ 2943366 w 3135233"/>
                <a:gd name="connsiteY1245" fmla="*/ 250326 h 2493266"/>
                <a:gd name="connsiteX1246" fmla="*/ 2962115 w 3135233"/>
                <a:gd name="connsiteY1246" fmla="*/ 247070 h 2493266"/>
                <a:gd name="connsiteX1247" fmla="*/ 2972575 w 3135233"/>
                <a:gd name="connsiteY1247" fmla="*/ 237202 h 2493266"/>
                <a:gd name="connsiteX1248" fmla="*/ 2980914 w 3135233"/>
                <a:gd name="connsiteY1248" fmla="*/ 237202 h 2493266"/>
                <a:gd name="connsiteX1249" fmla="*/ 2987131 w 3135233"/>
                <a:gd name="connsiteY1249" fmla="*/ 238830 h 2493266"/>
                <a:gd name="connsiteX1250" fmla="*/ 3005930 w 3135233"/>
                <a:gd name="connsiteY1250" fmla="*/ 238830 h 2493266"/>
                <a:gd name="connsiteX1251" fmla="*/ 3001785 w 3135233"/>
                <a:gd name="connsiteY1251" fmla="*/ 246872 h 2493266"/>
                <a:gd name="connsiteX1252" fmla="*/ 2995519 w 3135233"/>
                <a:gd name="connsiteY1252" fmla="*/ 254964 h 2493266"/>
                <a:gd name="connsiteX1253" fmla="*/ 2985059 w 3135233"/>
                <a:gd name="connsiteY1253" fmla="*/ 261477 h 2493266"/>
                <a:gd name="connsiteX1254" fmla="*/ 2980914 w 3135233"/>
                <a:gd name="connsiteY1254" fmla="*/ 263056 h 2493266"/>
                <a:gd name="connsiteX1255" fmla="*/ 2966457 w 3135233"/>
                <a:gd name="connsiteY1255" fmla="*/ 266411 h 2493266"/>
                <a:gd name="connsiteX1256" fmla="*/ 2960240 w 3135233"/>
                <a:gd name="connsiteY1256" fmla="*/ 272825 h 2493266"/>
                <a:gd name="connsiteX1257" fmla="*/ 2956047 w 3135233"/>
                <a:gd name="connsiteY1257" fmla="*/ 272825 h 2493266"/>
                <a:gd name="connsiteX1258" fmla="*/ 2947708 w 3135233"/>
                <a:gd name="connsiteY1258" fmla="*/ 279289 h 2493266"/>
                <a:gd name="connsiteX1259" fmla="*/ 2937297 w 3135233"/>
                <a:gd name="connsiteY1259" fmla="*/ 284223 h 2493266"/>
                <a:gd name="connsiteX1260" fmla="*/ 2928959 w 3135233"/>
                <a:gd name="connsiteY1260" fmla="*/ 284223 h 2493266"/>
                <a:gd name="connsiteX1261" fmla="*/ 2924814 w 3135233"/>
                <a:gd name="connsiteY1261" fmla="*/ 287479 h 2493266"/>
                <a:gd name="connsiteX1262" fmla="*/ 2916476 w 3135233"/>
                <a:gd name="connsiteY1262" fmla="*/ 285851 h 2493266"/>
                <a:gd name="connsiteX1263" fmla="*/ 2910209 w 3135233"/>
                <a:gd name="connsiteY1263" fmla="*/ 290785 h 2493266"/>
                <a:gd name="connsiteX1264" fmla="*/ 2895407 w 3135233"/>
                <a:gd name="connsiteY1264" fmla="*/ 294042 h 2493266"/>
                <a:gd name="connsiteX1265" fmla="*/ 2891263 w 3135233"/>
                <a:gd name="connsiteY1265" fmla="*/ 300456 h 2493266"/>
                <a:gd name="connsiteX1266" fmla="*/ 2876707 w 3135233"/>
                <a:gd name="connsiteY1266" fmla="*/ 302084 h 2493266"/>
                <a:gd name="connsiteX1267" fmla="*/ 2870441 w 3135233"/>
                <a:gd name="connsiteY1267" fmla="*/ 305341 h 2493266"/>
                <a:gd name="connsiteX1268" fmla="*/ 2866296 w 3135233"/>
                <a:gd name="connsiteY1268" fmla="*/ 303712 h 2493266"/>
                <a:gd name="connsiteX1269" fmla="*/ 2860030 w 3135233"/>
                <a:gd name="connsiteY1269" fmla="*/ 308646 h 2493266"/>
                <a:gd name="connsiteX1270" fmla="*/ 2853764 w 3135233"/>
                <a:gd name="connsiteY1270" fmla="*/ 308646 h 2493266"/>
                <a:gd name="connsiteX1271" fmla="*/ 2851692 w 3135233"/>
                <a:gd name="connsiteY1271" fmla="*/ 310275 h 2493266"/>
                <a:gd name="connsiteX1272" fmla="*/ 2851692 w 3135233"/>
                <a:gd name="connsiteY1272" fmla="*/ 318317 h 2493266"/>
                <a:gd name="connsiteX1273" fmla="*/ 2843353 w 3135233"/>
                <a:gd name="connsiteY1273" fmla="*/ 323251 h 2493266"/>
                <a:gd name="connsiteX1274" fmla="*/ 2839159 w 3135233"/>
                <a:gd name="connsiteY1274" fmla="*/ 328185 h 2493266"/>
                <a:gd name="connsiteX1275" fmla="*/ 2822532 w 3135233"/>
                <a:gd name="connsiteY1275" fmla="*/ 328185 h 2493266"/>
                <a:gd name="connsiteX1276" fmla="*/ 2818337 w 3135233"/>
                <a:gd name="connsiteY1276" fmla="*/ 331442 h 2493266"/>
                <a:gd name="connsiteX1277" fmla="*/ 2812121 w 3135233"/>
                <a:gd name="connsiteY1277" fmla="*/ 329813 h 2493266"/>
                <a:gd name="connsiteX1278" fmla="*/ 2812121 w 3135233"/>
                <a:gd name="connsiteY1278" fmla="*/ 326606 h 2493266"/>
                <a:gd name="connsiteX1279" fmla="*/ 2814193 w 3135233"/>
                <a:gd name="connsiteY1279" fmla="*/ 321672 h 2493266"/>
                <a:gd name="connsiteX1280" fmla="*/ 2814193 w 3135233"/>
                <a:gd name="connsiteY1280" fmla="*/ 316738 h 2493266"/>
                <a:gd name="connsiteX1281" fmla="*/ 2810048 w 3135233"/>
                <a:gd name="connsiteY1281" fmla="*/ 313531 h 2493266"/>
                <a:gd name="connsiteX1282" fmla="*/ 2810048 w 3135233"/>
                <a:gd name="connsiteY1282" fmla="*/ 321623 h 2493266"/>
                <a:gd name="connsiteX1283" fmla="*/ 2807927 w 3135233"/>
                <a:gd name="connsiteY1283" fmla="*/ 324830 h 2493266"/>
                <a:gd name="connsiteX1284" fmla="*/ 2805855 w 3135233"/>
                <a:gd name="connsiteY1284" fmla="*/ 329764 h 2493266"/>
                <a:gd name="connsiteX1285" fmla="*/ 2814193 w 3135233"/>
                <a:gd name="connsiteY1285" fmla="*/ 334698 h 2493266"/>
                <a:gd name="connsiteX1286" fmla="*/ 2814193 w 3135233"/>
                <a:gd name="connsiteY1286" fmla="*/ 339632 h 2493266"/>
                <a:gd name="connsiteX1287" fmla="*/ 2807976 w 3135233"/>
                <a:gd name="connsiteY1287" fmla="*/ 345356 h 2493266"/>
                <a:gd name="connsiteX1288" fmla="*/ 2803634 w 3135233"/>
                <a:gd name="connsiteY1288" fmla="*/ 345356 h 2493266"/>
                <a:gd name="connsiteX1289" fmla="*/ 2797368 w 3135233"/>
                <a:gd name="connsiteY1289" fmla="*/ 340422 h 2493266"/>
                <a:gd name="connsiteX1290" fmla="*/ 2793223 w 3135233"/>
                <a:gd name="connsiteY1290" fmla="*/ 343629 h 2493266"/>
                <a:gd name="connsiteX1291" fmla="*/ 2780740 w 3135233"/>
                <a:gd name="connsiteY1291" fmla="*/ 338695 h 2493266"/>
                <a:gd name="connsiteX1292" fmla="*/ 2776546 w 3135233"/>
                <a:gd name="connsiteY1292" fmla="*/ 341951 h 2493266"/>
                <a:gd name="connsiteX1293" fmla="*/ 2770329 w 3135233"/>
                <a:gd name="connsiteY1293" fmla="*/ 341951 h 2493266"/>
                <a:gd name="connsiteX1294" fmla="*/ 2770329 w 3135233"/>
                <a:gd name="connsiteY1294" fmla="*/ 337017 h 2493266"/>
                <a:gd name="connsiteX1295" fmla="*/ 2768257 w 3135233"/>
                <a:gd name="connsiteY1295" fmla="*/ 335389 h 2493266"/>
                <a:gd name="connsiteX1296" fmla="*/ 2764162 w 3135233"/>
                <a:gd name="connsiteY1296" fmla="*/ 340422 h 2493266"/>
                <a:gd name="connsiteX1297" fmla="*/ 2757945 w 3135233"/>
                <a:gd name="connsiteY1297" fmla="*/ 340422 h 2493266"/>
                <a:gd name="connsiteX1298" fmla="*/ 2757945 w 3135233"/>
                <a:gd name="connsiteY1298" fmla="*/ 343629 h 2493266"/>
                <a:gd name="connsiteX1299" fmla="*/ 2770428 w 3135233"/>
                <a:gd name="connsiteY1299" fmla="*/ 346885 h 2493266"/>
                <a:gd name="connsiteX1300" fmla="*/ 2789177 w 3135233"/>
                <a:gd name="connsiteY1300" fmla="*/ 346885 h 2493266"/>
                <a:gd name="connsiteX1301" fmla="*/ 2793322 w 3135233"/>
                <a:gd name="connsiteY1301" fmla="*/ 351819 h 2493266"/>
                <a:gd name="connsiteX1302" fmla="*/ 2793322 w 3135233"/>
                <a:gd name="connsiteY1302" fmla="*/ 356753 h 2493266"/>
                <a:gd name="connsiteX1303" fmla="*/ 2784983 w 3135233"/>
                <a:gd name="connsiteY1303" fmla="*/ 361687 h 2493266"/>
                <a:gd name="connsiteX1304" fmla="*/ 2776645 w 3135233"/>
                <a:gd name="connsiteY1304" fmla="*/ 360059 h 2493266"/>
                <a:gd name="connsiteX1305" fmla="*/ 2766234 w 3135233"/>
                <a:gd name="connsiteY1305" fmla="*/ 361687 h 2493266"/>
                <a:gd name="connsiteX1306" fmla="*/ 2764162 w 3135233"/>
                <a:gd name="connsiteY1306" fmla="*/ 364944 h 2493266"/>
                <a:gd name="connsiteX1307" fmla="*/ 2768356 w 3135233"/>
                <a:gd name="connsiteY1307" fmla="*/ 366523 h 2493266"/>
                <a:gd name="connsiteX1308" fmla="*/ 2770428 w 3135233"/>
                <a:gd name="connsiteY1308" fmla="*/ 364944 h 2493266"/>
                <a:gd name="connsiteX1309" fmla="*/ 2776645 w 3135233"/>
                <a:gd name="connsiteY1309" fmla="*/ 368151 h 2493266"/>
                <a:gd name="connsiteX1310" fmla="*/ 2774573 w 3135233"/>
                <a:gd name="connsiteY1310" fmla="*/ 373085 h 2493266"/>
                <a:gd name="connsiteX1311" fmla="*/ 2764162 w 3135233"/>
                <a:gd name="connsiteY1311" fmla="*/ 382953 h 2493266"/>
                <a:gd name="connsiteX1312" fmla="*/ 2753751 w 3135233"/>
                <a:gd name="connsiteY1312" fmla="*/ 381374 h 2493266"/>
                <a:gd name="connsiteX1313" fmla="*/ 2735002 w 3135233"/>
                <a:gd name="connsiteY1313" fmla="*/ 381374 h 2493266"/>
                <a:gd name="connsiteX1314" fmla="*/ 2732929 w 3135233"/>
                <a:gd name="connsiteY1314" fmla="*/ 378118 h 2493266"/>
                <a:gd name="connsiteX1315" fmla="*/ 2724690 w 3135233"/>
                <a:gd name="connsiteY1315" fmla="*/ 378118 h 2493266"/>
                <a:gd name="connsiteX1316" fmla="*/ 2722617 w 3135233"/>
                <a:gd name="connsiteY1316" fmla="*/ 374910 h 2493266"/>
                <a:gd name="connsiteX1317" fmla="*/ 2722617 w 3135233"/>
                <a:gd name="connsiteY1317" fmla="*/ 363611 h 2493266"/>
                <a:gd name="connsiteX1318" fmla="*/ 2712206 w 3135233"/>
                <a:gd name="connsiteY1318" fmla="*/ 361983 h 2493266"/>
                <a:gd name="connsiteX1319" fmla="*/ 2709888 w 3135233"/>
                <a:gd name="connsiteY1319" fmla="*/ 360158 h 2493266"/>
                <a:gd name="connsiteX1320" fmla="*/ 2709888 w 3135233"/>
                <a:gd name="connsiteY1320" fmla="*/ 353743 h 2493266"/>
                <a:gd name="connsiteX1321" fmla="*/ 2705940 w 3135233"/>
                <a:gd name="connsiteY1321" fmla="*/ 350290 h 2493266"/>
                <a:gd name="connsiteX1322" fmla="*/ 2701796 w 3135233"/>
                <a:gd name="connsiteY1322" fmla="*/ 351918 h 2493266"/>
                <a:gd name="connsiteX1323" fmla="*/ 2695530 w 3135233"/>
                <a:gd name="connsiteY1323" fmla="*/ 350290 h 2493266"/>
                <a:gd name="connsiteX1324" fmla="*/ 2685119 w 3135233"/>
                <a:gd name="connsiteY1324" fmla="*/ 351918 h 2493266"/>
                <a:gd name="connsiteX1325" fmla="*/ 2682997 w 3135233"/>
                <a:gd name="connsiteY1325" fmla="*/ 355125 h 2493266"/>
                <a:gd name="connsiteX1326" fmla="*/ 2689263 w 3135233"/>
                <a:gd name="connsiteY1326" fmla="*/ 356753 h 2493266"/>
                <a:gd name="connsiteX1327" fmla="*/ 2691385 w 3135233"/>
                <a:gd name="connsiteY1327" fmla="*/ 355125 h 2493266"/>
                <a:gd name="connsiteX1328" fmla="*/ 2697602 w 3135233"/>
                <a:gd name="connsiteY1328" fmla="*/ 355125 h 2493266"/>
                <a:gd name="connsiteX1329" fmla="*/ 2712404 w 3135233"/>
                <a:gd name="connsiteY1329" fmla="*/ 369927 h 2493266"/>
                <a:gd name="connsiteX1330" fmla="*/ 2712404 w 3135233"/>
                <a:gd name="connsiteY1330" fmla="*/ 386061 h 2493266"/>
                <a:gd name="connsiteX1331" fmla="*/ 2710282 w 3135233"/>
                <a:gd name="connsiteY1331" fmla="*/ 389268 h 2493266"/>
                <a:gd name="connsiteX1332" fmla="*/ 2701993 w 3135233"/>
                <a:gd name="connsiteY1332" fmla="*/ 389268 h 2493266"/>
                <a:gd name="connsiteX1333" fmla="*/ 2695727 w 3135233"/>
                <a:gd name="connsiteY1333" fmla="*/ 382805 h 2493266"/>
                <a:gd name="connsiteX1334" fmla="*/ 2691582 w 3135233"/>
                <a:gd name="connsiteY1334" fmla="*/ 384433 h 2493266"/>
                <a:gd name="connsiteX1335" fmla="*/ 2691582 w 3135233"/>
                <a:gd name="connsiteY1335" fmla="*/ 389367 h 2493266"/>
                <a:gd name="connsiteX1336" fmla="*/ 2687388 w 3135233"/>
                <a:gd name="connsiteY1336" fmla="*/ 390995 h 2493266"/>
                <a:gd name="connsiteX1337" fmla="*/ 2681171 w 3135233"/>
                <a:gd name="connsiteY1337" fmla="*/ 384532 h 2493266"/>
                <a:gd name="connsiteX1338" fmla="*/ 2674905 w 3135233"/>
                <a:gd name="connsiteY1338" fmla="*/ 384532 h 2493266"/>
                <a:gd name="connsiteX1339" fmla="*/ 2670761 w 3135233"/>
                <a:gd name="connsiteY1339" fmla="*/ 389466 h 2493266"/>
                <a:gd name="connsiteX1340" fmla="*/ 2666567 w 3135233"/>
                <a:gd name="connsiteY1340" fmla="*/ 389466 h 2493266"/>
                <a:gd name="connsiteX1341" fmla="*/ 2664494 w 3135233"/>
                <a:gd name="connsiteY1341" fmla="*/ 386259 h 2493266"/>
                <a:gd name="connsiteX1342" fmla="*/ 2656156 w 3135233"/>
                <a:gd name="connsiteY1342" fmla="*/ 384630 h 2493266"/>
                <a:gd name="connsiteX1343" fmla="*/ 2651962 w 3135233"/>
                <a:gd name="connsiteY1343" fmla="*/ 378167 h 2493266"/>
                <a:gd name="connsiteX1344" fmla="*/ 2647817 w 3135233"/>
                <a:gd name="connsiteY1344" fmla="*/ 379795 h 2493266"/>
                <a:gd name="connsiteX1345" fmla="*/ 2645745 w 3135233"/>
                <a:gd name="connsiteY1345" fmla="*/ 373332 h 2493266"/>
                <a:gd name="connsiteX1346" fmla="*/ 2643673 w 3135233"/>
                <a:gd name="connsiteY1346" fmla="*/ 371703 h 2493266"/>
                <a:gd name="connsiteX1347" fmla="*/ 2631140 w 3135233"/>
                <a:gd name="connsiteY1347" fmla="*/ 370124 h 2493266"/>
                <a:gd name="connsiteX1348" fmla="*/ 2626946 w 3135233"/>
                <a:gd name="connsiteY1348" fmla="*/ 365190 h 2493266"/>
                <a:gd name="connsiteX1349" fmla="*/ 2624924 w 3135233"/>
                <a:gd name="connsiteY1349" fmla="*/ 366769 h 2493266"/>
                <a:gd name="connsiteX1350" fmla="*/ 2626946 w 3135233"/>
                <a:gd name="connsiteY1350" fmla="*/ 371703 h 2493266"/>
                <a:gd name="connsiteX1351" fmla="*/ 2633262 w 3135233"/>
                <a:gd name="connsiteY1351" fmla="*/ 374960 h 2493266"/>
                <a:gd name="connsiteX1352" fmla="*/ 2641551 w 3135233"/>
                <a:gd name="connsiteY1352" fmla="*/ 378167 h 2493266"/>
                <a:gd name="connsiteX1353" fmla="*/ 2649890 w 3135233"/>
                <a:gd name="connsiteY1353" fmla="*/ 389466 h 2493266"/>
                <a:gd name="connsiteX1354" fmla="*/ 2647817 w 3135233"/>
                <a:gd name="connsiteY1354" fmla="*/ 392673 h 2493266"/>
                <a:gd name="connsiteX1355" fmla="*/ 2626946 w 3135233"/>
                <a:gd name="connsiteY1355" fmla="*/ 387739 h 2493266"/>
                <a:gd name="connsiteX1356" fmla="*/ 2622802 w 3135233"/>
                <a:gd name="connsiteY1356" fmla="*/ 384532 h 2493266"/>
                <a:gd name="connsiteX1357" fmla="*/ 2620729 w 3135233"/>
                <a:gd name="connsiteY1357" fmla="*/ 378068 h 2493266"/>
                <a:gd name="connsiteX1358" fmla="*/ 2616536 w 3135233"/>
                <a:gd name="connsiteY1358" fmla="*/ 373134 h 2493266"/>
                <a:gd name="connsiteX1359" fmla="*/ 2614513 w 3135233"/>
                <a:gd name="connsiteY1359" fmla="*/ 376391 h 2493266"/>
                <a:gd name="connsiteX1360" fmla="*/ 2616536 w 3135233"/>
                <a:gd name="connsiteY1360" fmla="*/ 379598 h 2493266"/>
                <a:gd name="connsiteX1361" fmla="*/ 2614513 w 3135233"/>
                <a:gd name="connsiteY1361" fmla="*/ 384532 h 2493266"/>
                <a:gd name="connsiteX1362" fmla="*/ 2606125 w 3135233"/>
                <a:gd name="connsiteY1362" fmla="*/ 382904 h 2493266"/>
                <a:gd name="connsiteX1363" fmla="*/ 2604052 w 3135233"/>
                <a:gd name="connsiteY1363" fmla="*/ 377970 h 2493266"/>
                <a:gd name="connsiteX1364" fmla="*/ 2597835 w 3135233"/>
                <a:gd name="connsiteY1364" fmla="*/ 379598 h 2493266"/>
                <a:gd name="connsiteX1365" fmla="*/ 2597835 w 3135233"/>
                <a:gd name="connsiteY1365" fmla="*/ 384532 h 2493266"/>
                <a:gd name="connsiteX1366" fmla="*/ 2608247 w 3135233"/>
                <a:gd name="connsiteY1366" fmla="*/ 387739 h 2493266"/>
                <a:gd name="connsiteX1367" fmla="*/ 2606125 w 3135233"/>
                <a:gd name="connsiteY1367" fmla="*/ 392673 h 2493266"/>
                <a:gd name="connsiteX1368" fmla="*/ 2610319 w 3135233"/>
                <a:gd name="connsiteY1368" fmla="*/ 392673 h 2493266"/>
                <a:gd name="connsiteX1369" fmla="*/ 2614513 w 3135233"/>
                <a:gd name="connsiteY1369" fmla="*/ 391094 h 2493266"/>
                <a:gd name="connsiteX1370" fmla="*/ 2618657 w 3135233"/>
                <a:gd name="connsiteY1370" fmla="*/ 391094 h 2493266"/>
                <a:gd name="connsiteX1371" fmla="*/ 2624924 w 3135233"/>
                <a:gd name="connsiteY1371" fmla="*/ 396028 h 2493266"/>
                <a:gd name="connsiteX1372" fmla="*/ 2633262 w 3135233"/>
                <a:gd name="connsiteY1372" fmla="*/ 397656 h 2493266"/>
                <a:gd name="connsiteX1373" fmla="*/ 2639479 w 3135233"/>
                <a:gd name="connsiteY1373" fmla="*/ 402590 h 2493266"/>
                <a:gd name="connsiteX1374" fmla="*/ 2643673 w 3135233"/>
                <a:gd name="connsiteY1374" fmla="*/ 402590 h 2493266"/>
                <a:gd name="connsiteX1375" fmla="*/ 2649890 w 3135233"/>
                <a:gd name="connsiteY1375" fmla="*/ 400962 h 2493266"/>
                <a:gd name="connsiteX1376" fmla="*/ 2668639 w 3135233"/>
                <a:gd name="connsiteY1376" fmla="*/ 405896 h 2493266"/>
                <a:gd name="connsiteX1377" fmla="*/ 2672783 w 3135233"/>
                <a:gd name="connsiteY1377" fmla="*/ 409153 h 2493266"/>
                <a:gd name="connsiteX1378" fmla="*/ 2666567 w 3135233"/>
                <a:gd name="connsiteY1378" fmla="*/ 414087 h 2493266"/>
                <a:gd name="connsiteX1379" fmla="*/ 2668639 w 3135233"/>
                <a:gd name="connsiteY1379" fmla="*/ 417294 h 2493266"/>
                <a:gd name="connsiteX1380" fmla="*/ 2668639 w 3135233"/>
                <a:gd name="connsiteY1380" fmla="*/ 428593 h 2493266"/>
                <a:gd name="connsiteX1381" fmla="*/ 2664494 w 3135233"/>
                <a:gd name="connsiteY1381" fmla="*/ 431800 h 2493266"/>
                <a:gd name="connsiteX1382" fmla="*/ 2662373 w 3135233"/>
                <a:gd name="connsiteY1382" fmla="*/ 431800 h 2493266"/>
                <a:gd name="connsiteX1383" fmla="*/ 2656156 w 3135233"/>
                <a:gd name="connsiteY1383" fmla="*/ 426866 h 2493266"/>
                <a:gd name="connsiteX1384" fmla="*/ 2647817 w 3135233"/>
                <a:gd name="connsiteY1384" fmla="*/ 425287 h 2493266"/>
                <a:gd name="connsiteX1385" fmla="*/ 2637357 w 3135233"/>
                <a:gd name="connsiteY1385" fmla="*/ 418823 h 2493266"/>
                <a:gd name="connsiteX1386" fmla="*/ 2635334 w 3135233"/>
                <a:gd name="connsiteY1386" fmla="*/ 415567 h 2493266"/>
                <a:gd name="connsiteX1387" fmla="*/ 2637357 w 3135233"/>
                <a:gd name="connsiteY1387" fmla="*/ 407524 h 2493266"/>
                <a:gd name="connsiteX1388" fmla="*/ 2633262 w 3135233"/>
                <a:gd name="connsiteY1388" fmla="*/ 401061 h 2493266"/>
                <a:gd name="connsiteX1389" fmla="*/ 2622802 w 3135233"/>
                <a:gd name="connsiteY1389" fmla="*/ 401061 h 2493266"/>
                <a:gd name="connsiteX1390" fmla="*/ 2606125 w 3135233"/>
                <a:gd name="connsiteY1390" fmla="*/ 399433 h 2493266"/>
                <a:gd name="connsiteX1391" fmla="*/ 2599908 w 3135233"/>
                <a:gd name="connsiteY1391" fmla="*/ 396225 h 2493266"/>
                <a:gd name="connsiteX1392" fmla="*/ 2593444 w 3135233"/>
                <a:gd name="connsiteY1392" fmla="*/ 396225 h 2493266"/>
                <a:gd name="connsiteX1393" fmla="*/ 2591372 w 3135233"/>
                <a:gd name="connsiteY1393" fmla="*/ 399433 h 2493266"/>
                <a:gd name="connsiteX1394" fmla="*/ 2601783 w 3135233"/>
                <a:gd name="connsiteY1394" fmla="*/ 402689 h 2493266"/>
                <a:gd name="connsiteX1395" fmla="*/ 2614315 w 3135233"/>
                <a:gd name="connsiteY1395" fmla="*/ 402689 h 2493266"/>
                <a:gd name="connsiteX1396" fmla="*/ 2630943 w 3135233"/>
                <a:gd name="connsiteY1396" fmla="*/ 407623 h 2493266"/>
                <a:gd name="connsiteX1397" fmla="*/ 2628871 w 3135233"/>
                <a:gd name="connsiteY1397" fmla="*/ 414087 h 2493266"/>
                <a:gd name="connsiteX1398" fmla="*/ 2626749 w 3135233"/>
                <a:gd name="connsiteY1398" fmla="*/ 415666 h 2493266"/>
                <a:gd name="connsiteX1399" fmla="*/ 2618460 w 3135233"/>
                <a:gd name="connsiteY1399" fmla="*/ 410732 h 2493266"/>
                <a:gd name="connsiteX1400" fmla="*/ 2605927 w 3135233"/>
                <a:gd name="connsiteY1400" fmla="*/ 410732 h 2493266"/>
                <a:gd name="connsiteX1401" fmla="*/ 2595517 w 3135233"/>
                <a:gd name="connsiteY1401" fmla="*/ 412360 h 2493266"/>
                <a:gd name="connsiteX1402" fmla="*/ 2595517 w 3135233"/>
                <a:gd name="connsiteY1402" fmla="*/ 409153 h 2493266"/>
                <a:gd name="connsiteX1403" fmla="*/ 2591372 w 3135233"/>
                <a:gd name="connsiteY1403" fmla="*/ 405896 h 2493266"/>
                <a:gd name="connsiteX1404" fmla="*/ 2578889 w 3135233"/>
                <a:gd name="connsiteY1404" fmla="*/ 404268 h 2493266"/>
                <a:gd name="connsiteX1405" fmla="*/ 2574695 w 3135233"/>
                <a:gd name="connsiteY1405" fmla="*/ 401061 h 2493266"/>
                <a:gd name="connsiteX1406" fmla="*/ 2574695 w 3135233"/>
                <a:gd name="connsiteY1406" fmla="*/ 404268 h 2493266"/>
                <a:gd name="connsiteX1407" fmla="*/ 2589497 w 3135233"/>
                <a:gd name="connsiteY1407" fmla="*/ 410732 h 2493266"/>
                <a:gd name="connsiteX1408" fmla="*/ 2587425 w 3135233"/>
                <a:gd name="connsiteY1408" fmla="*/ 412360 h 2493266"/>
                <a:gd name="connsiteX1409" fmla="*/ 2587425 w 3135233"/>
                <a:gd name="connsiteY1409" fmla="*/ 417294 h 2493266"/>
                <a:gd name="connsiteX1410" fmla="*/ 2593642 w 3135233"/>
                <a:gd name="connsiteY1410" fmla="*/ 417294 h 2493266"/>
                <a:gd name="connsiteX1411" fmla="*/ 2597835 w 3135233"/>
                <a:gd name="connsiteY1411" fmla="*/ 418922 h 2493266"/>
                <a:gd name="connsiteX1412" fmla="*/ 2601980 w 3135233"/>
                <a:gd name="connsiteY1412" fmla="*/ 415666 h 2493266"/>
                <a:gd name="connsiteX1413" fmla="*/ 2604052 w 3135233"/>
                <a:gd name="connsiteY1413" fmla="*/ 414087 h 2493266"/>
                <a:gd name="connsiteX1414" fmla="*/ 2608247 w 3135233"/>
                <a:gd name="connsiteY1414" fmla="*/ 415666 h 2493266"/>
                <a:gd name="connsiteX1415" fmla="*/ 2614513 w 3135233"/>
                <a:gd name="connsiteY1415" fmla="*/ 415666 h 2493266"/>
                <a:gd name="connsiteX1416" fmla="*/ 2620729 w 3135233"/>
                <a:gd name="connsiteY1416" fmla="*/ 417294 h 2493266"/>
                <a:gd name="connsiteX1417" fmla="*/ 2630943 w 3135233"/>
                <a:gd name="connsiteY1417" fmla="*/ 424300 h 2493266"/>
                <a:gd name="connsiteX1418" fmla="*/ 2628871 w 3135233"/>
                <a:gd name="connsiteY1418" fmla="*/ 427507 h 2493266"/>
                <a:gd name="connsiteX1419" fmla="*/ 2620532 w 3135233"/>
                <a:gd name="connsiteY1419" fmla="*/ 427507 h 2493266"/>
                <a:gd name="connsiteX1420" fmla="*/ 2614315 w 3135233"/>
                <a:gd name="connsiteY1420" fmla="*/ 430714 h 2493266"/>
                <a:gd name="connsiteX1421" fmla="*/ 2612194 w 3135233"/>
                <a:gd name="connsiteY1421" fmla="*/ 433971 h 2493266"/>
                <a:gd name="connsiteX1422" fmla="*/ 2618460 w 3135233"/>
                <a:gd name="connsiteY1422" fmla="*/ 432343 h 2493266"/>
                <a:gd name="connsiteX1423" fmla="*/ 2624726 w 3135233"/>
                <a:gd name="connsiteY1423" fmla="*/ 432343 h 2493266"/>
                <a:gd name="connsiteX1424" fmla="*/ 2630943 w 3135233"/>
                <a:gd name="connsiteY1424" fmla="*/ 430714 h 2493266"/>
                <a:gd name="connsiteX1425" fmla="*/ 2637160 w 3135233"/>
                <a:gd name="connsiteY1425" fmla="*/ 437178 h 2493266"/>
                <a:gd name="connsiteX1426" fmla="*/ 2645548 w 3135233"/>
                <a:gd name="connsiteY1426" fmla="*/ 440434 h 2493266"/>
                <a:gd name="connsiteX1427" fmla="*/ 2645548 w 3135233"/>
                <a:gd name="connsiteY1427" fmla="*/ 445368 h 2493266"/>
                <a:gd name="connsiteX1428" fmla="*/ 2637160 w 3135233"/>
                <a:gd name="connsiteY1428" fmla="*/ 456667 h 2493266"/>
                <a:gd name="connsiteX1429" fmla="*/ 2633065 w 3135233"/>
                <a:gd name="connsiteY1429" fmla="*/ 466535 h 2493266"/>
                <a:gd name="connsiteX1430" fmla="*/ 2630943 w 3135233"/>
                <a:gd name="connsiteY1430" fmla="*/ 468164 h 2493266"/>
                <a:gd name="connsiteX1431" fmla="*/ 2620532 w 3135233"/>
                <a:gd name="connsiteY1431" fmla="*/ 474578 h 2493266"/>
                <a:gd name="connsiteX1432" fmla="*/ 2616338 w 3135233"/>
                <a:gd name="connsiteY1432" fmla="*/ 471371 h 2493266"/>
                <a:gd name="connsiteX1433" fmla="*/ 2610121 w 3135233"/>
                <a:gd name="connsiteY1433" fmla="*/ 471371 h 2493266"/>
                <a:gd name="connsiteX1434" fmla="*/ 2603855 w 3135233"/>
                <a:gd name="connsiteY1434" fmla="*/ 469743 h 2493266"/>
                <a:gd name="connsiteX1435" fmla="*/ 2603855 w 3135233"/>
                <a:gd name="connsiteY1435" fmla="*/ 466535 h 2493266"/>
                <a:gd name="connsiteX1436" fmla="*/ 2597638 w 3135233"/>
                <a:gd name="connsiteY1436" fmla="*/ 463279 h 2493266"/>
                <a:gd name="connsiteX1437" fmla="*/ 2589300 w 3135233"/>
                <a:gd name="connsiteY1437" fmla="*/ 463279 h 2493266"/>
                <a:gd name="connsiteX1438" fmla="*/ 2589300 w 3135233"/>
                <a:gd name="connsiteY1438" fmla="*/ 466535 h 2493266"/>
                <a:gd name="connsiteX1439" fmla="*/ 2597638 w 3135233"/>
                <a:gd name="connsiteY1439" fmla="*/ 469743 h 2493266"/>
                <a:gd name="connsiteX1440" fmla="*/ 2599710 w 3135233"/>
                <a:gd name="connsiteY1440" fmla="*/ 472999 h 2493266"/>
                <a:gd name="connsiteX1441" fmla="*/ 2603855 w 3135233"/>
                <a:gd name="connsiteY1441" fmla="*/ 472999 h 2493266"/>
                <a:gd name="connsiteX1442" fmla="*/ 2612194 w 3135233"/>
                <a:gd name="connsiteY1442" fmla="*/ 477933 h 2493266"/>
                <a:gd name="connsiteX1443" fmla="*/ 2614315 w 3135233"/>
                <a:gd name="connsiteY1443" fmla="*/ 485976 h 2493266"/>
                <a:gd name="connsiteX1444" fmla="*/ 2612194 w 3135233"/>
                <a:gd name="connsiteY1444" fmla="*/ 489232 h 2493266"/>
                <a:gd name="connsiteX1445" fmla="*/ 2605927 w 3135233"/>
                <a:gd name="connsiteY1445" fmla="*/ 490811 h 2493266"/>
                <a:gd name="connsiteX1446" fmla="*/ 2597638 w 3135233"/>
                <a:gd name="connsiteY1446" fmla="*/ 497274 h 2493266"/>
                <a:gd name="connsiteX1447" fmla="*/ 2593444 w 3135233"/>
                <a:gd name="connsiteY1447" fmla="*/ 497274 h 2493266"/>
                <a:gd name="connsiteX1448" fmla="*/ 2583033 w 3135233"/>
                <a:gd name="connsiteY1448" fmla="*/ 489232 h 2493266"/>
                <a:gd name="connsiteX1449" fmla="*/ 2576817 w 3135233"/>
                <a:gd name="connsiteY1449" fmla="*/ 490811 h 2493266"/>
                <a:gd name="connsiteX1450" fmla="*/ 2572623 w 3135233"/>
                <a:gd name="connsiteY1450" fmla="*/ 487604 h 2493266"/>
                <a:gd name="connsiteX1451" fmla="*/ 2564284 w 3135233"/>
                <a:gd name="connsiteY1451" fmla="*/ 487604 h 2493266"/>
                <a:gd name="connsiteX1452" fmla="*/ 2560140 w 3135233"/>
                <a:gd name="connsiteY1452" fmla="*/ 489232 h 2493266"/>
                <a:gd name="connsiteX1453" fmla="*/ 2562212 w 3135233"/>
                <a:gd name="connsiteY1453" fmla="*/ 494166 h 2493266"/>
                <a:gd name="connsiteX1454" fmla="*/ 2583033 w 3135233"/>
                <a:gd name="connsiteY1454" fmla="*/ 504034 h 2493266"/>
                <a:gd name="connsiteX1455" fmla="*/ 2591471 w 3135233"/>
                <a:gd name="connsiteY1455" fmla="*/ 504034 h 2493266"/>
                <a:gd name="connsiteX1456" fmla="*/ 2591471 w 3135233"/>
                <a:gd name="connsiteY1456" fmla="*/ 508968 h 2493266"/>
                <a:gd name="connsiteX1457" fmla="*/ 2585204 w 3135233"/>
                <a:gd name="connsiteY1457" fmla="*/ 510596 h 2493266"/>
                <a:gd name="connsiteX1458" fmla="*/ 2581060 w 3135233"/>
                <a:gd name="connsiteY1458" fmla="*/ 517060 h 2493266"/>
                <a:gd name="connsiteX1459" fmla="*/ 2574794 w 3135233"/>
                <a:gd name="connsiteY1459" fmla="*/ 518639 h 2493266"/>
                <a:gd name="connsiteX1460" fmla="*/ 2568577 w 3135233"/>
                <a:gd name="connsiteY1460" fmla="*/ 512175 h 2493266"/>
                <a:gd name="connsiteX1461" fmla="*/ 2562311 w 3135233"/>
                <a:gd name="connsiteY1461" fmla="*/ 512175 h 2493266"/>
                <a:gd name="connsiteX1462" fmla="*/ 2556094 w 3135233"/>
                <a:gd name="connsiteY1462" fmla="*/ 517109 h 2493266"/>
                <a:gd name="connsiteX1463" fmla="*/ 2545584 w 3135233"/>
                <a:gd name="connsiteY1463" fmla="*/ 517109 h 2493266"/>
                <a:gd name="connsiteX1464" fmla="*/ 2541390 w 3135233"/>
                <a:gd name="connsiteY1464" fmla="*/ 512175 h 2493266"/>
                <a:gd name="connsiteX1465" fmla="*/ 2526588 w 3135233"/>
                <a:gd name="connsiteY1465" fmla="*/ 508968 h 2493266"/>
                <a:gd name="connsiteX1466" fmla="*/ 2516177 w 3135233"/>
                <a:gd name="connsiteY1466" fmla="*/ 510596 h 2493266"/>
                <a:gd name="connsiteX1467" fmla="*/ 2514105 w 3135233"/>
                <a:gd name="connsiteY1467" fmla="*/ 521895 h 2493266"/>
                <a:gd name="connsiteX1468" fmla="*/ 2508036 w 3135233"/>
                <a:gd name="connsiteY1468" fmla="*/ 527915 h 2493266"/>
                <a:gd name="connsiteX1469" fmla="*/ 2514302 w 3135233"/>
                <a:gd name="connsiteY1469" fmla="*/ 527915 h 2493266"/>
                <a:gd name="connsiteX1470" fmla="*/ 2516375 w 3135233"/>
                <a:gd name="connsiteY1470" fmla="*/ 529494 h 2493266"/>
                <a:gd name="connsiteX1471" fmla="*/ 2516375 w 3135233"/>
                <a:gd name="connsiteY1471" fmla="*/ 535957 h 2493266"/>
                <a:gd name="connsiteX1472" fmla="*/ 2505964 w 3135233"/>
                <a:gd name="connsiteY1472" fmla="*/ 540891 h 2493266"/>
                <a:gd name="connsiteX1473" fmla="*/ 2505964 w 3135233"/>
                <a:gd name="connsiteY1473" fmla="*/ 547355 h 2493266"/>
                <a:gd name="connsiteX1474" fmla="*/ 2497625 w 3135233"/>
                <a:gd name="connsiteY1474" fmla="*/ 550562 h 2493266"/>
                <a:gd name="connsiteX1475" fmla="*/ 2495553 w 3135233"/>
                <a:gd name="connsiteY1475" fmla="*/ 548983 h 2493266"/>
                <a:gd name="connsiteX1476" fmla="*/ 2493481 w 3135233"/>
                <a:gd name="connsiteY1476" fmla="*/ 550562 h 2493266"/>
                <a:gd name="connsiteX1477" fmla="*/ 2491408 w 3135233"/>
                <a:gd name="connsiteY1477" fmla="*/ 553819 h 2493266"/>
                <a:gd name="connsiteX1478" fmla="*/ 2485142 w 3135233"/>
                <a:gd name="connsiteY1478" fmla="*/ 557026 h 2493266"/>
                <a:gd name="connsiteX1479" fmla="*/ 2478925 w 3135233"/>
                <a:gd name="connsiteY1479" fmla="*/ 555397 h 2493266"/>
                <a:gd name="connsiteX1480" fmla="*/ 2483070 w 3135233"/>
                <a:gd name="connsiteY1480" fmla="*/ 552190 h 2493266"/>
                <a:gd name="connsiteX1481" fmla="*/ 2478925 w 3135233"/>
                <a:gd name="connsiteY1481" fmla="*/ 552190 h 2493266"/>
                <a:gd name="connsiteX1482" fmla="*/ 2474732 w 3135233"/>
                <a:gd name="connsiteY1482" fmla="*/ 555397 h 2493266"/>
                <a:gd name="connsiteX1483" fmla="*/ 2470537 w 3135233"/>
                <a:gd name="connsiteY1483" fmla="*/ 563489 h 2493266"/>
                <a:gd name="connsiteX1484" fmla="*/ 2466393 w 3135233"/>
                <a:gd name="connsiteY1484" fmla="*/ 566696 h 2493266"/>
                <a:gd name="connsiteX1485" fmla="*/ 2449716 w 3135233"/>
                <a:gd name="connsiteY1485" fmla="*/ 558654 h 2493266"/>
                <a:gd name="connsiteX1486" fmla="*/ 2439305 w 3135233"/>
                <a:gd name="connsiteY1486" fmla="*/ 558654 h 2493266"/>
                <a:gd name="connsiteX1487" fmla="*/ 2439305 w 3135233"/>
                <a:gd name="connsiteY1487" fmla="*/ 560282 h 2493266"/>
                <a:gd name="connsiteX1488" fmla="*/ 2428894 w 3135233"/>
                <a:gd name="connsiteY1488" fmla="*/ 558654 h 2493266"/>
                <a:gd name="connsiteX1489" fmla="*/ 2414092 w 3135233"/>
                <a:gd name="connsiteY1489" fmla="*/ 544148 h 2493266"/>
                <a:gd name="connsiteX1490" fmla="*/ 2412069 w 3135233"/>
                <a:gd name="connsiteY1490" fmla="*/ 529346 h 2493266"/>
                <a:gd name="connsiteX1491" fmla="*/ 2416214 w 3135233"/>
                <a:gd name="connsiteY1491" fmla="*/ 527767 h 2493266"/>
                <a:gd name="connsiteX1492" fmla="*/ 2416214 w 3135233"/>
                <a:gd name="connsiteY1492" fmla="*/ 522833 h 2493266"/>
                <a:gd name="connsiteX1493" fmla="*/ 2414092 w 3135233"/>
                <a:gd name="connsiteY1493" fmla="*/ 517899 h 2493266"/>
                <a:gd name="connsiteX1494" fmla="*/ 2414092 w 3135233"/>
                <a:gd name="connsiteY1494" fmla="*/ 514692 h 2493266"/>
                <a:gd name="connsiteX1495" fmla="*/ 2407875 w 3135233"/>
                <a:gd name="connsiteY1495" fmla="*/ 521155 h 2493266"/>
                <a:gd name="connsiteX1496" fmla="*/ 2407875 w 3135233"/>
                <a:gd name="connsiteY1496" fmla="*/ 526089 h 2493266"/>
                <a:gd name="connsiteX1497" fmla="*/ 2405803 w 3135233"/>
                <a:gd name="connsiteY1497" fmla="*/ 534132 h 2493266"/>
                <a:gd name="connsiteX1498" fmla="*/ 2401658 w 3135233"/>
                <a:gd name="connsiteY1498" fmla="*/ 539066 h 2493266"/>
                <a:gd name="connsiteX1499" fmla="*/ 2407875 w 3135233"/>
                <a:gd name="connsiteY1499" fmla="*/ 545529 h 2493266"/>
                <a:gd name="connsiteX1500" fmla="*/ 2405803 w 3135233"/>
                <a:gd name="connsiteY1500" fmla="*/ 548786 h 2493266"/>
                <a:gd name="connsiteX1501" fmla="*/ 2384981 w 3135233"/>
                <a:gd name="connsiteY1501" fmla="*/ 548786 h 2493266"/>
                <a:gd name="connsiteX1502" fmla="*/ 2391198 w 3135233"/>
                <a:gd name="connsiteY1502" fmla="*/ 553720 h 2493266"/>
                <a:gd name="connsiteX1503" fmla="*/ 2387054 w 3135233"/>
                <a:gd name="connsiteY1503" fmla="*/ 563588 h 2493266"/>
                <a:gd name="connsiteX1504" fmla="*/ 2393271 w 3135233"/>
                <a:gd name="connsiteY1504" fmla="*/ 563588 h 2493266"/>
                <a:gd name="connsiteX1505" fmla="*/ 2399537 w 3135233"/>
                <a:gd name="connsiteY1505" fmla="*/ 555496 h 2493266"/>
                <a:gd name="connsiteX1506" fmla="*/ 2403977 w 3135233"/>
                <a:gd name="connsiteY1506" fmla="*/ 555496 h 2493266"/>
                <a:gd name="connsiteX1507" fmla="*/ 2408171 w 3135233"/>
                <a:gd name="connsiteY1507" fmla="*/ 553917 h 2493266"/>
                <a:gd name="connsiteX1508" fmla="*/ 2412365 w 3135233"/>
                <a:gd name="connsiteY1508" fmla="*/ 552289 h 2493266"/>
                <a:gd name="connsiteX1509" fmla="*/ 2420704 w 3135233"/>
                <a:gd name="connsiteY1509" fmla="*/ 557223 h 2493266"/>
                <a:gd name="connsiteX1510" fmla="*/ 2426921 w 3135233"/>
                <a:gd name="connsiteY1510" fmla="*/ 563687 h 2493266"/>
                <a:gd name="connsiteX1511" fmla="*/ 2422776 w 3135233"/>
                <a:gd name="connsiteY1511" fmla="*/ 570150 h 2493266"/>
                <a:gd name="connsiteX1512" fmla="*/ 2431115 w 3135233"/>
                <a:gd name="connsiteY1512" fmla="*/ 565216 h 2493266"/>
                <a:gd name="connsiteX1513" fmla="*/ 2443598 w 3135233"/>
                <a:gd name="connsiteY1513" fmla="*/ 561960 h 2493266"/>
                <a:gd name="connsiteX1514" fmla="*/ 2454009 w 3135233"/>
                <a:gd name="connsiteY1514" fmla="*/ 565216 h 2493266"/>
                <a:gd name="connsiteX1515" fmla="*/ 2454009 w 3135233"/>
                <a:gd name="connsiteY1515" fmla="*/ 571630 h 2493266"/>
                <a:gd name="connsiteX1516" fmla="*/ 2451936 w 3135233"/>
                <a:gd name="connsiteY1516" fmla="*/ 574887 h 2493266"/>
                <a:gd name="connsiteX1517" fmla="*/ 2447742 w 3135233"/>
                <a:gd name="connsiteY1517" fmla="*/ 584755 h 2493266"/>
                <a:gd name="connsiteX1518" fmla="*/ 2443598 w 3135233"/>
                <a:gd name="connsiteY1518" fmla="*/ 586383 h 2493266"/>
                <a:gd name="connsiteX1519" fmla="*/ 2441525 w 3135233"/>
                <a:gd name="connsiteY1519" fmla="*/ 589590 h 2493266"/>
                <a:gd name="connsiteX1520" fmla="*/ 2443598 w 3135233"/>
                <a:gd name="connsiteY1520" fmla="*/ 592847 h 2493266"/>
                <a:gd name="connsiteX1521" fmla="*/ 2449814 w 3135233"/>
                <a:gd name="connsiteY1521" fmla="*/ 591219 h 2493266"/>
                <a:gd name="connsiteX1522" fmla="*/ 2447742 w 3135233"/>
                <a:gd name="connsiteY1522" fmla="*/ 596153 h 2493266"/>
                <a:gd name="connsiteX1523" fmla="*/ 2441525 w 3135233"/>
                <a:gd name="connsiteY1523" fmla="*/ 601087 h 2493266"/>
                <a:gd name="connsiteX1524" fmla="*/ 2449814 w 3135233"/>
                <a:gd name="connsiteY1524" fmla="*/ 601087 h 2493266"/>
                <a:gd name="connsiteX1525" fmla="*/ 2451936 w 3135233"/>
                <a:gd name="connsiteY1525" fmla="*/ 597879 h 2493266"/>
                <a:gd name="connsiteX1526" fmla="*/ 2460225 w 3135233"/>
                <a:gd name="connsiteY1526" fmla="*/ 592945 h 2493266"/>
                <a:gd name="connsiteX1527" fmla="*/ 2466491 w 3135233"/>
                <a:gd name="connsiteY1527" fmla="*/ 592945 h 2493266"/>
                <a:gd name="connsiteX1528" fmla="*/ 2468613 w 3135233"/>
                <a:gd name="connsiteY1528" fmla="*/ 591317 h 2493266"/>
                <a:gd name="connsiteX1529" fmla="*/ 2472758 w 3135233"/>
                <a:gd name="connsiteY1529" fmla="*/ 592945 h 2493266"/>
                <a:gd name="connsiteX1530" fmla="*/ 2470636 w 3135233"/>
                <a:gd name="connsiteY1530" fmla="*/ 599360 h 2493266"/>
                <a:gd name="connsiteX1531" fmla="*/ 2472758 w 3135233"/>
                <a:gd name="connsiteY1531" fmla="*/ 602616 h 2493266"/>
                <a:gd name="connsiteX1532" fmla="*/ 2470636 w 3135233"/>
                <a:gd name="connsiteY1532" fmla="*/ 613915 h 2493266"/>
                <a:gd name="connsiteX1533" fmla="*/ 2462347 w 3135233"/>
                <a:gd name="connsiteY1533" fmla="*/ 625214 h 2493266"/>
                <a:gd name="connsiteX1534" fmla="*/ 2456081 w 3135233"/>
                <a:gd name="connsiteY1534" fmla="*/ 625214 h 2493266"/>
                <a:gd name="connsiteX1535" fmla="*/ 2449814 w 3135233"/>
                <a:gd name="connsiteY1535" fmla="*/ 630148 h 2493266"/>
                <a:gd name="connsiteX1536" fmla="*/ 2443450 w 3135233"/>
                <a:gd name="connsiteY1536" fmla="*/ 635872 h 2493266"/>
                <a:gd name="connsiteX1537" fmla="*/ 2437183 w 3135233"/>
                <a:gd name="connsiteY1537" fmla="*/ 639079 h 2493266"/>
                <a:gd name="connsiteX1538" fmla="*/ 2435111 w 3135233"/>
                <a:gd name="connsiteY1538" fmla="*/ 637450 h 2493266"/>
                <a:gd name="connsiteX1539" fmla="*/ 2437183 w 3135233"/>
                <a:gd name="connsiteY1539" fmla="*/ 630987 h 2493266"/>
                <a:gd name="connsiteX1540" fmla="*/ 2439256 w 3135233"/>
                <a:gd name="connsiteY1540" fmla="*/ 622944 h 2493266"/>
                <a:gd name="connsiteX1541" fmla="*/ 2437183 w 3135233"/>
                <a:gd name="connsiteY1541" fmla="*/ 621316 h 2493266"/>
                <a:gd name="connsiteX1542" fmla="*/ 2430966 w 3135233"/>
                <a:gd name="connsiteY1542" fmla="*/ 624573 h 2493266"/>
                <a:gd name="connsiteX1543" fmla="*/ 2426773 w 3135233"/>
                <a:gd name="connsiteY1543" fmla="*/ 632615 h 2493266"/>
                <a:gd name="connsiteX1544" fmla="*/ 2420556 w 3135233"/>
                <a:gd name="connsiteY1544" fmla="*/ 634243 h 2493266"/>
                <a:gd name="connsiteX1545" fmla="*/ 2410095 w 3135233"/>
                <a:gd name="connsiteY1545" fmla="*/ 642286 h 2493266"/>
                <a:gd name="connsiteX1546" fmla="*/ 2408023 w 3135233"/>
                <a:gd name="connsiteY1546" fmla="*/ 640707 h 2493266"/>
                <a:gd name="connsiteX1547" fmla="*/ 2401806 w 3135233"/>
                <a:gd name="connsiteY1547" fmla="*/ 640707 h 2493266"/>
                <a:gd name="connsiteX1548" fmla="*/ 2389175 w 3135233"/>
                <a:gd name="connsiteY1548" fmla="*/ 648749 h 2493266"/>
                <a:gd name="connsiteX1549" fmla="*/ 2387103 w 3135233"/>
                <a:gd name="connsiteY1549" fmla="*/ 647121 h 2493266"/>
                <a:gd name="connsiteX1550" fmla="*/ 2380837 w 3135233"/>
                <a:gd name="connsiteY1550" fmla="*/ 648749 h 2493266"/>
                <a:gd name="connsiteX1551" fmla="*/ 2372498 w 3135233"/>
                <a:gd name="connsiteY1551" fmla="*/ 648749 h 2493266"/>
                <a:gd name="connsiteX1552" fmla="*/ 2370426 w 3135233"/>
                <a:gd name="connsiteY1552" fmla="*/ 643815 h 2493266"/>
                <a:gd name="connsiteX1553" fmla="*/ 2368354 w 3135233"/>
                <a:gd name="connsiteY1553" fmla="*/ 642187 h 2493266"/>
                <a:gd name="connsiteX1554" fmla="*/ 2374620 w 3135233"/>
                <a:gd name="connsiteY1554" fmla="*/ 637253 h 2493266"/>
                <a:gd name="connsiteX1555" fmla="*/ 2378764 w 3135233"/>
                <a:gd name="connsiteY1555" fmla="*/ 632319 h 2493266"/>
                <a:gd name="connsiteX1556" fmla="*/ 2378764 w 3135233"/>
                <a:gd name="connsiteY1556" fmla="*/ 627385 h 2493266"/>
                <a:gd name="connsiteX1557" fmla="*/ 2370426 w 3135233"/>
                <a:gd name="connsiteY1557" fmla="*/ 617517 h 2493266"/>
                <a:gd name="connsiteX1558" fmla="*/ 2366281 w 3135233"/>
                <a:gd name="connsiteY1558" fmla="*/ 622451 h 2493266"/>
                <a:gd name="connsiteX1559" fmla="*/ 2355871 w 3135233"/>
                <a:gd name="connsiteY1559" fmla="*/ 619244 h 2493266"/>
                <a:gd name="connsiteX1560" fmla="*/ 2355871 w 3135233"/>
                <a:gd name="connsiteY1560" fmla="*/ 614310 h 2493266"/>
                <a:gd name="connsiteX1561" fmla="*/ 2357943 w 3135233"/>
                <a:gd name="connsiteY1561" fmla="*/ 607896 h 2493266"/>
                <a:gd name="connsiteX1562" fmla="*/ 2364505 w 3135233"/>
                <a:gd name="connsiteY1562" fmla="*/ 606859 h 2493266"/>
                <a:gd name="connsiteX1563" fmla="*/ 2360311 w 3135233"/>
                <a:gd name="connsiteY1563" fmla="*/ 605231 h 2493266"/>
                <a:gd name="connsiteX1564" fmla="*/ 2356167 w 3135233"/>
                <a:gd name="connsiteY1564" fmla="*/ 603652 h 2493266"/>
                <a:gd name="connsiteX1565" fmla="*/ 2351973 w 3135233"/>
                <a:gd name="connsiteY1565" fmla="*/ 595560 h 2493266"/>
                <a:gd name="connsiteX1566" fmla="*/ 2354094 w 3135233"/>
                <a:gd name="connsiteY1566" fmla="*/ 590626 h 2493266"/>
                <a:gd name="connsiteX1567" fmla="*/ 2354094 w 3135233"/>
                <a:gd name="connsiteY1567" fmla="*/ 584163 h 2493266"/>
                <a:gd name="connsiteX1568" fmla="*/ 2349900 w 3135233"/>
                <a:gd name="connsiteY1568" fmla="*/ 579229 h 2493266"/>
                <a:gd name="connsiteX1569" fmla="*/ 2349900 w 3135233"/>
                <a:gd name="connsiteY1569" fmla="*/ 585692 h 2493266"/>
                <a:gd name="connsiteX1570" fmla="*/ 2345756 w 3135233"/>
                <a:gd name="connsiteY1570" fmla="*/ 595560 h 2493266"/>
                <a:gd name="connsiteX1571" fmla="*/ 2351973 w 3135233"/>
                <a:gd name="connsiteY1571" fmla="*/ 605429 h 2493266"/>
                <a:gd name="connsiteX1572" fmla="*/ 2351973 w 3135233"/>
                <a:gd name="connsiteY1572" fmla="*/ 610363 h 2493266"/>
                <a:gd name="connsiteX1573" fmla="*/ 2347828 w 3135233"/>
                <a:gd name="connsiteY1573" fmla="*/ 613619 h 2493266"/>
                <a:gd name="connsiteX1574" fmla="*/ 2347828 w 3135233"/>
                <a:gd name="connsiteY1574" fmla="*/ 620083 h 2493266"/>
                <a:gd name="connsiteX1575" fmla="*/ 2343684 w 3135233"/>
                <a:gd name="connsiteY1575" fmla="*/ 623290 h 2493266"/>
                <a:gd name="connsiteX1576" fmla="*/ 2337417 w 3135233"/>
                <a:gd name="connsiteY1576" fmla="*/ 620083 h 2493266"/>
                <a:gd name="connsiteX1577" fmla="*/ 2331151 w 3135233"/>
                <a:gd name="connsiteY1577" fmla="*/ 621662 h 2493266"/>
                <a:gd name="connsiteX1578" fmla="*/ 2327007 w 3135233"/>
                <a:gd name="connsiteY1578" fmla="*/ 618454 h 2493266"/>
                <a:gd name="connsiteX1579" fmla="*/ 2324885 w 3135233"/>
                <a:gd name="connsiteY1579" fmla="*/ 613520 h 2493266"/>
                <a:gd name="connsiteX1580" fmla="*/ 2331151 w 3135233"/>
                <a:gd name="connsiteY1580" fmla="*/ 602221 h 2493266"/>
                <a:gd name="connsiteX1581" fmla="*/ 2329079 w 3135233"/>
                <a:gd name="connsiteY1581" fmla="*/ 597287 h 2493266"/>
                <a:gd name="connsiteX1582" fmla="*/ 2329079 w 3135233"/>
                <a:gd name="connsiteY1582" fmla="*/ 590824 h 2493266"/>
                <a:gd name="connsiteX1583" fmla="*/ 2335296 w 3135233"/>
                <a:gd name="connsiteY1583" fmla="*/ 585890 h 2493266"/>
                <a:gd name="connsiteX1584" fmla="*/ 2329079 w 3135233"/>
                <a:gd name="connsiteY1584" fmla="*/ 585890 h 2493266"/>
                <a:gd name="connsiteX1585" fmla="*/ 2322862 w 3135233"/>
                <a:gd name="connsiteY1585" fmla="*/ 590824 h 2493266"/>
                <a:gd name="connsiteX1586" fmla="*/ 2322862 w 3135233"/>
                <a:gd name="connsiteY1586" fmla="*/ 598866 h 2493266"/>
                <a:gd name="connsiteX1587" fmla="*/ 2324885 w 3135233"/>
                <a:gd name="connsiteY1587" fmla="*/ 605330 h 2493266"/>
                <a:gd name="connsiteX1588" fmla="*/ 2318668 w 3135233"/>
                <a:gd name="connsiteY1588" fmla="*/ 613422 h 2493266"/>
                <a:gd name="connsiteX1589" fmla="*/ 2312451 w 3135233"/>
                <a:gd name="connsiteY1589" fmla="*/ 615001 h 2493266"/>
                <a:gd name="connsiteX1590" fmla="*/ 2306135 w 3135233"/>
                <a:gd name="connsiteY1590" fmla="*/ 611793 h 2493266"/>
                <a:gd name="connsiteX1591" fmla="*/ 2306135 w 3135233"/>
                <a:gd name="connsiteY1591" fmla="*/ 606859 h 2493266"/>
                <a:gd name="connsiteX1592" fmla="*/ 2304063 w 3135233"/>
                <a:gd name="connsiteY1592" fmla="*/ 605231 h 2493266"/>
                <a:gd name="connsiteX1593" fmla="*/ 2304063 w 3135233"/>
                <a:gd name="connsiteY1593" fmla="*/ 600297 h 2493266"/>
                <a:gd name="connsiteX1594" fmla="*/ 2308257 w 3135233"/>
                <a:gd name="connsiteY1594" fmla="*/ 595363 h 2493266"/>
                <a:gd name="connsiteX1595" fmla="*/ 2308257 w 3135233"/>
                <a:gd name="connsiteY1595" fmla="*/ 585495 h 2493266"/>
                <a:gd name="connsiteX1596" fmla="*/ 2304063 w 3135233"/>
                <a:gd name="connsiteY1596" fmla="*/ 585495 h 2493266"/>
                <a:gd name="connsiteX1597" fmla="*/ 2304063 w 3135233"/>
                <a:gd name="connsiteY1597" fmla="*/ 587123 h 2493266"/>
                <a:gd name="connsiteX1598" fmla="*/ 2301991 w 3135233"/>
                <a:gd name="connsiteY1598" fmla="*/ 593538 h 2493266"/>
                <a:gd name="connsiteX1599" fmla="*/ 2297846 w 3135233"/>
                <a:gd name="connsiteY1599" fmla="*/ 596794 h 2493266"/>
                <a:gd name="connsiteX1600" fmla="*/ 2297846 w 3135233"/>
                <a:gd name="connsiteY1600" fmla="*/ 601728 h 2493266"/>
                <a:gd name="connsiteX1601" fmla="*/ 2295725 w 3135233"/>
                <a:gd name="connsiteY1601" fmla="*/ 604935 h 2493266"/>
                <a:gd name="connsiteX1602" fmla="*/ 2289508 w 3135233"/>
                <a:gd name="connsiteY1602" fmla="*/ 604935 h 2493266"/>
                <a:gd name="connsiteX1603" fmla="*/ 2289508 w 3135233"/>
                <a:gd name="connsiteY1603" fmla="*/ 606859 h 2493266"/>
                <a:gd name="connsiteX1604" fmla="*/ 2478925 w 3135233"/>
                <a:gd name="connsiteY1604" fmla="*/ 1525034 h 2493266"/>
                <a:gd name="connsiteX1605" fmla="*/ 2476804 w 3135233"/>
                <a:gd name="connsiteY1605" fmla="*/ 1536382 h 2493266"/>
                <a:gd name="connsiteX1606" fmla="*/ 2474732 w 3135233"/>
                <a:gd name="connsiteY1606" fmla="*/ 1542796 h 2493266"/>
                <a:gd name="connsiteX1607" fmla="*/ 2478925 w 3135233"/>
                <a:gd name="connsiteY1607" fmla="*/ 1547731 h 2493266"/>
                <a:gd name="connsiteX1608" fmla="*/ 2480948 w 3135233"/>
                <a:gd name="connsiteY1608" fmla="*/ 1544474 h 2493266"/>
                <a:gd name="connsiteX1609" fmla="*/ 2478925 w 3135233"/>
                <a:gd name="connsiteY1609" fmla="*/ 1541267 h 2493266"/>
                <a:gd name="connsiteX1610" fmla="*/ 2480948 w 3135233"/>
                <a:gd name="connsiteY1610" fmla="*/ 1533175 h 2493266"/>
                <a:gd name="connsiteX1611" fmla="*/ 2480948 w 3135233"/>
                <a:gd name="connsiteY1611" fmla="*/ 1528241 h 2493266"/>
                <a:gd name="connsiteX1612" fmla="*/ 2472659 w 3135233"/>
                <a:gd name="connsiteY1612" fmla="*/ 1492815 h 2493266"/>
                <a:gd name="connsiteX1613" fmla="*/ 2470537 w 3135233"/>
                <a:gd name="connsiteY1613" fmla="*/ 1489558 h 2493266"/>
                <a:gd name="connsiteX1614" fmla="*/ 2472659 w 3135233"/>
                <a:gd name="connsiteY1614" fmla="*/ 1487979 h 2493266"/>
                <a:gd name="connsiteX1615" fmla="*/ 2474732 w 3135233"/>
                <a:gd name="connsiteY1615" fmla="*/ 1489558 h 2493266"/>
                <a:gd name="connsiteX1616" fmla="*/ 2474732 w 3135233"/>
                <a:gd name="connsiteY1616" fmla="*/ 1492815 h 2493266"/>
                <a:gd name="connsiteX1617" fmla="*/ 2460127 w 3135233"/>
                <a:gd name="connsiteY1617" fmla="*/ 1473424 h 2493266"/>
                <a:gd name="connsiteX1618" fmla="*/ 2466393 w 3135233"/>
                <a:gd name="connsiteY1618" fmla="*/ 1467010 h 2493266"/>
                <a:gd name="connsiteX1619" fmla="*/ 2470537 w 3135233"/>
                <a:gd name="connsiteY1619" fmla="*/ 1463753 h 2493266"/>
                <a:gd name="connsiteX1620" fmla="*/ 2472659 w 3135233"/>
                <a:gd name="connsiteY1620" fmla="*/ 1468687 h 2493266"/>
                <a:gd name="connsiteX1621" fmla="*/ 2466393 w 3135233"/>
                <a:gd name="connsiteY1621" fmla="*/ 1471894 h 2493266"/>
                <a:gd name="connsiteX1622" fmla="*/ 2464320 w 3135233"/>
                <a:gd name="connsiteY1622" fmla="*/ 1473523 h 2493266"/>
                <a:gd name="connsiteX1623" fmla="*/ 2403977 w 3135233"/>
                <a:gd name="connsiteY1623" fmla="*/ 1011796 h 2493266"/>
                <a:gd name="connsiteX1624" fmla="*/ 2403977 w 3135233"/>
                <a:gd name="connsiteY1624" fmla="*/ 1006862 h 2493266"/>
                <a:gd name="connsiteX1625" fmla="*/ 2406099 w 3135233"/>
                <a:gd name="connsiteY1625" fmla="*/ 1003654 h 2493266"/>
                <a:gd name="connsiteX1626" fmla="*/ 2406099 w 3135233"/>
                <a:gd name="connsiteY1626" fmla="*/ 1010118 h 2493266"/>
                <a:gd name="connsiteX1627" fmla="*/ 2414388 w 3135233"/>
                <a:gd name="connsiteY1627" fmla="*/ 1016730 h 2493266"/>
                <a:gd name="connsiteX1628" fmla="*/ 2412365 w 3135233"/>
                <a:gd name="connsiteY1628" fmla="*/ 1013523 h 2493266"/>
                <a:gd name="connsiteX1629" fmla="*/ 2412365 w 3135233"/>
                <a:gd name="connsiteY1629" fmla="*/ 1008588 h 2493266"/>
                <a:gd name="connsiteX1630" fmla="*/ 2416510 w 3135233"/>
                <a:gd name="connsiteY1630" fmla="*/ 1006960 h 2493266"/>
                <a:gd name="connsiteX1631" fmla="*/ 2418582 w 3135233"/>
                <a:gd name="connsiteY1631" fmla="*/ 1010217 h 2493266"/>
                <a:gd name="connsiteX1632" fmla="*/ 2416510 w 3135233"/>
                <a:gd name="connsiteY1632" fmla="*/ 1015151 h 2493266"/>
                <a:gd name="connsiteX1633" fmla="*/ 2401955 w 3135233"/>
                <a:gd name="connsiteY1633" fmla="*/ 1032864 h 2493266"/>
                <a:gd name="connsiteX1634" fmla="*/ 2399833 w 3135233"/>
                <a:gd name="connsiteY1634" fmla="*/ 1027930 h 2493266"/>
                <a:gd name="connsiteX1635" fmla="*/ 2399833 w 3135233"/>
                <a:gd name="connsiteY1635" fmla="*/ 1018062 h 2493266"/>
                <a:gd name="connsiteX1636" fmla="*/ 2403977 w 3135233"/>
                <a:gd name="connsiteY1636" fmla="*/ 1016434 h 2493266"/>
                <a:gd name="connsiteX1637" fmla="*/ 2406099 w 3135233"/>
                <a:gd name="connsiteY1637" fmla="*/ 1021368 h 2493266"/>
                <a:gd name="connsiteX1638" fmla="*/ 2408171 w 3135233"/>
                <a:gd name="connsiteY1638" fmla="*/ 1019739 h 2493266"/>
                <a:gd name="connsiteX1639" fmla="*/ 2412365 w 3135233"/>
                <a:gd name="connsiteY1639" fmla="*/ 1022947 h 2493266"/>
                <a:gd name="connsiteX1640" fmla="*/ 2406099 w 3135233"/>
                <a:gd name="connsiteY1640" fmla="*/ 1026203 h 2493266"/>
                <a:gd name="connsiteX1641" fmla="*/ 2403977 w 3135233"/>
                <a:gd name="connsiteY1641" fmla="*/ 1031137 h 2493266"/>
                <a:gd name="connsiteX1642" fmla="*/ 2510256 w 3135233"/>
                <a:gd name="connsiteY1642" fmla="*/ 1170030 h 2493266"/>
                <a:gd name="connsiteX1643" fmla="*/ 2514401 w 3135233"/>
                <a:gd name="connsiteY1643" fmla="*/ 1166823 h 2493266"/>
                <a:gd name="connsiteX1644" fmla="*/ 2520667 w 3135233"/>
                <a:gd name="connsiteY1644" fmla="*/ 1168402 h 2493266"/>
                <a:gd name="connsiteX1645" fmla="*/ 2516473 w 3135233"/>
                <a:gd name="connsiteY1645" fmla="*/ 1171658 h 2493266"/>
                <a:gd name="connsiteX1646" fmla="*/ 2512329 w 3135233"/>
                <a:gd name="connsiteY1646" fmla="*/ 1171658 h 2493266"/>
                <a:gd name="connsiteX1647" fmla="*/ 2497724 w 3135233"/>
                <a:gd name="connsiteY1647" fmla="*/ 1168402 h 2493266"/>
                <a:gd name="connsiteX1648" fmla="*/ 2497724 w 3135233"/>
                <a:gd name="connsiteY1648" fmla="*/ 1163468 h 2493266"/>
                <a:gd name="connsiteX1649" fmla="*/ 2503990 w 3135233"/>
                <a:gd name="connsiteY1649" fmla="*/ 1163468 h 2493266"/>
                <a:gd name="connsiteX1650" fmla="*/ 2508135 w 3135233"/>
                <a:gd name="connsiteY1650" fmla="*/ 1161889 h 2493266"/>
                <a:gd name="connsiteX1651" fmla="*/ 2510256 w 3135233"/>
                <a:gd name="connsiteY1651" fmla="*/ 1163468 h 2493266"/>
                <a:gd name="connsiteX1652" fmla="*/ 2503990 w 3135233"/>
                <a:gd name="connsiteY1652" fmla="*/ 1169931 h 2493266"/>
                <a:gd name="connsiteX1653" fmla="*/ 2499846 w 3135233"/>
                <a:gd name="connsiteY1653" fmla="*/ 1169931 h 2493266"/>
                <a:gd name="connsiteX1654" fmla="*/ 2476903 w 3135233"/>
                <a:gd name="connsiteY1654" fmla="*/ 1231360 h 2493266"/>
                <a:gd name="connsiteX1655" fmla="*/ 2481047 w 3135233"/>
                <a:gd name="connsiteY1655" fmla="*/ 1234567 h 2493266"/>
                <a:gd name="connsiteX1656" fmla="*/ 2485241 w 3135233"/>
                <a:gd name="connsiteY1656" fmla="*/ 1232939 h 2493266"/>
                <a:gd name="connsiteX1657" fmla="*/ 2481047 w 3135233"/>
                <a:gd name="connsiteY1657" fmla="*/ 1231360 h 2493266"/>
                <a:gd name="connsiteX1658" fmla="*/ 2506063 w 3135233"/>
                <a:gd name="connsiteY1658" fmla="*/ 1260422 h 2493266"/>
                <a:gd name="connsiteX1659" fmla="*/ 2512329 w 3135233"/>
                <a:gd name="connsiteY1659" fmla="*/ 1263629 h 2493266"/>
                <a:gd name="connsiteX1660" fmla="*/ 2514401 w 3135233"/>
                <a:gd name="connsiteY1660" fmla="*/ 1262001 h 2493266"/>
                <a:gd name="connsiteX1661" fmla="*/ 2514401 w 3135233"/>
                <a:gd name="connsiteY1661" fmla="*/ 1258793 h 2493266"/>
                <a:gd name="connsiteX1662" fmla="*/ 2510256 w 3135233"/>
                <a:gd name="connsiteY1662" fmla="*/ 1258793 h 2493266"/>
                <a:gd name="connsiteX1663" fmla="*/ 2562311 w 3135233"/>
                <a:gd name="connsiteY1663" fmla="*/ 1307196 h 2493266"/>
                <a:gd name="connsiteX1664" fmla="*/ 2560238 w 3135233"/>
                <a:gd name="connsiteY1664" fmla="*/ 1300733 h 2493266"/>
                <a:gd name="connsiteX1665" fmla="*/ 2564383 w 3135233"/>
                <a:gd name="connsiteY1665" fmla="*/ 1295799 h 2493266"/>
                <a:gd name="connsiteX1666" fmla="*/ 2568577 w 3135233"/>
                <a:gd name="connsiteY1666" fmla="*/ 1299006 h 2493266"/>
                <a:gd name="connsiteX1667" fmla="*/ 2568577 w 3135233"/>
                <a:gd name="connsiteY1667" fmla="*/ 1305469 h 2493266"/>
                <a:gd name="connsiteX1668" fmla="*/ 2564383 w 3135233"/>
                <a:gd name="connsiteY1668" fmla="*/ 1307098 h 2493266"/>
                <a:gd name="connsiteX1669" fmla="*/ 2589398 w 3135233"/>
                <a:gd name="connsiteY1669" fmla="*/ 1336258 h 2493266"/>
                <a:gd name="connsiteX1670" fmla="*/ 2589398 w 3135233"/>
                <a:gd name="connsiteY1670" fmla="*/ 1331324 h 2493266"/>
                <a:gd name="connsiteX1671" fmla="*/ 2595615 w 3135233"/>
                <a:gd name="connsiteY1671" fmla="*/ 1328117 h 2493266"/>
                <a:gd name="connsiteX1672" fmla="*/ 2597737 w 3135233"/>
                <a:gd name="connsiteY1672" fmla="*/ 1326488 h 2493266"/>
                <a:gd name="connsiteX1673" fmla="*/ 2601881 w 3135233"/>
                <a:gd name="connsiteY1673" fmla="*/ 1328117 h 2493266"/>
                <a:gd name="connsiteX1674" fmla="*/ 2597737 w 3135233"/>
                <a:gd name="connsiteY1674" fmla="*/ 1334531 h 2493266"/>
                <a:gd name="connsiteX1675" fmla="*/ 2593543 w 3135233"/>
                <a:gd name="connsiteY1675" fmla="*/ 1334531 h 2493266"/>
                <a:gd name="connsiteX1676" fmla="*/ 2389175 w 3135233"/>
                <a:gd name="connsiteY1676" fmla="*/ 676183 h 2493266"/>
                <a:gd name="connsiteX1677" fmla="*/ 2389175 w 3135233"/>
                <a:gd name="connsiteY1677" fmla="*/ 669719 h 2493266"/>
                <a:gd name="connsiteX1678" fmla="*/ 2393320 w 3135233"/>
                <a:gd name="connsiteY1678" fmla="*/ 666512 h 2493266"/>
                <a:gd name="connsiteX1679" fmla="*/ 2397514 w 3135233"/>
                <a:gd name="connsiteY1679" fmla="*/ 661578 h 2493266"/>
                <a:gd name="connsiteX1680" fmla="*/ 2414141 w 3135233"/>
                <a:gd name="connsiteY1680" fmla="*/ 651710 h 2493266"/>
                <a:gd name="connsiteX1681" fmla="*/ 2420457 w 3135233"/>
                <a:gd name="connsiteY1681" fmla="*/ 651710 h 2493266"/>
                <a:gd name="connsiteX1682" fmla="*/ 2416263 w 3135233"/>
                <a:gd name="connsiteY1682" fmla="*/ 658124 h 2493266"/>
                <a:gd name="connsiteX1683" fmla="*/ 2405852 w 3135233"/>
                <a:gd name="connsiteY1683" fmla="*/ 664588 h 2493266"/>
                <a:gd name="connsiteX1684" fmla="*/ 2403731 w 3135233"/>
                <a:gd name="connsiteY1684" fmla="*/ 669522 h 2493266"/>
                <a:gd name="connsiteX1685" fmla="*/ 2405852 w 3135233"/>
                <a:gd name="connsiteY1685" fmla="*/ 672778 h 2493266"/>
                <a:gd name="connsiteX1686" fmla="*/ 2405852 w 3135233"/>
                <a:gd name="connsiteY1686" fmla="*/ 675985 h 2493266"/>
                <a:gd name="connsiteX1687" fmla="*/ 2401708 w 3135233"/>
                <a:gd name="connsiteY1687" fmla="*/ 675985 h 2493266"/>
                <a:gd name="connsiteX1688" fmla="*/ 2399586 w 3135233"/>
                <a:gd name="connsiteY1688" fmla="*/ 671051 h 2493266"/>
                <a:gd name="connsiteX1689" fmla="*/ 2395442 w 3135233"/>
                <a:gd name="connsiteY1689" fmla="*/ 672679 h 2493266"/>
                <a:gd name="connsiteX1690" fmla="*/ 2393320 w 3135233"/>
                <a:gd name="connsiteY1690" fmla="*/ 675887 h 2493266"/>
                <a:gd name="connsiteX1691" fmla="*/ 2353798 w 3135233"/>
                <a:gd name="connsiteY1691" fmla="*/ 647121 h 2493266"/>
                <a:gd name="connsiteX1692" fmla="*/ 2357943 w 3135233"/>
                <a:gd name="connsiteY1692" fmla="*/ 650378 h 2493266"/>
                <a:gd name="connsiteX1693" fmla="*/ 2362087 w 3135233"/>
                <a:gd name="connsiteY1693" fmla="*/ 650378 h 2493266"/>
                <a:gd name="connsiteX1694" fmla="*/ 2364209 w 3135233"/>
                <a:gd name="connsiteY1694" fmla="*/ 647121 h 2493266"/>
                <a:gd name="connsiteX1695" fmla="*/ 2362087 w 3135233"/>
                <a:gd name="connsiteY1695" fmla="*/ 643914 h 2493266"/>
                <a:gd name="connsiteX1696" fmla="*/ 2160039 w 3135233"/>
                <a:gd name="connsiteY1696" fmla="*/ 573111 h 2493266"/>
                <a:gd name="connsiteX1697" fmla="*/ 2151750 w 3135233"/>
                <a:gd name="connsiteY1697" fmla="*/ 569903 h 2493266"/>
                <a:gd name="connsiteX1698" fmla="*/ 2151750 w 3135233"/>
                <a:gd name="connsiteY1698" fmla="*/ 552141 h 2493266"/>
                <a:gd name="connsiteX1699" fmla="*/ 2149628 w 3135233"/>
                <a:gd name="connsiteY1699" fmla="*/ 550513 h 2493266"/>
                <a:gd name="connsiteX1700" fmla="*/ 2149628 w 3135233"/>
                <a:gd name="connsiteY1700" fmla="*/ 542470 h 2493266"/>
                <a:gd name="connsiteX1701" fmla="*/ 2147556 w 3135233"/>
                <a:gd name="connsiteY1701" fmla="*/ 540842 h 2493266"/>
                <a:gd name="connsiteX1702" fmla="*/ 2155894 w 3135233"/>
                <a:gd name="connsiteY1702" fmla="*/ 539214 h 2493266"/>
                <a:gd name="connsiteX1703" fmla="*/ 2166305 w 3135233"/>
                <a:gd name="connsiteY1703" fmla="*/ 542470 h 2493266"/>
                <a:gd name="connsiteX1704" fmla="*/ 2166305 w 3135233"/>
                <a:gd name="connsiteY1704" fmla="*/ 550513 h 2493266"/>
                <a:gd name="connsiteX1705" fmla="*/ 2162160 w 3135233"/>
                <a:gd name="connsiteY1705" fmla="*/ 561812 h 2493266"/>
                <a:gd name="connsiteX1706" fmla="*/ 2160039 w 3135233"/>
                <a:gd name="connsiteY1706" fmla="*/ 565068 h 2493266"/>
                <a:gd name="connsiteX1707" fmla="*/ 2162160 w 3135233"/>
                <a:gd name="connsiteY1707" fmla="*/ 568275 h 2493266"/>
                <a:gd name="connsiteX1708" fmla="*/ 2164232 w 3135233"/>
                <a:gd name="connsiteY1708" fmla="*/ 573209 h 2493266"/>
                <a:gd name="connsiteX1709" fmla="*/ 2157966 w 3135233"/>
                <a:gd name="connsiteY1709" fmla="*/ 231034 h 2493266"/>
                <a:gd name="connsiteX1710" fmla="*/ 2166305 w 3135233"/>
                <a:gd name="connsiteY1710" fmla="*/ 224570 h 2493266"/>
                <a:gd name="connsiteX1711" fmla="*/ 2170449 w 3135233"/>
                <a:gd name="connsiteY1711" fmla="*/ 216528 h 2493266"/>
                <a:gd name="connsiteX1712" fmla="*/ 2170449 w 3135233"/>
                <a:gd name="connsiteY1712" fmla="*/ 211594 h 2493266"/>
                <a:gd name="connsiteX1713" fmla="*/ 2180860 w 3135233"/>
                <a:gd name="connsiteY1713" fmla="*/ 205130 h 2493266"/>
                <a:gd name="connsiteX1714" fmla="*/ 2185054 w 3135233"/>
                <a:gd name="connsiteY1714" fmla="*/ 197038 h 2493266"/>
                <a:gd name="connsiteX1715" fmla="*/ 2182982 w 3135233"/>
                <a:gd name="connsiteY1715" fmla="*/ 193831 h 2493266"/>
                <a:gd name="connsiteX1716" fmla="*/ 2174644 w 3135233"/>
                <a:gd name="connsiteY1716" fmla="*/ 192203 h 2493266"/>
                <a:gd name="connsiteX1717" fmla="*/ 2168377 w 3135233"/>
                <a:gd name="connsiteY1717" fmla="*/ 190624 h 2493266"/>
                <a:gd name="connsiteX1718" fmla="*/ 2172571 w 3135233"/>
                <a:gd name="connsiteY1718" fmla="*/ 184161 h 2493266"/>
                <a:gd name="connsiteX1719" fmla="*/ 2168377 w 3135233"/>
                <a:gd name="connsiteY1719" fmla="*/ 185789 h 2493266"/>
                <a:gd name="connsiteX1720" fmla="*/ 2160039 w 3135233"/>
                <a:gd name="connsiteY1720" fmla="*/ 192203 h 2493266"/>
                <a:gd name="connsiteX1721" fmla="*/ 2149628 w 3135233"/>
                <a:gd name="connsiteY1721" fmla="*/ 193831 h 2493266"/>
                <a:gd name="connsiteX1722" fmla="*/ 2147556 w 3135233"/>
                <a:gd name="connsiteY1722" fmla="*/ 198765 h 2493266"/>
                <a:gd name="connsiteX1723" fmla="*/ 2143411 w 3135233"/>
                <a:gd name="connsiteY1723" fmla="*/ 202022 h 2493266"/>
                <a:gd name="connsiteX1724" fmla="*/ 2143411 w 3135233"/>
                <a:gd name="connsiteY1724" fmla="*/ 206956 h 2493266"/>
                <a:gd name="connsiteX1725" fmla="*/ 2151750 w 3135233"/>
                <a:gd name="connsiteY1725" fmla="*/ 210163 h 2493266"/>
                <a:gd name="connsiteX1726" fmla="*/ 2160039 w 3135233"/>
                <a:gd name="connsiteY1726" fmla="*/ 208535 h 2493266"/>
                <a:gd name="connsiteX1727" fmla="*/ 2160039 w 3135233"/>
                <a:gd name="connsiteY1727" fmla="*/ 213469 h 2493266"/>
                <a:gd name="connsiteX1728" fmla="*/ 2151750 w 3135233"/>
                <a:gd name="connsiteY1728" fmla="*/ 218403 h 2493266"/>
                <a:gd name="connsiteX1729" fmla="*/ 2151750 w 3135233"/>
                <a:gd name="connsiteY1729" fmla="*/ 223337 h 2493266"/>
                <a:gd name="connsiteX1730" fmla="*/ 2155894 w 3135233"/>
                <a:gd name="connsiteY1730" fmla="*/ 226544 h 2493266"/>
                <a:gd name="connsiteX1731" fmla="*/ 2064220 w 3135233"/>
                <a:gd name="connsiteY1731" fmla="*/ 416603 h 2493266"/>
                <a:gd name="connsiteX1732" fmla="*/ 2064220 w 3135233"/>
                <a:gd name="connsiteY1732" fmla="*/ 410139 h 2493266"/>
                <a:gd name="connsiteX1733" fmla="*/ 2068364 w 3135233"/>
                <a:gd name="connsiteY1733" fmla="*/ 405205 h 2493266"/>
                <a:gd name="connsiteX1734" fmla="*/ 2064220 w 3135233"/>
                <a:gd name="connsiteY1734" fmla="*/ 401998 h 2493266"/>
                <a:gd name="connsiteX1735" fmla="*/ 2064220 w 3135233"/>
                <a:gd name="connsiteY1735" fmla="*/ 393906 h 2493266"/>
                <a:gd name="connsiteX1736" fmla="*/ 2057953 w 3135233"/>
                <a:gd name="connsiteY1736" fmla="*/ 390699 h 2493266"/>
                <a:gd name="connsiteX1737" fmla="*/ 2060026 w 3135233"/>
                <a:gd name="connsiteY1737" fmla="*/ 387443 h 2493266"/>
                <a:gd name="connsiteX1738" fmla="*/ 2062098 w 3135233"/>
                <a:gd name="connsiteY1738" fmla="*/ 382509 h 2493266"/>
                <a:gd name="connsiteX1739" fmla="*/ 2070437 w 3135233"/>
                <a:gd name="connsiteY1739" fmla="*/ 382509 h 2493266"/>
                <a:gd name="connsiteX1740" fmla="*/ 2078775 w 3135233"/>
                <a:gd name="connsiteY1740" fmla="*/ 388972 h 2493266"/>
                <a:gd name="connsiteX1741" fmla="*/ 2080847 w 3135233"/>
                <a:gd name="connsiteY1741" fmla="*/ 388972 h 2493266"/>
                <a:gd name="connsiteX1742" fmla="*/ 2082920 w 3135233"/>
                <a:gd name="connsiteY1742" fmla="*/ 384038 h 2493266"/>
                <a:gd name="connsiteX1743" fmla="*/ 2074630 w 3135233"/>
                <a:gd name="connsiteY1743" fmla="*/ 374170 h 2493266"/>
                <a:gd name="connsiteX1744" fmla="*/ 2068364 w 3135233"/>
                <a:gd name="connsiteY1744" fmla="*/ 370914 h 2493266"/>
                <a:gd name="connsiteX1745" fmla="*/ 2066243 w 3135233"/>
                <a:gd name="connsiteY1745" fmla="*/ 365980 h 2493266"/>
                <a:gd name="connsiteX1746" fmla="*/ 2072509 w 3135233"/>
                <a:gd name="connsiteY1746" fmla="*/ 365980 h 2493266"/>
                <a:gd name="connsiteX1747" fmla="*/ 2068364 w 3135233"/>
                <a:gd name="connsiteY1747" fmla="*/ 361046 h 2493266"/>
                <a:gd name="connsiteX1748" fmla="*/ 2074828 w 3135233"/>
                <a:gd name="connsiteY1748" fmla="*/ 355224 h 2493266"/>
                <a:gd name="connsiteX1749" fmla="*/ 2074828 w 3135233"/>
                <a:gd name="connsiteY1749" fmla="*/ 345356 h 2493266"/>
                <a:gd name="connsiteX1750" fmla="*/ 2078972 w 3135233"/>
                <a:gd name="connsiteY1750" fmla="*/ 337313 h 2493266"/>
                <a:gd name="connsiteX1751" fmla="*/ 2083265 w 3135233"/>
                <a:gd name="connsiteY1751" fmla="*/ 337313 h 2493266"/>
                <a:gd name="connsiteX1752" fmla="*/ 2087459 w 3135233"/>
                <a:gd name="connsiteY1752" fmla="*/ 334057 h 2493266"/>
                <a:gd name="connsiteX1753" fmla="*/ 2089531 w 3135233"/>
                <a:gd name="connsiteY1753" fmla="*/ 326014 h 2493266"/>
                <a:gd name="connsiteX1754" fmla="*/ 2093676 w 3135233"/>
                <a:gd name="connsiteY1754" fmla="*/ 321080 h 2493266"/>
                <a:gd name="connsiteX1755" fmla="*/ 2102014 w 3135233"/>
                <a:gd name="connsiteY1755" fmla="*/ 314616 h 2493266"/>
                <a:gd name="connsiteX1756" fmla="*/ 2110402 w 3135233"/>
                <a:gd name="connsiteY1756" fmla="*/ 314616 h 2493266"/>
                <a:gd name="connsiteX1757" fmla="*/ 2118691 w 3135233"/>
                <a:gd name="connsiteY1757" fmla="*/ 324485 h 2493266"/>
                <a:gd name="connsiteX1758" fmla="*/ 2120813 w 3135233"/>
                <a:gd name="connsiteY1758" fmla="*/ 332576 h 2493266"/>
                <a:gd name="connsiteX1759" fmla="*/ 2120813 w 3135233"/>
                <a:gd name="connsiteY1759" fmla="*/ 335784 h 2493266"/>
                <a:gd name="connsiteX1760" fmla="*/ 2122836 w 3135233"/>
                <a:gd name="connsiteY1760" fmla="*/ 340718 h 2493266"/>
                <a:gd name="connsiteX1761" fmla="*/ 2127030 w 3135233"/>
                <a:gd name="connsiteY1761" fmla="*/ 342346 h 2493266"/>
                <a:gd name="connsiteX1762" fmla="*/ 2127030 w 3135233"/>
                <a:gd name="connsiteY1762" fmla="*/ 348809 h 2493266"/>
                <a:gd name="connsiteX1763" fmla="*/ 2131224 w 3135233"/>
                <a:gd name="connsiteY1763" fmla="*/ 350388 h 2493266"/>
                <a:gd name="connsiteX1764" fmla="*/ 2133296 w 3135233"/>
                <a:gd name="connsiteY1764" fmla="*/ 353645 h 2493266"/>
                <a:gd name="connsiteX1765" fmla="*/ 2135368 w 3135233"/>
                <a:gd name="connsiteY1765" fmla="*/ 360059 h 2493266"/>
                <a:gd name="connsiteX1766" fmla="*/ 2143707 w 3135233"/>
                <a:gd name="connsiteY1766" fmla="*/ 361687 h 2493266"/>
                <a:gd name="connsiteX1767" fmla="*/ 2143707 w 3135233"/>
                <a:gd name="connsiteY1767" fmla="*/ 364944 h 2493266"/>
                <a:gd name="connsiteX1768" fmla="*/ 2145779 w 3135233"/>
                <a:gd name="connsiteY1768" fmla="*/ 369878 h 2493266"/>
                <a:gd name="connsiteX1769" fmla="*/ 2149924 w 3135233"/>
                <a:gd name="connsiteY1769" fmla="*/ 381177 h 2493266"/>
                <a:gd name="connsiteX1770" fmla="*/ 2141635 w 3135233"/>
                <a:gd name="connsiteY1770" fmla="*/ 386111 h 2493266"/>
                <a:gd name="connsiteX1771" fmla="*/ 2137441 w 3135233"/>
                <a:gd name="connsiteY1771" fmla="*/ 389318 h 2493266"/>
                <a:gd name="connsiteX1772" fmla="*/ 2131224 w 3135233"/>
                <a:gd name="connsiteY1772" fmla="*/ 389318 h 2493266"/>
                <a:gd name="connsiteX1773" fmla="*/ 2127030 w 3135233"/>
                <a:gd name="connsiteY1773" fmla="*/ 390946 h 2493266"/>
                <a:gd name="connsiteX1774" fmla="*/ 2129102 w 3135233"/>
                <a:gd name="connsiteY1774" fmla="*/ 394153 h 2493266"/>
                <a:gd name="connsiteX1775" fmla="*/ 2133296 w 3135233"/>
                <a:gd name="connsiteY1775" fmla="*/ 394153 h 2493266"/>
                <a:gd name="connsiteX1776" fmla="*/ 2135368 w 3135233"/>
                <a:gd name="connsiteY1776" fmla="*/ 404021 h 2493266"/>
                <a:gd name="connsiteX1777" fmla="*/ 2135368 w 3135233"/>
                <a:gd name="connsiteY1777" fmla="*/ 410485 h 2493266"/>
                <a:gd name="connsiteX1778" fmla="*/ 2122737 w 3135233"/>
                <a:gd name="connsiteY1778" fmla="*/ 416406 h 2493266"/>
                <a:gd name="connsiteX1779" fmla="*/ 2118593 w 3135233"/>
                <a:gd name="connsiteY1779" fmla="*/ 419613 h 2493266"/>
                <a:gd name="connsiteX1780" fmla="*/ 2114448 w 3135233"/>
                <a:gd name="connsiteY1780" fmla="*/ 419613 h 2493266"/>
                <a:gd name="connsiteX1781" fmla="*/ 2112327 w 3135233"/>
                <a:gd name="connsiteY1781" fmla="*/ 414679 h 2493266"/>
                <a:gd name="connsiteX1782" fmla="*/ 2110303 w 3135233"/>
                <a:gd name="connsiteY1782" fmla="*/ 411472 h 2493266"/>
                <a:gd name="connsiteX1783" fmla="*/ 2101916 w 3135233"/>
                <a:gd name="connsiteY1783" fmla="*/ 416406 h 2493266"/>
                <a:gd name="connsiteX1784" fmla="*/ 2095699 w 3135233"/>
                <a:gd name="connsiteY1784" fmla="*/ 414777 h 2493266"/>
                <a:gd name="connsiteX1785" fmla="*/ 2085288 w 3135233"/>
                <a:gd name="connsiteY1785" fmla="*/ 418034 h 2493266"/>
                <a:gd name="connsiteX1786" fmla="*/ 2081094 w 3135233"/>
                <a:gd name="connsiteY1786" fmla="*/ 416406 h 2493266"/>
                <a:gd name="connsiteX1787" fmla="*/ 2079022 w 3135233"/>
                <a:gd name="connsiteY1787" fmla="*/ 409942 h 2493266"/>
                <a:gd name="connsiteX1788" fmla="*/ 2072756 w 3135233"/>
                <a:gd name="connsiteY1788" fmla="*/ 409942 h 2493266"/>
                <a:gd name="connsiteX1789" fmla="*/ 2072756 w 3135233"/>
                <a:gd name="connsiteY1789" fmla="*/ 413199 h 2493266"/>
                <a:gd name="connsiteX1790" fmla="*/ 2147506 w 3135233"/>
                <a:gd name="connsiteY1790" fmla="*/ 406735 h 2493266"/>
                <a:gd name="connsiteX1791" fmla="*/ 2149579 w 3135233"/>
                <a:gd name="connsiteY1791" fmla="*/ 406735 h 2493266"/>
                <a:gd name="connsiteX1792" fmla="*/ 2151700 w 3135233"/>
                <a:gd name="connsiteY1792" fmla="*/ 401801 h 2493266"/>
                <a:gd name="connsiteX1793" fmla="*/ 2151700 w 3135233"/>
                <a:gd name="connsiteY1793" fmla="*/ 390502 h 2493266"/>
                <a:gd name="connsiteX1794" fmla="*/ 2147506 w 3135233"/>
                <a:gd name="connsiteY1794" fmla="*/ 390502 h 2493266"/>
                <a:gd name="connsiteX1795" fmla="*/ 2145434 w 3135233"/>
                <a:gd name="connsiteY1795" fmla="*/ 393709 h 2493266"/>
                <a:gd name="connsiteX1796" fmla="*/ 2145434 w 3135233"/>
                <a:gd name="connsiteY1796" fmla="*/ 401801 h 2493266"/>
                <a:gd name="connsiteX1797" fmla="*/ 2174594 w 3135233"/>
                <a:gd name="connsiteY1797" fmla="*/ 500482 h 2493266"/>
                <a:gd name="connsiteX1798" fmla="*/ 2174594 w 3135233"/>
                <a:gd name="connsiteY1798" fmla="*/ 505416 h 2493266"/>
                <a:gd name="connsiteX1799" fmla="*/ 2178739 w 3135233"/>
                <a:gd name="connsiteY1799" fmla="*/ 510350 h 2493266"/>
                <a:gd name="connsiteX1800" fmla="*/ 2187077 w 3135233"/>
                <a:gd name="connsiteY1800" fmla="*/ 510350 h 2493266"/>
                <a:gd name="connsiteX1801" fmla="*/ 2195416 w 3135233"/>
                <a:gd name="connsiteY1801" fmla="*/ 507093 h 2493266"/>
                <a:gd name="connsiteX1802" fmla="*/ 2203754 w 3135233"/>
                <a:gd name="connsiteY1802" fmla="*/ 497225 h 2493266"/>
                <a:gd name="connsiteX1803" fmla="*/ 2203754 w 3135233"/>
                <a:gd name="connsiteY1803" fmla="*/ 492291 h 2493266"/>
                <a:gd name="connsiteX1804" fmla="*/ 2199610 w 3135233"/>
                <a:gd name="connsiteY1804" fmla="*/ 490663 h 2493266"/>
                <a:gd name="connsiteX1805" fmla="*/ 2201633 w 3135233"/>
                <a:gd name="connsiteY1805" fmla="*/ 487456 h 2493266"/>
                <a:gd name="connsiteX1806" fmla="*/ 2197488 w 3135233"/>
                <a:gd name="connsiteY1806" fmla="*/ 484249 h 2493266"/>
                <a:gd name="connsiteX1807" fmla="*/ 2193343 w 3135233"/>
                <a:gd name="connsiteY1807" fmla="*/ 482620 h 2493266"/>
                <a:gd name="connsiteX1808" fmla="*/ 2189150 w 3135233"/>
                <a:gd name="connsiteY1808" fmla="*/ 476157 h 2493266"/>
                <a:gd name="connsiteX1809" fmla="*/ 2182933 w 3135233"/>
                <a:gd name="connsiteY1809" fmla="*/ 476157 h 2493266"/>
                <a:gd name="connsiteX1810" fmla="*/ 2176666 w 3135233"/>
                <a:gd name="connsiteY1810" fmla="*/ 481091 h 2493266"/>
                <a:gd name="connsiteX1811" fmla="*/ 2174594 w 3135233"/>
                <a:gd name="connsiteY1811" fmla="*/ 487554 h 2493266"/>
                <a:gd name="connsiteX1812" fmla="*/ 2172522 w 3135233"/>
                <a:gd name="connsiteY1812" fmla="*/ 494018 h 2493266"/>
                <a:gd name="connsiteX1813" fmla="*/ 2164183 w 3135233"/>
                <a:gd name="connsiteY1813" fmla="*/ 503689 h 2493266"/>
                <a:gd name="connsiteX1814" fmla="*/ 2164183 w 3135233"/>
                <a:gd name="connsiteY1814" fmla="*/ 506896 h 2493266"/>
                <a:gd name="connsiteX1815" fmla="*/ 2166256 w 3135233"/>
                <a:gd name="connsiteY1815" fmla="*/ 511830 h 2493266"/>
                <a:gd name="connsiteX1816" fmla="*/ 2168328 w 3135233"/>
                <a:gd name="connsiteY1816" fmla="*/ 513458 h 2493266"/>
                <a:gd name="connsiteX1817" fmla="*/ 2172522 w 3135233"/>
                <a:gd name="connsiteY1817" fmla="*/ 511830 h 2493266"/>
                <a:gd name="connsiteX1818" fmla="*/ 2170400 w 3135233"/>
                <a:gd name="connsiteY1818" fmla="*/ 508623 h 2493266"/>
                <a:gd name="connsiteX1819" fmla="*/ 2168328 w 3135233"/>
                <a:gd name="connsiteY1819" fmla="*/ 506994 h 2493266"/>
                <a:gd name="connsiteX1820" fmla="*/ 2166256 w 3135233"/>
                <a:gd name="connsiteY1820" fmla="*/ 502060 h 2493266"/>
                <a:gd name="connsiteX1821" fmla="*/ 2057953 w 3135233"/>
                <a:gd name="connsiteY1821" fmla="*/ 455286 h 2493266"/>
                <a:gd name="connsiteX1822" fmla="*/ 2057953 w 3135233"/>
                <a:gd name="connsiteY1822" fmla="*/ 445418 h 2493266"/>
                <a:gd name="connsiteX1823" fmla="*/ 2062098 w 3135233"/>
                <a:gd name="connsiteY1823" fmla="*/ 435550 h 2493266"/>
                <a:gd name="connsiteX1824" fmla="*/ 2066243 w 3135233"/>
                <a:gd name="connsiteY1824" fmla="*/ 430616 h 2493266"/>
                <a:gd name="connsiteX1825" fmla="*/ 2078775 w 3135233"/>
                <a:gd name="connsiteY1825" fmla="*/ 430616 h 2493266"/>
                <a:gd name="connsiteX1826" fmla="*/ 2085041 w 3135233"/>
                <a:gd name="connsiteY1826" fmla="*/ 432244 h 2493266"/>
                <a:gd name="connsiteX1827" fmla="*/ 2091258 w 3135233"/>
                <a:gd name="connsiteY1827" fmla="*/ 430616 h 2493266"/>
                <a:gd name="connsiteX1828" fmla="*/ 2093330 w 3135233"/>
                <a:gd name="connsiteY1828" fmla="*/ 432244 h 2493266"/>
                <a:gd name="connsiteX1829" fmla="*/ 2095452 w 3135233"/>
                <a:gd name="connsiteY1829" fmla="*/ 435451 h 2493266"/>
                <a:gd name="connsiteX1830" fmla="*/ 2101669 w 3135233"/>
                <a:gd name="connsiteY1830" fmla="*/ 435451 h 2493266"/>
                <a:gd name="connsiteX1831" fmla="*/ 2103741 w 3135233"/>
                <a:gd name="connsiteY1831" fmla="*/ 433872 h 2493266"/>
                <a:gd name="connsiteX1832" fmla="*/ 2110057 w 3135233"/>
                <a:gd name="connsiteY1832" fmla="*/ 437079 h 2493266"/>
                <a:gd name="connsiteX1833" fmla="*/ 2114202 w 3135233"/>
                <a:gd name="connsiteY1833" fmla="*/ 437079 h 2493266"/>
                <a:gd name="connsiteX1834" fmla="*/ 2122491 w 3135233"/>
                <a:gd name="connsiteY1834" fmla="*/ 445171 h 2493266"/>
                <a:gd name="connsiteX1835" fmla="*/ 2126685 w 3135233"/>
                <a:gd name="connsiteY1835" fmla="*/ 446750 h 2493266"/>
                <a:gd name="connsiteX1836" fmla="*/ 2124612 w 3135233"/>
                <a:gd name="connsiteY1836" fmla="*/ 450006 h 2493266"/>
                <a:gd name="connsiteX1837" fmla="*/ 2126685 w 3135233"/>
                <a:gd name="connsiteY1837" fmla="*/ 453214 h 2493266"/>
                <a:gd name="connsiteX1838" fmla="*/ 2130879 w 3135233"/>
                <a:gd name="connsiteY1838" fmla="*/ 453214 h 2493266"/>
                <a:gd name="connsiteX1839" fmla="*/ 2137095 w 3135233"/>
                <a:gd name="connsiteY1839" fmla="*/ 450006 h 2493266"/>
                <a:gd name="connsiteX1840" fmla="*/ 2141289 w 3135233"/>
                <a:gd name="connsiteY1840" fmla="*/ 454940 h 2493266"/>
                <a:gd name="connsiteX1841" fmla="*/ 2145434 w 3135233"/>
                <a:gd name="connsiteY1841" fmla="*/ 458148 h 2493266"/>
                <a:gd name="connsiteX1842" fmla="*/ 2145434 w 3135233"/>
                <a:gd name="connsiteY1842" fmla="*/ 464611 h 2493266"/>
                <a:gd name="connsiteX1843" fmla="*/ 2143362 w 3135233"/>
                <a:gd name="connsiteY1843" fmla="*/ 467868 h 2493266"/>
                <a:gd name="connsiteX1844" fmla="*/ 2135023 w 3135233"/>
                <a:gd name="connsiteY1844" fmla="*/ 466239 h 2493266"/>
                <a:gd name="connsiteX1845" fmla="*/ 2126685 w 3135233"/>
                <a:gd name="connsiteY1845" fmla="*/ 472703 h 2493266"/>
                <a:gd name="connsiteX1846" fmla="*/ 2120468 w 3135233"/>
                <a:gd name="connsiteY1846" fmla="*/ 474282 h 2493266"/>
                <a:gd name="connsiteX1847" fmla="*/ 2112080 w 3135233"/>
                <a:gd name="connsiteY1847" fmla="*/ 469348 h 2493266"/>
                <a:gd name="connsiteX1848" fmla="*/ 2099597 w 3135233"/>
                <a:gd name="connsiteY1848" fmla="*/ 469348 h 2493266"/>
                <a:gd name="connsiteX1849" fmla="*/ 2091258 w 3135233"/>
                <a:gd name="connsiteY1849" fmla="*/ 462884 h 2493266"/>
                <a:gd name="connsiteX1850" fmla="*/ 2083265 w 3135233"/>
                <a:gd name="connsiteY1850" fmla="*/ 462884 h 2493266"/>
                <a:gd name="connsiteX1851" fmla="*/ 2074976 w 3135233"/>
                <a:gd name="connsiteY1851" fmla="*/ 459677 h 2493266"/>
                <a:gd name="connsiteX1852" fmla="*/ 2070782 w 3135233"/>
                <a:gd name="connsiteY1852" fmla="*/ 454743 h 2493266"/>
                <a:gd name="connsiteX1853" fmla="*/ 2058299 w 3135233"/>
                <a:gd name="connsiteY1853" fmla="*/ 454743 h 2493266"/>
                <a:gd name="connsiteX1854" fmla="*/ 1970670 w 3135233"/>
                <a:gd name="connsiteY1854" fmla="*/ 351868 h 2493266"/>
                <a:gd name="connsiteX1855" fmla="*/ 1972743 w 3135233"/>
                <a:gd name="connsiteY1855" fmla="*/ 350240 h 2493266"/>
                <a:gd name="connsiteX1856" fmla="*/ 1976887 w 3135233"/>
                <a:gd name="connsiteY1856" fmla="*/ 347033 h 2493266"/>
                <a:gd name="connsiteX1857" fmla="*/ 1978959 w 3135233"/>
                <a:gd name="connsiteY1857" fmla="*/ 348661 h 2493266"/>
                <a:gd name="connsiteX1858" fmla="*/ 1976887 w 3135233"/>
                <a:gd name="connsiteY1858" fmla="*/ 353595 h 2493266"/>
                <a:gd name="connsiteX1859" fmla="*/ 1972743 w 3135233"/>
                <a:gd name="connsiteY1859" fmla="*/ 353595 h 2493266"/>
                <a:gd name="connsiteX1860" fmla="*/ 1976887 w 3135233"/>
                <a:gd name="connsiteY1860" fmla="*/ 387344 h 2493266"/>
                <a:gd name="connsiteX1861" fmla="*/ 1981081 w 3135233"/>
                <a:gd name="connsiteY1861" fmla="*/ 397212 h 2493266"/>
                <a:gd name="connsiteX1862" fmla="*/ 1985226 w 3135233"/>
                <a:gd name="connsiteY1862" fmla="*/ 402146 h 2493266"/>
                <a:gd name="connsiteX1863" fmla="*/ 1995686 w 3135233"/>
                <a:gd name="connsiteY1863" fmla="*/ 402146 h 2493266"/>
                <a:gd name="connsiteX1864" fmla="*/ 1997758 w 3135233"/>
                <a:gd name="connsiteY1864" fmla="*/ 403725 h 2493266"/>
                <a:gd name="connsiteX1865" fmla="*/ 2003975 w 3135233"/>
                <a:gd name="connsiteY1865" fmla="*/ 403725 h 2493266"/>
                <a:gd name="connsiteX1866" fmla="*/ 2014386 w 3135233"/>
                <a:gd name="connsiteY1866" fmla="*/ 398791 h 2493266"/>
                <a:gd name="connsiteX1867" fmla="*/ 2014386 w 3135233"/>
                <a:gd name="connsiteY1867" fmla="*/ 393857 h 2493266"/>
                <a:gd name="connsiteX1868" fmla="*/ 2018580 w 3135233"/>
                <a:gd name="connsiteY1868" fmla="*/ 392229 h 2493266"/>
                <a:gd name="connsiteX1869" fmla="*/ 2024797 w 3135233"/>
                <a:gd name="connsiteY1869" fmla="*/ 384186 h 2493266"/>
                <a:gd name="connsiteX1870" fmla="*/ 2026918 w 3135233"/>
                <a:gd name="connsiteY1870" fmla="*/ 377723 h 2493266"/>
                <a:gd name="connsiteX1871" fmla="*/ 2028991 w 3135233"/>
                <a:gd name="connsiteY1871" fmla="*/ 367855 h 2493266"/>
                <a:gd name="connsiteX1872" fmla="*/ 2033135 w 3135233"/>
                <a:gd name="connsiteY1872" fmla="*/ 359763 h 2493266"/>
                <a:gd name="connsiteX1873" fmla="*/ 2031063 w 3135233"/>
                <a:gd name="connsiteY1873" fmla="*/ 356556 h 2493266"/>
                <a:gd name="connsiteX1874" fmla="*/ 2031063 w 3135233"/>
                <a:gd name="connsiteY1874" fmla="*/ 353349 h 2493266"/>
                <a:gd name="connsiteX1875" fmla="*/ 2035208 w 3135233"/>
                <a:gd name="connsiteY1875" fmla="*/ 350092 h 2493266"/>
                <a:gd name="connsiteX1876" fmla="*/ 2039401 w 3135233"/>
                <a:gd name="connsiteY1876" fmla="*/ 342050 h 2493266"/>
                <a:gd name="connsiteX1877" fmla="*/ 2043793 w 3135233"/>
                <a:gd name="connsiteY1877" fmla="*/ 342050 h 2493266"/>
                <a:gd name="connsiteX1878" fmla="*/ 2050010 w 3135233"/>
                <a:gd name="connsiteY1878" fmla="*/ 337116 h 2493266"/>
                <a:gd name="connsiteX1879" fmla="*/ 2058348 w 3135233"/>
                <a:gd name="connsiteY1879" fmla="*/ 332182 h 2493266"/>
                <a:gd name="connsiteX1880" fmla="*/ 2060420 w 3135233"/>
                <a:gd name="connsiteY1880" fmla="*/ 324090 h 2493266"/>
                <a:gd name="connsiteX1881" fmla="*/ 2058348 w 3135233"/>
                <a:gd name="connsiteY1881" fmla="*/ 319156 h 2493266"/>
                <a:gd name="connsiteX1882" fmla="*/ 2064614 w 3135233"/>
                <a:gd name="connsiteY1882" fmla="*/ 314222 h 2493266"/>
                <a:gd name="connsiteX1883" fmla="*/ 2066637 w 3135233"/>
                <a:gd name="connsiteY1883" fmla="*/ 310965 h 2493266"/>
                <a:gd name="connsiteX1884" fmla="*/ 2062493 w 3135233"/>
                <a:gd name="connsiteY1884" fmla="*/ 304551 h 2493266"/>
                <a:gd name="connsiteX1885" fmla="*/ 2062493 w 3135233"/>
                <a:gd name="connsiteY1885" fmla="*/ 298630 h 2493266"/>
                <a:gd name="connsiteX1886" fmla="*/ 2058348 w 3135233"/>
                <a:gd name="connsiteY1886" fmla="*/ 298630 h 2493266"/>
                <a:gd name="connsiteX1887" fmla="*/ 2050010 w 3135233"/>
                <a:gd name="connsiteY1887" fmla="*/ 295374 h 2493266"/>
                <a:gd name="connsiteX1888" fmla="*/ 2043793 w 3135233"/>
                <a:gd name="connsiteY1888" fmla="*/ 295374 h 2493266"/>
                <a:gd name="connsiteX1889" fmla="*/ 2041671 w 3135233"/>
                <a:gd name="connsiteY1889" fmla="*/ 292167 h 2493266"/>
                <a:gd name="connsiteX1890" fmla="*/ 2043793 w 3135233"/>
                <a:gd name="connsiteY1890" fmla="*/ 287233 h 2493266"/>
                <a:gd name="connsiteX1891" fmla="*/ 2054203 w 3135233"/>
                <a:gd name="connsiteY1891" fmla="*/ 282299 h 2493266"/>
                <a:gd name="connsiteX1892" fmla="*/ 2054203 w 3135233"/>
                <a:gd name="connsiteY1892" fmla="*/ 279239 h 2493266"/>
                <a:gd name="connsiteX1893" fmla="*/ 2050010 w 3135233"/>
                <a:gd name="connsiteY1893" fmla="*/ 274305 h 2493266"/>
                <a:gd name="connsiteX1894" fmla="*/ 2050010 w 3135233"/>
                <a:gd name="connsiteY1894" fmla="*/ 267941 h 2493266"/>
                <a:gd name="connsiteX1895" fmla="*/ 2052082 w 3135233"/>
                <a:gd name="connsiteY1895" fmla="*/ 263006 h 2493266"/>
                <a:gd name="connsiteX1896" fmla="*/ 2045618 w 3135233"/>
                <a:gd name="connsiteY1896" fmla="*/ 256543 h 2493266"/>
                <a:gd name="connsiteX1897" fmla="*/ 2041474 w 3135233"/>
                <a:gd name="connsiteY1897" fmla="*/ 256543 h 2493266"/>
                <a:gd name="connsiteX1898" fmla="*/ 2033135 w 3135233"/>
                <a:gd name="connsiteY1898" fmla="*/ 261477 h 2493266"/>
                <a:gd name="connsiteX1899" fmla="*/ 2022724 w 3135233"/>
                <a:gd name="connsiteY1899" fmla="*/ 263056 h 2493266"/>
                <a:gd name="connsiteX1900" fmla="*/ 2020652 w 3135233"/>
                <a:gd name="connsiteY1900" fmla="*/ 267990 h 2493266"/>
                <a:gd name="connsiteX1901" fmla="*/ 2014386 w 3135233"/>
                <a:gd name="connsiteY1901" fmla="*/ 272924 h 2493266"/>
                <a:gd name="connsiteX1902" fmla="*/ 2010192 w 3135233"/>
                <a:gd name="connsiteY1902" fmla="*/ 272924 h 2493266"/>
                <a:gd name="connsiteX1903" fmla="*/ 2008169 w 3135233"/>
                <a:gd name="connsiteY1903" fmla="*/ 266510 h 2493266"/>
                <a:gd name="connsiteX1904" fmla="*/ 2016507 w 3135233"/>
                <a:gd name="connsiteY1904" fmla="*/ 263253 h 2493266"/>
                <a:gd name="connsiteX1905" fmla="*/ 2020652 w 3135233"/>
                <a:gd name="connsiteY1905" fmla="*/ 258319 h 2493266"/>
                <a:gd name="connsiteX1906" fmla="*/ 2020652 w 3135233"/>
                <a:gd name="connsiteY1906" fmla="*/ 250227 h 2493266"/>
                <a:gd name="connsiteX1907" fmla="*/ 2022724 w 3135233"/>
                <a:gd name="connsiteY1907" fmla="*/ 240359 h 2493266"/>
                <a:gd name="connsiteX1908" fmla="*/ 2020652 w 3135233"/>
                <a:gd name="connsiteY1908" fmla="*/ 233945 h 2493266"/>
                <a:gd name="connsiteX1909" fmla="*/ 2016507 w 3135233"/>
                <a:gd name="connsiteY1909" fmla="*/ 229011 h 2493266"/>
                <a:gd name="connsiteX1910" fmla="*/ 2014386 w 3135233"/>
                <a:gd name="connsiteY1910" fmla="*/ 224077 h 2493266"/>
                <a:gd name="connsiteX1911" fmla="*/ 2006097 w 3135233"/>
                <a:gd name="connsiteY1911" fmla="*/ 219143 h 2493266"/>
                <a:gd name="connsiteX1912" fmla="*/ 1999781 w 3135233"/>
                <a:gd name="connsiteY1912" fmla="*/ 222399 h 2493266"/>
                <a:gd name="connsiteX1913" fmla="*/ 1991492 w 3135233"/>
                <a:gd name="connsiteY1913" fmla="*/ 219143 h 2493266"/>
                <a:gd name="connsiteX1914" fmla="*/ 1981081 w 3135233"/>
                <a:gd name="connsiteY1914" fmla="*/ 227235 h 2493266"/>
                <a:gd name="connsiteX1915" fmla="*/ 1976887 w 3135233"/>
                <a:gd name="connsiteY1915" fmla="*/ 225607 h 2493266"/>
                <a:gd name="connsiteX1916" fmla="*/ 1974815 w 3135233"/>
                <a:gd name="connsiteY1916" fmla="*/ 215738 h 2493266"/>
                <a:gd name="connsiteX1917" fmla="*/ 1974815 w 3135233"/>
                <a:gd name="connsiteY1917" fmla="*/ 214110 h 2493266"/>
                <a:gd name="connsiteX1918" fmla="*/ 1968549 w 3135233"/>
                <a:gd name="connsiteY1918" fmla="*/ 217367 h 2493266"/>
                <a:gd name="connsiteX1919" fmla="*/ 1966477 w 3135233"/>
                <a:gd name="connsiteY1919" fmla="*/ 222301 h 2493266"/>
                <a:gd name="connsiteX1920" fmla="*/ 1958138 w 3135233"/>
                <a:gd name="connsiteY1920" fmla="*/ 227235 h 2493266"/>
                <a:gd name="connsiteX1921" fmla="*/ 1956065 w 3135233"/>
                <a:gd name="connsiteY1921" fmla="*/ 233698 h 2493266"/>
                <a:gd name="connsiteX1922" fmla="*/ 1947727 w 3135233"/>
                <a:gd name="connsiteY1922" fmla="*/ 241741 h 2493266"/>
                <a:gd name="connsiteX1923" fmla="*/ 1949849 w 3135233"/>
                <a:gd name="connsiteY1923" fmla="*/ 246675 h 2493266"/>
                <a:gd name="connsiteX1924" fmla="*/ 1953993 w 3135233"/>
                <a:gd name="connsiteY1924" fmla="*/ 249931 h 2493266"/>
                <a:gd name="connsiteX1925" fmla="*/ 1958138 w 3135233"/>
                <a:gd name="connsiteY1925" fmla="*/ 246675 h 2493266"/>
                <a:gd name="connsiteX1926" fmla="*/ 1966477 w 3135233"/>
                <a:gd name="connsiteY1926" fmla="*/ 245096 h 2493266"/>
                <a:gd name="connsiteX1927" fmla="*/ 1968549 w 3135233"/>
                <a:gd name="connsiteY1927" fmla="*/ 248303 h 2493266"/>
                <a:gd name="connsiteX1928" fmla="*/ 1960260 w 3135233"/>
                <a:gd name="connsiteY1928" fmla="*/ 254767 h 2493266"/>
                <a:gd name="connsiteX1929" fmla="*/ 1949849 w 3135233"/>
                <a:gd name="connsiteY1929" fmla="*/ 257974 h 2493266"/>
                <a:gd name="connsiteX1930" fmla="*/ 1943583 w 3135233"/>
                <a:gd name="connsiteY1930" fmla="*/ 267842 h 2493266"/>
                <a:gd name="connsiteX1931" fmla="*/ 1945655 w 3135233"/>
                <a:gd name="connsiteY1931" fmla="*/ 271098 h 2493266"/>
                <a:gd name="connsiteX1932" fmla="*/ 1956065 w 3135233"/>
                <a:gd name="connsiteY1932" fmla="*/ 266164 h 2493266"/>
                <a:gd name="connsiteX1933" fmla="*/ 1964404 w 3135233"/>
                <a:gd name="connsiteY1933" fmla="*/ 259701 h 2493266"/>
                <a:gd name="connsiteX1934" fmla="*/ 1968549 w 3135233"/>
                <a:gd name="connsiteY1934" fmla="*/ 259701 h 2493266"/>
                <a:gd name="connsiteX1935" fmla="*/ 1974716 w 3135233"/>
                <a:gd name="connsiteY1935" fmla="*/ 256543 h 2493266"/>
                <a:gd name="connsiteX1936" fmla="*/ 1978861 w 3135233"/>
                <a:gd name="connsiteY1936" fmla="*/ 261477 h 2493266"/>
                <a:gd name="connsiteX1937" fmla="*/ 1974716 w 3135233"/>
                <a:gd name="connsiteY1937" fmla="*/ 267891 h 2493266"/>
                <a:gd name="connsiteX1938" fmla="*/ 1970572 w 3135233"/>
                <a:gd name="connsiteY1938" fmla="*/ 267891 h 2493266"/>
                <a:gd name="connsiteX1939" fmla="*/ 1962233 w 3135233"/>
                <a:gd name="connsiteY1939" fmla="*/ 274355 h 2493266"/>
                <a:gd name="connsiteX1940" fmla="*/ 1960161 w 3135233"/>
                <a:gd name="connsiteY1940" fmla="*/ 279289 h 2493266"/>
                <a:gd name="connsiteX1941" fmla="*/ 1962233 w 3135233"/>
                <a:gd name="connsiteY1941" fmla="*/ 284223 h 2493266"/>
                <a:gd name="connsiteX1942" fmla="*/ 1972644 w 3135233"/>
                <a:gd name="connsiteY1942" fmla="*/ 282644 h 2493266"/>
                <a:gd name="connsiteX1943" fmla="*/ 1978861 w 3135233"/>
                <a:gd name="connsiteY1943" fmla="*/ 284223 h 2493266"/>
                <a:gd name="connsiteX1944" fmla="*/ 1970572 w 3135233"/>
                <a:gd name="connsiteY1944" fmla="*/ 289157 h 2493266"/>
                <a:gd name="connsiteX1945" fmla="*/ 1960161 w 3135233"/>
                <a:gd name="connsiteY1945" fmla="*/ 292364 h 2493266"/>
                <a:gd name="connsiteX1946" fmla="*/ 1955967 w 3135233"/>
                <a:gd name="connsiteY1946" fmla="*/ 290736 h 2493266"/>
                <a:gd name="connsiteX1947" fmla="*/ 1953895 w 3135233"/>
                <a:gd name="connsiteY1947" fmla="*/ 295670 h 2493266"/>
                <a:gd name="connsiteX1948" fmla="*/ 1962233 w 3135233"/>
                <a:gd name="connsiteY1948" fmla="*/ 297298 h 2493266"/>
                <a:gd name="connsiteX1949" fmla="*/ 1962233 w 3135233"/>
                <a:gd name="connsiteY1949" fmla="*/ 300505 h 2493266"/>
                <a:gd name="connsiteX1950" fmla="*/ 1951822 w 3135233"/>
                <a:gd name="connsiteY1950" fmla="*/ 310373 h 2493266"/>
                <a:gd name="connsiteX1951" fmla="*/ 1947628 w 3135233"/>
                <a:gd name="connsiteY1951" fmla="*/ 310373 h 2493266"/>
                <a:gd name="connsiteX1952" fmla="*/ 1943484 w 3135233"/>
                <a:gd name="connsiteY1952" fmla="*/ 302281 h 2493266"/>
                <a:gd name="connsiteX1953" fmla="*/ 1937218 w 3135233"/>
                <a:gd name="connsiteY1953" fmla="*/ 299074 h 2493266"/>
                <a:gd name="connsiteX1954" fmla="*/ 1933073 w 3135233"/>
                <a:gd name="connsiteY1954" fmla="*/ 292611 h 2493266"/>
                <a:gd name="connsiteX1955" fmla="*/ 1918271 w 3135233"/>
                <a:gd name="connsiteY1955" fmla="*/ 297545 h 2493266"/>
                <a:gd name="connsiteX1956" fmla="*/ 1918271 w 3135233"/>
                <a:gd name="connsiteY1956" fmla="*/ 300752 h 2493266"/>
                <a:gd name="connsiteX1957" fmla="*/ 1909883 w 3135233"/>
                <a:gd name="connsiteY1957" fmla="*/ 312051 h 2493266"/>
                <a:gd name="connsiteX1958" fmla="*/ 1916149 w 3135233"/>
                <a:gd name="connsiteY1958" fmla="*/ 320143 h 2493266"/>
                <a:gd name="connsiteX1959" fmla="*/ 1916149 w 3135233"/>
                <a:gd name="connsiteY1959" fmla="*/ 325077 h 2493266"/>
                <a:gd name="connsiteX1960" fmla="*/ 1922416 w 3135233"/>
                <a:gd name="connsiteY1960" fmla="*/ 328284 h 2493266"/>
                <a:gd name="connsiteX1961" fmla="*/ 1926560 w 3135233"/>
                <a:gd name="connsiteY1961" fmla="*/ 323350 h 2493266"/>
                <a:gd name="connsiteX1962" fmla="*/ 1932826 w 3135233"/>
                <a:gd name="connsiteY1962" fmla="*/ 323350 h 2493266"/>
                <a:gd name="connsiteX1963" fmla="*/ 1945309 w 3135233"/>
                <a:gd name="connsiteY1963" fmla="*/ 326606 h 2493266"/>
                <a:gd name="connsiteX1964" fmla="*/ 1955720 w 3135233"/>
                <a:gd name="connsiteY1964" fmla="*/ 326606 h 2493266"/>
                <a:gd name="connsiteX1965" fmla="*/ 1957793 w 3135233"/>
                <a:gd name="connsiteY1965" fmla="*/ 328185 h 2493266"/>
                <a:gd name="connsiteX1966" fmla="*/ 1968203 w 3135233"/>
                <a:gd name="connsiteY1966" fmla="*/ 326606 h 2493266"/>
                <a:gd name="connsiteX1967" fmla="*/ 1968203 w 3135233"/>
                <a:gd name="connsiteY1967" fmla="*/ 329813 h 2493266"/>
                <a:gd name="connsiteX1968" fmla="*/ 1961986 w 3135233"/>
                <a:gd name="connsiteY1968" fmla="*/ 331442 h 2493266"/>
                <a:gd name="connsiteX1969" fmla="*/ 1959914 w 3135233"/>
                <a:gd name="connsiteY1969" fmla="*/ 334649 h 2493266"/>
                <a:gd name="connsiteX1970" fmla="*/ 1961986 w 3135233"/>
                <a:gd name="connsiteY1970" fmla="*/ 341112 h 2493266"/>
                <a:gd name="connsiteX1971" fmla="*/ 1972397 w 3135233"/>
                <a:gd name="connsiteY1971" fmla="*/ 341112 h 2493266"/>
                <a:gd name="connsiteX1972" fmla="*/ 1978614 w 3135233"/>
                <a:gd name="connsiteY1972" fmla="*/ 346046 h 2493266"/>
                <a:gd name="connsiteX1973" fmla="*/ 1982808 w 3135233"/>
                <a:gd name="connsiteY1973" fmla="*/ 355914 h 2493266"/>
                <a:gd name="connsiteX1974" fmla="*/ 1989518 w 3135233"/>
                <a:gd name="connsiteY1974" fmla="*/ 355914 h 2493266"/>
                <a:gd name="connsiteX1975" fmla="*/ 1991640 w 3135233"/>
                <a:gd name="connsiteY1975" fmla="*/ 359171 h 2493266"/>
                <a:gd name="connsiteX1976" fmla="*/ 1989518 w 3135233"/>
                <a:gd name="connsiteY1976" fmla="*/ 362378 h 2493266"/>
                <a:gd name="connsiteX1977" fmla="*/ 1989518 w 3135233"/>
                <a:gd name="connsiteY1977" fmla="*/ 368842 h 2493266"/>
                <a:gd name="connsiteX1978" fmla="*/ 1939438 w 3135233"/>
                <a:gd name="connsiteY1978" fmla="*/ 342198 h 2493266"/>
                <a:gd name="connsiteX1979" fmla="*/ 1941510 w 3135233"/>
                <a:gd name="connsiteY1979" fmla="*/ 335734 h 2493266"/>
                <a:gd name="connsiteX1980" fmla="*/ 1950046 w 3135233"/>
                <a:gd name="connsiteY1980" fmla="*/ 332527 h 2493266"/>
                <a:gd name="connsiteX1981" fmla="*/ 1956263 w 3135233"/>
                <a:gd name="connsiteY1981" fmla="*/ 332527 h 2493266"/>
                <a:gd name="connsiteX1982" fmla="*/ 1952118 w 3135233"/>
                <a:gd name="connsiteY1982" fmla="*/ 335734 h 2493266"/>
                <a:gd name="connsiteX1983" fmla="*/ 1950046 w 3135233"/>
                <a:gd name="connsiteY1983" fmla="*/ 338941 h 2493266"/>
                <a:gd name="connsiteX1984" fmla="*/ 1943780 w 3135233"/>
                <a:gd name="connsiteY1984" fmla="*/ 343875 h 2493266"/>
                <a:gd name="connsiteX1985" fmla="*/ 1924636 w 3135233"/>
                <a:gd name="connsiteY1985" fmla="*/ 376095 h 2493266"/>
                <a:gd name="connsiteX1986" fmla="*/ 1926708 w 3135233"/>
                <a:gd name="connsiteY1986" fmla="*/ 369631 h 2493266"/>
                <a:gd name="connsiteX1987" fmla="*/ 1939241 w 3135233"/>
                <a:gd name="connsiteY1987" fmla="*/ 369631 h 2493266"/>
                <a:gd name="connsiteX1988" fmla="*/ 1949651 w 3135233"/>
                <a:gd name="connsiteY1988" fmla="*/ 371210 h 2493266"/>
                <a:gd name="connsiteX1989" fmla="*/ 1960062 w 3135233"/>
                <a:gd name="connsiteY1989" fmla="*/ 382509 h 2493266"/>
                <a:gd name="connsiteX1990" fmla="*/ 1960062 w 3135233"/>
                <a:gd name="connsiteY1990" fmla="*/ 398643 h 2493266"/>
                <a:gd name="connsiteX1991" fmla="*/ 1955868 w 3135233"/>
                <a:gd name="connsiteY1991" fmla="*/ 398643 h 2493266"/>
                <a:gd name="connsiteX1992" fmla="*/ 1947530 w 3135233"/>
                <a:gd name="connsiteY1992" fmla="*/ 395436 h 2493266"/>
                <a:gd name="connsiteX1993" fmla="*/ 1941313 w 3135233"/>
                <a:gd name="connsiteY1993" fmla="*/ 397064 h 2493266"/>
                <a:gd name="connsiteX1994" fmla="*/ 1937119 w 3135233"/>
                <a:gd name="connsiteY1994" fmla="*/ 397064 h 2493266"/>
                <a:gd name="connsiteX1995" fmla="*/ 1930902 w 3135233"/>
                <a:gd name="connsiteY1995" fmla="*/ 390601 h 2493266"/>
                <a:gd name="connsiteX1996" fmla="*/ 1922563 w 3135233"/>
                <a:gd name="connsiteY1996" fmla="*/ 384137 h 2493266"/>
                <a:gd name="connsiteX1997" fmla="*/ 1832962 w 3135233"/>
                <a:gd name="connsiteY1997" fmla="*/ 427705 h 2493266"/>
                <a:gd name="connsiteX1998" fmla="*/ 1837155 w 3135233"/>
                <a:gd name="connsiteY1998" fmla="*/ 424497 h 2493266"/>
                <a:gd name="connsiteX1999" fmla="*/ 1847566 w 3135233"/>
                <a:gd name="connsiteY1999" fmla="*/ 424497 h 2493266"/>
                <a:gd name="connsiteX2000" fmla="*/ 1845494 w 3135233"/>
                <a:gd name="connsiteY2000" fmla="*/ 429431 h 2493266"/>
                <a:gd name="connsiteX2001" fmla="*/ 1837155 w 3135233"/>
                <a:gd name="connsiteY2001" fmla="*/ 431010 h 2493266"/>
                <a:gd name="connsiteX2002" fmla="*/ 1828817 w 3135233"/>
                <a:gd name="connsiteY2002" fmla="*/ 419613 h 2493266"/>
                <a:gd name="connsiteX2003" fmla="*/ 1824672 w 3135233"/>
                <a:gd name="connsiteY2003" fmla="*/ 411570 h 2493266"/>
                <a:gd name="connsiteX2004" fmla="*/ 1826745 w 3135233"/>
                <a:gd name="connsiteY2004" fmla="*/ 406636 h 2493266"/>
                <a:gd name="connsiteX2005" fmla="*/ 1828817 w 3135233"/>
                <a:gd name="connsiteY2005" fmla="*/ 398544 h 2493266"/>
                <a:gd name="connsiteX2006" fmla="*/ 1828817 w 3135233"/>
                <a:gd name="connsiteY2006" fmla="*/ 392081 h 2493266"/>
                <a:gd name="connsiteX2007" fmla="*/ 1837155 w 3135233"/>
                <a:gd name="connsiteY2007" fmla="*/ 387147 h 2493266"/>
                <a:gd name="connsiteX2008" fmla="*/ 1837155 w 3135233"/>
                <a:gd name="connsiteY2008" fmla="*/ 382213 h 2493266"/>
                <a:gd name="connsiteX2009" fmla="*/ 1839228 w 3135233"/>
                <a:gd name="connsiteY2009" fmla="*/ 380634 h 2493266"/>
                <a:gd name="connsiteX2010" fmla="*/ 1839228 w 3135233"/>
                <a:gd name="connsiteY2010" fmla="*/ 377377 h 2493266"/>
                <a:gd name="connsiteX2011" fmla="*/ 1843372 w 3135233"/>
                <a:gd name="connsiteY2011" fmla="*/ 367509 h 2493266"/>
                <a:gd name="connsiteX2012" fmla="*/ 1843372 w 3135233"/>
                <a:gd name="connsiteY2012" fmla="*/ 361046 h 2493266"/>
                <a:gd name="connsiteX2013" fmla="*/ 1847566 w 3135233"/>
                <a:gd name="connsiteY2013" fmla="*/ 359418 h 2493266"/>
                <a:gd name="connsiteX2014" fmla="*/ 1853783 w 3135233"/>
                <a:gd name="connsiteY2014" fmla="*/ 362674 h 2493266"/>
                <a:gd name="connsiteX2015" fmla="*/ 1853783 w 3135233"/>
                <a:gd name="connsiteY2015" fmla="*/ 370716 h 2493266"/>
                <a:gd name="connsiteX2016" fmla="*/ 1855905 w 3135233"/>
                <a:gd name="connsiteY2016" fmla="*/ 373973 h 2493266"/>
                <a:gd name="connsiteX2017" fmla="*/ 1851760 w 3135233"/>
                <a:gd name="connsiteY2017" fmla="*/ 386851 h 2493266"/>
                <a:gd name="connsiteX2018" fmla="*/ 1851760 w 3135233"/>
                <a:gd name="connsiteY2018" fmla="*/ 391785 h 2493266"/>
                <a:gd name="connsiteX2019" fmla="*/ 1847566 w 3135233"/>
                <a:gd name="connsiteY2019" fmla="*/ 398248 h 2493266"/>
                <a:gd name="connsiteX2020" fmla="*/ 1851760 w 3135233"/>
                <a:gd name="connsiteY2020" fmla="*/ 401505 h 2493266"/>
                <a:gd name="connsiteX2021" fmla="*/ 1845494 w 3135233"/>
                <a:gd name="connsiteY2021" fmla="*/ 417639 h 2493266"/>
                <a:gd name="connsiteX2022" fmla="*/ 1837155 w 3135233"/>
                <a:gd name="connsiteY2022" fmla="*/ 420846 h 2493266"/>
                <a:gd name="connsiteX2023" fmla="*/ 1745678 w 3135233"/>
                <a:gd name="connsiteY2023" fmla="*/ 279239 h 2493266"/>
                <a:gd name="connsiteX2024" fmla="*/ 1741534 w 3135233"/>
                <a:gd name="connsiteY2024" fmla="*/ 272776 h 2493266"/>
                <a:gd name="connsiteX2025" fmla="*/ 1739462 w 3135233"/>
                <a:gd name="connsiteY2025" fmla="*/ 266362 h 2493266"/>
                <a:gd name="connsiteX2026" fmla="*/ 1743606 w 3135233"/>
                <a:gd name="connsiteY2026" fmla="*/ 263105 h 2493266"/>
                <a:gd name="connsiteX2027" fmla="*/ 1737389 w 3135233"/>
                <a:gd name="connsiteY2027" fmla="*/ 258171 h 2493266"/>
                <a:gd name="connsiteX2028" fmla="*/ 1731123 w 3135233"/>
                <a:gd name="connsiteY2028" fmla="*/ 259799 h 2493266"/>
                <a:gd name="connsiteX2029" fmla="*/ 1726978 w 3135233"/>
                <a:gd name="connsiteY2029" fmla="*/ 258171 h 2493266"/>
                <a:gd name="connsiteX2030" fmla="*/ 1722784 w 3135233"/>
                <a:gd name="connsiteY2030" fmla="*/ 259799 h 2493266"/>
                <a:gd name="connsiteX2031" fmla="*/ 1714446 w 3135233"/>
                <a:gd name="connsiteY2031" fmla="*/ 259799 h 2493266"/>
                <a:gd name="connsiteX2032" fmla="*/ 1708278 w 3135233"/>
                <a:gd name="connsiteY2032" fmla="*/ 261477 h 2493266"/>
                <a:gd name="connsiteX2033" fmla="*/ 1708278 w 3135233"/>
                <a:gd name="connsiteY2033" fmla="*/ 255063 h 2493266"/>
                <a:gd name="connsiteX2034" fmla="*/ 1714545 w 3135233"/>
                <a:gd name="connsiteY2034" fmla="*/ 250129 h 2493266"/>
                <a:gd name="connsiteX2035" fmla="*/ 1714545 w 3135233"/>
                <a:gd name="connsiteY2035" fmla="*/ 245195 h 2493266"/>
                <a:gd name="connsiteX2036" fmla="*/ 1731222 w 3135233"/>
                <a:gd name="connsiteY2036" fmla="*/ 245195 h 2493266"/>
                <a:gd name="connsiteX2037" fmla="*/ 1752043 w 3135233"/>
                <a:gd name="connsiteY2037" fmla="*/ 240261 h 2493266"/>
                <a:gd name="connsiteX2038" fmla="*/ 1758310 w 3135233"/>
                <a:gd name="connsiteY2038" fmla="*/ 240261 h 2493266"/>
                <a:gd name="connsiteX2039" fmla="*/ 1764526 w 3135233"/>
                <a:gd name="connsiteY2039" fmla="*/ 245195 h 2493266"/>
                <a:gd name="connsiteX2040" fmla="*/ 1768720 w 3135233"/>
                <a:gd name="connsiteY2040" fmla="*/ 243566 h 2493266"/>
                <a:gd name="connsiteX2041" fmla="*/ 1777009 w 3135233"/>
                <a:gd name="connsiteY2041" fmla="*/ 243566 h 2493266"/>
                <a:gd name="connsiteX2042" fmla="*/ 1785397 w 3135233"/>
                <a:gd name="connsiteY2042" fmla="*/ 238632 h 2493266"/>
                <a:gd name="connsiteX2043" fmla="*/ 1802025 w 3135233"/>
                <a:gd name="connsiteY2043" fmla="*/ 238632 h 2493266"/>
                <a:gd name="connsiteX2044" fmla="*/ 1804147 w 3135233"/>
                <a:gd name="connsiteY2044" fmla="*/ 235376 h 2493266"/>
                <a:gd name="connsiteX2045" fmla="*/ 1810364 w 3135233"/>
                <a:gd name="connsiteY2045" fmla="*/ 237004 h 2493266"/>
                <a:gd name="connsiteX2046" fmla="*/ 1810364 w 3135233"/>
                <a:gd name="connsiteY2046" fmla="*/ 241938 h 2493266"/>
                <a:gd name="connsiteX2047" fmla="*/ 1814557 w 3135233"/>
                <a:gd name="connsiteY2047" fmla="*/ 248402 h 2493266"/>
                <a:gd name="connsiteX2048" fmla="*/ 1814557 w 3135233"/>
                <a:gd name="connsiteY2048" fmla="*/ 253336 h 2493266"/>
                <a:gd name="connsiteX2049" fmla="*/ 1808193 w 3135233"/>
                <a:gd name="connsiteY2049" fmla="*/ 261477 h 2493266"/>
                <a:gd name="connsiteX2050" fmla="*/ 1812337 w 3135233"/>
                <a:gd name="connsiteY2050" fmla="*/ 271345 h 2493266"/>
                <a:gd name="connsiteX2051" fmla="*/ 1806120 w 3135233"/>
                <a:gd name="connsiteY2051" fmla="*/ 282644 h 2493266"/>
                <a:gd name="connsiteX2052" fmla="*/ 1797732 w 3135233"/>
                <a:gd name="connsiteY2052" fmla="*/ 285851 h 2493266"/>
                <a:gd name="connsiteX2053" fmla="*/ 1791516 w 3135233"/>
                <a:gd name="connsiteY2053" fmla="*/ 292315 h 2493266"/>
                <a:gd name="connsiteX2054" fmla="*/ 1785299 w 3135233"/>
                <a:gd name="connsiteY2054" fmla="*/ 290686 h 2493266"/>
                <a:gd name="connsiteX2055" fmla="*/ 1779033 w 3135233"/>
                <a:gd name="connsiteY2055" fmla="*/ 292315 h 2493266"/>
                <a:gd name="connsiteX2056" fmla="*/ 1776911 w 3135233"/>
                <a:gd name="connsiteY2056" fmla="*/ 287381 h 2493266"/>
                <a:gd name="connsiteX2057" fmla="*/ 1768622 w 3135233"/>
                <a:gd name="connsiteY2057" fmla="*/ 289009 h 2493266"/>
                <a:gd name="connsiteX2058" fmla="*/ 1760283 w 3135233"/>
                <a:gd name="connsiteY2058" fmla="*/ 280917 h 2493266"/>
                <a:gd name="connsiteX2059" fmla="*/ 1760283 w 3135233"/>
                <a:gd name="connsiteY2059" fmla="*/ 272776 h 2493266"/>
                <a:gd name="connsiteX2060" fmla="*/ 1756089 w 3135233"/>
                <a:gd name="connsiteY2060" fmla="*/ 266362 h 2493266"/>
                <a:gd name="connsiteX2061" fmla="*/ 1751944 w 3135233"/>
                <a:gd name="connsiteY2061" fmla="*/ 269569 h 2493266"/>
                <a:gd name="connsiteX2062" fmla="*/ 1751944 w 3135233"/>
                <a:gd name="connsiteY2062" fmla="*/ 274503 h 2493266"/>
                <a:gd name="connsiteX2063" fmla="*/ 1645715 w 3135233"/>
                <a:gd name="connsiteY2063" fmla="*/ 326063 h 2493266"/>
                <a:gd name="connsiteX2064" fmla="*/ 1651932 w 3135233"/>
                <a:gd name="connsiteY2064" fmla="*/ 321129 h 2493266"/>
                <a:gd name="connsiteX2065" fmla="*/ 1651932 w 3135233"/>
                <a:gd name="connsiteY2065" fmla="*/ 316195 h 2493266"/>
                <a:gd name="connsiteX2066" fmla="*/ 1660320 w 3135233"/>
                <a:gd name="connsiteY2066" fmla="*/ 309781 h 2493266"/>
                <a:gd name="connsiteX2067" fmla="*/ 1660320 w 3135233"/>
                <a:gd name="connsiteY2067" fmla="*/ 303466 h 2493266"/>
                <a:gd name="connsiteX2068" fmla="*/ 1668609 w 3135233"/>
                <a:gd name="connsiteY2068" fmla="*/ 300209 h 2493266"/>
                <a:gd name="connsiteX2069" fmla="*/ 1674875 w 3135233"/>
                <a:gd name="connsiteY2069" fmla="*/ 295275 h 2493266"/>
                <a:gd name="connsiteX2070" fmla="*/ 1681141 w 3135233"/>
                <a:gd name="connsiteY2070" fmla="*/ 295275 h 2493266"/>
                <a:gd name="connsiteX2071" fmla="*/ 1697769 w 3135233"/>
                <a:gd name="connsiteY2071" fmla="*/ 292068 h 2493266"/>
                <a:gd name="connsiteX2072" fmla="*/ 1701963 w 3135233"/>
                <a:gd name="connsiteY2072" fmla="*/ 295275 h 2493266"/>
                <a:gd name="connsiteX2073" fmla="*/ 1708278 w 3135233"/>
                <a:gd name="connsiteY2073" fmla="*/ 295275 h 2493266"/>
                <a:gd name="connsiteX2074" fmla="*/ 1712472 w 3135233"/>
                <a:gd name="connsiteY2074" fmla="*/ 296903 h 2493266"/>
                <a:gd name="connsiteX2075" fmla="*/ 1724955 w 3135233"/>
                <a:gd name="connsiteY2075" fmla="*/ 296903 h 2493266"/>
                <a:gd name="connsiteX2076" fmla="*/ 1735366 w 3135233"/>
                <a:gd name="connsiteY2076" fmla="*/ 298532 h 2493266"/>
                <a:gd name="connsiteX2077" fmla="*/ 1737488 w 3135233"/>
                <a:gd name="connsiteY2077" fmla="*/ 300110 h 2493266"/>
                <a:gd name="connsiteX2078" fmla="*/ 1747751 w 3135233"/>
                <a:gd name="connsiteY2078" fmla="*/ 300110 h 2493266"/>
                <a:gd name="connsiteX2079" fmla="*/ 1756040 w 3135233"/>
                <a:gd name="connsiteY2079" fmla="*/ 301739 h 2493266"/>
                <a:gd name="connsiteX2080" fmla="*/ 1758161 w 3135233"/>
                <a:gd name="connsiteY2080" fmla="*/ 304995 h 2493266"/>
                <a:gd name="connsiteX2081" fmla="*/ 1766451 w 3135233"/>
                <a:gd name="connsiteY2081" fmla="*/ 304995 h 2493266"/>
                <a:gd name="connsiteX2082" fmla="*/ 1768572 w 3135233"/>
                <a:gd name="connsiteY2082" fmla="*/ 308202 h 2493266"/>
                <a:gd name="connsiteX2083" fmla="*/ 1762306 w 3135233"/>
                <a:gd name="connsiteY2083" fmla="*/ 318070 h 2493266"/>
                <a:gd name="connsiteX2084" fmla="*/ 1756040 w 3135233"/>
                <a:gd name="connsiteY2084" fmla="*/ 318070 h 2493266"/>
                <a:gd name="connsiteX2085" fmla="*/ 1737340 w 3135233"/>
                <a:gd name="connsiteY2085" fmla="*/ 323004 h 2493266"/>
                <a:gd name="connsiteX2086" fmla="*/ 1731074 w 3135233"/>
                <a:gd name="connsiteY2086" fmla="*/ 323004 h 2493266"/>
                <a:gd name="connsiteX2087" fmla="*/ 1722735 w 3135233"/>
                <a:gd name="connsiteY2087" fmla="*/ 329468 h 2493266"/>
                <a:gd name="connsiteX2088" fmla="*/ 1722735 w 3135233"/>
                <a:gd name="connsiteY2088" fmla="*/ 332724 h 2493266"/>
                <a:gd name="connsiteX2089" fmla="*/ 1731074 w 3135233"/>
                <a:gd name="connsiteY2089" fmla="*/ 334303 h 2493266"/>
                <a:gd name="connsiteX2090" fmla="*/ 1733146 w 3135233"/>
                <a:gd name="connsiteY2090" fmla="*/ 332724 h 2493266"/>
                <a:gd name="connsiteX2091" fmla="*/ 1735218 w 3135233"/>
                <a:gd name="connsiteY2091" fmla="*/ 337658 h 2493266"/>
                <a:gd name="connsiteX2092" fmla="*/ 1726978 w 3135233"/>
                <a:gd name="connsiteY2092" fmla="*/ 345356 h 2493266"/>
                <a:gd name="connsiteX2093" fmla="*/ 1722784 w 3135233"/>
                <a:gd name="connsiteY2093" fmla="*/ 350290 h 2493266"/>
                <a:gd name="connsiteX2094" fmla="*/ 1716568 w 3135233"/>
                <a:gd name="connsiteY2094" fmla="*/ 351918 h 2493266"/>
                <a:gd name="connsiteX2095" fmla="*/ 1718640 w 3135233"/>
                <a:gd name="connsiteY2095" fmla="*/ 355125 h 2493266"/>
                <a:gd name="connsiteX2096" fmla="*/ 1712374 w 3135233"/>
                <a:gd name="connsiteY2096" fmla="*/ 360059 h 2493266"/>
                <a:gd name="connsiteX2097" fmla="*/ 1706157 w 3135233"/>
                <a:gd name="connsiteY2097" fmla="*/ 360059 h 2493266"/>
                <a:gd name="connsiteX2098" fmla="*/ 1697769 w 3135233"/>
                <a:gd name="connsiteY2098" fmla="*/ 363315 h 2493266"/>
                <a:gd name="connsiteX2099" fmla="*/ 1689480 w 3135233"/>
                <a:gd name="connsiteY2099" fmla="*/ 363315 h 2493266"/>
                <a:gd name="connsiteX2100" fmla="*/ 1683213 w 3135233"/>
                <a:gd name="connsiteY2100" fmla="*/ 358381 h 2493266"/>
                <a:gd name="connsiteX2101" fmla="*/ 1679020 w 3135233"/>
                <a:gd name="connsiteY2101" fmla="*/ 359960 h 2493266"/>
                <a:gd name="connsiteX2102" fmla="*/ 1664217 w 3135233"/>
                <a:gd name="connsiteY2102" fmla="*/ 359960 h 2493266"/>
                <a:gd name="connsiteX2103" fmla="*/ 1662145 w 3135233"/>
                <a:gd name="connsiteY2103" fmla="*/ 356753 h 2493266"/>
                <a:gd name="connsiteX2104" fmla="*/ 1666290 w 3135233"/>
                <a:gd name="connsiteY2104" fmla="*/ 353546 h 2493266"/>
                <a:gd name="connsiteX2105" fmla="*/ 1660320 w 3135233"/>
                <a:gd name="connsiteY2105" fmla="*/ 345356 h 2493266"/>
                <a:gd name="connsiteX2106" fmla="*/ 1654004 w 3135233"/>
                <a:gd name="connsiteY2106" fmla="*/ 342198 h 2493266"/>
                <a:gd name="connsiteX2107" fmla="*/ 1649859 w 3135233"/>
                <a:gd name="connsiteY2107" fmla="*/ 340570 h 2493266"/>
                <a:gd name="connsiteX2108" fmla="*/ 1647738 w 3135233"/>
                <a:gd name="connsiteY2108" fmla="*/ 332527 h 2493266"/>
                <a:gd name="connsiteX2109" fmla="*/ 1637376 w 3135233"/>
                <a:gd name="connsiteY2109" fmla="*/ 305094 h 2493266"/>
                <a:gd name="connsiteX2110" fmla="*/ 1641521 w 3135233"/>
                <a:gd name="connsiteY2110" fmla="*/ 306673 h 2493266"/>
                <a:gd name="connsiteX2111" fmla="*/ 1651932 w 3135233"/>
                <a:gd name="connsiteY2111" fmla="*/ 305094 h 2493266"/>
                <a:gd name="connsiteX2112" fmla="*/ 1658198 w 3135233"/>
                <a:gd name="connsiteY2112" fmla="*/ 297002 h 2493266"/>
                <a:gd name="connsiteX2113" fmla="*/ 1658198 w 3135233"/>
                <a:gd name="connsiteY2113" fmla="*/ 280868 h 2493266"/>
                <a:gd name="connsiteX2114" fmla="*/ 1660320 w 3135233"/>
                <a:gd name="connsiteY2114" fmla="*/ 272776 h 2493266"/>
                <a:gd name="connsiteX2115" fmla="*/ 1654053 w 3135233"/>
                <a:gd name="connsiteY2115" fmla="*/ 274404 h 2493266"/>
                <a:gd name="connsiteX2116" fmla="*/ 1649909 w 3135233"/>
                <a:gd name="connsiteY2116" fmla="*/ 276032 h 2493266"/>
                <a:gd name="connsiteX2117" fmla="*/ 1645715 w 3135233"/>
                <a:gd name="connsiteY2117" fmla="*/ 272776 h 2493266"/>
                <a:gd name="connsiteX2118" fmla="*/ 1639498 w 3135233"/>
                <a:gd name="connsiteY2118" fmla="*/ 276032 h 2493266"/>
                <a:gd name="connsiteX2119" fmla="*/ 1635304 w 3135233"/>
                <a:gd name="connsiteY2119" fmla="*/ 276032 h 2493266"/>
                <a:gd name="connsiteX2120" fmla="*/ 1633232 w 3135233"/>
                <a:gd name="connsiteY2120" fmla="*/ 282496 h 2493266"/>
                <a:gd name="connsiteX2121" fmla="*/ 1633232 w 3135233"/>
                <a:gd name="connsiteY2121" fmla="*/ 288960 h 2493266"/>
                <a:gd name="connsiteX2122" fmla="*/ 1631110 w 3135233"/>
                <a:gd name="connsiteY2122" fmla="*/ 295374 h 2493266"/>
                <a:gd name="connsiteX2123" fmla="*/ 2245595 w 3135233"/>
                <a:gd name="connsiteY2123" fmla="*/ 760111 h 2493266"/>
                <a:gd name="connsiteX2124" fmla="*/ 2253933 w 3135233"/>
                <a:gd name="connsiteY2124" fmla="*/ 763318 h 2493266"/>
                <a:gd name="connsiteX2125" fmla="*/ 2260199 w 3135233"/>
                <a:gd name="connsiteY2125" fmla="*/ 760111 h 2493266"/>
                <a:gd name="connsiteX2126" fmla="*/ 2262272 w 3135233"/>
                <a:gd name="connsiteY2126" fmla="*/ 766525 h 2493266"/>
                <a:gd name="connsiteX2127" fmla="*/ 2268489 w 3135233"/>
                <a:gd name="connsiteY2127" fmla="*/ 766525 h 2493266"/>
                <a:gd name="connsiteX2128" fmla="*/ 2268489 w 3135233"/>
                <a:gd name="connsiteY2128" fmla="*/ 768153 h 2493266"/>
                <a:gd name="connsiteX2129" fmla="*/ 2276877 w 3135233"/>
                <a:gd name="connsiteY2129" fmla="*/ 769781 h 2493266"/>
                <a:gd name="connsiteX2130" fmla="*/ 2289360 w 3135233"/>
                <a:gd name="connsiteY2130" fmla="*/ 761689 h 2493266"/>
                <a:gd name="connsiteX2131" fmla="*/ 2295429 w 3135233"/>
                <a:gd name="connsiteY2131" fmla="*/ 761689 h 2493266"/>
                <a:gd name="connsiteX2132" fmla="*/ 2305839 w 3135233"/>
                <a:gd name="connsiteY2132" fmla="*/ 766623 h 2493266"/>
                <a:gd name="connsiteX2133" fmla="*/ 2312155 w 3135233"/>
                <a:gd name="connsiteY2133" fmla="*/ 765045 h 2493266"/>
                <a:gd name="connsiteX2134" fmla="*/ 2316250 w 3135233"/>
                <a:gd name="connsiteY2134" fmla="*/ 766623 h 2493266"/>
                <a:gd name="connsiteX2135" fmla="*/ 2320444 w 3135233"/>
                <a:gd name="connsiteY2135" fmla="*/ 763416 h 2493266"/>
                <a:gd name="connsiteX2136" fmla="*/ 2320444 w 3135233"/>
                <a:gd name="connsiteY2136" fmla="*/ 760209 h 2493266"/>
                <a:gd name="connsiteX2137" fmla="*/ 2324589 w 3135233"/>
                <a:gd name="connsiteY2137" fmla="*/ 753746 h 2493266"/>
                <a:gd name="connsiteX2138" fmla="*/ 2328783 w 3135233"/>
                <a:gd name="connsiteY2138" fmla="*/ 752117 h 2493266"/>
                <a:gd name="connsiteX2139" fmla="*/ 2328783 w 3135233"/>
                <a:gd name="connsiteY2139" fmla="*/ 748910 h 2493266"/>
                <a:gd name="connsiteX2140" fmla="*/ 2324589 w 3135233"/>
                <a:gd name="connsiteY2140" fmla="*/ 742447 h 2493266"/>
                <a:gd name="connsiteX2141" fmla="*/ 2324589 w 3135233"/>
                <a:gd name="connsiteY2141" fmla="*/ 735983 h 2493266"/>
                <a:gd name="connsiteX2142" fmla="*/ 2328783 w 3135233"/>
                <a:gd name="connsiteY2142" fmla="*/ 739240 h 2493266"/>
                <a:gd name="connsiteX2143" fmla="*/ 2328783 w 3135233"/>
                <a:gd name="connsiteY2143" fmla="*/ 744174 h 2493266"/>
                <a:gd name="connsiteX2144" fmla="*/ 2335000 w 3135233"/>
                <a:gd name="connsiteY2144" fmla="*/ 750588 h 2493266"/>
                <a:gd name="connsiteX2145" fmla="*/ 2339193 w 3135233"/>
                <a:gd name="connsiteY2145" fmla="*/ 745654 h 2493266"/>
                <a:gd name="connsiteX2146" fmla="*/ 2343387 w 3135233"/>
                <a:gd name="connsiteY2146" fmla="*/ 747282 h 2493266"/>
                <a:gd name="connsiteX2147" fmla="*/ 2347532 w 3135233"/>
                <a:gd name="connsiteY2147" fmla="*/ 745654 h 2493266"/>
                <a:gd name="connsiteX2148" fmla="*/ 2351677 w 3135233"/>
                <a:gd name="connsiteY2148" fmla="*/ 747282 h 2493266"/>
                <a:gd name="connsiteX2149" fmla="*/ 2351677 w 3135233"/>
                <a:gd name="connsiteY2149" fmla="*/ 744075 h 2493266"/>
                <a:gd name="connsiteX2150" fmla="*/ 2349604 w 3135233"/>
                <a:gd name="connsiteY2150" fmla="*/ 737611 h 2493266"/>
                <a:gd name="connsiteX2151" fmla="*/ 2351677 w 3135233"/>
                <a:gd name="connsiteY2151" fmla="*/ 734355 h 2493266"/>
                <a:gd name="connsiteX2152" fmla="*/ 2347532 w 3135233"/>
                <a:gd name="connsiteY2152" fmla="*/ 731148 h 2493266"/>
                <a:gd name="connsiteX2153" fmla="*/ 2339193 w 3135233"/>
                <a:gd name="connsiteY2153" fmla="*/ 732776 h 2493266"/>
                <a:gd name="connsiteX2154" fmla="*/ 2330855 w 3135233"/>
                <a:gd name="connsiteY2154" fmla="*/ 732776 h 2493266"/>
                <a:gd name="connsiteX2155" fmla="*/ 2328783 w 3135233"/>
                <a:gd name="connsiteY2155" fmla="*/ 727842 h 2493266"/>
                <a:gd name="connsiteX2156" fmla="*/ 2332977 w 3135233"/>
                <a:gd name="connsiteY2156" fmla="*/ 726214 h 2493266"/>
                <a:gd name="connsiteX2157" fmla="*/ 2337121 w 3135233"/>
                <a:gd name="connsiteY2157" fmla="*/ 727842 h 2493266"/>
                <a:gd name="connsiteX2158" fmla="*/ 2343387 w 3135233"/>
                <a:gd name="connsiteY2158" fmla="*/ 726214 h 2493266"/>
                <a:gd name="connsiteX2159" fmla="*/ 2347532 w 3135233"/>
                <a:gd name="connsiteY2159" fmla="*/ 719750 h 2493266"/>
                <a:gd name="connsiteX2160" fmla="*/ 2351677 w 3135233"/>
                <a:gd name="connsiteY2160" fmla="*/ 722957 h 2493266"/>
                <a:gd name="connsiteX2161" fmla="*/ 2355871 w 3135233"/>
                <a:gd name="connsiteY2161" fmla="*/ 722957 h 2493266"/>
                <a:gd name="connsiteX2162" fmla="*/ 2360015 w 3135233"/>
                <a:gd name="connsiteY2162" fmla="*/ 716543 h 2493266"/>
                <a:gd name="connsiteX2163" fmla="*/ 2360015 w 3135233"/>
                <a:gd name="connsiteY2163" fmla="*/ 713287 h 2493266"/>
                <a:gd name="connsiteX2164" fmla="*/ 2362087 w 3135233"/>
                <a:gd name="connsiteY2164" fmla="*/ 706872 h 2493266"/>
                <a:gd name="connsiteX2165" fmla="*/ 2362087 w 3135233"/>
                <a:gd name="connsiteY2165" fmla="*/ 703616 h 2493266"/>
                <a:gd name="connsiteX2166" fmla="*/ 2366281 w 3135233"/>
                <a:gd name="connsiteY2166" fmla="*/ 703616 h 2493266"/>
                <a:gd name="connsiteX2167" fmla="*/ 2366281 w 3135233"/>
                <a:gd name="connsiteY2167" fmla="*/ 700606 h 2493266"/>
                <a:gd name="connsiteX2168" fmla="*/ 2357943 w 3135233"/>
                <a:gd name="connsiteY2168" fmla="*/ 697350 h 2493266"/>
                <a:gd name="connsiteX2169" fmla="*/ 2351677 w 3135233"/>
                <a:gd name="connsiteY2169" fmla="*/ 698978 h 2493266"/>
                <a:gd name="connsiteX2170" fmla="*/ 2353798 w 3135233"/>
                <a:gd name="connsiteY2170" fmla="*/ 694044 h 2493266"/>
                <a:gd name="connsiteX2171" fmla="*/ 2357943 w 3135233"/>
                <a:gd name="connsiteY2171" fmla="*/ 692416 h 2493266"/>
                <a:gd name="connsiteX2172" fmla="*/ 2357943 w 3135233"/>
                <a:gd name="connsiteY2172" fmla="*/ 687482 h 2493266"/>
                <a:gd name="connsiteX2173" fmla="*/ 2351677 w 3135233"/>
                <a:gd name="connsiteY2173" fmla="*/ 684274 h 2493266"/>
                <a:gd name="connsiteX2174" fmla="*/ 2339342 w 3135233"/>
                <a:gd name="connsiteY2174" fmla="*/ 684274 h 2493266"/>
                <a:gd name="connsiteX2175" fmla="*/ 2335147 w 3135233"/>
                <a:gd name="connsiteY2175" fmla="*/ 679340 h 2493266"/>
                <a:gd name="connsiteX2176" fmla="*/ 2337269 w 3135233"/>
                <a:gd name="connsiteY2176" fmla="*/ 676084 h 2493266"/>
                <a:gd name="connsiteX2177" fmla="*/ 2339342 w 3135233"/>
                <a:gd name="connsiteY2177" fmla="*/ 674456 h 2493266"/>
                <a:gd name="connsiteX2178" fmla="*/ 2337269 w 3135233"/>
                <a:gd name="connsiteY2178" fmla="*/ 669522 h 2493266"/>
                <a:gd name="connsiteX2179" fmla="*/ 2326858 w 3135233"/>
                <a:gd name="connsiteY2179" fmla="*/ 661479 h 2493266"/>
                <a:gd name="connsiteX2180" fmla="*/ 2320592 w 3135233"/>
                <a:gd name="connsiteY2180" fmla="*/ 661479 h 2493266"/>
                <a:gd name="connsiteX2181" fmla="*/ 2314326 w 3135233"/>
                <a:gd name="connsiteY2181" fmla="*/ 664686 h 2493266"/>
                <a:gd name="connsiteX2182" fmla="*/ 2305987 w 3135233"/>
                <a:gd name="connsiteY2182" fmla="*/ 664686 h 2493266"/>
                <a:gd name="connsiteX2183" fmla="*/ 2295577 w 3135233"/>
                <a:gd name="connsiteY2183" fmla="*/ 666315 h 2493266"/>
                <a:gd name="connsiteX2184" fmla="*/ 2283093 w 3135233"/>
                <a:gd name="connsiteY2184" fmla="*/ 659851 h 2493266"/>
                <a:gd name="connsiteX2185" fmla="*/ 2281021 w 3135233"/>
                <a:gd name="connsiteY2185" fmla="*/ 654917 h 2493266"/>
                <a:gd name="connsiteX2186" fmla="*/ 2276877 w 3135233"/>
                <a:gd name="connsiteY2186" fmla="*/ 653289 h 2493266"/>
                <a:gd name="connsiteX2187" fmla="*/ 2270610 w 3135233"/>
                <a:gd name="connsiteY2187" fmla="*/ 656545 h 2493266"/>
                <a:gd name="connsiteX2188" fmla="*/ 2266466 w 3135233"/>
                <a:gd name="connsiteY2188" fmla="*/ 656545 h 2493266"/>
                <a:gd name="connsiteX2189" fmla="*/ 2262272 w 3135233"/>
                <a:gd name="connsiteY2189" fmla="*/ 658124 h 2493266"/>
                <a:gd name="connsiteX2190" fmla="*/ 2253933 w 3135233"/>
                <a:gd name="connsiteY2190" fmla="*/ 658124 h 2493266"/>
                <a:gd name="connsiteX2191" fmla="*/ 2249789 w 3135233"/>
                <a:gd name="connsiteY2191" fmla="*/ 663058 h 2493266"/>
                <a:gd name="connsiteX2192" fmla="*/ 2247667 w 3135233"/>
                <a:gd name="connsiteY2192" fmla="*/ 659802 h 2493266"/>
                <a:gd name="connsiteX2193" fmla="*/ 2241450 w 3135233"/>
                <a:gd name="connsiteY2193" fmla="*/ 656594 h 2493266"/>
                <a:gd name="connsiteX2194" fmla="*/ 2235184 w 3135233"/>
                <a:gd name="connsiteY2194" fmla="*/ 659802 h 2493266"/>
                <a:gd name="connsiteX2195" fmla="*/ 2226845 w 3135233"/>
                <a:gd name="connsiteY2195" fmla="*/ 659802 h 2493266"/>
                <a:gd name="connsiteX2196" fmla="*/ 2226845 w 3135233"/>
                <a:gd name="connsiteY2196" fmla="*/ 664736 h 2493266"/>
                <a:gd name="connsiteX2197" fmla="*/ 2222701 w 3135233"/>
                <a:gd name="connsiteY2197" fmla="*/ 666364 h 2493266"/>
                <a:gd name="connsiteX2198" fmla="*/ 2222701 w 3135233"/>
                <a:gd name="connsiteY2198" fmla="*/ 663157 h 2493266"/>
                <a:gd name="connsiteX2199" fmla="*/ 2220629 w 3135233"/>
                <a:gd name="connsiteY2199" fmla="*/ 659900 h 2493266"/>
                <a:gd name="connsiteX2200" fmla="*/ 2214362 w 3135233"/>
                <a:gd name="connsiteY2200" fmla="*/ 661529 h 2493266"/>
                <a:gd name="connsiteX2201" fmla="*/ 2197685 w 3135233"/>
                <a:gd name="connsiteY2201" fmla="*/ 659900 h 2493266"/>
                <a:gd name="connsiteX2202" fmla="*/ 2195613 w 3135233"/>
                <a:gd name="connsiteY2202" fmla="*/ 661529 h 2493266"/>
                <a:gd name="connsiteX2203" fmla="*/ 2201830 w 3135233"/>
                <a:gd name="connsiteY2203" fmla="*/ 664736 h 2493266"/>
                <a:gd name="connsiteX2204" fmla="*/ 2199807 w 3135233"/>
                <a:gd name="connsiteY2204" fmla="*/ 669670 h 2493266"/>
                <a:gd name="connsiteX2205" fmla="*/ 2206024 w 3135233"/>
                <a:gd name="connsiteY2205" fmla="*/ 674604 h 2493266"/>
                <a:gd name="connsiteX2206" fmla="*/ 2199807 w 3135233"/>
                <a:gd name="connsiteY2206" fmla="*/ 673025 h 2493266"/>
                <a:gd name="connsiteX2207" fmla="*/ 2195613 w 3135233"/>
                <a:gd name="connsiteY2207" fmla="*/ 669768 h 2493266"/>
                <a:gd name="connsiteX2208" fmla="*/ 2191419 w 3135233"/>
                <a:gd name="connsiteY2208" fmla="*/ 668189 h 2493266"/>
                <a:gd name="connsiteX2209" fmla="*/ 2181008 w 3135233"/>
                <a:gd name="connsiteY2209" fmla="*/ 669768 h 2493266"/>
                <a:gd name="connsiteX2210" fmla="*/ 2176864 w 3135233"/>
                <a:gd name="connsiteY2210" fmla="*/ 668189 h 2493266"/>
                <a:gd name="connsiteX2211" fmla="*/ 2185202 w 3135233"/>
                <a:gd name="connsiteY2211" fmla="*/ 664933 h 2493266"/>
                <a:gd name="connsiteX2212" fmla="*/ 2185202 w 3135233"/>
                <a:gd name="connsiteY2212" fmla="*/ 661726 h 2493266"/>
                <a:gd name="connsiteX2213" fmla="*/ 2177012 w 3135233"/>
                <a:gd name="connsiteY2213" fmla="*/ 653585 h 2493266"/>
                <a:gd name="connsiteX2214" fmla="*/ 2179084 w 3135233"/>
                <a:gd name="connsiteY2214" fmla="*/ 650378 h 2493266"/>
                <a:gd name="connsiteX2215" fmla="*/ 2177012 w 3135233"/>
                <a:gd name="connsiteY2215" fmla="*/ 647121 h 2493266"/>
                <a:gd name="connsiteX2216" fmla="*/ 2168673 w 3135233"/>
                <a:gd name="connsiteY2216" fmla="*/ 650378 h 2493266"/>
                <a:gd name="connsiteX2217" fmla="*/ 2168673 w 3135233"/>
                <a:gd name="connsiteY2217" fmla="*/ 655312 h 2493266"/>
                <a:gd name="connsiteX2218" fmla="*/ 2166601 w 3135233"/>
                <a:gd name="connsiteY2218" fmla="*/ 658519 h 2493266"/>
                <a:gd name="connsiteX2219" fmla="*/ 2162456 w 3135233"/>
                <a:gd name="connsiteY2219" fmla="*/ 656940 h 2493266"/>
                <a:gd name="connsiteX2220" fmla="*/ 2164528 w 3135233"/>
                <a:gd name="connsiteY2220" fmla="*/ 653683 h 2493266"/>
                <a:gd name="connsiteX2221" fmla="*/ 2162456 w 3135233"/>
                <a:gd name="connsiteY2221" fmla="*/ 648749 h 2493266"/>
                <a:gd name="connsiteX2222" fmla="*/ 2156190 w 3135233"/>
                <a:gd name="connsiteY2222" fmla="*/ 647121 h 2493266"/>
                <a:gd name="connsiteX2223" fmla="*/ 2152046 w 3135233"/>
                <a:gd name="connsiteY2223" fmla="*/ 650378 h 2493266"/>
                <a:gd name="connsiteX2224" fmla="*/ 2147852 w 3135233"/>
                <a:gd name="connsiteY2224" fmla="*/ 650378 h 2493266"/>
                <a:gd name="connsiteX2225" fmla="*/ 2149924 w 3135233"/>
                <a:gd name="connsiteY2225" fmla="*/ 643914 h 2493266"/>
                <a:gd name="connsiteX2226" fmla="*/ 2147852 w 3135233"/>
                <a:gd name="connsiteY2226" fmla="*/ 642286 h 2493266"/>
                <a:gd name="connsiteX2227" fmla="*/ 2147852 w 3135233"/>
                <a:gd name="connsiteY2227" fmla="*/ 635872 h 2493266"/>
                <a:gd name="connsiteX2228" fmla="*/ 2141635 w 3135233"/>
                <a:gd name="connsiteY2228" fmla="*/ 637450 h 2493266"/>
                <a:gd name="connsiteX2229" fmla="*/ 2133296 w 3135233"/>
                <a:gd name="connsiteY2229" fmla="*/ 643914 h 2493266"/>
                <a:gd name="connsiteX2230" fmla="*/ 2133296 w 3135233"/>
                <a:gd name="connsiteY2230" fmla="*/ 652006 h 2493266"/>
                <a:gd name="connsiteX2231" fmla="*/ 2129102 w 3135233"/>
                <a:gd name="connsiteY2231" fmla="*/ 652006 h 2493266"/>
                <a:gd name="connsiteX2232" fmla="*/ 2127030 w 3135233"/>
                <a:gd name="connsiteY2232" fmla="*/ 645542 h 2493266"/>
                <a:gd name="connsiteX2233" fmla="*/ 2129102 w 3135233"/>
                <a:gd name="connsiteY2233" fmla="*/ 640608 h 2493266"/>
                <a:gd name="connsiteX2234" fmla="*/ 2129102 w 3135233"/>
                <a:gd name="connsiteY2234" fmla="*/ 637352 h 2493266"/>
                <a:gd name="connsiteX2235" fmla="*/ 2133296 w 3135233"/>
                <a:gd name="connsiteY2235" fmla="*/ 627484 h 2493266"/>
                <a:gd name="connsiteX2236" fmla="*/ 2129102 w 3135233"/>
                <a:gd name="connsiteY2236" fmla="*/ 622550 h 2493266"/>
                <a:gd name="connsiteX2237" fmla="*/ 2120813 w 3135233"/>
                <a:gd name="connsiteY2237" fmla="*/ 625757 h 2493266"/>
                <a:gd name="connsiteX2238" fmla="*/ 2120813 w 3135233"/>
                <a:gd name="connsiteY2238" fmla="*/ 622550 h 2493266"/>
                <a:gd name="connsiteX2239" fmla="*/ 2127030 w 3135233"/>
                <a:gd name="connsiteY2239" fmla="*/ 620921 h 2493266"/>
                <a:gd name="connsiteX2240" fmla="*/ 2129102 w 3135233"/>
                <a:gd name="connsiteY2240" fmla="*/ 614458 h 2493266"/>
                <a:gd name="connsiteX2241" fmla="*/ 2129102 w 3135233"/>
                <a:gd name="connsiteY2241" fmla="*/ 609524 h 2493266"/>
                <a:gd name="connsiteX2242" fmla="*/ 2124958 w 3135233"/>
                <a:gd name="connsiteY2242" fmla="*/ 611152 h 2493266"/>
                <a:gd name="connsiteX2243" fmla="*/ 2118691 w 3135233"/>
                <a:gd name="connsiteY2243" fmla="*/ 609524 h 2493266"/>
                <a:gd name="connsiteX2244" fmla="*/ 2114547 w 3135233"/>
                <a:gd name="connsiteY2244" fmla="*/ 611152 h 2493266"/>
                <a:gd name="connsiteX2245" fmla="*/ 2107935 w 3135233"/>
                <a:gd name="connsiteY2245" fmla="*/ 611152 h 2493266"/>
                <a:gd name="connsiteX2246" fmla="*/ 2112080 w 3135233"/>
                <a:gd name="connsiteY2246" fmla="*/ 607945 h 2493266"/>
                <a:gd name="connsiteX2247" fmla="*/ 2112080 w 3135233"/>
                <a:gd name="connsiteY2247" fmla="*/ 606859 h 2493266"/>
                <a:gd name="connsiteX2248" fmla="*/ 2105863 w 3135233"/>
                <a:gd name="connsiteY2248" fmla="*/ 606859 h 2493266"/>
                <a:gd name="connsiteX2249" fmla="*/ 2101669 w 3135233"/>
                <a:gd name="connsiteY2249" fmla="*/ 610066 h 2493266"/>
                <a:gd name="connsiteX2250" fmla="*/ 2093330 w 3135233"/>
                <a:gd name="connsiteY2250" fmla="*/ 611695 h 2493266"/>
                <a:gd name="connsiteX2251" fmla="*/ 2093330 w 3135233"/>
                <a:gd name="connsiteY2251" fmla="*/ 608488 h 2493266"/>
                <a:gd name="connsiteX2252" fmla="*/ 2097525 w 3135233"/>
                <a:gd name="connsiteY2252" fmla="*/ 606859 h 2493266"/>
                <a:gd name="connsiteX2253" fmla="*/ 2099597 w 3135233"/>
                <a:gd name="connsiteY2253" fmla="*/ 601925 h 2493266"/>
                <a:gd name="connsiteX2254" fmla="*/ 2101669 w 3135233"/>
                <a:gd name="connsiteY2254" fmla="*/ 596991 h 2493266"/>
                <a:gd name="connsiteX2255" fmla="*/ 2105863 w 3135233"/>
                <a:gd name="connsiteY2255" fmla="*/ 596991 h 2493266"/>
                <a:gd name="connsiteX2256" fmla="*/ 2112080 w 3135233"/>
                <a:gd name="connsiteY2256" fmla="*/ 601925 h 2493266"/>
                <a:gd name="connsiteX2257" fmla="*/ 2122737 w 3135233"/>
                <a:gd name="connsiteY2257" fmla="*/ 601925 h 2493266"/>
                <a:gd name="connsiteX2258" fmla="*/ 2122737 w 3135233"/>
                <a:gd name="connsiteY2258" fmla="*/ 598669 h 2493266"/>
                <a:gd name="connsiteX2259" fmla="*/ 2116520 w 3135233"/>
                <a:gd name="connsiteY2259" fmla="*/ 592255 h 2493266"/>
                <a:gd name="connsiteX2260" fmla="*/ 2107935 w 3135233"/>
                <a:gd name="connsiteY2260" fmla="*/ 592255 h 2493266"/>
                <a:gd name="connsiteX2261" fmla="*/ 2112080 w 3135233"/>
                <a:gd name="connsiteY2261" fmla="*/ 588998 h 2493266"/>
                <a:gd name="connsiteX2262" fmla="*/ 2103741 w 3135233"/>
                <a:gd name="connsiteY2262" fmla="*/ 582535 h 2493266"/>
                <a:gd name="connsiteX2263" fmla="*/ 2097525 w 3135233"/>
                <a:gd name="connsiteY2263" fmla="*/ 579327 h 2493266"/>
                <a:gd name="connsiteX2264" fmla="*/ 2101669 w 3135233"/>
                <a:gd name="connsiteY2264" fmla="*/ 577699 h 2493266"/>
                <a:gd name="connsiteX2265" fmla="*/ 2101669 w 3135233"/>
                <a:gd name="connsiteY2265" fmla="*/ 574492 h 2493266"/>
                <a:gd name="connsiteX2266" fmla="*/ 2105863 w 3135233"/>
                <a:gd name="connsiteY2266" fmla="*/ 574492 h 2493266"/>
                <a:gd name="connsiteX2267" fmla="*/ 2107935 w 3135233"/>
                <a:gd name="connsiteY2267" fmla="*/ 579426 h 2493266"/>
                <a:gd name="connsiteX2268" fmla="*/ 2116274 w 3135233"/>
                <a:gd name="connsiteY2268" fmla="*/ 585890 h 2493266"/>
                <a:gd name="connsiteX2269" fmla="*/ 2124612 w 3135233"/>
                <a:gd name="connsiteY2269" fmla="*/ 589097 h 2493266"/>
                <a:gd name="connsiteX2270" fmla="*/ 2130879 w 3135233"/>
                <a:gd name="connsiteY2270" fmla="*/ 594031 h 2493266"/>
                <a:gd name="connsiteX2271" fmla="*/ 2132951 w 3135233"/>
                <a:gd name="connsiteY2271" fmla="*/ 589097 h 2493266"/>
                <a:gd name="connsiteX2272" fmla="*/ 2137095 w 3135233"/>
                <a:gd name="connsiteY2272" fmla="*/ 594031 h 2493266"/>
                <a:gd name="connsiteX2273" fmla="*/ 2149579 w 3135233"/>
                <a:gd name="connsiteY2273" fmla="*/ 595659 h 2493266"/>
                <a:gd name="connsiteX2274" fmla="*/ 2155845 w 3135233"/>
                <a:gd name="connsiteY2274" fmla="*/ 595659 h 2493266"/>
                <a:gd name="connsiteX2275" fmla="*/ 2159989 w 3135233"/>
                <a:gd name="connsiteY2275" fmla="*/ 590725 h 2493266"/>
                <a:gd name="connsiteX2276" fmla="*/ 2155845 w 3135233"/>
                <a:gd name="connsiteY2276" fmla="*/ 584262 h 2493266"/>
                <a:gd name="connsiteX2277" fmla="*/ 2141043 w 3135233"/>
                <a:gd name="connsiteY2277" fmla="*/ 574393 h 2493266"/>
                <a:gd name="connsiteX2278" fmla="*/ 2134776 w 3135233"/>
                <a:gd name="connsiteY2278" fmla="*/ 569459 h 2493266"/>
                <a:gd name="connsiteX2279" fmla="*/ 2130632 w 3135233"/>
                <a:gd name="connsiteY2279" fmla="*/ 569459 h 2493266"/>
                <a:gd name="connsiteX2280" fmla="*/ 2130632 w 3135233"/>
                <a:gd name="connsiteY2280" fmla="*/ 564525 h 2493266"/>
                <a:gd name="connsiteX2281" fmla="*/ 2124366 w 3135233"/>
                <a:gd name="connsiteY2281" fmla="*/ 558062 h 2493266"/>
                <a:gd name="connsiteX2282" fmla="*/ 2120221 w 3135233"/>
                <a:gd name="connsiteY2282" fmla="*/ 558062 h 2493266"/>
                <a:gd name="connsiteX2283" fmla="*/ 2116027 w 3135233"/>
                <a:gd name="connsiteY2283" fmla="*/ 554805 h 2493266"/>
                <a:gd name="connsiteX2284" fmla="*/ 2120221 w 3135233"/>
                <a:gd name="connsiteY2284" fmla="*/ 551598 h 2493266"/>
                <a:gd name="connsiteX2285" fmla="*/ 2124366 w 3135233"/>
                <a:gd name="connsiteY2285" fmla="*/ 553226 h 2493266"/>
                <a:gd name="connsiteX2286" fmla="*/ 2128510 w 3135233"/>
                <a:gd name="connsiteY2286" fmla="*/ 558160 h 2493266"/>
                <a:gd name="connsiteX2287" fmla="*/ 2134776 w 3135233"/>
                <a:gd name="connsiteY2287" fmla="*/ 558160 h 2493266"/>
                <a:gd name="connsiteX2288" fmla="*/ 2134776 w 3135233"/>
                <a:gd name="connsiteY2288" fmla="*/ 563095 h 2493266"/>
                <a:gd name="connsiteX2289" fmla="*/ 2138921 w 3135233"/>
                <a:gd name="connsiteY2289" fmla="*/ 564723 h 2493266"/>
                <a:gd name="connsiteX2290" fmla="*/ 2143115 w 3135233"/>
                <a:gd name="connsiteY2290" fmla="*/ 559789 h 2493266"/>
                <a:gd name="connsiteX2291" fmla="*/ 2138921 w 3135233"/>
                <a:gd name="connsiteY2291" fmla="*/ 549921 h 2493266"/>
                <a:gd name="connsiteX2292" fmla="*/ 2130632 w 3135233"/>
                <a:gd name="connsiteY2292" fmla="*/ 540053 h 2493266"/>
                <a:gd name="connsiteX2293" fmla="*/ 2126438 w 3135233"/>
                <a:gd name="connsiteY2293" fmla="*/ 541681 h 2493266"/>
                <a:gd name="connsiteX2294" fmla="*/ 2124366 w 3135233"/>
                <a:gd name="connsiteY2294" fmla="*/ 540053 h 2493266"/>
                <a:gd name="connsiteX2295" fmla="*/ 2116027 w 3135233"/>
                <a:gd name="connsiteY2295" fmla="*/ 540053 h 2493266"/>
                <a:gd name="connsiteX2296" fmla="*/ 2107689 w 3135233"/>
                <a:gd name="connsiteY2296" fmla="*/ 543309 h 2493266"/>
                <a:gd name="connsiteX2297" fmla="*/ 2101422 w 3135233"/>
                <a:gd name="connsiteY2297" fmla="*/ 543309 h 2493266"/>
                <a:gd name="connsiteX2298" fmla="*/ 2095205 w 3135233"/>
                <a:gd name="connsiteY2298" fmla="*/ 540053 h 2493266"/>
                <a:gd name="connsiteX2299" fmla="*/ 2091011 w 3135233"/>
                <a:gd name="connsiteY2299" fmla="*/ 541681 h 2493266"/>
                <a:gd name="connsiteX2300" fmla="*/ 2086867 w 3135233"/>
                <a:gd name="connsiteY2300" fmla="*/ 535217 h 2493266"/>
                <a:gd name="connsiteX2301" fmla="*/ 2078528 w 3135233"/>
                <a:gd name="connsiteY2301" fmla="*/ 545085 h 2493266"/>
                <a:gd name="connsiteX2302" fmla="*/ 2070190 w 3135233"/>
                <a:gd name="connsiteY2302" fmla="*/ 550019 h 2493266"/>
                <a:gd name="connsiteX2303" fmla="*/ 2068117 w 3135233"/>
                <a:gd name="connsiteY2303" fmla="*/ 554953 h 2493266"/>
                <a:gd name="connsiteX2304" fmla="*/ 2061851 w 3135233"/>
                <a:gd name="connsiteY2304" fmla="*/ 558210 h 2493266"/>
                <a:gd name="connsiteX2305" fmla="*/ 2061851 w 3135233"/>
                <a:gd name="connsiteY2305" fmla="*/ 553276 h 2493266"/>
                <a:gd name="connsiteX2306" fmla="*/ 2065996 w 3135233"/>
                <a:gd name="connsiteY2306" fmla="*/ 548342 h 2493266"/>
                <a:gd name="connsiteX2307" fmla="*/ 2070190 w 3135233"/>
                <a:gd name="connsiteY2307" fmla="*/ 546714 h 2493266"/>
                <a:gd name="connsiteX2308" fmla="*/ 2084992 w 3135233"/>
                <a:gd name="connsiteY2308" fmla="*/ 533786 h 2493266"/>
                <a:gd name="connsiteX2309" fmla="*/ 2087064 w 3135233"/>
                <a:gd name="connsiteY2309" fmla="*/ 530579 h 2493266"/>
                <a:gd name="connsiteX2310" fmla="*/ 2082870 w 3135233"/>
                <a:gd name="connsiteY2310" fmla="*/ 524116 h 2493266"/>
                <a:gd name="connsiteX2311" fmla="*/ 2084992 w 3135233"/>
                <a:gd name="connsiteY2311" fmla="*/ 511188 h 2493266"/>
                <a:gd name="connsiteX2312" fmla="*/ 2087064 w 3135233"/>
                <a:gd name="connsiteY2312" fmla="*/ 509610 h 2493266"/>
                <a:gd name="connsiteX2313" fmla="*/ 2080798 w 3135233"/>
                <a:gd name="connsiteY2313" fmla="*/ 503146 h 2493266"/>
                <a:gd name="connsiteX2314" fmla="*/ 2078726 w 3135233"/>
                <a:gd name="connsiteY2314" fmla="*/ 506353 h 2493266"/>
                <a:gd name="connsiteX2315" fmla="*/ 2070387 w 3135233"/>
                <a:gd name="connsiteY2315" fmla="*/ 506353 h 2493266"/>
                <a:gd name="connsiteX2316" fmla="*/ 2066193 w 3135233"/>
                <a:gd name="connsiteY2316" fmla="*/ 503146 h 2493266"/>
                <a:gd name="connsiteX2317" fmla="*/ 2066193 w 3135233"/>
                <a:gd name="connsiteY2317" fmla="*/ 498212 h 2493266"/>
                <a:gd name="connsiteX2318" fmla="*/ 2064170 w 3135233"/>
                <a:gd name="connsiteY2318" fmla="*/ 493278 h 2493266"/>
                <a:gd name="connsiteX2319" fmla="*/ 2053760 w 3135233"/>
                <a:gd name="connsiteY2319" fmla="*/ 490021 h 2493266"/>
                <a:gd name="connsiteX2320" fmla="*/ 2047493 w 3135233"/>
                <a:gd name="connsiteY2320" fmla="*/ 485087 h 2493266"/>
                <a:gd name="connsiteX2321" fmla="*/ 2041227 w 3135233"/>
                <a:gd name="connsiteY2321" fmla="*/ 485087 h 2493266"/>
                <a:gd name="connsiteX2322" fmla="*/ 2032888 w 3135233"/>
                <a:gd name="connsiteY2322" fmla="*/ 481880 h 2493266"/>
                <a:gd name="connsiteX2323" fmla="*/ 2028744 w 3135233"/>
                <a:gd name="connsiteY2323" fmla="*/ 483509 h 2493266"/>
                <a:gd name="connsiteX2324" fmla="*/ 2016261 w 3135233"/>
                <a:gd name="connsiteY2324" fmla="*/ 485087 h 2493266"/>
                <a:gd name="connsiteX2325" fmla="*/ 2014139 w 3135233"/>
                <a:gd name="connsiteY2325" fmla="*/ 488344 h 2493266"/>
                <a:gd name="connsiteX2326" fmla="*/ 2012067 w 3135233"/>
                <a:gd name="connsiteY2326" fmla="*/ 488344 h 2493266"/>
                <a:gd name="connsiteX2327" fmla="*/ 2007922 w 3135233"/>
                <a:gd name="connsiteY2327" fmla="*/ 493278 h 2493266"/>
                <a:gd name="connsiteX2328" fmla="*/ 2012067 w 3135233"/>
                <a:gd name="connsiteY2328" fmla="*/ 499741 h 2493266"/>
                <a:gd name="connsiteX2329" fmla="*/ 2016261 w 3135233"/>
                <a:gd name="connsiteY2329" fmla="*/ 504675 h 2493266"/>
                <a:gd name="connsiteX2330" fmla="*/ 2012067 w 3135233"/>
                <a:gd name="connsiteY2330" fmla="*/ 504675 h 2493266"/>
                <a:gd name="connsiteX2331" fmla="*/ 2003728 w 3135233"/>
                <a:gd name="connsiteY2331" fmla="*/ 494807 h 2493266"/>
                <a:gd name="connsiteX2332" fmla="*/ 2001656 w 3135233"/>
                <a:gd name="connsiteY2332" fmla="*/ 501271 h 2493266"/>
                <a:gd name="connsiteX2333" fmla="*/ 2003728 w 3135233"/>
                <a:gd name="connsiteY2333" fmla="*/ 507735 h 2493266"/>
                <a:gd name="connsiteX2334" fmla="*/ 2012067 w 3135233"/>
                <a:gd name="connsiteY2334" fmla="*/ 509363 h 2493266"/>
                <a:gd name="connsiteX2335" fmla="*/ 2018333 w 3135233"/>
                <a:gd name="connsiteY2335" fmla="*/ 520662 h 2493266"/>
                <a:gd name="connsiteX2336" fmla="*/ 2024550 w 3135233"/>
                <a:gd name="connsiteY2336" fmla="*/ 520662 h 2493266"/>
                <a:gd name="connsiteX2337" fmla="*/ 2020405 w 3135233"/>
                <a:gd name="connsiteY2337" fmla="*/ 523869 h 2493266"/>
                <a:gd name="connsiteX2338" fmla="*/ 2014189 w 3135233"/>
                <a:gd name="connsiteY2338" fmla="*/ 523869 h 2493266"/>
                <a:gd name="connsiteX2339" fmla="*/ 2012116 w 3135233"/>
                <a:gd name="connsiteY2339" fmla="*/ 528803 h 2493266"/>
                <a:gd name="connsiteX2340" fmla="*/ 2022527 w 3135233"/>
                <a:gd name="connsiteY2340" fmla="*/ 540102 h 2493266"/>
                <a:gd name="connsiteX2341" fmla="*/ 2028793 w 3135233"/>
                <a:gd name="connsiteY2341" fmla="*/ 541730 h 2493266"/>
                <a:gd name="connsiteX2342" fmla="*/ 2028793 w 3135233"/>
                <a:gd name="connsiteY2342" fmla="*/ 546664 h 2493266"/>
                <a:gd name="connsiteX2343" fmla="*/ 2026721 w 3135233"/>
                <a:gd name="connsiteY2343" fmla="*/ 543457 h 2493266"/>
                <a:gd name="connsiteX2344" fmla="*/ 2014189 w 3135233"/>
                <a:gd name="connsiteY2344" fmla="*/ 543457 h 2493266"/>
                <a:gd name="connsiteX2345" fmla="*/ 2014189 w 3135233"/>
                <a:gd name="connsiteY2345" fmla="*/ 546664 h 2493266"/>
                <a:gd name="connsiteX2346" fmla="*/ 2009995 w 3135233"/>
                <a:gd name="connsiteY2346" fmla="*/ 548292 h 2493266"/>
                <a:gd name="connsiteX2347" fmla="*/ 2007972 w 3135233"/>
                <a:gd name="connsiteY2347" fmla="*/ 553226 h 2493266"/>
                <a:gd name="connsiteX2348" fmla="*/ 2018382 w 3135233"/>
                <a:gd name="connsiteY2348" fmla="*/ 549970 h 2493266"/>
                <a:gd name="connsiteX2349" fmla="*/ 2022527 w 3135233"/>
                <a:gd name="connsiteY2349" fmla="*/ 553226 h 2493266"/>
                <a:gd name="connsiteX2350" fmla="*/ 2035010 w 3135233"/>
                <a:gd name="connsiteY2350" fmla="*/ 549970 h 2493266"/>
                <a:gd name="connsiteX2351" fmla="*/ 2035010 w 3135233"/>
                <a:gd name="connsiteY2351" fmla="*/ 554904 h 2493266"/>
                <a:gd name="connsiteX2352" fmla="*/ 2043793 w 3135233"/>
                <a:gd name="connsiteY2352" fmla="*/ 554904 h 2493266"/>
                <a:gd name="connsiteX2353" fmla="*/ 2045816 w 3135233"/>
                <a:gd name="connsiteY2353" fmla="*/ 559838 h 2493266"/>
                <a:gd name="connsiteX2354" fmla="*/ 2054203 w 3135233"/>
                <a:gd name="connsiteY2354" fmla="*/ 566252 h 2493266"/>
                <a:gd name="connsiteX2355" fmla="*/ 2058348 w 3135233"/>
                <a:gd name="connsiteY2355" fmla="*/ 566252 h 2493266"/>
                <a:gd name="connsiteX2356" fmla="*/ 2058348 w 3135233"/>
                <a:gd name="connsiteY2356" fmla="*/ 561318 h 2493266"/>
                <a:gd name="connsiteX2357" fmla="*/ 2062493 w 3135233"/>
                <a:gd name="connsiteY2357" fmla="*/ 564575 h 2493266"/>
                <a:gd name="connsiteX2358" fmla="*/ 2068759 w 3135233"/>
                <a:gd name="connsiteY2358" fmla="*/ 561318 h 2493266"/>
                <a:gd name="connsiteX2359" fmla="*/ 2072904 w 3135233"/>
                <a:gd name="connsiteY2359" fmla="*/ 561318 h 2493266"/>
                <a:gd name="connsiteX2360" fmla="*/ 2075025 w 3135233"/>
                <a:gd name="connsiteY2360" fmla="*/ 566252 h 2493266"/>
                <a:gd name="connsiteX2361" fmla="*/ 2072904 w 3135233"/>
                <a:gd name="connsiteY2361" fmla="*/ 571186 h 2493266"/>
                <a:gd name="connsiteX2362" fmla="*/ 2072904 w 3135233"/>
                <a:gd name="connsiteY2362" fmla="*/ 582485 h 2493266"/>
                <a:gd name="connsiteX2363" fmla="*/ 2068759 w 3135233"/>
                <a:gd name="connsiteY2363" fmla="*/ 590577 h 2493266"/>
                <a:gd name="connsiteX2364" fmla="*/ 2068759 w 3135233"/>
                <a:gd name="connsiteY2364" fmla="*/ 595511 h 2493266"/>
                <a:gd name="connsiteX2365" fmla="*/ 2072904 w 3135233"/>
                <a:gd name="connsiteY2365" fmla="*/ 601975 h 2493266"/>
                <a:gd name="connsiteX2366" fmla="*/ 2070831 w 3135233"/>
                <a:gd name="connsiteY2366" fmla="*/ 608438 h 2493266"/>
                <a:gd name="connsiteX2367" fmla="*/ 2070831 w 3135233"/>
                <a:gd name="connsiteY2367" fmla="*/ 613372 h 2493266"/>
                <a:gd name="connsiteX2368" fmla="*/ 2068759 w 3135233"/>
                <a:gd name="connsiteY2368" fmla="*/ 619836 h 2493266"/>
                <a:gd name="connsiteX2369" fmla="*/ 2058348 w 3135233"/>
                <a:gd name="connsiteY2369" fmla="*/ 626250 h 2493266"/>
                <a:gd name="connsiteX2370" fmla="*/ 2050010 w 3135233"/>
                <a:gd name="connsiteY2370" fmla="*/ 627878 h 2493266"/>
                <a:gd name="connsiteX2371" fmla="*/ 2047937 w 3135233"/>
                <a:gd name="connsiteY2371" fmla="*/ 632812 h 2493266"/>
                <a:gd name="connsiteX2372" fmla="*/ 2041671 w 3135233"/>
                <a:gd name="connsiteY2372" fmla="*/ 640904 h 2493266"/>
                <a:gd name="connsiteX2373" fmla="*/ 2041671 w 3135233"/>
                <a:gd name="connsiteY2373" fmla="*/ 645838 h 2493266"/>
                <a:gd name="connsiteX2374" fmla="*/ 2035405 w 3135233"/>
                <a:gd name="connsiteY2374" fmla="*/ 649045 h 2493266"/>
                <a:gd name="connsiteX2375" fmla="*/ 2031260 w 3135233"/>
                <a:gd name="connsiteY2375" fmla="*/ 653979 h 2493266"/>
                <a:gd name="connsiteX2376" fmla="*/ 2031260 w 3135233"/>
                <a:gd name="connsiteY2376" fmla="*/ 660443 h 2493266"/>
                <a:gd name="connsiteX2377" fmla="*/ 2037526 w 3135233"/>
                <a:gd name="connsiteY2377" fmla="*/ 662071 h 2493266"/>
                <a:gd name="connsiteX2378" fmla="*/ 2037526 w 3135233"/>
                <a:gd name="connsiteY2378" fmla="*/ 667005 h 2493266"/>
                <a:gd name="connsiteX2379" fmla="*/ 2029188 w 3135233"/>
                <a:gd name="connsiteY2379" fmla="*/ 668634 h 2493266"/>
                <a:gd name="connsiteX2380" fmla="*/ 2029188 w 3135233"/>
                <a:gd name="connsiteY2380" fmla="*/ 673568 h 2493266"/>
                <a:gd name="connsiteX2381" fmla="*/ 2031260 w 3135233"/>
                <a:gd name="connsiteY2381" fmla="*/ 676775 h 2493266"/>
                <a:gd name="connsiteX2382" fmla="*/ 2027116 w 3135233"/>
                <a:gd name="connsiteY2382" fmla="*/ 681709 h 2493266"/>
                <a:gd name="connsiteX2383" fmla="*/ 2024994 w 3135233"/>
                <a:gd name="connsiteY2383" fmla="*/ 688172 h 2493266"/>
                <a:gd name="connsiteX2384" fmla="*/ 2029188 w 3135233"/>
                <a:gd name="connsiteY2384" fmla="*/ 694636 h 2493266"/>
                <a:gd name="connsiteX2385" fmla="*/ 2033333 w 3135233"/>
                <a:gd name="connsiteY2385" fmla="*/ 696264 h 2493266"/>
                <a:gd name="connsiteX2386" fmla="*/ 2033333 w 3135233"/>
                <a:gd name="connsiteY2386" fmla="*/ 699471 h 2493266"/>
                <a:gd name="connsiteX2387" fmla="*/ 2037526 w 3135233"/>
                <a:gd name="connsiteY2387" fmla="*/ 704405 h 2493266"/>
                <a:gd name="connsiteX2388" fmla="*/ 2041671 w 3135233"/>
                <a:gd name="connsiteY2388" fmla="*/ 702777 h 2493266"/>
                <a:gd name="connsiteX2389" fmla="*/ 2043793 w 3135233"/>
                <a:gd name="connsiteY2389" fmla="*/ 697843 h 2493266"/>
                <a:gd name="connsiteX2390" fmla="*/ 2045816 w 3135233"/>
                <a:gd name="connsiteY2390" fmla="*/ 694636 h 2493266"/>
                <a:gd name="connsiteX2391" fmla="*/ 2047937 w 3135233"/>
                <a:gd name="connsiteY2391" fmla="*/ 696264 h 2493266"/>
                <a:gd name="connsiteX2392" fmla="*/ 2052082 w 3135233"/>
                <a:gd name="connsiteY2392" fmla="*/ 696264 h 2493266"/>
                <a:gd name="connsiteX2393" fmla="*/ 2058348 w 3135233"/>
                <a:gd name="connsiteY2393" fmla="*/ 689801 h 2493266"/>
                <a:gd name="connsiteX2394" fmla="*/ 2060420 w 3135233"/>
                <a:gd name="connsiteY2394" fmla="*/ 691379 h 2493266"/>
                <a:gd name="connsiteX2395" fmla="*/ 2056227 w 3135233"/>
                <a:gd name="connsiteY2395" fmla="*/ 699471 h 2493266"/>
                <a:gd name="connsiteX2396" fmla="*/ 2050010 w 3135233"/>
                <a:gd name="connsiteY2396" fmla="*/ 701099 h 2493266"/>
                <a:gd name="connsiteX2397" fmla="*/ 2050010 w 3135233"/>
                <a:gd name="connsiteY2397" fmla="*/ 704307 h 2493266"/>
                <a:gd name="connsiteX2398" fmla="*/ 2052082 w 3135233"/>
                <a:gd name="connsiteY2398" fmla="*/ 707563 h 2493266"/>
                <a:gd name="connsiteX2399" fmla="*/ 2054203 w 3135233"/>
                <a:gd name="connsiteY2399" fmla="*/ 710770 h 2493266"/>
                <a:gd name="connsiteX2400" fmla="*/ 2060420 w 3135233"/>
                <a:gd name="connsiteY2400" fmla="*/ 717234 h 2493266"/>
                <a:gd name="connsiteX2401" fmla="*/ 2066637 w 3135233"/>
                <a:gd name="connsiteY2401" fmla="*/ 715605 h 2493266"/>
                <a:gd name="connsiteX2402" fmla="*/ 2068759 w 3135233"/>
                <a:gd name="connsiteY2402" fmla="*/ 717234 h 2493266"/>
                <a:gd name="connsiteX2403" fmla="*/ 2077097 w 3135233"/>
                <a:gd name="connsiteY2403" fmla="*/ 718813 h 2493266"/>
                <a:gd name="connsiteX2404" fmla="*/ 2081242 w 3135233"/>
                <a:gd name="connsiteY2404" fmla="*/ 715605 h 2493266"/>
                <a:gd name="connsiteX2405" fmla="*/ 2089581 w 3135233"/>
                <a:gd name="connsiteY2405" fmla="*/ 712398 h 2493266"/>
                <a:gd name="connsiteX2406" fmla="*/ 2089581 w 3135233"/>
                <a:gd name="connsiteY2406" fmla="*/ 705935 h 2493266"/>
                <a:gd name="connsiteX2407" fmla="*/ 2093725 w 3135233"/>
                <a:gd name="connsiteY2407" fmla="*/ 705935 h 2493266"/>
                <a:gd name="connsiteX2408" fmla="*/ 2095847 w 3135233"/>
                <a:gd name="connsiteY2408" fmla="*/ 702678 h 2493266"/>
                <a:gd name="connsiteX2409" fmla="*/ 2097919 w 3135233"/>
                <a:gd name="connsiteY2409" fmla="*/ 705935 h 2493266"/>
                <a:gd name="connsiteX2410" fmla="*/ 2095847 w 3135233"/>
                <a:gd name="connsiteY2410" fmla="*/ 709142 h 2493266"/>
                <a:gd name="connsiteX2411" fmla="*/ 2097919 w 3135233"/>
                <a:gd name="connsiteY2411" fmla="*/ 714076 h 2493266"/>
                <a:gd name="connsiteX2412" fmla="*/ 2099992 w 3135233"/>
                <a:gd name="connsiteY2412" fmla="*/ 712497 h 2493266"/>
                <a:gd name="connsiteX2413" fmla="*/ 2104136 w 3135233"/>
                <a:gd name="connsiteY2413" fmla="*/ 702629 h 2493266"/>
                <a:gd name="connsiteX2414" fmla="*/ 2107935 w 3135233"/>
                <a:gd name="connsiteY2414" fmla="*/ 700606 h 2493266"/>
                <a:gd name="connsiteX2415" fmla="*/ 2110057 w 3135233"/>
                <a:gd name="connsiteY2415" fmla="*/ 703813 h 2493266"/>
                <a:gd name="connsiteX2416" fmla="*/ 2107935 w 3135233"/>
                <a:gd name="connsiteY2416" fmla="*/ 710277 h 2493266"/>
                <a:gd name="connsiteX2417" fmla="*/ 2099597 w 3135233"/>
                <a:gd name="connsiteY2417" fmla="*/ 721576 h 2493266"/>
                <a:gd name="connsiteX2418" fmla="*/ 2095452 w 3135233"/>
                <a:gd name="connsiteY2418" fmla="*/ 724783 h 2493266"/>
                <a:gd name="connsiteX2419" fmla="*/ 2095452 w 3135233"/>
                <a:gd name="connsiteY2419" fmla="*/ 729717 h 2493266"/>
                <a:gd name="connsiteX2420" fmla="*/ 2103741 w 3135233"/>
                <a:gd name="connsiteY2420" fmla="*/ 731345 h 2493266"/>
                <a:gd name="connsiteX2421" fmla="*/ 2107935 w 3135233"/>
                <a:gd name="connsiteY2421" fmla="*/ 736279 h 2493266"/>
                <a:gd name="connsiteX2422" fmla="*/ 2114202 w 3135233"/>
                <a:gd name="connsiteY2422" fmla="*/ 736279 h 2493266"/>
                <a:gd name="connsiteX2423" fmla="*/ 2116274 w 3135233"/>
                <a:gd name="connsiteY2423" fmla="*/ 737907 h 2493266"/>
                <a:gd name="connsiteX2424" fmla="*/ 2124612 w 3135233"/>
                <a:gd name="connsiteY2424" fmla="*/ 737907 h 2493266"/>
                <a:gd name="connsiteX2425" fmla="*/ 2126685 w 3135233"/>
                <a:gd name="connsiteY2425" fmla="*/ 734651 h 2493266"/>
                <a:gd name="connsiteX2426" fmla="*/ 2132951 w 3135233"/>
                <a:gd name="connsiteY2426" fmla="*/ 734651 h 2493266"/>
                <a:gd name="connsiteX2427" fmla="*/ 2130879 w 3135233"/>
                <a:gd name="connsiteY2427" fmla="*/ 737907 h 2493266"/>
                <a:gd name="connsiteX2428" fmla="*/ 2132951 w 3135233"/>
                <a:gd name="connsiteY2428" fmla="*/ 741115 h 2493266"/>
                <a:gd name="connsiteX2429" fmla="*/ 2137095 w 3135233"/>
                <a:gd name="connsiteY2429" fmla="*/ 742743 h 2493266"/>
                <a:gd name="connsiteX2430" fmla="*/ 2143362 w 3135233"/>
                <a:gd name="connsiteY2430" fmla="*/ 744371 h 2493266"/>
                <a:gd name="connsiteX2431" fmla="*/ 2147506 w 3135233"/>
                <a:gd name="connsiteY2431" fmla="*/ 742743 h 2493266"/>
                <a:gd name="connsiteX2432" fmla="*/ 2145434 w 3135233"/>
                <a:gd name="connsiteY2432" fmla="*/ 739536 h 2493266"/>
                <a:gd name="connsiteX2433" fmla="*/ 2145434 w 3135233"/>
                <a:gd name="connsiteY2433" fmla="*/ 734602 h 2493266"/>
                <a:gd name="connsiteX2434" fmla="*/ 2149579 w 3135233"/>
                <a:gd name="connsiteY2434" fmla="*/ 728187 h 2493266"/>
                <a:gd name="connsiteX2435" fmla="*/ 2151700 w 3135233"/>
                <a:gd name="connsiteY2435" fmla="*/ 733121 h 2493266"/>
                <a:gd name="connsiteX2436" fmla="*/ 2149579 w 3135233"/>
                <a:gd name="connsiteY2436" fmla="*/ 738055 h 2493266"/>
                <a:gd name="connsiteX2437" fmla="*/ 2151700 w 3135233"/>
                <a:gd name="connsiteY2437" fmla="*/ 744519 h 2493266"/>
                <a:gd name="connsiteX2438" fmla="*/ 2155845 w 3135233"/>
                <a:gd name="connsiteY2438" fmla="*/ 744519 h 2493266"/>
                <a:gd name="connsiteX2439" fmla="*/ 2157917 w 3135233"/>
                <a:gd name="connsiteY2439" fmla="*/ 739585 h 2493266"/>
                <a:gd name="connsiteX2440" fmla="*/ 2159989 w 3135233"/>
                <a:gd name="connsiteY2440" fmla="*/ 736328 h 2493266"/>
                <a:gd name="connsiteX2441" fmla="*/ 2166256 w 3135233"/>
                <a:gd name="connsiteY2441" fmla="*/ 734700 h 2493266"/>
                <a:gd name="connsiteX2442" fmla="*/ 2164183 w 3135233"/>
                <a:gd name="connsiteY2442" fmla="*/ 737957 h 2493266"/>
                <a:gd name="connsiteX2443" fmla="*/ 2162111 w 3135233"/>
                <a:gd name="connsiteY2443" fmla="*/ 741164 h 2493266"/>
                <a:gd name="connsiteX2444" fmla="*/ 2162111 w 3135233"/>
                <a:gd name="connsiteY2444" fmla="*/ 746098 h 2493266"/>
                <a:gd name="connsiteX2445" fmla="*/ 2170400 w 3135233"/>
                <a:gd name="connsiteY2445" fmla="*/ 746098 h 2493266"/>
                <a:gd name="connsiteX2446" fmla="*/ 2176666 w 3135233"/>
                <a:gd name="connsiteY2446" fmla="*/ 742891 h 2493266"/>
                <a:gd name="connsiteX2447" fmla="*/ 2180811 w 3135233"/>
                <a:gd name="connsiteY2447" fmla="*/ 733023 h 2493266"/>
                <a:gd name="connsiteX2448" fmla="*/ 2182933 w 3135233"/>
                <a:gd name="connsiteY2448" fmla="*/ 737957 h 2493266"/>
                <a:gd name="connsiteX2449" fmla="*/ 2178739 w 3135233"/>
                <a:gd name="connsiteY2449" fmla="*/ 742891 h 2493266"/>
                <a:gd name="connsiteX2450" fmla="*/ 2178739 w 3135233"/>
                <a:gd name="connsiteY2450" fmla="*/ 746098 h 2493266"/>
                <a:gd name="connsiteX2451" fmla="*/ 2187077 w 3135233"/>
                <a:gd name="connsiteY2451" fmla="*/ 744519 h 2493266"/>
                <a:gd name="connsiteX2452" fmla="*/ 2191222 w 3135233"/>
                <a:gd name="connsiteY2452" fmla="*/ 736427 h 2493266"/>
                <a:gd name="connsiteX2453" fmla="*/ 2193343 w 3135233"/>
                <a:gd name="connsiteY2453" fmla="*/ 733220 h 2493266"/>
                <a:gd name="connsiteX2454" fmla="*/ 2191222 w 3135233"/>
                <a:gd name="connsiteY2454" fmla="*/ 746098 h 2493266"/>
                <a:gd name="connsiteX2455" fmla="*/ 2193343 w 3135233"/>
                <a:gd name="connsiteY2455" fmla="*/ 751032 h 2493266"/>
                <a:gd name="connsiteX2456" fmla="*/ 2199610 w 3135233"/>
                <a:gd name="connsiteY2456" fmla="*/ 751032 h 2493266"/>
                <a:gd name="connsiteX2457" fmla="*/ 2210020 w 3135233"/>
                <a:gd name="connsiteY2457" fmla="*/ 755966 h 2493266"/>
                <a:gd name="connsiteX2458" fmla="*/ 2216237 w 3135233"/>
                <a:gd name="connsiteY2458" fmla="*/ 752709 h 2493266"/>
                <a:gd name="connsiteX2459" fmla="*/ 2220431 w 3135233"/>
                <a:gd name="connsiteY2459" fmla="*/ 752709 h 2493266"/>
                <a:gd name="connsiteX2460" fmla="*/ 2222503 w 3135233"/>
                <a:gd name="connsiteY2460" fmla="*/ 755966 h 2493266"/>
                <a:gd name="connsiteX2461" fmla="*/ 2230842 w 3135233"/>
                <a:gd name="connsiteY2461" fmla="*/ 754338 h 2493266"/>
                <a:gd name="connsiteX2462" fmla="*/ 2234987 w 3135233"/>
                <a:gd name="connsiteY2462" fmla="*/ 751081 h 2493266"/>
                <a:gd name="connsiteX2463" fmla="*/ 2234987 w 3135233"/>
                <a:gd name="connsiteY2463" fmla="*/ 744667 h 2493266"/>
                <a:gd name="connsiteX2464" fmla="*/ 2243325 w 3135233"/>
                <a:gd name="connsiteY2464" fmla="*/ 739733 h 2493266"/>
                <a:gd name="connsiteX2465" fmla="*/ 2245397 w 3135233"/>
                <a:gd name="connsiteY2465" fmla="*/ 734799 h 2493266"/>
                <a:gd name="connsiteX2466" fmla="*/ 2241253 w 3135233"/>
                <a:gd name="connsiteY2466" fmla="*/ 729865 h 2493266"/>
                <a:gd name="connsiteX2467" fmla="*/ 2245397 w 3135233"/>
                <a:gd name="connsiteY2467" fmla="*/ 723401 h 2493266"/>
                <a:gd name="connsiteX2468" fmla="*/ 2247470 w 3135233"/>
                <a:gd name="connsiteY2468" fmla="*/ 725030 h 2493266"/>
                <a:gd name="connsiteX2469" fmla="*/ 2247470 w 3135233"/>
                <a:gd name="connsiteY2469" fmla="*/ 731493 h 2493266"/>
                <a:gd name="connsiteX2470" fmla="*/ 2251664 w 3135233"/>
                <a:gd name="connsiteY2470" fmla="*/ 733121 h 2493266"/>
                <a:gd name="connsiteX2471" fmla="*/ 2253736 w 3135233"/>
                <a:gd name="connsiteY2471" fmla="*/ 736328 h 2493266"/>
                <a:gd name="connsiteX2472" fmla="*/ 2247470 w 3135233"/>
                <a:gd name="connsiteY2472" fmla="*/ 739585 h 2493266"/>
                <a:gd name="connsiteX2473" fmla="*/ 2243325 w 3135233"/>
                <a:gd name="connsiteY2473" fmla="*/ 747627 h 2493266"/>
                <a:gd name="connsiteX2474" fmla="*/ 1997758 w 3135233"/>
                <a:gd name="connsiteY2474" fmla="*/ 480943 h 2493266"/>
                <a:gd name="connsiteX2475" fmla="*/ 2003975 w 3135233"/>
                <a:gd name="connsiteY2475" fmla="*/ 479315 h 2493266"/>
                <a:gd name="connsiteX2476" fmla="*/ 2003975 w 3135233"/>
                <a:gd name="connsiteY2476" fmla="*/ 477736 h 2493266"/>
                <a:gd name="connsiteX2477" fmla="*/ 1999781 w 3135233"/>
                <a:gd name="connsiteY2477" fmla="*/ 476107 h 2493266"/>
                <a:gd name="connsiteX2478" fmla="*/ 1995686 w 3135233"/>
                <a:gd name="connsiteY2478" fmla="*/ 477736 h 2493266"/>
                <a:gd name="connsiteX2479" fmla="*/ 1985226 w 3135233"/>
                <a:gd name="connsiteY2479" fmla="*/ 518047 h 2493266"/>
                <a:gd name="connsiteX2480" fmla="*/ 1989370 w 3135233"/>
                <a:gd name="connsiteY2480" fmla="*/ 514840 h 2493266"/>
                <a:gd name="connsiteX2481" fmla="*/ 1991492 w 3135233"/>
                <a:gd name="connsiteY2481" fmla="*/ 509906 h 2493266"/>
                <a:gd name="connsiteX2482" fmla="*/ 1991492 w 3135233"/>
                <a:gd name="connsiteY2482" fmla="*/ 514840 h 2493266"/>
                <a:gd name="connsiteX2483" fmla="*/ 1989518 w 3135233"/>
                <a:gd name="connsiteY2483" fmla="*/ 518047 h 2493266"/>
                <a:gd name="connsiteX2484" fmla="*/ 1812535 w 3135233"/>
                <a:gd name="connsiteY2484" fmla="*/ 571285 h 2493266"/>
                <a:gd name="connsiteX2485" fmla="*/ 1810462 w 3135233"/>
                <a:gd name="connsiteY2485" fmla="*/ 574541 h 2493266"/>
                <a:gd name="connsiteX2486" fmla="*/ 1812535 w 3135233"/>
                <a:gd name="connsiteY2486" fmla="*/ 577749 h 2493266"/>
                <a:gd name="connsiteX2487" fmla="*/ 1814656 w 3135233"/>
                <a:gd name="connsiteY2487" fmla="*/ 574541 h 2493266"/>
                <a:gd name="connsiteX2488" fmla="*/ 1925030 w 3135233"/>
                <a:gd name="connsiteY2488" fmla="*/ 477538 h 2493266"/>
                <a:gd name="connsiteX2489" fmla="*/ 1925030 w 3135233"/>
                <a:gd name="connsiteY2489" fmla="*/ 480745 h 2493266"/>
                <a:gd name="connsiteX2490" fmla="*/ 1929225 w 3135233"/>
                <a:gd name="connsiteY2490" fmla="*/ 485680 h 2493266"/>
                <a:gd name="connsiteX2491" fmla="*/ 1931297 w 3135233"/>
                <a:gd name="connsiteY2491" fmla="*/ 488936 h 2493266"/>
                <a:gd name="connsiteX2492" fmla="*/ 1933369 w 3135233"/>
                <a:gd name="connsiteY2492" fmla="*/ 487308 h 2493266"/>
                <a:gd name="connsiteX2493" fmla="*/ 1933369 w 3135233"/>
                <a:gd name="connsiteY2493" fmla="*/ 482374 h 2493266"/>
                <a:gd name="connsiteX2494" fmla="*/ 1927103 w 3135233"/>
                <a:gd name="connsiteY2494" fmla="*/ 479117 h 2493266"/>
                <a:gd name="connsiteX2495" fmla="*/ 1870756 w 3135233"/>
                <a:gd name="connsiteY2495" fmla="*/ 480745 h 2493266"/>
                <a:gd name="connsiteX2496" fmla="*/ 1870756 w 3135233"/>
                <a:gd name="connsiteY2496" fmla="*/ 484002 h 2493266"/>
                <a:gd name="connsiteX2497" fmla="*/ 1874950 w 3135233"/>
                <a:gd name="connsiteY2497" fmla="*/ 487209 h 2493266"/>
                <a:gd name="connsiteX2498" fmla="*/ 1879095 w 3135233"/>
                <a:gd name="connsiteY2498" fmla="*/ 484002 h 2493266"/>
                <a:gd name="connsiteX2499" fmla="*/ 1885361 w 3135233"/>
                <a:gd name="connsiteY2499" fmla="*/ 482374 h 2493266"/>
                <a:gd name="connsiteX2500" fmla="*/ 1891578 w 3135233"/>
                <a:gd name="connsiteY2500" fmla="*/ 484002 h 2493266"/>
                <a:gd name="connsiteX2501" fmla="*/ 1902038 w 3135233"/>
                <a:gd name="connsiteY2501" fmla="*/ 479068 h 2493266"/>
                <a:gd name="connsiteX2502" fmla="*/ 1908304 w 3135233"/>
                <a:gd name="connsiteY2502" fmla="*/ 477489 h 2493266"/>
                <a:gd name="connsiteX2503" fmla="*/ 1914521 w 3135233"/>
                <a:gd name="connsiteY2503" fmla="*/ 475861 h 2493266"/>
                <a:gd name="connsiteX2504" fmla="*/ 1912449 w 3135233"/>
                <a:gd name="connsiteY2504" fmla="*/ 474233 h 2493266"/>
                <a:gd name="connsiteX2505" fmla="*/ 1899916 w 3135233"/>
                <a:gd name="connsiteY2505" fmla="*/ 472654 h 2493266"/>
                <a:gd name="connsiteX2506" fmla="*/ 1893699 w 3135233"/>
                <a:gd name="connsiteY2506" fmla="*/ 474233 h 2493266"/>
                <a:gd name="connsiteX2507" fmla="*/ 1887433 w 3135233"/>
                <a:gd name="connsiteY2507" fmla="*/ 477489 h 2493266"/>
                <a:gd name="connsiteX2508" fmla="*/ 1881167 w 3135233"/>
                <a:gd name="connsiteY2508" fmla="*/ 475861 h 2493266"/>
                <a:gd name="connsiteX2509" fmla="*/ 1874950 w 3135233"/>
                <a:gd name="connsiteY2509" fmla="*/ 477489 h 2493266"/>
                <a:gd name="connsiteX2510" fmla="*/ 1814557 w 3135233"/>
                <a:gd name="connsiteY2510" fmla="*/ 496880 h 2493266"/>
                <a:gd name="connsiteX2511" fmla="*/ 1812436 w 3135233"/>
                <a:gd name="connsiteY2511" fmla="*/ 493673 h 2493266"/>
                <a:gd name="connsiteX2512" fmla="*/ 1802025 w 3135233"/>
                <a:gd name="connsiteY2512" fmla="*/ 492044 h 2493266"/>
                <a:gd name="connsiteX2513" fmla="*/ 1793736 w 3135233"/>
                <a:gd name="connsiteY2513" fmla="*/ 490416 h 2493266"/>
                <a:gd name="connsiteX2514" fmla="*/ 1791614 w 3135233"/>
                <a:gd name="connsiteY2514" fmla="*/ 482374 h 2493266"/>
                <a:gd name="connsiteX2515" fmla="*/ 1797831 w 3135233"/>
                <a:gd name="connsiteY2515" fmla="*/ 477440 h 2493266"/>
                <a:gd name="connsiteX2516" fmla="*/ 1797831 w 3135233"/>
                <a:gd name="connsiteY2516" fmla="*/ 464512 h 2493266"/>
                <a:gd name="connsiteX2517" fmla="*/ 1802025 w 3135233"/>
                <a:gd name="connsiteY2517" fmla="*/ 461305 h 2493266"/>
                <a:gd name="connsiteX2518" fmla="*/ 1812436 w 3135233"/>
                <a:gd name="connsiteY2518" fmla="*/ 461305 h 2493266"/>
                <a:gd name="connsiteX2519" fmla="*/ 1814557 w 3135233"/>
                <a:gd name="connsiteY2519" fmla="*/ 462884 h 2493266"/>
                <a:gd name="connsiteX2520" fmla="*/ 1816630 w 3135233"/>
                <a:gd name="connsiteY2520" fmla="*/ 464512 h 2493266"/>
                <a:gd name="connsiteX2521" fmla="*/ 1818702 w 3135233"/>
                <a:gd name="connsiteY2521" fmla="*/ 467769 h 2493266"/>
                <a:gd name="connsiteX2522" fmla="*/ 1814557 w 3135233"/>
                <a:gd name="connsiteY2522" fmla="*/ 469348 h 2493266"/>
                <a:gd name="connsiteX2523" fmla="*/ 1812436 w 3135233"/>
                <a:gd name="connsiteY2523" fmla="*/ 472604 h 2493266"/>
                <a:gd name="connsiteX2524" fmla="*/ 1816630 w 3135233"/>
                <a:gd name="connsiteY2524" fmla="*/ 474183 h 2493266"/>
                <a:gd name="connsiteX2525" fmla="*/ 1822847 w 3135233"/>
                <a:gd name="connsiteY2525" fmla="*/ 472604 h 2493266"/>
                <a:gd name="connsiteX2526" fmla="*/ 1822847 w 3135233"/>
                <a:gd name="connsiteY2526" fmla="*/ 475811 h 2493266"/>
                <a:gd name="connsiteX2527" fmla="*/ 1818702 w 3135233"/>
                <a:gd name="connsiteY2527" fmla="*/ 479019 h 2493266"/>
                <a:gd name="connsiteX2528" fmla="*/ 1822847 w 3135233"/>
                <a:gd name="connsiteY2528" fmla="*/ 483953 h 2493266"/>
                <a:gd name="connsiteX2529" fmla="*/ 1822847 w 3135233"/>
                <a:gd name="connsiteY2529" fmla="*/ 490367 h 2493266"/>
                <a:gd name="connsiteX2530" fmla="*/ 1820774 w 3135233"/>
                <a:gd name="connsiteY2530" fmla="*/ 495301 h 2493266"/>
                <a:gd name="connsiteX2531" fmla="*/ 1806219 w 3135233"/>
                <a:gd name="connsiteY2531" fmla="*/ 519478 h 2493266"/>
                <a:gd name="connsiteX2532" fmla="*/ 1818702 w 3135233"/>
                <a:gd name="connsiteY2532" fmla="*/ 521106 h 2493266"/>
                <a:gd name="connsiteX2533" fmla="*/ 1824968 w 3135233"/>
                <a:gd name="connsiteY2533" fmla="*/ 516172 h 2493266"/>
                <a:gd name="connsiteX2534" fmla="*/ 1829113 w 3135233"/>
                <a:gd name="connsiteY2534" fmla="*/ 508080 h 2493266"/>
                <a:gd name="connsiteX2535" fmla="*/ 1824968 w 3135233"/>
                <a:gd name="connsiteY2535" fmla="*/ 501616 h 2493266"/>
                <a:gd name="connsiteX2536" fmla="*/ 1818702 w 3135233"/>
                <a:gd name="connsiteY2536" fmla="*/ 503245 h 2493266"/>
                <a:gd name="connsiteX2537" fmla="*/ 1810364 w 3135233"/>
                <a:gd name="connsiteY2537" fmla="*/ 500038 h 2493266"/>
                <a:gd name="connsiteX2538" fmla="*/ 1799953 w 3135233"/>
                <a:gd name="connsiteY2538" fmla="*/ 500038 h 2493266"/>
                <a:gd name="connsiteX2539" fmla="*/ 1793736 w 3135233"/>
                <a:gd name="connsiteY2539" fmla="*/ 498409 h 2493266"/>
                <a:gd name="connsiteX2540" fmla="*/ 1789542 w 3135233"/>
                <a:gd name="connsiteY2540" fmla="*/ 498409 h 2493266"/>
                <a:gd name="connsiteX2541" fmla="*/ 1785397 w 3135233"/>
                <a:gd name="connsiteY2541" fmla="*/ 501616 h 2493266"/>
                <a:gd name="connsiteX2542" fmla="*/ 1781204 w 3135233"/>
                <a:gd name="connsiteY2542" fmla="*/ 503245 h 2493266"/>
                <a:gd name="connsiteX2543" fmla="*/ 1779131 w 3135233"/>
                <a:gd name="connsiteY2543" fmla="*/ 508179 h 2493266"/>
                <a:gd name="connsiteX2544" fmla="*/ 1781204 w 3135233"/>
                <a:gd name="connsiteY2544" fmla="*/ 509807 h 2493266"/>
                <a:gd name="connsiteX2545" fmla="*/ 1783325 w 3135233"/>
                <a:gd name="connsiteY2545" fmla="*/ 511386 h 2493266"/>
                <a:gd name="connsiteX2546" fmla="*/ 1785397 w 3135233"/>
                <a:gd name="connsiteY2546" fmla="*/ 514642 h 2493266"/>
                <a:gd name="connsiteX2547" fmla="*/ 1791614 w 3135233"/>
                <a:gd name="connsiteY2547" fmla="*/ 516271 h 2493266"/>
                <a:gd name="connsiteX2548" fmla="*/ 1797831 w 3135233"/>
                <a:gd name="connsiteY2548" fmla="*/ 517849 h 2493266"/>
                <a:gd name="connsiteX2549" fmla="*/ 1779033 w 3135233"/>
                <a:gd name="connsiteY2549" fmla="*/ 527915 h 2493266"/>
                <a:gd name="connsiteX2550" fmla="*/ 1795709 w 3135233"/>
                <a:gd name="connsiteY2550" fmla="*/ 532849 h 2493266"/>
                <a:gd name="connsiteX2551" fmla="*/ 1801926 w 3135233"/>
                <a:gd name="connsiteY2551" fmla="*/ 529592 h 2493266"/>
                <a:gd name="connsiteX2552" fmla="*/ 1808193 w 3135233"/>
                <a:gd name="connsiteY2552" fmla="*/ 529592 h 2493266"/>
                <a:gd name="connsiteX2553" fmla="*/ 1812337 w 3135233"/>
                <a:gd name="connsiteY2553" fmla="*/ 531221 h 2493266"/>
                <a:gd name="connsiteX2554" fmla="*/ 1816531 w 3135233"/>
                <a:gd name="connsiteY2554" fmla="*/ 529592 h 2493266"/>
                <a:gd name="connsiteX2555" fmla="*/ 1822748 w 3135233"/>
                <a:gd name="connsiteY2555" fmla="*/ 529592 h 2493266"/>
                <a:gd name="connsiteX2556" fmla="*/ 1822748 w 3135233"/>
                <a:gd name="connsiteY2556" fmla="*/ 524658 h 2493266"/>
                <a:gd name="connsiteX2557" fmla="*/ 1818603 w 3135233"/>
                <a:gd name="connsiteY2557" fmla="*/ 523030 h 2493266"/>
                <a:gd name="connsiteX2558" fmla="*/ 1801926 w 3135233"/>
                <a:gd name="connsiteY2558" fmla="*/ 524658 h 2493266"/>
                <a:gd name="connsiteX2559" fmla="*/ 1795709 w 3135233"/>
                <a:gd name="connsiteY2559" fmla="*/ 526287 h 2493266"/>
                <a:gd name="connsiteX2560" fmla="*/ 1791516 w 3135233"/>
                <a:gd name="connsiteY2560" fmla="*/ 524658 h 2493266"/>
                <a:gd name="connsiteX2561" fmla="*/ 1783226 w 3135233"/>
                <a:gd name="connsiteY2561" fmla="*/ 523030 h 2493266"/>
                <a:gd name="connsiteX2562" fmla="*/ 1779033 w 3135233"/>
                <a:gd name="connsiteY2562" fmla="*/ 524658 h 2493266"/>
                <a:gd name="connsiteX2563" fmla="*/ 1776911 w 3135233"/>
                <a:gd name="connsiteY2563" fmla="*/ 544049 h 2493266"/>
                <a:gd name="connsiteX2564" fmla="*/ 1781105 w 3135233"/>
                <a:gd name="connsiteY2564" fmla="*/ 542421 h 2493266"/>
                <a:gd name="connsiteX2565" fmla="*/ 1787223 w 3135233"/>
                <a:gd name="connsiteY2565" fmla="*/ 542421 h 2493266"/>
                <a:gd name="connsiteX2566" fmla="*/ 1795611 w 3135233"/>
                <a:gd name="connsiteY2566" fmla="*/ 537487 h 2493266"/>
                <a:gd name="connsiteX2567" fmla="*/ 1810166 w 3135233"/>
                <a:gd name="connsiteY2567" fmla="*/ 534230 h 2493266"/>
                <a:gd name="connsiteX2568" fmla="*/ 1814360 w 3135233"/>
                <a:gd name="connsiteY2568" fmla="*/ 535859 h 2493266"/>
                <a:gd name="connsiteX2569" fmla="*/ 1818505 w 3135233"/>
                <a:gd name="connsiteY2569" fmla="*/ 534230 h 2493266"/>
                <a:gd name="connsiteX2570" fmla="*/ 1822649 w 3135233"/>
                <a:gd name="connsiteY2570" fmla="*/ 534230 h 2493266"/>
                <a:gd name="connsiteX2571" fmla="*/ 1822649 w 3135233"/>
                <a:gd name="connsiteY2571" fmla="*/ 537487 h 2493266"/>
                <a:gd name="connsiteX2572" fmla="*/ 1818505 w 3135233"/>
                <a:gd name="connsiteY2572" fmla="*/ 540694 h 2493266"/>
                <a:gd name="connsiteX2573" fmla="*/ 1812239 w 3135233"/>
                <a:gd name="connsiteY2573" fmla="*/ 542322 h 2493266"/>
                <a:gd name="connsiteX2574" fmla="*/ 1803949 w 3135233"/>
                <a:gd name="connsiteY2574" fmla="*/ 542322 h 2493266"/>
                <a:gd name="connsiteX2575" fmla="*/ 1801828 w 3135233"/>
                <a:gd name="connsiteY2575" fmla="*/ 545529 h 2493266"/>
                <a:gd name="connsiteX2576" fmla="*/ 1795611 w 3135233"/>
                <a:gd name="connsiteY2576" fmla="*/ 550463 h 2493266"/>
                <a:gd name="connsiteX2577" fmla="*/ 1787223 w 3135233"/>
                <a:gd name="connsiteY2577" fmla="*/ 547256 h 2493266"/>
                <a:gd name="connsiteX2578" fmla="*/ 1781006 w 3135233"/>
                <a:gd name="connsiteY2578" fmla="*/ 545628 h 2493266"/>
                <a:gd name="connsiteX2579" fmla="*/ 1778934 w 3135233"/>
                <a:gd name="connsiteY2579" fmla="*/ 548884 h 2493266"/>
                <a:gd name="connsiteX2580" fmla="*/ 1776812 w 3135233"/>
                <a:gd name="connsiteY2580" fmla="*/ 547256 h 2493266"/>
                <a:gd name="connsiteX2581" fmla="*/ 1608216 w 3135233"/>
                <a:gd name="connsiteY2581" fmla="*/ 358332 h 2493266"/>
                <a:gd name="connsiteX2582" fmla="*/ 1604072 w 3135233"/>
                <a:gd name="connsiteY2582" fmla="*/ 356704 h 2493266"/>
                <a:gd name="connsiteX2583" fmla="*/ 1606144 w 3135233"/>
                <a:gd name="connsiteY2583" fmla="*/ 351770 h 2493266"/>
                <a:gd name="connsiteX2584" fmla="*/ 1614532 w 3135233"/>
                <a:gd name="connsiteY2584" fmla="*/ 351770 h 2493266"/>
                <a:gd name="connsiteX2585" fmla="*/ 1612460 w 3135233"/>
                <a:gd name="connsiteY2585" fmla="*/ 356704 h 2493266"/>
                <a:gd name="connsiteX2586" fmla="*/ 1558235 w 3135233"/>
                <a:gd name="connsiteY2586" fmla="*/ 376095 h 2493266"/>
                <a:gd name="connsiteX2587" fmla="*/ 1564501 w 3135233"/>
                <a:gd name="connsiteY2587" fmla="*/ 374466 h 2493266"/>
                <a:gd name="connsiteX2588" fmla="*/ 1568645 w 3135233"/>
                <a:gd name="connsiteY2588" fmla="*/ 372838 h 2493266"/>
                <a:gd name="connsiteX2589" fmla="*/ 1579056 w 3135233"/>
                <a:gd name="connsiteY2589" fmla="*/ 377772 h 2493266"/>
                <a:gd name="connsiteX2590" fmla="*/ 1583250 w 3135233"/>
                <a:gd name="connsiteY2590" fmla="*/ 376193 h 2493266"/>
                <a:gd name="connsiteX2591" fmla="*/ 1589467 w 3135233"/>
                <a:gd name="connsiteY2591" fmla="*/ 377772 h 2493266"/>
                <a:gd name="connsiteX2592" fmla="*/ 1589467 w 3135233"/>
                <a:gd name="connsiteY2592" fmla="*/ 382706 h 2493266"/>
                <a:gd name="connsiteX2593" fmla="*/ 1593661 w 3135233"/>
                <a:gd name="connsiteY2593" fmla="*/ 385963 h 2493266"/>
                <a:gd name="connsiteX2594" fmla="*/ 1589467 w 3135233"/>
                <a:gd name="connsiteY2594" fmla="*/ 389170 h 2493266"/>
                <a:gd name="connsiteX2595" fmla="*/ 1581178 w 3135233"/>
                <a:gd name="connsiteY2595" fmla="*/ 392377 h 2493266"/>
                <a:gd name="connsiteX2596" fmla="*/ 1576984 w 3135233"/>
                <a:gd name="connsiteY2596" fmla="*/ 390798 h 2493266"/>
                <a:gd name="connsiteX2597" fmla="*/ 1570717 w 3135233"/>
                <a:gd name="connsiteY2597" fmla="*/ 390798 h 2493266"/>
                <a:gd name="connsiteX2598" fmla="*/ 1568645 w 3135233"/>
                <a:gd name="connsiteY2598" fmla="*/ 384334 h 2493266"/>
                <a:gd name="connsiteX2599" fmla="*/ 1564501 w 3135233"/>
                <a:gd name="connsiteY2599" fmla="*/ 379400 h 2493266"/>
                <a:gd name="connsiteX2600" fmla="*/ 1560307 w 3135233"/>
                <a:gd name="connsiteY2600" fmla="*/ 377772 h 2493266"/>
                <a:gd name="connsiteX2601" fmla="*/ 1306204 w 3135233"/>
                <a:gd name="connsiteY2601" fmla="*/ 388972 h 2493266"/>
                <a:gd name="connsiteX2602" fmla="*/ 1297865 w 3135233"/>
                <a:gd name="connsiteY2602" fmla="*/ 385765 h 2493266"/>
                <a:gd name="connsiteX2603" fmla="*/ 1297865 w 3135233"/>
                <a:gd name="connsiteY2603" fmla="*/ 382509 h 2493266"/>
                <a:gd name="connsiteX2604" fmla="*/ 1299938 w 3135233"/>
                <a:gd name="connsiteY2604" fmla="*/ 380930 h 2493266"/>
                <a:gd name="connsiteX2605" fmla="*/ 1306204 w 3135233"/>
                <a:gd name="connsiteY2605" fmla="*/ 382509 h 2493266"/>
                <a:gd name="connsiteX2606" fmla="*/ 1308276 w 3135233"/>
                <a:gd name="connsiteY2606" fmla="*/ 387443 h 2493266"/>
                <a:gd name="connsiteX2607" fmla="*/ 1331170 w 3135233"/>
                <a:gd name="connsiteY2607" fmla="*/ 418034 h 2493266"/>
                <a:gd name="connsiteX2608" fmla="*/ 1339509 w 3135233"/>
                <a:gd name="connsiteY2608" fmla="*/ 413100 h 2493266"/>
                <a:gd name="connsiteX2609" fmla="*/ 1339509 w 3135233"/>
                <a:gd name="connsiteY2609" fmla="*/ 416307 h 2493266"/>
                <a:gd name="connsiteX2610" fmla="*/ 1331170 w 3135233"/>
                <a:gd name="connsiteY2610" fmla="*/ 421241 h 2493266"/>
                <a:gd name="connsiteX2611" fmla="*/ 1345972 w 3135233"/>
                <a:gd name="connsiteY2611" fmla="*/ 409942 h 2493266"/>
                <a:gd name="connsiteX2612" fmla="*/ 1348044 w 3135233"/>
                <a:gd name="connsiteY2612" fmla="*/ 406735 h 2493266"/>
                <a:gd name="connsiteX2613" fmla="*/ 1348044 w 3135233"/>
                <a:gd name="connsiteY2613" fmla="*/ 400271 h 2493266"/>
                <a:gd name="connsiteX2614" fmla="*/ 1350117 w 3135233"/>
                <a:gd name="connsiteY2614" fmla="*/ 400271 h 2493266"/>
                <a:gd name="connsiteX2615" fmla="*/ 1354311 w 3135233"/>
                <a:gd name="connsiteY2615" fmla="*/ 392180 h 2493266"/>
                <a:gd name="connsiteX2616" fmla="*/ 1358455 w 3135233"/>
                <a:gd name="connsiteY2616" fmla="*/ 390601 h 2493266"/>
                <a:gd name="connsiteX2617" fmla="*/ 1366794 w 3135233"/>
                <a:gd name="connsiteY2617" fmla="*/ 387344 h 2493266"/>
                <a:gd name="connsiteX2618" fmla="*/ 1368866 w 3135233"/>
                <a:gd name="connsiteY2618" fmla="*/ 388972 h 2493266"/>
                <a:gd name="connsiteX2619" fmla="*/ 1368866 w 3135233"/>
                <a:gd name="connsiteY2619" fmla="*/ 393906 h 2493266"/>
                <a:gd name="connsiteX2620" fmla="*/ 1362649 w 3135233"/>
                <a:gd name="connsiteY2620" fmla="*/ 397163 h 2493266"/>
                <a:gd name="connsiteX2621" fmla="*/ 1358455 w 3135233"/>
                <a:gd name="connsiteY2621" fmla="*/ 405205 h 2493266"/>
                <a:gd name="connsiteX2622" fmla="*/ 1360528 w 3135233"/>
                <a:gd name="connsiteY2622" fmla="*/ 410139 h 2493266"/>
                <a:gd name="connsiteX2623" fmla="*/ 1356383 w 3135233"/>
                <a:gd name="connsiteY2623" fmla="*/ 413396 h 2493266"/>
                <a:gd name="connsiteX2624" fmla="*/ 1354311 w 3135233"/>
                <a:gd name="connsiteY2624" fmla="*/ 418330 h 2493266"/>
                <a:gd name="connsiteX2625" fmla="*/ 1358455 w 3135233"/>
                <a:gd name="connsiteY2625" fmla="*/ 423264 h 2493266"/>
                <a:gd name="connsiteX2626" fmla="*/ 1360528 w 3135233"/>
                <a:gd name="connsiteY2626" fmla="*/ 418330 h 2493266"/>
                <a:gd name="connsiteX2627" fmla="*/ 1364722 w 3135233"/>
                <a:gd name="connsiteY2627" fmla="*/ 419909 h 2493266"/>
                <a:gd name="connsiteX2628" fmla="*/ 1366794 w 3135233"/>
                <a:gd name="connsiteY2628" fmla="*/ 424843 h 2493266"/>
                <a:gd name="connsiteX2629" fmla="*/ 1368866 w 3135233"/>
                <a:gd name="connsiteY2629" fmla="*/ 424843 h 2493266"/>
                <a:gd name="connsiteX2630" fmla="*/ 1381399 w 3135233"/>
                <a:gd name="connsiteY2630" fmla="*/ 418379 h 2493266"/>
                <a:gd name="connsiteX2631" fmla="*/ 1385543 w 3135233"/>
                <a:gd name="connsiteY2631" fmla="*/ 413445 h 2493266"/>
                <a:gd name="connsiteX2632" fmla="*/ 1389737 w 3135233"/>
                <a:gd name="connsiteY2632" fmla="*/ 413445 h 2493266"/>
                <a:gd name="connsiteX2633" fmla="*/ 1393882 w 3135233"/>
                <a:gd name="connsiteY2633" fmla="*/ 408511 h 2493266"/>
                <a:gd name="connsiteX2634" fmla="*/ 1393882 w 3135233"/>
                <a:gd name="connsiteY2634" fmla="*/ 400419 h 2493266"/>
                <a:gd name="connsiteX2635" fmla="*/ 1398026 w 3135233"/>
                <a:gd name="connsiteY2635" fmla="*/ 400419 h 2493266"/>
                <a:gd name="connsiteX2636" fmla="*/ 1402220 w 3135233"/>
                <a:gd name="connsiteY2636" fmla="*/ 395485 h 2493266"/>
                <a:gd name="connsiteX2637" fmla="*/ 1402220 w 3135233"/>
                <a:gd name="connsiteY2637" fmla="*/ 389022 h 2493266"/>
                <a:gd name="connsiteX2638" fmla="*/ 1406365 w 3135233"/>
                <a:gd name="connsiteY2638" fmla="*/ 385815 h 2493266"/>
                <a:gd name="connsiteX2639" fmla="*/ 1408437 w 3135233"/>
                <a:gd name="connsiteY2639" fmla="*/ 387394 h 2493266"/>
                <a:gd name="connsiteX2640" fmla="*/ 1406365 w 3135233"/>
                <a:gd name="connsiteY2640" fmla="*/ 393857 h 2493266"/>
                <a:gd name="connsiteX2641" fmla="*/ 1408437 w 3135233"/>
                <a:gd name="connsiteY2641" fmla="*/ 397114 h 2493266"/>
                <a:gd name="connsiteX2642" fmla="*/ 1406365 w 3135233"/>
                <a:gd name="connsiteY2642" fmla="*/ 405156 h 2493266"/>
                <a:gd name="connsiteX2643" fmla="*/ 1408437 w 3135233"/>
                <a:gd name="connsiteY2643" fmla="*/ 410090 h 2493266"/>
                <a:gd name="connsiteX2644" fmla="*/ 1412236 w 3135233"/>
                <a:gd name="connsiteY2644" fmla="*/ 410090 h 2493266"/>
                <a:gd name="connsiteX2645" fmla="*/ 1418503 w 3135233"/>
                <a:gd name="connsiteY2645" fmla="*/ 403626 h 2493266"/>
                <a:gd name="connsiteX2646" fmla="*/ 1418503 w 3135233"/>
                <a:gd name="connsiteY2646" fmla="*/ 397212 h 2493266"/>
                <a:gd name="connsiteX2647" fmla="*/ 1420575 w 3135233"/>
                <a:gd name="connsiteY2647" fmla="*/ 393956 h 2493266"/>
                <a:gd name="connsiteX2648" fmla="*/ 1424720 w 3135233"/>
                <a:gd name="connsiteY2648" fmla="*/ 393956 h 2493266"/>
                <a:gd name="connsiteX2649" fmla="*/ 1433058 w 3135233"/>
                <a:gd name="connsiteY2649" fmla="*/ 384088 h 2493266"/>
                <a:gd name="connsiteX2650" fmla="*/ 1435130 w 3135233"/>
                <a:gd name="connsiteY2650" fmla="*/ 377624 h 2493266"/>
                <a:gd name="connsiteX2651" fmla="*/ 1433058 w 3135233"/>
                <a:gd name="connsiteY2651" fmla="*/ 371161 h 2493266"/>
                <a:gd name="connsiteX2652" fmla="*/ 1437202 w 3135233"/>
                <a:gd name="connsiteY2652" fmla="*/ 366227 h 2493266"/>
                <a:gd name="connsiteX2653" fmla="*/ 1441396 w 3135233"/>
                <a:gd name="connsiteY2653" fmla="*/ 372690 h 2493266"/>
                <a:gd name="connsiteX2654" fmla="*/ 1453880 w 3135233"/>
                <a:gd name="connsiteY2654" fmla="*/ 366227 h 2493266"/>
                <a:gd name="connsiteX2655" fmla="*/ 1458073 w 3135233"/>
                <a:gd name="connsiteY2655" fmla="*/ 358184 h 2493266"/>
                <a:gd name="connsiteX2656" fmla="*/ 1458073 w 3135233"/>
                <a:gd name="connsiteY2656" fmla="*/ 351868 h 2493266"/>
                <a:gd name="connsiteX2657" fmla="*/ 1464290 w 3135233"/>
                <a:gd name="connsiteY2657" fmla="*/ 351868 h 2493266"/>
                <a:gd name="connsiteX2658" fmla="*/ 1468484 w 3135233"/>
                <a:gd name="connsiteY2658" fmla="*/ 348661 h 2493266"/>
                <a:gd name="connsiteX2659" fmla="*/ 1472629 w 3135233"/>
                <a:gd name="connsiteY2659" fmla="*/ 351868 h 2493266"/>
                <a:gd name="connsiteX2660" fmla="*/ 1478895 w 3135233"/>
                <a:gd name="connsiteY2660" fmla="*/ 346934 h 2493266"/>
                <a:gd name="connsiteX2661" fmla="*/ 1483040 w 3135233"/>
                <a:gd name="connsiteY2661" fmla="*/ 348563 h 2493266"/>
                <a:gd name="connsiteX2662" fmla="*/ 1478895 w 3135233"/>
                <a:gd name="connsiteY2662" fmla="*/ 359812 h 2493266"/>
                <a:gd name="connsiteX2663" fmla="*/ 1470557 w 3135233"/>
                <a:gd name="connsiteY2663" fmla="*/ 367904 h 2493266"/>
                <a:gd name="connsiteX2664" fmla="*/ 1468484 w 3135233"/>
                <a:gd name="connsiteY2664" fmla="*/ 374368 h 2493266"/>
                <a:gd name="connsiteX2665" fmla="*/ 1464290 w 3135233"/>
                <a:gd name="connsiteY2665" fmla="*/ 379302 h 2493266"/>
                <a:gd name="connsiteX2666" fmla="*/ 1462218 w 3135233"/>
                <a:gd name="connsiteY2666" fmla="*/ 382509 h 2493266"/>
                <a:gd name="connsiteX2667" fmla="*/ 1458073 w 3135233"/>
                <a:gd name="connsiteY2667" fmla="*/ 385765 h 2493266"/>
                <a:gd name="connsiteX2668" fmla="*/ 1447663 w 3135233"/>
                <a:gd name="connsiteY2668" fmla="*/ 397064 h 2493266"/>
                <a:gd name="connsiteX2669" fmla="*/ 1447663 w 3135233"/>
                <a:gd name="connsiteY2669" fmla="*/ 400271 h 2493266"/>
                <a:gd name="connsiteX2670" fmla="*/ 1451807 w 3135233"/>
                <a:gd name="connsiteY2670" fmla="*/ 405205 h 2493266"/>
                <a:gd name="connsiteX2671" fmla="*/ 1449735 w 3135233"/>
                <a:gd name="connsiteY2671" fmla="*/ 410139 h 2493266"/>
                <a:gd name="connsiteX2672" fmla="*/ 1455952 w 3135233"/>
                <a:gd name="connsiteY2672" fmla="*/ 411768 h 2493266"/>
                <a:gd name="connsiteX2673" fmla="*/ 1462218 w 3135233"/>
                <a:gd name="connsiteY2673" fmla="*/ 414975 h 2493266"/>
                <a:gd name="connsiteX2674" fmla="*/ 1466363 w 3135233"/>
                <a:gd name="connsiteY2674" fmla="*/ 411768 h 2493266"/>
                <a:gd name="connsiteX2675" fmla="*/ 1472629 w 3135233"/>
                <a:gd name="connsiteY2675" fmla="*/ 408561 h 2493266"/>
                <a:gd name="connsiteX2676" fmla="*/ 1474701 w 3135233"/>
                <a:gd name="connsiteY2676" fmla="*/ 403626 h 2493266"/>
                <a:gd name="connsiteX2677" fmla="*/ 1474701 w 3135233"/>
                <a:gd name="connsiteY2677" fmla="*/ 397212 h 2493266"/>
                <a:gd name="connsiteX2678" fmla="*/ 1478895 w 3135233"/>
                <a:gd name="connsiteY2678" fmla="*/ 392278 h 2493266"/>
                <a:gd name="connsiteX2679" fmla="*/ 1483040 w 3135233"/>
                <a:gd name="connsiteY2679" fmla="*/ 387344 h 2493266"/>
                <a:gd name="connsiteX2680" fmla="*/ 1489306 w 3135233"/>
                <a:gd name="connsiteY2680" fmla="*/ 387344 h 2493266"/>
                <a:gd name="connsiteX2681" fmla="*/ 1491378 w 3135233"/>
                <a:gd name="connsiteY2681" fmla="*/ 385765 h 2493266"/>
                <a:gd name="connsiteX2682" fmla="*/ 1495572 w 3135233"/>
                <a:gd name="connsiteY2682" fmla="*/ 388972 h 2493266"/>
                <a:gd name="connsiteX2683" fmla="*/ 1501789 w 3135233"/>
                <a:gd name="connsiteY2683" fmla="*/ 388972 h 2493266"/>
                <a:gd name="connsiteX2684" fmla="*/ 1505983 w 3135233"/>
                <a:gd name="connsiteY2684" fmla="*/ 385765 h 2493266"/>
                <a:gd name="connsiteX2685" fmla="*/ 1518466 w 3135233"/>
                <a:gd name="connsiteY2685" fmla="*/ 385765 h 2493266"/>
                <a:gd name="connsiteX2686" fmla="*/ 1522611 w 3135233"/>
                <a:gd name="connsiteY2686" fmla="*/ 379302 h 2493266"/>
                <a:gd name="connsiteX2687" fmla="*/ 1524732 w 3135233"/>
                <a:gd name="connsiteY2687" fmla="*/ 369434 h 2493266"/>
                <a:gd name="connsiteX2688" fmla="*/ 1530949 w 3135233"/>
                <a:gd name="connsiteY2688" fmla="*/ 359566 h 2493266"/>
                <a:gd name="connsiteX2689" fmla="*/ 1530949 w 3135233"/>
                <a:gd name="connsiteY2689" fmla="*/ 355224 h 2493266"/>
                <a:gd name="connsiteX2690" fmla="*/ 1533021 w 3135233"/>
                <a:gd name="connsiteY2690" fmla="*/ 352016 h 2493266"/>
                <a:gd name="connsiteX2691" fmla="*/ 1539288 w 3135233"/>
                <a:gd name="connsiteY2691" fmla="*/ 358480 h 2493266"/>
                <a:gd name="connsiteX2692" fmla="*/ 1545554 w 3135233"/>
                <a:gd name="connsiteY2692" fmla="*/ 360059 h 2493266"/>
                <a:gd name="connsiteX2693" fmla="*/ 1547626 w 3135233"/>
                <a:gd name="connsiteY2693" fmla="*/ 358480 h 2493266"/>
                <a:gd name="connsiteX2694" fmla="*/ 1547626 w 3135233"/>
                <a:gd name="connsiteY2694" fmla="*/ 353546 h 2493266"/>
                <a:gd name="connsiteX2695" fmla="*/ 1539288 w 3135233"/>
                <a:gd name="connsiteY2695" fmla="*/ 343678 h 2493266"/>
                <a:gd name="connsiteX2696" fmla="*/ 1539288 w 3135233"/>
                <a:gd name="connsiteY2696" fmla="*/ 340422 h 2493266"/>
                <a:gd name="connsiteX2697" fmla="*/ 1547626 w 3135233"/>
                <a:gd name="connsiteY2697" fmla="*/ 333958 h 2493266"/>
                <a:gd name="connsiteX2698" fmla="*/ 1553893 w 3135233"/>
                <a:gd name="connsiteY2698" fmla="*/ 333958 h 2493266"/>
                <a:gd name="connsiteX2699" fmla="*/ 1562182 w 3135233"/>
                <a:gd name="connsiteY2699" fmla="*/ 330751 h 2493266"/>
                <a:gd name="connsiteX2700" fmla="*/ 1566375 w 3135233"/>
                <a:gd name="connsiteY2700" fmla="*/ 332379 h 2493266"/>
                <a:gd name="connsiteX2701" fmla="*/ 1570520 w 3135233"/>
                <a:gd name="connsiteY2701" fmla="*/ 332379 h 2493266"/>
                <a:gd name="connsiteX2702" fmla="*/ 1576786 w 3135233"/>
                <a:gd name="connsiteY2702" fmla="*/ 325915 h 2493266"/>
                <a:gd name="connsiteX2703" fmla="*/ 1576786 w 3135233"/>
                <a:gd name="connsiteY2703" fmla="*/ 320981 h 2493266"/>
                <a:gd name="connsiteX2704" fmla="*/ 1575059 w 3135233"/>
                <a:gd name="connsiteY2704" fmla="*/ 308301 h 2493266"/>
                <a:gd name="connsiteX2705" fmla="*/ 1577181 w 3135233"/>
                <a:gd name="connsiteY2705" fmla="*/ 305094 h 2493266"/>
                <a:gd name="connsiteX2706" fmla="*/ 1575059 w 3135233"/>
                <a:gd name="connsiteY2706" fmla="*/ 301837 h 2493266"/>
                <a:gd name="connsiteX2707" fmla="*/ 1575059 w 3135233"/>
                <a:gd name="connsiteY2707" fmla="*/ 295374 h 2493266"/>
                <a:gd name="connsiteX2708" fmla="*/ 1570915 w 3135233"/>
                <a:gd name="connsiteY2708" fmla="*/ 293795 h 2493266"/>
                <a:gd name="connsiteX2709" fmla="*/ 1564698 w 3135233"/>
                <a:gd name="connsiteY2709" fmla="*/ 295374 h 2493266"/>
                <a:gd name="connsiteX2710" fmla="*/ 1556360 w 3135233"/>
                <a:gd name="connsiteY2710" fmla="*/ 298630 h 2493266"/>
                <a:gd name="connsiteX2711" fmla="*/ 1556360 w 3135233"/>
                <a:gd name="connsiteY2711" fmla="*/ 314765 h 2493266"/>
                <a:gd name="connsiteX2712" fmla="*/ 1550093 w 3135233"/>
                <a:gd name="connsiteY2712" fmla="*/ 316343 h 2493266"/>
                <a:gd name="connsiteX2713" fmla="*/ 1548021 w 3135233"/>
                <a:gd name="connsiteY2713" fmla="*/ 309929 h 2493266"/>
                <a:gd name="connsiteX2714" fmla="*/ 1545949 w 3135233"/>
                <a:gd name="connsiteY2714" fmla="*/ 309929 h 2493266"/>
                <a:gd name="connsiteX2715" fmla="*/ 1545949 w 3135233"/>
                <a:gd name="connsiteY2715" fmla="*/ 314863 h 2493266"/>
                <a:gd name="connsiteX2716" fmla="*/ 1543876 w 3135233"/>
                <a:gd name="connsiteY2716" fmla="*/ 316442 h 2493266"/>
                <a:gd name="connsiteX2717" fmla="*/ 1539682 w 3135233"/>
                <a:gd name="connsiteY2717" fmla="*/ 311508 h 2493266"/>
                <a:gd name="connsiteX2718" fmla="*/ 1537610 w 3135233"/>
                <a:gd name="connsiteY2718" fmla="*/ 303466 h 2493266"/>
                <a:gd name="connsiteX2719" fmla="*/ 1531146 w 3135233"/>
                <a:gd name="connsiteY2719" fmla="*/ 297002 h 2493266"/>
                <a:gd name="connsiteX2720" fmla="*/ 1527002 w 3135233"/>
                <a:gd name="connsiteY2720" fmla="*/ 297002 h 2493266"/>
                <a:gd name="connsiteX2721" fmla="*/ 1524930 w 3135233"/>
                <a:gd name="connsiteY2721" fmla="*/ 300209 h 2493266"/>
                <a:gd name="connsiteX2722" fmla="*/ 1516591 w 3135233"/>
                <a:gd name="connsiteY2722" fmla="*/ 300209 h 2493266"/>
                <a:gd name="connsiteX2723" fmla="*/ 1510325 w 3135233"/>
                <a:gd name="connsiteY2723" fmla="*/ 297002 h 2493266"/>
                <a:gd name="connsiteX2724" fmla="*/ 1504059 w 3135233"/>
                <a:gd name="connsiteY2724" fmla="*/ 298630 h 2493266"/>
                <a:gd name="connsiteX2725" fmla="*/ 1489256 w 3135233"/>
                <a:gd name="connsiteY2725" fmla="*/ 297002 h 2493266"/>
                <a:gd name="connsiteX2726" fmla="*/ 1480918 w 3135233"/>
                <a:gd name="connsiteY2726" fmla="*/ 300209 h 2493266"/>
                <a:gd name="connsiteX2727" fmla="*/ 1478846 w 3135233"/>
                <a:gd name="connsiteY2727" fmla="*/ 305143 h 2493266"/>
                <a:gd name="connsiteX2728" fmla="*/ 1474652 w 3135233"/>
                <a:gd name="connsiteY2728" fmla="*/ 310077 h 2493266"/>
                <a:gd name="connsiteX2729" fmla="*/ 1472579 w 3135233"/>
                <a:gd name="connsiteY2729" fmla="*/ 308449 h 2493266"/>
                <a:gd name="connsiteX2730" fmla="*/ 1468435 w 3135233"/>
                <a:gd name="connsiteY2730" fmla="*/ 308449 h 2493266"/>
                <a:gd name="connsiteX2731" fmla="*/ 1451758 w 3135233"/>
                <a:gd name="connsiteY2731" fmla="*/ 319748 h 2493266"/>
                <a:gd name="connsiteX2732" fmla="*/ 1445492 w 3135233"/>
                <a:gd name="connsiteY2732" fmla="*/ 324682 h 2493266"/>
                <a:gd name="connsiteX2733" fmla="*/ 1439275 w 3135233"/>
                <a:gd name="connsiteY2733" fmla="*/ 324682 h 2493266"/>
                <a:gd name="connsiteX2734" fmla="*/ 1430936 w 3135233"/>
                <a:gd name="connsiteY2734" fmla="*/ 329616 h 2493266"/>
                <a:gd name="connsiteX2735" fmla="*/ 1424670 w 3135233"/>
                <a:gd name="connsiteY2735" fmla="*/ 331244 h 2493266"/>
                <a:gd name="connsiteX2736" fmla="*/ 1418453 w 3135233"/>
                <a:gd name="connsiteY2736" fmla="*/ 334451 h 2493266"/>
                <a:gd name="connsiteX2737" fmla="*/ 1418453 w 3135233"/>
                <a:gd name="connsiteY2737" fmla="*/ 339385 h 2493266"/>
                <a:gd name="connsiteX2738" fmla="*/ 1405921 w 3135233"/>
                <a:gd name="connsiteY2738" fmla="*/ 339385 h 2493266"/>
                <a:gd name="connsiteX2739" fmla="*/ 1401776 w 3135233"/>
                <a:gd name="connsiteY2739" fmla="*/ 341014 h 2493266"/>
                <a:gd name="connsiteX2740" fmla="*/ 1395510 w 3135233"/>
                <a:gd name="connsiteY2740" fmla="*/ 341014 h 2493266"/>
                <a:gd name="connsiteX2741" fmla="*/ 1391365 w 3135233"/>
                <a:gd name="connsiteY2741" fmla="*/ 342642 h 2493266"/>
                <a:gd name="connsiteX2742" fmla="*/ 1387566 w 3135233"/>
                <a:gd name="connsiteY2742" fmla="*/ 342642 h 2493266"/>
                <a:gd name="connsiteX2743" fmla="*/ 1374935 w 3135233"/>
                <a:gd name="connsiteY2743" fmla="*/ 350290 h 2493266"/>
                <a:gd name="connsiteX2744" fmla="*/ 1366596 w 3135233"/>
                <a:gd name="connsiteY2744" fmla="*/ 355224 h 2493266"/>
                <a:gd name="connsiteX2745" fmla="*/ 1358258 w 3135233"/>
                <a:gd name="connsiteY2745" fmla="*/ 352016 h 2493266"/>
                <a:gd name="connsiteX2746" fmla="*/ 1352041 w 3135233"/>
                <a:gd name="connsiteY2746" fmla="*/ 355224 h 2493266"/>
                <a:gd name="connsiteX2747" fmla="*/ 1335364 w 3135233"/>
                <a:gd name="connsiteY2747" fmla="*/ 358480 h 2493266"/>
                <a:gd name="connsiteX2748" fmla="*/ 1329098 w 3135233"/>
                <a:gd name="connsiteY2748" fmla="*/ 366523 h 2493266"/>
                <a:gd name="connsiteX2749" fmla="*/ 1322881 w 3135233"/>
                <a:gd name="connsiteY2749" fmla="*/ 366523 h 2493266"/>
                <a:gd name="connsiteX2750" fmla="*/ 1312470 w 3135233"/>
                <a:gd name="connsiteY2750" fmla="*/ 369779 h 2493266"/>
                <a:gd name="connsiteX2751" fmla="*/ 1308276 w 3135233"/>
                <a:gd name="connsiteY2751" fmla="*/ 376243 h 2493266"/>
                <a:gd name="connsiteX2752" fmla="*/ 1316615 w 3135233"/>
                <a:gd name="connsiteY2752" fmla="*/ 376243 h 2493266"/>
                <a:gd name="connsiteX2753" fmla="*/ 1318687 w 3135233"/>
                <a:gd name="connsiteY2753" fmla="*/ 377822 h 2493266"/>
                <a:gd name="connsiteX2754" fmla="*/ 1312470 w 3135233"/>
                <a:gd name="connsiteY2754" fmla="*/ 379450 h 2493266"/>
                <a:gd name="connsiteX2755" fmla="*/ 1310348 w 3135233"/>
                <a:gd name="connsiteY2755" fmla="*/ 381078 h 2493266"/>
                <a:gd name="connsiteX2756" fmla="*/ 1316615 w 3135233"/>
                <a:gd name="connsiteY2756" fmla="*/ 386012 h 2493266"/>
                <a:gd name="connsiteX2757" fmla="*/ 1314542 w 3135233"/>
                <a:gd name="connsiteY2757" fmla="*/ 389219 h 2493266"/>
                <a:gd name="connsiteX2758" fmla="*/ 1304132 w 3135233"/>
                <a:gd name="connsiteY2758" fmla="*/ 392426 h 2493266"/>
                <a:gd name="connsiteX2759" fmla="*/ 1304132 w 3135233"/>
                <a:gd name="connsiteY2759" fmla="*/ 395683 h 2493266"/>
                <a:gd name="connsiteX2760" fmla="*/ 1310348 w 3135233"/>
                <a:gd name="connsiteY2760" fmla="*/ 397311 h 2493266"/>
                <a:gd name="connsiteX2761" fmla="*/ 1318687 w 3135233"/>
                <a:gd name="connsiteY2761" fmla="*/ 395683 h 2493266"/>
                <a:gd name="connsiteX2762" fmla="*/ 1320759 w 3135233"/>
                <a:gd name="connsiteY2762" fmla="*/ 390749 h 2493266"/>
                <a:gd name="connsiteX2763" fmla="*/ 1327025 w 3135233"/>
                <a:gd name="connsiteY2763" fmla="*/ 389120 h 2493266"/>
                <a:gd name="connsiteX2764" fmla="*/ 1333292 w 3135233"/>
                <a:gd name="connsiteY2764" fmla="*/ 392328 h 2493266"/>
                <a:gd name="connsiteX2765" fmla="*/ 1337436 w 3135233"/>
                <a:gd name="connsiteY2765" fmla="*/ 400419 h 2493266"/>
                <a:gd name="connsiteX2766" fmla="*/ 1339509 w 3135233"/>
                <a:gd name="connsiteY2766" fmla="*/ 406883 h 2493266"/>
                <a:gd name="connsiteX2767" fmla="*/ 2033333 w 3135233"/>
                <a:gd name="connsiteY2767" fmla="*/ 755324 h 2493266"/>
                <a:gd name="connsiteX2768" fmla="*/ 2035405 w 3135233"/>
                <a:gd name="connsiteY2768" fmla="*/ 753696 h 2493266"/>
                <a:gd name="connsiteX2769" fmla="*/ 2043793 w 3135233"/>
                <a:gd name="connsiteY2769" fmla="*/ 755324 h 2493266"/>
                <a:gd name="connsiteX2770" fmla="*/ 2045816 w 3135233"/>
                <a:gd name="connsiteY2770" fmla="*/ 758532 h 2493266"/>
                <a:gd name="connsiteX2771" fmla="*/ 2041671 w 3135233"/>
                <a:gd name="connsiteY2771" fmla="*/ 761739 h 2493266"/>
                <a:gd name="connsiteX2772" fmla="*/ 2037526 w 3135233"/>
                <a:gd name="connsiteY2772" fmla="*/ 760160 h 2493266"/>
                <a:gd name="connsiteX2773" fmla="*/ 1954388 w 3135233"/>
                <a:gd name="connsiteY2773" fmla="*/ 621365 h 2493266"/>
                <a:gd name="connsiteX2774" fmla="*/ 1948122 w 3135233"/>
                <a:gd name="connsiteY2774" fmla="*/ 616431 h 2493266"/>
                <a:gd name="connsiteX2775" fmla="*/ 1941905 w 3135233"/>
                <a:gd name="connsiteY2775" fmla="*/ 616431 h 2493266"/>
                <a:gd name="connsiteX2776" fmla="*/ 1939833 w 3135233"/>
                <a:gd name="connsiteY2776" fmla="*/ 619688 h 2493266"/>
                <a:gd name="connsiteX2777" fmla="*/ 1946050 w 3135233"/>
                <a:gd name="connsiteY2777" fmla="*/ 619688 h 2493266"/>
                <a:gd name="connsiteX2778" fmla="*/ 1948122 w 3135233"/>
                <a:gd name="connsiteY2778" fmla="*/ 622895 h 2493266"/>
                <a:gd name="connsiteX2779" fmla="*/ 1948122 w 3135233"/>
                <a:gd name="connsiteY2779" fmla="*/ 624523 h 2493266"/>
                <a:gd name="connsiteX2780" fmla="*/ 1937711 w 3135233"/>
                <a:gd name="connsiteY2780" fmla="*/ 626102 h 2493266"/>
                <a:gd name="connsiteX2781" fmla="*/ 1935639 w 3135233"/>
                <a:gd name="connsiteY2781" fmla="*/ 627730 h 2493266"/>
                <a:gd name="connsiteX2782" fmla="*/ 1937711 w 3135233"/>
                <a:gd name="connsiteY2782" fmla="*/ 634194 h 2493266"/>
                <a:gd name="connsiteX2783" fmla="*/ 1939833 w 3135233"/>
                <a:gd name="connsiteY2783" fmla="*/ 634194 h 2493266"/>
                <a:gd name="connsiteX2784" fmla="*/ 1939833 w 3135233"/>
                <a:gd name="connsiteY2784" fmla="*/ 635822 h 2493266"/>
                <a:gd name="connsiteX2785" fmla="*/ 1931494 w 3135233"/>
                <a:gd name="connsiteY2785" fmla="*/ 634194 h 2493266"/>
                <a:gd name="connsiteX2786" fmla="*/ 1923156 w 3135233"/>
                <a:gd name="connsiteY2786" fmla="*/ 635822 h 2493266"/>
                <a:gd name="connsiteX2787" fmla="*/ 1919011 w 3135233"/>
                <a:gd name="connsiteY2787" fmla="*/ 640756 h 2493266"/>
                <a:gd name="connsiteX2788" fmla="*/ 1914817 w 3135233"/>
                <a:gd name="connsiteY2788" fmla="*/ 645690 h 2493266"/>
                <a:gd name="connsiteX2789" fmla="*/ 1912745 w 3135233"/>
                <a:gd name="connsiteY2789" fmla="*/ 648897 h 2493266"/>
                <a:gd name="connsiteX2790" fmla="*/ 1914817 w 3135233"/>
                <a:gd name="connsiteY2790" fmla="*/ 650526 h 2493266"/>
                <a:gd name="connsiteX2791" fmla="*/ 1916890 w 3135233"/>
                <a:gd name="connsiteY2791" fmla="*/ 650526 h 2493266"/>
                <a:gd name="connsiteX2792" fmla="*/ 1916890 w 3135233"/>
                <a:gd name="connsiteY2792" fmla="*/ 653733 h 2493266"/>
                <a:gd name="connsiteX2793" fmla="*/ 1914817 w 3135233"/>
                <a:gd name="connsiteY2793" fmla="*/ 656989 h 2493266"/>
                <a:gd name="connsiteX2794" fmla="*/ 1916890 w 3135233"/>
                <a:gd name="connsiteY2794" fmla="*/ 656989 h 2493266"/>
                <a:gd name="connsiteX2795" fmla="*/ 1923156 w 3135233"/>
                <a:gd name="connsiteY2795" fmla="*/ 653733 h 2493266"/>
                <a:gd name="connsiteX2796" fmla="*/ 1923156 w 3135233"/>
                <a:gd name="connsiteY2796" fmla="*/ 653733 h 2493266"/>
                <a:gd name="connsiteX2797" fmla="*/ 1921034 w 3135233"/>
                <a:gd name="connsiteY2797" fmla="*/ 660196 h 2493266"/>
                <a:gd name="connsiteX2798" fmla="*/ 1921034 w 3135233"/>
                <a:gd name="connsiteY2798" fmla="*/ 663453 h 2493266"/>
                <a:gd name="connsiteX2799" fmla="*/ 1927300 w 3135233"/>
                <a:gd name="connsiteY2799" fmla="*/ 666660 h 2493266"/>
                <a:gd name="connsiteX2800" fmla="*/ 1929422 w 3135233"/>
                <a:gd name="connsiteY2800" fmla="*/ 665032 h 2493266"/>
                <a:gd name="connsiteX2801" fmla="*/ 1931494 w 3135233"/>
                <a:gd name="connsiteY2801" fmla="*/ 666660 h 2493266"/>
                <a:gd name="connsiteX2802" fmla="*/ 1933566 w 3135233"/>
                <a:gd name="connsiteY2802" fmla="*/ 671594 h 2493266"/>
                <a:gd name="connsiteX2803" fmla="*/ 1935244 w 3135233"/>
                <a:gd name="connsiteY2803" fmla="*/ 671594 h 2493266"/>
                <a:gd name="connsiteX2804" fmla="*/ 1937316 w 3135233"/>
                <a:gd name="connsiteY2804" fmla="*/ 668387 h 2493266"/>
                <a:gd name="connsiteX2805" fmla="*/ 1941510 w 3135233"/>
                <a:gd name="connsiteY2805" fmla="*/ 668387 h 2493266"/>
                <a:gd name="connsiteX2806" fmla="*/ 1941510 w 3135233"/>
                <a:gd name="connsiteY2806" fmla="*/ 676429 h 2493266"/>
                <a:gd name="connsiteX2807" fmla="*/ 1943583 w 3135233"/>
                <a:gd name="connsiteY2807" fmla="*/ 679686 h 2493266"/>
                <a:gd name="connsiteX2808" fmla="*/ 1949849 w 3135233"/>
                <a:gd name="connsiteY2808" fmla="*/ 678057 h 2493266"/>
                <a:gd name="connsiteX2809" fmla="*/ 1951921 w 3135233"/>
                <a:gd name="connsiteY2809" fmla="*/ 684521 h 2493266"/>
                <a:gd name="connsiteX2810" fmla="*/ 1958138 w 3135233"/>
                <a:gd name="connsiteY2810" fmla="*/ 684521 h 2493266"/>
                <a:gd name="connsiteX2811" fmla="*/ 1966477 w 3135233"/>
                <a:gd name="connsiteY2811" fmla="*/ 689455 h 2493266"/>
                <a:gd name="connsiteX2812" fmla="*/ 1972743 w 3135233"/>
                <a:gd name="connsiteY2812" fmla="*/ 689455 h 2493266"/>
                <a:gd name="connsiteX2813" fmla="*/ 1974815 w 3135233"/>
                <a:gd name="connsiteY2813" fmla="*/ 691034 h 2493266"/>
                <a:gd name="connsiteX2814" fmla="*/ 1976887 w 3135233"/>
                <a:gd name="connsiteY2814" fmla="*/ 689455 h 2493266"/>
                <a:gd name="connsiteX2815" fmla="*/ 1974815 w 3135233"/>
                <a:gd name="connsiteY2815" fmla="*/ 684521 h 2493266"/>
                <a:gd name="connsiteX2816" fmla="*/ 1981081 w 3135233"/>
                <a:gd name="connsiteY2816" fmla="*/ 682893 h 2493266"/>
                <a:gd name="connsiteX2817" fmla="*/ 1985226 w 3135233"/>
                <a:gd name="connsiteY2817" fmla="*/ 674801 h 2493266"/>
                <a:gd name="connsiteX2818" fmla="*/ 1983154 w 3135233"/>
                <a:gd name="connsiteY2818" fmla="*/ 668387 h 2493266"/>
                <a:gd name="connsiteX2819" fmla="*/ 1989370 w 3135233"/>
                <a:gd name="connsiteY2819" fmla="*/ 660295 h 2493266"/>
                <a:gd name="connsiteX2820" fmla="*/ 1991492 w 3135233"/>
                <a:gd name="connsiteY2820" fmla="*/ 657088 h 2493266"/>
                <a:gd name="connsiteX2821" fmla="*/ 1995686 w 3135233"/>
                <a:gd name="connsiteY2821" fmla="*/ 647220 h 2493266"/>
                <a:gd name="connsiteX2822" fmla="*/ 1995686 w 3135233"/>
                <a:gd name="connsiteY2822" fmla="*/ 639177 h 2493266"/>
                <a:gd name="connsiteX2823" fmla="*/ 1997758 w 3135233"/>
                <a:gd name="connsiteY2823" fmla="*/ 637549 h 2493266"/>
                <a:gd name="connsiteX2824" fmla="*/ 1995686 w 3135233"/>
                <a:gd name="connsiteY2824" fmla="*/ 631086 h 2493266"/>
                <a:gd name="connsiteX2825" fmla="*/ 1989370 w 3135233"/>
                <a:gd name="connsiteY2825" fmla="*/ 626151 h 2493266"/>
                <a:gd name="connsiteX2826" fmla="*/ 1989370 w 3135233"/>
                <a:gd name="connsiteY2826" fmla="*/ 621217 h 2493266"/>
                <a:gd name="connsiteX2827" fmla="*/ 1987347 w 3135233"/>
                <a:gd name="connsiteY2827" fmla="*/ 618010 h 2493266"/>
                <a:gd name="connsiteX2828" fmla="*/ 1985226 w 3135233"/>
                <a:gd name="connsiteY2828" fmla="*/ 611547 h 2493266"/>
                <a:gd name="connsiteX2829" fmla="*/ 1974815 w 3135233"/>
                <a:gd name="connsiteY2829" fmla="*/ 608340 h 2493266"/>
                <a:gd name="connsiteX2830" fmla="*/ 1968549 w 3135233"/>
                <a:gd name="connsiteY2830" fmla="*/ 611547 h 2493266"/>
                <a:gd name="connsiteX2831" fmla="*/ 1962332 w 3135233"/>
                <a:gd name="connsiteY2831" fmla="*/ 609918 h 2493266"/>
                <a:gd name="connsiteX2832" fmla="*/ 1953993 w 3135233"/>
                <a:gd name="connsiteY2832" fmla="*/ 609918 h 2493266"/>
                <a:gd name="connsiteX2833" fmla="*/ 1951921 w 3135233"/>
                <a:gd name="connsiteY2833" fmla="*/ 613175 h 2493266"/>
                <a:gd name="connsiteX2834" fmla="*/ 1956065 w 3135233"/>
                <a:gd name="connsiteY2834" fmla="*/ 618109 h 2493266"/>
                <a:gd name="connsiteX2835" fmla="*/ 1956065 w 3135233"/>
                <a:gd name="connsiteY2835" fmla="*/ 621316 h 2493266"/>
                <a:gd name="connsiteX2836" fmla="*/ 2000176 w 3135233"/>
                <a:gd name="connsiteY2836" fmla="*/ 571334 h 2493266"/>
                <a:gd name="connsiteX2837" fmla="*/ 1996081 w 3135233"/>
                <a:gd name="connsiteY2837" fmla="*/ 569755 h 2493266"/>
                <a:gd name="connsiteX2838" fmla="*/ 1996081 w 3135233"/>
                <a:gd name="connsiteY2838" fmla="*/ 566499 h 2493266"/>
                <a:gd name="connsiteX2839" fmla="*/ 2002298 w 3135233"/>
                <a:gd name="connsiteY2839" fmla="*/ 566499 h 2493266"/>
                <a:gd name="connsiteX2840" fmla="*/ 1991887 w 3135233"/>
                <a:gd name="connsiteY2840" fmla="*/ 603652 h 2493266"/>
                <a:gd name="connsiteX2841" fmla="*/ 1989765 w 3135233"/>
                <a:gd name="connsiteY2841" fmla="*/ 598718 h 2493266"/>
                <a:gd name="connsiteX2842" fmla="*/ 1987742 w 3135233"/>
                <a:gd name="connsiteY2842" fmla="*/ 597139 h 2493266"/>
                <a:gd name="connsiteX2843" fmla="*/ 1987742 w 3135233"/>
                <a:gd name="connsiteY2843" fmla="*/ 593883 h 2493266"/>
                <a:gd name="connsiteX2844" fmla="*/ 1989765 w 3135233"/>
                <a:gd name="connsiteY2844" fmla="*/ 592304 h 2493266"/>
                <a:gd name="connsiteX2845" fmla="*/ 1989765 w 3135233"/>
                <a:gd name="connsiteY2845" fmla="*/ 585840 h 2493266"/>
                <a:gd name="connsiteX2846" fmla="*/ 1991887 w 3135233"/>
                <a:gd name="connsiteY2846" fmla="*/ 582584 h 2493266"/>
                <a:gd name="connsiteX2847" fmla="*/ 2002298 w 3135233"/>
                <a:gd name="connsiteY2847" fmla="*/ 582584 h 2493266"/>
                <a:gd name="connsiteX2848" fmla="*/ 1998153 w 3135233"/>
                <a:gd name="connsiteY2848" fmla="*/ 595511 h 2493266"/>
                <a:gd name="connsiteX2849" fmla="*/ 1993959 w 3135233"/>
                <a:gd name="connsiteY2849" fmla="*/ 601975 h 2493266"/>
                <a:gd name="connsiteX2850" fmla="*/ 1941905 w 3135233"/>
                <a:gd name="connsiteY2850" fmla="*/ 590725 h 2493266"/>
                <a:gd name="connsiteX2851" fmla="*/ 1939833 w 3135233"/>
                <a:gd name="connsiteY2851" fmla="*/ 587518 h 2493266"/>
                <a:gd name="connsiteX2852" fmla="*/ 1941905 w 3135233"/>
                <a:gd name="connsiteY2852" fmla="*/ 584262 h 2493266"/>
                <a:gd name="connsiteX2853" fmla="*/ 1950243 w 3135233"/>
                <a:gd name="connsiteY2853" fmla="*/ 582633 h 2493266"/>
                <a:gd name="connsiteX2854" fmla="*/ 1950243 w 3135233"/>
                <a:gd name="connsiteY2854" fmla="*/ 584262 h 2493266"/>
                <a:gd name="connsiteX2855" fmla="*/ 1946050 w 3135233"/>
                <a:gd name="connsiteY2855" fmla="*/ 585890 h 2493266"/>
                <a:gd name="connsiteX2856" fmla="*/ 1946050 w 3135233"/>
                <a:gd name="connsiteY2856" fmla="*/ 589097 h 2493266"/>
                <a:gd name="connsiteX2857" fmla="*/ 1929027 w 3135233"/>
                <a:gd name="connsiteY2857" fmla="*/ 596991 h 2493266"/>
                <a:gd name="connsiteX2858" fmla="*/ 1926905 w 3135233"/>
                <a:gd name="connsiteY2858" fmla="*/ 595363 h 2493266"/>
                <a:gd name="connsiteX2859" fmla="*/ 1931099 w 3135233"/>
                <a:gd name="connsiteY2859" fmla="*/ 592156 h 2493266"/>
                <a:gd name="connsiteX2860" fmla="*/ 1935244 w 3135233"/>
                <a:gd name="connsiteY2860" fmla="*/ 592156 h 2493266"/>
                <a:gd name="connsiteX2861" fmla="*/ 1931099 w 3135233"/>
                <a:gd name="connsiteY2861" fmla="*/ 597090 h 2493266"/>
                <a:gd name="connsiteX2862" fmla="*/ 1937316 w 3135233"/>
                <a:gd name="connsiteY2862" fmla="*/ 611497 h 2493266"/>
                <a:gd name="connsiteX2863" fmla="*/ 1939438 w 3135233"/>
                <a:gd name="connsiteY2863" fmla="*/ 606563 h 2493266"/>
                <a:gd name="connsiteX2864" fmla="*/ 1937316 w 3135233"/>
                <a:gd name="connsiteY2864" fmla="*/ 604935 h 2493266"/>
                <a:gd name="connsiteX2865" fmla="*/ 1939438 w 3135233"/>
                <a:gd name="connsiteY2865" fmla="*/ 600001 h 2493266"/>
                <a:gd name="connsiteX2866" fmla="*/ 1941510 w 3135233"/>
                <a:gd name="connsiteY2866" fmla="*/ 600001 h 2493266"/>
                <a:gd name="connsiteX2867" fmla="*/ 1943583 w 3135233"/>
                <a:gd name="connsiteY2867" fmla="*/ 601629 h 2493266"/>
                <a:gd name="connsiteX2868" fmla="*/ 1947727 w 3135233"/>
                <a:gd name="connsiteY2868" fmla="*/ 606563 h 2493266"/>
                <a:gd name="connsiteX2869" fmla="*/ 1941510 w 3135233"/>
                <a:gd name="connsiteY2869" fmla="*/ 611497 h 2493266"/>
                <a:gd name="connsiteX2870" fmla="*/ 1924833 w 3135233"/>
                <a:gd name="connsiteY2870" fmla="*/ 616431 h 2493266"/>
                <a:gd name="connsiteX2871" fmla="*/ 1920639 w 3135233"/>
                <a:gd name="connsiteY2871" fmla="*/ 614803 h 2493266"/>
                <a:gd name="connsiteX2872" fmla="*/ 1918616 w 3135233"/>
                <a:gd name="connsiteY2872" fmla="*/ 606761 h 2493266"/>
                <a:gd name="connsiteX2873" fmla="*/ 1920639 w 3135233"/>
                <a:gd name="connsiteY2873" fmla="*/ 605132 h 2493266"/>
                <a:gd name="connsiteX2874" fmla="*/ 1924833 w 3135233"/>
                <a:gd name="connsiteY2874" fmla="*/ 601925 h 2493266"/>
                <a:gd name="connsiteX2875" fmla="*/ 1929027 w 3135233"/>
                <a:gd name="connsiteY2875" fmla="*/ 601925 h 2493266"/>
                <a:gd name="connsiteX2876" fmla="*/ 1933172 w 3135233"/>
                <a:gd name="connsiteY2876" fmla="*/ 603554 h 2493266"/>
                <a:gd name="connsiteX2877" fmla="*/ 1935244 w 3135233"/>
                <a:gd name="connsiteY2877" fmla="*/ 606761 h 2493266"/>
                <a:gd name="connsiteX2878" fmla="*/ 1933172 w 3135233"/>
                <a:gd name="connsiteY2878" fmla="*/ 608389 h 2493266"/>
                <a:gd name="connsiteX2879" fmla="*/ 1933172 w 3135233"/>
                <a:gd name="connsiteY2879" fmla="*/ 613323 h 2493266"/>
                <a:gd name="connsiteX2880" fmla="*/ 1929027 w 3135233"/>
                <a:gd name="connsiteY2880" fmla="*/ 613323 h 2493266"/>
                <a:gd name="connsiteX2881" fmla="*/ 1926905 w 3135233"/>
                <a:gd name="connsiteY2881" fmla="*/ 616530 h 2493266"/>
                <a:gd name="connsiteX2882" fmla="*/ 1906084 w 3135233"/>
                <a:gd name="connsiteY2882" fmla="*/ 619688 h 2493266"/>
                <a:gd name="connsiteX2883" fmla="*/ 1904011 w 3135233"/>
                <a:gd name="connsiteY2883" fmla="*/ 614754 h 2493266"/>
                <a:gd name="connsiteX2884" fmla="*/ 1908206 w 3135233"/>
                <a:gd name="connsiteY2884" fmla="*/ 614754 h 2493266"/>
                <a:gd name="connsiteX2885" fmla="*/ 1908206 w 3135233"/>
                <a:gd name="connsiteY2885" fmla="*/ 619688 h 2493266"/>
                <a:gd name="connsiteX2886" fmla="*/ 1831087 w 3135233"/>
                <a:gd name="connsiteY2886" fmla="*/ 627730 h 2493266"/>
                <a:gd name="connsiteX2887" fmla="*/ 1826942 w 3135233"/>
                <a:gd name="connsiteY2887" fmla="*/ 624523 h 2493266"/>
                <a:gd name="connsiteX2888" fmla="*/ 1820676 w 3135233"/>
                <a:gd name="connsiteY2888" fmla="*/ 626102 h 2493266"/>
                <a:gd name="connsiteX2889" fmla="*/ 1816531 w 3135233"/>
                <a:gd name="connsiteY2889" fmla="*/ 621168 h 2493266"/>
                <a:gd name="connsiteX2890" fmla="*/ 1816531 w 3135233"/>
                <a:gd name="connsiteY2890" fmla="*/ 616234 h 2493266"/>
                <a:gd name="connsiteX2891" fmla="*/ 1818603 w 3135233"/>
                <a:gd name="connsiteY2891" fmla="*/ 613027 h 2493266"/>
                <a:gd name="connsiteX2892" fmla="*/ 1818603 w 3135233"/>
                <a:gd name="connsiteY2892" fmla="*/ 609770 h 2493266"/>
                <a:gd name="connsiteX2893" fmla="*/ 1820676 w 3135233"/>
                <a:gd name="connsiteY2893" fmla="*/ 604836 h 2493266"/>
                <a:gd name="connsiteX2894" fmla="*/ 1822748 w 3135233"/>
                <a:gd name="connsiteY2894" fmla="*/ 604836 h 2493266"/>
                <a:gd name="connsiteX2895" fmla="*/ 1826942 w 3135233"/>
                <a:gd name="connsiteY2895" fmla="*/ 608093 h 2493266"/>
                <a:gd name="connsiteX2896" fmla="*/ 1831087 w 3135233"/>
                <a:gd name="connsiteY2896" fmla="*/ 608093 h 2493266"/>
                <a:gd name="connsiteX2897" fmla="*/ 1826942 w 3135233"/>
                <a:gd name="connsiteY2897" fmla="*/ 603159 h 2493266"/>
                <a:gd name="connsiteX2898" fmla="*/ 1829014 w 3135233"/>
                <a:gd name="connsiteY2898" fmla="*/ 599902 h 2493266"/>
                <a:gd name="connsiteX2899" fmla="*/ 1822748 w 3135233"/>
                <a:gd name="connsiteY2899" fmla="*/ 599902 h 2493266"/>
                <a:gd name="connsiteX2900" fmla="*/ 1818603 w 3135233"/>
                <a:gd name="connsiteY2900" fmla="*/ 596695 h 2493266"/>
                <a:gd name="connsiteX2901" fmla="*/ 1818603 w 3135233"/>
                <a:gd name="connsiteY2901" fmla="*/ 590232 h 2493266"/>
                <a:gd name="connsiteX2902" fmla="*/ 1820676 w 3135233"/>
                <a:gd name="connsiteY2902" fmla="*/ 590232 h 2493266"/>
                <a:gd name="connsiteX2903" fmla="*/ 1824870 w 3135233"/>
                <a:gd name="connsiteY2903" fmla="*/ 593439 h 2493266"/>
                <a:gd name="connsiteX2904" fmla="*/ 1826942 w 3135233"/>
                <a:gd name="connsiteY2904" fmla="*/ 591860 h 2493266"/>
                <a:gd name="connsiteX2905" fmla="*/ 1824870 w 3135233"/>
                <a:gd name="connsiteY2905" fmla="*/ 588603 h 2493266"/>
                <a:gd name="connsiteX2906" fmla="*/ 1829014 w 3135233"/>
                <a:gd name="connsiteY2906" fmla="*/ 587025 h 2493266"/>
                <a:gd name="connsiteX2907" fmla="*/ 1835280 w 3135233"/>
                <a:gd name="connsiteY2907" fmla="*/ 588603 h 2493266"/>
                <a:gd name="connsiteX2908" fmla="*/ 1845691 w 3135233"/>
                <a:gd name="connsiteY2908" fmla="*/ 590232 h 2493266"/>
                <a:gd name="connsiteX2909" fmla="*/ 1849836 w 3135233"/>
                <a:gd name="connsiteY2909" fmla="*/ 588603 h 2493266"/>
                <a:gd name="connsiteX2910" fmla="*/ 1845691 w 3135233"/>
                <a:gd name="connsiteY2910" fmla="*/ 585396 h 2493266"/>
                <a:gd name="connsiteX2911" fmla="*/ 1843570 w 3135233"/>
                <a:gd name="connsiteY2911" fmla="*/ 585396 h 2493266"/>
                <a:gd name="connsiteX2912" fmla="*/ 1853981 w 3135233"/>
                <a:gd name="connsiteY2912" fmla="*/ 583768 h 2493266"/>
                <a:gd name="connsiteX2913" fmla="*/ 1862368 w 3135233"/>
                <a:gd name="connsiteY2913" fmla="*/ 580561 h 2493266"/>
                <a:gd name="connsiteX2914" fmla="*/ 1878996 w 3135233"/>
                <a:gd name="connsiteY2914" fmla="*/ 580561 h 2493266"/>
                <a:gd name="connsiteX2915" fmla="*/ 1883190 w 3135233"/>
                <a:gd name="connsiteY2915" fmla="*/ 577305 h 2493266"/>
                <a:gd name="connsiteX2916" fmla="*/ 1878996 w 3135233"/>
                <a:gd name="connsiteY2916" fmla="*/ 575726 h 2493266"/>
                <a:gd name="connsiteX2917" fmla="*/ 1849836 w 3135233"/>
                <a:gd name="connsiteY2917" fmla="*/ 570792 h 2493266"/>
                <a:gd name="connsiteX2918" fmla="*/ 1843570 w 3135233"/>
                <a:gd name="connsiteY2918" fmla="*/ 570792 h 2493266"/>
                <a:gd name="connsiteX2919" fmla="*/ 1837353 w 3135233"/>
                <a:gd name="connsiteY2919" fmla="*/ 569213 h 2493266"/>
                <a:gd name="connsiteX2920" fmla="*/ 1826942 w 3135233"/>
                <a:gd name="connsiteY2920" fmla="*/ 569213 h 2493266"/>
                <a:gd name="connsiteX2921" fmla="*/ 1820676 w 3135233"/>
                <a:gd name="connsiteY2921" fmla="*/ 565956 h 2493266"/>
                <a:gd name="connsiteX2922" fmla="*/ 1816531 w 3135233"/>
                <a:gd name="connsiteY2922" fmla="*/ 567584 h 2493266"/>
                <a:gd name="connsiteX2923" fmla="*/ 1812337 w 3135233"/>
                <a:gd name="connsiteY2923" fmla="*/ 565956 h 2493266"/>
                <a:gd name="connsiteX2924" fmla="*/ 1804048 w 3135233"/>
                <a:gd name="connsiteY2924" fmla="*/ 565956 h 2493266"/>
                <a:gd name="connsiteX2925" fmla="*/ 1801926 w 3135233"/>
                <a:gd name="connsiteY2925" fmla="*/ 567584 h 2493266"/>
                <a:gd name="connsiteX2926" fmla="*/ 1797732 w 3135233"/>
                <a:gd name="connsiteY2926" fmla="*/ 565956 h 2493266"/>
                <a:gd name="connsiteX2927" fmla="*/ 1793637 w 3135233"/>
                <a:gd name="connsiteY2927" fmla="*/ 565956 h 2493266"/>
                <a:gd name="connsiteX2928" fmla="*/ 1791516 w 3135233"/>
                <a:gd name="connsiteY2928" fmla="*/ 564377 h 2493266"/>
                <a:gd name="connsiteX2929" fmla="*/ 1791516 w 3135233"/>
                <a:gd name="connsiteY2929" fmla="*/ 557914 h 2493266"/>
                <a:gd name="connsiteX2930" fmla="*/ 1795709 w 3135233"/>
                <a:gd name="connsiteY2930" fmla="*/ 557914 h 2493266"/>
                <a:gd name="connsiteX2931" fmla="*/ 1799854 w 3135233"/>
                <a:gd name="connsiteY2931" fmla="*/ 554657 h 2493266"/>
                <a:gd name="connsiteX2932" fmla="*/ 1804048 w 3135233"/>
                <a:gd name="connsiteY2932" fmla="*/ 556286 h 2493266"/>
                <a:gd name="connsiteX2933" fmla="*/ 1808193 w 3135233"/>
                <a:gd name="connsiteY2933" fmla="*/ 556286 h 2493266"/>
                <a:gd name="connsiteX2934" fmla="*/ 1806120 w 3135233"/>
                <a:gd name="connsiteY2934" fmla="*/ 553078 h 2493266"/>
                <a:gd name="connsiteX2935" fmla="*/ 1808193 w 3135233"/>
                <a:gd name="connsiteY2935" fmla="*/ 548144 h 2493266"/>
                <a:gd name="connsiteX2936" fmla="*/ 1812337 w 3135233"/>
                <a:gd name="connsiteY2936" fmla="*/ 544888 h 2493266"/>
                <a:gd name="connsiteX2937" fmla="*/ 1818603 w 3135233"/>
                <a:gd name="connsiteY2937" fmla="*/ 544888 h 2493266"/>
                <a:gd name="connsiteX2938" fmla="*/ 1822748 w 3135233"/>
                <a:gd name="connsiteY2938" fmla="*/ 543309 h 2493266"/>
                <a:gd name="connsiteX2939" fmla="*/ 1822748 w 3135233"/>
                <a:gd name="connsiteY2939" fmla="*/ 549723 h 2493266"/>
                <a:gd name="connsiteX2940" fmla="*/ 1826942 w 3135233"/>
                <a:gd name="connsiteY2940" fmla="*/ 551352 h 2493266"/>
                <a:gd name="connsiteX2941" fmla="*/ 1826942 w 3135233"/>
                <a:gd name="connsiteY2941" fmla="*/ 559443 h 2493266"/>
                <a:gd name="connsiteX2942" fmla="*/ 1829014 w 3135233"/>
                <a:gd name="connsiteY2942" fmla="*/ 561022 h 2493266"/>
                <a:gd name="connsiteX2943" fmla="*/ 1833159 w 3135233"/>
                <a:gd name="connsiteY2943" fmla="*/ 557815 h 2493266"/>
                <a:gd name="connsiteX2944" fmla="*/ 1831087 w 3135233"/>
                <a:gd name="connsiteY2944" fmla="*/ 551352 h 2493266"/>
                <a:gd name="connsiteX2945" fmla="*/ 1829014 w 3135233"/>
                <a:gd name="connsiteY2945" fmla="*/ 546417 h 2493266"/>
                <a:gd name="connsiteX2946" fmla="*/ 1831087 w 3135233"/>
                <a:gd name="connsiteY2946" fmla="*/ 541483 h 2493266"/>
                <a:gd name="connsiteX2947" fmla="*/ 1837353 w 3135233"/>
                <a:gd name="connsiteY2947" fmla="*/ 539855 h 2493266"/>
                <a:gd name="connsiteX2948" fmla="*/ 1839425 w 3135233"/>
                <a:gd name="connsiteY2948" fmla="*/ 536648 h 2493266"/>
                <a:gd name="connsiteX2949" fmla="*/ 1833159 w 3135233"/>
                <a:gd name="connsiteY2949" fmla="*/ 535020 h 2493266"/>
                <a:gd name="connsiteX2950" fmla="*/ 1835280 w 3135233"/>
                <a:gd name="connsiteY2950" fmla="*/ 526977 h 2493266"/>
                <a:gd name="connsiteX2951" fmla="*/ 1841547 w 3135233"/>
                <a:gd name="connsiteY2951" fmla="*/ 523721 h 2493266"/>
                <a:gd name="connsiteX2952" fmla="*/ 1843570 w 3135233"/>
                <a:gd name="connsiteY2952" fmla="*/ 520514 h 2493266"/>
                <a:gd name="connsiteX2953" fmla="*/ 1849836 w 3135233"/>
                <a:gd name="connsiteY2953" fmla="*/ 518886 h 2493266"/>
                <a:gd name="connsiteX2954" fmla="*/ 1845691 w 3135233"/>
                <a:gd name="connsiteY2954" fmla="*/ 513951 h 2493266"/>
                <a:gd name="connsiteX2955" fmla="*/ 1843570 w 3135233"/>
                <a:gd name="connsiteY2955" fmla="*/ 513951 h 2493266"/>
                <a:gd name="connsiteX2956" fmla="*/ 1839425 w 3135233"/>
                <a:gd name="connsiteY2956" fmla="*/ 512323 h 2493266"/>
                <a:gd name="connsiteX2957" fmla="*/ 1839425 w 3135233"/>
                <a:gd name="connsiteY2957" fmla="*/ 509116 h 2493266"/>
                <a:gd name="connsiteX2958" fmla="*/ 1847764 w 3135233"/>
                <a:gd name="connsiteY2958" fmla="*/ 504182 h 2493266"/>
                <a:gd name="connsiteX2959" fmla="*/ 1847764 w 3135233"/>
                <a:gd name="connsiteY2959" fmla="*/ 502554 h 2493266"/>
                <a:gd name="connsiteX2960" fmla="*/ 1856102 w 3135233"/>
                <a:gd name="connsiteY2960" fmla="*/ 499347 h 2493266"/>
                <a:gd name="connsiteX2961" fmla="*/ 1860247 w 3135233"/>
                <a:gd name="connsiteY2961" fmla="*/ 500926 h 2493266"/>
                <a:gd name="connsiteX2962" fmla="*/ 1860247 w 3135233"/>
                <a:gd name="connsiteY2962" fmla="*/ 508179 h 2493266"/>
                <a:gd name="connsiteX2963" fmla="*/ 1864441 w 3135233"/>
                <a:gd name="connsiteY2963" fmla="*/ 511386 h 2493266"/>
                <a:gd name="connsiteX2964" fmla="*/ 1864441 w 3135233"/>
                <a:gd name="connsiteY2964" fmla="*/ 516320 h 2493266"/>
                <a:gd name="connsiteX2965" fmla="*/ 1862368 w 3135233"/>
                <a:gd name="connsiteY2965" fmla="*/ 517899 h 2493266"/>
                <a:gd name="connsiteX2966" fmla="*/ 1864441 w 3135233"/>
                <a:gd name="connsiteY2966" fmla="*/ 522833 h 2493266"/>
                <a:gd name="connsiteX2967" fmla="*/ 1868585 w 3135233"/>
                <a:gd name="connsiteY2967" fmla="*/ 526089 h 2493266"/>
                <a:gd name="connsiteX2968" fmla="*/ 1870657 w 3135233"/>
                <a:gd name="connsiteY2968" fmla="*/ 543852 h 2493266"/>
                <a:gd name="connsiteX2969" fmla="*/ 1868585 w 3135233"/>
                <a:gd name="connsiteY2969" fmla="*/ 548786 h 2493266"/>
                <a:gd name="connsiteX2970" fmla="*/ 1868585 w 3135233"/>
                <a:gd name="connsiteY2970" fmla="*/ 551993 h 2493266"/>
                <a:gd name="connsiteX2971" fmla="*/ 1874851 w 3135233"/>
                <a:gd name="connsiteY2971" fmla="*/ 555200 h 2493266"/>
                <a:gd name="connsiteX2972" fmla="*/ 1883190 w 3135233"/>
                <a:gd name="connsiteY2972" fmla="*/ 550266 h 2493266"/>
                <a:gd name="connsiteX2973" fmla="*/ 1878996 w 3135233"/>
                <a:gd name="connsiteY2973" fmla="*/ 547059 h 2493266"/>
                <a:gd name="connsiteX2974" fmla="*/ 1881068 w 3135233"/>
                <a:gd name="connsiteY2974" fmla="*/ 537191 h 2493266"/>
                <a:gd name="connsiteX2975" fmla="*/ 1887334 w 3135233"/>
                <a:gd name="connsiteY2975" fmla="*/ 535563 h 2493266"/>
                <a:gd name="connsiteX2976" fmla="*/ 1887334 w 3135233"/>
                <a:gd name="connsiteY2976" fmla="*/ 530629 h 2493266"/>
                <a:gd name="connsiteX2977" fmla="*/ 1876924 w 3135233"/>
                <a:gd name="connsiteY2977" fmla="*/ 524165 h 2493266"/>
                <a:gd name="connsiteX2978" fmla="*/ 1876924 w 3135233"/>
                <a:gd name="connsiteY2978" fmla="*/ 522981 h 2493266"/>
                <a:gd name="connsiteX2979" fmla="*/ 1883190 w 3135233"/>
                <a:gd name="connsiteY2979" fmla="*/ 522981 h 2493266"/>
                <a:gd name="connsiteX2980" fmla="*/ 1889407 w 3135233"/>
                <a:gd name="connsiteY2980" fmla="*/ 526237 h 2493266"/>
                <a:gd name="connsiteX2981" fmla="*/ 1889407 w 3135233"/>
                <a:gd name="connsiteY2981" fmla="*/ 521303 h 2493266"/>
                <a:gd name="connsiteX2982" fmla="*/ 1880970 w 3135233"/>
                <a:gd name="connsiteY2982" fmla="*/ 514840 h 2493266"/>
                <a:gd name="connsiteX2983" fmla="*/ 1878897 w 3135233"/>
                <a:gd name="connsiteY2983" fmla="*/ 506748 h 2493266"/>
                <a:gd name="connsiteX2984" fmla="*/ 1880970 w 3135233"/>
                <a:gd name="connsiteY2984" fmla="*/ 503541 h 2493266"/>
                <a:gd name="connsiteX2985" fmla="*/ 1883091 w 3135233"/>
                <a:gd name="connsiteY2985" fmla="*/ 495449 h 2493266"/>
                <a:gd name="connsiteX2986" fmla="*/ 1887236 w 3135233"/>
                <a:gd name="connsiteY2986" fmla="*/ 493870 h 2493266"/>
                <a:gd name="connsiteX2987" fmla="*/ 1891380 w 3135233"/>
                <a:gd name="connsiteY2987" fmla="*/ 492242 h 2493266"/>
                <a:gd name="connsiteX2988" fmla="*/ 1895574 w 3135233"/>
                <a:gd name="connsiteY2988" fmla="*/ 489035 h 2493266"/>
                <a:gd name="connsiteX2989" fmla="*/ 1901840 w 3135233"/>
                <a:gd name="connsiteY2989" fmla="*/ 490614 h 2493266"/>
                <a:gd name="connsiteX2990" fmla="*/ 1908107 w 3135233"/>
                <a:gd name="connsiteY2990" fmla="*/ 485680 h 2493266"/>
                <a:gd name="connsiteX2991" fmla="*/ 1914324 w 3135233"/>
                <a:gd name="connsiteY2991" fmla="*/ 487308 h 2493266"/>
                <a:gd name="connsiteX2992" fmla="*/ 1916396 w 3135233"/>
                <a:gd name="connsiteY2992" fmla="*/ 490515 h 2493266"/>
                <a:gd name="connsiteX2993" fmla="*/ 1920541 w 3135233"/>
                <a:gd name="connsiteY2993" fmla="*/ 493771 h 2493266"/>
                <a:gd name="connsiteX2994" fmla="*/ 1924734 w 3135233"/>
                <a:gd name="connsiteY2994" fmla="*/ 492143 h 2493266"/>
                <a:gd name="connsiteX2995" fmla="*/ 1928928 w 3135233"/>
                <a:gd name="connsiteY2995" fmla="*/ 495350 h 2493266"/>
                <a:gd name="connsiteX2996" fmla="*/ 1926807 w 3135233"/>
                <a:gd name="connsiteY2996" fmla="*/ 508277 h 2493266"/>
                <a:gd name="connsiteX2997" fmla="*/ 1922662 w 3135233"/>
                <a:gd name="connsiteY2997" fmla="*/ 513211 h 2493266"/>
                <a:gd name="connsiteX2998" fmla="*/ 1922662 w 3135233"/>
                <a:gd name="connsiteY2998" fmla="*/ 516468 h 2493266"/>
                <a:gd name="connsiteX2999" fmla="*/ 1926807 w 3135233"/>
                <a:gd name="connsiteY2999" fmla="*/ 516468 h 2493266"/>
                <a:gd name="connsiteX3000" fmla="*/ 1928928 w 3135233"/>
                <a:gd name="connsiteY3000" fmla="*/ 513211 h 2493266"/>
                <a:gd name="connsiteX3001" fmla="*/ 1933073 w 3135233"/>
                <a:gd name="connsiteY3001" fmla="*/ 514840 h 2493266"/>
                <a:gd name="connsiteX3002" fmla="*/ 1937218 w 3135233"/>
                <a:gd name="connsiteY3002" fmla="*/ 511583 h 2493266"/>
                <a:gd name="connsiteX3003" fmla="*/ 1937218 w 3135233"/>
                <a:gd name="connsiteY3003" fmla="*/ 501715 h 2493266"/>
                <a:gd name="connsiteX3004" fmla="*/ 1941412 w 3135233"/>
                <a:gd name="connsiteY3004" fmla="*/ 498508 h 2493266"/>
                <a:gd name="connsiteX3005" fmla="*/ 1947628 w 3135233"/>
                <a:gd name="connsiteY3005" fmla="*/ 501715 h 2493266"/>
                <a:gd name="connsiteX3006" fmla="*/ 1953895 w 3135233"/>
                <a:gd name="connsiteY3006" fmla="*/ 500136 h 2493266"/>
                <a:gd name="connsiteX3007" fmla="*/ 1951822 w 3135233"/>
                <a:gd name="connsiteY3007" fmla="*/ 495202 h 2493266"/>
                <a:gd name="connsiteX3008" fmla="*/ 1951822 w 3135233"/>
                <a:gd name="connsiteY3008" fmla="*/ 491995 h 2493266"/>
                <a:gd name="connsiteX3009" fmla="*/ 1955967 w 3135233"/>
                <a:gd name="connsiteY3009" fmla="*/ 491995 h 2493266"/>
                <a:gd name="connsiteX3010" fmla="*/ 1958039 w 3135233"/>
                <a:gd name="connsiteY3010" fmla="*/ 496929 h 2493266"/>
                <a:gd name="connsiteX3011" fmla="*/ 1958039 w 3135233"/>
                <a:gd name="connsiteY3011" fmla="*/ 503393 h 2493266"/>
                <a:gd name="connsiteX3012" fmla="*/ 1955967 w 3135233"/>
                <a:gd name="connsiteY3012" fmla="*/ 506600 h 2493266"/>
                <a:gd name="connsiteX3013" fmla="*/ 1953895 w 3135233"/>
                <a:gd name="connsiteY3013" fmla="*/ 506600 h 2493266"/>
                <a:gd name="connsiteX3014" fmla="*/ 1955967 w 3135233"/>
                <a:gd name="connsiteY3014" fmla="*/ 511534 h 2493266"/>
                <a:gd name="connsiteX3015" fmla="*/ 1962233 w 3135233"/>
                <a:gd name="connsiteY3015" fmla="*/ 514790 h 2493266"/>
                <a:gd name="connsiteX3016" fmla="*/ 1966378 w 3135233"/>
                <a:gd name="connsiteY3016" fmla="*/ 519724 h 2493266"/>
                <a:gd name="connsiteX3017" fmla="*/ 1964306 w 3135233"/>
                <a:gd name="connsiteY3017" fmla="*/ 526188 h 2493266"/>
                <a:gd name="connsiteX3018" fmla="*/ 1958039 w 3135233"/>
                <a:gd name="connsiteY3018" fmla="*/ 529395 h 2493266"/>
                <a:gd name="connsiteX3019" fmla="*/ 1951822 w 3135233"/>
                <a:gd name="connsiteY3019" fmla="*/ 539263 h 2493266"/>
                <a:gd name="connsiteX3020" fmla="*/ 1951822 w 3135233"/>
                <a:gd name="connsiteY3020" fmla="*/ 545727 h 2493266"/>
                <a:gd name="connsiteX3021" fmla="*/ 1949750 w 3135233"/>
                <a:gd name="connsiteY3021" fmla="*/ 550661 h 2493266"/>
                <a:gd name="connsiteX3022" fmla="*/ 1943484 w 3135233"/>
                <a:gd name="connsiteY3022" fmla="*/ 552289 h 2493266"/>
                <a:gd name="connsiteX3023" fmla="*/ 1935244 w 3135233"/>
                <a:gd name="connsiteY3023" fmla="*/ 560035 h 2493266"/>
                <a:gd name="connsiteX3024" fmla="*/ 1933172 w 3135233"/>
                <a:gd name="connsiteY3024" fmla="*/ 563243 h 2493266"/>
                <a:gd name="connsiteX3025" fmla="*/ 1926905 w 3135233"/>
                <a:gd name="connsiteY3025" fmla="*/ 569706 h 2493266"/>
                <a:gd name="connsiteX3026" fmla="*/ 1926905 w 3135233"/>
                <a:gd name="connsiteY3026" fmla="*/ 572913 h 2493266"/>
                <a:gd name="connsiteX3027" fmla="*/ 1924833 w 3135233"/>
                <a:gd name="connsiteY3027" fmla="*/ 579377 h 2493266"/>
                <a:gd name="connsiteX3028" fmla="*/ 1920442 w 3135233"/>
                <a:gd name="connsiteY3028" fmla="*/ 579377 h 2493266"/>
                <a:gd name="connsiteX3029" fmla="*/ 1916297 w 3135233"/>
                <a:gd name="connsiteY3029" fmla="*/ 577749 h 2493266"/>
                <a:gd name="connsiteX3030" fmla="*/ 1912153 w 3135233"/>
                <a:gd name="connsiteY3030" fmla="*/ 581005 h 2493266"/>
                <a:gd name="connsiteX3031" fmla="*/ 1912153 w 3135233"/>
                <a:gd name="connsiteY3031" fmla="*/ 582584 h 2493266"/>
                <a:gd name="connsiteX3032" fmla="*/ 1920442 w 3135233"/>
                <a:gd name="connsiteY3032" fmla="*/ 587518 h 2493266"/>
                <a:gd name="connsiteX3033" fmla="*/ 1920442 w 3135233"/>
                <a:gd name="connsiteY3033" fmla="*/ 590725 h 2493266"/>
                <a:gd name="connsiteX3034" fmla="*/ 1912153 w 3135233"/>
                <a:gd name="connsiteY3034" fmla="*/ 600593 h 2493266"/>
                <a:gd name="connsiteX3035" fmla="*/ 1910031 w 3135233"/>
                <a:gd name="connsiteY3035" fmla="*/ 603850 h 2493266"/>
                <a:gd name="connsiteX3036" fmla="*/ 1908008 w 3135233"/>
                <a:gd name="connsiteY3036" fmla="*/ 600593 h 2493266"/>
                <a:gd name="connsiteX3037" fmla="*/ 1908008 w 3135233"/>
                <a:gd name="connsiteY3037" fmla="*/ 595659 h 2493266"/>
                <a:gd name="connsiteX3038" fmla="*/ 1903814 w 3135233"/>
                <a:gd name="connsiteY3038" fmla="*/ 595659 h 2493266"/>
                <a:gd name="connsiteX3039" fmla="*/ 1899620 w 3135233"/>
                <a:gd name="connsiteY3039" fmla="*/ 597287 h 2493266"/>
                <a:gd name="connsiteX3040" fmla="*/ 1899620 w 3135233"/>
                <a:gd name="connsiteY3040" fmla="*/ 600495 h 2493266"/>
                <a:gd name="connsiteX3041" fmla="*/ 1895772 w 3135233"/>
                <a:gd name="connsiteY3041" fmla="*/ 601925 h 2493266"/>
                <a:gd name="connsiteX3042" fmla="*/ 1891578 w 3135233"/>
                <a:gd name="connsiteY3042" fmla="*/ 606859 h 2493266"/>
                <a:gd name="connsiteX3043" fmla="*/ 1885361 w 3135233"/>
                <a:gd name="connsiteY3043" fmla="*/ 608488 h 2493266"/>
                <a:gd name="connsiteX3044" fmla="*/ 1883288 w 3135233"/>
                <a:gd name="connsiteY3044" fmla="*/ 613422 h 2493266"/>
                <a:gd name="connsiteX3045" fmla="*/ 1887433 w 3135233"/>
                <a:gd name="connsiteY3045" fmla="*/ 615001 h 2493266"/>
                <a:gd name="connsiteX3046" fmla="*/ 1893699 w 3135233"/>
                <a:gd name="connsiteY3046" fmla="*/ 613422 h 2493266"/>
                <a:gd name="connsiteX3047" fmla="*/ 1891578 w 3135233"/>
                <a:gd name="connsiteY3047" fmla="*/ 618356 h 2493266"/>
                <a:gd name="connsiteX3048" fmla="*/ 1889505 w 3135233"/>
                <a:gd name="connsiteY3048" fmla="*/ 621563 h 2493266"/>
                <a:gd name="connsiteX3049" fmla="*/ 1889505 w 3135233"/>
                <a:gd name="connsiteY3049" fmla="*/ 629655 h 2493266"/>
                <a:gd name="connsiteX3050" fmla="*/ 1887433 w 3135233"/>
                <a:gd name="connsiteY3050" fmla="*/ 631234 h 2493266"/>
                <a:gd name="connsiteX3051" fmla="*/ 1883288 w 3135233"/>
                <a:gd name="connsiteY3051" fmla="*/ 626300 h 2493266"/>
                <a:gd name="connsiteX3052" fmla="*/ 1881167 w 3135233"/>
                <a:gd name="connsiteY3052" fmla="*/ 619885 h 2493266"/>
                <a:gd name="connsiteX3053" fmla="*/ 1881167 w 3135233"/>
                <a:gd name="connsiteY3053" fmla="*/ 616727 h 2493266"/>
                <a:gd name="connsiteX3054" fmla="*/ 1877022 w 3135233"/>
                <a:gd name="connsiteY3054" fmla="*/ 619984 h 2493266"/>
                <a:gd name="connsiteX3055" fmla="*/ 1877022 w 3135233"/>
                <a:gd name="connsiteY3055" fmla="*/ 624918 h 2493266"/>
                <a:gd name="connsiteX3056" fmla="*/ 1879095 w 3135233"/>
                <a:gd name="connsiteY3056" fmla="*/ 628125 h 2493266"/>
                <a:gd name="connsiteX3057" fmla="*/ 1872878 w 3135233"/>
                <a:gd name="connsiteY3057" fmla="*/ 634589 h 2493266"/>
                <a:gd name="connsiteX3058" fmla="*/ 1854079 w 3135233"/>
                <a:gd name="connsiteY3058" fmla="*/ 632960 h 2493266"/>
                <a:gd name="connsiteX3059" fmla="*/ 1854079 w 3135233"/>
                <a:gd name="connsiteY3059" fmla="*/ 628026 h 2493266"/>
                <a:gd name="connsiteX3060" fmla="*/ 1852056 w 3135233"/>
                <a:gd name="connsiteY3060" fmla="*/ 624819 h 2493266"/>
                <a:gd name="connsiteX3061" fmla="*/ 1845790 w 3135233"/>
                <a:gd name="connsiteY3061" fmla="*/ 629753 h 2493266"/>
                <a:gd name="connsiteX3062" fmla="*/ 1841497 w 3135233"/>
                <a:gd name="connsiteY3062" fmla="*/ 629753 h 2493266"/>
                <a:gd name="connsiteX3063" fmla="*/ 1839376 w 3135233"/>
                <a:gd name="connsiteY3063" fmla="*/ 626497 h 2493266"/>
                <a:gd name="connsiteX3064" fmla="*/ 1845642 w 3135233"/>
                <a:gd name="connsiteY3064" fmla="*/ 620083 h 2493266"/>
                <a:gd name="connsiteX3065" fmla="*/ 1837304 w 3135233"/>
                <a:gd name="connsiteY3065" fmla="*/ 623290 h 2493266"/>
                <a:gd name="connsiteX3066" fmla="*/ 1833109 w 3135233"/>
                <a:gd name="connsiteY3066" fmla="*/ 628224 h 2493266"/>
                <a:gd name="connsiteX3067" fmla="*/ 1362353 w 3135233"/>
                <a:gd name="connsiteY3067" fmla="*/ 458296 h 2493266"/>
                <a:gd name="connsiteX3068" fmla="*/ 1358159 w 3135233"/>
                <a:gd name="connsiteY3068" fmla="*/ 456717 h 2493266"/>
                <a:gd name="connsiteX3069" fmla="*/ 1362353 w 3135233"/>
                <a:gd name="connsiteY3069" fmla="*/ 450253 h 2493266"/>
                <a:gd name="connsiteX3070" fmla="*/ 1377155 w 3135233"/>
                <a:gd name="connsiteY3070" fmla="*/ 438954 h 2493266"/>
                <a:gd name="connsiteX3071" fmla="*/ 1387566 w 3135233"/>
                <a:gd name="connsiteY3071" fmla="*/ 437326 h 2493266"/>
                <a:gd name="connsiteX3072" fmla="*/ 1393832 w 3135233"/>
                <a:gd name="connsiteY3072" fmla="*/ 432392 h 2493266"/>
                <a:gd name="connsiteX3073" fmla="*/ 1397977 w 3135233"/>
                <a:gd name="connsiteY3073" fmla="*/ 432392 h 2493266"/>
                <a:gd name="connsiteX3074" fmla="*/ 1406315 w 3135233"/>
                <a:gd name="connsiteY3074" fmla="*/ 425928 h 2493266"/>
                <a:gd name="connsiteX3075" fmla="*/ 1416726 w 3135233"/>
                <a:gd name="connsiteY3075" fmla="*/ 424349 h 2493266"/>
                <a:gd name="connsiteX3076" fmla="*/ 1422992 w 3135233"/>
                <a:gd name="connsiteY3076" fmla="*/ 422721 h 2493266"/>
                <a:gd name="connsiteX3077" fmla="*/ 1427038 w 3135233"/>
                <a:gd name="connsiteY3077" fmla="*/ 422721 h 2493266"/>
                <a:gd name="connsiteX3078" fmla="*/ 1439571 w 3135233"/>
                <a:gd name="connsiteY3078" fmla="*/ 419465 h 2493266"/>
                <a:gd name="connsiteX3079" fmla="*/ 1441643 w 3135233"/>
                <a:gd name="connsiteY3079" fmla="*/ 421093 h 2493266"/>
                <a:gd name="connsiteX3080" fmla="*/ 1439571 w 3135233"/>
                <a:gd name="connsiteY3080" fmla="*/ 426027 h 2493266"/>
                <a:gd name="connsiteX3081" fmla="*/ 1429160 w 3135233"/>
                <a:gd name="connsiteY3081" fmla="*/ 432491 h 2493266"/>
                <a:gd name="connsiteX3082" fmla="*/ 1418700 w 3135233"/>
                <a:gd name="connsiteY3082" fmla="*/ 439102 h 2493266"/>
                <a:gd name="connsiteX3083" fmla="*/ 1395756 w 3135233"/>
                <a:gd name="connsiteY3083" fmla="*/ 452029 h 2493266"/>
                <a:gd name="connsiteX3084" fmla="*/ 1389540 w 3135233"/>
                <a:gd name="connsiteY3084" fmla="*/ 460072 h 2493266"/>
                <a:gd name="connsiteX3085" fmla="*/ 1383274 w 3135233"/>
                <a:gd name="connsiteY3085" fmla="*/ 461700 h 2493266"/>
                <a:gd name="connsiteX3086" fmla="*/ 1379080 w 3135233"/>
                <a:gd name="connsiteY3086" fmla="*/ 461700 h 2493266"/>
                <a:gd name="connsiteX3087" fmla="*/ 1377007 w 3135233"/>
                <a:gd name="connsiteY3087" fmla="*/ 466634 h 2493266"/>
                <a:gd name="connsiteX3088" fmla="*/ 1372764 w 3135233"/>
                <a:gd name="connsiteY3088" fmla="*/ 466634 h 2493266"/>
                <a:gd name="connsiteX3089" fmla="*/ 1370692 w 3135233"/>
                <a:gd name="connsiteY3089" fmla="*/ 460171 h 2493266"/>
                <a:gd name="connsiteX3090" fmla="*/ 1366498 w 3135233"/>
                <a:gd name="connsiteY3090" fmla="*/ 458542 h 2493266"/>
                <a:gd name="connsiteX3091" fmla="*/ 1710203 w 3135233"/>
                <a:gd name="connsiteY3091" fmla="*/ 585791 h 2493266"/>
                <a:gd name="connsiteX3092" fmla="*/ 1708081 w 3135233"/>
                <a:gd name="connsiteY3092" fmla="*/ 582535 h 2493266"/>
                <a:gd name="connsiteX3093" fmla="*/ 1710203 w 3135233"/>
                <a:gd name="connsiteY3093" fmla="*/ 580956 h 2493266"/>
                <a:gd name="connsiteX3094" fmla="*/ 1716469 w 3135233"/>
                <a:gd name="connsiteY3094" fmla="*/ 579327 h 2493266"/>
                <a:gd name="connsiteX3095" fmla="*/ 1720613 w 3135233"/>
                <a:gd name="connsiteY3095" fmla="*/ 574393 h 2493266"/>
                <a:gd name="connsiteX3096" fmla="*/ 1720613 w 3135233"/>
                <a:gd name="connsiteY3096" fmla="*/ 571137 h 2493266"/>
                <a:gd name="connsiteX3097" fmla="*/ 1731024 w 3135233"/>
                <a:gd name="connsiteY3097" fmla="*/ 566203 h 2493266"/>
                <a:gd name="connsiteX3098" fmla="*/ 1733097 w 3135233"/>
                <a:gd name="connsiteY3098" fmla="*/ 562996 h 2493266"/>
                <a:gd name="connsiteX3099" fmla="*/ 1739363 w 3135233"/>
                <a:gd name="connsiteY3099" fmla="*/ 562996 h 2493266"/>
                <a:gd name="connsiteX3100" fmla="*/ 1739363 w 3135233"/>
                <a:gd name="connsiteY3100" fmla="*/ 585594 h 2493266"/>
                <a:gd name="connsiteX3101" fmla="*/ 1733097 w 3135233"/>
                <a:gd name="connsiteY3101" fmla="*/ 590528 h 2493266"/>
                <a:gd name="connsiteX3102" fmla="*/ 1724758 w 3135233"/>
                <a:gd name="connsiteY3102" fmla="*/ 590528 h 2493266"/>
                <a:gd name="connsiteX3103" fmla="*/ 1722686 w 3135233"/>
                <a:gd name="connsiteY3103" fmla="*/ 592156 h 2493266"/>
                <a:gd name="connsiteX3104" fmla="*/ 1716469 w 3135233"/>
                <a:gd name="connsiteY3104" fmla="*/ 592156 h 2493266"/>
                <a:gd name="connsiteX3105" fmla="*/ 1714347 w 3135233"/>
                <a:gd name="connsiteY3105" fmla="*/ 588900 h 2493266"/>
                <a:gd name="connsiteX3106" fmla="*/ 1431084 w 3135233"/>
                <a:gd name="connsiteY3106" fmla="*/ 575923 h 2493266"/>
                <a:gd name="connsiteX3107" fmla="*/ 1433157 w 3135233"/>
                <a:gd name="connsiteY3107" fmla="*/ 569459 h 2493266"/>
                <a:gd name="connsiteX3108" fmla="*/ 1433157 w 3135233"/>
                <a:gd name="connsiteY3108" fmla="*/ 554904 h 2493266"/>
                <a:gd name="connsiteX3109" fmla="*/ 1443567 w 3135233"/>
                <a:gd name="connsiteY3109" fmla="*/ 553325 h 2493266"/>
                <a:gd name="connsiteX3110" fmla="*/ 1456051 w 3135233"/>
                <a:gd name="connsiteY3110" fmla="*/ 556532 h 2493266"/>
                <a:gd name="connsiteX3111" fmla="*/ 1460244 w 3135233"/>
                <a:gd name="connsiteY3111" fmla="*/ 553325 h 2493266"/>
                <a:gd name="connsiteX3112" fmla="*/ 1468583 w 3135233"/>
                <a:gd name="connsiteY3112" fmla="*/ 554904 h 2493266"/>
                <a:gd name="connsiteX3113" fmla="*/ 1474800 w 3135233"/>
                <a:gd name="connsiteY3113" fmla="*/ 553325 h 2493266"/>
                <a:gd name="connsiteX3114" fmla="*/ 1485211 w 3135233"/>
                <a:gd name="connsiteY3114" fmla="*/ 548391 h 2493266"/>
                <a:gd name="connsiteX3115" fmla="*/ 1495671 w 3135233"/>
                <a:gd name="connsiteY3115" fmla="*/ 548391 h 2493266"/>
                <a:gd name="connsiteX3116" fmla="*/ 1508154 w 3135233"/>
                <a:gd name="connsiteY3116" fmla="*/ 553325 h 2493266"/>
                <a:gd name="connsiteX3117" fmla="*/ 1516492 w 3135233"/>
                <a:gd name="connsiteY3117" fmla="*/ 553325 h 2493266"/>
                <a:gd name="connsiteX3118" fmla="*/ 1520637 w 3135233"/>
                <a:gd name="connsiteY3118" fmla="*/ 554904 h 2493266"/>
                <a:gd name="connsiteX3119" fmla="*/ 1526903 w 3135233"/>
                <a:gd name="connsiteY3119" fmla="*/ 549970 h 2493266"/>
                <a:gd name="connsiteX3120" fmla="*/ 1543580 w 3135233"/>
                <a:gd name="connsiteY3120" fmla="*/ 549970 h 2493266"/>
                <a:gd name="connsiteX3121" fmla="*/ 1545652 w 3135233"/>
                <a:gd name="connsiteY3121" fmla="*/ 545036 h 2493266"/>
                <a:gd name="connsiteX3122" fmla="*/ 1549797 w 3135233"/>
                <a:gd name="connsiteY3122" fmla="*/ 541829 h 2493266"/>
                <a:gd name="connsiteX3123" fmla="*/ 1547725 w 3135233"/>
                <a:gd name="connsiteY3123" fmla="*/ 538572 h 2493266"/>
                <a:gd name="connsiteX3124" fmla="*/ 1543580 w 3135233"/>
                <a:gd name="connsiteY3124" fmla="*/ 543506 h 2493266"/>
                <a:gd name="connsiteX3125" fmla="*/ 1533120 w 3135233"/>
                <a:gd name="connsiteY3125" fmla="*/ 543506 h 2493266"/>
                <a:gd name="connsiteX3126" fmla="*/ 1533120 w 3135233"/>
                <a:gd name="connsiteY3126" fmla="*/ 540250 h 2493266"/>
                <a:gd name="connsiteX3127" fmla="*/ 1522709 w 3135233"/>
                <a:gd name="connsiteY3127" fmla="*/ 543506 h 2493266"/>
                <a:gd name="connsiteX3128" fmla="*/ 1512397 w 3135233"/>
                <a:gd name="connsiteY3128" fmla="*/ 543506 h 2493266"/>
                <a:gd name="connsiteX3129" fmla="*/ 1512397 w 3135233"/>
                <a:gd name="connsiteY3129" fmla="*/ 538572 h 2493266"/>
                <a:gd name="connsiteX3130" fmla="*/ 1508253 w 3135233"/>
                <a:gd name="connsiteY3130" fmla="*/ 535365 h 2493266"/>
                <a:gd name="connsiteX3131" fmla="*/ 1504059 w 3135233"/>
                <a:gd name="connsiteY3131" fmla="*/ 540299 h 2493266"/>
                <a:gd name="connsiteX3132" fmla="*/ 1495769 w 3135233"/>
                <a:gd name="connsiteY3132" fmla="*/ 540299 h 2493266"/>
                <a:gd name="connsiteX3133" fmla="*/ 1489503 w 3135233"/>
                <a:gd name="connsiteY3133" fmla="*/ 541927 h 2493266"/>
                <a:gd name="connsiteX3134" fmla="*/ 1485309 w 3135233"/>
                <a:gd name="connsiteY3134" fmla="*/ 540299 h 2493266"/>
                <a:gd name="connsiteX3135" fmla="*/ 1479092 w 3135233"/>
                <a:gd name="connsiteY3135" fmla="*/ 540299 h 2493266"/>
                <a:gd name="connsiteX3136" fmla="*/ 1470754 w 3135233"/>
                <a:gd name="connsiteY3136" fmla="*/ 538671 h 2493266"/>
                <a:gd name="connsiteX3137" fmla="*/ 1470754 w 3135233"/>
                <a:gd name="connsiteY3137" fmla="*/ 533737 h 2493266"/>
                <a:gd name="connsiteX3138" fmla="*/ 1479092 w 3135233"/>
                <a:gd name="connsiteY3138" fmla="*/ 528803 h 2493266"/>
                <a:gd name="connsiteX3139" fmla="*/ 1487431 w 3135233"/>
                <a:gd name="connsiteY3139" fmla="*/ 522339 h 2493266"/>
                <a:gd name="connsiteX3140" fmla="*/ 1481313 w 3135233"/>
                <a:gd name="connsiteY3140" fmla="*/ 522339 h 2493266"/>
                <a:gd name="connsiteX3141" fmla="*/ 1475046 w 3135233"/>
                <a:gd name="connsiteY3141" fmla="*/ 523968 h 2493266"/>
                <a:gd name="connsiteX3142" fmla="*/ 1468830 w 3135233"/>
                <a:gd name="connsiteY3142" fmla="*/ 528902 h 2493266"/>
                <a:gd name="connsiteX3143" fmla="*/ 1466511 w 3135233"/>
                <a:gd name="connsiteY3143" fmla="*/ 522981 h 2493266"/>
                <a:gd name="connsiteX3144" fmla="*/ 1462366 w 3135233"/>
                <a:gd name="connsiteY3144" fmla="*/ 526237 h 2493266"/>
                <a:gd name="connsiteX3145" fmla="*/ 1462366 w 3135233"/>
                <a:gd name="connsiteY3145" fmla="*/ 531171 h 2493266"/>
                <a:gd name="connsiteX3146" fmla="*/ 1449883 w 3135233"/>
                <a:gd name="connsiteY3146" fmla="*/ 536105 h 2493266"/>
                <a:gd name="connsiteX3147" fmla="*/ 1447811 w 3135233"/>
                <a:gd name="connsiteY3147" fmla="*/ 541039 h 2493266"/>
                <a:gd name="connsiteX3148" fmla="*/ 1441544 w 3135233"/>
                <a:gd name="connsiteY3148" fmla="*/ 542668 h 2493266"/>
                <a:gd name="connsiteX3149" fmla="*/ 1433206 w 3135233"/>
                <a:gd name="connsiteY3149" fmla="*/ 537734 h 2493266"/>
                <a:gd name="connsiteX3150" fmla="*/ 1433206 w 3135233"/>
                <a:gd name="connsiteY3150" fmla="*/ 532800 h 2493266"/>
                <a:gd name="connsiteX3151" fmla="*/ 1437351 w 3135233"/>
                <a:gd name="connsiteY3151" fmla="*/ 527866 h 2493266"/>
                <a:gd name="connsiteX3152" fmla="*/ 1431134 w 3135233"/>
                <a:gd name="connsiteY3152" fmla="*/ 527866 h 2493266"/>
                <a:gd name="connsiteX3153" fmla="*/ 1429061 w 3135233"/>
                <a:gd name="connsiteY3153" fmla="*/ 526237 h 2493266"/>
                <a:gd name="connsiteX3154" fmla="*/ 1426940 w 3135233"/>
                <a:gd name="connsiteY3154" fmla="*/ 534280 h 2493266"/>
                <a:gd name="connsiteX3155" fmla="*/ 1422795 w 3135233"/>
                <a:gd name="connsiteY3155" fmla="*/ 537536 h 2493266"/>
                <a:gd name="connsiteX3156" fmla="*/ 1416529 w 3135233"/>
                <a:gd name="connsiteY3156" fmla="*/ 534280 h 2493266"/>
                <a:gd name="connsiteX3157" fmla="*/ 1416529 w 3135233"/>
                <a:gd name="connsiteY3157" fmla="*/ 527915 h 2493266"/>
                <a:gd name="connsiteX3158" fmla="*/ 1408190 w 3135233"/>
                <a:gd name="connsiteY3158" fmla="*/ 522981 h 2493266"/>
                <a:gd name="connsiteX3159" fmla="*/ 1410312 w 3135233"/>
                <a:gd name="connsiteY3159" fmla="*/ 518047 h 2493266"/>
                <a:gd name="connsiteX3160" fmla="*/ 1406118 w 3135233"/>
                <a:gd name="connsiteY3160" fmla="*/ 516468 h 2493266"/>
                <a:gd name="connsiteX3161" fmla="*/ 1406118 w 3135233"/>
                <a:gd name="connsiteY3161" fmla="*/ 522981 h 2493266"/>
                <a:gd name="connsiteX3162" fmla="*/ 1401973 w 3135233"/>
                <a:gd name="connsiteY3162" fmla="*/ 521402 h 2493266"/>
                <a:gd name="connsiteX3163" fmla="*/ 1393684 w 3135233"/>
                <a:gd name="connsiteY3163" fmla="*/ 513113 h 2493266"/>
                <a:gd name="connsiteX3164" fmla="*/ 1381201 w 3135233"/>
                <a:gd name="connsiteY3164" fmla="*/ 506649 h 2493266"/>
                <a:gd name="connsiteX3165" fmla="*/ 1381201 w 3135233"/>
                <a:gd name="connsiteY3165" fmla="*/ 503442 h 2493266"/>
                <a:gd name="connsiteX3166" fmla="*/ 1389540 w 3135233"/>
                <a:gd name="connsiteY3166" fmla="*/ 503442 h 2493266"/>
                <a:gd name="connsiteX3167" fmla="*/ 1389540 w 3135233"/>
                <a:gd name="connsiteY3167" fmla="*/ 496978 h 2493266"/>
                <a:gd name="connsiteX3168" fmla="*/ 1387418 w 3135233"/>
                <a:gd name="connsiteY3168" fmla="*/ 493771 h 2493266"/>
                <a:gd name="connsiteX3169" fmla="*/ 1399951 w 3135233"/>
                <a:gd name="connsiteY3169" fmla="*/ 485680 h 2493266"/>
                <a:gd name="connsiteX3170" fmla="*/ 1408240 w 3135233"/>
                <a:gd name="connsiteY3170" fmla="*/ 484101 h 2493266"/>
                <a:gd name="connsiteX3171" fmla="*/ 1412434 w 3135233"/>
                <a:gd name="connsiteY3171" fmla="*/ 485680 h 2493266"/>
                <a:gd name="connsiteX3172" fmla="*/ 1424917 w 3135233"/>
                <a:gd name="connsiteY3172" fmla="*/ 484101 h 2493266"/>
                <a:gd name="connsiteX3173" fmla="*/ 1433255 w 3135233"/>
                <a:gd name="connsiteY3173" fmla="*/ 489035 h 2493266"/>
                <a:gd name="connsiteX3174" fmla="*/ 1443666 w 3135233"/>
                <a:gd name="connsiteY3174" fmla="*/ 490614 h 2493266"/>
                <a:gd name="connsiteX3175" fmla="*/ 1447860 w 3135233"/>
                <a:gd name="connsiteY3175" fmla="*/ 487406 h 2493266"/>
                <a:gd name="connsiteX3176" fmla="*/ 1456149 w 3135233"/>
                <a:gd name="connsiteY3176" fmla="*/ 485778 h 2493266"/>
                <a:gd name="connsiteX3177" fmla="*/ 1464488 w 3135233"/>
                <a:gd name="connsiteY3177" fmla="*/ 480844 h 2493266"/>
                <a:gd name="connsiteX3178" fmla="*/ 1460343 w 3135233"/>
                <a:gd name="connsiteY3178" fmla="*/ 477637 h 2493266"/>
                <a:gd name="connsiteX3179" fmla="*/ 1456149 w 3135233"/>
                <a:gd name="connsiteY3179" fmla="*/ 476009 h 2493266"/>
                <a:gd name="connsiteX3180" fmla="*/ 1447860 w 3135233"/>
                <a:gd name="connsiteY3180" fmla="*/ 476009 h 2493266"/>
                <a:gd name="connsiteX3181" fmla="*/ 1441594 w 3135233"/>
                <a:gd name="connsiteY3181" fmla="*/ 477637 h 2493266"/>
                <a:gd name="connsiteX3182" fmla="*/ 1429111 w 3135233"/>
                <a:gd name="connsiteY3182" fmla="*/ 472703 h 2493266"/>
                <a:gd name="connsiteX3183" fmla="*/ 1420772 w 3135233"/>
                <a:gd name="connsiteY3183" fmla="*/ 472703 h 2493266"/>
                <a:gd name="connsiteX3184" fmla="*/ 1418700 w 3135233"/>
                <a:gd name="connsiteY3184" fmla="*/ 471075 h 2493266"/>
                <a:gd name="connsiteX3185" fmla="*/ 1429111 w 3135233"/>
                <a:gd name="connsiteY3185" fmla="*/ 462983 h 2493266"/>
                <a:gd name="connsiteX3186" fmla="*/ 1437400 w 3135233"/>
                <a:gd name="connsiteY3186" fmla="*/ 454940 h 2493266"/>
                <a:gd name="connsiteX3187" fmla="*/ 1445738 w 3135233"/>
                <a:gd name="connsiteY3187" fmla="*/ 453312 h 2493266"/>
                <a:gd name="connsiteX3188" fmla="*/ 1449932 w 3135233"/>
                <a:gd name="connsiteY3188" fmla="*/ 454940 h 2493266"/>
                <a:gd name="connsiteX3189" fmla="*/ 1464734 w 3135233"/>
                <a:gd name="connsiteY3189" fmla="*/ 451733 h 2493266"/>
                <a:gd name="connsiteX3190" fmla="*/ 1479537 w 3135233"/>
                <a:gd name="connsiteY3190" fmla="*/ 453312 h 2493266"/>
                <a:gd name="connsiteX3191" fmla="*/ 1487875 w 3135233"/>
                <a:gd name="connsiteY3191" fmla="*/ 456569 h 2493266"/>
                <a:gd name="connsiteX3192" fmla="*/ 1492020 w 3135233"/>
                <a:gd name="connsiteY3192" fmla="*/ 454940 h 2493266"/>
                <a:gd name="connsiteX3193" fmla="*/ 1489947 w 3135233"/>
                <a:gd name="connsiteY3193" fmla="*/ 451733 h 2493266"/>
                <a:gd name="connsiteX3194" fmla="*/ 1485754 w 3135233"/>
                <a:gd name="connsiteY3194" fmla="*/ 451733 h 2493266"/>
                <a:gd name="connsiteX3195" fmla="*/ 1479537 w 3135233"/>
                <a:gd name="connsiteY3195" fmla="*/ 448477 h 2493266"/>
                <a:gd name="connsiteX3196" fmla="*/ 1471198 w 3135233"/>
                <a:gd name="connsiteY3196" fmla="*/ 448477 h 2493266"/>
                <a:gd name="connsiteX3197" fmla="*/ 1456396 w 3135233"/>
                <a:gd name="connsiteY3197" fmla="*/ 443543 h 2493266"/>
                <a:gd name="connsiteX3198" fmla="*/ 1452251 w 3135233"/>
                <a:gd name="connsiteY3198" fmla="*/ 438609 h 2493266"/>
                <a:gd name="connsiteX3199" fmla="*/ 1460590 w 3135233"/>
                <a:gd name="connsiteY3199" fmla="*/ 433675 h 2493266"/>
                <a:gd name="connsiteX3200" fmla="*/ 1464734 w 3135233"/>
                <a:gd name="connsiteY3200" fmla="*/ 427211 h 2493266"/>
                <a:gd name="connsiteX3201" fmla="*/ 1468928 w 3135233"/>
                <a:gd name="connsiteY3201" fmla="*/ 425583 h 2493266"/>
                <a:gd name="connsiteX3202" fmla="*/ 1473073 w 3135233"/>
                <a:gd name="connsiteY3202" fmla="*/ 425583 h 2493266"/>
                <a:gd name="connsiteX3203" fmla="*/ 1481412 w 3135233"/>
                <a:gd name="connsiteY3203" fmla="*/ 420649 h 2493266"/>
                <a:gd name="connsiteX3204" fmla="*/ 1487678 w 3135233"/>
                <a:gd name="connsiteY3204" fmla="*/ 420649 h 2493266"/>
                <a:gd name="connsiteX3205" fmla="*/ 1491822 w 3135233"/>
                <a:gd name="connsiteY3205" fmla="*/ 423905 h 2493266"/>
                <a:gd name="connsiteX3206" fmla="*/ 1498089 w 3135233"/>
                <a:gd name="connsiteY3206" fmla="*/ 423905 h 2493266"/>
                <a:gd name="connsiteX3207" fmla="*/ 1504305 w 3135233"/>
                <a:gd name="connsiteY3207" fmla="*/ 430320 h 2493266"/>
                <a:gd name="connsiteX3208" fmla="*/ 1510572 w 3135233"/>
                <a:gd name="connsiteY3208" fmla="*/ 431948 h 2493266"/>
                <a:gd name="connsiteX3209" fmla="*/ 1506427 w 3135233"/>
                <a:gd name="connsiteY3209" fmla="*/ 425484 h 2493266"/>
                <a:gd name="connsiteX3210" fmla="*/ 1498089 w 3135233"/>
                <a:gd name="connsiteY3210" fmla="*/ 420550 h 2493266"/>
                <a:gd name="connsiteX3211" fmla="*/ 1498089 w 3135233"/>
                <a:gd name="connsiteY3211" fmla="*/ 415616 h 2493266"/>
                <a:gd name="connsiteX3212" fmla="*/ 1493895 w 3135233"/>
                <a:gd name="connsiteY3212" fmla="*/ 413988 h 2493266"/>
                <a:gd name="connsiteX3213" fmla="*/ 1498089 w 3135233"/>
                <a:gd name="connsiteY3213" fmla="*/ 409054 h 2493266"/>
                <a:gd name="connsiteX3214" fmla="*/ 1518910 w 3135233"/>
                <a:gd name="connsiteY3214" fmla="*/ 405847 h 2493266"/>
                <a:gd name="connsiteX3215" fmla="*/ 1525176 w 3135233"/>
                <a:gd name="connsiteY3215" fmla="*/ 407475 h 2493266"/>
                <a:gd name="connsiteX3216" fmla="*/ 1535587 w 3135233"/>
                <a:gd name="connsiteY3216" fmla="*/ 407475 h 2493266"/>
                <a:gd name="connsiteX3217" fmla="*/ 1543926 w 3135233"/>
                <a:gd name="connsiteY3217" fmla="*/ 412409 h 2493266"/>
                <a:gd name="connsiteX3218" fmla="*/ 1545998 w 3135233"/>
                <a:gd name="connsiteY3218" fmla="*/ 422277 h 2493266"/>
                <a:gd name="connsiteX3219" fmla="*/ 1539732 w 3135233"/>
                <a:gd name="connsiteY3219" fmla="*/ 425484 h 2493266"/>
                <a:gd name="connsiteX3220" fmla="*/ 1535587 w 3135233"/>
                <a:gd name="connsiteY3220" fmla="*/ 431948 h 2493266"/>
                <a:gd name="connsiteX3221" fmla="*/ 1537659 w 3135233"/>
                <a:gd name="connsiteY3221" fmla="*/ 438411 h 2493266"/>
                <a:gd name="connsiteX3222" fmla="*/ 1550143 w 3135233"/>
                <a:gd name="connsiteY3222" fmla="*/ 436783 h 2493266"/>
                <a:gd name="connsiteX3223" fmla="*/ 1554336 w 3135233"/>
                <a:gd name="connsiteY3223" fmla="*/ 435155 h 2493266"/>
                <a:gd name="connsiteX3224" fmla="*/ 1558481 w 3135233"/>
                <a:gd name="connsiteY3224" fmla="*/ 436783 h 2493266"/>
                <a:gd name="connsiteX3225" fmla="*/ 1564747 w 3135233"/>
                <a:gd name="connsiteY3225" fmla="*/ 436783 h 2493266"/>
                <a:gd name="connsiteX3226" fmla="*/ 1566820 w 3135233"/>
                <a:gd name="connsiteY3226" fmla="*/ 441717 h 2493266"/>
                <a:gd name="connsiteX3227" fmla="*/ 1566820 w 3135233"/>
                <a:gd name="connsiteY3227" fmla="*/ 444974 h 2493266"/>
                <a:gd name="connsiteX3228" fmla="*/ 1570964 w 3135233"/>
                <a:gd name="connsiteY3228" fmla="*/ 448181 h 2493266"/>
                <a:gd name="connsiteX3229" fmla="*/ 1570964 w 3135233"/>
                <a:gd name="connsiteY3229" fmla="*/ 453115 h 2493266"/>
                <a:gd name="connsiteX3230" fmla="*/ 1566820 w 3135233"/>
                <a:gd name="connsiteY3230" fmla="*/ 454743 h 2493266"/>
                <a:gd name="connsiteX3231" fmla="*/ 1564747 w 3135233"/>
                <a:gd name="connsiteY3231" fmla="*/ 459677 h 2493266"/>
                <a:gd name="connsiteX3232" fmla="*/ 1570964 w 3135233"/>
                <a:gd name="connsiteY3232" fmla="*/ 466141 h 2493266"/>
                <a:gd name="connsiteX3233" fmla="*/ 1570964 w 3135233"/>
                <a:gd name="connsiteY3233" fmla="*/ 479019 h 2493266"/>
                <a:gd name="connsiteX3234" fmla="*/ 1568892 w 3135233"/>
                <a:gd name="connsiteY3234" fmla="*/ 482275 h 2493266"/>
                <a:gd name="connsiteX3235" fmla="*/ 1560553 w 3135233"/>
                <a:gd name="connsiteY3235" fmla="*/ 480647 h 2493266"/>
                <a:gd name="connsiteX3236" fmla="*/ 1554336 w 3135233"/>
                <a:gd name="connsiteY3236" fmla="*/ 482275 h 2493266"/>
                <a:gd name="connsiteX3237" fmla="*/ 1556409 w 3135233"/>
                <a:gd name="connsiteY3237" fmla="*/ 487209 h 2493266"/>
                <a:gd name="connsiteX3238" fmla="*/ 1562626 w 3135233"/>
                <a:gd name="connsiteY3238" fmla="*/ 485581 h 2493266"/>
                <a:gd name="connsiteX3239" fmla="*/ 1570964 w 3135233"/>
                <a:gd name="connsiteY3239" fmla="*/ 488837 h 2493266"/>
                <a:gd name="connsiteX3240" fmla="*/ 1575059 w 3135233"/>
                <a:gd name="connsiteY3240" fmla="*/ 488837 h 2493266"/>
                <a:gd name="connsiteX3241" fmla="*/ 1570915 w 3135233"/>
                <a:gd name="connsiteY3241" fmla="*/ 501715 h 2493266"/>
                <a:gd name="connsiteX3242" fmla="*/ 1564698 w 3135233"/>
                <a:gd name="connsiteY3242" fmla="*/ 504972 h 2493266"/>
                <a:gd name="connsiteX3243" fmla="*/ 1564698 w 3135233"/>
                <a:gd name="connsiteY3243" fmla="*/ 516271 h 2493266"/>
                <a:gd name="connsiteX3244" fmla="*/ 1568843 w 3135233"/>
                <a:gd name="connsiteY3244" fmla="*/ 517849 h 2493266"/>
                <a:gd name="connsiteX3245" fmla="*/ 1577181 w 3135233"/>
                <a:gd name="connsiteY3245" fmla="*/ 516271 h 2493266"/>
                <a:gd name="connsiteX3246" fmla="*/ 1581375 w 3135233"/>
                <a:gd name="connsiteY3246" fmla="*/ 513014 h 2493266"/>
                <a:gd name="connsiteX3247" fmla="*/ 1583447 w 3135233"/>
                <a:gd name="connsiteY3247" fmla="*/ 514642 h 2493266"/>
                <a:gd name="connsiteX3248" fmla="*/ 1585470 w 3135233"/>
                <a:gd name="connsiteY3248" fmla="*/ 519576 h 2493266"/>
                <a:gd name="connsiteX3249" fmla="*/ 1598003 w 3135233"/>
                <a:gd name="connsiteY3249" fmla="*/ 519576 h 2493266"/>
                <a:gd name="connsiteX3250" fmla="*/ 1610486 w 3135233"/>
                <a:gd name="connsiteY3250" fmla="*/ 522783 h 2493266"/>
                <a:gd name="connsiteX3251" fmla="*/ 1616752 w 3135233"/>
                <a:gd name="connsiteY3251" fmla="*/ 529247 h 2493266"/>
                <a:gd name="connsiteX3252" fmla="*/ 1620897 w 3135233"/>
                <a:gd name="connsiteY3252" fmla="*/ 527668 h 2493266"/>
                <a:gd name="connsiteX3253" fmla="*/ 1620897 w 3135233"/>
                <a:gd name="connsiteY3253" fmla="*/ 524412 h 2493266"/>
                <a:gd name="connsiteX3254" fmla="*/ 1616752 w 3135233"/>
                <a:gd name="connsiteY3254" fmla="*/ 522783 h 2493266"/>
                <a:gd name="connsiteX3255" fmla="*/ 1629284 w 3135233"/>
                <a:gd name="connsiteY3255" fmla="*/ 517849 h 2493266"/>
                <a:gd name="connsiteX3256" fmla="*/ 1625091 w 3135233"/>
                <a:gd name="connsiteY3256" fmla="*/ 506550 h 2493266"/>
                <a:gd name="connsiteX3257" fmla="*/ 1618824 w 3135233"/>
                <a:gd name="connsiteY3257" fmla="*/ 500136 h 2493266"/>
                <a:gd name="connsiteX3258" fmla="*/ 1618824 w 3135233"/>
                <a:gd name="connsiteY3258" fmla="*/ 496880 h 2493266"/>
                <a:gd name="connsiteX3259" fmla="*/ 1614680 w 3135233"/>
                <a:gd name="connsiteY3259" fmla="*/ 491946 h 2493266"/>
                <a:gd name="connsiteX3260" fmla="*/ 1618824 w 3135233"/>
                <a:gd name="connsiteY3260" fmla="*/ 488739 h 2493266"/>
                <a:gd name="connsiteX3261" fmla="*/ 1623018 w 3135233"/>
                <a:gd name="connsiteY3261" fmla="*/ 488739 h 2493266"/>
                <a:gd name="connsiteX3262" fmla="*/ 1633429 w 3135233"/>
                <a:gd name="connsiteY3262" fmla="*/ 483805 h 2493266"/>
                <a:gd name="connsiteX3263" fmla="*/ 1641718 w 3135233"/>
                <a:gd name="connsiteY3263" fmla="*/ 485383 h 2493266"/>
                <a:gd name="connsiteX3264" fmla="*/ 1645912 w 3135233"/>
                <a:gd name="connsiteY3264" fmla="*/ 475515 h 2493266"/>
                <a:gd name="connsiteX3265" fmla="*/ 1639695 w 3135233"/>
                <a:gd name="connsiteY3265" fmla="*/ 467473 h 2493266"/>
                <a:gd name="connsiteX3266" fmla="*/ 1637574 w 3135233"/>
                <a:gd name="connsiteY3266" fmla="*/ 464216 h 2493266"/>
                <a:gd name="connsiteX3267" fmla="*/ 1637574 w 3135233"/>
                <a:gd name="connsiteY3267" fmla="*/ 458345 h 2493266"/>
                <a:gd name="connsiteX3268" fmla="*/ 1633429 w 3135233"/>
                <a:gd name="connsiteY3268" fmla="*/ 450302 h 2493266"/>
                <a:gd name="connsiteX3269" fmla="*/ 1639695 w 3135233"/>
                <a:gd name="connsiteY3269" fmla="*/ 442211 h 2493266"/>
                <a:gd name="connsiteX3270" fmla="*/ 1645912 w 3135233"/>
                <a:gd name="connsiteY3270" fmla="*/ 439004 h 2493266"/>
                <a:gd name="connsiteX3271" fmla="*/ 1650106 w 3135233"/>
                <a:gd name="connsiteY3271" fmla="*/ 440632 h 2493266"/>
                <a:gd name="connsiteX3272" fmla="*/ 1656323 w 3135233"/>
                <a:gd name="connsiteY3272" fmla="*/ 440632 h 2493266"/>
                <a:gd name="connsiteX3273" fmla="*/ 1656323 w 3135233"/>
                <a:gd name="connsiteY3273" fmla="*/ 437375 h 2493266"/>
                <a:gd name="connsiteX3274" fmla="*/ 1658395 w 3135233"/>
                <a:gd name="connsiteY3274" fmla="*/ 432441 h 2493266"/>
                <a:gd name="connsiteX3275" fmla="*/ 1666734 w 3135233"/>
                <a:gd name="connsiteY3275" fmla="*/ 429234 h 2493266"/>
                <a:gd name="connsiteX3276" fmla="*/ 1683411 w 3135233"/>
                <a:gd name="connsiteY3276" fmla="*/ 416307 h 2493266"/>
                <a:gd name="connsiteX3277" fmla="*/ 1687555 w 3135233"/>
                <a:gd name="connsiteY3277" fmla="*/ 416307 h 2493266"/>
                <a:gd name="connsiteX3278" fmla="*/ 1697966 w 3135233"/>
                <a:gd name="connsiteY3278" fmla="*/ 421241 h 2493266"/>
                <a:gd name="connsiteX3279" fmla="*/ 1695943 w 3135233"/>
                <a:gd name="connsiteY3279" fmla="*/ 424497 h 2493266"/>
                <a:gd name="connsiteX3280" fmla="*/ 1697966 w 3135233"/>
                <a:gd name="connsiteY3280" fmla="*/ 429431 h 2493266"/>
                <a:gd name="connsiteX3281" fmla="*/ 1695943 w 3135233"/>
                <a:gd name="connsiteY3281" fmla="*/ 434366 h 2493266"/>
                <a:gd name="connsiteX3282" fmla="*/ 1689677 w 3135233"/>
                <a:gd name="connsiteY3282" fmla="*/ 434366 h 2493266"/>
                <a:gd name="connsiteX3283" fmla="*/ 1685533 w 3135233"/>
                <a:gd name="connsiteY3283" fmla="*/ 437573 h 2493266"/>
                <a:gd name="connsiteX3284" fmla="*/ 1685533 w 3135233"/>
                <a:gd name="connsiteY3284" fmla="*/ 442507 h 2493266"/>
                <a:gd name="connsiteX3285" fmla="*/ 1683411 w 3135233"/>
                <a:gd name="connsiteY3285" fmla="*/ 448970 h 2493266"/>
                <a:gd name="connsiteX3286" fmla="*/ 1683411 w 3135233"/>
                <a:gd name="connsiteY3286" fmla="*/ 455434 h 2493266"/>
                <a:gd name="connsiteX3287" fmla="*/ 1685533 w 3135233"/>
                <a:gd name="connsiteY3287" fmla="*/ 458641 h 2493266"/>
                <a:gd name="connsiteX3288" fmla="*/ 1685533 w 3135233"/>
                <a:gd name="connsiteY3288" fmla="*/ 473196 h 2493266"/>
                <a:gd name="connsiteX3289" fmla="*/ 1683411 w 3135233"/>
                <a:gd name="connsiteY3289" fmla="*/ 476403 h 2493266"/>
                <a:gd name="connsiteX3290" fmla="*/ 1679217 w 3135233"/>
                <a:gd name="connsiteY3290" fmla="*/ 476403 h 2493266"/>
                <a:gd name="connsiteX3291" fmla="*/ 1668806 w 3135233"/>
                <a:gd name="connsiteY3291" fmla="*/ 482571 h 2493266"/>
                <a:gd name="connsiteX3292" fmla="*/ 1662589 w 3135233"/>
                <a:gd name="connsiteY3292" fmla="*/ 487505 h 2493266"/>
                <a:gd name="connsiteX3293" fmla="*/ 1662589 w 3135233"/>
                <a:gd name="connsiteY3293" fmla="*/ 489133 h 2493266"/>
                <a:gd name="connsiteX3294" fmla="*/ 1666734 w 3135233"/>
                <a:gd name="connsiteY3294" fmla="*/ 489133 h 2493266"/>
                <a:gd name="connsiteX3295" fmla="*/ 1673000 w 3135233"/>
                <a:gd name="connsiteY3295" fmla="*/ 487505 h 2493266"/>
                <a:gd name="connsiteX3296" fmla="*/ 1683411 w 3135233"/>
                <a:gd name="connsiteY3296" fmla="*/ 487505 h 2493266"/>
                <a:gd name="connsiteX3297" fmla="*/ 1685533 w 3135233"/>
                <a:gd name="connsiteY3297" fmla="*/ 490712 h 2493266"/>
                <a:gd name="connsiteX3298" fmla="*/ 1679217 w 3135233"/>
                <a:gd name="connsiteY3298" fmla="*/ 498804 h 2493266"/>
                <a:gd name="connsiteX3299" fmla="*/ 1668806 w 3135233"/>
                <a:gd name="connsiteY3299" fmla="*/ 503738 h 2493266"/>
                <a:gd name="connsiteX3300" fmla="*/ 1658395 w 3135233"/>
                <a:gd name="connsiteY3300" fmla="*/ 511781 h 2493266"/>
                <a:gd name="connsiteX3301" fmla="*/ 1656323 w 3135233"/>
                <a:gd name="connsiteY3301" fmla="*/ 516715 h 2493266"/>
                <a:gd name="connsiteX3302" fmla="*/ 1660517 w 3135233"/>
                <a:gd name="connsiteY3302" fmla="*/ 519922 h 2493266"/>
                <a:gd name="connsiteX3303" fmla="*/ 1662589 w 3135233"/>
                <a:gd name="connsiteY3303" fmla="*/ 514988 h 2493266"/>
                <a:gd name="connsiteX3304" fmla="*/ 1675072 w 3135233"/>
                <a:gd name="connsiteY3304" fmla="*/ 510054 h 2493266"/>
                <a:gd name="connsiteX3305" fmla="*/ 1679217 w 3135233"/>
                <a:gd name="connsiteY3305" fmla="*/ 505120 h 2493266"/>
                <a:gd name="connsiteX3306" fmla="*/ 1683411 w 3135233"/>
                <a:gd name="connsiteY3306" fmla="*/ 503491 h 2493266"/>
                <a:gd name="connsiteX3307" fmla="*/ 1693822 w 3135233"/>
                <a:gd name="connsiteY3307" fmla="*/ 508425 h 2493266"/>
                <a:gd name="connsiteX3308" fmla="*/ 1693822 w 3135233"/>
                <a:gd name="connsiteY3308" fmla="*/ 514889 h 2493266"/>
                <a:gd name="connsiteX3309" fmla="*/ 1687555 w 3135233"/>
                <a:gd name="connsiteY3309" fmla="*/ 524757 h 2493266"/>
                <a:gd name="connsiteX3310" fmla="*/ 1689677 w 3135233"/>
                <a:gd name="connsiteY3310" fmla="*/ 528014 h 2493266"/>
                <a:gd name="connsiteX3311" fmla="*/ 1695943 w 3135233"/>
                <a:gd name="connsiteY3311" fmla="*/ 521550 h 2493266"/>
                <a:gd name="connsiteX3312" fmla="*/ 1702160 w 3135233"/>
                <a:gd name="connsiteY3312" fmla="*/ 523129 h 2493266"/>
                <a:gd name="connsiteX3313" fmla="*/ 1702160 w 3135233"/>
                <a:gd name="connsiteY3313" fmla="*/ 516715 h 2493266"/>
                <a:gd name="connsiteX3314" fmla="*/ 1706354 w 3135233"/>
                <a:gd name="connsiteY3314" fmla="*/ 511781 h 2493266"/>
                <a:gd name="connsiteX3315" fmla="*/ 1706354 w 3135233"/>
                <a:gd name="connsiteY3315" fmla="*/ 505366 h 2493266"/>
                <a:gd name="connsiteX3316" fmla="*/ 1716765 w 3135233"/>
                <a:gd name="connsiteY3316" fmla="*/ 498903 h 2493266"/>
                <a:gd name="connsiteX3317" fmla="*/ 1722982 w 3135233"/>
                <a:gd name="connsiteY3317" fmla="*/ 498903 h 2493266"/>
                <a:gd name="connsiteX3318" fmla="*/ 1731320 w 3135233"/>
                <a:gd name="connsiteY3318" fmla="*/ 503837 h 2493266"/>
                <a:gd name="connsiteX3319" fmla="*/ 1735465 w 3135233"/>
                <a:gd name="connsiteY3319" fmla="*/ 513705 h 2493266"/>
                <a:gd name="connsiteX3320" fmla="*/ 1737587 w 3135233"/>
                <a:gd name="connsiteY3320" fmla="*/ 518639 h 2493266"/>
                <a:gd name="connsiteX3321" fmla="*/ 1735465 w 3135233"/>
                <a:gd name="connsiteY3321" fmla="*/ 526731 h 2493266"/>
                <a:gd name="connsiteX3322" fmla="*/ 1727176 w 3135233"/>
                <a:gd name="connsiteY3322" fmla="*/ 541237 h 2493266"/>
                <a:gd name="connsiteX3323" fmla="*/ 1718837 w 3135233"/>
                <a:gd name="connsiteY3323" fmla="*/ 547700 h 2493266"/>
                <a:gd name="connsiteX3324" fmla="*/ 1712571 w 3135233"/>
                <a:gd name="connsiteY3324" fmla="*/ 549329 h 2493266"/>
                <a:gd name="connsiteX3325" fmla="*/ 1706354 w 3135233"/>
                <a:gd name="connsiteY3325" fmla="*/ 550907 h 2493266"/>
                <a:gd name="connsiteX3326" fmla="*/ 1704232 w 3135233"/>
                <a:gd name="connsiteY3326" fmla="*/ 552536 h 2493266"/>
                <a:gd name="connsiteX3327" fmla="*/ 1706354 w 3135233"/>
                <a:gd name="connsiteY3327" fmla="*/ 557470 h 2493266"/>
                <a:gd name="connsiteX3328" fmla="*/ 1697966 w 3135233"/>
                <a:gd name="connsiteY3328" fmla="*/ 567338 h 2493266"/>
                <a:gd name="connsiteX3329" fmla="*/ 1693476 w 3135233"/>
                <a:gd name="connsiteY3329" fmla="*/ 567338 h 2493266"/>
                <a:gd name="connsiteX3330" fmla="*/ 1685187 w 3135233"/>
                <a:gd name="connsiteY3330" fmla="*/ 572272 h 2493266"/>
                <a:gd name="connsiteX3331" fmla="*/ 1685187 w 3135233"/>
                <a:gd name="connsiteY3331" fmla="*/ 577206 h 2493266"/>
                <a:gd name="connsiteX3332" fmla="*/ 1683066 w 3135233"/>
                <a:gd name="connsiteY3332" fmla="*/ 580413 h 2493266"/>
                <a:gd name="connsiteX3333" fmla="*/ 1678871 w 3135233"/>
                <a:gd name="connsiteY3333" fmla="*/ 580413 h 2493266"/>
                <a:gd name="connsiteX3334" fmla="*/ 1676799 w 3135233"/>
                <a:gd name="connsiteY3334" fmla="*/ 582041 h 2493266"/>
                <a:gd name="connsiteX3335" fmla="*/ 1676799 w 3135233"/>
                <a:gd name="connsiteY3335" fmla="*/ 585248 h 2493266"/>
                <a:gd name="connsiteX3336" fmla="*/ 1672655 w 3135233"/>
                <a:gd name="connsiteY3336" fmla="*/ 586877 h 2493266"/>
                <a:gd name="connsiteX3337" fmla="*/ 1668461 w 3135233"/>
                <a:gd name="connsiteY3337" fmla="*/ 583620 h 2493266"/>
                <a:gd name="connsiteX3338" fmla="*/ 1662244 w 3135233"/>
                <a:gd name="connsiteY3338" fmla="*/ 585248 h 2493266"/>
                <a:gd name="connsiteX3339" fmla="*/ 1655978 w 3135233"/>
                <a:gd name="connsiteY3339" fmla="*/ 585248 h 2493266"/>
                <a:gd name="connsiteX3340" fmla="*/ 1645567 w 3135233"/>
                <a:gd name="connsiteY3340" fmla="*/ 590182 h 2493266"/>
                <a:gd name="connsiteX3341" fmla="*/ 1635156 w 3135233"/>
                <a:gd name="connsiteY3341" fmla="*/ 590182 h 2493266"/>
                <a:gd name="connsiteX3342" fmla="*/ 1624745 w 3135233"/>
                <a:gd name="connsiteY3342" fmla="*/ 588603 h 2493266"/>
                <a:gd name="connsiteX3343" fmla="*/ 1622673 w 3135233"/>
                <a:gd name="connsiteY3343" fmla="*/ 583669 h 2493266"/>
                <a:gd name="connsiteX3344" fmla="*/ 1628939 w 3135233"/>
                <a:gd name="connsiteY3344" fmla="*/ 578735 h 2493266"/>
                <a:gd name="connsiteX3345" fmla="*/ 1626817 w 3135233"/>
                <a:gd name="connsiteY3345" fmla="*/ 575528 h 2493266"/>
                <a:gd name="connsiteX3346" fmla="*/ 1624745 w 3135233"/>
                <a:gd name="connsiteY3346" fmla="*/ 573900 h 2493266"/>
                <a:gd name="connsiteX3347" fmla="*/ 1616407 w 3135233"/>
                <a:gd name="connsiteY3347" fmla="*/ 577156 h 2493266"/>
                <a:gd name="connsiteX3348" fmla="*/ 1616407 w 3135233"/>
                <a:gd name="connsiteY3348" fmla="*/ 582091 h 2493266"/>
                <a:gd name="connsiteX3349" fmla="*/ 1610140 w 3135233"/>
                <a:gd name="connsiteY3349" fmla="*/ 583669 h 2493266"/>
                <a:gd name="connsiteX3350" fmla="*/ 1601851 w 3135233"/>
                <a:gd name="connsiteY3350" fmla="*/ 580462 h 2493266"/>
                <a:gd name="connsiteX3351" fmla="*/ 1601851 w 3135233"/>
                <a:gd name="connsiteY3351" fmla="*/ 577255 h 2493266"/>
                <a:gd name="connsiteX3352" fmla="*/ 1603923 w 3135233"/>
                <a:gd name="connsiteY3352" fmla="*/ 573999 h 2493266"/>
                <a:gd name="connsiteX3353" fmla="*/ 1601851 w 3135233"/>
                <a:gd name="connsiteY3353" fmla="*/ 569065 h 2493266"/>
                <a:gd name="connsiteX3354" fmla="*/ 1597657 w 3135233"/>
                <a:gd name="connsiteY3354" fmla="*/ 567436 h 2493266"/>
                <a:gd name="connsiteX3355" fmla="*/ 1597657 w 3135233"/>
                <a:gd name="connsiteY3355" fmla="*/ 570693 h 2493266"/>
                <a:gd name="connsiteX3356" fmla="*/ 1593513 w 3135233"/>
                <a:gd name="connsiteY3356" fmla="*/ 573900 h 2493266"/>
                <a:gd name="connsiteX3357" fmla="*/ 1587395 w 3135233"/>
                <a:gd name="connsiteY3357" fmla="*/ 573900 h 2493266"/>
                <a:gd name="connsiteX3358" fmla="*/ 1576984 w 3135233"/>
                <a:gd name="connsiteY3358" fmla="*/ 578834 h 2493266"/>
                <a:gd name="connsiteX3359" fmla="*/ 1572839 w 3135233"/>
                <a:gd name="connsiteY3359" fmla="*/ 580462 h 2493266"/>
                <a:gd name="connsiteX3360" fmla="*/ 1564501 w 3135233"/>
                <a:gd name="connsiteY3360" fmla="*/ 580462 h 2493266"/>
                <a:gd name="connsiteX3361" fmla="*/ 1562379 w 3135233"/>
                <a:gd name="connsiteY3361" fmla="*/ 578834 h 2493266"/>
                <a:gd name="connsiteX3362" fmla="*/ 1554090 w 3135233"/>
                <a:gd name="connsiteY3362" fmla="*/ 578834 h 2493266"/>
                <a:gd name="connsiteX3363" fmla="*/ 1547823 w 3135233"/>
                <a:gd name="connsiteY3363" fmla="*/ 577255 h 2493266"/>
                <a:gd name="connsiteX3364" fmla="*/ 1545751 w 3135233"/>
                <a:gd name="connsiteY3364" fmla="*/ 580462 h 2493266"/>
                <a:gd name="connsiteX3365" fmla="*/ 1541557 w 3135233"/>
                <a:gd name="connsiteY3365" fmla="*/ 580462 h 2493266"/>
                <a:gd name="connsiteX3366" fmla="*/ 1535341 w 3135233"/>
                <a:gd name="connsiteY3366" fmla="*/ 582091 h 2493266"/>
                <a:gd name="connsiteX3367" fmla="*/ 1535341 w 3135233"/>
                <a:gd name="connsiteY3367" fmla="*/ 587025 h 2493266"/>
                <a:gd name="connsiteX3368" fmla="*/ 1531146 w 3135233"/>
                <a:gd name="connsiteY3368" fmla="*/ 590232 h 2493266"/>
                <a:gd name="connsiteX3369" fmla="*/ 1522808 w 3135233"/>
                <a:gd name="connsiteY3369" fmla="*/ 590232 h 2493266"/>
                <a:gd name="connsiteX3370" fmla="*/ 1520736 w 3135233"/>
                <a:gd name="connsiteY3370" fmla="*/ 593488 h 2493266"/>
                <a:gd name="connsiteX3371" fmla="*/ 1512397 w 3135233"/>
                <a:gd name="connsiteY3371" fmla="*/ 595067 h 2493266"/>
                <a:gd name="connsiteX3372" fmla="*/ 1510325 w 3135233"/>
                <a:gd name="connsiteY3372" fmla="*/ 593488 h 2493266"/>
                <a:gd name="connsiteX3373" fmla="*/ 1504059 w 3135233"/>
                <a:gd name="connsiteY3373" fmla="*/ 596695 h 2493266"/>
                <a:gd name="connsiteX3374" fmla="*/ 1495769 w 3135233"/>
                <a:gd name="connsiteY3374" fmla="*/ 596695 h 2493266"/>
                <a:gd name="connsiteX3375" fmla="*/ 1493648 w 3135233"/>
                <a:gd name="connsiteY3375" fmla="*/ 593488 h 2493266"/>
                <a:gd name="connsiteX3376" fmla="*/ 1483237 w 3135233"/>
                <a:gd name="connsiteY3376" fmla="*/ 593488 h 2493266"/>
                <a:gd name="connsiteX3377" fmla="*/ 1472826 w 3135233"/>
                <a:gd name="connsiteY3377" fmla="*/ 596695 h 2493266"/>
                <a:gd name="connsiteX3378" fmla="*/ 1462415 w 3135233"/>
                <a:gd name="connsiteY3378" fmla="*/ 596695 h 2493266"/>
                <a:gd name="connsiteX3379" fmla="*/ 1452005 w 3135233"/>
                <a:gd name="connsiteY3379" fmla="*/ 591761 h 2493266"/>
                <a:gd name="connsiteX3380" fmla="*/ 1443666 w 3135233"/>
                <a:gd name="connsiteY3380" fmla="*/ 590133 h 2493266"/>
                <a:gd name="connsiteX3381" fmla="*/ 1437400 w 3135233"/>
                <a:gd name="connsiteY3381" fmla="*/ 583669 h 2493266"/>
                <a:gd name="connsiteX3382" fmla="*/ 1001823 w 3135233"/>
                <a:gd name="connsiteY3382" fmla="*/ 769535 h 2493266"/>
                <a:gd name="connsiteX3383" fmla="*/ 1001823 w 3135233"/>
                <a:gd name="connsiteY3383" fmla="*/ 758236 h 2493266"/>
                <a:gd name="connsiteX3384" fmla="*/ 1008090 w 3135233"/>
                <a:gd name="connsiteY3384" fmla="*/ 748367 h 2493266"/>
                <a:gd name="connsiteX3385" fmla="*/ 1003945 w 3135233"/>
                <a:gd name="connsiteY3385" fmla="*/ 740276 h 2493266"/>
                <a:gd name="connsiteX3386" fmla="*/ 1008090 w 3135233"/>
                <a:gd name="connsiteY3386" fmla="*/ 732233 h 2493266"/>
                <a:gd name="connsiteX3387" fmla="*/ 1008090 w 3135233"/>
                <a:gd name="connsiteY3387" fmla="*/ 724141 h 2493266"/>
                <a:gd name="connsiteX3388" fmla="*/ 1003945 w 3135233"/>
                <a:gd name="connsiteY3388" fmla="*/ 720934 h 2493266"/>
                <a:gd name="connsiteX3389" fmla="*/ 997777 w 3135233"/>
                <a:gd name="connsiteY3389" fmla="*/ 705244 h 2493266"/>
                <a:gd name="connsiteX3390" fmla="*/ 1006116 w 3135233"/>
                <a:gd name="connsiteY3390" fmla="*/ 706872 h 2493266"/>
                <a:gd name="connsiteX3391" fmla="*/ 1006116 w 3135233"/>
                <a:gd name="connsiteY3391" fmla="*/ 701938 h 2493266"/>
                <a:gd name="connsiteX3392" fmla="*/ 993633 w 3135233"/>
                <a:gd name="connsiteY3392" fmla="*/ 701938 h 2493266"/>
                <a:gd name="connsiteX3393" fmla="*/ 981100 w 3135233"/>
                <a:gd name="connsiteY3393" fmla="*/ 698731 h 2493266"/>
                <a:gd name="connsiteX3394" fmla="*/ 981100 w 3135233"/>
                <a:gd name="connsiteY3394" fmla="*/ 693797 h 2493266"/>
                <a:gd name="connsiteX3395" fmla="*/ 987367 w 3135233"/>
                <a:gd name="connsiteY3395" fmla="*/ 695425 h 2493266"/>
                <a:gd name="connsiteX3396" fmla="*/ 993633 w 3135233"/>
                <a:gd name="connsiteY3396" fmla="*/ 690491 h 2493266"/>
                <a:gd name="connsiteX3397" fmla="*/ 1004044 w 3135233"/>
                <a:gd name="connsiteY3397" fmla="*/ 685557 h 2493266"/>
                <a:gd name="connsiteX3398" fmla="*/ 1004044 w 3135233"/>
                <a:gd name="connsiteY3398" fmla="*/ 680623 h 2493266"/>
                <a:gd name="connsiteX3399" fmla="*/ 1008188 w 3135233"/>
                <a:gd name="connsiteY3399" fmla="*/ 680623 h 2493266"/>
                <a:gd name="connsiteX3400" fmla="*/ 1014454 w 3135233"/>
                <a:gd name="connsiteY3400" fmla="*/ 674160 h 2493266"/>
                <a:gd name="connsiteX3401" fmla="*/ 1020671 w 3135233"/>
                <a:gd name="connsiteY3401" fmla="*/ 674160 h 2493266"/>
                <a:gd name="connsiteX3402" fmla="*/ 1024865 w 3135233"/>
                <a:gd name="connsiteY3402" fmla="*/ 664292 h 2493266"/>
                <a:gd name="connsiteX3403" fmla="*/ 1037348 w 3135233"/>
                <a:gd name="connsiteY3403" fmla="*/ 662713 h 2493266"/>
                <a:gd name="connsiteX3404" fmla="*/ 1039421 w 3135233"/>
                <a:gd name="connsiteY3404" fmla="*/ 659456 h 2493266"/>
                <a:gd name="connsiteX3405" fmla="*/ 1043614 w 3135233"/>
                <a:gd name="connsiteY3405" fmla="*/ 657828 h 2493266"/>
                <a:gd name="connsiteX3406" fmla="*/ 1049831 w 3135233"/>
                <a:gd name="connsiteY3406" fmla="*/ 649785 h 2493266"/>
                <a:gd name="connsiteX3407" fmla="*/ 1051953 w 3135233"/>
                <a:gd name="connsiteY3407" fmla="*/ 639917 h 2493266"/>
                <a:gd name="connsiteX3408" fmla="*/ 1054025 w 3135233"/>
                <a:gd name="connsiteY3408" fmla="*/ 643125 h 2493266"/>
                <a:gd name="connsiteX3409" fmla="*/ 1072775 w 3135233"/>
                <a:gd name="connsiteY3409" fmla="*/ 644753 h 2493266"/>
                <a:gd name="connsiteX3410" fmla="*/ 1072775 w 3135233"/>
                <a:gd name="connsiteY3410" fmla="*/ 637450 h 2493266"/>
                <a:gd name="connsiteX3411" fmla="*/ 1068581 w 3135233"/>
                <a:gd name="connsiteY3411" fmla="*/ 627582 h 2493266"/>
                <a:gd name="connsiteX3412" fmla="*/ 1070703 w 3135233"/>
                <a:gd name="connsiteY3412" fmla="*/ 624375 h 2493266"/>
                <a:gd name="connsiteX3413" fmla="*/ 1076919 w 3135233"/>
                <a:gd name="connsiteY3413" fmla="*/ 621119 h 2493266"/>
                <a:gd name="connsiteX3414" fmla="*/ 1093596 w 3135233"/>
                <a:gd name="connsiteY3414" fmla="*/ 611251 h 2493266"/>
                <a:gd name="connsiteX3415" fmla="*/ 1099863 w 3135233"/>
                <a:gd name="connsiteY3415" fmla="*/ 603208 h 2493266"/>
                <a:gd name="connsiteX3416" fmla="*/ 1114418 w 3135233"/>
                <a:gd name="connsiteY3416" fmla="*/ 598274 h 2493266"/>
                <a:gd name="connsiteX3417" fmla="*/ 1118562 w 3135233"/>
                <a:gd name="connsiteY3417" fmla="*/ 591860 h 2493266"/>
                <a:gd name="connsiteX3418" fmla="*/ 1126901 w 3135233"/>
                <a:gd name="connsiteY3418" fmla="*/ 583768 h 2493266"/>
                <a:gd name="connsiteX3419" fmla="*/ 1135240 w 3135233"/>
                <a:gd name="connsiteY3419" fmla="*/ 583768 h 2493266"/>
                <a:gd name="connsiteX3420" fmla="*/ 1139434 w 3135233"/>
                <a:gd name="connsiteY3420" fmla="*/ 578834 h 2493266"/>
                <a:gd name="connsiteX3421" fmla="*/ 1135240 w 3135233"/>
                <a:gd name="connsiteY3421" fmla="*/ 573900 h 2493266"/>
                <a:gd name="connsiteX3422" fmla="*/ 1137312 w 3135233"/>
                <a:gd name="connsiteY3422" fmla="*/ 560973 h 2493266"/>
                <a:gd name="connsiteX3423" fmla="*/ 1137312 w 3135233"/>
                <a:gd name="connsiteY3423" fmla="*/ 553572 h 2493266"/>
                <a:gd name="connsiteX3424" fmla="*/ 1141506 w 3135233"/>
                <a:gd name="connsiteY3424" fmla="*/ 547108 h 2493266"/>
                <a:gd name="connsiteX3425" fmla="*/ 1137312 w 3135233"/>
                <a:gd name="connsiteY3425" fmla="*/ 543901 h 2493266"/>
                <a:gd name="connsiteX3426" fmla="*/ 1139434 w 3135233"/>
                <a:gd name="connsiteY3426" fmla="*/ 538967 h 2493266"/>
                <a:gd name="connsiteX3427" fmla="*/ 1151917 w 3135233"/>
                <a:gd name="connsiteY3427" fmla="*/ 535760 h 2493266"/>
                <a:gd name="connsiteX3428" fmla="*/ 1156061 w 3135233"/>
                <a:gd name="connsiteY3428" fmla="*/ 537388 h 2493266"/>
                <a:gd name="connsiteX3429" fmla="*/ 1179004 w 3135233"/>
                <a:gd name="connsiteY3429" fmla="*/ 535760 h 2493266"/>
                <a:gd name="connsiteX3430" fmla="*/ 1183149 w 3135233"/>
                <a:gd name="connsiteY3430" fmla="*/ 538967 h 2493266"/>
                <a:gd name="connsiteX3431" fmla="*/ 1208165 w 3135233"/>
                <a:gd name="connsiteY3431" fmla="*/ 538967 h 2493266"/>
                <a:gd name="connsiteX3432" fmla="*/ 1224743 w 3135233"/>
                <a:gd name="connsiteY3432" fmla="*/ 532849 h 2493266"/>
                <a:gd name="connsiteX3433" fmla="*/ 1243492 w 3135233"/>
                <a:gd name="connsiteY3433" fmla="*/ 537783 h 2493266"/>
                <a:gd name="connsiteX3434" fmla="*/ 1241420 w 3135233"/>
                <a:gd name="connsiteY3434" fmla="*/ 544246 h 2493266"/>
                <a:gd name="connsiteX3435" fmla="*/ 1247686 w 3135233"/>
                <a:gd name="connsiteY3435" fmla="*/ 547454 h 2493266"/>
                <a:gd name="connsiteX3436" fmla="*/ 1251831 w 3135233"/>
                <a:gd name="connsiteY3436" fmla="*/ 555496 h 2493266"/>
                <a:gd name="connsiteX3437" fmla="*/ 1270580 w 3135233"/>
                <a:gd name="connsiteY3437" fmla="*/ 563588 h 2493266"/>
                <a:gd name="connsiteX3438" fmla="*/ 1270580 w 3135233"/>
                <a:gd name="connsiteY3438" fmla="*/ 568522 h 2493266"/>
                <a:gd name="connsiteX3439" fmla="*/ 1266436 w 3135233"/>
                <a:gd name="connsiteY3439" fmla="*/ 573456 h 2493266"/>
                <a:gd name="connsiteX3440" fmla="*/ 1272653 w 3135233"/>
                <a:gd name="connsiteY3440" fmla="*/ 571828 h 2493266"/>
                <a:gd name="connsiteX3441" fmla="*/ 1278919 w 3135233"/>
                <a:gd name="connsiteY3441" fmla="*/ 568621 h 2493266"/>
                <a:gd name="connsiteX3442" fmla="*/ 1285185 w 3135233"/>
                <a:gd name="connsiteY3442" fmla="*/ 573555 h 2493266"/>
                <a:gd name="connsiteX3443" fmla="*/ 1283113 w 3135233"/>
                <a:gd name="connsiteY3443" fmla="*/ 581646 h 2493266"/>
                <a:gd name="connsiteX3444" fmla="*/ 1272653 w 3135233"/>
                <a:gd name="connsiteY3444" fmla="*/ 589689 h 2493266"/>
                <a:gd name="connsiteX3445" fmla="*/ 1274774 w 3135233"/>
                <a:gd name="connsiteY3445" fmla="*/ 592945 h 2493266"/>
                <a:gd name="connsiteX3446" fmla="*/ 1287257 w 3135233"/>
                <a:gd name="connsiteY3446" fmla="*/ 584854 h 2493266"/>
                <a:gd name="connsiteX3447" fmla="*/ 1287257 w 3135233"/>
                <a:gd name="connsiteY3447" fmla="*/ 577749 h 2493266"/>
                <a:gd name="connsiteX3448" fmla="*/ 1293523 w 3135233"/>
                <a:gd name="connsiteY3448" fmla="*/ 572815 h 2493266"/>
                <a:gd name="connsiteX3449" fmla="*/ 1303934 w 3135233"/>
                <a:gd name="connsiteY3449" fmla="*/ 574443 h 2493266"/>
                <a:gd name="connsiteX3450" fmla="*/ 1312273 w 3135233"/>
                <a:gd name="connsiteY3450" fmla="*/ 571186 h 2493266"/>
                <a:gd name="connsiteX3451" fmla="*/ 1316417 w 3135233"/>
                <a:gd name="connsiteY3451" fmla="*/ 572815 h 2493266"/>
                <a:gd name="connsiteX3452" fmla="*/ 1318490 w 3135233"/>
                <a:gd name="connsiteY3452" fmla="*/ 579278 h 2493266"/>
                <a:gd name="connsiteX3453" fmla="*/ 1333292 w 3135233"/>
                <a:gd name="connsiteY3453" fmla="*/ 590577 h 2493266"/>
                <a:gd name="connsiteX3454" fmla="*/ 1333292 w 3135233"/>
                <a:gd name="connsiteY3454" fmla="*/ 606859 h 2493266"/>
                <a:gd name="connsiteX3455" fmla="*/ 1331170 w 3135233"/>
                <a:gd name="connsiteY3455" fmla="*/ 611793 h 2493266"/>
                <a:gd name="connsiteX3456" fmla="*/ 1335364 w 3135233"/>
                <a:gd name="connsiteY3456" fmla="*/ 623092 h 2493266"/>
                <a:gd name="connsiteX3457" fmla="*/ 1335364 w 3135233"/>
                <a:gd name="connsiteY3457" fmla="*/ 631135 h 2493266"/>
                <a:gd name="connsiteX3458" fmla="*/ 1333292 w 3135233"/>
                <a:gd name="connsiteY3458" fmla="*/ 634391 h 2493266"/>
                <a:gd name="connsiteX3459" fmla="*/ 1337436 w 3135233"/>
                <a:gd name="connsiteY3459" fmla="*/ 637598 h 2493266"/>
                <a:gd name="connsiteX3460" fmla="*/ 1337436 w 3135233"/>
                <a:gd name="connsiteY3460" fmla="*/ 650526 h 2493266"/>
                <a:gd name="connsiteX3461" fmla="*/ 1331170 w 3135233"/>
                <a:gd name="connsiteY3461" fmla="*/ 656989 h 2493266"/>
                <a:gd name="connsiteX3462" fmla="*/ 1318687 w 3135233"/>
                <a:gd name="connsiteY3462" fmla="*/ 660196 h 2493266"/>
                <a:gd name="connsiteX3463" fmla="*/ 1312470 w 3135233"/>
                <a:gd name="connsiteY3463" fmla="*/ 663453 h 2493266"/>
                <a:gd name="connsiteX3464" fmla="*/ 1297668 w 3135233"/>
                <a:gd name="connsiteY3464" fmla="*/ 665032 h 2493266"/>
                <a:gd name="connsiteX3465" fmla="*/ 1287257 w 3135233"/>
                <a:gd name="connsiteY3465" fmla="*/ 663453 h 2493266"/>
                <a:gd name="connsiteX3466" fmla="*/ 1266436 w 3135233"/>
                <a:gd name="connsiteY3466" fmla="*/ 671495 h 2493266"/>
                <a:gd name="connsiteX3467" fmla="*/ 1253903 w 3135233"/>
                <a:gd name="connsiteY3467" fmla="*/ 673123 h 2493266"/>
                <a:gd name="connsiteX3468" fmla="*/ 1239101 w 3135233"/>
                <a:gd name="connsiteY3468" fmla="*/ 679587 h 2493266"/>
                <a:gd name="connsiteX3469" fmla="*/ 1232835 w 3135233"/>
                <a:gd name="connsiteY3469" fmla="*/ 679587 h 2493266"/>
                <a:gd name="connsiteX3470" fmla="*/ 1224496 w 3135233"/>
                <a:gd name="connsiteY3470" fmla="*/ 682794 h 2493266"/>
                <a:gd name="connsiteX3471" fmla="*/ 1212013 w 3135233"/>
                <a:gd name="connsiteY3471" fmla="*/ 684422 h 2493266"/>
                <a:gd name="connsiteX3472" fmla="*/ 1207869 w 3135233"/>
                <a:gd name="connsiteY3472" fmla="*/ 687630 h 2493266"/>
                <a:gd name="connsiteX3473" fmla="*/ 1203675 w 3135233"/>
                <a:gd name="connsiteY3473" fmla="*/ 682695 h 2493266"/>
                <a:gd name="connsiteX3474" fmla="*/ 1200073 w 3135233"/>
                <a:gd name="connsiteY3474" fmla="*/ 685804 h 2493266"/>
                <a:gd name="connsiteX3475" fmla="*/ 1187590 w 3135233"/>
                <a:gd name="connsiteY3475" fmla="*/ 687432 h 2493266"/>
                <a:gd name="connsiteX3476" fmla="*/ 1183297 w 3135233"/>
                <a:gd name="connsiteY3476" fmla="*/ 695672 h 2493266"/>
                <a:gd name="connsiteX3477" fmla="*/ 1177080 w 3135233"/>
                <a:gd name="connsiteY3477" fmla="*/ 702086 h 2493266"/>
                <a:gd name="connsiteX3478" fmla="*/ 1172886 w 3135233"/>
                <a:gd name="connsiteY3478" fmla="*/ 702086 h 2493266"/>
                <a:gd name="connsiteX3479" fmla="*/ 1170814 w 3135233"/>
                <a:gd name="connsiteY3479" fmla="*/ 710178 h 2493266"/>
                <a:gd name="connsiteX3480" fmla="*/ 1160403 w 3135233"/>
                <a:gd name="connsiteY3480" fmla="*/ 711806 h 2493266"/>
                <a:gd name="connsiteX3481" fmla="*/ 1154137 w 3135233"/>
                <a:gd name="connsiteY3481" fmla="*/ 718221 h 2493266"/>
                <a:gd name="connsiteX3482" fmla="*/ 1143726 w 3135233"/>
                <a:gd name="connsiteY3482" fmla="*/ 718221 h 2493266"/>
                <a:gd name="connsiteX3483" fmla="*/ 1137460 w 3135233"/>
                <a:gd name="connsiteY3483" fmla="*/ 710178 h 2493266"/>
                <a:gd name="connsiteX3484" fmla="*/ 1133315 w 3135233"/>
                <a:gd name="connsiteY3484" fmla="*/ 718221 h 2493266"/>
                <a:gd name="connsiteX3485" fmla="*/ 1131243 w 3135233"/>
                <a:gd name="connsiteY3485" fmla="*/ 723155 h 2493266"/>
                <a:gd name="connsiteX3486" fmla="*/ 1122904 w 3135233"/>
                <a:gd name="connsiteY3486" fmla="*/ 726411 h 2493266"/>
                <a:gd name="connsiteX3487" fmla="*/ 1114566 w 3135233"/>
                <a:gd name="connsiteY3487" fmla="*/ 734454 h 2493266"/>
                <a:gd name="connsiteX3488" fmla="*/ 1112494 w 3135233"/>
                <a:gd name="connsiteY3488" fmla="*/ 739388 h 2493266"/>
                <a:gd name="connsiteX3489" fmla="*/ 1104155 w 3135233"/>
                <a:gd name="connsiteY3489" fmla="*/ 747430 h 2493266"/>
                <a:gd name="connsiteX3490" fmla="*/ 1106227 w 3135233"/>
                <a:gd name="connsiteY3490" fmla="*/ 750637 h 2493266"/>
                <a:gd name="connsiteX3491" fmla="*/ 1095817 w 3135233"/>
                <a:gd name="connsiteY3491" fmla="*/ 760505 h 2493266"/>
                <a:gd name="connsiteX3492" fmla="*/ 1089550 w 3135233"/>
                <a:gd name="connsiteY3492" fmla="*/ 766919 h 2493266"/>
                <a:gd name="connsiteX3493" fmla="*/ 1079140 w 3135233"/>
                <a:gd name="connsiteY3493" fmla="*/ 765341 h 2493266"/>
                <a:gd name="connsiteX3494" fmla="*/ 1068729 w 3135233"/>
                <a:gd name="connsiteY3494" fmla="*/ 770275 h 2493266"/>
                <a:gd name="connsiteX3495" fmla="*/ 1062512 w 3135233"/>
                <a:gd name="connsiteY3495" fmla="*/ 770275 h 2493266"/>
                <a:gd name="connsiteX3496" fmla="*/ 1058318 w 3135233"/>
                <a:gd name="connsiteY3496" fmla="*/ 763811 h 2493266"/>
                <a:gd name="connsiteX3497" fmla="*/ 1064584 w 3135233"/>
                <a:gd name="connsiteY3497" fmla="*/ 760604 h 2493266"/>
                <a:gd name="connsiteX3498" fmla="*/ 1064584 w 3135233"/>
                <a:gd name="connsiteY3498" fmla="*/ 752512 h 2493266"/>
                <a:gd name="connsiteX3499" fmla="*/ 1060390 w 3135233"/>
                <a:gd name="connsiteY3499" fmla="*/ 749305 h 2493266"/>
                <a:gd name="connsiteX3500" fmla="*/ 1054173 w 3135233"/>
                <a:gd name="connsiteY3500" fmla="*/ 754239 h 2493266"/>
                <a:gd name="connsiteX3501" fmla="*/ 1054173 w 3135233"/>
                <a:gd name="connsiteY3501" fmla="*/ 757446 h 2493266"/>
                <a:gd name="connsiteX3502" fmla="*/ 1049980 w 3135233"/>
                <a:gd name="connsiteY3502" fmla="*/ 759074 h 2493266"/>
                <a:gd name="connsiteX3503" fmla="*/ 1039568 w 3135233"/>
                <a:gd name="connsiteY3503" fmla="*/ 767117 h 2493266"/>
                <a:gd name="connsiteX3504" fmla="*/ 1029158 w 3135233"/>
                <a:gd name="connsiteY3504" fmla="*/ 768745 h 2493266"/>
                <a:gd name="connsiteX3505" fmla="*/ 1022941 w 3135233"/>
                <a:gd name="connsiteY3505" fmla="*/ 768745 h 2493266"/>
                <a:gd name="connsiteX3506" fmla="*/ 1016675 w 3135233"/>
                <a:gd name="connsiteY3506" fmla="*/ 770373 h 2493266"/>
                <a:gd name="connsiteX3507" fmla="*/ 1010408 w 3135233"/>
                <a:gd name="connsiteY3507" fmla="*/ 775307 h 2493266"/>
                <a:gd name="connsiteX3508" fmla="*/ 1006264 w 3135233"/>
                <a:gd name="connsiteY3508" fmla="*/ 773679 h 2493266"/>
                <a:gd name="connsiteX3509" fmla="*/ 1002070 w 3135233"/>
                <a:gd name="connsiteY3509" fmla="*/ 773679 h 2493266"/>
                <a:gd name="connsiteX3510" fmla="*/ 1920442 w 3135233"/>
                <a:gd name="connsiteY3510" fmla="*/ 677811 h 2493266"/>
                <a:gd name="connsiteX3511" fmla="*/ 1922563 w 3135233"/>
                <a:gd name="connsiteY3511" fmla="*/ 679439 h 2493266"/>
                <a:gd name="connsiteX3512" fmla="*/ 1924636 w 3135233"/>
                <a:gd name="connsiteY3512" fmla="*/ 682646 h 2493266"/>
                <a:gd name="connsiteX3513" fmla="*/ 1922563 w 3135233"/>
                <a:gd name="connsiteY3513" fmla="*/ 689110 h 2493266"/>
                <a:gd name="connsiteX3514" fmla="*/ 1920442 w 3135233"/>
                <a:gd name="connsiteY3514" fmla="*/ 690738 h 2493266"/>
                <a:gd name="connsiteX3515" fmla="*/ 1918419 w 3135233"/>
                <a:gd name="connsiteY3515" fmla="*/ 687531 h 2493266"/>
                <a:gd name="connsiteX3516" fmla="*/ 1916495 w 3135233"/>
                <a:gd name="connsiteY3516" fmla="*/ 680870 h 2493266"/>
                <a:gd name="connsiteX3517" fmla="*/ 1849639 w 3135233"/>
                <a:gd name="connsiteY3517" fmla="*/ 677811 h 2493266"/>
                <a:gd name="connsiteX3518" fmla="*/ 1853783 w 3135233"/>
                <a:gd name="connsiteY3518" fmla="*/ 671347 h 2493266"/>
                <a:gd name="connsiteX3519" fmla="*/ 1862171 w 3135233"/>
                <a:gd name="connsiteY3519" fmla="*/ 668140 h 2493266"/>
                <a:gd name="connsiteX3520" fmla="*/ 1866316 w 3135233"/>
                <a:gd name="connsiteY3520" fmla="*/ 671347 h 2493266"/>
                <a:gd name="connsiteX3521" fmla="*/ 1864243 w 3135233"/>
                <a:gd name="connsiteY3521" fmla="*/ 676281 h 2493266"/>
                <a:gd name="connsiteX3522" fmla="*/ 1860049 w 3135233"/>
                <a:gd name="connsiteY3522" fmla="*/ 676281 h 2493266"/>
                <a:gd name="connsiteX3523" fmla="*/ 1853783 w 3135233"/>
                <a:gd name="connsiteY3523" fmla="*/ 679538 h 2493266"/>
                <a:gd name="connsiteX3524" fmla="*/ 1780907 w 3135233"/>
                <a:gd name="connsiteY3524" fmla="*/ 711708 h 2493266"/>
                <a:gd name="connsiteX3525" fmla="*/ 1783029 w 3135233"/>
                <a:gd name="connsiteY3525" fmla="*/ 716642 h 2493266"/>
                <a:gd name="connsiteX3526" fmla="*/ 1791318 w 3135233"/>
                <a:gd name="connsiteY3526" fmla="*/ 718221 h 2493266"/>
                <a:gd name="connsiteX3527" fmla="*/ 1801729 w 3135233"/>
                <a:gd name="connsiteY3527" fmla="*/ 724684 h 2493266"/>
                <a:gd name="connsiteX3528" fmla="*/ 1803851 w 3135233"/>
                <a:gd name="connsiteY3528" fmla="*/ 721477 h 2493266"/>
                <a:gd name="connsiteX3529" fmla="*/ 1810068 w 3135233"/>
                <a:gd name="connsiteY3529" fmla="*/ 723056 h 2493266"/>
                <a:gd name="connsiteX3530" fmla="*/ 1820478 w 3135233"/>
                <a:gd name="connsiteY3530" fmla="*/ 719849 h 2493266"/>
                <a:gd name="connsiteX3531" fmla="*/ 1824672 w 3135233"/>
                <a:gd name="connsiteY3531" fmla="*/ 721477 h 2493266"/>
                <a:gd name="connsiteX3532" fmla="*/ 1830889 w 3135233"/>
                <a:gd name="connsiteY3532" fmla="*/ 719849 h 2493266"/>
                <a:gd name="connsiteX3533" fmla="*/ 1835083 w 3135233"/>
                <a:gd name="connsiteY3533" fmla="*/ 714915 h 2493266"/>
                <a:gd name="connsiteX3534" fmla="*/ 1843372 w 3135233"/>
                <a:gd name="connsiteY3534" fmla="*/ 716543 h 2493266"/>
                <a:gd name="connsiteX3535" fmla="*/ 1843372 w 3135233"/>
                <a:gd name="connsiteY3535" fmla="*/ 711609 h 2493266"/>
                <a:gd name="connsiteX3536" fmla="*/ 1832962 w 3135233"/>
                <a:gd name="connsiteY3536" fmla="*/ 705145 h 2493266"/>
                <a:gd name="connsiteX3537" fmla="*/ 1826745 w 3135233"/>
                <a:gd name="connsiteY3537" fmla="*/ 708353 h 2493266"/>
                <a:gd name="connsiteX3538" fmla="*/ 1818406 w 3135233"/>
                <a:gd name="connsiteY3538" fmla="*/ 709981 h 2493266"/>
                <a:gd name="connsiteX3539" fmla="*/ 1814261 w 3135233"/>
                <a:gd name="connsiteY3539" fmla="*/ 708353 h 2493266"/>
                <a:gd name="connsiteX3540" fmla="*/ 1807995 w 3135233"/>
                <a:gd name="connsiteY3540" fmla="*/ 711609 h 2493266"/>
                <a:gd name="connsiteX3541" fmla="*/ 1797535 w 3135233"/>
                <a:gd name="connsiteY3541" fmla="*/ 706675 h 2493266"/>
                <a:gd name="connsiteX3542" fmla="*/ 1791318 w 3135233"/>
                <a:gd name="connsiteY3542" fmla="*/ 711609 h 2493266"/>
                <a:gd name="connsiteX3543" fmla="*/ 1780907 w 3135233"/>
                <a:gd name="connsiteY3543" fmla="*/ 711609 h 2493266"/>
                <a:gd name="connsiteX3544" fmla="*/ 1739264 w 3135233"/>
                <a:gd name="connsiteY3544" fmla="*/ 927917 h 2493266"/>
                <a:gd name="connsiteX3545" fmla="*/ 1737192 w 3135233"/>
                <a:gd name="connsiteY3545" fmla="*/ 926289 h 2493266"/>
                <a:gd name="connsiteX3546" fmla="*/ 1739264 w 3135233"/>
                <a:gd name="connsiteY3546" fmla="*/ 921355 h 2493266"/>
                <a:gd name="connsiteX3547" fmla="*/ 1741336 w 3135233"/>
                <a:gd name="connsiteY3547" fmla="*/ 921355 h 2493266"/>
                <a:gd name="connsiteX3548" fmla="*/ 1741336 w 3135233"/>
                <a:gd name="connsiteY3548" fmla="*/ 926289 h 2493266"/>
                <a:gd name="connsiteX3549" fmla="*/ 1697572 w 3135233"/>
                <a:gd name="connsiteY3549" fmla="*/ 921453 h 2493266"/>
                <a:gd name="connsiteX3550" fmla="*/ 1693427 w 3135233"/>
                <a:gd name="connsiteY3550" fmla="*/ 918197 h 2493266"/>
                <a:gd name="connsiteX3551" fmla="*/ 1691355 w 3135233"/>
                <a:gd name="connsiteY3551" fmla="*/ 911783 h 2493266"/>
                <a:gd name="connsiteX3552" fmla="*/ 1689282 w 3135233"/>
                <a:gd name="connsiteY3552" fmla="*/ 908526 h 2493266"/>
                <a:gd name="connsiteX3553" fmla="*/ 1685138 w 3135233"/>
                <a:gd name="connsiteY3553" fmla="*/ 911783 h 2493266"/>
                <a:gd name="connsiteX3554" fmla="*/ 1683016 w 3135233"/>
                <a:gd name="connsiteY3554" fmla="*/ 908526 h 2493266"/>
                <a:gd name="connsiteX3555" fmla="*/ 1685138 w 3135233"/>
                <a:gd name="connsiteY3555" fmla="*/ 903592 h 2493266"/>
                <a:gd name="connsiteX3556" fmla="*/ 1683016 w 3135233"/>
                <a:gd name="connsiteY3556" fmla="*/ 897129 h 2493266"/>
                <a:gd name="connsiteX3557" fmla="*/ 1678822 w 3135233"/>
                <a:gd name="connsiteY3557" fmla="*/ 892195 h 2493266"/>
                <a:gd name="connsiteX3558" fmla="*/ 1683016 w 3135233"/>
                <a:gd name="connsiteY3558" fmla="*/ 885731 h 2493266"/>
                <a:gd name="connsiteX3559" fmla="*/ 1680944 w 3135233"/>
                <a:gd name="connsiteY3559" fmla="*/ 875863 h 2493266"/>
                <a:gd name="connsiteX3560" fmla="*/ 1683016 w 3135233"/>
                <a:gd name="connsiteY3560" fmla="*/ 872656 h 2493266"/>
                <a:gd name="connsiteX3561" fmla="*/ 1678822 w 3135233"/>
                <a:gd name="connsiteY3561" fmla="*/ 869399 h 2493266"/>
                <a:gd name="connsiteX3562" fmla="*/ 1674678 w 3135233"/>
                <a:gd name="connsiteY3562" fmla="*/ 864465 h 2493266"/>
                <a:gd name="connsiteX3563" fmla="*/ 1674678 w 3135233"/>
                <a:gd name="connsiteY3563" fmla="*/ 859531 h 2493266"/>
                <a:gd name="connsiteX3564" fmla="*/ 1668806 w 3135233"/>
                <a:gd name="connsiteY3564" fmla="*/ 853561 h 2493266"/>
                <a:gd name="connsiteX3565" fmla="*/ 1670928 w 3135233"/>
                <a:gd name="connsiteY3565" fmla="*/ 843693 h 2493266"/>
                <a:gd name="connsiteX3566" fmla="*/ 1664661 w 3135233"/>
                <a:gd name="connsiteY3566" fmla="*/ 835651 h 2493266"/>
                <a:gd name="connsiteX3567" fmla="*/ 1662589 w 3135233"/>
                <a:gd name="connsiteY3567" fmla="*/ 835651 h 2493266"/>
                <a:gd name="connsiteX3568" fmla="*/ 1660517 w 3135233"/>
                <a:gd name="connsiteY3568" fmla="*/ 834022 h 2493266"/>
                <a:gd name="connsiteX3569" fmla="*/ 1660517 w 3135233"/>
                <a:gd name="connsiteY3569" fmla="*/ 825931 h 2493266"/>
                <a:gd name="connsiteX3570" fmla="*/ 1656323 w 3135233"/>
                <a:gd name="connsiteY3570" fmla="*/ 824352 h 2493266"/>
                <a:gd name="connsiteX3571" fmla="*/ 1650106 w 3135233"/>
                <a:gd name="connsiteY3571" fmla="*/ 827559 h 2493266"/>
                <a:gd name="connsiteX3572" fmla="*/ 1647985 w 3135233"/>
                <a:gd name="connsiteY3572" fmla="*/ 825931 h 2493266"/>
                <a:gd name="connsiteX3573" fmla="*/ 1641718 w 3135233"/>
                <a:gd name="connsiteY3573" fmla="*/ 825931 h 2493266"/>
                <a:gd name="connsiteX3574" fmla="*/ 1639695 w 3135233"/>
                <a:gd name="connsiteY3574" fmla="*/ 822723 h 2493266"/>
                <a:gd name="connsiteX3575" fmla="*/ 1639695 w 3135233"/>
                <a:gd name="connsiteY3575" fmla="*/ 816556 h 2493266"/>
                <a:gd name="connsiteX3576" fmla="*/ 1645912 w 3135233"/>
                <a:gd name="connsiteY3576" fmla="*/ 813349 h 2493266"/>
                <a:gd name="connsiteX3577" fmla="*/ 1647985 w 3135233"/>
                <a:gd name="connsiteY3577" fmla="*/ 805257 h 2493266"/>
                <a:gd name="connsiteX3578" fmla="*/ 1643840 w 3135233"/>
                <a:gd name="connsiteY3578" fmla="*/ 800323 h 2493266"/>
                <a:gd name="connsiteX3579" fmla="*/ 1645912 w 3135233"/>
                <a:gd name="connsiteY3579" fmla="*/ 797116 h 2493266"/>
                <a:gd name="connsiteX3580" fmla="*/ 1645912 w 3135233"/>
                <a:gd name="connsiteY3580" fmla="*/ 785817 h 2493266"/>
                <a:gd name="connsiteX3581" fmla="*/ 1643840 w 3135233"/>
                <a:gd name="connsiteY3581" fmla="*/ 782610 h 2493266"/>
                <a:gd name="connsiteX3582" fmla="*/ 1652129 w 3135233"/>
                <a:gd name="connsiteY3582" fmla="*/ 772742 h 2493266"/>
                <a:gd name="connsiteX3583" fmla="*/ 1658395 w 3135233"/>
                <a:gd name="connsiteY3583" fmla="*/ 771163 h 2493266"/>
                <a:gd name="connsiteX3584" fmla="*/ 1662589 w 3135233"/>
                <a:gd name="connsiteY3584" fmla="*/ 766229 h 2493266"/>
                <a:gd name="connsiteX3585" fmla="*/ 1664661 w 3135233"/>
                <a:gd name="connsiteY3585" fmla="*/ 766229 h 2493266"/>
                <a:gd name="connsiteX3586" fmla="*/ 1666734 w 3135233"/>
                <a:gd name="connsiteY3586" fmla="*/ 767857 h 2493266"/>
                <a:gd name="connsiteX3587" fmla="*/ 1677145 w 3135233"/>
                <a:gd name="connsiteY3587" fmla="*/ 766229 h 2493266"/>
                <a:gd name="connsiteX3588" fmla="*/ 1683411 w 3135233"/>
                <a:gd name="connsiteY3588" fmla="*/ 767857 h 2493266"/>
                <a:gd name="connsiteX3589" fmla="*/ 1687555 w 3135233"/>
                <a:gd name="connsiteY3589" fmla="*/ 771113 h 2493266"/>
                <a:gd name="connsiteX3590" fmla="*/ 1685533 w 3135233"/>
                <a:gd name="connsiteY3590" fmla="*/ 774321 h 2493266"/>
                <a:gd name="connsiteX3591" fmla="*/ 1681338 w 3135233"/>
                <a:gd name="connsiteY3591" fmla="*/ 774321 h 2493266"/>
                <a:gd name="connsiteX3592" fmla="*/ 1681338 w 3135233"/>
                <a:gd name="connsiteY3592" fmla="*/ 777528 h 2493266"/>
                <a:gd name="connsiteX3593" fmla="*/ 1687555 w 3135233"/>
                <a:gd name="connsiteY3593" fmla="*/ 779156 h 2493266"/>
                <a:gd name="connsiteX3594" fmla="*/ 1687555 w 3135233"/>
                <a:gd name="connsiteY3594" fmla="*/ 787248 h 2493266"/>
                <a:gd name="connsiteX3595" fmla="*/ 1695943 w 3135233"/>
                <a:gd name="connsiteY3595" fmla="*/ 795290 h 2493266"/>
                <a:gd name="connsiteX3596" fmla="*/ 1695943 w 3135233"/>
                <a:gd name="connsiteY3596" fmla="*/ 801754 h 2493266"/>
                <a:gd name="connsiteX3597" fmla="*/ 1700088 w 3135233"/>
                <a:gd name="connsiteY3597" fmla="*/ 806688 h 2493266"/>
                <a:gd name="connsiteX3598" fmla="*/ 1708278 w 3135233"/>
                <a:gd name="connsiteY3598" fmla="*/ 806688 h 2493266"/>
                <a:gd name="connsiteX3599" fmla="*/ 1710400 w 3135233"/>
                <a:gd name="connsiteY3599" fmla="*/ 805060 h 2493266"/>
                <a:gd name="connsiteX3600" fmla="*/ 1710400 w 3135233"/>
                <a:gd name="connsiteY3600" fmla="*/ 800126 h 2493266"/>
                <a:gd name="connsiteX3601" fmla="*/ 1712472 w 3135233"/>
                <a:gd name="connsiteY3601" fmla="*/ 796918 h 2493266"/>
                <a:gd name="connsiteX3602" fmla="*/ 1718739 w 3135233"/>
                <a:gd name="connsiteY3602" fmla="*/ 790455 h 2493266"/>
                <a:gd name="connsiteX3603" fmla="*/ 1716666 w 3135233"/>
                <a:gd name="connsiteY3603" fmla="*/ 787248 h 2493266"/>
                <a:gd name="connsiteX3604" fmla="*/ 1720811 w 3135233"/>
                <a:gd name="connsiteY3604" fmla="*/ 782314 h 2493266"/>
                <a:gd name="connsiteX3605" fmla="*/ 1722883 w 3135233"/>
                <a:gd name="connsiteY3605" fmla="*/ 777380 h 2493266"/>
                <a:gd name="connsiteX3606" fmla="*/ 1720811 w 3135233"/>
                <a:gd name="connsiteY3606" fmla="*/ 772446 h 2493266"/>
                <a:gd name="connsiteX3607" fmla="*/ 1722883 w 3135233"/>
                <a:gd name="connsiteY3607" fmla="*/ 769238 h 2493266"/>
                <a:gd name="connsiteX3608" fmla="*/ 1729149 w 3135233"/>
                <a:gd name="connsiteY3608" fmla="*/ 769238 h 2493266"/>
                <a:gd name="connsiteX3609" fmla="*/ 1733294 w 3135233"/>
                <a:gd name="connsiteY3609" fmla="*/ 770867 h 2493266"/>
                <a:gd name="connsiteX3610" fmla="*/ 1737488 w 3135233"/>
                <a:gd name="connsiteY3610" fmla="*/ 775801 h 2493266"/>
                <a:gd name="connsiteX3611" fmla="*/ 1741632 w 3135233"/>
                <a:gd name="connsiteY3611" fmla="*/ 775801 h 2493266"/>
                <a:gd name="connsiteX3612" fmla="*/ 1741632 w 3135233"/>
                <a:gd name="connsiteY3612" fmla="*/ 772544 h 2493266"/>
                <a:gd name="connsiteX3613" fmla="*/ 1735366 w 3135233"/>
                <a:gd name="connsiteY3613" fmla="*/ 766081 h 2493266"/>
                <a:gd name="connsiteX3614" fmla="*/ 1735366 w 3135233"/>
                <a:gd name="connsiteY3614" fmla="*/ 759666 h 2493266"/>
                <a:gd name="connsiteX3615" fmla="*/ 1733294 w 3135233"/>
                <a:gd name="connsiteY3615" fmla="*/ 759666 h 2493266"/>
                <a:gd name="connsiteX3616" fmla="*/ 1729149 w 3135233"/>
                <a:gd name="connsiteY3616" fmla="*/ 764600 h 2493266"/>
                <a:gd name="connsiteX3617" fmla="*/ 1720811 w 3135233"/>
                <a:gd name="connsiteY3617" fmla="*/ 766179 h 2493266"/>
                <a:gd name="connsiteX3618" fmla="*/ 1714545 w 3135233"/>
                <a:gd name="connsiteY3618" fmla="*/ 758137 h 2493266"/>
                <a:gd name="connsiteX3619" fmla="*/ 1714545 w 3135233"/>
                <a:gd name="connsiteY3619" fmla="*/ 754930 h 2493266"/>
                <a:gd name="connsiteX3620" fmla="*/ 1708278 w 3135233"/>
                <a:gd name="connsiteY3620" fmla="*/ 748812 h 2493266"/>
                <a:gd name="connsiteX3621" fmla="*/ 1708278 w 3135233"/>
                <a:gd name="connsiteY3621" fmla="*/ 740720 h 2493266"/>
                <a:gd name="connsiteX3622" fmla="*/ 1712472 w 3135233"/>
                <a:gd name="connsiteY3622" fmla="*/ 737513 h 2493266"/>
                <a:gd name="connsiteX3623" fmla="*/ 1718739 w 3135233"/>
                <a:gd name="connsiteY3623" fmla="*/ 737513 h 2493266"/>
                <a:gd name="connsiteX3624" fmla="*/ 1720811 w 3135233"/>
                <a:gd name="connsiteY3624" fmla="*/ 732579 h 2493266"/>
                <a:gd name="connsiteX3625" fmla="*/ 1724955 w 3135233"/>
                <a:gd name="connsiteY3625" fmla="*/ 735786 h 2493266"/>
                <a:gd name="connsiteX3626" fmla="*/ 1729149 w 3135233"/>
                <a:gd name="connsiteY3626" fmla="*/ 740720 h 2493266"/>
                <a:gd name="connsiteX3627" fmla="*/ 1731222 w 3135233"/>
                <a:gd name="connsiteY3627" fmla="*/ 753647 h 2493266"/>
                <a:gd name="connsiteX3628" fmla="*/ 1733294 w 3135233"/>
                <a:gd name="connsiteY3628" fmla="*/ 753647 h 2493266"/>
                <a:gd name="connsiteX3629" fmla="*/ 1735366 w 3135233"/>
                <a:gd name="connsiteY3629" fmla="*/ 747183 h 2493266"/>
                <a:gd name="connsiteX3630" fmla="*/ 1737488 w 3135233"/>
                <a:gd name="connsiteY3630" fmla="*/ 743976 h 2493266"/>
                <a:gd name="connsiteX3631" fmla="*/ 1737488 w 3135233"/>
                <a:gd name="connsiteY3631" fmla="*/ 737513 h 2493266"/>
                <a:gd name="connsiteX3632" fmla="*/ 1731222 w 3135233"/>
                <a:gd name="connsiteY3632" fmla="*/ 735884 h 2493266"/>
                <a:gd name="connsiteX3633" fmla="*/ 1731222 w 3135233"/>
                <a:gd name="connsiteY3633" fmla="*/ 729421 h 2493266"/>
                <a:gd name="connsiteX3634" fmla="*/ 1729149 w 3135233"/>
                <a:gd name="connsiteY3634" fmla="*/ 722957 h 2493266"/>
                <a:gd name="connsiteX3635" fmla="*/ 1733294 w 3135233"/>
                <a:gd name="connsiteY3635" fmla="*/ 721378 h 2493266"/>
                <a:gd name="connsiteX3636" fmla="*/ 1735366 w 3135233"/>
                <a:gd name="connsiteY3636" fmla="*/ 714915 h 2493266"/>
                <a:gd name="connsiteX3637" fmla="*/ 1741632 w 3135233"/>
                <a:gd name="connsiteY3637" fmla="*/ 713287 h 2493266"/>
                <a:gd name="connsiteX3638" fmla="*/ 1745777 w 3135233"/>
                <a:gd name="connsiteY3638" fmla="*/ 714915 h 2493266"/>
                <a:gd name="connsiteX3639" fmla="*/ 1747899 w 3135233"/>
                <a:gd name="connsiteY3639" fmla="*/ 713287 h 2493266"/>
                <a:gd name="connsiteX3640" fmla="*/ 1754115 w 3135233"/>
                <a:gd name="connsiteY3640" fmla="*/ 721378 h 2493266"/>
                <a:gd name="connsiteX3641" fmla="*/ 1762454 w 3135233"/>
                <a:gd name="connsiteY3641" fmla="*/ 722957 h 2493266"/>
                <a:gd name="connsiteX3642" fmla="*/ 1764526 w 3135233"/>
                <a:gd name="connsiteY3642" fmla="*/ 716543 h 2493266"/>
                <a:gd name="connsiteX3643" fmla="*/ 1758310 w 3135233"/>
                <a:gd name="connsiteY3643" fmla="*/ 716543 h 2493266"/>
                <a:gd name="connsiteX3644" fmla="*/ 1756188 w 3135233"/>
                <a:gd name="connsiteY3644" fmla="*/ 714915 h 2493266"/>
                <a:gd name="connsiteX3645" fmla="*/ 1758310 w 3135233"/>
                <a:gd name="connsiteY3645" fmla="*/ 711708 h 2493266"/>
                <a:gd name="connsiteX3646" fmla="*/ 1764526 w 3135233"/>
                <a:gd name="connsiteY3646" fmla="*/ 710079 h 2493266"/>
                <a:gd name="connsiteX3647" fmla="*/ 1772865 w 3135233"/>
                <a:gd name="connsiteY3647" fmla="*/ 710079 h 2493266"/>
                <a:gd name="connsiteX3648" fmla="*/ 1774987 w 3135233"/>
                <a:gd name="connsiteY3648" fmla="*/ 713287 h 2493266"/>
                <a:gd name="connsiteX3649" fmla="*/ 1772865 w 3135233"/>
                <a:gd name="connsiteY3649" fmla="*/ 714915 h 2493266"/>
                <a:gd name="connsiteX3650" fmla="*/ 1772865 w 3135233"/>
                <a:gd name="connsiteY3650" fmla="*/ 719849 h 2493266"/>
                <a:gd name="connsiteX3651" fmla="*/ 1777009 w 3135233"/>
                <a:gd name="connsiteY3651" fmla="*/ 721477 h 2493266"/>
                <a:gd name="connsiteX3652" fmla="*/ 1783325 w 3135233"/>
                <a:gd name="connsiteY3652" fmla="*/ 727941 h 2493266"/>
                <a:gd name="connsiteX3653" fmla="*/ 1789542 w 3135233"/>
                <a:gd name="connsiteY3653" fmla="*/ 726312 h 2493266"/>
                <a:gd name="connsiteX3654" fmla="*/ 1795808 w 3135233"/>
                <a:gd name="connsiteY3654" fmla="*/ 729520 h 2493266"/>
                <a:gd name="connsiteX3655" fmla="*/ 1804147 w 3135233"/>
                <a:gd name="connsiteY3655" fmla="*/ 729520 h 2493266"/>
                <a:gd name="connsiteX3656" fmla="*/ 1808291 w 3135233"/>
                <a:gd name="connsiteY3656" fmla="*/ 726312 h 2493266"/>
                <a:gd name="connsiteX3657" fmla="*/ 1812436 w 3135233"/>
                <a:gd name="connsiteY3657" fmla="*/ 727941 h 2493266"/>
                <a:gd name="connsiteX3658" fmla="*/ 1831185 w 3135233"/>
                <a:gd name="connsiteY3658" fmla="*/ 727941 h 2493266"/>
                <a:gd name="connsiteX3659" fmla="*/ 1835379 w 3135233"/>
                <a:gd name="connsiteY3659" fmla="*/ 732875 h 2493266"/>
                <a:gd name="connsiteX3660" fmla="*/ 1839524 w 3135233"/>
                <a:gd name="connsiteY3660" fmla="*/ 732875 h 2493266"/>
                <a:gd name="connsiteX3661" fmla="*/ 1841645 w 3135233"/>
                <a:gd name="connsiteY3661" fmla="*/ 736082 h 2493266"/>
                <a:gd name="connsiteX3662" fmla="*/ 1841645 w 3135233"/>
                <a:gd name="connsiteY3662" fmla="*/ 744174 h 2493266"/>
                <a:gd name="connsiteX3663" fmla="*/ 1839524 w 3135233"/>
                <a:gd name="connsiteY3663" fmla="*/ 749108 h 2493266"/>
                <a:gd name="connsiteX3664" fmla="*/ 1829113 w 3135233"/>
                <a:gd name="connsiteY3664" fmla="*/ 754042 h 2493266"/>
                <a:gd name="connsiteX3665" fmla="*/ 1824968 w 3135233"/>
                <a:gd name="connsiteY3665" fmla="*/ 750785 h 2493266"/>
                <a:gd name="connsiteX3666" fmla="*/ 1822847 w 3135233"/>
                <a:gd name="connsiteY3666" fmla="*/ 749206 h 2493266"/>
                <a:gd name="connsiteX3667" fmla="*/ 1818702 w 3135233"/>
                <a:gd name="connsiteY3667" fmla="*/ 752413 h 2493266"/>
                <a:gd name="connsiteX3668" fmla="*/ 1814557 w 3135233"/>
                <a:gd name="connsiteY3668" fmla="*/ 752413 h 2493266"/>
                <a:gd name="connsiteX3669" fmla="*/ 1816630 w 3135233"/>
                <a:gd name="connsiteY3669" fmla="*/ 755670 h 2493266"/>
                <a:gd name="connsiteX3670" fmla="*/ 1824968 w 3135233"/>
                <a:gd name="connsiteY3670" fmla="*/ 760604 h 2493266"/>
                <a:gd name="connsiteX3671" fmla="*/ 1822847 w 3135233"/>
                <a:gd name="connsiteY3671" fmla="*/ 763811 h 2493266"/>
                <a:gd name="connsiteX3672" fmla="*/ 1820774 w 3135233"/>
                <a:gd name="connsiteY3672" fmla="*/ 771903 h 2493266"/>
                <a:gd name="connsiteX3673" fmla="*/ 1816630 w 3135233"/>
                <a:gd name="connsiteY3673" fmla="*/ 773482 h 2493266"/>
                <a:gd name="connsiteX3674" fmla="*/ 1814557 w 3135233"/>
                <a:gd name="connsiteY3674" fmla="*/ 771903 h 2493266"/>
                <a:gd name="connsiteX3675" fmla="*/ 1808291 w 3135233"/>
                <a:gd name="connsiteY3675" fmla="*/ 771903 h 2493266"/>
                <a:gd name="connsiteX3676" fmla="*/ 1802025 w 3135233"/>
                <a:gd name="connsiteY3676" fmla="*/ 773482 h 2493266"/>
                <a:gd name="connsiteX3677" fmla="*/ 1799953 w 3135233"/>
                <a:gd name="connsiteY3677" fmla="*/ 776738 h 2493266"/>
                <a:gd name="connsiteX3678" fmla="*/ 1785397 w 3135233"/>
                <a:gd name="connsiteY3678" fmla="*/ 779945 h 2493266"/>
                <a:gd name="connsiteX3679" fmla="*/ 1777009 w 3135233"/>
                <a:gd name="connsiteY3679" fmla="*/ 784879 h 2493266"/>
                <a:gd name="connsiteX3680" fmla="*/ 1772865 w 3135233"/>
                <a:gd name="connsiteY3680" fmla="*/ 786508 h 2493266"/>
                <a:gd name="connsiteX3681" fmla="*/ 1766599 w 3135233"/>
                <a:gd name="connsiteY3681" fmla="*/ 792971 h 2493266"/>
                <a:gd name="connsiteX3682" fmla="*/ 1766599 w 3135233"/>
                <a:gd name="connsiteY3682" fmla="*/ 797905 h 2493266"/>
                <a:gd name="connsiteX3683" fmla="*/ 1772865 w 3135233"/>
                <a:gd name="connsiteY3683" fmla="*/ 796277 h 2493266"/>
                <a:gd name="connsiteX3684" fmla="*/ 1774987 w 3135233"/>
                <a:gd name="connsiteY3684" fmla="*/ 794649 h 2493266"/>
                <a:gd name="connsiteX3685" fmla="*/ 1785397 w 3135233"/>
                <a:gd name="connsiteY3685" fmla="*/ 791442 h 2493266"/>
                <a:gd name="connsiteX3686" fmla="*/ 1789542 w 3135233"/>
                <a:gd name="connsiteY3686" fmla="*/ 791442 h 2493266"/>
                <a:gd name="connsiteX3687" fmla="*/ 1799953 w 3135233"/>
                <a:gd name="connsiteY3687" fmla="*/ 796376 h 2493266"/>
                <a:gd name="connsiteX3688" fmla="*/ 1802025 w 3135233"/>
                <a:gd name="connsiteY3688" fmla="*/ 802839 h 2493266"/>
                <a:gd name="connsiteX3689" fmla="*/ 1797831 w 3135233"/>
                <a:gd name="connsiteY3689" fmla="*/ 804468 h 2493266"/>
                <a:gd name="connsiteX3690" fmla="*/ 1793736 w 3135233"/>
                <a:gd name="connsiteY3690" fmla="*/ 806046 h 2493266"/>
                <a:gd name="connsiteX3691" fmla="*/ 1797831 w 3135233"/>
                <a:gd name="connsiteY3691" fmla="*/ 807675 h 2493266"/>
                <a:gd name="connsiteX3692" fmla="*/ 1799953 w 3135233"/>
                <a:gd name="connsiteY3692" fmla="*/ 812609 h 2493266"/>
                <a:gd name="connsiteX3693" fmla="*/ 1799953 w 3135233"/>
                <a:gd name="connsiteY3693" fmla="*/ 817543 h 2493266"/>
                <a:gd name="connsiteX3694" fmla="*/ 1793736 w 3135233"/>
                <a:gd name="connsiteY3694" fmla="*/ 820799 h 2493266"/>
                <a:gd name="connsiteX3695" fmla="*/ 1793736 w 3135233"/>
                <a:gd name="connsiteY3695" fmla="*/ 827213 h 2493266"/>
                <a:gd name="connsiteX3696" fmla="*/ 1795808 w 3135233"/>
                <a:gd name="connsiteY3696" fmla="*/ 830470 h 2493266"/>
                <a:gd name="connsiteX3697" fmla="*/ 1799953 w 3135233"/>
                <a:gd name="connsiteY3697" fmla="*/ 824006 h 2493266"/>
                <a:gd name="connsiteX3698" fmla="*/ 1808291 w 3135233"/>
                <a:gd name="connsiteY3698" fmla="*/ 820799 h 2493266"/>
                <a:gd name="connsiteX3699" fmla="*/ 1810364 w 3135233"/>
                <a:gd name="connsiteY3699" fmla="*/ 817543 h 2493266"/>
                <a:gd name="connsiteX3700" fmla="*/ 1814557 w 3135233"/>
                <a:gd name="connsiteY3700" fmla="*/ 819171 h 2493266"/>
                <a:gd name="connsiteX3701" fmla="*/ 1810364 w 3135233"/>
                <a:gd name="connsiteY3701" fmla="*/ 822378 h 2493266"/>
                <a:gd name="connsiteX3702" fmla="*/ 1812436 w 3135233"/>
                <a:gd name="connsiteY3702" fmla="*/ 832246 h 2493266"/>
                <a:gd name="connsiteX3703" fmla="*/ 1808291 w 3135233"/>
                <a:gd name="connsiteY3703" fmla="*/ 840289 h 2493266"/>
                <a:gd name="connsiteX3704" fmla="*/ 1808291 w 3135233"/>
                <a:gd name="connsiteY3704" fmla="*/ 846752 h 2493266"/>
                <a:gd name="connsiteX3705" fmla="*/ 1795808 w 3135233"/>
                <a:gd name="connsiteY3705" fmla="*/ 853216 h 2493266"/>
                <a:gd name="connsiteX3706" fmla="*/ 1789542 w 3135233"/>
                <a:gd name="connsiteY3706" fmla="*/ 853216 h 2493266"/>
                <a:gd name="connsiteX3707" fmla="*/ 1787420 w 3135233"/>
                <a:gd name="connsiteY3707" fmla="*/ 856423 h 2493266"/>
                <a:gd name="connsiteX3708" fmla="*/ 1789542 w 3135233"/>
                <a:gd name="connsiteY3708" fmla="*/ 859679 h 2493266"/>
                <a:gd name="connsiteX3709" fmla="*/ 1787420 w 3135233"/>
                <a:gd name="connsiteY3709" fmla="*/ 867722 h 2493266"/>
                <a:gd name="connsiteX3710" fmla="*/ 1783325 w 3135233"/>
                <a:gd name="connsiteY3710" fmla="*/ 867722 h 2493266"/>
                <a:gd name="connsiteX3711" fmla="*/ 1781204 w 3135233"/>
                <a:gd name="connsiteY3711" fmla="*/ 866094 h 2493266"/>
                <a:gd name="connsiteX3712" fmla="*/ 1777009 w 3135233"/>
                <a:gd name="connsiteY3712" fmla="*/ 867722 h 2493266"/>
                <a:gd name="connsiteX3713" fmla="*/ 1777009 w 3135233"/>
                <a:gd name="connsiteY3713" fmla="*/ 870929 h 2493266"/>
                <a:gd name="connsiteX3714" fmla="*/ 1785397 w 3135233"/>
                <a:gd name="connsiteY3714" fmla="*/ 874185 h 2493266"/>
                <a:gd name="connsiteX3715" fmla="*/ 1783325 w 3135233"/>
                <a:gd name="connsiteY3715" fmla="*/ 877393 h 2493266"/>
                <a:gd name="connsiteX3716" fmla="*/ 1777009 w 3135233"/>
                <a:gd name="connsiteY3716" fmla="*/ 877393 h 2493266"/>
                <a:gd name="connsiteX3717" fmla="*/ 1781204 w 3135233"/>
                <a:gd name="connsiteY3717" fmla="*/ 883856 h 2493266"/>
                <a:gd name="connsiteX3718" fmla="*/ 1772865 w 3135233"/>
                <a:gd name="connsiteY3718" fmla="*/ 890320 h 2493266"/>
                <a:gd name="connsiteX3719" fmla="*/ 1770793 w 3135233"/>
                <a:gd name="connsiteY3719" fmla="*/ 887063 h 2493266"/>
                <a:gd name="connsiteX3720" fmla="*/ 1766599 w 3135233"/>
                <a:gd name="connsiteY3720" fmla="*/ 890320 h 2493266"/>
                <a:gd name="connsiteX3721" fmla="*/ 1758310 w 3135233"/>
                <a:gd name="connsiteY3721" fmla="*/ 890320 h 2493266"/>
                <a:gd name="connsiteX3722" fmla="*/ 1749971 w 3135233"/>
                <a:gd name="connsiteY3722" fmla="*/ 893527 h 2493266"/>
                <a:gd name="connsiteX3723" fmla="*/ 1749971 w 3135233"/>
                <a:gd name="connsiteY3723" fmla="*/ 898461 h 2493266"/>
                <a:gd name="connsiteX3724" fmla="*/ 1741632 w 3135233"/>
                <a:gd name="connsiteY3724" fmla="*/ 900089 h 2493266"/>
                <a:gd name="connsiteX3725" fmla="*/ 1733294 w 3135233"/>
                <a:gd name="connsiteY3725" fmla="*/ 895155 h 2493266"/>
                <a:gd name="connsiteX3726" fmla="*/ 1724955 w 3135233"/>
                <a:gd name="connsiteY3726" fmla="*/ 898362 h 2493266"/>
                <a:gd name="connsiteX3727" fmla="*/ 1720811 w 3135233"/>
                <a:gd name="connsiteY3727" fmla="*/ 898362 h 2493266"/>
                <a:gd name="connsiteX3728" fmla="*/ 1718739 w 3135233"/>
                <a:gd name="connsiteY3728" fmla="*/ 885484 h 2493266"/>
                <a:gd name="connsiteX3729" fmla="*/ 1724955 w 3135233"/>
                <a:gd name="connsiteY3729" fmla="*/ 877393 h 2493266"/>
                <a:gd name="connsiteX3730" fmla="*/ 1724955 w 3135233"/>
                <a:gd name="connsiteY3730" fmla="*/ 873297 h 2493266"/>
                <a:gd name="connsiteX3731" fmla="*/ 1712472 w 3135233"/>
                <a:gd name="connsiteY3731" fmla="*/ 883165 h 2493266"/>
                <a:gd name="connsiteX3732" fmla="*/ 1712472 w 3135233"/>
                <a:gd name="connsiteY3732" fmla="*/ 888099 h 2493266"/>
                <a:gd name="connsiteX3733" fmla="*/ 1716666 w 3135233"/>
                <a:gd name="connsiteY3733" fmla="*/ 901027 h 2493266"/>
                <a:gd name="connsiteX3734" fmla="*/ 1720811 w 3135233"/>
                <a:gd name="connsiteY3734" fmla="*/ 904234 h 2493266"/>
                <a:gd name="connsiteX3735" fmla="*/ 1718739 w 3135233"/>
                <a:gd name="connsiteY3735" fmla="*/ 909168 h 2493266"/>
                <a:gd name="connsiteX3736" fmla="*/ 1710400 w 3135233"/>
                <a:gd name="connsiteY3736" fmla="*/ 914102 h 2493266"/>
                <a:gd name="connsiteX3737" fmla="*/ 1706256 w 3135233"/>
                <a:gd name="connsiteY3737" fmla="*/ 920565 h 2493266"/>
                <a:gd name="connsiteX3738" fmla="*/ 1818406 w 3135233"/>
                <a:gd name="connsiteY3738" fmla="*/ 777824 h 2493266"/>
                <a:gd name="connsiteX3739" fmla="*/ 1816334 w 3135233"/>
                <a:gd name="connsiteY3739" fmla="*/ 781080 h 2493266"/>
                <a:gd name="connsiteX3740" fmla="*/ 1820478 w 3135233"/>
                <a:gd name="connsiteY3740" fmla="*/ 781080 h 2493266"/>
                <a:gd name="connsiteX3741" fmla="*/ 1822550 w 3135233"/>
                <a:gd name="connsiteY3741" fmla="*/ 777824 h 2493266"/>
                <a:gd name="connsiteX3742" fmla="*/ 1812140 w 3135233"/>
                <a:gd name="connsiteY3742" fmla="*/ 803678 h 2493266"/>
                <a:gd name="connsiteX3743" fmla="*/ 1816334 w 3135233"/>
                <a:gd name="connsiteY3743" fmla="*/ 802050 h 2493266"/>
                <a:gd name="connsiteX3744" fmla="*/ 1822550 w 3135233"/>
                <a:gd name="connsiteY3744" fmla="*/ 795586 h 2493266"/>
                <a:gd name="connsiteX3745" fmla="*/ 1822550 w 3135233"/>
                <a:gd name="connsiteY3745" fmla="*/ 792379 h 2493266"/>
                <a:gd name="connsiteX3746" fmla="*/ 1820478 w 3135233"/>
                <a:gd name="connsiteY3746" fmla="*/ 789123 h 2493266"/>
                <a:gd name="connsiteX3747" fmla="*/ 1818406 w 3135233"/>
                <a:gd name="connsiteY3747" fmla="*/ 784189 h 2493266"/>
                <a:gd name="connsiteX3748" fmla="*/ 1814261 w 3135233"/>
                <a:gd name="connsiteY3748" fmla="*/ 785817 h 2493266"/>
                <a:gd name="connsiteX3749" fmla="*/ 1812140 w 3135233"/>
                <a:gd name="connsiteY3749" fmla="*/ 790751 h 2493266"/>
                <a:gd name="connsiteX3750" fmla="*/ 1807995 w 3135233"/>
                <a:gd name="connsiteY3750" fmla="*/ 792379 h 2493266"/>
                <a:gd name="connsiteX3751" fmla="*/ 1810068 w 3135233"/>
                <a:gd name="connsiteY3751" fmla="*/ 800422 h 2493266"/>
                <a:gd name="connsiteX3752" fmla="*/ 1807995 w 3135233"/>
                <a:gd name="connsiteY3752" fmla="*/ 816556 h 2493266"/>
                <a:gd name="connsiteX3753" fmla="*/ 1812140 w 3135233"/>
                <a:gd name="connsiteY3753" fmla="*/ 814977 h 2493266"/>
                <a:gd name="connsiteX3754" fmla="*/ 1814261 w 3135233"/>
                <a:gd name="connsiteY3754" fmla="*/ 806885 h 2493266"/>
                <a:gd name="connsiteX3755" fmla="*/ 1810068 w 3135233"/>
                <a:gd name="connsiteY3755" fmla="*/ 806885 h 2493266"/>
                <a:gd name="connsiteX3756" fmla="*/ 1803851 w 3135233"/>
                <a:gd name="connsiteY3756" fmla="*/ 810092 h 2493266"/>
                <a:gd name="connsiteX3757" fmla="*/ 1803851 w 3135233"/>
                <a:gd name="connsiteY3757" fmla="*/ 815026 h 2493266"/>
                <a:gd name="connsiteX3758" fmla="*/ 1533021 w 3135233"/>
                <a:gd name="connsiteY3758" fmla="*/ 684274 h 2493266"/>
                <a:gd name="connsiteX3759" fmla="*/ 1533021 w 3135233"/>
                <a:gd name="connsiteY3759" fmla="*/ 687482 h 2493266"/>
                <a:gd name="connsiteX3760" fmla="*/ 1535143 w 3135233"/>
                <a:gd name="connsiteY3760" fmla="*/ 689110 h 2493266"/>
                <a:gd name="connsiteX3761" fmla="*/ 1539288 w 3135233"/>
                <a:gd name="connsiteY3761" fmla="*/ 687482 h 2493266"/>
                <a:gd name="connsiteX3762" fmla="*/ 1545554 w 3135233"/>
                <a:gd name="connsiteY3762" fmla="*/ 690689 h 2493266"/>
                <a:gd name="connsiteX3763" fmla="*/ 1547626 w 3135233"/>
                <a:gd name="connsiteY3763" fmla="*/ 687482 h 2493266"/>
                <a:gd name="connsiteX3764" fmla="*/ 1543481 w 3135233"/>
                <a:gd name="connsiteY3764" fmla="*/ 684274 h 2493266"/>
                <a:gd name="connsiteX3765" fmla="*/ 1535143 w 3135233"/>
                <a:gd name="connsiteY3765" fmla="*/ 682646 h 2493266"/>
                <a:gd name="connsiteX3766" fmla="*/ 1578859 w 3135233"/>
                <a:gd name="connsiteY3766" fmla="*/ 761689 h 2493266"/>
                <a:gd name="connsiteX3767" fmla="*/ 1574665 w 3135233"/>
                <a:gd name="connsiteY3767" fmla="*/ 755275 h 2493266"/>
                <a:gd name="connsiteX3768" fmla="*/ 1572642 w 3135233"/>
                <a:gd name="connsiteY3768" fmla="*/ 742348 h 2493266"/>
                <a:gd name="connsiteX3769" fmla="*/ 1568448 w 3135233"/>
                <a:gd name="connsiteY3769" fmla="*/ 737414 h 2493266"/>
                <a:gd name="connsiteX3770" fmla="*/ 1568448 w 3135233"/>
                <a:gd name="connsiteY3770" fmla="*/ 732480 h 2493266"/>
                <a:gd name="connsiteX3771" fmla="*/ 1570520 w 3135233"/>
                <a:gd name="connsiteY3771" fmla="*/ 727546 h 2493266"/>
                <a:gd name="connsiteX3772" fmla="*/ 1568448 w 3135233"/>
                <a:gd name="connsiteY3772" fmla="*/ 721082 h 2493266"/>
                <a:gd name="connsiteX3773" fmla="*/ 1568448 w 3135233"/>
                <a:gd name="connsiteY3773" fmla="*/ 714915 h 2493266"/>
                <a:gd name="connsiteX3774" fmla="*/ 1562182 w 3135233"/>
                <a:gd name="connsiteY3774" fmla="*/ 706872 h 2493266"/>
                <a:gd name="connsiteX3775" fmla="*/ 1555965 w 3135233"/>
                <a:gd name="connsiteY3775" fmla="*/ 701938 h 2493266"/>
                <a:gd name="connsiteX3776" fmla="*/ 1555965 w 3135233"/>
                <a:gd name="connsiteY3776" fmla="*/ 698731 h 2493266"/>
                <a:gd name="connsiteX3777" fmla="*/ 1568448 w 3135233"/>
                <a:gd name="connsiteY3777" fmla="*/ 692268 h 2493266"/>
                <a:gd name="connsiteX3778" fmla="*/ 1572642 w 3135233"/>
                <a:gd name="connsiteY3778" fmla="*/ 689060 h 2493266"/>
                <a:gd name="connsiteX3779" fmla="*/ 1580980 w 3135233"/>
                <a:gd name="connsiteY3779" fmla="*/ 684126 h 2493266"/>
                <a:gd name="connsiteX3780" fmla="*/ 1589269 w 3135233"/>
                <a:gd name="connsiteY3780" fmla="*/ 682498 h 2493266"/>
                <a:gd name="connsiteX3781" fmla="*/ 1595536 w 3135233"/>
                <a:gd name="connsiteY3781" fmla="*/ 687432 h 2493266"/>
                <a:gd name="connsiteX3782" fmla="*/ 1599730 w 3135233"/>
                <a:gd name="connsiteY3782" fmla="*/ 687432 h 2493266"/>
                <a:gd name="connsiteX3783" fmla="*/ 1605996 w 3135233"/>
                <a:gd name="connsiteY3783" fmla="*/ 690639 h 2493266"/>
                <a:gd name="connsiteX3784" fmla="*/ 1610140 w 3135233"/>
                <a:gd name="connsiteY3784" fmla="*/ 689060 h 2493266"/>
                <a:gd name="connsiteX3785" fmla="*/ 1618479 w 3135233"/>
                <a:gd name="connsiteY3785" fmla="*/ 692268 h 2493266"/>
                <a:gd name="connsiteX3786" fmla="*/ 1622673 w 3135233"/>
                <a:gd name="connsiteY3786" fmla="*/ 690639 h 2493266"/>
                <a:gd name="connsiteX3787" fmla="*/ 1626817 w 3135233"/>
                <a:gd name="connsiteY3787" fmla="*/ 690639 h 2493266"/>
                <a:gd name="connsiteX3788" fmla="*/ 1633084 w 3135233"/>
                <a:gd name="connsiteY3788" fmla="*/ 698731 h 2493266"/>
                <a:gd name="connsiteX3789" fmla="*/ 1633084 w 3135233"/>
                <a:gd name="connsiteY3789" fmla="*/ 703665 h 2493266"/>
                <a:gd name="connsiteX3790" fmla="*/ 1630962 w 3135233"/>
                <a:gd name="connsiteY3790" fmla="*/ 706922 h 2493266"/>
                <a:gd name="connsiteX3791" fmla="*/ 1635156 w 3135233"/>
                <a:gd name="connsiteY3791" fmla="*/ 713336 h 2493266"/>
                <a:gd name="connsiteX3792" fmla="*/ 1635156 w 3135233"/>
                <a:gd name="connsiteY3792" fmla="*/ 716592 h 2493266"/>
                <a:gd name="connsiteX3793" fmla="*/ 1633084 w 3135233"/>
                <a:gd name="connsiteY3793" fmla="*/ 718171 h 2493266"/>
                <a:gd name="connsiteX3794" fmla="*/ 1633084 w 3135233"/>
                <a:gd name="connsiteY3794" fmla="*/ 723105 h 2493266"/>
                <a:gd name="connsiteX3795" fmla="*/ 1624745 w 3135233"/>
                <a:gd name="connsiteY3795" fmla="*/ 731197 h 2493266"/>
                <a:gd name="connsiteX3796" fmla="*/ 1620551 w 3135233"/>
                <a:gd name="connsiteY3796" fmla="*/ 731197 h 2493266"/>
                <a:gd name="connsiteX3797" fmla="*/ 1610140 w 3135233"/>
                <a:gd name="connsiteY3797" fmla="*/ 739289 h 2493266"/>
                <a:gd name="connsiteX3798" fmla="*/ 1601851 w 3135233"/>
                <a:gd name="connsiteY3798" fmla="*/ 744223 h 2493266"/>
                <a:gd name="connsiteX3799" fmla="*/ 1593513 w 3135233"/>
                <a:gd name="connsiteY3799" fmla="*/ 752265 h 2493266"/>
                <a:gd name="connsiteX3800" fmla="*/ 1585125 w 3135233"/>
                <a:gd name="connsiteY3800" fmla="*/ 752265 h 2493266"/>
                <a:gd name="connsiteX3801" fmla="*/ 1581030 w 3135233"/>
                <a:gd name="connsiteY3801" fmla="*/ 755522 h 2493266"/>
                <a:gd name="connsiteX3802" fmla="*/ 1581030 w 3135233"/>
                <a:gd name="connsiteY3802" fmla="*/ 760456 h 2493266"/>
                <a:gd name="connsiteX3803" fmla="*/ 1839228 w 3135233"/>
                <a:gd name="connsiteY3803" fmla="*/ 887557 h 2493266"/>
                <a:gd name="connsiteX3804" fmla="*/ 1826745 w 3135233"/>
                <a:gd name="connsiteY3804" fmla="*/ 879514 h 2493266"/>
                <a:gd name="connsiteX3805" fmla="*/ 1822550 w 3135233"/>
                <a:gd name="connsiteY3805" fmla="*/ 882721 h 2493266"/>
                <a:gd name="connsiteX3806" fmla="*/ 1810068 w 3135233"/>
                <a:gd name="connsiteY3806" fmla="*/ 881093 h 2493266"/>
                <a:gd name="connsiteX3807" fmla="*/ 1814261 w 3135233"/>
                <a:gd name="connsiteY3807" fmla="*/ 874679 h 2493266"/>
                <a:gd name="connsiteX3808" fmla="*/ 1820478 w 3135233"/>
                <a:gd name="connsiteY3808" fmla="*/ 871422 h 2493266"/>
                <a:gd name="connsiteX3809" fmla="*/ 1824672 w 3135233"/>
                <a:gd name="connsiteY3809" fmla="*/ 873051 h 2493266"/>
                <a:gd name="connsiteX3810" fmla="*/ 1826745 w 3135233"/>
                <a:gd name="connsiteY3810" fmla="*/ 871422 h 2493266"/>
                <a:gd name="connsiteX3811" fmla="*/ 1824672 w 3135233"/>
                <a:gd name="connsiteY3811" fmla="*/ 868215 h 2493266"/>
                <a:gd name="connsiteX3812" fmla="*/ 1818406 w 3135233"/>
                <a:gd name="connsiteY3812" fmla="*/ 869794 h 2493266"/>
                <a:gd name="connsiteX3813" fmla="*/ 1818406 w 3135233"/>
                <a:gd name="connsiteY3813" fmla="*/ 866587 h 2493266"/>
                <a:gd name="connsiteX3814" fmla="*/ 1826745 w 3135233"/>
                <a:gd name="connsiteY3814" fmla="*/ 856719 h 2493266"/>
                <a:gd name="connsiteX3815" fmla="*/ 1830889 w 3135233"/>
                <a:gd name="connsiteY3815" fmla="*/ 845420 h 2493266"/>
                <a:gd name="connsiteX3816" fmla="*/ 1830889 w 3135233"/>
                <a:gd name="connsiteY3816" fmla="*/ 840486 h 2493266"/>
                <a:gd name="connsiteX3817" fmla="*/ 1832962 w 3135233"/>
                <a:gd name="connsiteY3817" fmla="*/ 838858 h 2493266"/>
                <a:gd name="connsiteX3818" fmla="*/ 1832962 w 3135233"/>
                <a:gd name="connsiteY3818" fmla="*/ 835651 h 2493266"/>
                <a:gd name="connsiteX3819" fmla="*/ 1828817 w 3135233"/>
                <a:gd name="connsiteY3819" fmla="*/ 830717 h 2493266"/>
                <a:gd name="connsiteX3820" fmla="*/ 1830889 w 3135233"/>
                <a:gd name="connsiteY3820" fmla="*/ 827460 h 2493266"/>
                <a:gd name="connsiteX3821" fmla="*/ 1830889 w 3135233"/>
                <a:gd name="connsiteY3821" fmla="*/ 819418 h 2493266"/>
                <a:gd name="connsiteX3822" fmla="*/ 1839228 w 3135233"/>
                <a:gd name="connsiteY3822" fmla="*/ 808119 h 2493266"/>
                <a:gd name="connsiteX3823" fmla="*/ 1843372 w 3135233"/>
                <a:gd name="connsiteY3823" fmla="*/ 804862 h 2493266"/>
                <a:gd name="connsiteX3824" fmla="*/ 1843372 w 3135233"/>
                <a:gd name="connsiteY3824" fmla="*/ 798448 h 2493266"/>
                <a:gd name="connsiteX3825" fmla="*/ 1849639 w 3135233"/>
                <a:gd name="connsiteY3825" fmla="*/ 795191 h 2493266"/>
                <a:gd name="connsiteX3826" fmla="*/ 1851760 w 3135233"/>
                <a:gd name="connsiteY3826" fmla="*/ 788728 h 2493266"/>
                <a:gd name="connsiteX3827" fmla="*/ 1855905 w 3135233"/>
                <a:gd name="connsiteY3827" fmla="*/ 783794 h 2493266"/>
                <a:gd name="connsiteX3828" fmla="*/ 1855905 w 3135233"/>
                <a:gd name="connsiteY3828" fmla="*/ 777330 h 2493266"/>
                <a:gd name="connsiteX3829" fmla="*/ 1864243 w 3135233"/>
                <a:gd name="connsiteY3829" fmla="*/ 769288 h 2493266"/>
                <a:gd name="connsiteX3830" fmla="*/ 1866316 w 3135233"/>
                <a:gd name="connsiteY3830" fmla="*/ 761196 h 2493266"/>
                <a:gd name="connsiteX3831" fmla="*/ 1872582 w 3135233"/>
                <a:gd name="connsiteY3831" fmla="*/ 759617 h 2493266"/>
                <a:gd name="connsiteX3832" fmla="*/ 1874654 w 3135233"/>
                <a:gd name="connsiteY3832" fmla="*/ 756361 h 2493266"/>
                <a:gd name="connsiteX3833" fmla="*/ 1872582 w 3135233"/>
                <a:gd name="connsiteY3833" fmla="*/ 753153 h 2493266"/>
                <a:gd name="connsiteX3834" fmla="*/ 1876726 w 3135233"/>
                <a:gd name="connsiteY3834" fmla="*/ 746690 h 2493266"/>
                <a:gd name="connsiteX3835" fmla="*/ 1880970 w 3135233"/>
                <a:gd name="connsiteY3835" fmla="*/ 746690 h 2493266"/>
                <a:gd name="connsiteX3836" fmla="*/ 1887236 w 3135233"/>
                <a:gd name="connsiteY3836" fmla="*/ 754782 h 2493266"/>
                <a:gd name="connsiteX3837" fmla="*/ 1889308 w 3135233"/>
                <a:gd name="connsiteY3837" fmla="*/ 761196 h 2493266"/>
                <a:gd name="connsiteX3838" fmla="*/ 1897696 w 3135233"/>
                <a:gd name="connsiteY3838" fmla="*/ 761196 h 2493266"/>
                <a:gd name="connsiteX3839" fmla="*/ 1895574 w 3135233"/>
                <a:gd name="connsiteY3839" fmla="*/ 754782 h 2493266"/>
                <a:gd name="connsiteX3840" fmla="*/ 1889308 w 3135233"/>
                <a:gd name="connsiteY3840" fmla="*/ 748318 h 2493266"/>
                <a:gd name="connsiteX3841" fmla="*/ 1891380 w 3135233"/>
                <a:gd name="connsiteY3841" fmla="*/ 746690 h 2493266"/>
                <a:gd name="connsiteX3842" fmla="*/ 1895574 w 3135233"/>
                <a:gd name="connsiteY3842" fmla="*/ 745062 h 2493266"/>
                <a:gd name="connsiteX3843" fmla="*/ 1891380 w 3135233"/>
                <a:gd name="connsiteY3843" fmla="*/ 738647 h 2493266"/>
                <a:gd name="connsiteX3844" fmla="*/ 1897696 w 3135233"/>
                <a:gd name="connsiteY3844" fmla="*/ 730556 h 2493266"/>
                <a:gd name="connsiteX3845" fmla="*/ 1912498 w 3135233"/>
                <a:gd name="connsiteY3845" fmla="*/ 727349 h 2493266"/>
                <a:gd name="connsiteX3846" fmla="*/ 1922909 w 3135233"/>
                <a:gd name="connsiteY3846" fmla="*/ 727349 h 2493266"/>
                <a:gd name="connsiteX3847" fmla="*/ 1929175 w 3135233"/>
                <a:gd name="connsiteY3847" fmla="*/ 725720 h 2493266"/>
                <a:gd name="connsiteX3848" fmla="*/ 1933320 w 3135233"/>
                <a:gd name="connsiteY3848" fmla="*/ 727349 h 2493266"/>
                <a:gd name="connsiteX3849" fmla="*/ 1939586 w 3135233"/>
                <a:gd name="connsiteY3849" fmla="*/ 727349 h 2493266"/>
                <a:gd name="connsiteX3850" fmla="*/ 1941658 w 3135233"/>
                <a:gd name="connsiteY3850" fmla="*/ 732283 h 2493266"/>
                <a:gd name="connsiteX3851" fmla="*/ 1945803 w 3135233"/>
                <a:gd name="connsiteY3851" fmla="*/ 729026 h 2493266"/>
                <a:gd name="connsiteX3852" fmla="*/ 1956214 w 3135233"/>
                <a:gd name="connsiteY3852" fmla="*/ 729026 h 2493266"/>
                <a:gd name="connsiteX3853" fmla="*/ 1960407 w 3135233"/>
                <a:gd name="connsiteY3853" fmla="*/ 735490 h 2493266"/>
                <a:gd name="connsiteX3854" fmla="*/ 1966624 w 3135233"/>
                <a:gd name="connsiteY3854" fmla="*/ 737118 h 2493266"/>
                <a:gd name="connsiteX3855" fmla="*/ 1968697 w 3135233"/>
                <a:gd name="connsiteY3855" fmla="*/ 738746 h 2493266"/>
                <a:gd name="connsiteX3856" fmla="*/ 1972891 w 3135233"/>
                <a:gd name="connsiteY3856" fmla="*/ 738746 h 2493266"/>
                <a:gd name="connsiteX3857" fmla="*/ 1974963 w 3135233"/>
                <a:gd name="connsiteY3857" fmla="*/ 745160 h 2493266"/>
                <a:gd name="connsiteX3858" fmla="*/ 1974963 w 3135233"/>
                <a:gd name="connsiteY3858" fmla="*/ 750094 h 2493266"/>
                <a:gd name="connsiteX3859" fmla="*/ 1977035 w 3135233"/>
                <a:gd name="connsiteY3859" fmla="*/ 751723 h 2493266"/>
                <a:gd name="connsiteX3860" fmla="*/ 1983301 w 3135233"/>
                <a:gd name="connsiteY3860" fmla="*/ 750094 h 2493266"/>
                <a:gd name="connsiteX3861" fmla="*/ 1993712 w 3135233"/>
                <a:gd name="connsiteY3861" fmla="*/ 750094 h 2493266"/>
                <a:gd name="connsiteX3862" fmla="*/ 2010340 w 3135233"/>
                <a:gd name="connsiteY3862" fmla="*/ 751723 h 2493266"/>
                <a:gd name="connsiteX3863" fmla="*/ 2018728 w 3135233"/>
                <a:gd name="connsiteY3863" fmla="*/ 756657 h 2493266"/>
                <a:gd name="connsiteX3864" fmla="*/ 2018728 w 3135233"/>
                <a:gd name="connsiteY3864" fmla="*/ 763120 h 2493266"/>
                <a:gd name="connsiteX3865" fmla="*/ 2022872 w 3135233"/>
                <a:gd name="connsiteY3865" fmla="*/ 764749 h 2493266"/>
                <a:gd name="connsiteX3866" fmla="*/ 2024945 w 3135233"/>
                <a:gd name="connsiteY3866" fmla="*/ 769683 h 2493266"/>
                <a:gd name="connsiteX3867" fmla="*/ 2022872 w 3135233"/>
                <a:gd name="connsiteY3867" fmla="*/ 768054 h 2493266"/>
                <a:gd name="connsiteX3868" fmla="*/ 2018728 w 3135233"/>
                <a:gd name="connsiteY3868" fmla="*/ 769683 h 2493266"/>
                <a:gd name="connsiteX3869" fmla="*/ 2016656 w 3135233"/>
                <a:gd name="connsiteY3869" fmla="*/ 776146 h 2493266"/>
                <a:gd name="connsiteX3870" fmla="*/ 2006097 w 3135233"/>
                <a:gd name="connsiteY3870" fmla="*/ 784485 h 2493266"/>
                <a:gd name="connsiteX3871" fmla="*/ 1999781 w 3135233"/>
                <a:gd name="connsiteY3871" fmla="*/ 790948 h 2493266"/>
                <a:gd name="connsiteX3872" fmla="*/ 1993564 w 3135233"/>
                <a:gd name="connsiteY3872" fmla="*/ 792576 h 2493266"/>
                <a:gd name="connsiteX3873" fmla="*/ 1993564 w 3135233"/>
                <a:gd name="connsiteY3873" fmla="*/ 795784 h 2493266"/>
                <a:gd name="connsiteX3874" fmla="*/ 1978762 w 3135233"/>
                <a:gd name="connsiteY3874" fmla="*/ 805652 h 2493266"/>
                <a:gd name="connsiteX3875" fmla="*/ 1970473 w 3135233"/>
                <a:gd name="connsiteY3875" fmla="*/ 813743 h 2493266"/>
                <a:gd name="connsiteX3876" fmla="*/ 1964207 w 3135233"/>
                <a:gd name="connsiteY3876" fmla="*/ 813743 h 2493266"/>
                <a:gd name="connsiteX3877" fmla="*/ 1962135 w 3135233"/>
                <a:gd name="connsiteY3877" fmla="*/ 816951 h 2493266"/>
                <a:gd name="connsiteX3878" fmla="*/ 1964207 w 3135233"/>
                <a:gd name="connsiteY3878" fmla="*/ 818579 h 2493266"/>
                <a:gd name="connsiteX3879" fmla="*/ 1962135 w 3135233"/>
                <a:gd name="connsiteY3879" fmla="*/ 823513 h 2493266"/>
                <a:gd name="connsiteX3880" fmla="*/ 1950046 w 3135233"/>
                <a:gd name="connsiteY3880" fmla="*/ 829483 h 2493266"/>
                <a:gd name="connsiteX3881" fmla="*/ 1941708 w 3135233"/>
                <a:gd name="connsiteY3881" fmla="*/ 837526 h 2493266"/>
                <a:gd name="connsiteX3882" fmla="*/ 1929225 w 3135233"/>
                <a:gd name="connsiteY3882" fmla="*/ 845617 h 2493266"/>
                <a:gd name="connsiteX3883" fmla="*/ 1920442 w 3135233"/>
                <a:gd name="connsiteY3883" fmla="*/ 848627 h 2493266"/>
                <a:gd name="connsiteX3884" fmla="*/ 1916297 w 3135233"/>
                <a:gd name="connsiteY3884" fmla="*/ 847048 h 2493266"/>
                <a:gd name="connsiteX3885" fmla="*/ 1914225 w 3135233"/>
                <a:gd name="connsiteY3885" fmla="*/ 843792 h 2493266"/>
                <a:gd name="connsiteX3886" fmla="*/ 1910031 w 3135233"/>
                <a:gd name="connsiteY3886" fmla="*/ 843792 h 2493266"/>
                <a:gd name="connsiteX3887" fmla="*/ 1899620 w 3135233"/>
                <a:gd name="connsiteY3887" fmla="*/ 837328 h 2493266"/>
                <a:gd name="connsiteX3888" fmla="*/ 1899620 w 3135233"/>
                <a:gd name="connsiteY3888" fmla="*/ 832394 h 2493266"/>
                <a:gd name="connsiteX3889" fmla="*/ 1893403 w 3135233"/>
                <a:gd name="connsiteY3889" fmla="*/ 830815 h 2493266"/>
                <a:gd name="connsiteX3890" fmla="*/ 1889209 w 3135233"/>
                <a:gd name="connsiteY3890" fmla="*/ 832394 h 2493266"/>
                <a:gd name="connsiteX3891" fmla="*/ 1882992 w 3135233"/>
                <a:gd name="connsiteY3891" fmla="*/ 830815 h 2493266"/>
                <a:gd name="connsiteX3892" fmla="*/ 1876726 w 3135233"/>
                <a:gd name="connsiteY3892" fmla="*/ 830815 h 2493266"/>
                <a:gd name="connsiteX3893" fmla="*/ 1870460 w 3135233"/>
                <a:gd name="connsiteY3893" fmla="*/ 829187 h 2493266"/>
                <a:gd name="connsiteX3894" fmla="*/ 1866316 w 3135233"/>
                <a:gd name="connsiteY3894" fmla="*/ 829187 h 2493266"/>
                <a:gd name="connsiteX3895" fmla="*/ 1864243 w 3135233"/>
                <a:gd name="connsiteY3895" fmla="*/ 832394 h 2493266"/>
                <a:gd name="connsiteX3896" fmla="*/ 1868388 w 3135233"/>
                <a:gd name="connsiteY3896" fmla="*/ 835651 h 2493266"/>
                <a:gd name="connsiteX3897" fmla="*/ 1880970 w 3135233"/>
                <a:gd name="connsiteY3897" fmla="*/ 835651 h 2493266"/>
                <a:gd name="connsiteX3898" fmla="*/ 1878897 w 3135233"/>
                <a:gd name="connsiteY3898" fmla="*/ 840585 h 2493266"/>
                <a:gd name="connsiteX3899" fmla="*/ 1874753 w 3135233"/>
                <a:gd name="connsiteY3899" fmla="*/ 845519 h 2493266"/>
                <a:gd name="connsiteX3900" fmla="*/ 1878897 w 3135233"/>
                <a:gd name="connsiteY3900" fmla="*/ 848726 h 2493266"/>
                <a:gd name="connsiteX3901" fmla="*/ 1878897 w 3135233"/>
                <a:gd name="connsiteY3901" fmla="*/ 855189 h 2493266"/>
                <a:gd name="connsiteX3902" fmla="*/ 1874753 w 3135233"/>
                <a:gd name="connsiteY3902" fmla="*/ 860123 h 2493266"/>
                <a:gd name="connsiteX3903" fmla="*/ 1870559 w 3135233"/>
                <a:gd name="connsiteY3903" fmla="*/ 863380 h 2493266"/>
                <a:gd name="connsiteX3904" fmla="*/ 1866414 w 3135233"/>
                <a:gd name="connsiteY3904" fmla="*/ 866587 h 2493266"/>
                <a:gd name="connsiteX3905" fmla="*/ 1860247 w 3135233"/>
                <a:gd name="connsiteY3905" fmla="*/ 866587 h 2493266"/>
                <a:gd name="connsiteX3906" fmla="*/ 1853981 w 3135233"/>
                <a:gd name="connsiteY3906" fmla="*/ 869794 h 2493266"/>
                <a:gd name="connsiteX3907" fmla="*/ 1851957 w 3135233"/>
                <a:gd name="connsiteY3907" fmla="*/ 876258 h 2493266"/>
                <a:gd name="connsiteX3908" fmla="*/ 1845691 w 3135233"/>
                <a:gd name="connsiteY3908" fmla="*/ 881192 h 2493266"/>
                <a:gd name="connsiteX3909" fmla="*/ 1841497 w 3135233"/>
                <a:gd name="connsiteY3909" fmla="*/ 881192 h 2493266"/>
                <a:gd name="connsiteX3910" fmla="*/ 1841497 w 3135233"/>
                <a:gd name="connsiteY3910" fmla="*/ 886126 h 2493266"/>
                <a:gd name="connsiteX3911" fmla="*/ 1839425 w 3135233"/>
                <a:gd name="connsiteY3911" fmla="*/ 887557 h 2493266"/>
                <a:gd name="connsiteX3912" fmla="*/ 2282896 w 3135233"/>
                <a:gd name="connsiteY3912" fmla="*/ 913362 h 2493266"/>
                <a:gd name="connsiteX3913" fmla="*/ 2272485 w 3135233"/>
                <a:gd name="connsiteY3913" fmla="*/ 910155 h 2493266"/>
                <a:gd name="connsiteX3914" fmla="*/ 2264147 w 3135233"/>
                <a:gd name="connsiteY3914" fmla="*/ 908526 h 2493266"/>
                <a:gd name="connsiteX3915" fmla="*/ 2262074 w 3135233"/>
                <a:gd name="connsiteY3915" fmla="*/ 900484 h 2493266"/>
                <a:gd name="connsiteX3916" fmla="*/ 2257881 w 3135233"/>
                <a:gd name="connsiteY3916" fmla="*/ 898856 h 2493266"/>
                <a:gd name="connsiteX3917" fmla="*/ 2253736 w 3135233"/>
                <a:gd name="connsiteY3917" fmla="*/ 892392 h 2493266"/>
                <a:gd name="connsiteX3918" fmla="*/ 2255858 w 3135233"/>
                <a:gd name="connsiteY3918" fmla="*/ 884350 h 2493266"/>
                <a:gd name="connsiteX3919" fmla="*/ 2264147 w 3135233"/>
                <a:gd name="connsiteY3919" fmla="*/ 881093 h 2493266"/>
                <a:gd name="connsiteX3920" fmla="*/ 2262074 w 3135233"/>
                <a:gd name="connsiteY3920" fmla="*/ 876159 h 2493266"/>
                <a:gd name="connsiteX3921" fmla="*/ 2266269 w 3135233"/>
                <a:gd name="connsiteY3921" fmla="*/ 872952 h 2493266"/>
                <a:gd name="connsiteX3922" fmla="*/ 2266269 w 3135233"/>
                <a:gd name="connsiteY3922" fmla="*/ 868018 h 2493266"/>
                <a:gd name="connsiteX3923" fmla="*/ 2260002 w 3135233"/>
                <a:gd name="connsiteY3923" fmla="*/ 866390 h 2493266"/>
                <a:gd name="connsiteX3924" fmla="*/ 2253736 w 3135233"/>
                <a:gd name="connsiteY3924" fmla="*/ 861456 h 2493266"/>
                <a:gd name="connsiteX3925" fmla="*/ 2260002 w 3135233"/>
                <a:gd name="connsiteY3925" fmla="*/ 848528 h 2493266"/>
                <a:gd name="connsiteX3926" fmla="*/ 2264147 w 3135233"/>
                <a:gd name="connsiteY3926" fmla="*/ 850157 h 2493266"/>
                <a:gd name="connsiteX3927" fmla="*/ 2266269 w 3135233"/>
                <a:gd name="connsiteY3927" fmla="*/ 845223 h 2493266"/>
                <a:gd name="connsiteX3928" fmla="*/ 2264147 w 3135233"/>
                <a:gd name="connsiteY3928" fmla="*/ 840289 h 2493266"/>
                <a:gd name="connsiteX3929" fmla="*/ 2268291 w 3135233"/>
                <a:gd name="connsiteY3929" fmla="*/ 835355 h 2493266"/>
                <a:gd name="connsiteX3930" fmla="*/ 2270413 w 3135233"/>
                <a:gd name="connsiteY3930" fmla="*/ 827263 h 2493266"/>
                <a:gd name="connsiteX3931" fmla="*/ 2276679 w 3135233"/>
                <a:gd name="connsiteY3931" fmla="*/ 824056 h 2493266"/>
                <a:gd name="connsiteX3932" fmla="*/ 2282896 w 3135233"/>
                <a:gd name="connsiteY3932" fmla="*/ 828990 h 2493266"/>
                <a:gd name="connsiteX3933" fmla="*/ 2282896 w 3135233"/>
                <a:gd name="connsiteY3933" fmla="*/ 833924 h 2493266"/>
                <a:gd name="connsiteX3934" fmla="*/ 2297698 w 3135233"/>
                <a:gd name="connsiteY3934" fmla="*/ 837131 h 2493266"/>
                <a:gd name="connsiteX3935" fmla="*/ 2303915 w 3135233"/>
                <a:gd name="connsiteY3935" fmla="*/ 842065 h 2493266"/>
                <a:gd name="connsiteX3936" fmla="*/ 2310181 w 3135233"/>
                <a:gd name="connsiteY3936" fmla="*/ 843693 h 2493266"/>
                <a:gd name="connsiteX3937" fmla="*/ 2314326 w 3135233"/>
                <a:gd name="connsiteY3937" fmla="*/ 842065 h 2493266"/>
                <a:gd name="connsiteX3938" fmla="*/ 2326858 w 3135233"/>
                <a:gd name="connsiteY3938" fmla="*/ 845321 h 2493266"/>
                <a:gd name="connsiteX3939" fmla="*/ 2337269 w 3135233"/>
                <a:gd name="connsiteY3939" fmla="*/ 845321 h 2493266"/>
                <a:gd name="connsiteX3940" fmla="*/ 2341414 w 3135233"/>
                <a:gd name="connsiteY3940" fmla="*/ 848528 h 2493266"/>
                <a:gd name="connsiteX3941" fmla="*/ 2343535 w 3135233"/>
                <a:gd name="connsiteY3941" fmla="*/ 853462 h 2493266"/>
                <a:gd name="connsiteX3942" fmla="*/ 2353946 w 3135233"/>
                <a:gd name="connsiteY3942" fmla="*/ 859926 h 2493266"/>
                <a:gd name="connsiteX3943" fmla="*/ 2358091 w 3135233"/>
                <a:gd name="connsiteY3943" fmla="*/ 866390 h 2493266"/>
                <a:gd name="connsiteX3944" fmla="*/ 2353946 w 3135233"/>
                <a:gd name="connsiteY3944" fmla="*/ 872853 h 2493266"/>
                <a:gd name="connsiteX3945" fmla="*/ 2353946 w 3135233"/>
                <a:gd name="connsiteY3945" fmla="*/ 876060 h 2493266"/>
                <a:gd name="connsiteX3946" fmla="*/ 2360163 w 3135233"/>
                <a:gd name="connsiteY3946" fmla="*/ 879317 h 2493266"/>
                <a:gd name="connsiteX3947" fmla="*/ 2360163 w 3135233"/>
                <a:gd name="connsiteY3947" fmla="*/ 892195 h 2493266"/>
                <a:gd name="connsiteX3948" fmla="*/ 2364357 w 3135233"/>
                <a:gd name="connsiteY3948" fmla="*/ 898658 h 2493266"/>
                <a:gd name="connsiteX3949" fmla="*/ 2362235 w 3135233"/>
                <a:gd name="connsiteY3949" fmla="*/ 903592 h 2493266"/>
                <a:gd name="connsiteX3950" fmla="*/ 2360163 w 3135233"/>
                <a:gd name="connsiteY3950" fmla="*/ 908526 h 2493266"/>
                <a:gd name="connsiteX3951" fmla="*/ 2368502 w 3135233"/>
                <a:gd name="connsiteY3951" fmla="*/ 910155 h 2493266"/>
                <a:gd name="connsiteX3952" fmla="*/ 2368502 w 3135233"/>
                <a:gd name="connsiteY3952" fmla="*/ 913362 h 2493266"/>
                <a:gd name="connsiteX3953" fmla="*/ 2364357 w 3135233"/>
                <a:gd name="connsiteY3953" fmla="*/ 916618 h 2493266"/>
                <a:gd name="connsiteX3954" fmla="*/ 2362235 w 3135233"/>
                <a:gd name="connsiteY3954" fmla="*/ 919825 h 2493266"/>
                <a:gd name="connsiteX3955" fmla="*/ 2347680 w 3135233"/>
                <a:gd name="connsiteY3955" fmla="*/ 918197 h 2493266"/>
                <a:gd name="connsiteX3956" fmla="*/ 2345608 w 3135233"/>
                <a:gd name="connsiteY3956" fmla="*/ 914990 h 2493266"/>
                <a:gd name="connsiteX3957" fmla="*/ 2333125 w 3135233"/>
                <a:gd name="connsiteY3957" fmla="*/ 911783 h 2493266"/>
                <a:gd name="connsiteX3958" fmla="*/ 2328931 w 3135233"/>
                <a:gd name="connsiteY3958" fmla="*/ 910155 h 2493266"/>
                <a:gd name="connsiteX3959" fmla="*/ 2318520 w 3135233"/>
                <a:gd name="connsiteY3959" fmla="*/ 908526 h 2493266"/>
                <a:gd name="connsiteX3960" fmla="*/ 2314326 w 3135233"/>
                <a:gd name="connsiteY3960" fmla="*/ 908526 h 2493266"/>
                <a:gd name="connsiteX3961" fmla="*/ 2310181 w 3135233"/>
                <a:gd name="connsiteY3961" fmla="*/ 905319 h 2493266"/>
                <a:gd name="connsiteX3962" fmla="*/ 2299771 w 3135233"/>
                <a:gd name="connsiteY3962" fmla="*/ 906947 h 2493266"/>
                <a:gd name="connsiteX3963" fmla="*/ 2293504 w 3135233"/>
                <a:gd name="connsiteY3963" fmla="*/ 908526 h 2493266"/>
                <a:gd name="connsiteX3964" fmla="*/ 2285166 w 3135233"/>
                <a:gd name="connsiteY3964" fmla="*/ 913460 h 2493266"/>
                <a:gd name="connsiteX3965" fmla="*/ 2241253 w 3135233"/>
                <a:gd name="connsiteY3965" fmla="*/ 924661 h 2493266"/>
                <a:gd name="connsiteX3966" fmla="*/ 2239180 w 3135233"/>
                <a:gd name="connsiteY3966" fmla="*/ 918197 h 2493266"/>
                <a:gd name="connsiteX3967" fmla="*/ 2243325 w 3135233"/>
                <a:gd name="connsiteY3967" fmla="*/ 914990 h 2493266"/>
                <a:gd name="connsiteX3968" fmla="*/ 2245397 w 3135233"/>
                <a:gd name="connsiteY3968" fmla="*/ 916618 h 2493266"/>
                <a:gd name="connsiteX3969" fmla="*/ 2245397 w 3135233"/>
                <a:gd name="connsiteY3969" fmla="*/ 921552 h 2493266"/>
                <a:gd name="connsiteX3970" fmla="*/ 2251664 w 3135233"/>
                <a:gd name="connsiteY3970" fmla="*/ 929595 h 2493266"/>
                <a:gd name="connsiteX3971" fmla="*/ 2249592 w 3135233"/>
                <a:gd name="connsiteY3971" fmla="*/ 924661 h 2493266"/>
                <a:gd name="connsiteX3972" fmla="*/ 2251664 w 3135233"/>
                <a:gd name="connsiteY3972" fmla="*/ 923082 h 2493266"/>
                <a:gd name="connsiteX3973" fmla="*/ 2253736 w 3135233"/>
                <a:gd name="connsiteY3973" fmla="*/ 923082 h 2493266"/>
                <a:gd name="connsiteX3974" fmla="*/ 2255858 w 3135233"/>
                <a:gd name="connsiteY3974" fmla="*/ 928016 h 2493266"/>
                <a:gd name="connsiteX3975" fmla="*/ 2270413 w 3135233"/>
                <a:gd name="connsiteY3975" fmla="*/ 929595 h 2493266"/>
                <a:gd name="connsiteX3976" fmla="*/ 2266269 w 3135233"/>
                <a:gd name="connsiteY3976" fmla="*/ 928016 h 2493266"/>
                <a:gd name="connsiteX3977" fmla="*/ 2264147 w 3135233"/>
                <a:gd name="connsiteY3977" fmla="*/ 924759 h 2493266"/>
                <a:gd name="connsiteX3978" fmla="*/ 2268291 w 3135233"/>
                <a:gd name="connsiteY3978" fmla="*/ 924759 h 2493266"/>
                <a:gd name="connsiteX3979" fmla="*/ 2272485 w 3135233"/>
                <a:gd name="connsiteY3979" fmla="*/ 928016 h 2493266"/>
                <a:gd name="connsiteX3980" fmla="*/ 1822748 w 3135233"/>
                <a:gd name="connsiteY3980" fmla="*/ 1060199 h 2493266"/>
                <a:gd name="connsiteX3981" fmla="*/ 1820676 w 3135233"/>
                <a:gd name="connsiteY3981" fmla="*/ 1056991 h 2493266"/>
                <a:gd name="connsiteX3982" fmla="*/ 1824870 w 3135233"/>
                <a:gd name="connsiteY3982" fmla="*/ 1055363 h 2493266"/>
                <a:gd name="connsiteX3983" fmla="*/ 1829014 w 3135233"/>
                <a:gd name="connsiteY3983" fmla="*/ 1055363 h 2493266"/>
                <a:gd name="connsiteX3984" fmla="*/ 1831087 w 3135233"/>
                <a:gd name="connsiteY3984" fmla="*/ 1056991 h 2493266"/>
                <a:gd name="connsiteX3985" fmla="*/ 1829014 w 3135233"/>
                <a:gd name="connsiteY3985" fmla="*/ 1058620 h 2493266"/>
                <a:gd name="connsiteX3986" fmla="*/ 1826942 w 3135233"/>
                <a:gd name="connsiteY3986" fmla="*/ 1058620 h 2493266"/>
                <a:gd name="connsiteX3987" fmla="*/ 1843570 w 3135233"/>
                <a:gd name="connsiteY3987" fmla="*/ 1090888 h 2493266"/>
                <a:gd name="connsiteX3988" fmla="*/ 1845691 w 3135233"/>
                <a:gd name="connsiteY3988" fmla="*/ 1098931 h 2493266"/>
                <a:gd name="connsiteX3989" fmla="*/ 1849836 w 3135233"/>
                <a:gd name="connsiteY3989" fmla="*/ 1095724 h 2493266"/>
                <a:gd name="connsiteX3990" fmla="*/ 1849836 w 3135233"/>
                <a:gd name="connsiteY3990" fmla="*/ 1095724 h 2493266"/>
                <a:gd name="connsiteX3991" fmla="*/ 1851957 w 3135233"/>
                <a:gd name="connsiteY3991" fmla="*/ 1090790 h 2493266"/>
                <a:gd name="connsiteX3992" fmla="*/ 1847764 w 3135233"/>
                <a:gd name="connsiteY3992" fmla="*/ 1089161 h 2493266"/>
                <a:gd name="connsiteX3993" fmla="*/ 1837353 w 3135233"/>
                <a:gd name="connsiteY3993" fmla="*/ 1092467 h 2493266"/>
                <a:gd name="connsiteX3994" fmla="*/ 1835280 w 3135233"/>
                <a:gd name="connsiteY3994" fmla="*/ 1095724 h 2493266"/>
                <a:gd name="connsiteX3995" fmla="*/ 1839425 w 3135233"/>
                <a:gd name="connsiteY3995" fmla="*/ 1098931 h 2493266"/>
                <a:gd name="connsiteX3996" fmla="*/ 1839425 w 3135233"/>
                <a:gd name="connsiteY3996" fmla="*/ 1103865 h 2493266"/>
                <a:gd name="connsiteX3997" fmla="*/ 1841547 w 3135233"/>
                <a:gd name="connsiteY3997" fmla="*/ 1100658 h 2493266"/>
                <a:gd name="connsiteX3998" fmla="*/ 1841547 w 3135233"/>
                <a:gd name="connsiteY3998" fmla="*/ 1092566 h 2493266"/>
                <a:gd name="connsiteX3999" fmla="*/ 1839425 w 3135233"/>
                <a:gd name="connsiteY3999" fmla="*/ 1090987 h 2493266"/>
                <a:gd name="connsiteX4000" fmla="*/ 1976887 w 3135233"/>
                <a:gd name="connsiteY4000" fmla="*/ 1069919 h 2493266"/>
                <a:gd name="connsiteX4001" fmla="*/ 1974815 w 3135233"/>
                <a:gd name="connsiteY4001" fmla="*/ 1068290 h 2493266"/>
                <a:gd name="connsiteX4002" fmla="*/ 1968549 w 3135233"/>
                <a:gd name="connsiteY4002" fmla="*/ 1068290 h 2493266"/>
                <a:gd name="connsiteX4003" fmla="*/ 1964404 w 3135233"/>
                <a:gd name="connsiteY4003" fmla="*/ 1063356 h 2493266"/>
                <a:gd name="connsiteX4004" fmla="*/ 1964404 w 3135233"/>
                <a:gd name="connsiteY4004" fmla="*/ 1066563 h 2493266"/>
                <a:gd name="connsiteX4005" fmla="*/ 1960260 w 3135233"/>
                <a:gd name="connsiteY4005" fmla="*/ 1064935 h 2493266"/>
                <a:gd name="connsiteX4006" fmla="*/ 1960260 w 3135233"/>
                <a:gd name="connsiteY4006" fmla="*/ 1060001 h 2493266"/>
                <a:gd name="connsiteX4007" fmla="*/ 1956065 w 3135233"/>
                <a:gd name="connsiteY4007" fmla="*/ 1058422 h 2493266"/>
                <a:gd name="connsiteX4008" fmla="*/ 1964404 w 3135233"/>
                <a:gd name="connsiteY4008" fmla="*/ 1056794 h 2493266"/>
                <a:gd name="connsiteX4009" fmla="*/ 1964404 w 3135233"/>
                <a:gd name="connsiteY4009" fmla="*/ 1055166 h 2493266"/>
                <a:gd name="connsiteX4010" fmla="*/ 1970670 w 3135233"/>
                <a:gd name="connsiteY4010" fmla="*/ 1055166 h 2493266"/>
                <a:gd name="connsiteX4011" fmla="*/ 1974815 w 3135233"/>
                <a:gd name="connsiteY4011" fmla="*/ 1060100 h 2493266"/>
                <a:gd name="connsiteX4012" fmla="*/ 1981081 w 3135233"/>
                <a:gd name="connsiteY4012" fmla="*/ 1061728 h 2493266"/>
                <a:gd name="connsiteX4013" fmla="*/ 1983154 w 3135233"/>
                <a:gd name="connsiteY4013" fmla="*/ 1066662 h 2493266"/>
                <a:gd name="connsiteX4014" fmla="*/ 1981081 w 3135233"/>
                <a:gd name="connsiteY4014" fmla="*/ 1069919 h 2493266"/>
                <a:gd name="connsiteX4015" fmla="*/ 2055832 w 3135233"/>
                <a:gd name="connsiteY4015" fmla="*/ 1097352 h 2493266"/>
                <a:gd name="connsiteX4016" fmla="*/ 2049615 w 3135233"/>
                <a:gd name="connsiteY4016" fmla="*/ 1097352 h 2493266"/>
                <a:gd name="connsiteX4017" fmla="*/ 2047543 w 3135233"/>
                <a:gd name="connsiteY4017" fmla="*/ 1090888 h 2493266"/>
                <a:gd name="connsiteX4018" fmla="*/ 2051687 w 3135233"/>
                <a:gd name="connsiteY4018" fmla="*/ 1092467 h 2493266"/>
                <a:gd name="connsiteX4019" fmla="*/ 2055832 w 3135233"/>
                <a:gd name="connsiteY4019" fmla="*/ 1092467 h 2493266"/>
                <a:gd name="connsiteX4020" fmla="*/ 2057953 w 3135233"/>
                <a:gd name="connsiteY4020" fmla="*/ 1095724 h 2493266"/>
                <a:gd name="connsiteX4021" fmla="*/ 2064220 w 3135233"/>
                <a:gd name="connsiteY4021" fmla="*/ 1098931 h 2493266"/>
                <a:gd name="connsiteX4022" fmla="*/ 2068364 w 3135233"/>
                <a:gd name="connsiteY4022" fmla="*/ 1100559 h 2493266"/>
                <a:gd name="connsiteX4023" fmla="*/ 2066243 w 3135233"/>
                <a:gd name="connsiteY4023" fmla="*/ 1097352 h 2493266"/>
                <a:gd name="connsiteX4024" fmla="*/ 2074630 w 3135233"/>
                <a:gd name="connsiteY4024" fmla="*/ 1102187 h 2493266"/>
                <a:gd name="connsiteX4025" fmla="*/ 2078775 w 3135233"/>
                <a:gd name="connsiteY4025" fmla="*/ 1102187 h 2493266"/>
                <a:gd name="connsiteX4026" fmla="*/ 2082920 w 3135233"/>
                <a:gd name="connsiteY4026" fmla="*/ 1103766 h 2493266"/>
                <a:gd name="connsiteX4027" fmla="*/ 2087114 w 3135233"/>
                <a:gd name="connsiteY4027" fmla="*/ 1103766 h 2493266"/>
                <a:gd name="connsiteX4028" fmla="*/ 2087114 w 3135233"/>
                <a:gd name="connsiteY4028" fmla="*/ 1100559 h 2493266"/>
                <a:gd name="connsiteX4029" fmla="*/ 2080847 w 3135233"/>
                <a:gd name="connsiteY4029" fmla="*/ 1098931 h 2493266"/>
                <a:gd name="connsiteX4030" fmla="*/ 2080847 w 3135233"/>
                <a:gd name="connsiteY4030" fmla="*/ 1097352 h 2493266"/>
                <a:gd name="connsiteX4031" fmla="*/ 2074630 w 3135233"/>
                <a:gd name="connsiteY4031" fmla="*/ 1097352 h 2493266"/>
                <a:gd name="connsiteX4032" fmla="*/ 2072509 w 3135233"/>
                <a:gd name="connsiteY4032" fmla="*/ 1100559 h 2493266"/>
                <a:gd name="connsiteX4033" fmla="*/ 2157917 w 3135233"/>
                <a:gd name="connsiteY4033" fmla="*/ 1197365 h 2493266"/>
                <a:gd name="connsiteX4034" fmla="*/ 2157917 w 3135233"/>
                <a:gd name="connsiteY4034" fmla="*/ 1195736 h 2493266"/>
                <a:gd name="connsiteX4035" fmla="*/ 2159989 w 3135233"/>
                <a:gd name="connsiteY4035" fmla="*/ 1192529 h 2493266"/>
                <a:gd name="connsiteX4036" fmla="*/ 2159989 w 3135233"/>
                <a:gd name="connsiteY4036" fmla="*/ 1186066 h 2493266"/>
                <a:gd name="connsiteX4037" fmla="*/ 2162111 w 3135233"/>
                <a:gd name="connsiteY4037" fmla="*/ 1187694 h 2493266"/>
                <a:gd name="connsiteX4038" fmla="*/ 2166256 w 3135233"/>
                <a:gd name="connsiteY4038" fmla="*/ 1189322 h 2493266"/>
                <a:gd name="connsiteX4039" fmla="*/ 2164183 w 3135233"/>
                <a:gd name="connsiteY4039" fmla="*/ 1194256 h 2493266"/>
                <a:gd name="connsiteX4040" fmla="*/ 2164183 w 3135233"/>
                <a:gd name="connsiteY4040" fmla="*/ 1197463 h 2493266"/>
                <a:gd name="connsiteX4041" fmla="*/ 2151700 w 3135233"/>
                <a:gd name="connsiteY4041" fmla="*/ 1216706 h 2493266"/>
                <a:gd name="connsiteX4042" fmla="*/ 2149579 w 3135233"/>
                <a:gd name="connsiteY4042" fmla="*/ 1210292 h 2493266"/>
                <a:gd name="connsiteX4043" fmla="*/ 2151700 w 3135233"/>
                <a:gd name="connsiteY4043" fmla="*/ 1205358 h 2493266"/>
                <a:gd name="connsiteX4044" fmla="*/ 2153772 w 3135233"/>
                <a:gd name="connsiteY4044" fmla="*/ 1205358 h 2493266"/>
                <a:gd name="connsiteX4045" fmla="*/ 2159989 w 3135233"/>
                <a:gd name="connsiteY4045" fmla="*/ 1206937 h 2493266"/>
                <a:gd name="connsiteX4046" fmla="*/ 2159989 w 3135233"/>
                <a:gd name="connsiteY4046" fmla="*/ 1210193 h 2493266"/>
                <a:gd name="connsiteX4047" fmla="*/ 2153772 w 3135233"/>
                <a:gd name="connsiteY4047" fmla="*/ 1211772 h 2493266"/>
                <a:gd name="connsiteX4048" fmla="*/ 2153772 w 3135233"/>
                <a:gd name="connsiteY4048" fmla="*/ 1215029 h 2493266"/>
                <a:gd name="connsiteX4049" fmla="*/ 2101669 w 3135233"/>
                <a:gd name="connsiteY4049" fmla="*/ 1122959 h 2493266"/>
                <a:gd name="connsiteX4050" fmla="*/ 2099597 w 3135233"/>
                <a:gd name="connsiteY4050" fmla="*/ 1119703 h 2493266"/>
                <a:gd name="connsiteX4051" fmla="*/ 2101669 w 3135233"/>
                <a:gd name="connsiteY4051" fmla="*/ 1121331 h 2493266"/>
                <a:gd name="connsiteX4052" fmla="*/ 2091258 w 3135233"/>
                <a:gd name="connsiteY4052" fmla="*/ 1124538 h 2493266"/>
                <a:gd name="connsiteX4053" fmla="*/ 2087114 w 3135233"/>
                <a:gd name="connsiteY4053" fmla="*/ 1118124 h 2493266"/>
                <a:gd name="connsiteX4054" fmla="*/ 2091258 w 3135233"/>
                <a:gd name="connsiteY4054" fmla="*/ 1119703 h 2493266"/>
                <a:gd name="connsiteX4055" fmla="*/ 2093330 w 3135233"/>
                <a:gd name="connsiteY4055" fmla="*/ 1122959 h 2493266"/>
                <a:gd name="connsiteX4056" fmla="*/ 2093330 w 3135233"/>
                <a:gd name="connsiteY4056" fmla="*/ 1127795 h 2493266"/>
                <a:gd name="connsiteX4057" fmla="*/ 2095452 w 3135233"/>
                <a:gd name="connsiteY4057" fmla="*/ 1131002 h 2493266"/>
                <a:gd name="connsiteX4058" fmla="*/ 2099597 w 3135233"/>
                <a:gd name="connsiteY4058" fmla="*/ 1131002 h 2493266"/>
                <a:gd name="connsiteX4059" fmla="*/ 2103741 w 3135233"/>
                <a:gd name="connsiteY4059" fmla="*/ 1132630 h 2493266"/>
                <a:gd name="connsiteX4060" fmla="*/ 2103741 w 3135233"/>
                <a:gd name="connsiteY4060" fmla="*/ 1129867 h 2493266"/>
                <a:gd name="connsiteX4061" fmla="*/ 2101669 w 3135233"/>
                <a:gd name="connsiteY4061" fmla="*/ 1126611 h 2493266"/>
                <a:gd name="connsiteX4062" fmla="*/ 2095452 w 3135233"/>
                <a:gd name="connsiteY4062" fmla="*/ 1126611 h 2493266"/>
                <a:gd name="connsiteX4063" fmla="*/ 2139168 w 3135233"/>
                <a:gd name="connsiteY4063" fmla="*/ 1111661 h 2493266"/>
                <a:gd name="connsiteX4064" fmla="*/ 2145434 w 3135233"/>
                <a:gd name="connsiteY4064" fmla="*/ 1113289 h 2493266"/>
                <a:gd name="connsiteX4065" fmla="*/ 2147506 w 3135233"/>
                <a:gd name="connsiteY4065" fmla="*/ 1116496 h 2493266"/>
                <a:gd name="connsiteX4066" fmla="*/ 2149579 w 3135233"/>
                <a:gd name="connsiteY4066" fmla="*/ 1118124 h 2493266"/>
                <a:gd name="connsiteX4067" fmla="*/ 2147506 w 3135233"/>
                <a:gd name="connsiteY4067" fmla="*/ 1121331 h 2493266"/>
                <a:gd name="connsiteX4068" fmla="*/ 2149579 w 3135233"/>
                <a:gd name="connsiteY4068" fmla="*/ 1124538 h 2493266"/>
                <a:gd name="connsiteX4069" fmla="*/ 2153772 w 3135233"/>
                <a:gd name="connsiteY4069" fmla="*/ 1122959 h 2493266"/>
                <a:gd name="connsiteX4070" fmla="*/ 2153772 w 3135233"/>
                <a:gd name="connsiteY4070" fmla="*/ 1118025 h 2493266"/>
                <a:gd name="connsiteX4071" fmla="*/ 2157917 w 3135233"/>
                <a:gd name="connsiteY4071" fmla="*/ 1119604 h 2493266"/>
                <a:gd name="connsiteX4072" fmla="*/ 2166256 w 3135233"/>
                <a:gd name="connsiteY4072" fmla="*/ 1119604 h 2493266"/>
                <a:gd name="connsiteX4073" fmla="*/ 2170400 w 3135233"/>
                <a:gd name="connsiteY4073" fmla="*/ 1116397 h 2493266"/>
                <a:gd name="connsiteX4074" fmla="*/ 2166256 w 3135233"/>
                <a:gd name="connsiteY4074" fmla="*/ 1111463 h 2493266"/>
                <a:gd name="connsiteX4075" fmla="*/ 2157917 w 3135233"/>
                <a:gd name="connsiteY4075" fmla="*/ 1109835 h 2493266"/>
                <a:gd name="connsiteX4076" fmla="*/ 2153772 w 3135233"/>
                <a:gd name="connsiteY4076" fmla="*/ 1106628 h 2493266"/>
                <a:gd name="connsiteX4077" fmla="*/ 2145434 w 3135233"/>
                <a:gd name="connsiteY4077" fmla="*/ 1105000 h 2493266"/>
                <a:gd name="connsiteX4078" fmla="*/ 2145434 w 3135233"/>
                <a:gd name="connsiteY4078" fmla="*/ 1108207 h 2493266"/>
                <a:gd name="connsiteX4079" fmla="*/ 2220431 w 3135233"/>
                <a:gd name="connsiteY4079" fmla="*/ 1106726 h 2493266"/>
                <a:gd name="connsiteX4080" fmla="*/ 2222503 w 3135233"/>
                <a:gd name="connsiteY4080" fmla="*/ 1103470 h 2493266"/>
                <a:gd name="connsiteX4081" fmla="*/ 2226648 w 3135233"/>
                <a:gd name="connsiteY4081" fmla="*/ 1101891 h 2493266"/>
                <a:gd name="connsiteX4082" fmla="*/ 2224576 w 3135233"/>
                <a:gd name="connsiteY4082" fmla="*/ 1106825 h 2493266"/>
                <a:gd name="connsiteX4083" fmla="*/ 2193343 w 3135233"/>
                <a:gd name="connsiteY4083" fmla="*/ 1135739 h 2493266"/>
                <a:gd name="connsiteX4084" fmla="*/ 2197488 w 3135233"/>
                <a:gd name="connsiteY4084" fmla="*/ 1132532 h 2493266"/>
                <a:gd name="connsiteX4085" fmla="*/ 2201633 w 3135233"/>
                <a:gd name="connsiteY4085" fmla="*/ 1126068 h 2493266"/>
                <a:gd name="connsiteX4086" fmla="*/ 2205827 w 3135233"/>
                <a:gd name="connsiteY4086" fmla="*/ 1126068 h 2493266"/>
                <a:gd name="connsiteX4087" fmla="*/ 2210020 w 3135233"/>
                <a:gd name="connsiteY4087" fmla="*/ 1122861 h 2493266"/>
                <a:gd name="connsiteX4088" fmla="*/ 2212043 w 3135233"/>
                <a:gd name="connsiteY4088" fmla="*/ 1122861 h 2493266"/>
                <a:gd name="connsiteX4089" fmla="*/ 2214165 w 3135233"/>
                <a:gd name="connsiteY4089" fmla="*/ 1126068 h 2493266"/>
                <a:gd name="connsiteX4090" fmla="*/ 2214165 w 3135233"/>
                <a:gd name="connsiteY4090" fmla="*/ 1127696 h 2493266"/>
                <a:gd name="connsiteX4091" fmla="*/ 2207948 w 3135233"/>
                <a:gd name="connsiteY4091" fmla="*/ 1130903 h 2493266"/>
                <a:gd name="connsiteX4092" fmla="*/ 2201633 w 3135233"/>
                <a:gd name="connsiteY4092" fmla="*/ 1134160 h 2493266"/>
                <a:gd name="connsiteX4093" fmla="*/ 2197488 w 3135233"/>
                <a:gd name="connsiteY4093" fmla="*/ 1135739 h 2493266"/>
                <a:gd name="connsiteX4094" fmla="*/ 2166256 w 3135233"/>
                <a:gd name="connsiteY4094" fmla="*/ 1172892 h 2493266"/>
                <a:gd name="connsiteX4095" fmla="*/ 2180811 w 3135233"/>
                <a:gd name="connsiteY4095" fmla="*/ 1164800 h 2493266"/>
                <a:gd name="connsiteX4096" fmla="*/ 2182933 w 3135233"/>
                <a:gd name="connsiteY4096" fmla="*/ 1159866 h 2493266"/>
                <a:gd name="connsiteX4097" fmla="*/ 2187077 w 3135233"/>
                <a:gd name="connsiteY4097" fmla="*/ 1159866 h 2493266"/>
                <a:gd name="connsiteX4098" fmla="*/ 2193343 w 3135233"/>
                <a:gd name="connsiteY4098" fmla="*/ 1154932 h 2493266"/>
                <a:gd name="connsiteX4099" fmla="*/ 2199610 w 3135233"/>
                <a:gd name="connsiteY4099" fmla="*/ 1149998 h 2493266"/>
                <a:gd name="connsiteX4100" fmla="*/ 2197488 w 3135233"/>
                <a:gd name="connsiteY4100" fmla="*/ 1143534 h 2493266"/>
                <a:gd name="connsiteX4101" fmla="*/ 2195416 w 3135233"/>
                <a:gd name="connsiteY4101" fmla="*/ 1141906 h 2493266"/>
                <a:gd name="connsiteX4102" fmla="*/ 2189150 w 3135233"/>
                <a:gd name="connsiteY4102" fmla="*/ 1143534 h 2493266"/>
                <a:gd name="connsiteX4103" fmla="*/ 2187077 w 3135233"/>
                <a:gd name="connsiteY4103" fmla="*/ 1148468 h 2493266"/>
                <a:gd name="connsiteX4104" fmla="*/ 2185005 w 3135233"/>
                <a:gd name="connsiteY4104" fmla="*/ 1148468 h 2493266"/>
                <a:gd name="connsiteX4105" fmla="*/ 2178739 w 3135233"/>
                <a:gd name="connsiteY4105" fmla="*/ 1154932 h 2493266"/>
                <a:gd name="connsiteX4106" fmla="*/ 2172522 w 3135233"/>
                <a:gd name="connsiteY4106" fmla="*/ 1156511 h 2493266"/>
                <a:gd name="connsiteX4107" fmla="*/ 2164183 w 3135233"/>
                <a:gd name="connsiteY4107" fmla="*/ 1156511 h 2493266"/>
                <a:gd name="connsiteX4108" fmla="*/ 2157917 w 3135233"/>
                <a:gd name="connsiteY4108" fmla="*/ 1158139 h 2493266"/>
                <a:gd name="connsiteX4109" fmla="*/ 2155845 w 3135233"/>
                <a:gd name="connsiteY4109" fmla="*/ 1164603 h 2493266"/>
                <a:gd name="connsiteX4110" fmla="*/ 2149579 w 3135233"/>
                <a:gd name="connsiteY4110" fmla="*/ 1166231 h 2493266"/>
                <a:gd name="connsiteX4111" fmla="*/ 2151700 w 3135233"/>
                <a:gd name="connsiteY4111" fmla="*/ 1174273 h 2493266"/>
                <a:gd name="connsiteX4112" fmla="*/ 2155845 w 3135233"/>
                <a:gd name="connsiteY4112" fmla="*/ 1172694 h 2493266"/>
                <a:gd name="connsiteX4113" fmla="*/ 2166256 w 3135233"/>
                <a:gd name="connsiteY4113" fmla="*/ 1172694 h 2493266"/>
                <a:gd name="connsiteX4114" fmla="*/ 2224576 w 3135233"/>
                <a:gd name="connsiteY4114" fmla="*/ 1167958 h 2493266"/>
                <a:gd name="connsiteX4115" fmla="*/ 2222503 w 3135233"/>
                <a:gd name="connsiteY4115" fmla="*/ 1158090 h 2493266"/>
                <a:gd name="connsiteX4116" fmla="*/ 2224576 w 3135233"/>
                <a:gd name="connsiteY4116" fmla="*/ 1156462 h 2493266"/>
                <a:gd name="connsiteX4117" fmla="*/ 2228770 w 3135233"/>
                <a:gd name="connsiteY4117" fmla="*/ 1150047 h 2493266"/>
                <a:gd name="connsiteX4118" fmla="*/ 2232914 w 3135233"/>
                <a:gd name="connsiteY4118" fmla="*/ 1150047 h 2493266"/>
                <a:gd name="connsiteX4119" fmla="*/ 2241253 w 3135233"/>
                <a:gd name="connsiteY4119" fmla="*/ 1151626 h 2493266"/>
                <a:gd name="connsiteX4120" fmla="*/ 2241253 w 3135233"/>
                <a:gd name="connsiteY4120" fmla="*/ 1158090 h 2493266"/>
                <a:gd name="connsiteX4121" fmla="*/ 2239180 w 3135233"/>
                <a:gd name="connsiteY4121" fmla="*/ 1163024 h 2493266"/>
                <a:gd name="connsiteX4122" fmla="*/ 2234987 w 3135233"/>
                <a:gd name="connsiteY4122" fmla="*/ 1163024 h 2493266"/>
                <a:gd name="connsiteX4123" fmla="*/ 2230842 w 3135233"/>
                <a:gd name="connsiteY4123" fmla="*/ 1167958 h 2493266"/>
                <a:gd name="connsiteX4124" fmla="*/ 2272485 w 3135233"/>
                <a:gd name="connsiteY4124" fmla="*/ 1217989 h 2493266"/>
                <a:gd name="connsiteX4125" fmla="*/ 2270758 w 3135233"/>
                <a:gd name="connsiteY4125" fmla="*/ 1210292 h 2493266"/>
                <a:gd name="connsiteX4126" fmla="*/ 2272831 w 3135233"/>
                <a:gd name="connsiteY4126" fmla="*/ 1202200 h 2493266"/>
                <a:gd name="connsiteX4127" fmla="*/ 2268637 w 3135233"/>
                <a:gd name="connsiteY4127" fmla="*/ 1197266 h 2493266"/>
                <a:gd name="connsiteX4128" fmla="*/ 2264492 w 3135233"/>
                <a:gd name="connsiteY4128" fmla="*/ 1197266 h 2493266"/>
                <a:gd name="connsiteX4129" fmla="*/ 2264492 w 3135233"/>
                <a:gd name="connsiteY4129" fmla="*/ 1202200 h 2493266"/>
                <a:gd name="connsiteX4130" fmla="*/ 2260348 w 3135233"/>
                <a:gd name="connsiteY4130" fmla="*/ 1208664 h 2493266"/>
                <a:gd name="connsiteX4131" fmla="*/ 2262420 w 3135233"/>
                <a:gd name="connsiteY4131" fmla="*/ 1215127 h 2493266"/>
                <a:gd name="connsiteX4132" fmla="*/ 2264492 w 3135233"/>
                <a:gd name="connsiteY4132" fmla="*/ 1218334 h 2493266"/>
                <a:gd name="connsiteX4133" fmla="*/ 2264492 w 3135233"/>
                <a:gd name="connsiteY4133" fmla="*/ 1221591 h 2493266"/>
                <a:gd name="connsiteX4134" fmla="*/ 2268637 w 3135233"/>
                <a:gd name="connsiteY4134" fmla="*/ 1219963 h 2493266"/>
                <a:gd name="connsiteX4135" fmla="*/ 2276679 w 3135233"/>
                <a:gd name="connsiteY4135" fmla="*/ 1213055 h 2493266"/>
                <a:gd name="connsiteX4136" fmla="*/ 2274558 w 3135233"/>
                <a:gd name="connsiteY4136" fmla="*/ 1208121 h 2493266"/>
                <a:gd name="connsiteX4137" fmla="*/ 2276679 w 3135233"/>
                <a:gd name="connsiteY4137" fmla="*/ 1201657 h 2493266"/>
                <a:gd name="connsiteX4138" fmla="*/ 2278702 w 3135233"/>
                <a:gd name="connsiteY4138" fmla="*/ 1208121 h 2493266"/>
                <a:gd name="connsiteX4139" fmla="*/ 2282896 w 3135233"/>
                <a:gd name="connsiteY4139" fmla="*/ 1211328 h 2493266"/>
                <a:gd name="connsiteX4140" fmla="*/ 2278702 w 3135233"/>
                <a:gd name="connsiteY4140" fmla="*/ 1214585 h 2493266"/>
                <a:gd name="connsiteX4141" fmla="*/ 2287090 w 3135233"/>
                <a:gd name="connsiteY4141" fmla="*/ 1225982 h 2493266"/>
                <a:gd name="connsiteX4142" fmla="*/ 2284968 w 3135233"/>
                <a:gd name="connsiteY4142" fmla="*/ 1222726 h 2493266"/>
                <a:gd name="connsiteX4143" fmla="*/ 2287090 w 3135233"/>
                <a:gd name="connsiteY4143" fmla="*/ 1219519 h 2493266"/>
                <a:gd name="connsiteX4144" fmla="*/ 2289162 w 3135233"/>
                <a:gd name="connsiteY4144" fmla="*/ 1219519 h 2493266"/>
                <a:gd name="connsiteX4145" fmla="*/ 2289162 w 3135233"/>
                <a:gd name="connsiteY4145" fmla="*/ 1224453 h 2493266"/>
                <a:gd name="connsiteX4146" fmla="*/ 2264147 w 3135233"/>
                <a:gd name="connsiteY4146" fmla="*/ 1238860 h 2493266"/>
                <a:gd name="connsiteX4147" fmla="*/ 2262074 w 3135233"/>
                <a:gd name="connsiteY4147" fmla="*/ 1242116 h 2493266"/>
                <a:gd name="connsiteX4148" fmla="*/ 2264147 w 3135233"/>
                <a:gd name="connsiteY4148" fmla="*/ 1247050 h 2493266"/>
                <a:gd name="connsiteX4149" fmla="*/ 2266269 w 3135233"/>
                <a:gd name="connsiteY4149" fmla="*/ 1255093 h 2493266"/>
                <a:gd name="connsiteX4150" fmla="*/ 2268291 w 3135233"/>
                <a:gd name="connsiteY4150" fmla="*/ 1256721 h 2493266"/>
                <a:gd name="connsiteX4151" fmla="*/ 2272485 w 3135233"/>
                <a:gd name="connsiteY4151" fmla="*/ 1255093 h 2493266"/>
                <a:gd name="connsiteX4152" fmla="*/ 2278702 w 3135233"/>
                <a:gd name="connsiteY4152" fmla="*/ 1256721 h 2493266"/>
                <a:gd name="connsiteX4153" fmla="*/ 2282896 w 3135233"/>
                <a:gd name="connsiteY4153" fmla="*/ 1258349 h 2493266"/>
                <a:gd name="connsiteX4154" fmla="*/ 2289162 w 3135233"/>
                <a:gd name="connsiteY4154" fmla="*/ 1256721 h 2493266"/>
                <a:gd name="connsiteX4155" fmla="*/ 2295379 w 3135233"/>
                <a:gd name="connsiteY4155" fmla="*/ 1258349 h 2493266"/>
                <a:gd name="connsiteX4156" fmla="*/ 2297501 w 3135233"/>
                <a:gd name="connsiteY4156" fmla="*/ 1255093 h 2493266"/>
                <a:gd name="connsiteX4157" fmla="*/ 2295379 w 3135233"/>
                <a:gd name="connsiteY4157" fmla="*/ 1251886 h 2493266"/>
                <a:gd name="connsiteX4158" fmla="*/ 2295379 w 3135233"/>
                <a:gd name="connsiteY4158" fmla="*/ 1245422 h 2493266"/>
                <a:gd name="connsiteX4159" fmla="*/ 2289162 w 3135233"/>
                <a:gd name="connsiteY4159" fmla="*/ 1243794 h 2493266"/>
                <a:gd name="connsiteX4160" fmla="*/ 2284968 w 3135233"/>
                <a:gd name="connsiteY4160" fmla="*/ 1240587 h 2493266"/>
                <a:gd name="connsiteX4161" fmla="*/ 2278702 w 3135233"/>
                <a:gd name="connsiteY4161" fmla="*/ 1238959 h 2493266"/>
                <a:gd name="connsiteX4162" fmla="*/ 2276679 w 3135233"/>
                <a:gd name="connsiteY4162" fmla="*/ 1240587 h 2493266"/>
                <a:gd name="connsiteX4163" fmla="*/ 2276679 w 3135233"/>
                <a:gd name="connsiteY4163" fmla="*/ 1234469 h 2493266"/>
                <a:gd name="connsiteX4164" fmla="*/ 2274558 w 3135233"/>
                <a:gd name="connsiteY4164" fmla="*/ 1236097 h 2493266"/>
                <a:gd name="connsiteX4165" fmla="*/ 2270413 w 3135233"/>
                <a:gd name="connsiteY4165" fmla="*/ 1239304 h 2493266"/>
                <a:gd name="connsiteX4166" fmla="*/ 2264344 w 3135233"/>
                <a:gd name="connsiteY4166" fmla="*/ 1239304 h 2493266"/>
                <a:gd name="connsiteX4167" fmla="*/ 2074828 w 3135233"/>
                <a:gd name="connsiteY4167" fmla="*/ 1466862 h 2493266"/>
                <a:gd name="connsiteX4168" fmla="*/ 2083265 w 3135233"/>
                <a:gd name="connsiteY4168" fmla="*/ 1466862 h 2493266"/>
                <a:gd name="connsiteX4169" fmla="*/ 2085387 w 3135233"/>
                <a:gd name="connsiteY4169" fmla="*/ 1465233 h 2493266"/>
                <a:gd name="connsiteX4170" fmla="*/ 2081193 w 3135233"/>
                <a:gd name="connsiteY4170" fmla="*/ 1461977 h 2493266"/>
                <a:gd name="connsiteX4171" fmla="*/ 2077048 w 3135233"/>
                <a:gd name="connsiteY4171" fmla="*/ 1463605 h 2493266"/>
                <a:gd name="connsiteX4172" fmla="*/ 1968549 w 3135233"/>
                <a:gd name="connsiteY4172" fmla="*/ 1316768 h 2493266"/>
                <a:gd name="connsiteX4173" fmla="*/ 1974815 w 3135233"/>
                <a:gd name="connsiteY4173" fmla="*/ 1319975 h 2493266"/>
                <a:gd name="connsiteX4174" fmla="*/ 1976887 w 3135233"/>
                <a:gd name="connsiteY4174" fmla="*/ 1319975 h 2493266"/>
                <a:gd name="connsiteX4175" fmla="*/ 1978959 w 3135233"/>
                <a:gd name="connsiteY4175" fmla="*/ 1318397 h 2493266"/>
                <a:gd name="connsiteX4176" fmla="*/ 1974815 w 3135233"/>
                <a:gd name="connsiteY4176" fmla="*/ 1315189 h 2493266"/>
                <a:gd name="connsiteX4177" fmla="*/ 1970670 w 3135233"/>
                <a:gd name="connsiteY4177" fmla="*/ 1315189 h 2493266"/>
                <a:gd name="connsiteX4178" fmla="*/ 1945655 w 3135233"/>
                <a:gd name="connsiteY4178" fmla="*/ 1350665 h 2493266"/>
                <a:gd name="connsiteX4179" fmla="*/ 1945655 w 3135233"/>
                <a:gd name="connsiteY4179" fmla="*/ 1345731 h 2493266"/>
                <a:gd name="connsiteX4180" fmla="*/ 1941510 w 3135233"/>
                <a:gd name="connsiteY4180" fmla="*/ 1342524 h 2493266"/>
                <a:gd name="connsiteX4181" fmla="*/ 1935244 w 3135233"/>
                <a:gd name="connsiteY4181" fmla="*/ 1339268 h 2493266"/>
                <a:gd name="connsiteX4182" fmla="*/ 1935244 w 3135233"/>
                <a:gd name="connsiteY4182" fmla="*/ 1336060 h 2493266"/>
                <a:gd name="connsiteX4183" fmla="*/ 1933172 w 3135233"/>
                <a:gd name="connsiteY4183" fmla="*/ 1329597 h 2493266"/>
                <a:gd name="connsiteX4184" fmla="*/ 1929027 w 3135233"/>
                <a:gd name="connsiteY4184" fmla="*/ 1326340 h 2493266"/>
                <a:gd name="connsiteX4185" fmla="*/ 1929027 w 3135233"/>
                <a:gd name="connsiteY4185" fmla="*/ 1318298 h 2493266"/>
                <a:gd name="connsiteX4186" fmla="*/ 1931099 w 3135233"/>
                <a:gd name="connsiteY4186" fmla="*/ 1316670 h 2493266"/>
                <a:gd name="connsiteX4187" fmla="*/ 1933172 w 3135233"/>
                <a:gd name="connsiteY4187" fmla="*/ 1323133 h 2493266"/>
                <a:gd name="connsiteX4188" fmla="*/ 1939438 w 3135233"/>
                <a:gd name="connsiteY4188" fmla="*/ 1324761 h 2493266"/>
                <a:gd name="connsiteX4189" fmla="*/ 1941510 w 3135233"/>
                <a:gd name="connsiteY4189" fmla="*/ 1329696 h 2493266"/>
                <a:gd name="connsiteX4190" fmla="*/ 1945655 w 3135233"/>
                <a:gd name="connsiteY4190" fmla="*/ 1332903 h 2493266"/>
                <a:gd name="connsiteX4191" fmla="*/ 1945655 w 3135233"/>
                <a:gd name="connsiteY4191" fmla="*/ 1340945 h 2493266"/>
                <a:gd name="connsiteX4192" fmla="*/ 1953993 w 3135233"/>
                <a:gd name="connsiteY4192" fmla="*/ 1344202 h 2493266"/>
                <a:gd name="connsiteX4193" fmla="*/ 1958138 w 3135233"/>
                <a:gd name="connsiteY4193" fmla="*/ 1344202 h 2493266"/>
                <a:gd name="connsiteX4194" fmla="*/ 1958138 w 3135233"/>
                <a:gd name="connsiteY4194" fmla="*/ 1350665 h 2493266"/>
                <a:gd name="connsiteX4195" fmla="*/ 1949849 w 3135233"/>
                <a:gd name="connsiteY4195" fmla="*/ 1349037 h 2493266"/>
                <a:gd name="connsiteX4196" fmla="*/ 1904011 w 3135233"/>
                <a:gd name="connsiteY4196" fmla="*/ 1349037 h 2493266"/>
                <a:gd name="connsiteX4197" fmla="*/ 1904011 w 3135233"/>
                <a:gd name="connsiteY4197" fmla="*/ 1342623 h 2493266"/>
                <a:gd name="connsiteX4198" fmla="*/ 1901939 w 3135233"/>
                <a:gd name="connsiteY4198" fmla="*/ 1339366 h 2493266"/>
                <a:gd name="connsiteX4199" fmla="*/ 1904011 w 3135233"/>
                <a:gd name="connsiteY4199" fmla="*/ 1336159 h 2493266"/>
                <a:gd name="connsiteX4200" fmla="*/ 1904011 w 3135233"/>
                <a:gd name="connsiteY4200" fmla="*/ 1326291 h 2493266"/>
                <a:gd name="connsiteX4201" fmla="*/ 1906084 w 3135233"/>
                <a:gd name="connsiteY4201" fmla="*/ 1321357 h 2493266"/>
                <a:gd name="connsiteX4202" fmla="*/ 1910228 w 3135233"/>
                <a:gd name="connsiteY4202" fmla="*/ 1321357 h 2493266"/>
                <a:gd name="connsiteX4203" fmla="*/ 1912350 w 3135233"/>
                <a:gd name="connsiteY4203" fmla="*/ 1327821 h 2493266"/>
                <a:gd name="connsiteX4204" fmla="*/ 1908206 w 3135233"/>
                <a:gd name="connsiteY4204" fmla="*/ 1329449 h 2493266"/>
                <a:gd name="connsiteX4205" fmla="*/ 1910228 w 3135233"/>
                <a:gd name="connsiteY4205" fmla="*/ 1332656 h 2493266"/>
                <a:gd name="connsiteX4206" fmla="*/ 1912350 w 3135233"/>
                <a:gd name="connsiteY4206" fmla="*/ 1337590 h 2493266"/>
                <a:gd name="connsiteX4207" fmla="*/ 1908206 w 3135233"/>
                <a:gd name="connsiteY4207" fmla="*/ 1347458 h 2493266"/>
                <a:gd name="connsiteX4208" fmla="*/ 1899818 w 3135233"/>
                <a:gd name="connsiteY4208" fmla="*/ 1202200 h 2493266"/>
                <a:gd name="connsiteX4209" fmla="*/ 1899818 w 3135233"/>
                <a:gd name="connsiteY4209" fmla="*/ 1207134 h 2493266"/>
                <a:gd name="connsiteX4210" fmla="*/ 1901939 w 3135233"/>
                <a:gd name="connsiteY4210" fmla="*/ 1208762 h 2493266"/>
                <a:gd name="connsiteX4211" fmla="*/ 1910228 w 3135233"/>
                <a:gd name="connsiteY4211" fmla="*/ 1208762 h 2493266"/>
                <a:gd name="connsiteX4212" fmla="*/ 1914422 w 3135233"/>
                <a:gd name="connsiteY4212" fmla="*/ 1205555 h 2493266"/>
                <a:gd name="connsiteX4213" fmla="*/ 1912350 w 3135233"/>
                <a:gd name="connsiteY4213" fmla="*/ 1202299 h 2493266"/>
                <a:gd name="connsiteX4214" fmla="*/ 1899818 w 3135233"/>
                <a:gd name="connsiteY4214" fmla="*/ 1202299 h 2493266"/>
                <a:gd name="connsiteX4215" fmla="*/ 1901939 w 3135233"/>
                <a:gd name="connsiteY4215" fmla="*/ 1198993 h 2493266"/>
                <a:gd name="connsiteX4216" fmla="*/ 1906084 w 3135233"/>
                <a:gd name="connsiteY4216" fmla="*/ 1194059 h 2493266"/>
                <a:gd name="connsiteX4217" fmla="*/ 1906084 w 3135233"/>
                <a:gd name="connsiteY4217" fmla="*/ 1187595 h 2493266"/>
                <a:gd name="connsiteX4218" fmla="*/ 1912350 w 3135233"/>
                <a:gd name="connsiteY4218" fmla="*/ 1181132 h 2493266"/>
                <a:gd name="connsiteX4219" fmla="*/ 1918616 w 3135233"/>
                <a:gd name="connsiteY4219" fmla="*/ 1177925 h 2493266"/>
                <a:gd name="connsiteX4220" fmla="*/ 1918616 w 3135233"/>
                <a:gd name="connsiteY4220" fmla="*/ 1198944 h 2493266"/>
                <a:gd name="connsiteX4221" fmla="*/ 1912350 w 3135233"/>
                <a:gd name="connsiteY4221" fmla="*/ 1200523 h 2493266"/>
                <a:gd name="connsiteX4222" fmla="*/ 1556162 w 3135233"/>
                <a:gd name="connsiteY4222" fmla="*/ 1137663 h 2493266"/>
                <a:gd name="connsiteX4223" fmla="*/ 1560307 w 3135233"/>
                <a:gd name="connsiteY4223" fmla="*/ 1136035 h 2493266"/>
                <a:gd name="connsiteX4224" fmla="*/ 1560307 w 3135233"/>
                <a:gd name="connsiteY4224" fmla="*/ 1131101 h 2493266"/>
                <a:gd name="connsiteX4225" fmla="*/ 1551968 w 3135233"/>
                <a:gd name="connsiteY4225" fmla="*/ 1131101 h 2493266"/>
                <a:gd name="connsiteX4226" fmla="*/ 1554090 w 3135233"/>
                <a:gd name="connsiteY4226" fmla="*/ 1136035 h 2493266"/>
                <a:gd name="connsiteX4227" fmla="*/ 1260367 w 3135233"/>
                <a:gd name="connsiteY4227" fmla="*/ 1066662 h 2493266"/>
                <a:gd name="connsiteX4228" fmla="*/ 1264561 w 3135233"/>
                <a:gd name="connsiteY4228" fmla="*/ 1063455 h 2493266"/>
                <a:gd name="connsiteX4229" fmla="*/ 1268705 w 3135233"/>
                <a:gd name="connsiteY4229" fmla="*/ 1063455 h 2493266"/>
                <a:gd name="connsiteX4230" fmla="*/ 1264561 w 3135233"/>
                <a:gd name="connsiteY4230" fmla="*/ 1066662 h 2493266"/>
                <a:gd name="connsiteX4231" fmla="*/ 1235400 w 3135233"/>
                <a:gd name="connsiteY4231" fmla="*/ 1076530 h 2493266"/>
                <a:gd name="connsiteX4232" fmla="*/ 1243690 w 3135233"/>
                <a:gd name="connsiteY4232" fmla="*/ 1076530 h 2493266"/>
                <a:gd name="connsiteX4233" fmla="*/ 1243690 w 3135233"/>
                <a:gd name="connsiteY4233" fmla="*/ 1073323 h 2493266"/>
                <a:gd name="connsiteX4234" fmla="*/ 1239545 w 3135233"/>
                <a:gd name="connsiteY4234" fmla="*/ 1073323 h 2493266"/>
                <a:gd name="connsiteX4235" fmla="*/ 1247884 w 3135233"/>
                <a:gd name="connsiteY4235" fmla="*/ 1099128 h 2493266"/>
                <a:gd name="connsiteX4236" fmla="*/ 1245811 w 3135233"/>
                <a:gd name="connsiteY4236" fmla="*/ 1094194 h 2493266"/>
                <a:gd name="connsiteX4237" fmla="*/ 1247884 w 3135233"/>
                <a:gd name="connsiteY4237" fmla="*/ 1094194 h 2493266"/>
                <a:gd name="connsiteX4238" fmla="*/ 1249956 w 3135233"/>
                <a:gd name="connsiteY4238" fmla="*/ 1099128 h 2493266"/>
                <a:gd name="connsiteX4239" fmla="*/ 1247884 w 3135233"/>
                <a:gd name="connsiteY4239" fmla="*/ 1100756 h 2493266"/>
                <a:gd name="connsiteX4240" fmla="*/ 1241617 w 3135233"/>
                <a:gd name="connsiteY4240" fmla="*/ 1092665 h 2493266"/>
                <a:gd name="connsiteX4241" fmla="*/ 1241617 w 3135233"/>
                <a:gd name="connsiteY4241" fmla="*/ 1095921 h 2493266"/>
                <a:gd name="connsiteX4242" fmla="*/ 1243690 w 3135233"/>
                <a:gd name="connsiteY4242" fmla="*/ 1099128 h 2493266"/>
                <a:gd name="connsiteX4243" fmla="*/ 1258294 w 3135233"/>
                <a:gd name="connsiteY4243" fmla="*/ 1115065 h 2493266"/>
                <a:gd name="connsiteX4244" fmla="*/ 1262439 w 3135233"/>
                <a:gd name="connsiteY4244" fmla="*/ 1123157 h 2493266"/>
                <a:gd name="connsiteX4245" fmla="*/ 1264561 w 3135233"/>
                <a:gd name="connsiteY4245" fmla="*/ 1123157 h 2493266"/>
                <a:gd name="connsiteX4246" fmla="*/ 1268705 w 3135233"/>
                <a:gd name="connsiteY4246" fmla="*/ 1118223 h 2493266"/>
                <a:gd name="connsiteX4247" fmla="*/ 1266633 w 3135233"/>
                <a:gd name="connsiteY4247" fmla="*/ 1116595 h 2493266"/>
                <a:gd name="connsiteX4248" fmla="*/ 1270778 w 3135233"/>
                <a:gd name="connsiteY4248" fmla="*/ 1113387 h 2493266"/>
                <a:gd name="connsiteX4249" fmla="*/ 1266633 w 3135233"/>
                <a:gd name="connsiteY4249" fmla="*/ 1113387 h 2493266"/>
                <a:gd name="connsiteX4250" fmla="*/ 1264561 w 3135233"/>
                <a:gd name="connsiteY4250" fmla="*/ 1116595 h 2493266"/>
                <a:gd name="connsiteX4251" fmla="*/ 1262439 w 3135233"/>
                <a:gd name="connsiteY4251" fmla="*/ 1113387 h 2493266"/>
                <a:gd name="connsiteX4252" fmla="*/ 1247884 w 3135233"/>
                <a:gd name="connsiteY4252" fmla="*/ 1152169 h 2493266"/>
                <a:gd name="connsiteX4253" fmla="*/ 1245811 w 3135233"/>
                <a:gd name="connsiteY4253" fmla="*/ 1142301 h 2493266"/>
                <a:gd name="connsiteX4254" fmla="*/ 1249956 w 3135233"/>
                <a:gd name="connsiteY4254" fmla="*/ 1139094 h 2493266"/>
                <a:gd name="connsiteX4255" fmla="*/ 1249956 w 3135233"/>
                <a:gd name="connsiteY4255" fmla="*/ 1134160 h 2493266"/>
                <a:gd name="connsiteX4256" fmla="*/ 1254101 w 3135233"/>
                <a:gd name="connsiteY4256" fmla="*/ 1127696 h 2493266"/>
                <a:gd name="connsiteX4257" fmla="*/ 1256222 w 3135233"/>
                <a:gd name="connsiteY4257" fmla="*/ 1130903 h 2493266"/>
                <a:gd name="connsiteX4258" fmla="*/ 1256222 w 3135233"/>
                <a:gd name="connsiteY4258" fmla="*/ 1134160 h 2493266"/>
                <a:gd name="connsiteX4259" fmla="*/ 1258294 w 3135233"/>
                <a:gd name="connsiteY4259" fmla="*/ 1137367 h 2493266"/>
                <a:gd name="connsiteX4260" fmla="*/ 1256222 w 3135233"/>
                <a:gd name="connsiteY4260" fmla="*/ 1140574 h 2493266"/>
                <a:gd name="connsiteX4261" fmla="*/ 1258294 w 3135233"/>
                <a:gd name="connsiteY4261" fmla="*/ 1143830 h 2493266"/>
                <a:gd name="connsiteX4262" fmla="*/ 1254101 w 3135233"/>
                <a:gd name="connsiteY4262" fmla="*/ 1147038 h 2493266"/>
                <a:gd name="connsiteX4263" fmla="*/ 1252028 w 3135233"/>
                <a:gd name="connsiteY4263" fmla="*/ 1150294 h 2493266"/>
                <a:gd name="connsiteX4264" fmla="*/ 1516591 w 3135233"/>
                <a:gd name="connsiteY4264" fmla="*/ 1011796 h 2493266"/>
                <a:gd name="connsiteX4265" fmla="*/ 1516591 w 3135233"/>
                <a:gd name="connsiteY4265" fmla="*/ 1008588 h 2493266"/>
                <a:gd name="connsiteX4266" fmla="*/ 1518663 w 3135233"/>
                <a:gd name="connsiteY4266" fmla="*/ 1006960 h 2493266"/>
                <a:gd name="connsiteX4267" fmla="*/ 1520736 w 3135233"/>
                <a:gd name="connsiteY4267" fmla="*/ 1008588 h 2493266"/>
                <a:gd name="connsiteX4268" fmla="*/ 1518663 w 3135233"/>
                <a:gd name="connsiteY4268" fmla="*/ 1011796 h 2493266"/>
                <a:gd name="connsiteX4269" fmla="*/ 1606144 w 3135233"/>
                <a:gd name="connsiteY4269" fmla="*/ 965021 h 2493266"/>
                <a:gd name="connsiteX4270" fmla="*/ 1604072 w 3135233"/>
                <a:gd name="connsiteY4270" fmla="*/ 956929 h 2493266"/>
                <a:gd name="connsiteX4271" fmla="*/ 1601999 w 3135233"/>
                <a:gd name="connsiteY4271" fmla="*/ 955350 h 2493266"/>
                <a:gd name="connsiteX4272" fmla="*/ 1604072 w 3135233"/>
                <a:gd name="connsiteY4272" fmla="*/ 947258 h 2493266"/>
                <a:gd name="connsiteX4273" fmla="*/ 1608216 w 3135233"/>
                <a:gd name="connsiteY4273" fmla="*/ 945630 h 2493266"/>
                <a:gd name="connsiteX4274" fmla="*/ 1610289 w 3135233"/>
                <a:gd name="connsiteY4274" fmla="*/ 948887 h 2493266"/>
                <a:gd name="connsiteX4275" fmla="*/ 1610289 w 3135233"/>
                <a:gd name="connsiteY4275" fmla="*/ 952242 h 2493266"/>
                <a:gd name="connsiteX4276" fmla="*/ 1612410 w 3135233"/>
                <a:gd name="connsiteY4276" fmla="*/ 955498 h 2493266"/>
                <a:gd name="connsiteX4277" fmla="*/ 1610289 w 3135233"/>
                <a:gd name="connsiteY4277" fmla="*/ 958705 h 2493266"/>
                <a:gd name="connsiteX4278" fmla="*/ 1608216 w 3135233"/>
                <a:gd name="connsiteY4278" fmla="*/ 965169 h 2493266"/>
                <a:gd name="connsiteX4279" fmla="*/ 1506180 w 3135233"/>
                <a:gd name="connsiteY4279" fmla="*/ 1058768 h 2493266"/>
                <a:gd name="connsiteX4280" fmla="*/ 1506180 w 3135233"/>
                <a:gd name="connsiteY4280" fmla="*/ 1055511 h 2493266"/>
                <a:gd name="connsiteX4281" fmla="*/ 1504059 w 3135233"/>
                <a:gd name="connsiteY4281" fmla="*/ 1052304 h 2493266"/>
                <a:gd name="connsiteX4282" fmla="*/ 1510325 w 3135233"/>
                <a:gd name="connsiteY4282" fmla="*/ 1047370 h 2493266"/>
                <a:gd name="connsiteX4283" fmla="*/ 1510325 w 3135233"/>
                <a:gd name="connsiteY4283" fmla="*/ 1045742 h 2493266"/>
                <a:gd name="connsiteX4284" fmla="*/ 1512397 w 3135233"/>
                <a:gd name="connsiteY4284" fmla="*/ 1042535 h 2493266"/>
                <a:gd name="connsiteX4285" fmla="*/ 1512397 w 3135233"/>
                <a:gd name="connsiteY4285" fmla="*/ 1037601 h 2493266"/>
                <a:gd name="connsiteX4286" fmla="*/ 1505983 w 3135233"/>
                <a:gd name="connsiteY4286" fmla="*/ 1037601 h 2493266"/>
                <a:gd name="connsiteX4287" fmla="*/ 1505983 w 3135233"/>
                <a:gd name="connsiteY4287" fmla="*/ 1032667 h 2493266"/>
                <a:gd name="connsiteX4288" fmla="*/ 1508055 w 3135233"/>
                <a:gd name="connsiteY4288" fmla="*/ 1027733 h 2493266"/>
                <a:gd name="connsiteX4289" fmla="*/ 1514321 w 3135233"/>
                <a:gd name="connsiteY4289" fmla="*/ 1027733 h 2493266"/>
                <a:gd name="connsiteX4290" fmla="*/ 1514321 w 3135233"/>
                <a:gd name="connsiteY4290" fmla="*/ 1021318 h 2493266"/>
                <a:gd name="connsiteX4291" fmla="*/ 1505983 w 3135233"/>
                <a:gd name="connsiteY4291" fmla="*/ 1018062 h 2493266"/>
                <a:gd name="connsiteX4292" fmla="*/ 1501789 w 3135233"/>
                <a:gd name="connsiteY4292" fmla="*/ 1019690 h 2493266"/>
                <a:gd name="connsiteX4293" fmla="*/ 1501789 w 3135233"/>
                <a:gd name="connsiteY4293" fmla="*/ 1022897 h 2493266"/>
                <a:gd name="connsiteX4294" fmla="*/ 1499717 w 3135233"/>
                <a:gd name="connsiteY4294" fmla="*/ 1026154 h 2493266"/>
                <a:gd name="connsiteX4295" fmla="*/ 1495572 w 3135233"/>
                <a:gd name="connsiteY4295" fmla="*/ 1022897 h 2493266"/>
                <a:gd name="connsiteX4296" fmla="*/ 1485112 w 3135233"/>
                <a:gd name="connsiteY4296" fmla="*/ 1022897 h 2493266"/>
                <a:gd name="connsiteX4297" fmla="*/ 1477020 w 3135233"/>
                <a:gd name="connsiteY4297" fmla="*/ 1031186 h 2493266"/>
                <a:gd name="connsiteX4298" fmla="*/ 1470754 w 3135233"/>
                <a:gd name="connsiteY4298" fmla="*/ 1034393 h 2493266"/>
                <a:gd name="connsiteX4299" fmla="*/ 1470754 w 3135233"/>
                <a:gd name="connsiteY4299" fmla="*/ 1032765 h 2493266"/>
                <a:gd name="connsiteX4300" fmla="*/ 1479092 w 3135233"/>
                <a:gd name="connsiteY4300" fmla="*/ 1027831 h 2493266"/>
                <a:gd name="connsiteX4301" fmla="*/ 1483237 w 3135233"/>
                <a:gd name="connsiteY4301" fmla="*/ 1022897 h 2493266"/>
                <a:gd name="connsiteX4302" fmla="*/ 1483237 w 3135233"/>
                <a:gd name="connsiteY4302" fmla="*/ 1016434 h 2493266"/>
                <a:gd name="connsiteX4303" fmla="*/ 1479092 w 3135233"/>
                <a:gd name="connsiteY4303" fmla="*/ 1021368 h 2493266"/>
                <a:gd name="connsiteX4304" fmla="*/ 1477020 w 3135233"/>
                <a:gd name="connsiteY4304" fmla="*/ 1019739 h 2493266"/>
                <a:gd name="connsiteX4305" fmla="*/ 1477020 w 3135233"/>
                <a:gd name="connsiteY4305" fmla="*/ 1014805 h 2493266"/>
                <a:gd name="connsiteX4306" fmla="*/ 1481165 w 3135233"/>
                <a:gd name="connsiteY4306" fmla="*/ 1009871 h 2493266"/>
                <a:gd name="connsiteX4307" fmla="*/ 1477020 w 3135233"/>
                <a:gd name="connsiteY4307" fmla="*/ 1003408 h 2493266"/>
                <a:gd name="connsiteX4308" fmla="*/ 1481165 w 3135233"/>
                <a:gd name="connsiteY4308" fmla="*/ 998474 h 2493266"/>
                <a:gd name="connsiteX4309" fmla="*/ 1487431 w 3135233"/>
                <a:gd name="connsiteY4309" fmla="*/ 998474 h 2493266"/>
                <a:gd name="connsiteX4310" fmla="*/ 1485309 w 3135233"/>
                <a:gd name="connsiteY4310" fmla="*/ 1001681 h 2493266"/>
                <a:gd name="connsiteX4311" fmla="*/ 1489503 w 3135233"/>
                <a:gd name="connsiteY4311" fmla="*/ 1009773 h 2493266"/>
                <a:gd name="connsiteX4312" fmla="*/ 1493648 w 3135233"/>
                <a:gd name="connsiteY4312" fmla="*/ 1014707 h 2493266"/>
                <a:gd name="connsiteX4313" fmla="*/ 1495769 w 3135233"/>
                <a:gd name="connsiteY4313" fmla="*/ 1013078 h 2493266"/>
                <a:gd name="connsiteX4314" fmla="*/ 1504059 w 3135233"/>
                <a:gd name="connsiteY4314" fmla="*/ 1013078 h 2493266"/>
                <a:gd name="connsiteX4315" fmla="*/ 1508253 w 3135233"/>
                <a:gd name="connsiteY4315" fmla="*/ 1004987 h 2493266"/>
                <a:gd name="connsiteX4316" fmla="*/ 1504059 w 3135233"/>
                <a:gd name="connsiteY4316" fmla="*/ 1003408 h 2493266"/>
                <a:gd name="connsiteX4317" fmla="*/ 1504059 w 3135233"/>
                <a:gd name="connsiteY4317" fmla="*/ 1000151 h 2493266"/>
                <a:gd name="connsiteX4318" fmla="*/ 1508253 w 3135233"/>
                <a:gd name="connsiteY4318" fmla="*/ 1000151 h 2493266"/>
                <a:gd name="connsiteX4319" fmla="*/ 1510325 w 3135233"/>
                <a:gd name="connsiteY4319" fmla="*/ 1001779 h 2493266"/>
                <a:gd name="connsiteX4320" fmla="*/ 1514519 w 3135233"/>
                <a:gd name="connsiteY4320" fmla="*/ 1001779 h 2493266"/>
                <a:gd name="connsiteX4321" fmla="*/ 1520736 w 3135233"/>
                <a:gd name="connsiteY4321" fmla="*/ 996845 h 2493266"/>
                <a:gd name="connsiteX4322" fmla="*/ 1522808 w 3135233"/>
                <a:gd name="connsiteY4322" fmla="*/ 990382 h 2493266"/>
                <a:gd name="connsiteX4323" fmla="*/ 1524930 w 3135233"/>
                <a:gd name="connsiteY4323" fmla="*/ 995316 h 2493266"/>
                <a:gd name="connsiteX4324" fmla="*/ 1527002 w 3135233"/>
                <a:gd name="connsiteY4324" fmla="*/ 995316 h 2493266"/>
                <a:gd name="connsiteX4325" fmla="*/ 1533219 w 3135233"/>
                <a:gd name="connsiteY4325" fmla="*/ 990382 h 2493266"/>
                <a:gd name="connsiteX4326" fmla="*/ 1527002 w 3135233"/>
                <a:gd name="connsiteY4326" fmla="*/ 1001681 h 2493266"/>
                <a:gd name="connsiteX4327" fmla="*/ 1527002 w 3135233"/>
                <a:gd name="connsiteY4327" fmla="*/ 1008144 h 2493266"/>
                <a:gd name="connsiteX4328" fmla="*/ 1531146 w 3135233"/>
                <a:gd name="connsiteY4328" fmla="*/ 1008144 h 2493266"/>
                <a:gd name="connsiteX4329" fmla="*/ 1533219 w 3135233"/>
                <a:gd name="connsiteY4329" fmla="*/ 1009773 h 2493266"/>
                <a:gd name="connsiteX4330" fmla="*/ 1531146 w 3135233"/>
                <a:gd name="connsiteY4330" fmla="*/ 1014707 h 2493266"/>
                <a:gd name="connsiteX4331" fmla="*/ 1535587 w 3135233"/>
                <a:gd name="connsiteY4331" fmla="*/ 1014707 h 2493266"/>
                <a:gd name="connsiteX4332" fmla="*/ 1537659 w 3135233"/>
                <a:gd name="connsiteY4332" fmla="*/ 1006615 h 2493266"/>
                <a:gd name="connsiteX4333" fmla="*/ 1541804 w 3135233"/>
                <a:gd name="connsiteY4333" fmla="*/ 1004987 h 2493266"/>
                <a:gd name="connsiteX4334" fmla="*/ 1548070 w 3135233"/>
                <a:gd name="connsiteY4334" fmla="*/ 995119 h 2493266"/>
                <a:gd name="connsiteX4335" fmla="*/ 1552215 w 3135233"/>
                <a:gd name="connsiteY4335" fmla="*/ 993540 h 2493266"/>
                <a:gd name="connsiteX4336" fmla="*/ 1550143 w 3135233"/>
                <a:gd name="connsiteY4336" fmla="*/ 999954 h 2493266"/>
                <a:gd name="connsiteX4337" fmla="*/ 1543926 w 3135233"/>
                <a:gd name="connsiteY4337" fmla="*/ 1006418 h 2493266"/>
                <a:gd name="connsiteX4338" fmla="*/ 1545998 w 3135233"/>
                <a:gd name="connsiteY4338" fmla="*/ 1016286 h 2493266"/>
                <a:gd name="connsiteX4339" fmla="*/ 1552215 w 3135233"/>
                <a:gd name="connsiteY4339" fmla="*/ 1016286 h 2493266"/>
                <a:gd name="connsiteX4340" fmla="*/ 1556409 w 3135233"/>
                <a:gd name="connsiteY4340" fmla="*/ 1019542 h 2493266"/>
                <a:gd name="connsiteX4341" fmla="*/ 1558481 w 3135233"/>
                <a:gd name="connsiteY4341" fmla="*/ 1014608 h 2493266"/>
                <a:gd name="connsiteX4342" fmla="*/ 1566820 w 3135233"/>
                <a:gd name="connsiteY4342" fmla="*/ 1008144 h 2493266"/>
                <a:gd name="connsiteX4343" fmla="*/ 1568892 w 3135233"/>
                <a:gd name="connsiteY4343" fmla="*/ 1000053 h 2493266"/>
                <a:gd name="connsiteX4344" fmla="*/ 1573086 w 3135233"/>
                <a:gd name="connsiteY4344" fmla="*/ 993638 h 2493266"/>
                <a:gd name="connsiteX4345" fmla="*/ 1570964 w 3135233"/>
                <a:gd name="connsiteY4345" fmla="*/ 987175 h 2493266"/>
                <a:gd name="connsiteX4346" fmla="*/ 1573086 w 3135233"/>
                <a:gd name="connsiteY4346" fmla="*/ 983918 h 2493266"/>
                <a:gd name="connsiteX4347" fmla="*/ 1573086 w 3135233"/>
                <a:gd name="connsiteY4347" fmla="*/ 980711 h 2493266"/>
                <a:gd name="connsiteX4348" fmla="*/ 1568892 w 3135233"/>
                <a:gd name="connsiteY4348" fmla="*/ 980711 h 2493266"/>
                <a:gd name="connsiteX4349" fmla="*/ 1564747 w 3135233"/>
                <a:gd name="connsiteY4349" fmla="*/ 979083 h 2493266"/>
                <a:gd name="connsiteX4350" fmla="*/ 1560553 w 3135233"/>
                <a:gd name="connsiteY4350" fmla="*/ 982339 h 2493266"/>
                <a:gd name="connsiteX4351" fmla="*/ 1560553 w 3135233"/>
                <a:gd name="connsiteY4351" fmla="*/ 975876 h 2493266"/>
                <a:gd name="connsiteX4352" fmla="*/ 1564747 w 3135233"/>
                <a:gd name="connsiteY4352" fmla="*/ 974248 h 2493266"/>
                <a:gd name="connsiteX4353" fmla="*/ 1562626 w 3135233"/>
                <a:gd name="connsiteY4353" fmla="*/ 971040 h 2493266"/>
                <a:gd name="connsiteX4354" fmla="*/ 1554336 w 3135233"/>
                <a:gd name="connsiteY4354" fmla="*/ 971040 h 2493266"/>
                <a:gd name="connsiteX4355" fmla="*/ 1554336 w 3135233"/>
                <a:gd name="connsiteY4355" fmla="*/ 969412 h 2493266"/>
                <a:gd name="connsiteX4356" fmla="*/ 1548070 w 3135233"/>
                <a:gd name="connsiteY4356" fmla="*/ 964478 h 2493266"/>
                <a:gd name="connsiteX4357" fmla="*/ 1548070 w 3135233"/>
                <a:gd name="connsiteY4357" fmla="*/ 959544 h 2493266"/>
                <a:gd name="connsiteX4358" fmla="*/ 1541804 w 3135233"/>
                <a:gd name="connsiteY4358" fmla="*/ 949676 h 2493266"/>
                <a:gd name="connsiteX4359" fmla="*/ 1541804 w 3135233"/>
                <a:gd name="connsiteY4359" fmla="*/ 942374 h 2493266"/>
                <a:gd name="connsiteX4360" fmla="*/ 1543926 w 3135233"/>
                <a:gd name="connsiteY4360" fmla="*/ 935910 h 2493266"/>
                <a:gd name="connsiteX4361" fmla="*/ 1541804 w 3135233"/>
                <a:gd name="connsiteY4361" fmla="*/ 927868 h 2493266"/>
                <a:gd name="connsiteX4362" fmla="*/ 1537659 w 3135233"/>
                <a:gd name="connsiteY4362" fmla="*/ 934331 h 2493266"/>
                <a:gd name="connsiteX4363" fmla="*/ 1537659 w 3135233"/>
                <a:gd name="connsiteY4363" fmla="*/ 940746 h 2493266"/>
                <a:gd name="connsiteX4364" fmla="*/ 1531393 w 3135233"/>
                <a:gd name="connsiteY4364" fmla="*/ 934331 h 2493266"/>
                <a:gd name="connsiteX4365" fmla="*/ 1525176 w 3135233"/>
                <a:gd name="connsiteY4365" fmla="*/ 931075 h 2493266"/>
                <a:gd name="connsiteX4366" fmla="*/ 1523055 w 3135233"/>
                <a:gd name="connsiteY4366" fmla="*/ 918148 h 2493266"/>
                <a:gd name="connsiteX4367" fmla="*/ 1518910 w 3135233"/>
                <a:gd name="connsiteY4367" fmla="*/ 914941 h 2493266"/>
                <a:gd name="connsiteX4368" fmla="*/ 1516838 w 3135233"/>
                <a:gd name="connsiteY4368" fmla="*/ 905072 h 2493266"/>
                <a:gd name="connsiteX4369" fmla="*/ 1512644 w 3135233"/>
                <a:gd name="connsiteY4369" fmla="*/ 900138 h 2493266"/>
                <a:gd name="connsiteX4370" fmla="*/ 1512644 w 3135233"/>
                <a:gd name="connsiteY4370" fmla="*/ 894020 h 2493266"/>
                <a:gd name="connsiteX4371" fmla="*/ 1508499 w 3135233"/>
                <a:gd name="connsiteY4371" fmla="*/ 889086 h 2493266"/>
                <a:gd name="connsiteX4372" fmla="*/ 1508499 w 3135233"/>
                <a:gd name="connsiteY4372" fmla="*/ 885830 h 2493266"/>
                <a:gd name="connsiteX4373" fmla="*/ 1516838 w 3135233"/>
                <a:gd name="connsiteY4373" fmla="*/ 884251 h 2493266"/>
                <a:gd name="connsiteX4374" fmla="*/ 1518910 w 3135233"/>
                <a:gd name="connsiteY4374" fmla="*/ 877787 h 2493266"/>
                <a:gd name="connsiteX4375" fmla="*/ 1523055 w 3135233"/>
                <a:gd name="connsiteY4375" fmla="*/ 877787 h 2493266"/>
                <a:gd name="connsiteX4376" fmla="*/ 1525176 w 3135233"/>
                <a:gd name="connsiteY4376" fmla="*/ 880994 h 2493266"/>
                <a:gd name="connsiteX4377" fmla="*/ 1529321 w 3135233"/>
                <a:gd name="connsiteY4377" fmla="*/ 877787 h 2493266"/>
                <a:gd name="connsiteX4378" fmla="*/ 1529321 w 3135233"/>
                <a:gd name="connsiteY4378" fmla="*/ 872853 h 2493266"/>
                <a:gd name="connsiteX4379" fmla="*/ 1535587 w 3135233"/>
                <a:gd name="connsiteY4379" fmla="*/ 859926 h 2493266"/>
                <a:gd name="connsiteX4380" fmla="*/ 1535587 w 3135233"/>
                <a:gd name="connsiteY4380" fmla="*/ 852081 h 2493266"/>
                <a:gd name="connsiteX4381" fmla="*/ 1537659 w 3135233"/>
                <a:gd name="connsiteY4381" fmla="*/ 848824 h 2493266"/>
                <a:gd name="connsiteX4382" fmla="*/ 1533466 w 3135233"/>
                <a:gd name="connsiteY4382" fmla="*/ 838956 h 2493266"/>
                <a:gd name="connsiteX4383" fmla="*/ 1535587 w 3135233"/>
                <a:gd name="connsiteY4383" fmla="*/ 830914 h 2493266"/>
                <a:gd name="connsiteX4384" fmla="*/ 1539732 w 3135233"/>
                <a:gd name="connsiteY4384" fmla="*/ 830914 h 2493266"/>
                <a:gd name="connsiteX4385" fmla="*/ 1539732 w 3135233"/>
                <a:gd name="connsiteY4385" fmla="*/ 822822 h 2493266"/>
                <a:gd name="connsiteX4386" fmla="*/ 1548070 w 3135233"/>
                <a:gd name="connsiteY4386" fmla="*/ 812954 h 2493266"/>
                <a:gd name="connsiteX4387" fmla="*/ 1548070 w 3135233"/>
                <a:gd name="connsiteY4387" fmla="*/ 808020 h 2493266"/>
                <a:gd name="connsiteX4388" fmla="*/ 1552215 w 3135233"/>
                <a:gd name="connsiteY4388" fmla="*/ 804764 h 2493266"/>
                <a:gd name="connsiteX4389" fmla="*/ 1552215 w 3135233"/>
                <a:gd name="connsiteY4389" fmla="*/ 792379 h 2493266"/>
                <a:gd name="connsiteX4390" fmla="*/ 1556409 w 3135233"/>
                <a:gd name="connsiteY4390" fmla="*/ 790751 h 2493266"/>
                <a:gd name="connsiteX4391" fmla="*/ 1556409 w 3135233"/>
                <a:gd name="connsiteY4391" fmla="*/ 785817 h 2493266"/>
                <a:gd name="connsiteX4392" fmla="*/ 1564747 w 3135233"/>
                <a:gd name="connsiteY4392" fmla="*/ 777725 h 2493266"/>
                <a:gd name="connsiteX4393" fmla="*/ 1562626 w 3135233"/>
                <a:gd name="connsiteY4393" fmla="*/ 771311 h 2493266"/>
                <a:gd name="connsiteX4394" fmla="*/ 1564747 w 3135233"/>
                <a:gd name="connsiteY4394" fmla="*/ 766377 h 2493266"/>
                <a:gd name="connsiteX4395" fmla="*/ 1568892 w 3135233"/>
                <a:gd name="connsiteY4395" fmla="*/ 766377 h 2493266"/>
                <a:gd name="connsiteX4396" fmla="*/ 1568892 w 3135233"/>
                <a:gd name="connsiteY4396" fmla="*/ 759962 h 2493266"/>
                <a:gd name="connsiteX4397" fmla="*/ 1566820 w 3135233"/>
                <a:gd name="connsiteY4397" fmla="*/ 753499 h 2493266"/>
                <a:gd name="connsiteX4398" fmla="*/ 1566820 w 3135233"/>
                <a:gd name="connsiteY4398" fmla="*/ 745407 h 2493266"/>
                <a:gd name="connsiteX4399" fmla="*/ 1560553 w 3135233"/>
                <a:gd name="connsiteY4399" fmla="*/ 742200 h 2493266"/>
                <a:gd name="connsiteX4400" fmla="*/ 1558481 w 3135233"/>
                <a:gd name="connsiteY4400" fmla="*/ 732332 h 2493266"/>
                <a:gd name="connsiteX4401" fmla="*/ 1560553 w 3135233"/>
                <a:gd name="connsiteY4401" fmla="*/ 729075 h 2493266"/>
                <a:gd name="connsiteX4402" fmla="*/ 1554336 w 3135233"/>
                <a:gd name="connsiteY4402" fmla="*/ 719207 h 2493266"/>
                <a:gd name="connsiteX4403" fmla="*/ 1548070 w 3135233"/>
                <a:gd name="connsiteY4403" fmla="*/ 717579 h 2493266"/>
                <a:gd name="connsiteX4404" fmla="*/ 1545998 w 3135233"/>
                <a:gd name="connsiteY4404" fmla="*/ 716000 h 2493266"/>
                <a:gd name="connsiteX4405" fmla="*/ 1541804 w 3135233"/>
                <a:gd name="connsiteY4405" fmla="*/ 716000 h 2493266"/>
                <a:gd name="connsiteX4406" fmla="*/ 1541804 w 3135233"/>
                <a:gd name="connsiteY4406" fmla="*/ 724043 h 2493266"/>
                <a:gd name="connsiteX4407" fmla="*/ 1537659 w 3135233"/>
                <a:gd name="connsiteY4407" fmla="*/ 724043 h 2493266"/>
                <a:gd name="connsiteX4408" fmla="*/ 1531393 w 3135233"/>
                <a:gd name="connsiteY4408" fmla="*/ 711165 h 2493266"/>
                <a:gd name="connsiteX4409" fmla="*/ 1525176 w 3135233"/>
                <a:gd name="connsiteY4409" fmla="*/ 711165 h 2493266"/>
                <a:gd name="connsiteX4410" fmla="*/ 1520982 w 3135233"/>
                <a:gd name="connsiteY4410" fmla="*/ 706231 h 2493266"/>
                <a:gd name="connsiteX4411" fmla="*/ 1516838 w 3135233"/>
                <a:gd name="connsiteY4411" fmla="*/ 707810 h 2493266"/>
                <a:gd name="connsiteX4412" fmla="*/ 1516838 w 3135233"/>
                <a:gd name="connsiteY4412" fmla="*/ 715902 h 2493266"/>
                <a:gd name="connsiteX4413" fmla="*/ 1514766 w 3135233"/>
                <a:gd name="connsiteY4413" fmla="*/ 717480 h 2493266"/>
                <a:gd name="connsiteX4414" fmla="*/ 1510572 w 3135233"/>
                <a:gd name="connsiteY4414" fmla="*/ 715902 h 2493266"/>
                <a:gd name="connsiteX4415" fmla="*/ 1506427 w 3135233"/>
                <a:gd name="connsiteY4415" fmla="*/ 723944 h 2493266"/>
                <a:gd name="connsiteX4416" fmla="*/ 1506427 w 3135233"/>
                <a:gd name="connsiteY4416" fmla="*/ 727201 h 2493266"/>
                <a:gd name="connsiteX4417" fmla="*/ 1502233 w 3135233"/>
                <a:gd name="connsiteY4417" fmla="*/ 730408 h 2493266"/>
                <a:gd name="connsiteX4418" fmla="*/ 1496016 w 3135233"/>
                <a:gd name="connsiteY4418" fmla="*/ 744914 h 2493266"/>
                <a:gd name="connsiteX4419" fmla="*/ 1496016 w 3135233"/>
                <a:gd name="connsiteY4419" fmla="*/ 751377 h 2493266"/>
                <a:gd name="connsiteX4420" fmla="*/ 1491822 w 3135233"/>
                <a:gd name="connsiteY4420" fmla="*/ 756311 h 2493266"/>
                <a:gd name="connsiteX4421" fmla="*/ 1491822 w 3135233"/>
                <a:gd name="connsiteY4421" fmla="*/ 762775 h 2493266"/>
                <a:gd name="connsiteX4422" fmla="*/ 1489750 w 3135233"/>
                <a:gd name="connsiteY4422" fmla="*/ 765982 h 2493266"/>
                <a:gd name="connsiteX4423" fmla="*/ 1489750 w 3135233"/>
                <a:gd name="connsiteY4423" fmla="*/ 770916 h 2493266"/>
                <a:gd name="connsiteX4424" fmla="*/ 1483484 w 3135233"/>
                <a:gd name="connsiteY4424" fmla="*/ 774123 h 2493266"/>
                <a:gd name="connsiteX4425" fmla="*/ 1483484 w 3135233"/>
                <a:gd name="connsiteY4425" fmla="*/ 785422 h 2493266"/>
                <a:gd name="connsiteX4426" fmla="*/ 1477267 w 3135233"/>
                <a:gd name="connsiteY4426" fmla="*/ 788629 h 2493266"/>
                <a:gd name="connsiteX4427" fmla="*/ 1475145 w 3135233"/>
                <a:gd name="connsiteY4427" fmla="*/ 787050 h 2493266"/>
                <a:gd name="connsiteX4428" fmla="*/ 1468928 w 3135233"/>
                <a:gd name="connsiteY4428" fmla="*/ 798349 h 2493266"/>
                <a:gd name="connsiteX4429" fmla="*/ 1471001 w 3135233"/>
                <a:gd name="connsiteY4429" fmla="*/ 801556 h 2493266"/>
                <a:gd name="connsiteX4430" fmla="*/ 1468928 w 3135233"/>
                <a:gd name="connsiteY4430" fmla="*/ 808020 h 2493266"/>
                <a:gd name="connsiteX4431" fmla="*/ 1468928 w 3135233"/>
                <a:gd name="connsiteY4431" fmla="*/ 812954 h 2493266"/>
                <a:gd name="connsiteX4432" fmla="*/ 1464734 w 3135233"/>
                <a:gd name="connsiteY4432" fmla="*/ 819418 h 2493266"/>
                <a:gd name="connsiteX4433" fmla="*/ 1466807 w 3135233"/>
                <a:gd name="connsiteY4433" fmla="*/ 824352 h 2493266"/>
                <a:gd name="connsiteX4434" fmla="*/ 1466807 w 3135233"/>
                <a:gd name="connsiteY4434" fmla="*/ 829286 h 2493266"/>
                <a:gd name="connsiteX4435" fmla="*/ 1458518 w 3135233"/>
                <a:gd name="connsiteY4435" fmla="*/ 829286 h 2493266"/>
                <a:gd name="connsiteX4436" fmla="*/ 1462662 w 3135233"/>
                <a:gd name="connsiteY4436" fmla="*/ 830914 h 2493266"/>
                <a:gd name="connsiteX4437" fmla="*/ 1468928 w 3135233"/>
                <a:gd name="connsiteY4437" fmla="*/ 834121 h 2493266"/>
                <a:gd name="connsiteX4438" fmla="*/ 1468928 w 3135233"/>
                <a:gd name="connsiteY4438" fmla="*/ 839055 h 2493266"/>
                <a:gd name="connsiteX4439" fmla="*/ 1462662 w 3135233"/>
                <a:gd name="connsiteY4439" fmla="*/ 837427 h 2493266"/>
                <a:gd name="connsiteX4440" fmla="*/ 1458518 w 3135233"/>
                <a:gd name="connsiteY4440" fmla="*/ 839055 h 2493266"/>
                <a:gd name="connsiteX4441" fmla="*/ 1452251 w 3135233"/>
                <a:gd name="connsiteY4441" fmla="*/ 842262 h 2493266"/>
                <a:gd name="connsiteX4442" fmla="*/ 1448107 w 3135233"/>
                <a:gd name="connsiteY4442" fmla="*/ 840683 h 2493266"/>
                <a:gd name="connsiteX4443" fmla="*/ 1445985 w 3135233"/>
                <a:gd name="connsiteY4443" fmla="*/ 843890 h 2493266"/>
                <a:gd name="connsiteX4444" fmla="*/ 1445985 w 3135233"/>
                <a:gd name="connsiteY4444" fmla="*/ 848824 h 2493266"/>
                <a:gd name="connsiteX4445" fmla="*/ 1443913 w 3135233"/>
                <a:gd name="connsiteY4445" fmla="*/ 852081 h 2493266"/>
                <a:gd name="connsiteX4446" fmla="*/ 1437647 w 3135233"/>
                <a:gd name="connsiteY4446" fmla="*/ 850453 h 2493266"/>
                <a:gd name="connsiteX4447" fmla="*/ 1437647 w 3135233"/>
                <a:gd name="connsiteY4447" fmla="*/ 843989 h 2493266"/>
                <a:gd name="connsiteX4448" fmla="*/ 1439768 w 3135233"/>
                <a:gd name="connsiteY4448" fmla="*/ 839055 h 2493266"/>
                <a:gd name="connsiteX4449" fmla="*/ 1435574 w 3135233"/>
                <a:gd name="connsiteY4449" fmla="*/ 834121 h 2493266"/>
                <a:gd name="connsiteX4450" fmla="*/ 1435574 w 3135233"/>
                <a:gd name="connsiteY4450" fmla="*/ 826029 h 2493266"/>
                <a:gd name="connsiteX4451" fmla="*/ 1439768 w 3135233"/>
                <a:gd name="connsiteY4451" fmla="*/ 816161 h 2493266"/>
                <a:gd name="connsiteX4452" fmla="*/ 1441840 w 3135233"/>
                <a:gd name="connsiteY4452" fmla="*/ 808119 h 2493266"/>
                <a:gd name="connsiteX4453" fmla="*/ 1445985 w 3135233"/>
                <a:gd name="connsiteY4453" fmla="*/ 804862 h 2493266"/>
                <a:gd name="connsiteX4454" fmla="*/ 1448107 w 3135233"/>
                <a:gd name="connsiteY4454" fmla="*/ 799928 h 2493266"/>
                <a:gd name="connsiteX4455" fmla="*/ 1448107 w 3135233"/>
                <a:gd name="connsiteY4455" fmla="*/ 794994 h 2493266"/>
                <a:gd name="connsiteX4456" fmla="*/ 1452251 w 3135233"/>
                <a:gd name="connsiteY4456" fmla="*/ 782116 h 2493266"/>
                <a:gd name="connsiteX4457" fmla="*/ 1460590 w 3135233"/>
                <a:gd name="connsiteY4457" fmla="*/ 777182 h 2493266"/>
                <a:gd name="connsiteX4458" fmla="*/ 1462662 w 3135233"/>
                <a:gd name="connsiteY4458" fmla="*/ 770768 h 2493266"/>
                <a:gd name="connsiteX4459" fmla="*/ 1454324 w 3135233"/>
                <a:gd name="connsiteY4459" fmla="*/ 770768 h 2493266"/>
                <a:gd name="connsiteX4460" fmla="*/ 1454324 w 3135233"/>
                <a:gd name="connsiteY4460" fmla="*/ 765834 h 2493266"/>
                <a:gd name="connsiteX4461" fmla="*/ 1458518 w 3135233"/>
                <a:gd name="connsiteY4461" fmla="*/ 760900 h 2493266"/>
                <a:gd name="connsiteX4462" fmla="*/ 1460590 w 3135233"/>
                <a:gd name="connsiteY4462" fmla="*/ 749601 h 2493266"/>
                <a:gd name="connsiteX4463" fmla="*/ 1456396 w 3135233"/>
                <a:gd name="connsiteY4463" fmla="*/ 746394 h 2493266"/>
                <a:gd name="connsiteX4464" fmla="*/ 1452251 w 3135233"/>
                <a:gd name="connsiteY4464" fmla="*/ 739930 h 2493266"/>
                <a:gd name="connsiteX4465" fmla="*/ 1456396 w 3135233"/>
                <a:gd name="connsiteY4465" fmla="*/ 736723 h 2493266"/>
                <a:gd name="connsiteX4466" fmla="*/ 1456396 w 3135233"/>
                <a:gd name="connsiteY4466" fmla="*/ 730260 h 2493266"/>
                <a:gd name="connsiteX4467" fmla="*/ 1452251 w 3135233"/>
                <a:gd name="connsiteY4467" fmla="*/ 728631 h 2493266"/>
                <a:gd name="connsiteX4468" fmla="*/ 1445985 w 3135233"/>
                <a:gd name="connsiteY4468" fmla="*/ 722168 h 2493266"/>
                <a:gd name="connsiteX4469" fmla="*/ 1435574 w 3135233"/>
                <a:gd name="connsiteY4469" fmla="*/ 725424 h 2493266"/>
                <a:gd name="connsiteX4470" fmla="*/ 1433502 w 3135233"/>
                <a:gd name="connsiteY4470" fmla="*/ 731888 h 2493266"/>
                <a:gd name="connsiteX4471" fmla="*/ 1439768 w 3135233"/>
                <a:gd name="connsiteY4471" fmla="*/ 735095 h 2493266"/>
                <a:gd name="connsiteX4472" fmla="*/ 1439768 w 3135233"/>
                <a:gd name="connsiteY4472" fmla="*/ 741559 h 2493266"/>
                <a:gd name="connsiteX4473" fmla="*/ 1441840 w 3135233"/>
                <a:gd name="connsiteY4473" fmla="*/ 744766 h 2493266"/>
                <a:gd name="connsiteX4474" fmla="*/ 1441840 w 3135233"/>
                <a:gd name="connsiteY4474" fmla="*/ 749700 h 2493266"/>
                <a:gd name="connsiteX4475" fmla="*/ 1437647 w 3135233"/>
                <a:gd name="connsiteY4475" fmla="*/ 749700 h 2493266"/>
                <a:gd name="connsiteX4476" fmla="*/ 1435574 w 3135233"/>
                <a:gd name="connsiteY4476" fmla="*/ 743285 h 2493266"/>
                <a:gd name="connsiteX4477" fmla="*/ 1431430 w 3135233"/>
                <a:gd name="connsiteY4477" fmla="*/ 743285 h 2493266"/>
                <a:gd name="connsiteX4478" fmla="*/ 1427236 w 3135233"/>
                <a:gd name="connsiteY4478" fmla="*/ 751328 h 2493266"/>
                <a:gd name="connsiteX4479" fmla="*/ 1431430 w 3135233"/>
                <a:gd name="connsiteY4479" fmla="*/ 752956 h 2493266"/>
                <a:gd name="connsiteX4480" fmla="*/ 1433502 w 3135233"/>
                <a:gd name="connsiteY4480" fmla="*/ 757890 h 2493266"/>
                <a:gd name="connsiteX4481" fmla="*/ 1435574 w 3135233"/>
                <a:gd name="connsiteY4481" fmla="*/ 764354 h 2493266"/>
                <a:gd name="connsiteX4482" fmla="*/ 1431430 w 3135233"/>
                <a:gd name="connsiteY4482" fmla="*/ 767561 h 2493266"/>
                <a:gd name="connsiteX4483" fmla="*/ 1431430 w 3135233"/>
                <a:gd name="connsiteY4483" fmla="*/ 764749 h 2493266"/>
                <a:gd name="connsiteX4484" fmla="*/ 1427236 w 3135233"/>
                <a:gd name="connsiteY4484" fmla="*/ 763120 h 2493266"/>
                <a:gd name="connsiteX4485" fmla="*/ 1425163 w 3135233"/>
                <a:gd name="connsiteY4485" fmla="*/ 769584 h 2493266"/>
                <a:gd name="connsiteX4486" fmla="*/ 1421019 w 3135233"/>
                <a:gd name="connsiteY4486" fmla="*/ 766327 h 2493266"/>
                <a:gd name="connsiteX4487" fmla="*/ 1421019 w 3135233"/>
                <a:gd name="connsiteY4487" fmla="*/ 759913 h 2493266"/>
                <a:gd name="connsiteX4488" fmla="*/ 1414753 w 3135233"/>
                <a:gd name="connsiteY4488" fmla="*/ 761492 h 2493266"/>
                <a:gd name="connsiteX4489" fmla="*/ 1412680 w 3135233"/>
                <a:gd name="connsiteY4489" fmla="*/ 767956 h 2493266"/>
                <a:gd name="connsiteX4490" fmla="*/ 1408486 w 3135233"/>
                <a:gd name="connsiteY4490" fmla="*/ 766327 h 2493266"/>
                <a:gd name="connsiteX4491" fmla="*/ 1408486 w 3135233"/>
                <a:gd name="connsiteY4491" fmla="*/ 759913 h 2493266"/>
                <a:gd name="connsiteX4492" fmla="*/ 1412680 w 3135233"/>
                <a:gd name="connsiteY4492" fmla="*/ 754979 h 2493266"/>
                <a:gd name="connsiteX4493" fmla="*/ 1410608 w 3135233"/>
                <a:gd name="connsiteY4493" fmla="*/ 754979 h 2493266"/>
                <a:gd name="connsiteX4494" fmla="*/ 1402269 w 3135233"/>
                <a:gd name="connsiteY4494" fmla="*/ 758186 h 2493266"/>
                <a:gd name="connsiteX4495" fmla="*/ 1393684 w 3135233"/>
                <a:gd name="connsiteY4495" fmla="*/ 764749 h 2493266"/>
                <a:gd name="connsiteX4496" fmla="*/ 1389540 w 3135233"/>
                <a:gd name="connsiteY4496" fmla="*/ 756657 h 2493266"/>
                <a:gd name="connsiteX4497" fmla="*/ 1383274 w 3135233"/>
                <a:gd name="connsiteY4497" fmla="*/ 756657 h 2493266"/>
                <a:gd name="connsiteX4498" fmla="*/ 1379080 w 3135233"/>
                <a:gd name="connsiteY4498" fmla="*/ 761591 h 2493266"/>
                <a:gd name="connsiteX4499" fmla="*/ 1370790 w 3135233"/>
                <a:gd name="connsiteY4499" fmla="*/ 761591 h 2493266"/>
                <a:gd name="connsiteX4500" fmla="*/ 1370790 w 3135233"/>
                <a:gd name="connsiteY4500" fmla="*/ 758384 h 2493266"/>
                <a:gd name="connsiteX4501" fmla="*/ 1362452 w 3135233"/>
                <a:gd name="connsiteY4501" fmla="*/ 760012 h 2493266"/>
                <a:gd name="connsiteX4502" fmla="*/ 1358258 w 3135233"/>
                <a:gd name="connsiteY4502" fmla="*/ 756755 h 2493266"/>
                <a:gd name="connsiteX4503" fmla="*/ 1364524 w 3135233"/>
                <a:gd name="connsiteY4503" fmla="*/ 751821 h 2493266"/>
                <a:gd name="connsiteX4504" fmla="*/ 1377007 w 3135233"/>
                <a:gd name="connsiteY4504" fmla="*/ 751821 h 2493266"/>
                <a:gd name="connsiteX4505" fmla="*/ 1385346 w 3135233"/>
                <a:gd name="connsiteY4505" fmla="*/ 750193 h 2493266"/>
                <a:gd name="connsiteX4506" fmla="*/ 1385346 w 3135233"/>
                <a:gd name="connsiteY4506" fmla="*/ 746986 h 2493266"/>
                <a:gd name="connsiteX4507" fmla="*/ 1391612 w 3135233"/>
                <a:gd name="connsiteY4507" fmla="*/ 745358 h 2493266"/>
                <a:gd name="connsiteX4508" fmla="*/ 1395756 w 3135233"/>
                <a:gd name="connsiteY4508" fmla="*/ 746986 h 2493266"/>
                <a:gd name="connsiteX4509" fmla="*/ 1404095 w 3135233"/>
                <a:gd name="connsiteY4509" fmla="*/ 742052 h 2493266"/>
                <a:gd name="connsiteX4510" fmla="*/ 1404095 w 3135233"/>
                <a:gd name="connsiteY4510" fmla="*/ 732184 h 2493266"/>
                <a:gd name="connsiteX4511" fmla="*/ 1399951 w 3135233"/>
                <a:gd name="connsiteY4511" fmla="*/ 728927 h 2493266"/>
                <a:gd name="connsiteX4512" fmla="*/ 1393684 w 3135233"/>
                <a:gd name="connsiteY4512" fmla="*/ 719059 h 2493266"/>
                <a:gd name="connsiteX4513" fmla="*/ 1385346 w 3135233"/>
                <a:gd name="connsiteY4513" fmla="*/ 715852 h 2493266"/>
                <a:gd name="connsiteX4514" fmla="*/ 1385346 w 3135233"/>
                <a:gd name="connsiteY4514" fmla="*/ 712596 h 2493266"/>
                <a:gd name="connsiteX4515" fmla="*/ 1372863 w 3135233"/>
                <a:gd name="connsiteY4515" fmla="*/ 702728 h 2493266"/>
                <a:gd name="connsiteX4516" fmla="*/ 1372863 w 3135233"/>
                <a:gd name="connsiteY4516" fmla="*/ 700606 h 2493266"/>
                <a:gd name="connsiteX4517" fmla="*/ 1366596 w 3135233"/>
                <a:gd name="connsiteY4517" fmla="*/ 700606 h 2493266"/>
                <a:gd name="connsiteX4518" fmla="*/ 1358258 w 3135233"/>
                <a:gd name="connsiteY4518" fmla="*/ 705540 h 2493266"/>
                <a:gd name="connsiteX4519" fmla="*/ 1354113 w 3135233"/>
                <a:gd name="connsiteY4519" fmla="*/ 707168 h 2493266"/>
                <a:gd name="connsiteX4520" fmla="*/ 1341630 w 3135233"/>
                <a:gd name="connsiteY4520" fmla="*/ 717036 h 2493266"/>
                <a:gd name="connsiteX4521" fmla="*/ 1345775 w 3135233"/>
                <a:gd name="connsiteY4521" fmla="*/ 718615 h 2493266"/>
                <a:gd name="connsiteX4522" fmla="*/ 1345775 w 3135233"/>
                <a:gd name="connsiteY4522" fmla="*/ 723549 h 2493266"/>
                <a:gd name="connsiteX4523" fmla="*/ 1339509 w 3135233"/>
                <a:gd name="connsiteY4523" fmla="*/ 723549 h 2493266"/>
                <a:gd name="connsiteX4524" fmla="*/ 1335364 w 3135233"/>
                <a:gd name="connsiteY4524" fmla="*/ 726806 h 2493266"/>
                <a:gd name="connsiteX4525" fmla="*/ 1335364 w 3135233"/>
                <a:gd name="connsiteY4525" fmla="*/ 723549 h 2493266"/>
                <a:gd name="connsiteX4526" fmla="*/ 1329098 w 3135233"/>
                <a:gd name="connsiteY4526" fmla="*/ 725178 h 2493266"/>
                <a:gd name="connsiteX4527" fmla="*/ 1324953 w 3135233"/>
                <a:gd name="connsiteY4527" fmla="*/ 721970 h 2493266"/>
                <a:gd name="connsiteX4528" fmla="*/ 1318490 w 3135233"/>
                <a:gd name="connsiteY4528" fmla="*/ 721970 h 2493266"/>
                <a:gd name="connsiteX4529" fmla="*/ 1314345 w 3135233"/>
                <a:gd name="connsiteY4529" fmla="*/ 723549 h 2493266"/>
                <a:gd name="connsiteX4530" fmla="*/ 1308079 w 3135233"/>
                <a:gd name="connsiteY4530" fmla="*/ 723549 h 2493266"/>
                <a:gd name="connsiteX4531" fmla="*/ 1303934 w 3135233"/>
                <a:gd name="connsiteY4531" fmla="*/ 721970 h 2493266"/>
                <a:gd name="connsiteX4532" fmla="*/ 1306006 w 3135233"/>
                <a:gd name="connsiteY4532" fmla="*/ 720342 h 2493266"/>
                <a:gd name="connsiteX4533" fmla="*/ 1316417 w 3135233"/>
                <a:gd name="connsiteY4533" fmla="*/ 717135 h 2493266"/>
                <a:gd name="connsiteX4534" fmla="*/ 1320562 w 3135233"/>
                <a:gd name="connsiteY4534" fmla="*/ 712201 h 2493266"/>
                <a:gd name="connsiteX4535" fmla="*/ 1324756 w 3135233"/>
                <a:gd name="connsiteY4535" fmla="*/ 710573 h 2493266"/>
                <a:gd name="connsiteX4536" fmla="*/ 1330973 w 3135233"/>
                <a:gd name="connsiteY4536" fmla="*/ 710573 h 2493266"/>
                <a:gd name="connsiteX4537" fmla="*/ 1335167 w 3135233"/>
                <a:gd name="connsiteY4537" fmla="*/ 705639 h 2493266"/>
                <a:gd name="connsiteX4538" fmla="*/ 1335167 w 3135233"/>
                <a:gd name="connsiteY4538" fmla="*/ 697152 h 2493266"/>
                <a:gd name="connsiteX4539" fmla="*/ 1339311 w 3135233"/>
                <a:gd name="connsiteY4539" fmla="*/ 693945 h 2493266"/>
                <a:gd name="connsiteX4540" fmla="*/ 1343505 w 3135233"/>
                <a:gd name="connsiteY4540" fmla="*/ 693945 h 2493266"/>
                <a:gd name="connsiteX4541" fmla="*/ 1349722 w 3135233"/>
                <a:gd name="connsiteY4541" fmla="*/ 685853 h 2493266"/>
                <a:gd name="connsiteX4542" fmla="*/ 1349722 w 3135233"/>
                <a:gd name="connsiteY4542" fmla="*/ 671347 h 2493266"/>
                <a:gd name="connsiteX4543" fmla="*/ 1347650 w 3135233"/>
                <a:gd name="connsiteY4543" fmla="*/ 666413 h 2493266"/>
                <a:gd name="connsiteX4544" fmla="*/ 1343505 w 3135233"/>
                <a:gd name="connsiteY4544" fmla="*/ 664785 h 2493266"/>
                <a:gd name="connsiteX4545" fmla="*/ 1330973 w 3135233"/>
                <a:gd name="connsiteY4545" fmla="*/ 668041 h 2493266"/>
                <a:gd name="connsiteX4546" fmla="*/ 1318490 w 3135233"/>
                <a:gd name="connsiteY4546" fmla="*/ 671249 h 2493266"/>
                <a:gd name="connsiteX4547" fmla="*/ 1303934 w 3135233"/>
                <a:gd name="connsiteY4547" fmla="*/ 676183 h 2493266"/>
                <a:gd name="connsiteX4548" fmla="*/ 1278919 w 3135233"/>
                <a:gd name="connsiteY4548" fmla="*/ 679439 h 2493266"/>
                <a:gd name="connsiteX4549" fmla="*/ 1245614 w 3135233"/>
                <a:gd name="connsiteY4549" fmla="*/ 689307 h 2493266"/>
                <a:gd name="connsiteX4550" fmla="*/ 1237473 w 3135233"/>
                <a:gd name="connsiteY4550" fmla="*/ 695672 h 2493266"/>
                <a:gd name="connsiteX4551" fmla="*/ 1218724 w 3135233"/>
                <a:gd name="connsiteY4551" fmla="*/ 700606 h 2493266"/>
                <a:gd name="connsiteX4552" fmla="*/ 1191635 w 3135233"/>
                <a:gd name="connsiteY4552" fmla="*/ 710474 h 2493266"/>
                <a:gd name="connsiteX4553" fmla="*/ 1183297 w 3135233"/>
                <a:gd name="connsiteY4553" fmla="*/ 718517 h 2493266"/>
                <a:gd name="connsiteX4554" fmla="*/ 1181225 w 3135233"/>
                <a:gd name="connsiteY4554" fmla="*/ 723451 h 2493266"/>
                <a:gd name="connsiteX4555" fmla="*/ 1187491 w 3135233"/>
                <a:gd name="connsiteY4555" fmla="*/ 723451 h 2493266"/>
                <a:gd name="connsiteX4556" fmla="*/ 1191635 w 3135233"/>
                <a:gd name="connsiteY4556" fmla="*/ 725079 h 2493266"/>
                <a:gd name="connsiteX4557" fmla="*/ 1185369 w 3135233"/>
                <a:gd name="connsiteY4557" fmla="*/ 730013 h 2493266"/>
                <a:gd name="connsiteX4558" fmla="*/ 1177080 w 3135233"/>
                <a:gd name="connsiteY4558" fmla="*/ 730013 h 2493266"/>
                <a:gd name="connsiteX4559" fmla="*/ 1166620 w 3135233"/>
                <a:gd name="connsiteY4559" fmla="*/ 739881 h 2493266"/>
                <a:gd name="connsiteX4560" fmla="*/ 1156209 w 3135233"/>
                <a:gd name="connsiteY4560" fmla="*/ 739881 h 2493266"/>
                <a:gd name="connsiteX4561" fmla="*/ 1152065 w 3135233"/>
                <a:gd name="connsiteY4561" fmla="*/ 743088 h 2493266"/>
                <a:gd name="connsiteX4562" fmla="*/ 1149992 w 3135233"/>
                <a:gd name="connsiteY4562" fmla="*/ 749552 h 2493266"/>
                <a:gd name="connsiteX4563" fmla="*/ 1139581 w 3135233"/>
                <a:gd name="connsiteY4563" fmla="*/ 754486 h 2493266"/>
                <a:gd name="connsiteX4564" fmla="*/ 1135388 w 3135233"/>
                <a:gd name="connsiteY4564" fmla="*/ 759420 h 2493266"/>
                <a:gd name="connsiteX4565" fmla="*/ 1135388 w 3135233"/>
                <a:gd name="connsiteY4565" fmla="*/ 767462 h 2493266"/>
                <a:gd name="connsiteX4566" fmla="*/ 1141654 w 3135233"/>
                <a:gd name="connsiteY4566" fmla="*/ 765883 h 2493266"/>
                <a:gd name="connsiteX4567" fmla="*/ 1145798 w 3135233"/>
                <a:gd name="connsiteY4567" fmla="*/ 769090 h 2493266"/>
                <a:gd name="connsiteX4568" fmla="*/ 1143726 w 3135233"/>
                <a:gd name="connsiteY4568" fmla="*/ 772347 h 2493266"/>
                <a:gd name="connsiteX4569" fmla="*/ 1145798 w 3135233"/>
                <a:gd name="connsiteY4569" fmla="*/ 773926 h 2493266"/>
                <a:gd name="connsiteX4570" fmla="*/ 1149992 w 3135233"/>
                <a:gd name="connsiteY4570" fmla="*/ 773926 h 2493266"/>
                <a:gd name="connsiteX4571" fmla="*/ 1156209 w 3135233"/>
                <a:gd name="connsiteY4571" fmla="*/ 770719 h 2493266"/>
                <a:gd name="connsiteX4572" fmla="*/ 1162475 w 3135233"/>
                <a:gd name="connsiteY4572" fmla="*/ 770719 h 2493266"/>
                <a:gd name="connsiteX4573" fmla="*/ 1166620 w 3135233"/>
                <a:gd name="connsiteY4573" fmla="*/ 773926 h 2493266"/>
                <a:gd name="connsiteX4574" fmla="*/ 1164548 w 3135233"/>
                <a:gd name="connsiteY4574" fmla="*/ 778860 h 2493266"/>
                <a:gd name="connsiteX4575" fmla="*/ 1156209 w 3135233"/>
                <a:gd name="connsiteY4575" fmla="*/ 782116 h 2493266"/>
                <a:gd name="connsiteX4576" fmla="*/ 1149992 w 3135233"/>
                <a:gd name="connsiteY4576" fmla="*/ 778860 h 2493266"/>
                <a:gd name="connsiteX4577" fmla="*/ 1143726 w 3135233"/>
                <a:gd name="connsiteY4577" fmla="*/ 780488 h 2493266"/>
                <a:gd name="connsiteX4578" fmla="*/ 1145798 w 3135233"/>
                <a:gd name="connsiteY4578" fmla="*/ 786952 h 2493266"/>
                <a:gd name="connsiteX4579" fmla="*/ 1158331 w 3135233"/>
                <a:gd name="connsiteY4579" fmla="*/ 791886 h 2493266"/>
                <a:gd name="connsiteX4580" fmla="*/ 1162475 w 3135233"/>
                <a:gd name="connsiteY4580" fmla="*/ 790257 h 2493266"/>
                <a:gd name="connsiteX4581" fmla="*/ 1162475 w 3135233"/>
                <a:gd name="connsiteY4581" fmla="*/ 785323 h 2493266"/>
                <a:gd name="connsiteX4582" fmla="*/ 1166620 w 3135233"/>
                <a:gd name="connsiteY4582" fmla="*/ 785323 h 2493266"/>
                <a:gd name="connsiteX4583" fmla="*/ 1170814 w 3135233"/>
                <a:gd name="connsiteY4583" fmla="*/ 788580 h 2493266"/>
                <a:gd name="connsiteX4584" fmla="*/ 1166620 w 3135233"/>
                <a:gd name="connsiteY4584" fmla="*/ 791787 h 2493266"/>
                <a:gd name="connsiteX4585" fmla="*/ 1172886 w 3135233"/>
                <a:gd name="connsiteY4585" fmla="*/ 791787 h 2493266"/>
                <a:gd name="connsiteX4586" fmla="*/ 1185369 w 3135233"/>
                <a:gd name="connsiteY4586" fmla="*/ 793415 h 2493266"/>
                <a:gd name="connsiteX4587" fmla="*/ 1195780 w 3135233"/>
                <a:gd name="connsiteY4587" fmla="*/ 790159 h 2493266"/>
                <a:gd name="connsiteX4588" fmla="*/ 1202047 w 3135233"/>
                <a:gd name="connsiteY4588" fmla="*/ 790159 h 2493266"/>
                <a:gd name="connsiteX4589" fmla="*/ 1212457 w 3135233"/>
                <a:gd name="connsiteY4589" fmla="*/ 795093 h 2493266"/>
                <a:gd name="connsiteX4590" fmla="*/ 1220796 w 3135233"/>
                <a:gd name="connsiteY4590" fmla="*/ 793514 h 2493266"/>
                <a:gd name="connsiteX4591" fmla="*/ 1227062 w 3135233"/>
                <a:gd name="connsiteY4591" fmla="*/ 796721 h 2493266"/>
                <a:gd name="connsiteX4592" fmla="*/ 1231207 w 3135233"/>
                <a:gd name="connsiteY4592" fmla="*/ 801655 h 2493266"/>
                <a:gd name="connsiteX4593" fmla="*/ 1237473 w 3135233"/>
                <a:gd name="connsiteY4593" fmla="*/ 801655 h 2493266"/>
                <a:gd name="connsiteX4594" fmla="*/ 1235400 w 3135233"/>
                <a:gd name="connsiteY4594" fmla="*/ 804912 h 2493266"/>
                <a:gd name="connsiteX4595" fmla="*/ 1229134 w 3135233"/>
                <a:gd name="connsiteY4595" fmla="*/ 804912 h 2493266"/>
                <a:gd name="connsiteX4596" fmla="*/ 1220796 w 3135233"/>
                <a:gd name="connsiteY4596" fmla="*/ 799978 h 2493266"/>
                <a:gd name="connsiteX4597" fmla="*/ 1205994 w 3135233"/>
                <a:gd name="connsiteY4597" fmla="*/ 798349 h 2493266"/>
                <a:gd name="connsiteX4598" fmla="*/ 1203872 w 3135233"/>
                <a:gd name="connsiteY4598" fmla="*/ 801556 h 2493266"/>
                <a:gd name="connsiteX4599" fmla="*/ 1212211 w 3135233"/>
                <a:gd name="connsiteY4599" fmla="*/ 803185 h 2493266"/>
                <a:gd name="connsiteX4600" fmla="*/ 1214283 w 3135233"/>
                <a:gd name="connsiteY4600" fmla="*/ 808119 h 2493266"/>
                <a:gd name="connsiteX4601" fmla="*/ 1202047 w 3135233"/>
                <a:gd name="connsiteY4601" fmla="*/ 808119 h 2493266"/>
                <a:gd name="connsiteX4602" fmla="*/ 1197902 w 3135233"/>
                <a:gd name="connsiteY4602" fmla="*/ 803185 h 2493266"/>
                <a:gd name="connsiteX4603" fmla="*/ 1181225 w 3135233"/>
                <a:gd name="connsiteY4603" fmla="*/ 804813 h 2493266"/>
                <a:gd name="connsiteX4604" fmla="*/ 1177080 w 3135233"/>
                <a:gd name="connsiteY4604" fmla="*/ 808020 h 2493266"/>
                <a:gd name="connsiteX4605" fmla="*/ 1172886 w 3135233"/>
                <a:gd name="connsiteY4605" fmla="*/ 806392 h 2493266"/>
                <a:gd name="connsiteX4606" fmla="*/ 1168742 w 3135233"/>
                <a:gd name="connsiteY4606" fmla="*/ 806392 h 2493266"/>
                <a:gd name="connsiteX4607" fmla="*/ 1162475 w 3135233"/>
                <a:gd name="connsiteY4607" fmla="*/ 808020 h 2493266"/>
                <a:gd name="connsiteX4608" fmla="*/ 1158331 w 3135233"/>
                <a:gd name="connsiteY4608" fmla="*/ 806392 h 2493266"/>
                <a:gd name="connsiteX4609" fmla="*/ 1141654 w 3135233"/>
                <a:gd name="connsiteY4609" fmla="*/ 808020 h 2493266"/>
                <a:gd name="connsiteX4610" fmla="*/ 1137460 w 3135233"/>
                <a:gd name="connsiteY4610" fmla="*/ 809648 h 2493266"/>
                <a:gd name="connsiteX4611" fmla="*/ 1124977 w 3135233"/>
                <a:gd name="connsiteY4611" fmla="*/ 811227 h 2493266"/>
                <a:gd name="connsiteX4612" fmla="*/ 1122904 w 3135233"/>
                <a:gd name="connsiteY4612" fmla="*/ 817691 h 2493266"/>
                <a:gd name="connsiteX4613" fmla="*/ 1124977 w 3135233"/>
                <a:gd name="connsiteY4613" fmla="*/ 835453 h 2493266"/>
                <a:gd name="connsiteX4614" fmla="*/ 1124977 w 3135233"/>
                <a:gd name="connsiteY4614" fmla="*/ 845321 h 2493266"/>
                <a:gd name="connsiteX4615" fmla="*/ 1122904 w 3135233"/>
                <a:gd name="connsiteY4615" fmla="*/ 846950 h 2493266"/>
                <a:gd name="connsiteX4616" fmla="*/ 1122904 w 3135233"/>
                <a:gd name="connsiteY4616" fmla="*/ 851884 h 2493266"/>
                <a:gd name="connsiteX4617" fmla="*/ 1127049 w 3135233"/>
                <a:gd name="connsiteY4617" fmla="*/ 853512 h 2493266"/>
                <a:gd name="connsiteX4618" fmla="*/ 1137460 w 3135233"/>
                <a:gd name="connsiteY4618" fmla="*/ 853512 h 2493266"/>
                <a:gd name="connsiteX4619" fmla="*/ 1141654 w 3135233"/>
                <a:gd name="connsiteY4619" fmla="*/ 855091 h 2493266"/>
                <a:gd name="connsiteX4620" fmla="*/ 1147871 w 3135233"/>
                <a:gd name="connsiteY4620" fmla="*/ 855091 h 2493266"/>
                <a:gd name="connsiteX4621" fmla="*/ 1149992 w 3135233"/>
                <a:gd name="connsiteY4621" fmla="*/ 853512 h 2493266"/>
                <a:gd name="connsiteX4622" fmla="*/ 1149992 w 3135233"/>
                <a:gd name="connsiteY4622" fmla="*/ 853512 h 2493266"/>
                <a:gd name="connsiteX4623" fmla="*/ 1156209 w 3135233"/>
                <a:gd name="connsiteY4623" fmla="*/ 855091 h 2493266"/>
                <a:gd name="connsiteX4624" fmla="*/ 1158331 w 3135233"/>
                <a:gd name="connsiteY4624" fmla="*/ 856719 h 2493266"/>
                <a:gd name="connsiteX4625" fmla="*/ 1162475 w 3135233"/>
                <a:gd name="connsiteY4625" fmla="*/ 855091 h 2493266"/>
                <a:gd name="connsiteX4626" fmla="*/ 1166620 w 3135233"/>
                <a:gd name="connsiteY4626" fmla="*/ 858347 h 2493266"/>
                <a:gd name="connsiteX4627" fmla="*/ 1166620 w 3135233"/>
                <a:gd name="connsiteY4627" fmla="*/ 863281 h 2493266"/>
                <a:gd name="connsiteX4628" fmla="*/ 1170814 w 3135233"/>
                <a:gd name="connsiteY4628" fmla="*/ 863281 h 2493266"/>
                <a:gd name="connsiteX4629" fmla="*/ 1177080 w 3135233"/>
                <a:gd name="connsiteY4629" fmla="*/ 861653 h 2493266"/>
                <a:gd name="connsiteX4630" fmla="*/ 1181225 w 3135233"/>
                <a:gd name="connsiteY4630" fmla="*/ 863281 h 2493266"/>
                <a:gd name="connsiteX4631" fmla="*/ 1183297 w 3135233"/>
                <a:gd name="connsiteY4631" fmla="*/ 864909 h 2493266"/>
                <a:gd name="connsiteX4632" fmla="*/ 1195780 w 3135233"/>
                <a:gd name="connsiteY4632" fmla="*/ 864909 h 2493266"/>
                <a:gd name="connsiteX4633" fmla="*/ 1202047 w 3135233"/>
                <a:gd name="connsiteY4633" fmla="*/ 866488 h 2493266"/>
                <a:gd name="connsiteX4634" fmla="*/ 1208313 w 3135233"/>
                <a:gd name="connsiteY4634" fmla="*/ 864909 h 2493266"/>
                <a:gd name="connsiteX4635" fmla="*/ 1212457 w 3135233"/>
                <a:gd name="connsiteY4635" fmla="*/ 866488 h 2493266"/>
                <a:gd name="connsiteX4636" fmla="*/ 1220796 w 3135233"/>
                <a:gd name="connsiteY4636" fmla="*/ 866488 h 2493266"/>
                <a:gd name="connsiteX4637" fmla="*/ 1229134 w 3135233"/>
                <a:gd name="connsiteY4637" fmla="*/ 864909 h 2493266"/>
                <a:gd name="connsiteX4638" fmla="*/ 1235400 w 3135233"/>
                <a:gd name="connsiteY4638" fmla="*/ 866488 h 2493266"/>
                <a:gd name="connsiteX4639" fmla="*/ 1237473 w 3135233"/>
                <a:gd name="connsiteY4639" fmla="*/ 871422 h 2493266"/>
                <a:gd name="connsiteX4640" fmla="*/ 1241617 w 3135233"/>
                <a:gd name="connsiteY4640" fmla="*/ 869843 h 2493266"/>
                <a:gd name="connsiteX4641" fmla="*/ 1241617 w 3135233"/>
                <a:gd name="connsiteY4641" fmla="*/ 874777 h 2493266"/>
                <a:gd name="connsiteX4642" fmla="*/ 1247884 w 3135233"/>
                <a:gd name="connsiteY4642" fmla="*/ 877985 h 2493266"/>
                <a:gd name="connsiteX4643" fmla="*/ 1247884 w 3135233"/>
                <a:gd name="connsiteY4643" fmla="*/ 881241 h 2493266"/>
                <a:gd name="connsiteX4644" fmla="*/ 1252028 w 3135233"/>
                <a:gd name="connsiteY4644" fmla="*/ 884448 h 2493266"/>
                <a:gd name="connsiteX4645" fmla="*/ 1258294 w 3135233"/>
                <a:gd name="connsiteY4645" fmla="*/ 884448 h 2493266"/>
                <a:gd name="connsiteX4646" fmla="*/ 1262439 w 3135233"/>
                <a:gd name="connsiteY4646" fmla="*/ 886076 h 2493266"/>
                <a:gd name="connsiteX4647" fmla="*/ 1264561 w 3135233"/>
                <a:gd name="connsiteY4647" fmla="*/ 889284 h 2493266"/>
                <a:gd name="connsiteX4648" fmla="*/ 1266633 w 3135233"/>
                <a:gd name="connsiteY4648" fmla="*/ 890912 h 2493266"/>
                <a:gd name="connsiteX4649" fmla="*/ 1270778 w 3135233"/>
                <a:gd name="connsiteY4649" fmla="*/ 894119 h 2493266"/>
                <a:gd name="connsiteX4650" fmla="*/ 1270778 w 3135233"/>
                <a:gd name="connsiteY4650" fmla="*/ 900582 h 2493266"/>
                <a:gd name="connsiteX4651" fmla="*/ 1277044 w 3135233"/>
                <a:gd name="connsiteY4651" fmla="*/ 907046 h 2493266"/>
                <a:gd name="connsiteX4652" fmla="*/ 1285382 w 3135233"/>
                <a:gd name="connsiteY4652" fmla="*/ 911980 h 2493266"/>
                <a:gd name="connsiteX4653" fmla="*/ 1285382 w 3135233"/>
                <a:gd name="connsiteY4653" fmla="*/ 915187 h 2493266"/>
                <a:gd name="connsiteX4654" fmla="*/ 1283310 w 3135233"/>
                <a:gd name="connsiteY4654" fmla="*/ 916815 h 2493266"/>
                <a:gd name="connsiteX4655" fmla="*/ 1285382 w 3135233"/>
                <a:gd name="connsiteY4655" fmla="*/ 920023 h 2493266"/>
                <a:gd name="connsiteX4656" fmla="*/ 1283310 w 3135233"/>
                <a:gd name="connsiteY4656" fmla="*/ 918444 h 2493266"/>
                <a:gd name="connsiteX4657" fmla="*/ 1270778 w 3135233"/>
                <a:gd name="connsiteY4657" fmla="*/ 916815 h 2493266"/>
                <a:gd name="connsiteX4658" fmla="*/ 1260367 w 3135233"/>
                <a:gd name="connsiteY4658" fmla="*/ 913608 h 2493266"/>
                <a:gd name="connsiteX4659" fmla="*/ 1254101 w 3135233"/>
                <a:gd name="connsiteY4659" fmla="*/ 915187 h 2493266"/>
                <a:gd name="connsiteX4660" fmla="*/ 1247884 w 3135233"/>
                <a:gd name="connsiteY4660" fmla="*/ 913608 h 2493266"/>
                <a:gd name="connsiteX4661" fmla="*/ 1247884 w 3135233"/>
                <a:gd name="connsiteY4661" fmla="*/ 915187 h 2493266"/>
                <a:gd name="connsiteX4662" fmla="*/ 1241617 w 3135233"/>
                <a:gd name="connsiteY4662" fmla="*/ 915187 h 2493266"/>
                <a:gd name="connsiteX4663" fmla="*/ 1237473 w 3135233"/>
                <a:gd name="connsiteY4663" fmla="*/ 910253 h 2493266"/>
                <a:gd name="connsiteX4664" fmla="*/ 1233279 w 3135233"/>
                <a:gd name="connsiteY4664" fmla="*/ 910253 h 2493266"/>
                <a:gd name="connsiteX4665" fmla="*/ 1229134 w 3135233"/>
                <a:gd name="connsiteY4665" fmla="*/ 905319 h 2493266"/>
                <a:gd name="connsiteX4666" fmla="*/ 1224940 w 3135233"/>
                <a:gd name="connsiteY4666" fmla="*/ 903740 h 2493266"/>
                <a:gd name="connsiteX4667" fmla="*/ 1212457 w 3135233"/>
                <a:gd name="connsiteY4667" fmla="*/ 903740 h 2493266"/>
                <a:gd name="connsiteX4668" fmla="*/ 1210385 w 3135233"/>
                <a:gd name="connsiteY4668" fmla="*/ 900484 h 2493266"/>
                <a:gd name="connsiteX4669" fmla="*/ 1202047 w 3135233"/>
                <a:gd name="connsiteY4669" fmla="*/ 898856 h 2493266"/>
                <a:gd name="connsiteX4670" fmla="*/ 1199974 w 3135233"/>
                <a:gd name="connsiteY4670" fmla="*/ 893921 h 2493266"/>
                <a:gd name="connsiteX4671" fmla="*/ 1197902 w 3135233"/>
                <a:gd name="connsiteY4671" fmla="*/ 893921 h 2493266"/>
                <a:gd name="connsiteX4672" fmla="*/ 1193708 w 3135233"/>
                <a:gd name="connsiteY4672" fmla="*/ 892343 h 2493266"/>
                <a:gd name="connsiteX4673" fmla="*/ 1187491 w 3135233"/>
                <a:gd name="connsiteY4673" fmla="*/ 892343 h 2493266"/>
                <a:gd name="connsiteX4674" fmla="*/ 1183297 w 3135233"/>
                <a:gd name="connsiteY4674" fmla="*/ 890714 h 2493266"/>
                <a:gd name="connsiteX4675" fmla="*/ 1158331 w 3135233"/>
                <a:gd name="connsiteY4675" fmla="*/ 890714 h 2493266"/>
                <a:gd name="connsiteX4676" fmla="*/ 1149992 w 3135233"/>
                <a:gd name="connsiteY4676" fmla="*/ 889086 h 2493266"/>
                <a:gd name="connsiteX4677" fmla="*/ 1122904 w 3135233"/>
                <a:gd name="connsiteY4677" fmla="*/ 889086 h 2493266"/>
                <a:gd name="connsiteX4678" fmla="*/ 1118711 w 3135233"/>
                <a:gd name="connsiteY4678" fmla="*/ 890714 h 2493266"/>
                <a:gd name="connsiteX4679" fmla="*/ 1110421 w 3135233"/>
                <a:gd name="connsiteY4679" fmla="*/ 892343 h 2493266"/>
                <a:gd name="connsiteX4680" fmla="*/ 1106227 w 3135233"/>
                <a:gd name="connsiteY4680" fmla="*/ 897277 h 2493266"/>
                <a:gd name="connsiteX4681" fmla="*/ 1104155 w 3135233"/>
                <a:gd name="connsiteY4681" fmla="*/ 907145 h 2493266"/>
                <a:gd name="connsiteX4682" fmla="*/ 1097889 w 3135233"/>
                <a:gd name="connsiteY4682" fmla="*/ 915187 h 2493266"/>
                <a:gd name="connsiteX4683" fmla="*/ 1100010 w 3135233"/>
                <a:gd name="connsiteY4683" fmla="*/ 925055 h 2493266"/>
                <a:gd name="connsiteX4684" fmla="*/ 1097889 w 3135233"/>
                <a:gd name="connsiteY4684" fmla="*/ 928262 h 2493266"/>
                <a:gd name="connsiteX4685" fmla="*/ 1100010 w 3135233"/>
                <a:gd name="connsiteY4685" fmla="*/ 931470 h 2493266"/>
                <a:gd name="connsiteX4686" fmla="*/ 1104155 w 3135233"/>
                <a:gd name="connsiteY4686" fmla="*/ 933098 h 2493266"/>
                <a:gd name="connsiteX4687" fmla="*/ 1104155 w 3135233"/>
                <a:gd name="connsiteY4687" fmla="*/ 936354 h 2493266"/>
                <a:gd name="connsiteX4688" fmla="*/ 1100010 w 3135233"/>
                <a:gd name="connsiteY4688" fmla="*/ 937933 h 2493266"/>
                <a:gd name="connsiteX4689" fmla="*/ 1106227 w 3135233"/>
                <a:gd name="connsiteY4689" fmla="*/ 950860 h 2493266"/>
                <a:gd name="connsiteX4690" fmla="*/ 1110421 w 3135233"/>
                <a:gd name="connsiteY4690" fmla="*/ 954067 h 2493266"/>
                <a:gd name="connsiteX4691" fmla="*/ 1112494 w 3135233"/>
                <a:gd name="connsiteY4691" fmla="*/ 957324 h 2493266"/>
                <a:gd name="connsiteX4692" fmla="*/ 1122904 w 3135233"/>
                <a:gd name="connsiteY4692" fmla="*/ 962258 h 2493266"/>
                <a:gd name="connsiteX4693" fmla="*/ 1127049 w 3135233"/>
                <a:gd name="connsiteY4693" fmla="*/ 965465 h 2493266"/>
                <a:gd name="connsiteX4694" fmla="*/ 1131243 w 3135233"/>
                <a:gd name="connsiteY4694" fmla="*/ 963837 h 2493266"/>
                <a:gd name="connsiteX4695" fmla="*/ 1135388 w 3135233"/>
                <a:gd name="connsiteY4695" fmla="*/ 968771 h 2493266"/>
                <a:gd name="connsiteX4696" fmla="*/ 1139581 w 3135233"/>
                <a:gd name="connsiteY4696" fmla="*/ 968771 h 2493266"/>
                <a:gd name="connsiteX4697" fmla="*/ 1147871 w 3135233"/>
                <a:gd name="connsiteY4697" fmla="*/ 965514 h 2493266"/>
                <a:gd name="connsiteX4698" fmla="*/ 1152065 w 3135233"/>
                <a:gd name="connsiteY4698" fmla="*/ 967143 h 2493266"/>
                <a:gd name="connsiteX4699" fmla="*/ 1158331 w 3135233"/>
                <a:gd name="connsiteY4699" fmla="*/ 970350 h 2493266"/>
                <a:gd name="connsiteX4700" fmla="*/ 1164548 w 3135233"/>
                <a:gd name="connsiteY4700" fmla="*/ 970350 h 2493266"/>
                <a:gd name="connsiteX4701" fmla="*/ 1170814 w 3135233"/>
                <a:gd name="connsiteY4701" fmla="*/ 978442 h 2493266"/>
                <a:gd name="connsiteX4702" fmla="*/ 1174958 w 3135233"/>
                <a:gd name="connsiteY4702" fmla="*/ 980070 h 2493266"/>
                <a:gd name="connsiteX4703" fmla="*/ 1174958 w 3135233"/>
                <a:gd name="connsiteY4703" fmla="*/ 983277 h 2493266"/>
                <a:gd name="connsiteX4704" fmla="*/ 1168742 w 3135233"/>
                <a:gd name="connsiteY4704" fmla="*/ 984905 h 2493266"/>
                <a:gd name="connsiteX4705" fmla="*/ 1168742 w 3135233"/>
                <a:gd name="connsiteY4705" fmla="*/ 988112 h 2493266"/>
                <a:gd name="connsiteX4706" fmla="*/ 1164548 w 3135233"/>
                <a:gd name="connsiteY4706" fmla="*/ 991319 h 2493266"/>
                <a:gd name="connsiteX4707" fmla="*/ 1166620 w 3135233"/>
                <a:gd name="connsiteY4707" fmla="*/ 994576 h 2493266"/>
                <a:gd name="connsiteX4708" fmla="*/ 1162475 w 3135233"/>
                <a:gd name="connsiteY4708" fmla="*/ 997783 h 2493266"/>
                <a:gd name="connsiteX4709" fmla="*/ 1154137 w 3135233"/>
                <a:gd name="connsiteY4709" fmla="*/ 1002717 h 2493266"/>
                <a:gd name="connsiteX4710" fmla="*/ 1154137 w 3135233"/>
                <a:gd name="connsiteY4710" fmla="*/ 1005973 h 2493266"/>
                <a:gd name="connsiteX4711" fmla="*/ 1152065 w 3135233"/>
                <a:gd name="connsiteY4711" fmla="*/ 1009181 h 2493266"/>
                <a:gd name="connsiteX4712" fmla="*/ 1156209 w 3135233"/>
                <a:gd name="connsiteY4712" fmla="*/ 1012437 h 2493266"/>
                <a:gd name="connsiteX4713" fmla="*/ 1156209 w 3135233"/>
                <a:gd name="connsiteY4713" fmla="*/ 1020480 h 2493266"/>
                <a:gd name="connsiteX4714" fmla="*/ 1160403 w 3135233"/>
                <a:gd name="connsiteY4714" fmla="*/ 1026943 h 2493266"/>
                <a:gd name="connsiteX4715" fmla="*/ 1160403 w 3135233"/>
                <a:gd name="connsiteY4715" fmla="*/ 1030150 h 2493266"/>
                <a:gd name="connsiteX4716" fmla="*/ 1152065 w 3135233"/>
                <a:gd name="connsiteY4716" fmla="*/ 1031778 h 2493266"/>
                <a:gd name="connsiteX4717" fmla="*/ 1154137 w 3135233"/>
                <a:gd name="connsiteY4717" fmla="*/ 1034986 h 2493266"/>
                <a:gd name="connsiteX4718" fmla="*/ 1166620 w 3135233"/>
                <a:gd name="connsiteY4718" fmla="*/ 1036614 h 2493266"/>
                <a:gd name="connsiteX4719" fmla="*/ 1174958 w 3135233"/>
                <a:gd name="connsiteY4719" fmla="*/ 1036614 h 2493266"/>
                <a:gd name="connsiteX4720" fmla="*/ 1177080 w 3135233"/>
                <a:gd name="connsiteY4720" fmla="*/ 1038242 h 2493266"/>
                <a:gd name="connsiteX4721" fmla="*/ 1179153 w 3135233"/>
                <a:gd name="connsiteY4721" fmla="*/ 1034986 h 2493266"/>
                <a:gd name="connsiteX4722" fmla="*/ 1183297 w 3135233"/>
                <a:gd name="connsiteY4722" fmla="*/ 1034986 h 2493266"/>
                <a:gd name="connsiteX4723" fmla="*/ 1187491 w 3135233"/>
                <a:gd name="connsiteY4723" fmla="*/ 1036614 h 2493266"/>
                <a:gd name="connsiteX4724" fmla="*/ 1195780 w 3135233"/>
                <a:gd name="connsiteY4724" fmla="*/ 1036614 h 2493266"/>
                <a:gd name="connsiteX4725" fmla="*/ 1206240 w 3135233"/>
                <a:gd name="connsiteY4725" fmla="*/ 1039821 h 2493266"/>
                <a:gd name="connsiteX4726" fmla="*/ 1212457 w 3135233"/>
                <a:gd name="connsiteY4726" fmla="*/ 1036614 h 2493266"/>
                <a:gd name="connsiteX4727" fmla="*/ 1220796 w 3135233"/>
                <a:gd name="connsiteY4727" fmla="*/ 1036614 h 2493266"/>
                <a:gd name="connsiteX4728" fmla="*/ 1222868 w 3135233"/>
                <a:gd name="connsiteY4728" fmla="*/ 1039821 h 2493266"/>
                <a:gd name="connsiteX4729" fmla="*/ 1224743 w 3135233"/>
                <a:gd name="connsiteY4729" fmla="*/ 1039821 h 2493266"/>
                <a:gd name="connsiteX4730" fmla="*/ 1226865 w 3135233"/>
                <a:gd name="connsiteY4730" fmla="*/ 1038242 h 2493266"/>
                <a:gd name="connsiteX4731" fmla="*/ 1233081 w 3135233"/>
                <a:gd name="connsiteY4731" fmla="*/ 1036614 h 2493266"/>
                <a:gd name="connsiteX4732" fmla="*/ 1235203 w 3135233"/>
                <a:gd name="connsiteY4732" fmla="*/ 1038242 h 2493266"/>
                <a:gd name="connsiteX4733" fmla="*/ 1237275 w 3135233"/>
                <a:gd name="connsiteY4733" fmla="*/ 1041449 h 2493266"/>
                <a:gd name="connsiteX4734" fmla="*/ 1241420 w 3135233"/>
                <a:gd name="connsiteY4734" fmla="*/ 1041449 h 2493266"/>
                <a:gd name="connsiteX4735" fmla="*/ 1243492 w 3135233"/>
                <a:gd name="connsiteY4735" fmla="*/ 1039821 h 2493266"/>
                <a:gd name="connsiteX4736" fmla="*/ 1245614 w 3135233"/>
                <a:gd name="connsiteY4736" fmla="*/ 1041449 h 2493266"/>
                <a:gd name="connsiteX4737" fmla="*/ 1247686 w 3135233"/>
                <a:gd name="connsiteY4737" fmla="*/ 1046383 h 2493266"/>
                <a:gd name="connsiteX4738" fmla="*/ 1251831 w 3135233"/>
                <a:gd name="connsiteY4738" fmla="*/ 1046383 h 2493266"/>
                <a:gd name="connsiteX4739" fmla="*/ 1254347 w 3135233"/>
                <a:gd name="connsiteY4739" fmla="*/ 1041054 h 2493266"/>
                <a:gd name="connsiteX4740" fmla="*/ 1262686 w 3135233"/>
                <a:gd name="connsiteY4740" fmla="*/ 1041054 h 2493266"/>
                <a:gd name="connsiteX4741" fmla="*/ 1266880 w 3135233"/>
                <a:gd name="connsiteY4741" fmla="*/ 1036120 h 2493266"/>
                <a:gd name="connsiteX4742" fmla="*/ 1273096 w 3135233"/>
                <a:gd name="connsiteY4742" fmla="*/ 1034492 h 2493266"/>
                <a:gd name="connsiteX4743" fmla="*/ 1279017 w 3135233"/>
                <a:gd name="connsiteY4743" fmla="*/ 1034492 h 2493266"/>
                <a:gd name="connsiteX4744" fmla="*/ 1285284 w 3135233"/>
                <a:gd name="connsiteY4744" fmla="*/ 1029558 h 2493266"/>
                <a:gd name="connsiteX4745" fmla="*/ 1293819 w 3135233"/>
                <a:gd name="connsiteY4745" fmla="*/ 1026252 h 2493266"/>
                <a:gd name="connsiteX4746" fmla="*/ 1300036 w 3135233"/>
                <a:gd name="connsiteY4746" fmla="*/ 1024624 h 2493266"/>
                <a:gd name="connsiteX4747" fmla="*/ 1302109 w 3135233"/>
                <a:gd name="connsiteY4747" fmla="*/ 1021417 h 2493266"/>
                <a:gd name="connsiteX4748" fmla="*/ 1306303 w 3135233"/>
                <a:gd name="connsiteY4748" fmla="*/ 1021417 h 2493266"/>
                <a:gd name="connsiteX4749" fmla="*/ 1314641 w 3135233"/>
                <a:gd name="connsiteY4749" fmla="*/ 1022996 h 2493266"/>
                <a:gd name="connsiteX4750" fmla="*/ 1318490 w 3135233"/>
                <a:gd name="connsiteY4750" fmla="*/ 1022996 h 2493266"/>
                <a:gd name="connsiteX4751" fmla="*/ 1324756 w 3135233"/>
                <a:gd name="connsiteY4751" fmla="*/ 1024624 h 2493266"/>
                <a:gd name="connsiteX4752" fmla="*/ 1337239 w 3135233"/>
                <a:gd name="connsiteY4752" fmla="*/ 1024624 h 2493266"/>
                <a:gd name="connsiteX4753" fmla="*/ 1352041 w 3135233"/>
                <a:gd name="connsiteY4753" fmla="*/ 1016532 h 2493266"/>
                <a:gd name="connsiteX4754" fmla="*/ 1354113 w 3135233"/>
                <a:gd name="connsiteY4754" fmla="*/ 1013325 h 2493266"/>
                <a:gd name="connsiteX4755" fmla="*/ 1356186 w 3135233"/>
                <a:gd name="connsiteY4755" fmla="*/ 1011697 h 2493266"/>
                <a:gd name="connsiteX4756" fmla="*/ 1358258 w 3135233"/>
                <a:gd name="connsiteY4756" fmla="*/ 1014953 h 2493266"/>
                <a:gd name="connsiteX4757" fmla="*/ 1360330 w 3135233"/>
                <a:gd name="connsiteY4757" fmla="*/ 1011697 h 2493266"/>
                <a:gd name="connsiteX4758" fmla="*/ 1366596 w 3135233"/>
                <a:gd name="connsiteY4758" fmla="*/ 1008490 h 2493266"/>
                <a:gd name="connsiteX4759" fmla="*/ 1366596 w 3135233"/>
                <a:gd name="connsiteY4759" fmla="*/ 1005233 h 2493266"/>
                <a:gd name="connsiteX4760" fmla="*/ 1368669 w 3135233"/>
                <a:gd name="connsiteY4760" fmla="*/ 1002026 h 2493266"/>
                <a:gd name="connsiteX4761" fmla="*/ 1370790 w 3135233"/>
                <a:gd name="connsiteY4761" fmla="*/ 1003654 h 2493266"/>
                <a:gd name="connsiteX4762" fmla="*/ 1374935 w 3135233"/>
                <a:gd name="connsiteY4762" fmla="*/ 1002026 h 2493266"/>
                <a:gd name="connsiteX4763" fmla="*/ 1379080 w 3135233"/>
                <a:gd name="connsiteY4763" fmla="*/ 998819 h 2493266"/>
                <a:gd name="connsiteX4764" fmla="*/ 1377007 w 3135233"/>
                <a:gd name="connsiteY4764" fmla="*/ 997191 h 2493266"/>
                <a:gd name="connsiteX4765" fmla="*/ 1383274 w 3135233"/>
                <a:gd name="connsiteY4765" fmla="*/ 997191 h 2493266"/>
                <a:gd name="connsiteX4766" fmla="*/ 1387418 w 3135233"/>
                <a:gd name="connsiteY4766" fmla="*/ 1000398 h 2493266"/>
                <a:gd name="connsiteX4767" fmla="*/ 1387418 w 3135233"/>
                <a:gd name="connsiteY4767" fmla="*/ 1003654 h 2493266"/>
                <a:gd name="connsiteX4768" fmla="*/ 1389540 w 3135233"/>
                <a:gd name="connsiteY4768" fmla="*/ 1006862 h 2493266"/>
                <a:gd name="connsiteX4769" fmla="*/ 1383274 w 3135233"/>
                <a:gd name="connsiteY4769" fmla="*/ 1010118 h 2493266"/>
                <a:gd name="connsiteX4770" fmla="*/ 1383274 w 3135233"/>
                <a:gd name="connsiteY4770" fmla="*/ 1013325 h 2493266"/>
                <a:gd name="connsiteX4771" fmla="*/ 1381201 w 3135233"/>
                <a:gd name="connsiteY4771" fmla="*/ 1016532 h 2493266"/>
                <a:gd name="connsiteX4772" fmla="*/ 1377007 w 3135233"/>
                <a:gd name="connsiteY4772" fmla="*/ 1019789 h 2493266"/>
                <a:gd name="connsiteX4773" fmla="*/ 1377007 w 3135233"/>
                <a:gd name="connsiteY4773" fmla="*/ 1021318 h 2493266"/>
                <a:gd name="connsiteX4774" fmla="*/ 1383274 w 3135233"/>
                <a:gd name="connsiteY4774" fmla="*/ 1021318 h 2493266"/>
                <a:gd name="connsiteX4775" fmla="*/ 1387418 w 3135233"/>
                <a:gd name="connsiteY4775" fmla="*/ 1026252 h 2493266"/>
                <a:gd name="connsiteX4776" fmla="*/ 1389540 w 3135233"/>
                <a:gd name="connsiteY4776" fmla="*/ 1024624 h 2493266"/>
                <a:gd name="connsiteX4777" fmla="*/ 1393684 w 3135233"/>
                <a:gd name="connsiteY4777" fmla="*/ 1024624 h 2493266"/>
                <a:gd name="connsiteX4778" fmla="*/ 1399951 w 3135233"/>
                <a:gd name="connsiteY4778" fmla="*/ 1026252 h 2493266"/>
                <a:gd name="connsiteX4779" fmla="*/ 1402023 w 3135233"/>
                <a:gd name="connsiteY4779" fmla="*/ 1031186 h 2493266"/>
                <a:gd name="connsiteX4780" fmla="*/ 1406168 w 3135233"/>
                <a:gd name="connsiteY4780" fmla="*/ 1034393 h 2493266"/>
                <a:gd name="connsiteX4781" fmla="*/ 1406168 w 3135233"/>
                <a:gd name="connsiteY4781" fmla="*/ 1031186 h 2493266"/>
                <a:gd name="connsiteX4782" fmla="*/ 1408240 w 3135233"/>
                <a:gd name="connsiteY4782" fmla="*/ 1029558 h 2493266"/>
                <a:gd name="connsiteX4783" fmla="*/ 1412434 w 3135233"/>
                <a:gd name="connsiteY4783" fmla="*/ 1031186 h 2493266"/>
                <a:gd name="connsiteX4784" fmla="*/ 1412434 w 3135233"/>
                <a:gd name="connsiteY4784" fmla="*/ 1036120 h 2493266"/>
                <a:gd name="connsiteX4785" fmla="*/ 1408240 w 3135233"/>
                <a:gd name="connsiteY4785" fmla="*/ 1039328 h 2493266"/>
                <a:gd name="connsiteX4786" fmla="*/ 1402023 w 3135233"/>
                <a:gd name="connsiteY4786" fmla="*/ 1039328 h 2493266"/>
                <a:gd name="connsiteX4787" fmla="*/ 1397829 w 3135233"/>
                <a:gd name="connsiteY4787" fmla="*/ 1044262 h 2493266"/>
                <a:gd name="connsiteX4788" fmla="*/ 1399951 w 3135233"/>
                <a:gd name="connsiteY4788" fmla="*/ 1045890 h 2493266"/>
                <a:gd name="connsiteX4789" fmla="*/ 1404095 w 3135233"/>
                <a:gd name="connsiteY4789" fmla="*/ 1045890 h 2493266"/>
                <a:gd name="connsiteX4790" fmla="*/ 1408240 w 3135233"/>
                <a:gd name="connsiteY4790" fmla="*/ 1047518 h 2493266"/>
                <a:gd name="connsiteX4791" fmla="*/ 1412434 w 3135233"/>
                <a:gd name="connsiteY4791" fmla="*/ 1050725 h 2493266"/>
                <a:gd name="connsiteX4792" fmla="*/ 1418700 w 3135233"/>
                <a:gd name="connsiteY4792" fmla="*/ 1050725 h 2493266"/>
                <a:gd name="connsiteX4793" fmla="*/ 1422845 w 3135233"/>
                <a:gd name="connsiteY4793" fmla="*/ 1044262 h 2493266"/>
                <a:gd name="connsiteX4794" fmla="*/ 1424917 w 3135233"/>
                <a:gd name="connsiteY4794" fmla="*/ 1044262 h 2493266"/>
                <a:gd name="connsiteX4795" fmla="*/ 1424917 w 3135233"/>
                <a:gd name="connsiteY4795" fmla="*/ 1049196 h 2493266"/>
                <a:gd name="connsiteX4796" fmla="*/ 1429111 w 3135233"/>
                <a:gd name="connsiteY4796" fmla="*/ 1055659 h 2493266"/>
                <a:gd name="connsiteX4797" fmla="*/ 1433255 w 3135233"/>
                <a:gd name="connsiteY4797" fmla="*/ 1055659 h 2493266"/>
                <a:gd name="connsiteX4798" fmla="*/ 1437400 w 3135233"/>
                <a:gd name="connsiteY4798" fmla="*/ 1054080 h 2493266"/>
                <a:gd name="connsiteX4799" fmla="*/ 1443666 w 3135233"/>
                <a:gd name="connsiteY4799" fmla="*/ 1055659 h 2493266"/>
                <a:gd name="connsiteX4800" fmla="*/ 1445738 w 3135233"/>
                <a:gd name="connsiteY4800" fmla="*/ 1058916 h 2493266"/>
                <a:gd name="connsiteX4801" fmla="*/ 1449932 w 3135233"/>
                <a:gd name="connsiteY4801" fmla="*/ 1058916 h 2493266"/>
                <a:gd name="connsiteX4802" fmla="*/ 1454077 w 3135233"/>
                <a:gd name="connsiteY4802" fmla="*/ 1062123 h 2493266"/>
                <a:gd name="connsiteX4803" fmla="*/ 1456149 w 3135233"/>
                <a:gd name="connsiteY4803" fmla="*/ 1062123 h 2493266"/>
                <a:gd name="connsiteX4804" fmla="*/ 1456149 w 3135233"/>
                <a:gd name="connsiteY4804" fmla="*/ 1057189 h 2493266"/>
                <a:gd name="connsiteX4805" fmla="*/ 1460343 w 3135233"/>
                <a:gd name="connsiteY4805" fmla="*/ 1057189 h 2493266"/>
                <a:gd name="connsiteX4806" fmla="*/ 1464488 w 3135233"/>
                <a:gd name="connsiteY4806" fmla="*/ 1055561 h 2493266"/>
                <a:gd name="connsiteX4807" fmla="*/ 1466560 w 3135233"/>
                <a:gd name="connsiteY4807" fmla="*/ 1057189 h 2493266"/>
                <a:gd name="connsiteX4808" fmla="*/ 1466560 w 3135233"/>
                <a:gd name="connsiteY4808" fmla="*/ 1062123 h 2493266"/>
                <a:gd name="connsiteX4809" fmla="*/ 1468682 w 3135233"/>
                <a:gd name="connsiteY4809" fmla="*/ 1063751 h 2493266"/>
                <a:gd name="connsiteX4810" fmla="*/ 1474899 w 3135233"/>
                <a:gd name="connsiteY4810" fmla="*/ 1062123 h 2493266"/>
                <a:gd name="connsiteX4811" fmla="*/ 1479092 w 3135233"/>
                <a:gd name="connsiteY4811" fmla="*/ 1057189 h 2493266"/>
                <a:gd name="connsiteX4812" fmla="*/ 1481165 w 3135233"/>
                <a:gd name="connsiteY4812" fmla="*/ 1058817 h 2493266"/>
                <a:gd name="connsiteX4813" fmla="*/ 1483237 w 3135233"/>
                <a:gd name="connsiteY4813" fmla="*/ 1062024 h 2493266"/>
                <a:gd name="connsiteX4814" fmla="*/ 1485309 w 3135233"/>
                <a:gd name="connsiteY4814" fmla="*/ 1062024 h 2493266"/>
                <a:gd name="connsiteX4815" fmla="*/ 1487431 w 3135233"/>
                <a:gd name="connsiteY4815" fmla="*/ 1060396 h 2493266"/>
                <a:gd name="connsiteX4816" fmla="*/ 1489503 w 3135233"/>
                <a:gd name="connsiteY4816" fmla="*/ 1058817 h 2493266"/>
                <a:gd name="connsiteX4817" fmla="*/ 1493648 w 3135233"/>
                <a:gd name="connsiteY4817" fmla="*/ 1055561 h 2493266"/>
                <a:gd name="connsiteX4818" fmla="*/ 1497842 w 3135233"/>
                <a:gd name="connsiteY4818" fmla="*/ 1055561 h 2493266"/>
                <a:gd name="connsiteX4819" fmla="*/ 1499914 w 3135233"/>
                <a:gd name="connsiteY4819" fmla="*/ 1058817 h 2493266"/>
                <a:gd name="connsiteX4820" fmla="*/ 1505983 w 3135233"/>
                <a:gd name="connsiteY4820" fmla="*/ 1058817 h 2493266"/>
                <a:gd name="connsiteX4821" fmla="*/ 2178936 w 3135233"/>
                <a:gd name="connsiteY4821" fmla="*/ 1276605 h 2493266"/>
                <a:gd name="connsiteX4822" fmla="*/ 2181008 w 3135233"/>
                <a:gd name="connsiteY4822" fmla="*/ 1268514 h 2493266"/>
                <a:gd name="connsiteX4823" fmla="*/ 2178936 w 3135233"/>
                <a:gd name="connsiteY4823" fmla="*/ 1266885 h 2493266"/>
                <a:gd name="connsiteX4824" fmla="*/ 2181008 w 3135233"/>
                <a:gd name="connsiteY4824" fmla="*/ 1260471 h 2493266"/>
                <a:gd name="connsiteX4825" fmla="*/ 2181008 w 3135233"/>
                <a:gd name="connsiteY4825" fmla="*/ 1252231 h 2493266"/>
                <a:gd name="connsiteX4826" fmla="*/ 2189347 w 3135233"/>
                <a:gd name="connsiteY4826" fmla="*/ 1244139 h 2493266"/>
                <a:gd name="connsiteX4827" fmla="*/ 2193541 w 3135233"/>
                <a:gd name="connsiteY4827" fmla="*/ 1237676 h 2493266"/>
                <a:gd name="connsiteX4828" fmla="*/ 2199807 w 3135233"/>
                <a:gd name="connsiteY4828" fmla="*/ 1234469 h 2493266"/>
                <a:gd name="connsiteX4829" fmla="*/ 2210218 w 3135233"/>
                <a:gd name="connsiteY4829" fmla="*/ 1221591 h 2493266"/>
                <a:gd name="connsiteX4830" fmla="*/ 2216435 w 3135233"/>
                <a:gd name="connsiteY4830" fmla="*/ 1218334 h 2493266"/>
                <a:gd name="connsiteX4831" fmla="*/ 2220629 w 3135233"/>
                <a:gd name="connsiteY4831" fmla="*/ 1218334 h 2493266"/>
                <a:gd name="connsiteX4832" fmla="*/ 2222701 w 3135233"/>
                <a:gd name="connsiteY4832" fmla="*/ 1215127 h 2493266"/>
                <a:gd name="connsiteX4833" fmla="*/ 2226845 w 3135233"/>
                <a:gd name="connsiteY4833" fmla="*/ 1216706 h 2493266"/>
                <a:gd name="connsiteX4834" fmla="*/ 2235184 w 3135233"/>
                <a:gd name="connsiteY4834" fmla="*/ 1213499 h 2493266"/>
                <a:gd name="connsiteX4835" fmla="*/ 2241450 w 3135233"/>
                <a:gd name="connsiteY4835" fmla="*/ 1216706 h 2493266"/>
                <a:gd name="connsiteX4836" fmla="*/ 2245595 w 3135233"/>
                <a:gd name="connsiteY4836" fmla="*/ 1219963 h 2493266"/>
                <a:gd name="connsiteX4837" fmla="*/ 2249789 w 3135233"/>
                <a:gd name="connsiteY4837" fmla="*/ 1219963 h 2493266"/>
                <a:gd name="connsiteX4838" fmla="*/ 2253933 w 3135233"/>
                <a:gd name="connsiteY4838" fmla="*/ 1224897 h 2493266"/>
                <a:gd name="connsiteX4839" fmla="*/ 2256055 w 3135233"/>
                <a:gd name="connsiteY4839" fmla="*/ 1231360 h 2493266"/>
                <a:gd name="connsiteX4840" fmla="*/ 2256055 w 3135233"/>
                <a:gd name="connsiteY4840" fmla="*/ 1236294 h 2493266"/>
                <a:gd name="connsiteX4841" fmla="*/ 2249789 w 3135233"/>
                <a:gd name="connsiteY4841" fmla="*/ 1239501 h 2493266"/>
                <a:gd name="connsiteX4842" fmla="*/ 2247667 w 3135233"/>
                <a:gd name="connsiteY4842" fmla="*/ 1245965 h 2493266"/>
                <a:gd name="connsiteX4843" fmla="*/ 2245595 w 3135233"/>
                <a:gd name="connsiteY4843" fmla="*/ 1252429 h 2493266"/>
                <a:gd name="connsiteX4844" fmla="*/ 2237256 w 3135233"/>
                <a:gd name="connsiteY4844" fmla="*/ 1265306 h 2493266"/>
                <a:gd name="connsiteX4845" fmla="*/ 2233112 w 3135233"/>
                <a:gd name="connsiteY4845" fmla="*/ 1270240 h 2493266"/>
                <a:gd name="connsiteX4846" fmla="*/ 2228967 w 3135233"/>
                <a:gd name="connsiteY4846" fmla="*/ 1271819 h 2493266"/>
                <a:gd name="connsiteX4847" fmla="*/ 2220629 w 3135233"/>
                <a:gd name="connsiteY4847" fmla="*/ 1275076 h 2493266"/>
                <a:gd name="connsiteX4848" fmla="*/ 2218556 w 3135233"/>
                <a:gd name="connsiteY4848" fmla="*/ 1276704 h 2493266"/>
                <a:gd name="connsiteX4849" fmla="*/ 2212241 w 3135233"/>
                <a:gd name="connsiteY4849" fmla="*/ 1278283 h 2493266"/>
                <a:gd name="connsiteX4850" fmla="*/ 2203952 w 3135233"/>
                <a:gd name="connsiteY4850" fmla="*/ 1279911 h 2493266"/>
                <a:gd name="connsiteX4851" fmla="*/ 2199807 w 3135233"/>
                <a:gd name="connsiteY4851" fmla="*/ 1278283 h 2493266"/>
                <a:gd name="connsiteX4852" fmla="*/ 2189347 w 3135233"/>
                <a:gd name="connsiteY4852" fmla="*/ 1279911 h 2493266"/>
                <a:gd name="connsiteX4853" fmla="*/ 2185202 w 3135233"/>
                <a:gd name="connsiteY4853" fmla="*/ 1278283 h 2493266"/>
                <a:gd name="connsiteX4854" fmla="*/ 2181008 w 3135233"/>
                <a:gd name="connsiteY4854" fmla="*/ 1278283 h 2493266"/>
                <a:gd name="connsiteX4855" fmla="*/ 1539485 w 3135233"/>
                <a:gd name="connsiteY4855" fmla="*/ 1039377 h 2493266"/>
                <a:gd name="connsiteX4856" fmla="*/ 1537413 w 3135233"/>
                <a:gd name="connsiteY4856" fmla="*/ 1036170 h 2493266"/>
                <a:gd name="connsiteX4857" fmla="*/ 1539485 w 3135233"/>
                <a:gd name="connsiteY4857" fmla="*/ 1031236 h 2493266"/>
                <a:gd name="connsiteX4858" fmla="*/ 1543679 w 3135233"/>
                <a:gd name="connsiteY4858" fmla="*/ 1031236 h 2493266"/>
                <a:gd name="connsiteX4859" fmla="*/ 1541557 w 3135233"/>
                <a:gd name="connsiteY4859" fmla="*/ 1026302 h 2493266"/>
                <a:gd name="connsiteX4860" fmla="*/ 1543679 w 3135233"/>
                <a:gd name="connsiteY4860" fmla="*/ 1023045 h 2493266"/>
                <a:gd name="connsiteX4861" fmla="*/ 1545751 w 3135233"/>
                <a:gd name="connsiteY4861" fmla="*/ 1021466 h 2493266"/>
                <a:gd name="connsiteX4862" fmla="*/ 1545751 w 3135233"/>
                <a:gd name="connsiteY4862" fmla="*/ 1026400 h 2493266"/>
                <a:gd name="connsiteX4863" fmla="*/ 1549896 w 3135233"/>
                <a:gd name="connsiteY4863" fmla="*/ 1029607 h 2493266"/>
                <a:gd name="connsiteX4864" fmla="*/ 1549896 w 3135233"/>
                <a:gd name="connsiteY4864" fmla="*/ 1032815 h 2493266"/>
                <a:gd name="connsiteX4865" fmla="*/ 1547823 w 3135233"/>
                <a:gd name="connsiteY4865" fmla="*/ 1036071 h 2493266"/>
                <a:gd name="connsiteX4866" fmla="*/ 1543679 w 3135233"/>
                <a:gd name="connsiteY4866" fmla="*/ 1036071 h 2493266"/>
                <a:gd name="connsiteX4867" fmla="*/ 1541557 w 3135233"/>
                <a:gd name="connsiteY4867" fmla="*/ 1039278 h 2493266"/>
                <a:gd name="connsiteX4868" fmla="*/ 1479092 w 3135233"/>
                <a:gd name="connsiteY4868" fmla="*/ 1086201 h 2493266"/>
                <a:gd name="connsiteX4869" fmla="*/ 1483237 w 3135233"/>
                <a:gd name="connsiteY4869" fmla="*/ 1084573 h 2493266"/>
                <a:gd name="connsiteX4870" fmla="*/ 1485309 w 3135233"/>
                <a:gd name="connsiteY4870" fmla="*/ 1079639 h 2493266"/>
                <a:gd name="connsiteX4871" fmla="*/ 1485309 w 3135233"/>
                <a:gd name="connsiteY4871" fmla="*/ 1071547 h 2493266"/>
                <a:gd name="connsiteX4872" fmla="*/ 1479092 w 3135233"/>
                <a:gd name="connsiteY4872" fmla="*/ 1074803 h 2493266"/>
                <a:gd name="connsiteX4873" fmla="*/ 1479092 w 3135233"/>
                <a:gd name="connsiteY4873" fmla="*/ 1076382 h 2493266"/>
                <a:gd name="connsiteX4874" fmla="*/ 1470754 w 3135233"/>
                <a:gd name="connsiteY4874" fmla="*/ 1076382 h 2493266"/>
                <a:gd name="connsiteX4875" fmla="*/ 1470754 w 3135233"/>
                <a:gd name="connsiteY4875" fmla="*/ 1079639 h 2493266"/>
                <a:gd name="connsiteX4876" fmla="*/ 1474899 w 3135233"/>
                <a:gd name="connsiteY4876" fmla="*/ 1084573 h 2493266"/>
                <a:gd name="connsiteX4877" fmla="*/ 1549896 w 3135233"/>
                <a:gd name="connsiteY4877" fmla="*/ 1074902 h 2493266"/>
                <a:gd name="connsiteX4878" fmla="*/ 1543679 w 3135233"/>
                <a:gd name="connsiteY4878" fmla="*/ 1079836 h 2493266"/>
                <a:gd name="connsiteX4879" fmla="*/ 1541557 w 3135233"/>
                <a:gd name="connsiteY4879" fmla="*/ 1083043 h 2493266"/>
                <a:gd name="connsiteX4880" fmla="*/ 1539485 w 3135233"/>
                <a:gd name="connsiteY4880" fmla="*/ 1086300 h 2493266"/>
                <a:gd name="connsiteX4881" fmla="*/ 1535341 w 3135233"/>
                <a:gd name="connsiteY4881" fmla="*/ 1079836 h 2493266"/>
                <a:gd name="connsiteX4882" fmla="*/ 1535341 w 3135233"/>
                <a:gd name="connsiteY4882" fmla="*/ 1076580 h 2493266"/>
                <a:gd name="connsiteX4883" fmla="*/ 1541557 w 3135233"/>
                <a:gd name="connsiteY4883" fmla="*/ 1068537 h 2493266"/>
                <a:gd name="connsiteX4884" fmla="*/ 1541557 w 3135233"/>
                <a:gd name="connsiteY4884" fmla="*/ 1063603 h 2493266"/>
                <a:gd name="connsiteX4885" fmla="*/ 1545751 w 3135233"/>
                <a:gd name="connsiteY4885" fmla="*/ 1060347 h 2493266"/>
                <a:gd name="connsiteX4886" fmla="*/ 1549896 w 3135233"/>
                <a:gd name="connsiteY4886" fmla="*/ 1060347 h 2493266"/>
                <a:gd name="connsiteX4887" fmla="*/ 1549896 w 3135233"/>
                <a:gd name="connsiteY4887" fmla="*/ 1065281 h 2493266"/>
                <a:gd name="connsiteX4888" fmla="*/ 1554090 w 3135233"/>
                <a:gd name="connsiteY4888" fmla="*/ 1070215 h 2493266"/>
                <a:gd name="connsiteX4889" fmla="*/ 1558235 w 3135233"/>
                <a:gd name="connsiteY4889" fmla="*/ 1068438 h 2493266"/>
                <a:gd name="connsiteX4890" fmla="*/ 1558235 w 3135233"/>
                <a:gd name="connsiteY4890" fmla="*/ 1063504 h 2493266"/>
                <a:gd name="connsiteX4891" fmla="*/ 1556162 w 3135233"/>
                <a:gd name="connsiteY4891" fmla="*/ 1061876 h 2493266"/>
                <a:gd name="connsiteX4892" fmla="*/ 1560307 w 3135233"/>
                <a:gd name="connsiteY4892" fmla="*/ 1053834 h 2493266"/>
                <a:gd name="connsiteX4893" fmla="*/ 1562379 w 3135233"/>
                <a:gd name="connsiteY4893" fmla="*/ 1052205 h 2493266"/>
                <a:gd name="connsiteX4894" fmla="*/ 1566573 w 3135233"/>
                <a:gd name="connsiteY4894" fmla="*/ 1058669 h 2493266"/>
                <a:gd name="connsiteX4895" fmla="*/ 1564501 w 3135233"/>
                <a:gd name="connsiteY4895" fmla="*/ 1061876 h 2493266"/>
                <a:gd name="connsiteX4896" fmla="*/ 1562379 w 3135233"/>
                <a:gd name="connsiteY4896" fmla="*/ 1066810 h 2493266"/>
                <a:gd name="connsiteX4897" fmla="*/ 1691453 w 3135233"/>
                <a:gd name="connsiteY4897" fmla="*/ 1070067 h 2493266"/>
                <a:gd name="connsiteX4898" fmla="*/ 1695647 w 3135233"/>
                <a:gd name="connsiteY4898" fmla="*/ 1058768 h 2493266"/>
                <a:gd name="connsiteX4899" fmla="*/ 1701864 w 3135233"/>
                <a:gd name="connsiteY4899" fmla="*/ 1053834 h 2493266"/>
                <a:gd name="connsiteX4900" fmla="*/ 1712275 w 3135233"/>
                <a:gd name="connsiteY4900" fmla="*/ 1055413 h 2493266"/>
                <a:gd name="connsiteX4901" fmla="*/ 1712275 w 3135233"/>
                <a:gd name="connsiteY4901" fmla="*/ 1061876 h 2493266"/>
                <a:gd name="connsiteX4902" fmla="*/ 1703936 w 3135233"/>
                <a:gd name="connsiteY4902" fmla="*/ 1071744 h 2493266"/>
                <a:gd name="connsiteX4903" fmla="*/ 1699792 w 3135233"/>
                <a:gd name="connsiteY4903" fmla="*/ 1073372 h 2493266"/>
                <a:gd name="connsiteX4904" fmla="*/ 1699792 w 3135233"/>
                <a:gd name="connsiteY4904" fmla="*/ 1063504 h 2493266"/>
                <a:gd name="connsiteX4905" fmla="*/ 1697670 w 3135233"/>
                <a:gd name="connsiteY4905" fmla="*/ 1066711 h 2493266"/>
                <a:gd name="connsiteX4906" fmla="*/ 1695647 w 3135233"/>
                <a:gd name="connsiteY4906" fmla="*/ 1069968 h 2493266"/>
                <a:gd name="connsiteX4907" fmla="*/ 1687259 w 3135233"/>
                <a:gd name="connsiteY4907" fmla="*/ 1061975 h 2493266"/>
                <a:gd name="connsiteX4908" fmla="*/ 1689381 w 3135233"/>
                <a:gd name="connsiteY4908" fmla="*/ 1063603 h 2493266"/>
                <a:gd name="connsiteX4909" fmla="*/ 1693526 w 3135233"/>
                <a:gd name="connsiteY4909" fmla="*/ 1057139 h 2493266"/>
                <a:gd name="connsiteX4910" fmla="*/ 1689381 w 3135233"/>
                <a:gd name="connsiteY4910" fmla="*/ 1049048 h 2493266"/>
                <a:gd name="connsiteX4911" fmla="*/ 1685237 w 3135233"/>
                <a:gd name="connsiteY4911" fmla="*/ 1053982 h 2493266"/>
                <a:gd name="connsiteX4912" fmla="*/ 1681141 w 3135233"/>
                <a:gd name="connsiteY4912" fmla="*/ 1115065 h 2493266"/>
                <a:gd name="connsiteX4913" fmla="*/ 1685335 w 3135233"/>
                <a:gd name="connsiteY4913" fmla="*/ 1111858 h 2493266"/>
                <a:gd name="connsiteX4914" fmla="*/ 1695746 w 3135233"/>
                <a:gd name="connsiteY4914" fmla="*/ 1106924 h 2493266"/>
                <a:gd name="connsiteX4915" fmla="*/ 1695746 w 3135233"/>
                <a:gd name="connsiteY4915" fmla="*/ 1101990 h 2493266"/>
                <a:gd name="connsiteX4916" fmla="*/ 1687358 w 3135233"/>
                <a:gd name="connsiteY4916" fmla="*/ 1103569 h 2493266"/>
                <a:gd name="connsiteX4917" fmla="*/ 1683213 w 3135233"/>
                <a:gd name="connsiteY4917" fmla="*/ 1100362 h 2493266"/>
                <a:gd name="connsiteX4918" fmla="*/ 1691552 w 3135233"/>
                <a:gd name="connsiteY4918" fmla="*/ 1087434 h 2493266"/>
                <a:gd name="connsiteX4919" fmla="*/ 1693624 w 3135233"/>
                <a:gd name="connsiteY4919" fmla="*/ 1080971 h 2493266"/>
                <a:gd name="connsiteX4920" fmla="*/ 1685335 w 3135233"/>
                <a:gd name="connsiteY4920" fmla="*/ 1084227 h 2493266"/>
                <a:gd name="connsiteX4921" fmla="*/ 1679020 w 3135233"/>
                <a:gd name="connsiteY4921" fmla="*/ 1094095 h 2493266"/>
                <a:gd name="connsiteX4922" fmla="*/ 1679020 w 3135233"/>
                <a:gd name="connsiteY4922" fmla="*/ 1087632 h 2493266"/>
                <a:gd name="connsiteX4923" fmla="*/ 1685335 w 3135233"/>
                <a:gd name="connsiteY4923" fmla="*/ 1074754 h 2493266"/>
                <a:gd name="connsiteX4924" fmla="*/ 1681141 w 3135233"/>
                <a:gd name="connsiteY4924" fmla="*/ 1053784 h 2493266"/>
                <a:gd name="connsiteX4925" fmla="*/ 1670730 w 3135233"/>
                <a:gd name="connsiteY4925" fmla="*/ 1047321 h 2493266"/>
                <a:gd name="connsiteX4926" fmla="*/ 1670730 w 3135233"/>
                <a:gd name="connsiteY4926" fmla="*/ 1041054 h 2493266"/>
                <a:gd name="connsiteX4927" fmla="*/ 1664464 w 3135233"/>
                <a:gd name="connsiteY4927" fmla="*/ 1041054 h 2493266"/>
                <a:gd name="connsiteX4928" fmla="*/ 1660320 w 3135233"/>
                <a:gd name="connsiteY4928" fmla="*/ 1047518 h 2493266"/>
                <a:gd name="connsiteX4929" fmla="*/ 1660320 w 3135233"/>
                <a:gd name="connsiteY4929" fmla="*/ 1039426 h 2493266"/>
                <a:gd name="connsiteX4930" fmla="*/ 1664464 w 3135233"/>
                <a:gd name="connsiteY4930" fmla="*/ 1036219 h 2493266"/>
                <a:gd name="connsiteX4931" fmla="*/ 1662392 w 3135233"/>
                <a:gd name="connsiteY4931" fmla="*/ 1029756 h 2493266"/>
                <a:gd name="connsiteX4932" fmla="*/ 1662392 w 3135233"/>
                <a:gd name="connsiteY4932" fmla="*/ 1018457 h 2493266"/>
                <a:gd name="connsiteX4933" fmla="*/ 1651932 w 3135233"/>
                <a:gd name="connsiteY4933" fmla="*/ 1021713 h 2493266"/>
                <a:gd name="connsiteX4934" fmla="*/ 1641521 w 3135233"/>
                <a:gd name="connsiteY4934" fmla="*/ 1028127 h 2493266"/>
                <a:gd name="connsiteX4935" fmla="*/ 1637376 w 3135233"/>
                <a:gd name="connsiteY4935" fmla="*/ 1039426 h 2493266"/>
                <a:gd name="connsiteX4936" fmla="*/ 1639498 w 3135233"/>
                <a:gd name="connsiteY4936" fmla="*/ 1049294 h 2493266"/>
                <a:gd name="connsiteX4937" fmla="*/ 1635304 w 3135233"/>
                <a:gd name="connsiteY4937" fmla="*/ 1047715 h 2493266"/>
                <a:gd name="connsiteX4938" fmla="*/ 1631110 w 3135233"/>
                <a:gd name="connsiteY4938" fmla="*/ 1039624 h 2493266"/>
                <a:gd name="connsiteX4939" fmla="*/ 1629087 w 3135233"/>
                <a:gd name="connsiteY4939" fmla="*/ 1037995 h 2493266"/>
                <a:gd name="connsiteX4940" fmla="*/ 1626966 w 3135233"/>
                <a:gd name="connsiteY4940" fmla="*/ 1046087 h 2493266"/>
                <a:gd name="connsiteX4941" fmla="*/ 1622821 w 3135233"/>
                <a:gd name="connsiteY4941" fmla="*/ 1046087 h 2493266"/>
                <a:gd name="connsiteX4942" fmla="*/ 1626966 w 3135233"/>
                <a:gd name="connsiteY4942" fmla="*/ 1052551 h 2493266"/>
                <a:gd name="connsiteX4943" fmla="*/ 1622821 w 3135233"/>
                <a:gd name="connsiteY4943" fmla="*/ 1057485 h 2493266"/>
                <a:gd name="connsiteX4944" fmla="*/ 1616555 w 3135233"/>
                <a:gd name="connsiteY4944" fmla="*/ 1057485 h 2493266"/>
                <a:gd name="connsiteX4945" fmla="*/ 1612410 w 3135233"/>
                <a:gd name="connsiteY4945" fmla="*/ 1062419 h 2493266"/>
                <a:gd name="connsiteX4946" fmla="*/ 1599730 w 3135233"/>
                <a:gd name="connsiteY4946" fmla="*/ 1062419 h 2493266"/>
                <a:gd name="connsiteX4947" fmla="*/ 1595585 w 3135233"/>
                <a:gd name="connsiteY4947" fmla="*/ 1064047 h 2493266"/>
                <a:gd name="connsiteX4948" fmla="*/ 1591440 w 3135233"/>
                <a:gd name="connsiteY4948" fmla="*/ 1062419 h 2493266"/>
                <a:gd name="connsiteX4949" fmla="*/ 1574714 w 3135233"/>
                <a:gd name="connsiteY4949" fmla="*/ 1072287 h 2493266"/>
                <a:gd name="connsiteX4950" fmla="*/ 1576836 w 3135233"/>
                <a:gd name="connsiteY4950" fmla="*/ 1077221 h 2493266"/>
                <a:gd name="connsiteX4951" fmla="*/ 1583102 w 3135233"/>
                <a:gd name="connsiteY4951" fmla="*/ 1085313 h 2493266"/>
                <a:gd name="connsiteX4952" fmla="*/ 1589319 w 3135233"/>
                <a:gd name="connsiteY4952" fmla="*/ 1082056 h 2493266"/>
                <a:gd name="connsiteX4953" fmla="*/ 1589319 w 3135233"/>
                <a:gd name="connsiteY4953" fmla="*/ 1078849 h 2493266"/>
                <a:gd name="connsiteX4954" fmla="*/ 1591440 w 3135233"/>
                <a:gd name="connsiteY4954" fmla="*/ 1075642 h 2493266"/>
                <a:gd name="connsiteX4955" fmla="*/ 1597657 w 3135233"/>
                <a:gd name="connsiteY4955" fmla="*/ 1080576 h 2493266"/>
                <a:gd name="connsiteX4956" fmla="*/ 1595585 w 3135233"/>
                <a:gd name="connsiteY4956" fmla="*/ 1088619 h 2493266"/>
                <a:gd name="connsiteX4957" fmla="*/ 1601851 w 3135233"/>
                <a:gd name="connsiteY4957" fmla="*/ 1093553 h 2493266"/>
                <a:gd name="connsiteX4958" fmla="*/ 1605996 w 3135233"/>
                <a:gd name="connsiteY4958" fmla="*/ 1087138 h 2493266"/>
                <a:gd name="connsiteX4959" fmla="*/ 1610140 w 3135233"/>
                <a:gd name="connsiteY4959" fmla="*/ 1092072 h 2493266"/>
                <a:gd name="connsiteX4960" fmla="*/ 1605996 w 3135233"/>
                <a:gd name="connsiteY4960" fmla="*/ 1097006 h 2493266"/>
                <a:gd name="connsiteX4961" fmla="*/ 1614334 w 3135233"/>
                <a:gd name="connsiteY4961" fmla="*/ 1105049 h 2493266"/>
                <a:gd name="connsiteX4962" fmla="*/ 1622673 w 3135233"/>
                <a:gd name="connsiteY4962" fmla="*/ 1106677 h 2493266"/>
                <a:gd name="connsiteX4963" fmla="*/ 1624745 w 3135233"/>
                <a:gd name="connsiteY4963" fmla="*/ 1114769 h 2493266"/>
                <a:gd name="connsiteX4964" fmla="*/ 1630962 w 3135233"/>
                <a:gd name="connsiteY4964" fmla="*/ 1119703 h 2493266"/>
                <a:gd name="connsiteX4965" fmla="*/ 1635156 w 3135233"/>
                <a:gd name="connsiteY4965" fmla="*/ 1111611 h 2493266"/>
                <a:gd name="connsiteX4966" fmla="*/ 1637228 w 3135233"/>
                <a:gd name="connsiteY4966" fmla="*/ 1118075 h 2493266"/>
                <a:gd name="connsiteX4967" fmla="*/ 1645567 w 3135233"/>
                <a:gd name="connsiteY4967" fmla="*/ 1124538 h 2493266"/>
                <a:gd name="connsiteX4968" fmla="*/ 1658050 w 3135233"/>
                <a:gd name="connsiteY4968" fmla="*/ 1124538 h 2493266"/>
                <a:gd name="connsiteX4969" fmla="*/ 1664316 w 3135233"/>
                <a:gd name="connsiteY4969" fmla="*/ 1118075 h 2493266"/>
                <a:gd name="connsiteX4970" fmla="*/ 1670582 w 3135233"/>
                <a:gd name="connsiteY4970" fmla="*/ 1118075 h 2493266"/>
                <a:gd name="connsiteX4971" fmla="*/ 1678871 w 3135233"/>
                <a:gd name="connsiteY4971" fmla="*/ 1111611 h 2493266"/>
                <a:gd name="connsiteX4972" fmla="*/ 2418483 w 3135233"/>
                <a:gd name="connsiteY4972" fmla="*/ 1073126 h 2493266"/>
                <a:gd name="connsiteX4973" fmla="*/ 2418483 w 3135233"/>
                <a:gd name="connsiteY4973" fmla="*/ 1068192 h 2493266"/>
                <a:gd name="connsiteX4974" fmla="*/ 2416411 w 3135233"/>
                <a:gd name="connsiteY4974" fmla="*/ 1064935 h 2493266"/>
                <a:gd name="connsiteX4975" fmla="*/ 2420605 w 3135233"/>
                <a:gd name="connsiteY4975" fmla="*/ 1060001 h 2493266"/>
                <a:gd name="connsiteX4976" fmla="*/ 2426822 w 3135233"/>
                <a:gd name="connsiteY4976" fmla="*/ 1056794 h 2493266"/>
                <a:gd name="connsiteX4977" fmla="*/ 2431016 w 3135233"/>
                <a:gd name="connsiteY4977" fmla="*/ 1058422 h 2493266"/>
                <a:gd name="connsiteX4978" fmla="*/ 2433088 w 3135233"/>
                <a:gd name="connsiteY4978" fmla="*/ 1061629 h 2493266"/>
                <a:gd name="connsiteX4979" fmla="*/ 2437233 w 3135233"/>
                <a:gd name="connsiteY4979" fmla="*/ 1061629 h 2493266"/>
                <a:gd name="connsiteX4980" fmla="*/ 2441427 w 3135233"/>
                <a:gd name="connsiteY4980" fmla="*/ 1064837 h 2493266"/>
                <a:gd name="connsiteX4981" fmla="*/ 2437233 w 3135233"/>
                <a:gd name="connsiteY4981" fmla="*/ 1069771 h 2493266"/>
                <a:gd name="connsiteX4982" fmla="*/ 2431016 w 3135233"/>
                <a:gd name="connsiteY4982" fmla="*/ 1071349 h 2493266"/>
                <a:gd name="connsiteX4983" fmla="*/ 2428894 w 3135233"/>
                <a:gd name="connsiteY4983" fmla="*/ 1069771 h 2493266"/>
                <a:gd name="connsiteX4984" fmla="*/ 2422677 w 3135233"/>
                <a:gd name="connsiteY4984" fmla="*/ 1071349 h 2493266"/>
                <a:gd name="connsiteX4985" fmla="*/ 2420605 w 3135233"/>
                <a:gd name="connsiteY4985" fmla="*/ 1074606 h 2493266"/>
                <a:gd name="connsiteX4986" fmla="*/ 2403681 w 3135233"/>
                <a:gd name="connsiteY4986" fmla="*/ 1615277 h 2493266"/>
                <a:gd name="connsiteX4987" fmla="*/ 2395589 w 3135233"/>
                <a:gd name="connsiteY4987" fmla="*/ 1615277 h 2493266"/>
                <a:gd name="connsiteX4988" fmla="*/ 2389323 w 3135233"/>
                <a:gd name="connsiteY4988" fmla="*/ 1612070 h 2493266"/>
                <a:gd name="connsiteX4989" fmla="*/ 2378912 w 3135233"/>
                <a:gd name="connsiteY4989" fmla="*/ 1608863 h 2493266"/>
                <a:gd name="connsiteX4990" fmla="*/ 2374768 w 3135233"/>
                <a:gd name="connsiteY4990" fmla="*/ 1605607 h 2493266"/>
                <a:gd name="connsiteX4991" fmla="*/ 2368502 w 3135233"/>
                <a:gd name="connsiteY4991" fmla="*/ 1603978 h 2493266"/>
                <a:gd name="connsiteX4992" fmla="*/ 2360163 w 3135233"/>
                <a:gd name="connsiteY4992" fmla="*/ 1597515 h 2493266"/>
                <a:gd name="connsiteX4993" fmla="*/ 2358091 w 3135233"/>
                <a:gd name="connsiteY4993" fmla="*/ 1592581 h 2493266"/>
                <a:gd name="connsiteX4994" fmla="*/ 2351825 w 3135233"/>
                <a:gd name="connsiteY4994" fmla="*/ 1590953 h 2493266"/>
                <a:gd name="connsiteX4995" fmla="*/ 2347680 w 3135233"/>
                <a:gd name="connsiteY4995" fmla="*/ 1590953 h 2493266"/>
                <a:gd name="connsiteX4996" fmla="*/ 2343535 w 3135233"/>
                <a:gd name="connsiteY4996" fmla="*/ 1589374 h 2493266"/>
                <a:gd name="connsiteX4997" fmla="*/ 2341414 w 3135233"/>
                <a:gd name="connsiteY4997" fmla="*/ 1592581 h 2493266"/>
                <a:gd name="connsiteX4998" fmla="*/ 2331003 w 3135233"/>
                <a:gd name="connsiteY4998" fmla="*/ 1587647 h 2493266"/>
                <a:gd name="connsiteX4999" fmla="*/ 2328931 w 3135233"/>
                <a:gd name="connsiteY4999" fmla="*/ 1584440 h 2493266"/>
                <a:gd name="connsiteX5000" fmla="*/ 2324737 w 3135233"/>
                <a:gd name="connsiteY5000" fmla="*/ 1581233 h 2493266"/>
                <a:gd name="connsiteX5001" fmla="*/ 2320592 w 3135233"/>
                <a:gd name="connsiteY5001" fmla="*/ 1581233 h 2493266"/>
                <a:gd name="connsiteX5002" fmla="*/ 2312303 w 3135233"/>
                <a:gd name="connsiteY5002" fmla="*/ 1574769 h 2493266"/>
                <a:gd name="connsiteX5003" fmla="*/ 2312303 w 3135233"/>
                <a:gd name="connsiteY5003" fmla="*/ 1569835 h 2493266"/>
                <a:gd name="connsiteX5004" fmla="*/ 2310231 w 3135233"/>
                <a:gd name="connsiteY5004" fmla="*/ 1569835 h 2493266"/>
                <a:gd name="connsiteX5005" fmla="*/ 2306037 w 3135233"/>
                <a:gd name="connsiteY5005" fmla="*/ 1568256 h 2493266"/>
                <a:gd name="connsiteX5006" fmla="*/ 2301892 w 3135233"/>
                <a:gd name="connsiteY5006" fmla="*/ 1561793 h 2493266"/>
                <a:gd name="connsiteX5007" fmla="*/ 2306037 w 3135233"/>
                <a:gd name="connsiteY5007" fmla="*/ 1560164 h 2493266"/>
                <a:gd name="connsiteX5008" fmla="*/ 2308158 w 3135233"/>
                <a:gd name="connsiteY5008" fmla="*/ 1558536 h 2493266"/>
                <a:gd name="connsiteX5009" fmla="*/ 2301892 w 3135233"/>
                <a:gd name="connsiteY5009" fmla="*/ 1555329 h 2493266"/>
                <a:gd name="connsiteX5010" fmla="*/ 2299820 w 3135233"/>
                <a:gd name="connsiteY5010" fmla="*/ 1556957 h 2493266"/>
                <a:gd name="connsiteX5011" fmla="*/ 2297747 w 3135233"/>
                <a:gd name="connsiteY5011" fmla="*/ 1558536 h 2493266"/>
                <a:gd name="connsiteX5012" fmla="*/ 2293554 w 3135233"/>
                <a:gd name="connsiteY5012" fmla="*/ 1556957 h 2493266"/>
                <a:gd name="connsiteX5013" fmla="*/ 2295626 w 3135233"/>
                <a:gd name="connsiteY5013" fmla="*/ 1555329 h 2493266"/>
                <a:gd name="connsiteX5014" fmla="*/ 2289409 w 3135233"/>
                <a:gd name="connsiteY5014" fmla="*/ 1555329 h 2493266"/>
                <a:gd name="connsiteX5015" fmla="*/ 2276877 w 3135233"/>
                <a:gd name="connsiteY5015" fmla="*/ 1549260 h 2493266"/>
                <a:gd name="connsiteX5016" fmla="*/ 2272683 w 3135233"/>
                <a:gd name="connsiteY5016" fmla="*/ 1549260 h 2493266"/>
                <a:gd name="connsiteX5017" fmla="*/ 2268489 w 3135233"/>
                <a:gd name="connsiteY5017" fmla="*/ 1546053 h 2493266"/>
                <a:gd name="connsiteX5018" fmla="*/ 2262272 w 3135233"/>
                <a:gd name="connsiteY5018" fmla="*/ 1541119 h 2493266"/>
                <a:gd name="connsiteX5019" fmla="*/ 2264344 w 3135233"/>
                <a:gd name="connsiteY5019" fmla="*/ 1537862 h 2493266"/>
                <a:gd name="connsiteX5020" fmla="*/ 2258078 w 3135233"/>
                <a:gd name="connsiteY5020" fmla="*/ 1536284 h 2493266"/>
                <a:gd name="connsiteX5021" fmla="*/ 2253933 w 3135233"/>
                <a:gd name="connsiteY5021" fmla="*/ 1533027 h 2493266"/>
                <a:gd name="connsiteX5022" fmla="*/ 2249789 w 3135233"/>
                <a:gd name="connsiteY5022" fmla="*/ 1528093 h 2493266"/>
                <a:gd name="connsiteX5023" fmla="*/ 2249789 w 3135233"/>
                <a:gd name="connsiteY5023" fmla="*/ 1520051 h 2493266"/>
                <a:gd name="connsiteX5024" fmla="*/ 2243522 w 3135233"/>
                <a:gd name="connsiteY5024" fmla="*/ 1516794 h 2493266"/>
                <a:gd name="connsiteX5025" fmla="*/ 2245595 w 3135233"/>
                <a:gd name="connsiteY5025" fmla="*/ 1515215 h 2493266"/>
                <a:gd name="connsiteX5026" fmla="*/ 2253933 w 3135233"/>
                <a:gd name="connsiteY5026" fmla="*/ 1515215 h 2493266"/>
                <a:gd name="connsiteX5027" fmla="*/ 2268489 w 3135233"/>
                <a:gd name="connsiteY5027" fmla="*/ 1507123 h 2493266"/>
                <a:gd name="connsiteX5028" fmla="*/ 2270610 w 3135233"/>
                <a:gd name="connsiteY5028" fmla="*/ 1503867 h 2493266"/>
                <a:gd name="connsiteX5029" fmla="*/ 2260199 w 3135233"/>
                <a:gd name="connsiteY5029" fmla="*/ 1505495 h 2493266"/>
                <a:gd name="connsiteX5030" fmla="*/ 2256055 w 3135233"/>
                <a:gd name="connsiteY5030" fmla="*/ 1499032 h 2493266"/>
                <a:gd name="connsiteX5031" fmla="*/ 2251861 w 3135233"/>
                <a:gd name="connsiteY5031" fmla="*/ 1492617 h 2493266"/>
                <a:gd name="connsiteX5032" fmla="*/ 2253933 w 3135233"/>
                <a:gd name="connsiteY5032" fmla="*/ 1489361 h 2493266"/>
                <a:gd name="connsiteX5033" fmla="*/ 2249789 w 3135233"/>
                <a:gd name="connsiteY5033" fmla="*/ 1490989 h 2493266"/>
                <a:gd name="connsiteX5034" fmla="*/ 2247667 w 3135233"/>
                <a:gd name="connsiteY5034" fmla="*/ 1497453 h 2493266"/>
                <a:gd name="connsiteX5035" fmla="*/ 2245595 w 3135233"/>
                <a:gd name="connsiteY5035" fmla="*/ 1502387 h 2493266"/>
                <a:gd name="connsiteX5036" fmla="*/ 2239378 w 3135233"/>
                <a:gd name="connsiteY5036" fmla="*/ 1495923 h 2493266"/>
                <a:gd name="connsiteX5037" fmla="*/ 2243522 w 3135233"/>
                <a:gd name="connsiteY5037" fmla="*/ 1492716 h 2493266"/>
                <a:gd name="connsiteX5038" fmla="*/ 2245595 w 3135233"/>
                <a:gd name="connsiteY5038" fmla="*/ 1482848 h 2493266"/>
                <a:gd name="connsiteX5039" fmla="*/ 2241450 w 3135233"/>
                <a:gd name="connsiteY5039" fmla="*/ 1489312 h 2493266"/>
                <a:gd name="connsiteX5040" fmla="*/ 2237256 w 3135233"/>
                <a:gd name="connsiteY5040" fmla="*/ 1486104 h 2493266"/>
                <a:gd name="connsiteX5041" fmla="*/ 2237256 w 3135233"/>
                <a:gd name="connsiteY5041" fmla="*/ 1479641 h 2493266"/>
                <a:gd name="connsiteX5042" fmla="*/ 2233112 w 3135233"/>
                <a:gd name="connsiteY5042" fmla="*/ 1481269 h 2493266"/>
                <a:gd name="connsiteX5043" fmla="*/ 2231039 w 3135233"/>
                <a:gd name="connsiteY5043" fmla="*/ 1474805 h 2493266"/>
                <a:gd name="connsiteX5044" fmla="*/ 2231039 w 3135233"/>
                <a:gd name="connsiteY5044" fmla="*/ 1469871 h 2493266"/>
                <a:gd name="connsiteX5045" fmla="*/ 2228967 w 3135233"/>
                <a:gd name="connsiteY5045" fmla="*/ 1461780 h 2493266"/>
                <a:gd name="connsiteX5046" fmla="*/ 2222701 w 3135233"/>
                <a:gd name="connsiteY5046" fmla="*/ 1458572 h 2493266"/>
                <a:gd name="connsiteX5047" fmla="*/ 2222701 w 3135233"/>
                <a:gd name="connsiteY5047" fmla="*/ 1455513 h 2493266"/>
                <a:gd name="connsiteX5048" fmla="*/ 2231039 w 3135233"/>
                <a:gd name="connsiteY5048" fmla="*/ 1449099 h 2493266"/>
                <a:gd name="connsiteX5049" fmla="*/ 2228967 w 3135233"/>
                <a:gd name="connsiteY5049" fmla="*/ 1445843 h 2493266"/>
                <a:gd name="connsiteX5050" fmla="*/ 2216484 w 3135233"/>
                <a:gd name="connsiteY5050" fmla="*/ 1453934 h 2493266"/>
                <a:gd name="connsiteX5051" fmla="*/ 2216484 w 3135233"/>
                <a:gd name="connsiteY5051" fmla="*/ 1460447 h 2493266"/>
                <a:gd name="connsiteX5052" fmla="*/ 2214412 w 3135233"/>
                <a:gd name="connsiteY5052" fmla="*/ 1455513 h 2493266"/>
                <a:gd name="connsiteX5053" fmla="*/ 2218606 w 3135233"/>
                <a:gd name="connsiteY5053" fmla="*/ 1449099 h 2493266"/>
                <a:gd name="connsiteX5054" fmla="*/ 2212290 w 3135233"/>
                <a:gd name="connsiteY5054" fmla="*/ 1447471 h 2493266"/>
                <a:gd name="connsiteX5055" fmla="*/ 2210267 w 3135233"/>
                <a:gd name="connsiteY5055" fmla="*/ 1449099 h 2493266"/>
                <a:gd name="connsiteX5056" fmla="*/ 2208195 w 3135233"/>
                <a:gd name="connsiteY5056" fmla="*/ 1447471 h 2493266"/>
                <a:gd name="connsiteX5057" fmla="*/ 2204001 w 3135233"/>
                <a:gd name="connsiteY5057" fmla="*/ 1457339 h 2493266"/>
                <a:gd name="connsiteX5058" fmla="*/ 2197735 w 3135233"/>
                <a:gd name="connsiteY5058" fmla="*/ 1460595 h 2493266"/>
                <a:gd name="connsiteX5059" fmla="*/ 2197735 w 3135233"/>
                <a:gd name="connsiteY5059" fmla="*/ 1454132 h 2493266"/>
                <a:gd name="connsiteX5060" fmla="*/ 2201879 w 3135233"/>
                <a:gd name="connsiteY5060" fmla="*/ 1449198 h 2493266"/>
                <a:gd name="connsiteX5061" fmla="*/ 2201879 w 3135233"/>
                <a:gd name="connsiteY5061" fmla="*/ 1439330 h 2493266"/>
                <a:gd name="connsiteX5062" fmla="*/ 2197735 w 3135233"/>
                <a:gd name="connsiteY5062" fmla="*/ 1440909 h 2493266"/>
                <a:gd name="connsiteX5063" fmla="*/ 2191468 w 3135233"/>
                <a:gd name="connsiteY5063" fmla="*/ 1445843 h 2493266"/>
                <a:gd name="connsiteX5064" fmla="*/ 2187324 w 3135233"/>
                <a:gd name="connsiteY5064" fmla="*/ 1445843 h 2493266"/>
                <a:gd name="connsiteX5065" fmla="*/ 2183179 w 3135233"/>
                <a:gd name="connsiteY5065" fmla="*/ 1450777 h 2493266"/>
                <a:gd name="connsiteX5066" fmla="*/ 2181058 w 3135233"/>
                <a:gd name="connsiteY5066" fmla="*/ 1454033 h 2493266"/>
                <a:gd name="connsiteX5067" fmla="*/ 2172769 w 3135233"/>
                <a:gd name="connsiteY5067" fmla="*/ 1452405 h 2493266"/>
                <a:gd name="connsiteX5068" fmla="*/ 2168574 w 3135233"/>
                <a:gd name="connsiteY5068" fmla="*/ 1447471 h 2493266"/>
                <a:gd name="connsiteX5069" fmla="*/ 2162210 w 3135233"/>
                <a:gd name="connsiteY5069" fmla="*/ 1447471 h 2493266"/>
                <a:gd name="connsiteX5070" fmla="*/ 2155943 w 3135233"/>
                <a:gd name="connsiteY5070" fmla="*/ 1437603 h 2493266"/>
                <a:gd name="connsiteX5071" fmla="*/ 2153871 w 3135233"/>
                <a:gd name="connsiteY5071" fmla="*/ 1437603 h 2493266"/>
                <a:gd name="connsiteX5072" fmla="*/ 2151799 w 3135233"/>
                <a:gd name="connsiteY5072" fmla="*/ 1442537 h 2493266"/>
                <a:gd name="connsiteX5073" fmla="*/ 2151799 w 3135233"/>
                <a:gd name="connsiteY5073" fmla="*/ 1449000 h 2493266"/>
                <a:gd name="connsiteX5074" fmla="*/ 2147605 w 3135233"/>
                <a:gd name="connsiteY5074" fmla="*/ 1450579 h 2493266"/>
                <a:gd name="connsiteX5075" fmla="*/ 2141388 w 3135233"/>
                <a:gd name="connsiteY5075" fmla="*/ 1449000 h 2493266"/>
                <a:gd name="connsiteX5076" fmla="*/ 2137539 w 3135233"/>
                <a:gd name="connsiteY5076" fmla="*/ 1450579 h 2493266"/>
                <a:gd name="connsiteX5077" fmla="*/ 2131323 w 3135233"/>
                <a:gd name="connsiteY5077" fmla="*/ 1450579 h 2493266"/>
                <a:gd name="connsiteX5078" fmla="*/ 2127129 w 3135233"/>
                <a:gd name="connsiteY5078" fmla="*/ 1453836 h 2493266"/>
                <a:gd name="connsiteX5079" fmla="*/ 2120912 w 3135233"/>
                <a:gd name="connsiteY5079" fmla="*/ 1453836 h 2493266"/>
                <a:gd name="connsiteX5080" fmla="*/ 2116718 w 3135233"/>
                <a:gd name="connsiteY5080" fmla="*/ 1457043 h 2493266"/>
                <a:gd name="connsiteX5081" fmla="*/ 2110501 w 3135233"/>
                <a:gd name="connsiteY5081" fmla="*/ 1455415 h 2493266"/>
                <a:gd name="connsiteX5082" fmla="*/ 2100041 w 3135233"/>
                <a:gd name="connsiteY5082" fmla="*/ 1453836 h 2493266"/>
                <a:gd name="connsiteX5083" fmla="*/ 2102113 w 3135233"/>
                <a:gd name="connsiteY5083" fmla="*/ 1450579 h 2493266"/>
                <a:gd name="connsiteX5084" fmla="*/ 2093775 w 3135233"/>
                <a:gd name="connsiteY5084" fmla="*/ 1442537 h 2493266"/>
                <a:gd name="connsiteX5085" fmla="*/ 2091702 w 3135233"/>
                <a:gd name="connsiteY5085" fmla="*/ 1445744 h 2493266"/>
                <a:gd name="connsiteX5086" fmla="*/ 2085485 w 3135233"/>
                <a:gd name="connsiteY5086" fmla="*/ 1440810 h 2493266"/>
                <a:gd name="connsiteX5087" fmla="*/ 2079219 w 3135233"/>
                <a:gd name="connsiteY5087" fmla="*/ 1427883 h 2493266"/>
                <a:gd name="connsiteX5088" fmla="*/ 2083364 w 3135233"/>
                <a:gd name="connsiteY5088" fmla="*/ 1421469 h 2493266"/>
                <a:gd name="connsiteX5089" fmla="*/ 2087558 w 3135233"/>
                <a:gd name="connsiteY5089" fmla="*/ 1418261 h 2493266"/>
                <a:gd name="connsiteX5090" fmla="*/ 2087558 w 3135233"/>
                <a:gd name="connsiteY5090" fmla="*/ 1411798 h 2493266"/>
                <a:gd name="connsiteX5091" fmla="*/ 2093775 w 3135233"/>
                <a:gd name="connsiteY5091" fmla="*/ 1406864 h 2493266"/>
                <a:gd name="connsiteX5092" fmla="*/ 2102113 w 3135233"/>
                <a:gd name="connsiteY5092" fmla="*/ 1406864 h 2493266"/>
                <a:gd name="connsiteX5093" fmla="*/ 2106307 w 3135233"/>
                <a:gd name="connsiteY5093" fmla="*/ 1403657 h 2493266"/>
                <a:gd name="connsiteX5094" fmla="*/ 2112524 w 3135233"/>
                <a:gd name="connsiteY5094" fmla="*/ 1402028 h 2493266"/>
                <a:gd name="connsiteX5095" fmla="*/ 2114645 w 3135233"/>
                <a:gd name="connsiteY5095" fmla="*/ 1402028 h 2493266"/>
                <a:gd name="connsiteX5096" fmla="*/ 2116718 w 3135233"/>
                <a:gd name="connsiteY5096" fmla="*/ 1397094 h 2493266"/>
                <a:gd name="connsiteX5097" fmla="*/ 2112524 w 3135233"/>
                <a:gd name="connsiteY5097" fmla="*/ 1393887 h 2493266"/>
                <a:gd name="connsiteX5098" fmla="*/ 2112524 w 3135233"/>
                <a:gd name="connsiteY5098" fmla="*/ 1388953 h 2493266"/>
                <a:gd name="connsiteX5099" fmla="*/ 2118790 w 3135233"/>
                <a:gd name="connsiteY5099" fmla="*/ 1388953 h 2493266"/>
                <a:gd name="connsiteX5100" fmla="*/ 2118790 w 3135233"/>
                <a:gd name="connsiteY5100" fmla="*/ 1382490 h 2493266"/>
                <a:gd name="connsiteX5101" fmla="*/ 2120912 w 3135233"/>
                <a:gd name="connsiteY5101" fmla="*/ 1380911 h 2493266"/>
                <a:gd name="connsiteX5102" fmla="*/ 2129201 w 3135233"/>
                <a:gd name="connsiteY5102" fmla="*/ 1390779 h 2493266"/>
                <a:gd name="connsiteX5103" fmla="*/ 2135467 w 3135233"/>
                <a:gd name="connsiteY5103" fmla="*/ 1390779 h 2493266"/>
                <a:gd name="connsiteX5104" fmla="*/ 2143806 w 3135233"/>
                <a:gd name="connsiteY5104" fmla="*/ 1395713 h 2493266"/>
                <a:gd name="connsiteX5105" fmla="*/ 2150023 w 3135233"/>
                <a:gd name="connsiteY5105" fmla="*/ 1400647 h 2493266"/>
                <a:gd name="connsiteX5106" fmla="*/ 2152144 w 3135233"/>
                <a:gd name="connsiteY5106" fmla="*/ 1402226 h 2493266"/>
                <a:gd name="connsiteX5107" fmla="*/ 2160433 w 3135233"/>
                <a:gd name="connsiteY5107" fmla="*/ 1405482 h 2493266"/>
                <a:gd name="connsiteX5108" fmla="*/ 2164627 w 3135233"/>
                <a:gd name="connsiteY5108" fmla="*/ 1402226 h 2493266"/>
                <a:gd name="connsiteX5109" fmla="*/ 2170844 w 3135233"/>
                <a:gd name="connsiteY5109" fmla="*/ 1402226 h 2493266"/>
                <a:gd name="connsiteX5110" fmla="*/ 2172966 w 3135233"/>
                <a:gd name="connsiteY5110" fmla="*/ 1405482 h 2493266"/>
                <a:gd name="connsiteX5111" fmla="*/ 2177012 w 3135233"/>
                <a:gd name="connsiteY5111" fmla="*/ 1405482 h 2493266"/>
                <a:gd name="connsiteX5112" fmla="*/ 2185350 w 3135233"/>
                <a:gd name="connsiteY5112" fmla="*/ 1407061 h 2493266"/>
                <a:gd name="connsiteX5113" fmla="*/ 2191567 w 3135233"/>
                <a:gd name="connsiteY5113" fmla="*/ 1402127 h 2493266"/>
                <a:gd name="connsiteX5114" fmla="*/ 2193689 w 3135233"/>
                <a:gd name="connsiteY5114" fmla="*/ 1395664 h 2493266"/>
                <a:gd name="connsiteX5115" fmla="*/ 2204100 w 3135233"/>
                <a:gd name="connsiteY5115" fmla="*/ 1395664 h 2493266"/>
                <a:gd name="connsiteX5116" fmla="*/ 2204100 w 3135233"/>
                <a:gd name="connsiteY5116" fmla="*/ 1398920 h 2493266"/>
                <a:gd name="connsiteX5117" fmla="*/ 2201978 w 3135233"/>
                <a:gd name="connsiteY5117" fmla="*/ 1400548 h 2493266"/>
                <a:gd name="connsiteX5118" fmla="*/ 2206172 w 3135233"/>
                <a:gd name="connsiteY5118" fmla="*/ 1403755 h 2493266"/>
                <a:gd name="connsiteX5119" fmla="*/ 2212389 w 3135233"/>
                <a:gd name="connsiteY5119" fmla="*/ 1398821 h 2493266"/>
                <a:gd name="connsiteX5120" fmla="*/ 2216583 w 3135233"/>
                <a:gd name="connsiteY5120" fmla="*/ 1393887 h 2493266"/>
                <a:gd name="connsiteX5121" fmla="*/ 2222849 w 3135233"/>
                <a:gd name="connsiteY5121" fmla="*/ 1388953 h 2493266"/>
                <a:gd name="connsiteX5122" fmla="*/ 2224921 w 3135233"/>
                <a:gd name="connsiteY5122" fmla="*/ 1393887 h 2493266"/>
                <a:gd name="connsiteX5123" fmla="*/ 2224921 w 3135233"/>
                <a:gd name="connsiteY5123" fmla="*/ 1401930 h 2493266"/>
                <a:gd name="connsiteX5124" fmla="*/ 2226994 w 3135233"/>
                <a:gd name="connsiteY5124" fmla="*/ 1406864 h 2493266"/>
                <a:gd name="connsiteX5125" fmla="*/ 2229115 w 3135233"/>
                <a:gd name="connsiteY5125" fmla="*/ 1400450 h 2493266"/>
                <a:gd name="connsiteX5126" fmla="*/ 2233260 w 3135233"/>
                <a:gd name="connsiteY5126" fmla="*/ 1397193 h 2493266"/>
                <a:gd name="connsiteX5127" fmla="*/ 2235332 w 3135233"/>
                <a:gd name="connsiteY5127" fmla="*/ 1398821 h 2493266"/>
                <a:gd name="connsiteX5128" fmla="*/ 2239526 w 3135233"/>
                <a:gd name="connsiteY5128" fmla="*/ 1397193 h 2493266"/>
                <a:gd name="connsiteX5129" fmla="*/ 2237404 w 3135233"/>
                <a:gd name="connsiteY5129" fmla="*/ 1381059 h 2493266"/>
                <a:gd name="connsiteX5130" fmla="*/ 2231286 w 3135233"/>
                <a:gd name="connsiteY5130" fmla="*/ 1373263 h 2493266"/>
                <a:gd name="connsiteX5131" fmla="*/ 2231286 w 3135233"/>
                <a:gd name="connsiteY5131" fmla="*/ 1368329 h 2493266"/>
                <a:gd name="connsiteX5132" fmla="*/ 2227092 w 3135233"/>
                <a:gd name="connsiteY5132" fmla="*/ 1363395 h 2493266"/>
                <a:gd name="connsiteX5133" fmla="*/ 2229214 w 3135233"/>
                <a:gd name="connsiteY5133" fmla="*/ 1355303 h 2493266"/>
                <a:gd name="connsiteX5134" fmla="*/ 2231286 w 3135233"/>
                <a:gd name="connsiteY5134" fmla="*/ 1353675 h 2493266"/>
                <a:gd name="connsiteX5135" fmla="*/ 2235431 w 3135233"/>
                <a:gd name="connsiteY5135" fmla="*/ 1352047 h 2493266"/>
                <a:gd name="connsiteX5136" fmla="*/ 2245842 w 3135233"/>
                <a:gd name="connsiteY5136" fmla="*/ 1345632 h 2493266"/>
                <a:gd name="connsiteX5137" fmla="*/ 2258325 w 3135233"/>
                <a:gd name="connsiteY5137" fmla="*/ 1339169 h 2493266"/>
                <a:gd name="connsiteX5138" fmla="*/ 2262519 w 3135233"/>
                <a:gd name="connsiteY5138" fmla="*/ 1335962 h 2493266"/>
                <a:gd name="connsiteX5139" fmla="*/ 2272929 w 3135233"/>
                <a:gd name="connsiteY5139" fmla="*/ 1329498 h 2493266"/>
                <a:gd name="connsiteX5140" fmla="*/ 2275002 w 3135233"/>
                <a:gd name="connsiteY5140" fmla="*/ 1329498 h 2493266"/>
                <a:gd name="connsiteX5141" fmla="*/ 2279146 w 3135233"/>
                <a:gd name="connsiteY5141" fmla="*/ 1331077 h 2493266"/>
                <a:gd name="connsiteX5142" fmla="*/ 2285412 w 3135233"/>
                <a:gd name="connsiteY5142" fmla="*/ 1331077 h 2493266"/>
                <a:gd name="connsiteX5143" fmla="*/ 2289606 w 3135233"/>
                <a:gd name="connsiteY5143" fmla="*/ 1329498 h 2493266"/>
                <a:gd name="connsiteX5144" fmla="*/ 2279146 w 3135233"/>
                <a:gd name="connsiteY5144" fmla="*/ 1326242 h 2493266"/>
                <a:gd name="connsiteX5145" fmla="*/ 2279146 w 3135233"/>
                <a:gd name="connsiteY5145" fmla="*/ 1321308 h 2493266"/>
                <a:gd name="connsiteX5146" fmla="*/ 2291679 w 3135233"/>
                <a:gd name="connsiteY5146" fmla="*/ 1311440 h 2493266"/>
                <a:gd name="connsiteX5147" fmla="*/ 2293751 w 3135233"/>
                <a:gd name="connsiteY5147" fmla="*/ 1306505 h 2493266"/>
                <a:gd name="connsiteX5148" fmla="*/ 2297945 w 3135233"/>
                <a:gd name="connsiteY5148" fmla="*/ 1304877 h 2493266"/>
                <a:gd name="connsiteX5149" fmla="*/ 2308356 w 3135233"/>
                <a:gd name="connsiteY5149" fmla="*/ 1306505 h 2493266"/>
                <a:gd name="connsiteX5150" fmla="*/ 2318766 w 3135233"/>
                <a:gd name="connsiteY5150" fmla="*/ 1303249 h 2493266"/>
                <a:gd name="connsiteX5151" fmla="*/ 2320839 w 3135233"/>
                <a:gd name="connsiteY5151" fmla="*/ 1300042 h 2493266"/>
                <a:gd name="connsiteX5152" fmla="*/ 2316645 w 3135233"/>
                <a:gd name="connsiteY5152" fmla="*/ 1293578 h 2493266"/>
                <a:gd name="connsiteX5153" fmla="*/ 2318766 w 3135233"/>
                <a:gd name="connsiteY5153" fmla="*/ 1290371 h 2493266"/>
                <a:gd name="connsiteX5154" fmla="*/ 2320839 w 3135233"/>
                <a:gd name="connsiteY5154" fmla="*/ 1279072 h 2493266"/>
                <a:gd name="connsiteX5155" fmla="*/ 2320839 w 3135233"/>
                <a:gd name="connsiteY5155" fmla="*/ 1269204 h 2493266"/>
                <a:gd name="connsiteX5156" fmla="*/ 2324983 w 3135233"/>
                <a:gd name="connsiteY5156" fmla="*/ 1264270 h 2493266"/>
                <a:gd name="connsiteX5157" fmla="*/ 2324983 w 3135233"/>
                <a:gd name="connsiteY5157" fmla="*/ 1257856 h 2493266"/>
                <a:gd name="connsiteX5158" fmla="*/ 2318766 w 3135233"/>
                <a:gd name="connsiteY5158" fmla="*/ 1256228 h 2493266"/>
                <a:gd name="connsiteX5159" fmla="*/ 2318766 w 3135233"/>
                <a:gd name="connsiteY5159" fmla="*/ 1254599 h 2493266"/>
                <a:gd name="connsiteX5160" fmla="*/ 2322961 w 3135233"/>
                <a:gd name="connsiteY5160" fmla="*/ 1246557 h 2493266"/>
                <a:gd name="connsiteX5161" fmla="*/ 2327105 w 3135233"/>
                <a:gd name="connsiteY5161" fmla="*/ 1244929 h 2493266"/>
                <a:gd name="connsiteX5162" fmla="*/ 2327105 w 3135233"/>
                <a:gd name="connsiteY5162" fmla="*/ 1239995 h 2493266"/>
                <a:gd name="connsiteX5163" fmla="*/ 2331250 w 3135233"/>
                <a:gd name="connsiteY5163" fmla="*/ 1235061 h 2493266"/>
                <a:gd name="connsiteX5164" fmla="*/ 2331250 w 3135233"/>
                <a:gd name="connsiteY5164" fmla="*/ 1231804 h 2493266"/>
                <a:gd name="connsiteX5165" fmla="*/ 2327105 w 3135233"/>
                <a:gd name="connsiteY5165" fmla="*/ 1231804 h 2493266"/>
                <a:gd name="connsiteX5166" fmla="*/ 2322961 w 3135233"/>
                <a:gd name="connsiteY5166" fmla="*/ 1236738 h 2493266"/>
                <a:gd name="connsiteX5167" fmla="*/ 2322961 w 3135233"/>
                <a:gd name="connsiteY5167" fmla="*/ 1239995 h 2493266"/>
                <a:gd name="connsiteX5168" fmla="*/ 2320839 w 3135233"/>
                <a:gd name="connsiteY5168" fmla="*/ 1239995 h 2493266"/>
                <a:gd name="connsiteX5169" fmla="*/ 2318766 w 3135233"/>
                <a:gd name="connsiteY5169" fmla="*/ 1236738 h 2493266"/>
                <a:gd name="connsiteX5170" fmla="*/ 2320839 w 3135233"/>
                <a:gd name="connsiteY5170" fmla="*/ 1231804 h 2493266"/>
                <a:gd name="connsiteX5171" fmla="*/ 2316645 w 3135233"/>
                <a:gd name="connsiteY5171" fmla="*/ 1230225 h 2493266"/>
                <a:gd name="connsiteX5172" fmla="*/ 2304162 w 3135233"/>
                <a:gd name="connsiteY5172" fmla="*/ 1228597 h 2493266"/>
                <a:gd name="connsiteX5173" fmla="*/ 2297945 w 3135233"/>
                <a:gd name="connsiteY5173" fmla="*/ 1225390 h 2493266"/>
                <a:gd name="connsiteX5174" fmla="*/ 2300017 w 3135233"/>
                <a:gd name="connsiteY5174" fmla="*/ 1222134 h 2493266"/>
                <a:gd name="connsiteX5175" fmla="*/ 2310428 w 3135233"/>
                <a:gd name="connsiteY5175" fmla="*/ 1218926 h 2493266"/>
                <a:gd name="connsiteX5176" fmla="*/ 2308356 w 3135233"/>
                <a:gd name="connsiteY5176" fmla="*/ 1215670 h 2493266"/>
                <a:gd name="connsiteX5177" fmla="*/ 2304162 w 3135233"/>
                <a:gd name="connsiteY5177" fmla="*/ 1214091 h 2493266"/>
                <a:gd name="connsiteX5178" fmla="*/ 2308356 w 3135233"/>
                <a:gd name="connsiteY5178" fmla="*/ 1207628 h 2493266"/>
                <a:gd name="connsiteX5179" fmla="*/ 2308356 w 3135233"/>
                <a:gd name="connsiteY5179" fmla="*/ 1204420 h 2493266"/>
                <a:gd name="connsiteX5180" fmla="*/ 2300017 w 3135233"/>
                <a:gd name="connsiteY5180" fmla="*/ 1199486 h 2493266"/>
                <a:gd name="connsiteX5181" fmla="*/ 2297945 w 3135233"/>
                <a:gd name="connsiteY5181" fmla="*/ 1199486 h 2493266"/>
                <a:gd name="connsiteX5182" fmla="*/ 2295823 w 3135233"/>
                <a:gd name="connsiteY5182" fmla="*/ 1204420 h 2493266"/>
                <a:gd name="connsiteX5183" fmla="*/ 2297945 w 3135233"/>
                <a:gd name="connsiteY5183" fmla="*/ 1207628 h 2493266"/>
                <a:gd name="connsiteX5184" fmla="*/ 2295823 w 3135233"/>
                <a:gd name="connsiteY5184" fmla="*/ 1210835 h 2493266"/>
                <a:gd name="connsiteX5185" fmla="*/ 2287534 w 3135233"/>
                <a:gd name="connsiteY5185" fmla="*/ 1212463 h 2493266"/>
                <a:gd name="connsiteX5186" fmla="*/ 2285412 w 3135233"/>
                <a:gd name="connsiteY5186" fmla="*/ 1207529 h 2493266"/>
                <a:gd name="connsiteX5187" fmla="*/ 2283340 w 3135233"/>
                <a:gd name="connsiteY5187" fmla="*/ 1205901 h 2493266"/>
                <a:gd name="connsiteX5188" fmla="*/ 2281268 w 3135233"/>
                <a:gd name="connsiteY5188" fmla="*/ 1199437 h 2493266"/>
                <a:gd name="connsiteX5189" fmla="*/ 2287534 w 3135233"/>
                <a:gd name="connsiteY5189" fmla="*/ 1194503 h 2493266"/>
                <a:gd name="connsiteX5190" fmla="*/ 2285412 w 3135233"/>
                <a:gd name="connsiteY5190" fmla="*/ 1189569 h 2493266"/>
                <a:gd name="connsiteX5191" fmla="*/ 2275002 w 3135233"/>
                <a:gd name="connsiteY5191" fmla="*/ 1191197 h 2493266"/>
                <a:gd name="connsiteX5192" fmla="*/ 2277123 w 3135233"/>
                <a:gd name="connsiteY5192" fmla="*/ 1189569 h 2493266"/>
                <a:gd name="connsiteX5193" fmla="*/ 2283340 w 3135233"/>
                <a:gd name="connsiteY5193" fmla="*/ 1186362 h 2493266"/>
                <a:gd name="connsiteX5194" fmla="*/ 2285412 w 3135233"/>
                <a:gd name="connsiteY5194" fmla="*/ 1184734 h 2493266"/>
                <a:gd name="connsiteX5195" fmla="*/ 2281268 w 3135233"/>
                <a:gd name="connsiteY5195" fmla="*/ 1183105 h 2493266"/>
                <a:gd name="connsiteX5196" fmla="*/ 2285412 w 3135233"/>
                <a:gd name="connsiteY5196" fmla="*/ 1179898 h 2493266"/>
                <a:gd name="connsiteX5197" fmla="*/ 2289606 w 3135233"/>
                <a:gd name="connsiteY5197" fmla="*/ 1178270 h 2493266"/>
                <a:gd name="connsiteX5198" fmla="*/ 2289606 w 3135233"/>
                <a:gd name="connsiteY5198" fmla="*/ 1175063 h 2493266"/>
                <a:gd name="connsiteX5199" fmla="*/ 2285412 w 3135233"/>
                <a:gd name="connsiteY5199" fmla="*/ 1173435 h 2493266"/>
                <a:gd name="connsiteX5200" fmla="*/ 2279146 w 3135233"/>
                <a:gd name="connsiteY5200" fmla="*/ 1176691 h 2493266"/>
                <a:gd name="connsiteX5201" fmla="*/ 2275002 w 3135233"/>
                <a:gd name="connsiteY5201" fmla="*/ 1183105 h 2493266"/>
                <a:gd name="connsiteX5202" fmla="*/ 2270857 w 3135233"/>
                <a:gd name="connsiteY5202" fmla="*/ 1186362 h 2493266"/>
                <a:gd name="connsiteX5203" fmla="*/ 2268736 w 3135233"/>
                <a:gd name="connsiteY5203" fmla="*/ 1184734 h 2493266"/>
                <a:gd name="connsiteX5204" fmla="*/ 2266712 w 3135233"/>
                <a:gd name="connsiteY5204" fmla="*/ 1178270 h 2493266"/>
                <a:gd name="connsiteX5205" fmla="*/ 2262519 w 3135233"/>
                <a:gd name="connsiteY5205" fmla="*/ 1179898 h 2493266"/>
                <a:gd name="connsiteX5206" fmla="*/ 2260446 w 3135233"/>
                <a:gd name="connsiteY5206" fmla="*/ 1184832 h 2493266"/>
                <a:gd name="connsiteX5207" fmla="*/ 2254180 w 3135233"/>
                <a:gd name="connsiteY5207" fmla="*/ 1184832 h 2493266"/>
                <a:gd name="connsiteX5208" fmla="*/ 2250035 w 3135233"/>
                <a:gd name="connsiteY5208" fmla="*/ 1188089 h 2493266"/>
                <a:gd name="connsiteX5209" fmla="*/ 2243769 w 3135233"/>
                <a:gd name="connsiteY5209" fmla="*/ 1188089 h 2493266"/>
                <a:gd name="connsiteX5210" fmla="*/ 2239625 w 3135233"/>
                <a:gd name="connsiteY5210" fmla="*/ 1189668 h 2493266"/>
                <a:gd name="connsiteX5211" fmla="*/ 2237503 w 3135233"/>
                <a:gd name="connsiteY5211" fmla="*/ 1191296 h 2493266"/>
                <a:gd name="connsiteX5212" fmla="*/ 2235431 w 3135233"/>
                <a:gd name="connsiteY5212" fmla="*/ 1191296 h 2493266"/>
                <a:gd name="connsiteX5213" fmla="*/ 2233358 w 3135233"/>
                <a:gd name="connsiteY5213" fmla="*/ 1188089 h 2493266"/>
                <a:gd name="connsiteX5214" fmla="*/ 2237503 w 3135233"/>
                <a:gd name="connsiteY5214" fmla="*/ 1183155 h 2493266"/>
                <a:gd name="connsiteX5215" fmla="*/ 2237503 w 3135233"/>
                <a:gd name="connsiteY5215" fmla="*/ 1181576 h 2493266"/>
                <a:gd name="connsiteX5216" fmla="*/ 2233358 w 3135233"/>
                <a:gd name="connsiteY5216" fmla="*/ 1179948 h 2493266"/>
                <a:gd name="connsiteX5217" fmla="*/ 2239625 w 3135233"/>
                <a:gd name="connsiteY5217" fmla="*/ 1173484 h 2493266"/>
                <a:gd name="connsiteX5218" fmla="*/ 2241697 w 3135233"/>
                <a:gd name="connsiteY5218" fmla="*/ 1171905 h 2493266"/>
                <a:gd name="connsiteX5219" fmla="*/ 2245842 w 3135233"/>
                <a:gd name="connsiteY5219" fmla="*/ 1173484 h 2493266"/>
                <a:gd name="connsiteX5220" fmla="*/ 2250035 w 3135233"/>
                <a:gd name="connsiteY5220" fmla="*/ 1176740 h 2493266"/>
                <a:gd name="connsiteX5221" fmla="*/ 2254180 w 3135233"/>
                <a:gd name="connsiteY5221" fmla="*/ 1175112 h 2493266"/>
                <a:gd name="connsiteX5222" fmla="*/ 2258325 w 3135233"/>
                <a:gd name="connsiteY5222" fmla="*/ 1173484 h 2493266"/>
                <a:gd name="connsiteX5223" fmla="*/ 2264591 w 3135233"/>
                <a:gd name="connsiteY5223" fmla="*/ 1170277 h 2493266"/>
                <a:gd name="connsiteX5224" fmla="*/ 2266712 w 3135233"/>
                <a:gd name="connsiteY5224" fmla="*/ 1163813 h 2493266"/>
                <a:gd name="connsiteX5225" fmla="*/ 2264591 w 3135233"/>
                <a:gd name="connsiteY5225" fmla="*/ 1160606 h 2493266"/>
                <a:gd name="connsiteX5226" fmla="*/ 2260446 w 3135233"/>
                <a:gd name="connsiteY5226" fmla="*/ 1157350 h 2493266"/>
                <a:gd name="connsiteX5227" fmla="*/ 2252108 w 3135233"/>
                <a:gd name="connsiteY5227" fmla="*/ 1155721 h 2493266"/>
                <a:gd name="connsiteX5228" fmla="*/ 2250035 w 3135233"/>
                <a:gd name="connsiteY5228" fmla="*/ 1150787 h 2493266"/>
                <a:gd name="connsiteX5229" fmla="*/ 2250035 w 3135233"/>
                <a:gd name="connsiteY5229" fmla="*/ 1147580 h 2493266"/>
                <a:gd name="connsiteX5230" fmla="*/ 2247914 w 3135233"/>
                <a:gd name="connsiteY5230" fmla="*/ 1144373 h 2493266"/>
                <a:gd name="connsiteX5231" fmla="*/ 2247914 w 3135233"/>
                <a:gd name="connsiteY5231" fmla="*/ 1139439 h 2493266"/>
                <a:gd name="connsiteX5232" fmla="*/ 2239625 w 3135233"/>
                <a:gd name="connsiteY5232" fmla="*/ 1139439 h 2493266"/>
                <a:gd name="connsiteX5233" fmla="*/ 2239625 w 3135233"/>
                <a:gd name="connsiteY5233" fmla="*/ 1137860 h 2493266"/>
                <a:gd name="connsiteX5234" fmla="*/ 2235431 w 3135233"/>
                <a:gd name="connsiteY5234" fmla="*/ 1136232 h 2493266"/>
                <a:gd name="connsiteX5235" fmla="*/ 2233358 w 3135233"/>
                <a:gd name="connsiteY5235" fmla="*/ 1131298 h 2493266"/>
                <a:gd name="connsiteX5236" fmla="*/ 2239625 w 3135233"/>
                <a:gd name="connsiteY5236" fmla="*/ 1129670 h 2493266"/>
                <a:gd name="connsiteX5237" fmla="*/ 2241697 w 3135233"/>
                <a:gd name="connsiteY5237" fmla="*/ 1132926 h 2493266"/>
                <a:gd name="connsiteX5238" fmla="*/ 2245842 w 3135233"/>
                <a:gd name="connsiteY5238" fmla="*/ 1131298 h 2493266"/>
                <a:gd name="connsiteX5239" fmla="*/ 2245842 w 3135233"/>
                <a:gd name="connsiteY5239" fmla="*/ 1129867 h 2493266"/>
                <a:gd name="connsiteX5240" fmla="*/ 2252108 w 3135233"/>
                <a:gd name="connsiteY5240" fmla="*/ 1126611 h 2493266"/>
                <a:gd name="connsiteX5241" fmla="*/ 2243769 w 3135233"/>
                <a:gd name="connsiteY5241" fmla="*/ 1124982 h 2493266"/>
                <a:gd name="connsiteX5242" fmla="*/ 2239625 w 3135233"/>
                <a:gd name="connsiteY5242" fmla="*/ 1121775 h 2493266"/>
                <a:gd name="connsiteX5243" fmla="*/ 2235431 w 3135233"/>
                <a:gd name="connsiteY5243" fmla="*/ 1121775 h 2493266"/>
                <a:gd name="connsiteX5244" fmla="*/ 2233358 w 3135233"/>
                <a:gd name="connsiteY5244" fmla="*/ 1120147 h 2493266"/>
                <a:gd name="connsiteX5245" fmla="*/ 2229214 w 3135233"/>
                <a:gd name="connsiteY5245" fmla="*/ 1118568 h 2493266"/>
                <a:gd name="connsiteX5246" fmla="*/ 2225020 w 3135233"/>
                <a:gd name="connsiteY5246" fmla="*/ 1123502 h 2493266"/>
                <a:gd name="connsiteX5247" fmla="*/ 2222948 w 3135233"/>
                <a:gd name="connsiteY5247" fmla="*/ 1123502 h 2493266"/>
                <a:gd name="connsiteX5248" fmla="*/ 2222948 w 3135233"/>
                <a:gd name="connsiteY5248" fmla="*/ 1119999 h 2493266"/>
                <a:gd name="connsiteX5249" fmla="*/ 2229214 w 3135233"/>
                <a:gd name="connsiteY5249" fmla="*/ 1110131 h 2493266"/>
                <a:gd name="connsiteX5250" fmla="*/ 2233358 w 3135233"/>
                <a:gd name="connsiteY5250" fmla="*/ 1102088 h 2493266"/>
                <a:gd name="connsiteX5251" fmla="*/ 2235431 w 3135233"/>
                <a:gd name="connsiteY5251" fmla="*/ 1100460 h 2493266"/>
                <a:gd name="connsiteX5252" fmla="*/ 2239625 w 3135233"/>
                <a:gd name="connsiteY5252" fmla="*/ 1092368 h 2493266"/>
                <a:gd name="connsiteX5253" fmla="*/ 2239625 w 3135233"/>
                <a:gd name="connsiteY5253" fmla="*/ 1085954 h 2493266"/>
                <a:gd name="connsiteX5254" fmla="*/ 2241697 w 3135233"/>
                <a:gd name="connsiteY5254" fmla="*/ 1082698 h 2493266"/>
                <a:gd name="connsiteX5255" fmla="*/ 2239625 w 3135233"/>
                <a:gd name="connsiteY5255" fmla="*/ 1079491 h 2493266"/>
                <a:gd name="connsiteX5256" fmla="*/ 2231286 w 3135233"/>
                <a:gd name="connsiteY5256" fmla="*/ 1082698 h 2493266"/>
                <a:gd name="connsiteX5257" fmla="*/ 2229214 w 3135233"/>
                <a:gd name="connsiteY5257" fmla="*/ 1079491 h 2493266"/>
                <a:gd name="connsiteX5258" fmla="*/ 2225020 w 3135233"/>
                <a:gd name="connsiteY5258" fmla="*/ 1081070 h 2493266"/>
                <a:gd name="connsiteX5259" fmla="*/ 2225020 w 3135233"/>
                <a:gd name="connsiteY5259" fmla="*/ 1084326 h 2493266"/>
                <a:gd name="connsiteX5260" fmla="*/ 2220875 w 3135233"/>
                <a:gd name="connsiteY5260" fmla="*/ 1084326 h 2493266"/>
                <a:gd name="connsiteX5261" fmla="*/ 2212487 w 3135233"/>
                <a:gd name="connsiteY5261" fmla="*/ 1076234 h 2493266"/>
                <a:gd name="connsiteX5262" fmla="*/ 2212487 w 3135233"/>
                <a:gd name="connsiteY5262" fmla="*/ 1071300 h 2493266"/>
                <a:gd name="connsiteX5263" fmla="*/ 2208392 w 3135233"/>
                <a:gd name="connsiteY5263" fmla="*/ 1068093 h 2493266"/>
                <a:gd name="connsiteX5264" fmla="*/ 2206271 w 3135233"/>
                <a:gd name="connsiteY5264" fmla="*/ 1066465 h 2493266"/>
                <a:gd name="connsiteX5265" fmla="*/ 2206271 w 3135233"/>
                <a:gd name="connsiteY5265" fmla="*/ 1060001 h 2493266"/>
                <a:gd name="connsiteX5266" fmla="*/ 2214609 w 3135233"/>
                <a:gd name="connsiteY5266" fmla="*/ 1056794 h 2493266"/>
                <a:gd name="connsiteX5267" fmla="*/ 2214609 w 3135233"/>
                <a:gd name="connsiteY5267" fmla="*/ 1055166 h 2493266"/>
                <a:gd name="connsiteX5268" fmla="*/ 2212487 w 3135233"/>
                <a:gd name="connsiteY5268" fmla="*/ 1050232 h 2493266"/>
                <a:gd name="connsiteX5269" fmla="*/ 2212487 w 3135233"/>
                <a:gd name="connsiteY5269" fmla="*/ 1045298 h 2493266"/>
                <a:gd name="connsiteX5270" fmla="*/ 2208392 w 3135233"/>
                <a:gd name="connsiteY5270" fmla="*/ 1045298 h 2493266"/>
                <a:gd name="connsiteX5271" fmla="*/ 2204198 w 3135233"/>
                <a:gd name="connsiteY5271" fmla="*/ 1048505 h 2493266"/>
                <a:gd name="connsiteX5272" fmla="*/ 2204198 w 3135233"/>
                <a:gd name="connsiteY5272" fmla="*/ 1058373 h 2493266"/>
                <a:gd name="connsiteX5273" fmla="*/ 2200054 w 3135233"/>
                <a:gd name="connsiteY5273" fmla="*/ 1063307 h 2493266"/>
                <a:gd name="connsiteX5274" fmla="*/ 2197932 w 3135233"/>
                <a:gd name="connsiteY5274" fmla="*/ 1056843 h 2493266"/>
                <a:gd name="connsiteX5275" fmla="*/ 2195860 w 3135233"/>
                <a:gd name="connsiteY5275" fmla="*/ 1055215 h 2493266"/>
                <a:gd name="connsiteX5276" fmla="*/ 2193788 w 3135233"/>
                <a:gd name="connsiteY5276" fmla="*/ 1056843 h 2493266"/>
                <a:gd name="connsiteX5277" fmla="*/ 2193788 w 3135233"/>
                <a:gd name="connsiteY5277" fmla="*/ 1060051 h 2493266"/>
                <a:gd name="connsiteX5278" fmla="*/ 2189593 w 3135233"/>
                <a:gd name="connsiteY5278" fmla="*/ 1061679 h 2493266"/>
                <a:gd name="connsiteX5279" fmla="*/ 2187521 w 3135233"/>
                <a:gd name="connsiteY5279" fmla="*/ 1068142 h 2493266"/>
                <a:gd name="connsiteX5280" fmla="*/ 2193788 w 3135233"/>
                <a:gd name="connsiteY5280" fmla="*/ 1074606 h 2493266"/>
                <a:gd name="connsiteX5281" fmla="*/ 2197932 w 3135233"/>
                <a:gd name="connsiteY5281" fmla="*/ 1074606 h 2493266"/>
                <a:gd name="connsiteX5282" fmla="*/ 2204198 w 3135233"/>
                <a:gd name="connsiteY5282" fmla="*/ 1084474 h 2493266"/>
                <a:gd name="connsiteX5283" fmla="*/ 2206271 w 3135233"/>
                <a:gd name="connsiteY5283" fmla="*/ 1087681 h 2493266"/>
                <a:gd name="connsiteX5284" fmla="*/ 2204198 w 3135233"/>
                <a:gd name="connsiteY5284" fmla="*/ 1094145 h 2493266"/>
                <a:gd name="connsiteX5285" fmla="*/ 2204198 w 3135233"/>
                <a:gd name="connsiteY5285" fmla="*/ 1099079 h 2493266"/>
                <a:gd name="connsiteX5286" fmla="*/ 2200054 w 3135233"/>
                <a:gd name="connsiteY5286" fmla="*/ 1105542 h 2493266"/>
                <a:gd name="connsiteX5287" fmla="*/ 2193788 w 3135233"/>
                <a:gd name="connsiteY5287" fmla="*/ 1108749 h 2493266"/>
                <a:gd name="connsiteX5288" fmla="*/ 2178985 w 3135233"/>
                <a:gd name="connsiteY5288" fmla="*/ 1108749 h 2493266"/>
                <a:gd name="connsiteX5289" fmla="*/ 2176913 w 3135233"/>
                <a:gd name="connsiteY5289" fmla="*/ 1107171 h 2493266"/>
                <a:gd name="connsiteX5290" fmla="*/ 2170598 w 3135233"/>
                <a:gd name="connsiteY5290" fmla="*/ 1107171 h 2493266"/>
                <a:gd name="connsiteX5291" fmla="*/ 2162308 w 3135233"/>
                <a:gd name="connsiteY5291" fmla="*/ 1103914 h 2493266"/>
                <a:gd name="connsiteX5292" fmla="*/ 2164381 w 3135233"/>
                <a:gd name="connsiteY5292" fmla="*/ 1100707 h 2493266"/>
                <a:gd name="connsiteX5293" fmla="*/ 2164381 w 3135233"/>
                <a:gd name="connsiteY5293" fmla="*/ 1095773 h 2493266"/>
                <a:gd name="connsiteX5294" fmla="*/ 2153970 w 3135233"/>
                <a:gd name="connsiteY5294" fmla="*/ 1095773 h 2493266"/>
                <a:gd name="connsiteX5295" fmla="*/ 2141487 w 3135233"/>
                <a:gd name="connsiteY5295" fmla="*/ 1090839 h 2493266"/>
                <a:gd name="connsiteX5296" fmla="*/ 2131076 w 3135233"/>
                <a:gd name="connsiteY5296" fmla="*/ 1089211 h 2493266"/>
                <a:gd name="connsiteX5297" fmla="*/ 2137293 w 3135233"/>
                <a:gd name="connsiteY5297" fmla="*/ 1100510 h 2493266"/>
                <a:gd name="connsiteX5298" fmla="*/ 2139365 w 3135233"/>
                <a:gd name="connsiteY5298" fmla="*/ 1106973 h 2493266"/>
                <a:gd name="connsiteX5299" fmla="*/ 2139365 w 3135233"/>
                <a:gd name="connsiteY5299" fmla="*/ 1108552 h 2493266"/>
                <a:gd name="connsiteX5300" fmla="*/ 2133148 w 3135233"/>
                <a:gd name="connsiteY5300" fmla="*/ 1108552 h 2493266"/>
                <a:gd name="connsiteX5301" fmla="*/ 2128954 w 3135233"/>
                <a:gd name="connsiteY5301" fmla="*/ 1102138 h 2493266"/>
                <a:gd name="connsiteX5302" fmla="*/ 2122688 w 3135233"/>
                <a:gd name="connsiteY5302" fmla="*/ 1097204 h 2493266"/>
                <a:gd name="connsiteX5303" fmla="*/ 2120665 w 3135233"/>
                <a:gd name="connsiteY5303" fmla="*/ 1095576 h 2493266"/>
                <a:gd name="connsiteX5304" fmla="*/ 2118544 w 3135233"/>
                <a:gd name="connsiteY5304" fmla="*/ 1090642 h 2493266"/>
                <a:gd name="connsiteX5305" fmla="*/ 2112277 w 3135233"/>
                <a:gd name="connsiteY5305" fmla="*/ 1085708 h 2493266"/>
                <a:gd name="connsiteX5306" fmla="*/ 2106060 w 3135233"/>
                <a:gd name="connsiteY5306" fmla="*/ 1079244 h 2493266"/>
                <a:gd name="connsiteX5307" fmla="*/ 2106060 w 3135233"/>
                <a:gd name="connsiteY5307" fmla="*/ 1075987 h 2493266"/>
                <a:gd name="connsiteX5308" fmla="*/ 2101866 w 3135233"/>
                <a:gd name="connsiteY5308" fmla="*/ 1075987 h 2493266"/>
                <a:gd name="connsiteX5309" fmla="*/ 2095649 w 3135233"/>
                <a:gd name="connsiteY5309" fmla="*/ 1069573 h 2493266"/>
                <a:gd name="connsiteX5310" fmla="*/ 2091455 w 3135233"/>
                <a:gd name="connsiteY5310" fmla="*/ 1067945 h 2493266"/>
                <a:gd name="connsiteX5311" fmla="*/ 2089383 w 3135233"/>
                <a:gd name="connsiteY5311" fmla="*/ 1064688 h 2493266"/>
                <a:gd name="connsiteX5312" fmla="*/ 2083117 w 3135233"/>
                <a:gd name="connsiteY5312" fmla="*/ 1063110 h 2493266"/>
                <a:gd name="connsiteX5313" fmla="*/ 2085239 w 3135233"/>
                <a:gd name="connsiteY5313" fmla="*/ 1066317 h 2493266"/>
                <a:gd name="connsiteX5314" fmla="*/ 2097722 w 3135233"/>
                <a:gd name="connsiteY5314" fmla="*/ 1076185 h 2493266"/>
                <a:gd name="connsiteX5315" fmla="*/ 2101866 w 3135233"/>
                <a:gd name="connsiteY5315" fmla="*/ 1081119 h 2493266"/>
                <a:gd name="connsiteX5316" fmla="*/ 2106060 w 3135233"/>
                <a:gd name="connsiteY5316" fmla="*/ 1086053 h 2493266"/>
                <a:gd name="connsiteX5317" fmla="*/ 2112277 w 3135233"/>
                <a:gd name="connsiteY5317" fmla="*/ 1089260 h 2493266"/>
                <a:gd name="connsiteX5318" fmla="*/ 2114399 w 3135233"/>
                <a:gd name="connsiteY5318" fmla="*/ 1094194 h 2493266"/>
                <a:gd name="connsiteX5319" fmla="*/ 2110254 w 3135233"/>
                <a:gd name="connsiteY5319" fmla="*/ 1099128 h 2493266"/>
                <a:gd name="connsiteX5320" fmla="*/ 2108133 w 3135233"/>
                <a:gd name="connsiteY5320" fmla="*/ 1095921 h 2493266"/>
                <a:gd name="connsiteX5321" fmla="*/ 2103939 w 3135233"/>
                <a:gd name="connsiteY5321" fmla="*/ 1099128 h 2493266"/>
                <a:gd name="connsiteX5322" fmla="*/ 2093528 w 3135233"/>
                <a:gd name="connsiteY5322" fmla="*/ 1094194 h 2493266"/>
                <a:gd name="connsiteX5323" fmla="*/ 2089383 w 3135233"/>
                <a:gd name="connsiteY5323" fmla="*/ 1094194 h 2493266"/>
                <a:gd name="connsiteX5324" fmla="*/ 2085239 w 3135233"/>
                <a:gd name="connsiteY5324" fmla="*/ 1089260 h 2493266"/>
                <a:gd name="connsiteX5325" fmla="*/ 2078972 w 3135233"/>
                <a:gd name="connsiteY5325" fmla="*/ 1087632 h 2493266"/>
                <a:gd name="connsiteX5326" fmla="*/ 2076900 w 3135233"/>
                <a:gd name="connsiteY5326" fmla="*/ 1082698 h 2493266"/>
                <a:gd name="connsiteX5327" fmla="*/ 2066440 w 3135233"/>
                <a:gd name="connsiteY5327" fmla="*/ 1084326 h 2493266"/>
                <a:gd name="connsiteX5328" fmla="*/ 2060223 w 3135233"/>
                <a:gd name="connsiteY5328" fmla="*/ 1087533 h 2493266"/>
                <a:gd name="connsiteX5329" fmla="*/ 2054006 w 3135233"/>
                <a:gd name="connsiteY5329" fmla="*/ 1082599 h 2493266"/>
                <a:gd name="connsiteX5330" fmla="*/ 2045618 w 3135233"/>
                <a:gd name="connsiteY5330" fmla="*/ 1080971 h 2493266"/>
                <a:gd name="connsiteX5331" fmla="*/ 2039401 w 3135233"/>
                <a:gd name="connsiteY5331" fmla="*/ 1082599 h 2493266"/>
                <a:gd name="connsiteX5332" fmla="*/ 2037329 w 3135233"/>
                <a:gd name="connsiteY5332" fmla="*/ 1077665 h 2493266"/>
                <a:gd name="connsiteX5333" fmla="*/ 2028991 w 3135233"/>
                <a:gd name="connsiteY5333" fmla="*/ 1072731 h 2493266"/>
                <a:gd name="connsiteX5334" fmla="*/ 2026918 w 3135233"/>
                <a:gd name="connsiteY5334" fmla="*/ 1069524 h 2493266"/>
                <a:gd name="connsiteX5335" fmla="*/ 2037329 w 3135233"/>
                <a:gd name="connsiteY5335" fmla="*/ 1061432 h 2493266"/>
                <a:gd name="connsiteX5336" fmla="*/ 2041474 w 3135233"/>
                <a:gd name="connsiteY5336" fmla="*/ 1059804 h 2493266"/>
                <a:gd name="connsiteX5337" fmla="*/ 2041474 w 3135233"/>
                <a:gd name="connsiteY5337" fmla="*/ 1056597 h 2493266"/>
                <a:gd name="connsiteX5338" fmla="*/ 2037329 w 3135233"/>
                <a:gd name="connsiteY5338" fmla="*/ 1056597 h 2493266"/>
                <a:gd name="connsiteX5339" fmla="*/ 2031063 w 3135233"/>
                <a:gd name="connsiteY5339" fmla="*/ 1063060 h 2493266"/>
                <a:gd name="connsiteX5340" fmla="*/ 2026918 w 3135233"/>
                <a:gd name="connsiteY5340" fmla="*/ 1067994 h 2493266"/>
                <a:gd name="connsiteX5341" fmla="*/ 2022724 w 3135233"/>
                <a:gd name="connsiteY5341" fmla="*/ 1069623 h 2493266"/>
                <a:gd name="connsiteX5342" fmla="*/ 2016507 w 3135233"/>
                <a:gd name="connsiteY5342" fmla="*/ 1064688 h 2493266"/>
                <a:gd name="connsiteX5343" fmla="*/ 2010192 w 3135233"/>
                <a:gd name="connsiteY5343" fmla="*/ 1063110 h 2493266"/>
                <a:gd name="connsiteX5344" fmla="*/ 2006097 w 3135233"/>
                <a:gd name="connsiteY5344" fmla="*/ 1064688 h 2493266"/>
                <a:gd name="connsiteX5345" fmla="*/ 2012314 w 3135233"/>
                <a:gd name="connsiteY5345" fmla="*/ 1067945 h 2493266"/>
                <a:gd name="connsiteX5346" fmla="*/ 2010192 w 3135233"/>
                <a:gd name="connsiteY5346" fmla="*/ 1071152 h 2493266"/>
                <a:gd name="connsiteX5347" fmla="*/ 1999781 w 3135233"/>
                <a:gd name="connsiteY5347" fmla="*/ 1069573 h 2493266"/>
                <a:gd name="connsiteX5348" fmla="*/ 1991492 w 3135233"/>
                <a:gd name="connsiteY5348" fmla="*/ 1063110 h 2493266"/>
                <a:gd name="connsiteX5349" fmla="*/ 1989518 w 3135233"/>
                <a:gd name="connsiteY5349" fmla="*/ 1055363 h 2493266"/>
                <a:gd name="connsiteX5350" fmla="*/ 1983301 w 3135233"/>
                <a:gd name="connsiteY5350" fmla="*/ 1052156 h 2493266"/>
                <a:gd name="connsiteX5351" fmla="*/ 1985374 w 3135233"/>
                <a:gd name="connsiteY5351" fmla="*/ 1045692 h 2493266"/>
                <a:gd name="connsiteX5352" fmla="*/ 1997906 w 3135233"/>
                <a:gd name="connsiteY5352" fmla="*/ 1040758 h 2493266"/>
                <a:gd name="connsiteX5353" fmla="*/ 1999929 w 3135233"/>
                <a:gd name="connsiteY5353" fmla="*/ 1037502 h 2493266"/>
                <a:gd name="connsiteX5354" fmla="*/ 1997906 w 3135233"/>
                <a:gd name="connsiteY5354" fmla="*/ 1035923 h 2493266"/>
                <a:gd name="connsiteX5355" fmla="*/ 1991640 w 3135233"/>
                <a:gd name="connsiteY5355" fmla="*/ 1039130 h 2493266"/>
                <a:gd name="connsiteX5356" fmla="*/ 1983301 w 3135233"/>
                <a:gd name="connsiteY5356" fmla="*/ 1040758 h 2493266"/>
                <a:gd name="connsiteX5357" fmla="*/ 1981229 w 3135233"/>
                <a:gd name="connsiteY5357" fmla="*/ 1047222 h 2493266"/>
                <a:gd name="connsiteX5358" fmla="*/ 1977035 w 3135233"/>
                <a:gd name="connsiteY5358" fmla="*/ 1047222 h 2493266"/>
                <a:gd name="connsiteX5359" fmla="*/ 1974963 w 3135233"/>
                <a:gd name="connsiteY5359" fmla="*/ 1042288 h 2493266"/>
                <a:gd name="connsiteX5360" fmla="*/ 1977035 w 3135233"/>
                <a:gd name="connsiteY5360" fmla="*/ 1037354 h 2493266"/>
                <a:gd name="connsiteX5361" fmla="*/ 1974716 w 3135233"/>
                <a:gd name="connsiteY5361" fmla="*/ 1036120 h 2493266"/>
                <a:gd name="connsiteX5362" fmla="*/ 1970572 w 3135233"/>
                <a:gd name="connsiteY5362" fmla="*/ 1036120 h 2493266"/>
                <a:gd name="connsiteX5363" fmla="*/ 1968450 w 3135233"/>
                <a:gd name="connsiteY5363" fmla="*/ 1041054 h 2493266"/>
                <a:gd name="connsiteX5364" fmla="*/ 1970572 w 3135233"/>
                <a:gd name="connsiteY5364" fmla="*/ 1044262 h 2493266"/>
                <a:gd name="connsiteX5365" fmla="*/ 1968450 w 3135233"/>
                <a:gd name="connsiteY5365" fmla="*/ 1047518 h 2493266"/>
                <a:gd name="connsiteX5366" fmla="*/ 1964306 w 3135233"/>
                <a:gd name="connsiteY5366" fmla="*/ 1045890 h 2493266"/>
                <a:gd name="connsiteX5367" fmla="*/ 1960161 w 3135233"/>
                <a:gd name="connsiteY5367" fmla="*/ 1040956 h 2493266"/>
                <a:gd name="connsiteX5368" fmla="*/ 1947628 w 3135233"/>
                <a:gd name="connsiteY5368" fmla="*/ 1040956 h 2493266"/>
                <a:gd name="connsiteX5369" fmla="*/ 1947628 w 3135233"/>
                <a:gd name="connsiteY5369" fmla="*/ 1045890 h 2493266"/>
                <a:gd name="connsiteX5370" fmla="*/ 1943484 w 3135233"/>
                <a:gd name="connsiteY5370" fmla="*/ 1045890 h 2493266"/>
                <a:gd name="connsiteX5371" fmla="*/ 1939339 w 3135233"/>
                <a:gd name="connsiteY5371" fmla="*/ 1040956 h 2493266"/>
                <a:gd name="connsiteX5372" fmla="*/ 1937218 w 3135233"/>
                <a:gd name="connsiteY5372" fmla="*/ 1036022 h 2493266"/>
                <a:gd name="connsiteX5373" fmla="*/ 1939339 w 3135233"/>
                <a:gd name="connsiteY5373" fmla="*/ 1036022 h 2493266"/>
                <a:gd name="connsiteX5374" fmla="*/ 1943484 w 3135233"/>
                <a:gd name="connsiteY5374" fmla="*/ 1037601 h 2493266"/>
                <a:gd name="connsiteX5375" fmla="*/ 1943484 w 3135233"/>
                <a:gd name="connsiteY5375" fmla="*/ 1036120 h 2493266"/>
                <a:gd name="connsiteX5376" fmla="*/ 1937218 w 3135233"/>
                <a:gd name="connsiteY5376" fmla="*/ 1031186 h 2493266"/>
                <a:gd name="connsiteX5377" fmla="*/ 1926807 w 3135233"/>
                <a:gd name="connsiteY5377" fmla="*/ 1026252 h 2493266"/>
                <a:gd name="connsiteX5378" fmla="*/ 1926807 w 3135233"/>
                <a:gd name="connsiteY5378" fmla="*/ 1021318 h 2493266"/>
                <a:gd name="connsiteX5379" fmla="*/ 1928928 w 3135233"/>
                <a:gd name="connsiteY5379" fmla="*/ 1014855 h 2493266"/>
                <a:gd name="connsiteX5380" fmla="*/ 1926807 w 3135233"/>
                <a:gd name="connsiteY5380" fmla="*/ 1006763 h 2493266"/>
                <a:gd name="connsiteX5381" fmla="*/ 1924734 w 3135233"/>
                <a:gd name="connsiteY5381" fmla="*/ 996895 h 2493266"/>
                <a:gd name="connsiteX5382" fmla="*/ 1926807 w 3135233"/>
                <a:gd name="connsiteY5382" fmla="*/ 991961 h 2493266"/>
                <a:gd name="connsiteX5383" fmla="*/ 1931001 w 3135233"/>
                <a:gd name="connsiteY5383" fmla="*/ 991961 h 2493266"/>
                <a:gd name="connsiteX5384" fmla="*/ 1931001 w 3135233"/>
                <a:gd name="connsiteY5384" fmla="*/ 988704 h 2493266"/>
                <a:gd name="connsiteX5385" fmla="*/ 1926807 w 3135233"/>
                <a:gd name="connsiteY5385" fmla="*/ 982290 h 2493266"/>
                <a:gd name="connsiteX5386" fmla="*/ 1928928 w 3135233"/>
                <a:gd name="connsiteY5386" fmla="*/ 979034 h 2493266"/>
                <a:gd name="connsiteX5387" fmla="*/ 1935145 w 3135233"/>
                <a:gd name="connsiteY5387" fmla="*/ 980662 h 2493266"/>
                <a:gd name="connsiteX5388" fmla="*/ 1937218 w 3135233"/>
                <a:gd name="connsiteY5388" fmla="*/ 983869 h 2493266"/>
                <a:gd name="connsiteX5389" fmla="*/ 1949750 w 3135233"/>
                <a:gd name="connsiteY5389" fmla="*/ 985497 h 2493266"/>
                <a:gd name="connsiteX5390" fmla="*/ 1955967 w 3135233"/>
                <a:gd name="connsiteY5390" fmla="*/ 988704 h 2493266"/>
                <a:gd name="connsiteX5391" fmla="*/ 1958039 w 3135233"/>
                <a:gd name="connsiteY5391" fmla="*/ 995168 h 2493266"/>
                <a:gd name="connsiteX5392" fmla="*/ 1970572 w 3135233"/>
                <a:gd name="connsiteY5392" fmla="*/ 998424 h 2493266"/>
                <a:gd name="connsiteX5393" fmla="*/ 1983055 w 3135233"/>
                <a:gd name="connsiteY5393" fmla="*/ 998424 h 2493266"/>
                <a:gd name="connsiteX5394" fmla="*/ 1985127 w 3135233"/>
                <a:gd name="connsiteY5394" fmla="*/ 996796 h 2493266"/>
                <a:gd name="connsiteX5395" fmla="*/ 1995587 w 3135233"/>
                <a:gd name="connsiteY5395" fmla="*/ 996796 h 2493266"/>
                <a:gd name="connsiteX5396" fmla="*/ 1991393 w 3135233"/>
                <a:gd name="connsiteY5396" fmla="*/ 993589 h 2493266"/>
                <a:gd name="connsiteX5397" fmla="*/ 1989272 w 3135233"/>
                <a:gd name="connsiteY5397" fmla="*/ 990333 h 2493266"/>
                <a:gd name="connsiteX5398" fmla="*/ 1980983 w 3135233"/>
                <a:gd name="connsiteY5398" fmla="*/ 985399 h 2493266"/>
                <a:gd name="connsiteX5399" fmla="*/ 1978861 w 3135233"/>
                <a:gd name="connsiteY5399" fmla="*/ 977356 h 2493266"/>
                <a:gd name="connsiteX5400" fmla="*/ 1970572 w 3135233"/>
                <a:gd name="connsiteY5400" fmla="*/ 977356 h 2493266"/>
                <a:gd name="connsiteX5401" fmla="*/ 1962233 w 3135233"/>
                <a:gd name="connsiteY5401" fmla="*/ 972422 h 2493266"/>
                <a:gd name="connsiteX5402" fmla="*/ 1955967 w 3135233"/>
                <a:gd name="connsiteY5402" fmla="*/ 972422 h 2493266"/>
                <a:gd name="connsiteX5403" fmla="*/ 1947628 w 3135233"/>
                <a:gd name="connsiteY5403" fmla="*/ 967488 h 2493266"/>
                <a:gd name="connsiteX5404" fmla="*/ 1941412 w 3135233"/>
                <a:gd name="connsiteY5404" fmla="*/ 967488 h 2493266"/>
                <a:gd name="connsiteX5405" fmla="*/ 1928928 w 3135233"/>
                <a:gd name="connsiteY5405" fmla="*/ 961024 h 2493266"/>
                <a:gd name="connsiteX5406" fmla="*/ 1924734 w 3135233"/>
                <a:gd name="connsiteY5406" fmla="*/ 956090 h 2493266"/>
                <a:gd name="connsiteX5407" fmla="*/ 1928928 w 3135233"/>
                <a:gd name="connsiteY5407" fmla="*/ 946222 h 2493266"/>
                <a:gd name="connsiteX5408" fmla="*/ 1935145 w 3135233"/>
                <a:gd name="connsiteY5408" fmla="*/ 943015 h 2493266"/>
                <a:gd name="connsiteX5409" fmla="*/ 1933073 w 3135233"/>
                <a:gd name="connsiteY5409" fmla="*/ 938081 h 2493266"/>
                <a:gd name="connsiteX5410" fmla="*/ 1935145 w 3135233"/>
                <a:gd name="connsiteY5410" fmla="*/ 931618 h 2493266"/>
                <a:gd name="connsiteX5411" fmla="*/ 1941412 w 3135233"/>
                <a:gd name="connsiteY5411" fmla="*/ 931618 h 2493266"/>
                <a:gd name="connsiteX5412" fmla="*/ 1945556 w 3135233"/>
                <a:gd name="connsiteY5412" fmla="*/ 925154 h 2493266"/>
                <a:gd name="connsiteX5413" fmla="*/ 1945556 w 3135233"/>
                <a:gd name="connsiteY5413" fmla="*/ 913855 h 2493266"/>
                <a:gd name="connsiteX5414" fmla="*/ 1947628 w 3135233"/>
                <a:gd name="connsiteY5414" fmla="*/ 908921 h 2493266"/>
                <a:gd name="connsiteX5415" fmla="*/ 1951822 w 3135233"/>
                <a:gd name="connsiteY5415" fmla="*/ 908921 h 2493266"/>
                <a:gd name="connsiteX5416" fmla="*/ 1953895 w 3135233"/>
                <a:gd name="connsiteY5416" fmla="*/ 902457 h 2493266"/>
                <a:gd name="connsiteX5417" fmla="*/ 1964306 w 3135233"/>
                <a:gd name="connsiteY5417" fmla="*/ 897523 h 2493266"/>
                <a:gd name="connsiteX5418" fmla="*/ 1970572 w 3135233"/>
                <a:gd name="connsiteY5418" fmla="*/ 897523 h 2493266"/>
                <a:gd name="connsiteX5419" fmla="*/ 1970572 w 3135233"/>
                <a:gd name="connsiteY5419" fmla="*/ 894316 h 2493266"/>
                <a:gd name="connsiteX5420" fmla="*/ 1966378 w 3135233"/>
                <a:gd name="connsiteY5420" fmla="*/ 894316 h 2493266"/>
                <a:gd name="connsiteX5421" fmla="*/ 1964306 w 3135233"/>
                <a:gd name="connsiteY5421" fmla="*/ 889382 h 2493266"/>
                <a:gd name="connsiteX5422" fmla="*/ 1972644 w 3135233"/>
                <a:gd name="connsiteY5422" fmla="*/ 881290 h 2493266"/>
                <a:gd name="connsiteX5423" fmla="*/ 1976788 w 3135233"/>
                <a:gd name="connsiteY5423" fmla="*/ 871422 h 2493266"/>
                <a:gd name="connsiteX5424" fmla="*/ 1980983 w 3135233"/>
                <a:gd name="connsiteY5424" fmla="*/ 869794 h 2493266"/>
                <a:gd name="connsiteX5425" fmla="*/ 1985127 w 3135233"/>
                <a:gd name="connsiteY5425" fmla="*/ 863330 h 2493266"/>
                <a:gd name="connsiteX5426" fmla="*/ 1993466 w 3135233"/>
                <a:gd name="connsiteY5426" fmla="*/ 863330 h 2493266"/>
                <a:gd name="connsiteX5427" fmla="*/ 1997660 w 3135233"/>
                <a:gd name="connsiteY5427" fmla="*/ 853462 h 2493266"/>
                <a:gd name="connsiteX5428" fmla="*/ 1999682 w 3135233"/>
                <a:gd name="connsiteY5428" fmla="*/ 855091 h 2493266"/>
                <a:gd name="connsiteX5429" fmla="*/ 2001804 w 3135233"/>
                <a:gd name="connsiteY5429" fmla="*/ 860025 h 2493266"/>
                <a:gd name="connsiteX5430" fmla="*/ 2005998 w 3135233"/>
                <a:gd name="connsiteY5430" fmla="*/ 855091 h 2493266"/>
                <a:gd name="connsiteX5431" fmla="*/ 2003876 w 3135233"/>
                <a:gd name="connsiteY5431" fmla="*/ 850157 h 2493266"/>
                <a:gd name="connsiteX5432" fmla="*/ 2012215 w 3135233"/>
                <a:gd name="connsiteY5432" fmla="*/ 840289 h 2493266"/>
                <a:gd name="connsiteX5433" fmla="*/ 2018481 w 3135233"/>
                <a:gd name="connsiteY5433" fmla="*/ 840289 h 2493266"/>
                <a:gd name="connsiteX5434" fmla="*/ 2016409 w 3135233"/>
                <a:gd name="connsiteY5434" fmla="*/ 833874 h 2493266"/>
                <a:gd name="connsiteX5435" fmla="*/ 2022626 w 3135233"/>
                <a:gd name="connsiteY5435" fmla="*/ 827411 h 2493266"/>
                <a:gd name="connsiteX5436" fmla="*/ 2030964 w 3135233"/>
                <a:gd name="connsiteY5436" fmla="*/ 827411 h 2493266"/>
                <a:gd name="connsiteX5437" fmla="*/ 2035109 w 3135233"/>
                <a:gd name="connsiteY5437" fmla="*/ 820947 h 2493266"/>
                <a:gd name="connsiteX5438" fmla="*/ 2041375 w 3135233"/>
                <a:gd name="connsiteY5438" fmla="*/ 820947 h 2493266"/>
                <a:gd name="connsiteX5439" fmla="*/ 2045520 w 3135233"/>
                <a:gd name="connsiteY5439" fmla="*/ 824154 h 2493266"/>
                <a:gd name="connsiteX5440" fmla="*/ 2043497 w 3135233"/>
                <a:gd name="connsiteY5440" fmla="*/ 817740 h 2493266"/>
                <a:gd name="connsiteX5441" fmla="*/ 2045520 w 3135233"/>
                <a:gd name="connsiteY5441" fmla="*/ 812806 h 2493266"/>
                <a:gd name="connsiteX5442" fmla="*/ 2058052 w 3135233"/>
                <a:gd name="connsiteY5442" fmla="*/ 807872 h 2493266"/>
                <a:gd name="connsiteX5443" fmla="*/ 2070535 w 3135233"/>
                <a:gd name="connsiteY5443" fmla="*/ 798004 h 2493266"/>
                <a:gd name="connsiteX5444" fmla="*/ 2089284 w 3135233"/>
                <a:gd name="connsiteY5444" fmla="*/ 793070 h 2493266"/>
                <a:gd name="connsiteX5445" fmla="*/ 2101768 w 3135233"/>
                <a:gd name="connsiteY5445" fmla="*/ 791442 h 2493266"/>
                <a:gd name="connsiteX5446" fmla="*/ 2108034 w 3135233"/>
                <a:gd name="connsiteY5446" fmla="*/ 789863 h 2493266"/>
                <a:gd name="connsiteX5447" fmla="*/ 2116373 w 3135233"/>
                <a:gd name="connsiteY5447" fmla="*/ 791442 h 2493266"/>
                <a:gd name="connsiteX5448" fmla="*/ 2122589 w 3135233"/>
                <a:gd name="connsiteY5448" fmla="*/ 789863 h 2493266"/>
                <a:gd name="connsiteX5449" fmla="*/ 2126783 w 3135233"/>
                <a:gd name="connsiteY5449" fmla="*/ 791442 h 2493266"/>
                <a:gd name="connsiteX5450" fmla="*/ 2137539 w 3135233"/>
                <a:gd name="connsiteY5450" fmla="*/ 791442 h 2493266"/>
                <a:gd name="connsiteX5451" fmla="*/ 2145878 w 3135233"/>
                <a:gd name="connsiteY5451" fmla="*/ 796376 h 2493266"/>
                <a:gd name="connsiteX5452" fmla="*/ 2160680 w 3135233"/>
                <a:gd name="connsiteY5452" fmla="*/ 802790 h 2493266"/>
                <a:gd name="connsiteX5453" fmla="*/ 2162802 w 3135233"/>
                <a:gd name="connsiteY5453" fmla="*/ 806046 h 2493266"/>
                <a:gd name="connsiteX5454" fmla="*/ 2160680 w 3135233"/>
                <a:gd name="connsiteY5454" fmla="*/ 810980 h 2493266"/>
                <a:gd name="connsiteX5455" fmla="*/ 2150269 w 3135233"/>
                <a:gd name="connsiteY5455" fmla="*/ 814188 h 2493266"/>
                <a:gd name="connsiteX5456" fmla="*/ 2139858 w 3135233"/>
                <a:gd name="connsiteY5456" fmla="*/ 819122 h 2493266"/>
                <a:gd name="connsiteX5457" fmla="*/ 2131569 w 3135233"/>
                <a:gd name="connsiteY5457" fmla="*/ 817543 h 2493266"/>
                <a:gd name="connsiteX5458" fmla="*/ 2129448 w 3135233"/>
                <a:gd name="connsiteY5458" fmla="*/ 822477 h 2493266"/>
                <a:gd name="connsiteX5459" fmla="*/ 2122737 w 3135233"/>
                <a:gd name="connsiteY5459" fmla="*/ 831111 h 2493266"/>
                <a:gd name="connsiteX5460" fmla="*/ 2114448 w 3135233"/>
                <a:gd name="connsiteY5460" fmla="*/ 832690 h 2493266"/>
                <a:gd name="connsiteX5461" fmla="*/ 2101916 w 3135233"/>
                <a:gd name="connsiteY5461" fmla="*/ 843989 h 2493266"/>
                <a:gd name="connsiteX5462" fmla="*/ 2089383 w 3135233"/>
                <a:gd name="connsiteY5462" fmla="*/ 858495 h 2493266"/>
                <a:gd name="connsiteX5463" fmla="*/ 2078972 w 3135233"/>
                <a:gd name="connsiteY5463" fmla="*/ 863429 h 2493266"/>
                <a:gd name="connsiteX5464" fmla="*/ 2074828 w 3135233"/>
                <a:gd name="connsiteY5464" fmla="*/ 865008 h 2493266"/>
                <a:gd name="connsiteX5465" fmla="*/ 2066440 w 3135233"/>
                <a:gd name="connsiteY5465" fmla="*/ 877935 h 2493266"/>
                <a:gd name="connsiteX5466" fmla="*/ 2066440 w 3135233"/>
                <a:gd name="connsiteY5466" fmla="*/ 884399 h 2493266"/>
                <a:gd name="connsiteX5467" fmla="*/ 2068562 w 3135233"/>
                <a:gd name="connsiteY5467" fmla="*/ 890862 h 2493266"/>
                <a:gd name="connsiteX5468" fmla="*/ 2072706 w 3135233"/>
                <a:gd name="connsiteY5468" fmla="*/ 895796 h 2493266"/>
                <a:gd name="connsiteX5469" fmla="*/ 2072706 w 3135233"/>
                <a:gd name="connsiteY5469" fmla="*/ 900730 h 2493266"/>
                <a:gd name="connsiteX5470" fmla="*/ 2066440 w 3135233"/>
                <a:gd name="connsiteY5470" fmla="*/ 903938 h 2493266"/>
                <a:gd name="connsiteX5471" fmla="*/ 2062295 w 3135233"/>
                <a:gd name="connsiteY5471" fmla="*/ 908872 h 2493266"/>
                <a:gd name="connsiteX5472" fmla="*/ 2056029 w 3135233"/>
                <a:gd name="connsiteY5472" fmla="*/ 915335 h 2493266"/>
                <a:gd name="connsiteX5473" fmla="*/ 2054006 w 3135233"/>
                <a:gd name="connsiteY5473" fmla="*/ 921799 h 2493266"/>
                <a:gd name="connsiteX5474" fmla="*/ 2049812 w 3135233"/>
                <a:gd name="connsiteY5474" fmla="*/ 929841 h 2493266"/>
                <a:gd name="connsiteX5475" fmla="*/ 2045618 w 3135233"/>
                <a:gd name="connsiteY5475" fmla="*/ 931470 h 2493266"/>
                <a:gd name="connsiteX5476" fmla="*/ 2045618 w 3135233"/>
                <a:gd name="connsiteY5476" fmla="*/ 936404 h 2493266"/>
                <a:gd name="connsiteX5477" fmla="*/ 2049812 w 3135233"/>
                <a:gd name="connsiteY5477" fmla="*/ 941338 h 2493266"/>
                <a:gd name="connsiteX5478" fmla="*/ 2051885 w 3135233"/>
                <a:gd name="connsiteY5478" fmla="*/ 951206 h 2493266"/>
                <a:gd name="connsiteX5479" fmla="*/ 2054006 w 3135233"/>
                <a:gd name="connsiteY5479" fmla="*/ 954413 h 2493266"/>
                <a:gd name="connsiteX5480" fmla="*/ 2054006 w 3135233"/>
                <a:gd name="connsiteY5480" fmla="*/ 962455 h 2493266"/>
                <a:gd name="connsiteX5481" fmla="*/ 2060223 w 3135233"/>
                <a:gd name="connsiteY5481" fmla="*/ 970547 h 2493266"/>
                <a:gd name="connsiteX5482" fmla="*/ 2060223 w 3135233"/>
                <a:gd name="connsiteY5482" fmla="*/ 973754 h 2493266"/>
                <a:gd name="connsiteX5483" fmla="*/ 2068562 w 3135233"/>
                <a:gd name="connsiteY5483" fmla="*/ 977011 h 2493266"/>
                <a:gd name="connsiteX5484" fmla="*/ 2068562 w 3135233"/>
                <a:gd name="connsiteY5484" fmla="*/ 983474 h 2493266"/>
                <a:gd name="connsiteX5485" fmla="*/ 2064417 w 3135233"/>
                <a:gd name="connsiteY5485" fmla="*/ 988408 h 2493266"/>
                <a:gd name="connsiteX5486" fmla="*/ 2062295 w 3135233"/>
                <a:gd name="connsiteY5486" fmla="*/ 983474 h 2493266"/>
                <a:gd name="connsiteX5487" fmla="*/ 2058151 w 3135233"/>
                <a:gd name="connsiteY5487" fmla="*/ 983474 h 2493266"/>
                <a:gd name="connsiteX5488" fmla="*/ 2058151 w 3135233"/>
                <a:gd name="connsiteY5488" fmla="*/ 986681 h 2493266"/>
                <a:gd name="connsiteX5489" fmla="*/ 2054006 w 3135233"/>
                <a:gd name="connsiteY5489" fmla="*/ 986681 h 2493266"/>
                <a:gd name="connsiteX5490" fmla="*/ 2049812 w 3135233"/>
                <a:gd name="connsiteY5490" fmla="*/ 988310 h 2493266"/>
                <a:gd name="connsiteX5491" fmla="*/ 2045618 w 3135233"/>
                <a:gd name="connsiteY5491" fmla="*/ 989889 h 2493266"/>
                <a:gd name="connsiteX5492" fmla="*/ 2047740 w 3135233"/>
                <a:gd name="connsiteY5492" fmla="*/ 991517 h 2493266"/>
                <a:gd name="connsiteX5493" fmla="*/ 2054006 w 3135233"/>
                <a:gd name="connsiteY5493" fmla="*/ 996451 h 2493266"/>
                <a:gd name="connsiteX5494" fmla="*/ 2058151 w 3135233"/>
                <a:gd name="connsiteY5494" fmla="*/ 994872 h 2493266"/>
                <a:gd name="connsiteX5495" fmla="*/ 2060223 w 3135233"/>
                <a:gd name="connsiteY5495" fmla="*/ 993244 h 2493266"/>
                <a:gd name="connsiteX5496" fmla="*/ 2062295 w 3135233"/>
                <a:gd name="connsiteY5496" fmla="*/ 996451 h 2493266"/>
                <a:gd name="connsiteX5497" fmla="*/ 2056029 w 3135233"/>
                <a:gd name="connsiteY5497" fmla="*/ 1001385 h 2493266"/>
                <a:gd name="connsiteX5498" fmla="*/ 2054006 w 3135233"/>
                <a:gd name="connsiteY5498" fmla="*/ 1009477 h 2493266"/>
                <a:gd name="connsiteX5499" fmla="*/ 2054006 w 3135233"/>
                <a:gd name="connsiteY5499" fmla="*/ 1015940 h 2493266"/>
                <a:gd name="connsiteX5500" fmla="*/ 2051885 w 3135233"/>
                <a:gd name="connsiteY5500" fmla="*/ 1019147 h 2493266"/>
                <a:gd name="connsiteX5501" fmla="*/ 2060223 w 3135233"/>
                <a:gd name="connsiteY5501" fmla="*/ 1011105 h 2493266"/>
                <a:gd name="connsiteX5502" fmla="*/ 2060223 w 3135233"/>
                <a:gd name="connsiteY5502" fmla="*/ 1007848 h 2493266"/>
                <a:gd name="connsiteX5503" fmla="*/ 2068463 w 3135233"/>
                <a:gd name="connsiteY5503" fmla="*/ 995661 h 2493266"/>
                <a:gd name="connsiteX5504" fmla="*/ 2070535 w 3135233"/>
                <a:gd name="connsiteY5504" fmla="*/ 992454 h 2493266"/>
                <a:gd name="connsiteX5505" fmla="*/ 2072608 w 3135233"/>
                <a:gd name="connsiteY5505" fmla="*/ 981155 h 2493266"/>
                <a:gd name="connsiteX5506" fmla="*/ 2076801 w 3135233"/>
                <a:gd name="connsiteY5506" fmla="*/ 977948 h 2493266"/>
                <a:gd name="connsiteX5507" fmla="*/ 2083018 w 3135233"/>
                <a:gd name="connsiteY5507" fmla="*/ 973014 h 2493266"/>
                <a:gd name="connsiteX5508" fmla="*/ 2083018 w 3135233"/>
                <a:gd name="connsiteY5508" fmla="*/ 968080 h 2493266"/>
                <a:gd name="connsiteX5509" fmla="*/ 2080946 w 3135233"/>
                <a:gd name="connsiteY5509" fmla="*/ 963146 h 2493266"/>
                <a:gd name="connsiteX5510" fmla="*/ 2083018 w 3135233"/>
                <a:gd name="connsiteY5510" fmla="*/ 959939 h 2493266"/>
                <a:gd name="connsiteX5511" fmla="*/ 2076801 w 3135233"/>
                <a:gd name="connsiteY5511" fmla="*/ 956682 h 2493266"/>
                <a:gd name="connsiteX5512" fmla="*/ 2072608 w 3135233"/>
                <a:gd name="connsiteY5512" fmla="*/ 956682 h 2493266"/>
                <a:gd name="connsiteX5513" fmla="*/ 2072608 w 3135233"/>
                <a:gd name="connsiteY5513" fmla="*/ 948640 h 2493266"/>
                <a:gd name="connsiteX5514" fmla="*/ 2070535 w 3135233"/>
                <a:gd name="connsiteY5514" fmla="*/ 947012 h 2493266"/>
                <a:gd name="connsiteX5515" fmla="*/ 2070535 w 3135233"/>
                <a:gd name="connsiteY5515" fmla="*/ 938969 h 2493266"/>
                <a:gd name="connsiteX5516" fmla="*/ 2066341 w 3135233"/>
                <a:gd name="connsiteY5516" fmla="*/ 932506 h 2493266"/>
                <a:gd name="connsiteX5517" fmla="*/ 2066341 w 3135233"/>
                <a:gd name="connsiteY5517" fmla="*/ 926042 h 2493266"/>
                <a:gd name="connsiteX5518" fmla="*/ 2068463 w 3135233"/>
                <a:gd name="connsiteY5518" fmla="*/ 924414 h 2493266"/>
                <a:gd name="connsiteX5519" fmla="*/ 2070535 w 3135233"/>
                <a:gd name="connsiteY5519" fmla="*/ 929348 h 2493266"/>
                <a:gd name="connsiteX5520" fmla="*/ 2074729 w 3135233"/>
                <a:gd name="connsiteY5520" fmla="*/ 927769 h 2493266"/>
                <a:gd name="connsiteX5521" fmla="*/ 2083018 w 3135233"/>
                <a:gd name="connsiteY5521" fmla="*/ 924513 h 2493266"/>
                <a:gd name="connsiteX5522" fmla="*/ 2085140 w 3135233"/>
                <a:gd name="connsiteY5522" fmla="*/ 921305 h 2493266"/>
                <a:gd name="connsiteX5523" fmla="*/ 2085140 w 3135233"/>
                <a:gd name="connsiteY5523" fmla="*/ 916371 h 2493266"/>
                <a:gd name="connsiteX5524" fmla="*/ 2089284 w 3135233"/>
                <a:gd name="connsiteY5524" fmla="*/ 911437 h 2493266"/>
                <a:gd name="connsiteX5525" fmla="*/ 2093429 w 3135233"/>
                <a:gd name="connsiteY5525" fmla="*/ 913016 h 2493266"/>
                <a:gd name="connsiteX5526" fmla="*/ 2097623 w 3135233"/>
                <a:gd name="connsiteY5526" fmla="*/ 921108 h 2493266"/>
                <a:gd name="connsiteX5527" fmla="*/ 2095551 w 3135233"/>
                <a:gd name="connsiteY5527" fmla="*/ 924315 h 2493266"/>
                <a:gd name="connsiteX5528" fmla="*/ 2099696 w 3135233"/>
                <a:gd name="connsiteY5528" fmla="*/ 927572 h 2493266"/>
                <a:gd name="connsiteX5529" fmla="*/ 2103840 w 3135233"/>
                <a:gd name="connsiteY5529" fmla="*/ 922638 h 2493266"/>
                <a:gd name="connsiteX5530" fmla="*/ 2103840 w 3135233"/>
                <a:gd name="connsiteY5530" fmla="*/ 916174 h 2493266"/>
                <a:gd name="connsiteX5531" fmla="*/ 2110156 w 3135233"/>
                <a:gd name="connsiteY5531" fmla="*/ 911240 h 2493266"/>
                <a:gd name="connsiteX5532" fmla="*/ 2114300 w 3135233"/>
                <a:gd name="connsiteY5532" fmla="*/ 911240 h 2493266"/>
                <a:gd name="connsiteX5533" fmla="*/ 2112178 w 3135233"/>
                <a:gd name="connsiteY5533" fmla="*/ 907984 h 2493266"/>
                <a:gd name="connsiteX5534" fmla="*/ 2116373 w 3135233"/>
                <a:gd name="connsiteY5534" fmla="*/ 906405 h 2493266"/>
                <a:gd name="connsiteX5535" fmla="*/ 2122589 w 3135233"/>
                <a:gd name="connsiteY5535" fmla="*/ 904776 h 2493266"/>
                <a:gd name="connsiteX5536" fmla="*/ 2120566 w 3135233"/>
                <a:gd name="connsiteY5536" fmla="*/ 901569 h 2493266"/>
                <a:gd name="connsiteX5537" fmla="*/ 2114300 w 3135233"/>
                <a:gd name="connsiteY5537" fmla="*/ 899941 h 2493266"/>
                <a:gd name="connsiteX5538" fmla="*/ 2103840 w 3135233"/>
                <a:gd name="connsiteY5538" fmla="*/ 907984 h 2493266"/>
                <a:gd name="connsiteX5539" fmla="*/ 2099696 w 3135233"/>
                <a:gd name="connsiteY5539" fmla="*/ 906405 h 2493266"/>
                <a:gd name="connsiteX5540" fmla="*/ 2097623 w 3135233"/>
                <a:gd name="connsiteY5540" fmla="*/ 901471 h 2493266"/>
                <a:gd name="connsiteX5541" fmla="*/ 2093429 w 3135233"/>
                <a:gd name="connsiteY5541" fmla="*/ 898214 h 2493266"/>
                <a:gd name="connsiteX5542" fmla="*/ 2093429 w 3135233"/>
                <a:gd name="connsiteY5542" fmla="*/ 893280 h 2493266"/>
                <a:gd name="connsiteX5543" fmla="*/ 2101768 w 3135233"/>
                <a:gd name="connsiteY5543" fmla="*/ 891652 h 2493266"/>
                <a:gd name="connsiteX5544" fmla="*/ 2095551 w 3135233"/>
                <a:gd name="connsiteY5544" fmla="*/ 886718 h 2493266"/>
                <a:gd name="connsiteX5545" fmla="*/ 2099696 w 3135233"/>
                <a:gd name="connsiteY5545" fmla="*/ 878675 h 2493266"/>
                <a:gd name="connsiteX5546" fmla="*/ 2103840 w 3135233"/>
                <a:gd name="connsiteY5546" fmla="*/ 870584 h 2493266"/>
                <a:gd name="connsiteX5547" fmla="*/ 2105962 w 3135233"/>
                <a:gd name="connsiteY5547" fmla="*/ 865650 h 2493266"/>
                <a:gd name="connsiteX5548" fmla="*/ 2110156 w 3135233"/>
                <a:gd name="connsiteY5548" fmla="*/ 860715 h 2493266"/>
                <a:gd name="connsiteX5549" fmla="*/ 2118445 w 3135233"/>
                <a:gd name="connsiteY5549" fmla="*/ 860715 h 2493266"/>
                <a:gd name="connsiteX5550" fmla="*/ 2124711 w 3135233"/>
                <a:gd name="connsiteY5550" fmla="*/ 867179 h 2493266"/>
                <a:gd name="connsiteX5551" fmla="*/ 2124711 w 3135233"/>
                <a:gd name="connsiteY5551" fmla="*/ 870386 h 2493266"/>
                <a:gd name="connsiteX5552" fmla="*/ 2135122 w 3135233"/>
                <a:gd name="connsiteY5552" fmla="*/ 875320 h 2493266"/>
                <a:gd name="connsiteX5553" fmla="*/ 2139266 w 3135233"/>
                <a:gd name="connsiteY5553" fmla="*/ 880254 h 2493266"/>
                <a:gd name="connsiteX5554" fmla="*/ 2145533 w 3135233"/>
                <a:gd name="connsiteY5554" fmla="*/ 881883 h 2493266"/>
                <a:gd name="connsiteX5555" fmla="*/ 2141388 w 3135233"/>
                <a:gd name="connsiteY5555" fmla="*/ 876948 h 2493266"/>
                <a:gd name="connsiteX5556" fmla="*/ 2139266 w 3135233"/>
                <a:gd name="connsiteY5556" fmla="*/ 872014 h 2493266"/>
                <a:gd name="connsiteX5557" fmla="*/ 2128856 w 3135233"/>
                <a:gd name="connsiteY5557" fmla="*/ 867080 h 2493266"/>
                <a:gd name="connsiteX5558" fmla="*/ 2126783 w 3135233"/>
                <a:gd name="connsiteY5558" fmla="*/ 860617 h 2493266"/>
                <a:gd name="connsiteX5559" fmla="*/ 2126783 w 3135233"/>
                <a:gd name="connsiteY5559" fmla="*/ 858495 h 2493266"/>
                <a:gd name="connsiteX5560" fmla="*/ 2118445 w 3135233"/>
                <a:gd name="connsiteY5560" fmla="*/ 858495 h 2493266"/>
                <a:gd name="connsiteX5561" fmla="*/ 2114300 w 3135233"/>
                <a:gd name="connsiteY5561" fmla="*/ 855239 h 2493266"/>
                <a:gd name="connsiteX5562" fmla="*/ 2118445 w 3135233"/>
                <a:gd name="connsiteY5562" fmla="*/ 855239 h 2493266"/>
                <a:gd name="connsiteX5563" fmla="*/ 2128856 w 3135233"/>
                <a:gd name="connsiteY5563" fmla="*/ 853610 h 2493266"/>
                <a:gd name="connsiteX5564" fmla="*/ 2130977 w 3135233"/>
                <a:gd name="connsiteY5564" fmla="*/ 850403 h 2493266"/>
                <a:gd name="connsiteX5565" fmla="*/ 2135122 w 3135233"/>
                <a:gd name="connsiteY5565" fmla="*/ 850403 h 2493266"/>
                <a:gd name="connsiteX5566" fmla="*/ 2145533 w 3135233"/>
                <a:gd name="connsiteY5566" fmla="*/ 861702 h 2493266"/>
                <a:gd name="connsiteX5567" fmla="*/ 2155943 w 3135233"/>
                <a:gd name="connsiteY5567" fmla="*/ 866636 h 2493266"/>
                <a:gd name="connsiteX5568" fmla="*/ 2160088 w 3135233"/>
                <a:gd name="connsiteY5568" fmla="*/ 866636 h 2493266"/>
                <a:gd name="connsiteX5569" fmla="*/ 2149677 w 3135233"/>
                <a:gd name="connsiteY5569" fmla="*/ 861702 h 2493266"/>
                <a:gd name="connsiteX5570" fmla="*/ 2143460 w 3135233"/>
                <a:gd name="connsiteY5570" fmla="*/ 851834 h 2493266"/>
                <a:gd name="connsiteX5571" fmla="*/ 2135122 w 3135233"/>
                <a:gd name="connsiteY5571" fmla="*/ 846900 h 2493266"/>
                <a:gd name="connsiteX5572" fmla="*/ 2135122 w 3135233"/>
                <a:gd name="connsiteY5572" fmla="*/ 843644 h 2493266"/>
                <a:gd name="connsiteX5573" fmla="*/ 2139266 w 3135233"/>
                <a:gd name="connsiteY5573" fmla="*/ 837180 h 2493266"/>
                <a:gd name="connsiteX5574" fmla="*/ 2149677 w 3135233"/>
                <a:gd name="connsiteY5574" fmla="*/ 835601 h 2493266"/>
                <a:gd name="connsiteX5575" fmla="*/ 2151799 w 3135233"/>
                <a:gd name="connsiteY5575" fmla="*/ 837180 h 2493266"/>
                <a:gd name="connsiteX5576" fmla="*/ 2151799 w 3135233"/>
                <a:gd name="connsiteY5576" fmla="*/ 847048 h 2493266"/>
                <a:gd name="connsiteX5577" fmla="*/ 2155943 w 3135233"/>
                <a:gd name="connsiteY5577" fmla="*/ 843792 h 2493266"/>
                <a:gd name="connsiteX5578" fmla="*/ 2155943 w 3135233"/>
                <a:gd name="connsiteY5578" fmla="*/ 840585 h 2493266"/>
                <a:gd name="connsiteX5579" fmla="*/ 2160088 w 3135233"/>
                <a:gd name="connsiteY5579" fmla="*/ 835651 h 2493266"/>
                <a:gd name="connsiteX5580" fmla="*/ 2168427 w 3135233"/>
                <a:gd name="connsiteY5580" fmla="*/ 835651 h 2493266"/>
                <a:gd name="connsiteX5581" fmla="*/ 2170499 w 3135233"/>
                <a:gd name="connsiteY5581" fmla="*/ 842065 h 2493266"/>
                <a:gd name="connsiteX5582" fmla="*/ 2174693 w 3135233"/>
                <a:gd name="connsiteY5582" fmla="*/ 843693 h 2493266"/>
                <a:gd name="connsiteX5583" fmla="*/ 2176765 w 3135233"/>
                <a:gd name="connsiteY5583" fmla="*/ 851785 h 2493266"/>
                <a:gd name="connsiteX5584" fmla="*/ 2180910 w 3135233"/>
                <a:gd name="connsiteY5584" fmla="*/ 848528 h 2493266"/>
                <a:gd name="connsiteX5585" fmla="*/ 2180910 w 3135233"/>
                <a:gd name="connsiteY5585" fmla="*/ 843594 h 2493266"/>
                <a:gd name="connsiteX5586" fmla="*/ 2174693 w 3135233"/>
                <a:gd name="connsiteY5586" fmla="*/ 837131 h 2493266"/>
                <a:gd name="connsiteX5587" fmla="*/ 2176765 w 3135233"/>
                <a:gd name="connsiteY5587" fmla="*/ 833924 h 2493266"/>
                <a:gd name="connsiteX5588" fmla="*/ 2193442 w 3135233"/>
                <a:gd name="connsiteY5588" fmla="*/ 830717 h 2493266"/>
                <a:gd name="connsiteX5589" fmla="*/ 2203853 w 3135233"/>
                <a:gd name="connsiteY5589" fmla="*/ 825782 h 2493266"/>
                <a:gd name="connsiteX5590" fmla="*/ 2212142 w 3135233"/>
                <a:gd name="connsiteY5590" fmla="*/ 825782 h 2493266"/>
                <a:gd name="connsiteX5591" fmla="*/ 2220530 w 3135233"/>
                <a:gd name="connsiteY5591" fmla="*/ 820848 h 2493266"/>
                <a:gd name="connsiteX5592" fmla="*/ 2230941 w 3135233"/>
                <a:gd name="connsiteY5592" fmla="*/ 824105 h 2493266"/>
                <a:gd name="connsiteX5593" fmla="*/ 2243424 w 3135233"/>
                <a:gd name="connsiteY5593" fmla="*/ 824105 h 2493266"/>
                <a:gd name="connsiteX5594" fmla="*/ 2253835 w 3135233"/>
                <a:gd name="connsiteY5594" fmla="*/ 825684 h 2493266"/>
                <a:gd name="connsiteX5595" fmla="*/ 2253835 w 3135233"/>
                <a:gd name="connsiteY5595" fmla="*/ 832147 h 2493266"/>
                <a:gd name="connsiteX5596" fmla="*/ 2251762 w 3135233"/>
                <a:gd name="connsiteY5596" fmla="*/ 845075 h 2493266"/>
                <a:gd name="connsiteX5597" fmla="*/ 2249690 w 3135233"/>
                <a:gd name="connsiteY5597" fmla="*/ 850009 h 2493266"/>
                <a:gd name="connsiteX5598" fmla="*/ 2245496 w 3135233"/>
                <a:gd name="connsiteY5598" fmla="*/ 853216 h 2493266"/>
                <a:gd name="connsiteX5599" fmla="*/ 2239279 w 3135233"/>
                <a:gd name="connsiteY5599" fmla="*/ 861308 h 2493266"/>
                <a:gd name="connsiteX5600" fmla="*/ 2241351 w 3135233"/>
                <a:gd name="connsiteY5600" fmla="*/ 864515 h 2493266"/>
                <a:gd name="connsiteX5601" fmla="*/ 2247568 w 3135233"/>
                <a:gd name="connsiteY5601" fmla="*/ 867771 h 2493266"/>
                <a:gd name="connsiteX5602" fmla="*/ 2251762 w 3135233"/>
                <a:gd name="connsiteY5602" fmla="*/ 872705 h 2493266"/>
                <a:gd name="connsiteX5603" fmla="*/ 2249690 w 3135233"/>
                <a:gd name="connsiteY5603" fmla="*/ 875912 h 2493266"/>
                <a:gd name="connsiteX5604" fmla="*/ 2239279 w 3135233"/>
                <a:gd name="connsiteY5604" fmla="*/ 885780 h 2493266"/>
                <a:gd name="connsiteX5605" fmla="*/ 2237158 w 3135233"/>
                <a:gd name="connsiteY5605" fmla="*/ 889037 h 2493266"/>
                <a:gd name="connsiteX5606" fmla="*/ 2237158 w 3135233"/>
                <a:gd name="connsiteY5606" fmla="*/ 895500 h 2493266"/>
                <a:gd name="connsiteX5607" fmla="*/ 2243424 w 3135233"/>
                <a:gd name="connsiteY5607" fmla="*/ 900434 h 2493266"/>
                <a:gd name="connsiteX5608" fmla="*/ 2243424 w 3135233"/>
                <a:gd name="connsiteY5608" fmla="*/ 902063 h 2493266"/>
                <a:gd name="connsiteX5609" fmla="*/ 2237158 w 3135233"/>
                <a:gd name="connsiteY5609" fmla="*/ 908477 h 2493266"/>
                <a:gd name="connsiteX5610" fmla="*/ 2233013 w 3135233"/>
                <a:gd name="connsiteY5610" fmla="*/ 910105 h 2493266"/>
                <a:gd name="connsiteX5611" fmla="*/ 2226747 w 3135233"/>
                <a:gd name="connsiteY5611" fmla="*/ 915039 h 2493266"/>
                <a:gd name="connsiteX5612" fmla="*/ 2220530 w 3135233"/>
                <a:gd name="connsiteY5612" fmla="*/ 916667 h 2493266"/>
                <a:gd name="connsiteX5613" fmla="*/ 2216336 w 3135233"/>
                <a:gd name="connsiteY5613" fmla="*/ 919875 h 2493266"/>
                <a:gd name="connsiteX5614" fmla="*/ 2212142 w 3135233"/>
                <a:gd name="connsiteY5614" fmla="*/ 924809 h 2493266"/>
                <a:gd name="connsiteX5615" fmla="*/ 2208047 w 3135233"/>
                <a:gd name="connsiteY5615" fmla="*/ 929743 h 2493266"/>
                <a:gd name="connsiteX5616" fmla="*/ 2212142 w 3135233"/>
                <a:gd name="connsiteY5616" fmla="*/ 929743 h 2493266"/>
                <a:gd name="connsiteX5617" fmla="*/ 2220530 w 3135233"/>
                <a:gd name="connsiteY5617" fmla="*/ 923328 h 2493266"/>
                <a:gd name="connsiteX5618" fmla="*/ 2228868 w 3135233"/>
                <a:gd name="connsiteY5618" fmla="*/ 916865 h 2493266"/>
                <a:gd name="connsiteX5619" fmla="*/ 2233013 w 3135233"/>
                <a:gd name="connsiteY5619" fmla="*/ 918444 h 2493266"/>
                <a:gd name="connsiteX5620" fmla="*/ 2235085 w 3135233"/>
                <a:gd name="connsiteY5620" fmla="*/ 916865 h 2493266"/>
                <a:gd name="connsiteX5621" fmla="*/ 2230941 w 3135233"/>
                <a:gd name="connsiteY5621" fmla="*/ 921799 h 2493266"/>
                <a:gd name="connsiteX5622" fmla="*/ 2228868 w 3135233"/>
                <a:gd name="connsiteY5622" fmla="*/ 926733 h 2493266"/>
                <a:gd name="connsiteX5623" fmla="*/ 2218458 w 3135233"/>
                <a:gd name="connsiteY5623" fmla="*/ 934825 h 2493266"/>
                <a:gd name="connsiteX5624" fmla="*/ 2212142 w 3135233"/>
                <a:gd name="connsiteY5624" fmla="*/ 938032 h 2493266"/>
                <a:gd name="connsiteX5625" fmla="*/ 2212142 w 3135233"/>
                <a:gd name="connsiteY5625" fmla="*/ 946074 h 2493266"/>
                <a:gd name="connsiteX5626" fmla="*/ 2208047 w 3135233"/>
                <a:gd name="connsiteY5626" fmla="*/ 944495 h 2493266"/>
                <a:gd name="connsiteX5627" fmla="*/ 2203853 w 3135233"/>
                <a:gd name="connsiteY5627" fmla="*/ 944495 h 2493266"/>
                <a:gd name="connsiteX5628" fmla="*/ 2203853 w 3135233"/>
                <a:gd name="connsiteY5628" fmla="*/ 947308 h 2493266"/>
                <a:gd name="connsiteX5629" fmla="*/ 2205925 w 3135233"/>
                <a:gd name="connsiteY5629" fmla="*/ 947308 h 2493266"/>
                <a:gd name="connsiteX5630" fmla="*/ 2210119 w 3135233"/>
                <a:gd name="connsiteY5630" fmla="*/ 950564 h 2493266"/>
                <a:gd name="connsiteX5631" fmla="*/ 2208047 w 3135233"/>
                <a:gd name="connsiteY5631" fmla="*/ 955498 h 2493266"/>
                <a:gd name="connsiteX5632" fmla="*/ 2203853 w 3135233"/>
                <a:gd name="connsiteY5632" fmla="*/ 958705 h 2493266"/>
                <a:gd name="connsiteX5633" fmla="*/ 2210119 w 3135233"/>
                <a:gd name="connsiteY5633" fmla="*/ 958705 h 2493266"/>
                <a:gd name="connsiteX5634" fmla="*/ 2212142 w 3135233"/>
                <a:gd name="connsiteY5634" fmla="*/ 955498 h 2493266"/>
                <a:gd name="connsiteX5635" fmla="*/ 2216336 w 3135233"/>
                <a:gd name="connsiteY5635" fmla="*/ 953870 h 2493266"/>
                <a:gd name="connsiteX5636" fmla="*/ 2222602 w 3135233"/>
                <a:gd name="connsiteY5636" fmla="*/ 947406 h 2493266"/>
                <a:gd name="connsiteX5637" fmla="*/ 2222602 w 3135233"/>
                <a:gd name="connsiteY5637" fmla="*/ 942472 h 2493266"/>
                <a:gd name="connsiteX5638" fmla="*/ 2228868 w 3135233"/>
                <a:gd name="connsiteY5638" fmla="*/ 940844 h 2493266"/>
                <a:gd name="connsiteX5639" fmla="*/ 2230941 w 3135233"/>
                <a:gd name="connsiteY5639" fmla="*/ 935910 h 2493266"/>
                <a:gd name="connsiteX5640" fmla="*/ 2233013 w 3135233"/>
                <a:gd name="connsiteY5640" fmla="*/ 937538 h 2493266"/>
                <a:gd name="connsiteX5641" fmla="*/ 2233013 w 3135233"/>
                <a:gd name="connsiteY5641" fmla="*/ 945581 h 2493266"/>
                <a:gd name="connsiteX5642" fmla="*/ 2237158 w 3135233"/>
                <a:gd name="connsiteY5642" fmla="*/ 947209 h 2493266"/>
                <a:gd name="connsiteX5643" fmla="*/ 2237158 w 3135233"/>
                <a:gd name="connsiteY5643" fmla="*/ 940746 h 2493266"/>
                <a:gd name="connsiteX5644" fmla="*/ 2235085 w 3135233"/>
                <a:gd name="connsiteY5644" fmla="*/ 934331 h 2493266"/>
                <a:gd name="connsiteX5645" fmla="*/ 2237158 w 3135233"/>
                <a:gd name="connsiteY5645" fmla="*/ 929397 h 2493266"/>
                <a:gd name="connsiteX5646" fmla="*/ 2239279 w 3135233"/>
                <a:gd name="connsiteY5646" fmla="*/ 927818 h 2493266"/>
                <a:gd name="connsiteX5647" fmla="*/ 2247568 w 3135233"/>
                <a:gd name="connsiteY5647" fmla="*/ 929397 h 2493266"/>
                <a:gd name="connsiteX5648" fmla="*/ 2245496 w 3135233"/>
                <a:gd name="connsiteY5648" fmla="*/ 935861 h 2493266"/>
                <a:gd name="connsiteX5649" fmla="*/ 2247568 w 3135233"/>
                <a:gd name="connsiteY5649" fmla="*/ 939117 h 2493266"/>
                <a:gd name="connsiteX5650" fmla="*/ 2251762 w 3135233"/>
                <a:gd name="connsiteY5650" fmla="*/ 935861 h 2493266"/>
                <a:gd name="connsiteX5651" fmla="*/ 2260101 w 3135233"/>
                <a:gd name="connsiteY5651" fmla="*/ 929397 h 2493266"/>
                <a:gd name="connsiteX5652" fmla="*/ 2262173 w 3135233"/>
                <a:gd name="connsiteY5652" fmla="*/ 934331 h 2493266"/>
                <a:gd name="connsiteX5653" fmla="*/ 2266367 w 3135233"/>
                <a:gd name="connsiteY5653" fmla="*/ 939265 h 2493266"/>
                <a:gd name="connsiteX5654" fmla="*/ 2264245 w 3135233"/>
                <a:gd name="connsiteY5654" fmla="*/ 944199 h 2493266"/>
                <a:gd name="connsiteX5655" fmla="*/ 2255956 w 3135233"/>
                <a:gd name="connsiteY5655" fmla="*/ 955350 h 2493266"/>
                <a:gd name="connsiteX5656" fmla="*/ 2247568 w 3135233"/>
                <a:gd name="connsiteY5656" fmla="*/ 960284 h 2493266"/>
                <a:gd name="connsiteX5657" fmla="*/ 2245496 w 3135233"/>
                <a:gd name="connsiteY5657" fmla="*/ 963491 h 2493266"/>
                <a:gd name="connsiteX5658" fmla="*/ 2251762 w 3135233"/>
                <a:gd name="connsiteY5658" fmla="*/ 965120 h 2493266"/>
                <a:gd name="connsiteX5659" fmla="*/ 2257979 w 3135233"/>
                <a:gd name="connsiteY5659" fmla="*/ 968327 h 2493266"/>
                <a:gd name="connsiteX5660" fmla="*/ 2262173 w 3135233"/>
                <a:gd name="connsiteY5660" fmla="*/ 965120 h 2493266"/>
                <a:gd name="connsiteX5661" fmla="*/ 2257979 w 3135233"/>
                <a:gd name="connsiteY5661" fmla="*/ 961863 h 2493266"/>
                <a:gd name="connsiteX5662" fmla="*/ 2262173 w 3135233"/>
                <a:gd name="connsiteY5662" fmla="*/ 955449 h 2493266"/>
                <a:gd name="connsiteX5663" fmla="*/ 2266367 w 3135233"/>
                <a:gd name="connsiteY5663" fmla="*/ 948985 h 2493266"/>
                <a:gd name="connsiteX5664" fmla="*/ 2272584 w 3135233"/>
                <a:gd name="connsiteY5664" fmla="*/ 957028 h 2493266"/>
                <a:gd name="connsiteX5665" fmla="*/ 2272584 w 3135233"/>
                <a:gd name="connsiteY5665" fmla="*/ 963491 h 2493266"/>
                <a:gd name="connsiteX5666" fmla="*/ 2274656 w 3135233"/>
                <a:gd name="connsiteY5666" fmla="*/ 958557 h 2493266"/>
                <a:gd name="connsiteX5667" fmla="*/ 2272584 w 3135233"/>
                <a:gd name="connsiteY5667" fmla="*/ 952094 h 2493266"/>
                <a:gd name="connsiteX5668" fmla="*/ 2270512 w 3135233"/>
                <a:gd name="connsiteY5668" fmla="*/ 945630 h 2493266"/>
                <a:gd name="connsiteX5669" fmla="*/ 2268390 w 3135233"/>
                <a:gd name="connsiteY5669" fmla="*/ 934381 h 2493266"/>
                <a:gd name="connsiteX5670" fmla="*/ 2272584 w 3135233"/>
                <a:gd name="connsiteY5670" fmla="*/ 932752 h 2493266"/>
                <a:gd name="connsiteX5671" fmla="*/ 2278801 w 3135233"/>
                <a:gd name="connsiteY5671" fmla="*/ 935959 h 2493266"/>
                <a:gd name="connsiteX5672" fmla="*/ 2278801 w 3135233"/>
                <a:gd name="connsiteY5672" fmla="*/ 940894 h 2493266"/>
                <a:gd name="connsiteX5673" fmla="*/ 2276778 w 3135233"/>
                <a:gd name="connsiteY5673" fmla="*/ 945828 h 2493266"/>
                <a:gd name="connsiteX5674" fmla="*/ 2278801 w 3135233"/>
                <a:gd name="connsiteY5674" fmla="*/ 944249 h 2493266"/>
                <a:gd name="connsiteX5675" fmla="*/ 2285067 w 3135233"/>
                <a:gd name="connsiteY5675" fmla="*/ 944249 h 2493266"/>
                <a:gd name="connsiteX5676" fmla="*/ 2297600 w 3135233"/>
                <a:gd name="connsiteY5676" fmla="*/ 954117 h 2493266"/>
                <a:gd name="connsiteX5677" fmla="*/ 2297600 w 3135233"/>
                <a:gd name="connsiteY5677" fmla="*/ 957176 h 2493266"/>
                <a:gd name="connsiteX5678" fmla="*/ 2305889 w 3135233"/>
                <a:gd name="connsiteY5678" fmla="*/ 957176 h 2493266"/>
                <a:gd name="connsiteX5679" fmla="*/ 2310083 w 3135233"/>
                <a:gd name="connsiteY5679" fmla="*/ 960432 h 2493266"/>
                <a:gd name="connsiteX5680" fmla="*/ 2314227 w 3135233"/>
                <a:gd name="connsiteY5680" fmla="*/ 960432 h 2493266"/>
                <a:gd name="connsiteX5681" fmla="*/ 2310231 w 3135233"/>
                <a:gd name="connsiteY5681" fmla="*/ 953722 h 2493266"/>
                <a:gd name="connsiteX5682" fmla="*/ 2306037 w 3135233"/>
                <a:gd name="connsiteY5682" fmla="*/ 952094 h 2493266"/>
                <a:gd name="connsiteX5683" fmla="*/ 2303964 w 3135233"/>
                <a:gd name="connsiteY5683" fmla="*/ 950515 h 2493266"/>
                <a:gd name="connsiteX5684" fmla="*/ 2291481 w 3135233"/>
                <a:gd name="connsiteY5684" fmla="*/ 940647 h 2493266"/>
                <a:gd name="connsiteX5685" fmla="*/ 2285215 w 3135233"/>
                <a:gd name="connsiteY5685" fmla="*/ 939068 h 2493266"/>
                <a:gd name="connsiteX5686" fmla="*/ 2283143 w 3135233"/>
                <a:gd name="connsiteY5686" fmla="*/ 935811 h 2493266"/>
                <a:gd name="connsiteX5687" fmla="*/ 2291481 w 3135233"/>
                <a:gd name="connsiteY5687" fmla="*/ 925943 h 2493266"/>
                <a:gd name="connsiteX5688" fmla="*/ 2297747 w 3135233"/>
                <a:gd name="connsiteY5688" fmla="*/ 925943 h 2493266"/>
                <a:gd name="connsiteX5689" fmla="*/ 2306037 w 3135233"/>
                <a:gd name="connsiteY5689" fmla="*/ 921009 h 2493266"/>
                <a:gd name="connsiteX5690" fmla="*/ 2316448 w 3135233"/>
                <a:gd name="connsiteY5690" fmla="*/ 919381 h 2493266"/>
                <a:gd name="connsiteX5691" fmla="*/ 2324786 w 3135233"/>
                <a:gd name="connsiteY5691" fmla="*/ 919381 h 2493266"/>
                <a:gd name="connsiteX5692" fmla="*/ 2328980 w 3135233"/>
                <a:gd name="connsiteY5692" fmla="*/ 922638 h 2493266"/>
                <a:gd name="connsiteX5693" fmla="*/ 2331052 w 3135233"/>
                <a:gd name="connsiteY5693" fmla="*/ 922638 h 2493266"/>
                <a:gd name="connsiteX5694" fmla="*/ 2341463 w 3135233"/>
                <a:gd name="connsiteY5694" fmla="*/ 925845 h 2493266"/>
                <a:gd name="connsiteX5695" fmla="*/ 2341463 w 3135233"/>
                <a:gd name="connsiteY5695" fmla="*/ 930779 h 2493266"/>
                <a:gd name="connsiteX5696" fmla="*/ 2347729 w 3135233"/>
                <a:gd name="connsiteY5696" fmla="*/ 934035 h 2493266"/>
                <a:gd name="connsiteX5697" fmla="*/ 2351874 w 3135233"/>
                <a:gd name="connsiteY5697" fmla="*/ 935614 h 2493266"/>
                <a:gd name="connsiteX5698" fmla="*/ 2351874 w 3135233"/>
                <a:gd name="connsiteY5698" fmla="*/ 940548 h 2493266"/>
                <a:gd name="connsiteX5699" fmla="*/ 2356068 w 3135233"/>
                <a:gd name="connsiteY5699" fmla="*/ 940548 h 2493266"/>
                <a:gd name="connsiteX5700" fmla="*/ 2358140 w 3135233"/>
                <a:gd name="connsiteY5700" fmla="*/ 937341 h 2493266"/>
                <a:gd name="connsiteX5701" fmla="*/ 2364406 w 3135233"/>
                <a:gd name="connsiteY5701" fmla="*/ 938969 h 2493266"/>
                <a:gd name="connsiteX5702" fmla="*/ 2366479 w 3135233"/>
                <a:gd name="connsiteY5702" fmla="*/ 943903 h 2493266"/>
                <a:gd name="connsiteX5703" fmla="*/ 2374817 w 3135233"/>
                <a:gd name="connsiteY5703" fmla="*/ 947110 h 2493266"/>
                <a:gd name="connsiteX5704" fmla="*/ 2374817 w 3135233"/>
                <a:gd name="connsiteY5704" fmla="*/ 958409 h 2493266"/>
                <a:gd name="connsiteX5705" fmla="*/ 2376890 w 3135233"/>
                <a:gd name="connsiteY5705" fmla="*/ 963343 h 2493266"/>
                <a:gd name="connsiteX5706" fmla="*/ 2370623 w 3135233"/>
                <a:gd name="connsiteY5706" fmla="*/ 968277 h 2493266"/>
                <a:gd name="connsiteX5707" fmla="*/ 2364505 w 3135233"/>
                <a:gd name="connsiteY5707" fmla="*/ 968277 h 2493266"/>
                <a:gd name="connsiteX5708" fmla="*/ 2358239 w 3135233"/>
                <a:gd name="connsiteY5708" fmla="*/ 966699 h 2493266"/>
                <a:gd name="connsiteX5709" fmla="*/ 2347828 w 3135233"/>
                <a:gd name="connsiteY5709" fmla="*/ 968277 h 2493266"/>
                <a:gd name="connsiteX5710" fmla="*/ 2337417 w 3135233"/>
                <a:gd name="connsiteY5710" fmla="*/ 978146 h 2493266"/>
                <a:gd name="connsiteX5711" fmla="*/ 2349703 w 3135233"/>
                <a:gd name="connsiteY5711" fmla="*/ 971485 h 2493266"/>
                <a:gd name="connsiteX5712" fmla="*/ 2360114 w 3135233"/>
                <a:gd name="connsiteY5712" fmla="*/ 969856 h 2493266"/>
                <a:gd name="connsiteX5713" fmla="*/ 2362186 w 3135233"/>
                <a:gd name="connsiteY5713" fmla="*/ 973063 h 2493266"/>
                <a:gd name="connsiteX5714" fmla="*/ 2358041 w 3135233"/>
                <a:gd name="connsiteY5714" fmla="*/ 977997 h 2493266"/>
                <a:gd name="connsiteX5715" fmla="*/ 2349703 w 3135233"/>
                <a:gd name="connsiteY5715" fmla="*/ 981205 h 2493266"/>
                <a:gd name="connsiteX5716" fmla="*/ 2341364 w 3135233"/>
                <a:gd name="connsiteY5716" fmla="*/ 992504 h 2493266"/>
                <a:gd name="connsiteX5717" fmla="*/ 2337220 w 3135233"/>
                <a:gd name="connsiteY5717" fmla="*/ 995711 h 2493266"/>
                <a:gd name="connsiteX5718" fmla="*/ 2333075 w 3135233"/>
                <a:gd name="connsiteY5718" fmla="*/ 995711 h 2493266"/>
                <a:gd name="connsiteX5719" fmla="*/ 2330954 w 3135233"/>
                <a:gd name="connsiteY5719" fmla="*/ 1000645 h 2493266"/>
                <a:gd name="connsiteX5720" fmla="*/ 2335098 w 3135233"/>
                <a:gd name="connsiteY5720" fmla="*/ 1000645 h 2493266"/>
                <a:gd name="connsiteX5721" fmla="*/ 2347631 w 3135233"/>
                <a:gd name="connsiteY5721" fmla="*/ 989346 h 2493266"/>
                <a:gd name="connsiteX5722" fmla="*/ 2353897 w 3135233"/>
                <a:gd name="connsiteY5722" fmla="*/ 982932 h 2493266"/>
                <a:gd name="connsiteX5723" fmla="*/ 2362186 w 3135233"/>
                <a:gd name="connsiteY5723" fmla="*/ 979675 h 2493266"/>
                <a:gd name="connsiteX5724" fmla="*/ 2370524 w 3135233"/>
                <a:gd name="connsiteY5724" fmla="*/ 973211 h 2493266"/>
                <a:gd name="connsiteX5725" fmla="*/ 2378863 w 3135233"/>
                <a:gd name="connsiteY5725" fmla="*/ 974840 h 2493266"/>
                <a:gd name="connsiteX5726" fmla="*/ 2380935 w 3135233"/>
                <a:gd name="connsiteY5726" fmla="*/ 978096 h 2493266"/>
                <a:gd name="connsiteX5727" fmla="*/ 2385129 w 3135233"/>
                <a:gd name="connsiteY5727" fmla="*/ 978096 h 2493266"/>
                <a:gd name="connsiteX5728" fmla="*/ 2385129 w 3135233"/>
                <a:gd name="connsiteY5728" fmla="*/ 983030 h 2493266"/>
                <a:gd name="connsiteX5729" fmla="*/ 2383008 w 3135233"/>
                <a:gd name="connsiteY5729" fmla="*/ 987964 h 2493266"/>
                <a:gd name="connsiteX5730" fmla="*/ 2383008 w 3135233"/>
                <a:gd name="connsiteY5730" fmla="*/ 992898 h 2493266"/>
                <a:gd name="connsiteX5731" fmla="*/ 2376791 w 3135233"/>
                <a:gd name="connsiteY5731" fmla="*/ 994527 h 2493266"/>
                <a:gd name="connsiteX5732" fmla="*/ 2372597 w 3135233"/>
                <a:gd name="connsiteY5732" fmla="*/ 1000941 h 2493266"/>
                <a:gd name="connsiteX5733" fmla="*/ 2364505 w 3135233"/>
                <a:gd name="connsiteY5733" fmla="*/ 1000941 h 2493266"/>
                <a:gd name="connsiteX5734" fmla="*/ 2362383 w 3135233"/>
                <a:gd name="connsiteY5734" fmla="*/ 999362 h 2493266"/>
                <a:gd name="connsiteX5735" fmla="*/ 2354094 w 3135233"/>
                <a:gd name="connsiteY5735" fmla="*/ 999362 h 2493266"/>
                <a:gd name="connsiteX5736" fmla="*/ 2351973 w 3135233"/>
                <a:gd name="connsiteY5736" fmla="*/ 1004296 h 2493266"/>
                <a:gd name="connsiteX5737" fmla="*/ 2358239 w 3135233"/>
                <a:gd name="connsiteY5737" fmla="*/ 1004296 h 2493266"/>
                <a:gd name="connsiteX5738" fmla="*/ 2360311 w 3135233"/>
                <a:gd name="connsiteY5738" fmla="*/ 1007503 h 2493266"/>
                <a:gd name="connsiteX5739" fmla="*/ 2347828 w 3135233"/>
                <a:gd name="connsiteY5739" fmla="*/ 1012437 h 2493266"/>
                <a:gd name="connsiteX5740" fmla="*/ 2351973 w 3135233"/>
                <a:gd name="connsiteY5740" fmla="*/ 1014065 h 2493266"/>
                <a:gd name="connsiteX5741" fmla="*/ 2356167 w 3135233"/>
                <a:gd name="connsiteY5741" fmla="*/ 1010858 h 2493266"/>
                <a:gd name="connsiteX5742" fmla="*/ 2364505 w 3135233"/>
                <a:gd name="connsiteY5742" fmla="*/ 1007602 h 2493266"/>
                <a:gd name="connsiteX5743" fmla="*/ 2368650 w 3135233"/>
                <a:gd name="connsiteY5743" fmla="*/ 1005973 h 2493266"/>
                <a:gd name="connsiteX5744" fmla="*/ 2368650 w 3135233"/>
                <a:gd name="connsiteY5744" fmla="*/ 1009230 h 2493266"/>
                <a:gd name="connsiteX5745" fmla="*/ 2366577 w 3135233"/>
                <a:gd name="connsiteY5745" fmla="*/ 1012437 h 2493266"/>
                <a:gd name="connsiteX5746" fmla="*/ 2358239 w 3135233"/>
                <a:gd name="connsiteY5746" fmla="*/ 1014065 h 2493266"/>
                <a:gd name="connsiteX5747" fmla="*/ 2351973 w 3135233"/>
                <a:gd name="connsiteY5747" fmla="*/ 1018999 h 2493266"/>
                <a:gd name="connsiteX5748" fmla="*/ 2358239 w 3135233"/>
                <a:gd name="connsiteY5748" fmla="*/ 1017371 h 2493266"/>
                <a:gd name="connsiteX5749" fmla="*/ 2360311 w 3135233"/>
                <a:gd name="connsiteY5749" fmla="*/ 1018999 h 2493266"/>
                <a:gd name="connsiteX5750" fmla="*/ 2356167 w 3135233"/>
                <a:gd name="connsiteY5750" fmla="*/ 1023933 h 2493266"/>
                <a:gd name="connsiteX5751" fmla="*/ 2347828 w 3135233"/>
                <a:gd name="connsiteY5751" fmla="*/ 1030397 h 2493266"/>
                <a:gd name="connsiteX5752" fmla="*/ 2343684 w 3135233"/>
                <a:gd name="connsiteY5752" fmla="*/ 1033604 h 2493266"/>
                <a:gd name="connsiteX5753" fmla="*/ 2347828 w 3135233"/>
                <a:gd name="connsiteY5753" fmla="*/ 1035232 h 2493266"/>
                <a:gd name="connsiteX5754" fmla="*/ 2356167 w 3135233"/>
                <a:gd name="connsiteY5754" fmla="*/ 1030298 h 2493266"/>
                <a:gd name="connsiteX5755" fmla="*/ 2362383 w 3135233"/>
                <a:gd name="connsiteY5755" fmla="*/ 1020430 h 2493266"/>
                <a:gd name="connsiteX5756" fmla="*/ 2366577 w 3135233"/>
                <a:gd name="connsiteY5756" fmla="*/ 1015496 h 2493266"/>
                <a:gd name="connsiteX5757" fmla="*/ 2376988 w 3135233"/>
                <a:gd name="connsiteY5757" fmla="*/ 1007404 h 2493266"/>
                <a:gd name="connsiteX5758" fmla="*/ 2379061 w 3135233"/>
                <a:gd name="connsiteY5758" fmla="*/ 1010661 h 2493266"/>
                <a:gd name="connsiteX5759" fmla="*/ 2379061 w 3135233"/>
                <a:gd name="connsiteY5759" fmla="*/ 1013868 h 2493266"/>
                <a:gd name="connsiteX5760" fmla="*/ 2385327 w 3135233"/>
                <a:gd name="connsiteY5760" fmla="*/ 1010661 h 2493266"/>
                <a:gd name="connsiteX5761" fmla="*/ 2385327 w 3135233"/>
                <a:gd name="connsiteY5761" fmla="*/ 1007404 h 2493266"/>
                <a:gd name="connsiteX5762" fmla="*/ 2395738 w 3135233"/>
                <a:gd name="connsiteY5762" fmla="*/ 1002470 h 2493266"/>
                <a:gd name="connsiteX5763" fmla="*/ 2399882 w 3135233"/>
                <a:gd name="connsiteY5763" fmla="*/ 1002470 h 2493266"/>
                <a:gd name="connsiteX5764" fmla="*/ 2399882 w 3135233"/>
                <a:gd name="connsiteY5764" fmla="*/ 1005677 h 2493266"/>
                <a:gd name="connsiteX5765" fmla="*/ 2387399 w 3135233"/>
                <a:gd name="connsiteY5765" fmla="*/ 1013769 h 2493266"/>
                <a:gd name="connsiteX5766" fmla="*/ 2376988 w 3135233"/>
                <a:gd name="connsiteY5766" fmla="*/ 1020233 h 2493266"/>
                <a:gd name="connsiteX5767" fmla="*/ 2370722 w 3135233"/>
                <a:gd name="connsiteY5767" fmla="*/ 1021861 h 2493266"/>
                <a:gd name="connsiteX5768" fmla="*/ 2370722 w 3135233"/>
                <a:gd name="connsiteY5768" fmla="*/ 1025068 h 2493266"/>
                <a:gd name="connsiteX5769" fmla="*/ 2374916 w 3135233"/>
                <a:gd name="connsiteY5769" fmla="*/ 1026696 h 2493266"/>
                <a:gd name="connsiteX5770" fmla="*/ 2370722 w 3135233"/>
                <a:gd name="connsiteY5770" fmla="*/ 1031630 h 2493266"/>
                <a:gd name="connsiteX5771" fmla="*/ 2368650 w 3135233"/>
                <a:gd name="connsiteY5771" fmla="*/ 1038045 h 2493266"/>
                <a:gd name="connsiteX5772" fmla="*/ 2370722 w 3135233"/>
                <a:gd name="connsiteY5772" fmla="*/ 1038045 h 2493266"/>
                <a:gd name="connsiteX5773" fmla="*/ 2374916 w 3135233"/>
                <a:gd name="connsiteY5773" fmla="*/ 1033111 h 2493266"/>
                <a:gd name="connsiteX5774" fmla="*/ 2376988 w 3135233"/>
                <a:gd name="connsiteY5774" fmla="*/ 1028177 h 2493266"/>
                <a:gd name="connsiteX5775" fmla="*/ 2387399 w 3135233"/>
                <a:gd name="connsiteY5775" fmla="*/ 1020134 h 2493266"/>
                <a:gd name="connsiteX5776" fmla="*/ 2393616 w 3135233"/>
                <a:gd name="connsiteY5776" fmla="*/ 1016878 h 2493266"/>
                <a:gd name="connsiteX5777" fmla="*/ 2393616 w 3135233"/>
                <a:gd name="connsiteY5777" fmla="*/ 1020134 h 2493266"/>
                <a:gd name="connsiteX5778" fmla="*/ 2395738 w 3135233"/>
                <a:gd name="connsiteY5778" fmla="*/ 1023341 h 2493266"/>
                <a:gd name="connsiteX5779" fmla="*/ 2391543 w 3135233"/>
                <a:gd name="connsiteY5779" fmla="*/ 1028275 h 2493266"/>
                <a:gd name="connsiteX5780" fmla="*/ 2383205 w 3135233"/>
                <a:gd name="connsiteY5780" fmla="*/ 1034739 h 2493266"/>
                <a:gd name="connsiteX5781" fmla="*/ 2381133 w 3135233"/>
                <a:gd name="connsiteY5781" fmla="*/ 1039673 h 2493266"/>
                <a:gd name="connsiteX5782" fmla="*/ 2376988 w 3135233"/>
                <a:gd name="connsiteY5782" fmla="*/ 1047765 h 2493266"/>
                <a:gd name="connsiteX5783" fmla="*/ 2372794 w 3135233"/>
                <a:gd name="connsiteY5783" fmla="*/ 1049344 h 2493266"/>
                <a:gd name="connsiteX5784" fmla="*/ 2372794 w 3135233"/>
                <a:gd name="connsiteY5784" fmla="*/ 1050972 h 2493266"/>
                <a:gd name="connsiteX5785" fmla="*/ 2379061 w 3135233"/>
                <a:gd name="connsiteY5785" fmla="*/ 1049344 h 2493266"/>
                <a:gd name="connsiteX5786" fmla="*/ 2381133 w 3135233"/>
                <a:gd name="connsiteY5786" fmla="*/ 1046136 h 2493266"/>
                <a:gd name="connsiteX5787" fmla="*/ 2391543 w 3135233"/>
                <a:gd name="connsiteY5787" fmla="*/ 1034838 h 2493266"/>
                <a:gd name="connsiteX5788" fmla="*/ 2395738 w 3135233"/>
                <a:gd name="connsiteY5788" fmla="*/ 1033209 h 2493266"/>
                <a:gd name="connsiteX5789" fmla="*/ 2399882 w 3135233"/>
                <a:gd name="connsiteY5789" fmla="*/ 1036466 h 2493266"/>
                <a:gd name="connsiteX5790" fmla="*/ 2402004 w 3135233"/>
                <a:gd name="connsiteY5790" fmla="*/ 1038045 h 2493266"/>
                <a:gd name="connsiteX5791" fmla="*/ 2399882 w 3135233"/>
                <a:gd name="connsiteY5791" fmla="*/ 1041301 h 2493266"/>
                <a:gd name="connsiteX5792" fmla="*/ 2395738 w 3135233"/>
                <a:gd name="connsiteY5792" fmla="*/ 1042929 h 2493266"/>
                <a:gd name="connsiteX5793" fmla="*/ 2389175 w 3135233"/>
                <a:gd name="connsiteY5793" fmla="*/ 1050528 h 2493266"/>
                <a:gd name="connsiteX5794" fmla="*/ 2387103 w 3135233"/>
                <a:gd name="connsiteY5794" fmla="*/ 1058620 h 2493266"/>
                <a:gd name="connsiteX5795" fmla="*/ 2391247 w 3135233"/>
                <a:gd name="connsiteY5795" fmla="*/ 1058620 h 2493266"/>
                <a:gd name="connsiteX5796" fmla="*/ 2393320 w 3135233"/>
                <a:gd name="connsiteY5796" fmla="*/ 1055363 h 2493266"/>
                <a:gd name="connsiteX5797" fmla="*/ 2395442 w 3135233"/>
                <a:gd name="connsiteY5797" fmla="*/ 1050429 h 2493266"/>
                <a:gd name="connsiteX5798" fmla="*/ 2399586 w 3135233"/>
                <a:gd name="connsiteY5798" fmla="*/ 1043966 h 2493266"/>
                <a:gd name="connsiteX5799" fmla="*/ 2405852 w 3135233"/>
                <a:gd name="connsiteY5799" fmla="*/ 1040758 h 2493266"/>
                <a:gd name="connsiteX5800" fmla="*/ 2405852 w 3135233"/>
                <a:gd name="connsiteY5800" fmla="*/ 1035824 h 2493266"/>
                <a:gd name="connsiteX5801" fmla="*/ 2409997 w 3135233"/>
                <a:gd name="connsiteY5801" fmla="*/ 1030890 h 2493266"/>
                <a:gd name="connsiteX5802" fmla="*/ 2414141 w 3135233"/>
                <a:gd name="connsiteY5802" fmla="*/ 1027634 h 2493266"/>
                <a:gd name="connsiteX5803" fmla="*/ 2416263 w 3135233"/>
                <a:gd name="connsiteY5803" fmla="*/ 1022700 h 2493266"/>
                <a:gd name="connsiteX5804" fmla="*/ 2418335 w 3135233"/>
                <a:gd name="connsiteY5804" fmla="*/ 1019493 h 2493266"/>
                <a:gd name="connsiteX5805" fmla="*/ 2420457 w 3135233"/>
                <a:gd name="connsiteY5805" fmla="*/ 1019493 h 2493266"/>
                <a:gd name="connsiteX5806" fmla="*/ 2424552 w 3135233"/>
                <a:gd name="connsiteY5806" fmla="*/ 1014559 h 2493266"/>
                <a:gd name="connsiteX5807" fmla="*/ 2424552 w 3135233"/>
                <a:gd name="connsiteY5807" fmla="*/ 1009625 h 2493266"/>
                <a:gd name="connsiteX5808" fmla="*/ 2426674 w 3135233"/>
                <a:gd name="connsiteY5808" fmla="*/ 1009625 h 2493266"/>
                <a:gd name="connsiteX5809" fmla="*/ 2432940 w 3135233"/>
                <a:gd name="connsiteY5809" fmla="*/ 1017667 h 2493266"/>
                <a:gd name="connsiteX5810" fmla="*/ 2437085 w 3135233"/>
                <a:gd name="connsiteY5810" fmla="*/ 1020924 h 2493266"/>
                <a:gd name="connsiteX5811" fmla="*/ 2443351 w 3135233"/>
                <a:gd name="connsiteY5811" fmla="*/ 1027338 h 2493266"/>
                <a:gd name="connsiteX5812" fmla="*/ 2445423 w 3135233"/>
                <a:gd name="connsiteY5812" fmla="*/ 1032272 h 2493266"/>
                <a:gd name="connsiteX5813" fmla="*/ 2447496 w 3135233"/>
                <a:gd name="connsiteY5813" fmla="*/ 1038735 h 2493266"/>
                <a:gd name="connsiteX5814" fmla="*/ 2453762 w 3135233"/>
                <a:gd name="connsiteY5814" fmla="*/ 1045199 h 2493266"/>
                <a:gd name="connsiteX5815" fmla="*/ 2453762 w 3135233"/>
                <a:gd name="connsiteY5815" fmla="*/ 1046827 h 2493266"/>
                <a:gd name="connsiteX5816" fmla="*/ 2449568 w 3135233"/>
                <a:gd name="connsiteY5816" fmla="*/ 1051761 h 2493266"/>
                <a:gd name="connsiteX5817" fmla="*/ 2443450 w 3135233"/>
                <a:gd name="connsiteY5817" fmla="*/ 1058620 h 2493266"/>
                <a:gd name="connsiteX5818" fmla="*/ 2439256 w 3135233"/>
                <a:gd name="connsiteY5818" fmla="*/ 1058620 h 2493266"/>
                <a:gd name="connsiteX5819" fmla="*/ 2433039 w 3135233"/>
                <a:gd name="connsiteY5819" fmla="*/ 1055363 h 2493266"/>
                <a:gd name="connsiteX5820" fmla="*/ 2428845 w 3135233"/>
                <a:gd name="connsiteY5820" fmla="*/ 1052156 h 2493266"/>
                <a:gd name="connsiteX5821" fmla="*/ 2424651 w 3135233"/>
                <a:gd name="connsiteY5821" fmla="*/ 1052156 h 2493266"/>
                <a:gd name="connsiteX5822" fmla="*/ 2420556 w 3135233"/>
                <a:gd name="connsiteY5822" fmla="*/ 1053784 h 2493266"/>
                <a:gd name="connsiteX5823" fmla="*/ 2416362 w 3135233"/>
                <a:gd name="connsiteY5823" fmla="*/ 1055363 h 2493266"/>
                <a:gd name="connsiteX5824" fmla="*/ 2414240 w 3135233"/>
                <a:gd name="connsiteY5824" fmla="*/ 1060297 h 2493266"/>
                <a:gd name="connsiteX5825" fmla="*/ 2408023 w 3135233"/>
                <a:gd name="connsiteY5825" fmla="*/ 1063554 h 2493266"/>
                <a:gd name="connsiteX5826" fmla="*/ 2403977 w 3135233"/>
                <a:gd name="connsiteY5826" fmla="*/ 1063554 h 2493266"/>
                <a:gd name="connsiteX5827" fmla="*/ 2399833 w 3135233"/>
                <a:gd name="connsiteY5827" fmla="*/ 1066761 h 2493266"/>
                <a:gd name="connsiteX5828" fmla="*/ 2412365 w 3135233"/>
                <a:gd name="connsiteY5828" fmla="*/ 1066761 h 2493266"/>
                <a:gd name="connsiteX5829" fmla="*/ 2414388 w 3135233"/>
                <a:gd name="connsiteY5829" fmla="*/ 1070017 h 2493266"/>
                <a:gd name="connsiteX5830" fmla="*/ 2408171 w 3135233"/>
                <a:gd name="connsiteY5830" fmla="*/ 1074951 h 2493266"/>
                <a:gd name="connsiteX5831" fmla="*/ 2401955 w 3135233"/>
                <a:gd name="connsiteY5831" fmla="*/ 1078158 h 2493266"/>
                <a:gd name="connsiteX5832" fmla="*/ 2395688 w 3135233"/>
                <a:gd name="connsiteY5832" fmla="*/ 1081366 h 2493266"/>
                <a:gd name="connsiteX5833" fmla="*/ 2403977 w 3135233"/>
                <a:gd name="connsiteY5833" fmla="*/ 1081366 h 2493266"/>
                <a:gd name="connsiteX5834" fmla="*/ 2410244 w 3135233"/>
                <a:gd name="connsiteY5834" fmla="*/ 1078158 h 2493266"/>
                <a:gd name="connsiteX5835" fmla="*/ 2418582 w 3135233"/>
                <a:gd name="connsiteY5835" fmla="*/ 1076530 h 2493266"/>
                <a:gd name="connsiteX5836" fmla="*/ 2424799 w 3135233"/>
                <a:gd name="connsiteY5836" fmla="*/ 1078158 h 2493266"/>
                <a:gd name="connsiteX5837" fmla="*/ 2431115 w 3135233"/>
                <a:gd name="connsiteY5837" fmla="*/ 1073224 h 2493266"/>
                <a:gd name="connsiteX5838" fmla="*/ 2437331 w 3135233"/>
                <a:gd name="connsiteY5838" fmla="*/ 1073224 h 2493266"/>
                <a:gd name="connsiteX5839" fmla="*/ 2441525 w 3135233"/>
                <a:gd name="connsiteY5839" fmla="*/ 1076432 h 2493266"/>
                <a:gd name="connsiteX5840" fmla="*/ 2441525 w 3135233"/>
                <a:gd name="connsiteY5840" fmla="*/ 1079688 h 2493266"/>
                <a:gd name="connsiteX5841" fmla="*/ 2439404 w 3135233"/>
                <a:gd name="connsiteY5841" fmla="*/ 1081267 h 2493266"/>
                <a:gd name="connsiteX5842" fmla="*/ 2443598 w 3135233"/>
                <a:gd name="connsiteY5842" fmla="*/ 1079688 h 2493266"/>
                <a:gd name="connsiteX5843" fmla="*/ 2445670 w 3135233"/>
                <a:gd name="connsiteY5843" fmla="*/ 1073224 h 2493266"/>
                <a:gd name="connsiteX5844" fmla="*/ 2443598 w 3135233"/>
                <a:gd name="connsiteY5844" fmla="*/ 1068290 h 2493266"/>
                <a:gd name="connsiteX5845" fmla="*/ 2447742 w 3135233"/>
                <a:gd name="connsiteY5845" fmla="*/ 1063356 h 2493266"/>
                <a:gd name="connsiteX5846" fmla="*/ 2458153 w 3135233"/>
                <a:gd name="connsiteY5846" fmla="*/ 1058422 h 2493266"/>
                <a:gd name="connsiteX5847" fmla="*/ 2460225 w 3135233"/>
                <a:gd name="connsiteY5847" fmla="*/ 1060001 h 2493266"/>
                <a:gd name="connsiteX5848" fmla="*/ 2460225 w 3135233"/>
                <a:gd name="connsiteY5848" fmla="*/ 1064935 h 2493266"/>
                <a:gd name="connsiteX5849" fmla="*/ 2462347 w 3135233"/>
                <a:gd name="connsiteY5849" fmla="*/ 1069869 h 2493266"/>
                <a:gd name="connsiteX5850" fmla="*/ 2458153 w 3135233"/>
                <a:gd name="connsiteY5850" fmla="*/ 1074803 h 2493266"/>
                <a:gd name="connsiteX5851" fmla="*/ 2451936 w 3135233"/>
                <a:gd name="connsiteY5851" fmla="*/ 1082846 h 2493266"/>
                <a:gd name="connsiteX5852" fmla="*/ 2445670 w 3135233"/>
                <a:gd name="connsiteY5852" fmla="*/ 1084474 h 2493266"/>
                <a:gd name="connsiteX5853" fmla="*/ 2439404 w 3135233"/>
                <a:gd name="connsiteY5853" fmla="*/ 1087681 h 2493266"/>
                <a:gd name="connsiteX5854" fmla="*/ 2439404 w 3135233"/>
                <a:gd name="connsiteY5854" fmla="*/ 1090938 h 2493266"/>
                <a:gd name="connsiteX5855" fmla="*/ 2431115 w 3135233"/>
                <a:gd name="connsiteY5855" fmla="*/ 1090938 h 2493266"/>
                <a:gd name="connsiteX5856" fmla="*/ 2428993 w 3135233"/>
                <a:gd name="connsiteY5856" fmla="*/ 1089309 h 2493266"/>
                <a:gd name="connsiteX5857" fmla="*/ 2424799 w 3135233"/>
                <a:gd name="connsiteY5857" fmla="*/ 1089309 h 2493266"/>
                <a:gd name="connsiteX5858" fmla="*/ 2420704 w 3135233"/>
                <a:gd name="connsiteY5858" fmla="*/ 1092516 h 2493266"/>
                <a:gd name="connsiteX5859" fmla="*/ 2418582 w 3135233"/>
                <a:gd name="connsiteY5859" fmla="*/ 1097450 h 2493266"/>
                <a:gd name="connsiteX5860" fmla="*/ 2412365 w 3135233"/>
                <a:gd name="connsiteY5860" fmla="*/ 1102384 h 2493266"/>
                <a:gd name="connsiteX5861" fmla="*/ 2412365 w 3135233"/>
                <a:gd name="connsiteY5861" fmla="*/ 1107319 h 2493266"/>
                <a:gd name="connsiteX5862" fmla="*/ 2410244 w 3135233"/>
                <a:gd name="connsiteY5862" fmla="*/ 1110526 h 2493266"/>
                <a:gd name="connsiteX5863" fmla="*/ 2412365 w 3135233"/>
                <a:gd name="connsiteY5863" fmla="*/ 1108897 h 2493266"/>
                <a:gd name="connsiteX5864" fmla="*/ 2420704 w 3135233"/>
                <a:gd name="connsiteY5864" fmla="*/ 1102483 h 2493266"/>
                <a:gd name="connsiteX5865" fmla="*/ 2426921 w 3135233"/>
                <a:gd name="connsiteY5865" fmla="*/ 1094391 h 2493266"/>
                <a:gd name="connsiteX5866" fmla="*/ 2431115 w 3135233"/>
                <a:gd name="connsiteY5866" fmla="*/ 1092763 h 2493266"/>
                <a:gd name="connsiteX5867" fmla="*/ 2433187 w 3135233"/>
                <a:gd name="connsiteY5867" fmla="*/ 1094391 h 2493266"/>
                <a:gd name="connsiteX5868" fmla="*/ 2435259 w 3135233"/>
                <a:gd name="connsiteY5868" fmla="*/ 1094391 h 2493266"/>
                <a:gd name="connsiteX5869" fmla="*/ 2435259 w 3135233"/>
                <a:gd name="connsiteY5869" fmla="*/ 1097648 h 2493266"/>
                <a:gd name="connsiteX5870" fmla="*/ 2433187 w 3135233"/>
                <a:gd name="connsiteY5870" fmla="*/ 1100855 h 2493266"/>
                <a:gd name="connsiteX5871" fmla="*/ 2428993 w 3135233"/>
                <a:gd name="connsiteY5871" fmla="*/ 1107319 h 2493266"/>
                <a:gd name="connsiteX5872" fmla="*/ 2418483 w 3135233"/>
                <a:gd name="connsiteY5872" fmla="*/ 1115065 h 2493266"/>
                <a:gd name="connsiteX5873" fmla="*/ 2414290 w 3135233"/>
                <a:gd name="connsiteY5873" fmla="*/ 1118321 h 2493266"/>
                <a:gd name="connsiteX5874" fmla="*/ 2414290 w 3135233"/>
                <a:gd name="connsiteY5874" fmla="*/ 1119999 h 2493266"/>
                <a:gd name="connsiteX5875" fmla="*/ 2424700 w 3135233"/>
                <a:gd name="connsiteY5875" fmla="*/ 1115065 h 2493266"/>
                <a:gd name="connsiteX5876" fmla="*/ 2437233 w 3135233"/>
                <a:gd name="connsiteY5876" fmla="*/ 1103766 h 2493266"/>
                <a:gd name="connsiteX5877" fmla="*/ 2441427 w 3135233"/>
                <a:gd name="connsiteY5877" fmla="*/ 1093898 h 2493266"/>
                <a:gd name="connsiteX5878" fmla="*/ 2443499 w 3135233"/>
                <a:gd name="connsiteY5878" fmla="*/ 1090691 h 2493266"/>
                <a:gd name="connsiteX5879" fmla="*/ 2445571 w 3135233"/>
                <a:gd name="connsiteY5879" fmla="*/ 1087434 h 2493266"/>
                <a:gd name="connsiteX5880" fmla="*/ 2449716 w 3135233"/>
                <a:gd name="connsiteY5880" fmla="*/ 1087434 h 2493266"/>
                <a:gd name="connsiteX5881" fmla="*/ 2460127 w 3135233"/>
                <a:gd name="connsiteY5881" fmla="*/ 1080971 h 2493266"/>
                <a:gd name="connsiteX5882" fmla="*/ 2470537 w 3135233"/>
                <a:gd name="connsiteY5882" fmla="*/ 1077764 h 2493266"/>
                <a:gd name="connsiteX5883" fmla="*/ 2474732 w 3135233"/>
                <a:gd name="connsiteY5883" fmla="*/ 1076135 h 2493266"/>
                <a:gd name="connsiteX5884" fmla="*/ 2474732 w 3135233"/>
                <a:gd name="connsiteY5884" fmla="*/ 1077764 h 2493266"/>
                <a:gd name="connsiteX5885" fmla="*/ 2472659 w 3135233"/>
                <a:gd name="connsiteY5885" fmla="*/ 1082698 h 2493266"/>
                <a:gd name="connsiteX5886" fmla="*/ 2464320 w 3135233"/>
                <a:gd name="connsiteY5886" fmla="*/ 1089161 h 2493266"/>
                <a:gd name="connsiteX5887" fmla="*/ 2458252 w 3135233"/>
                <a:gd name="connsiteY5887" fmla="*/ 1089161 h 2493266"/>
                <a:gd name="connsiteX5888" fmla="*/ 2454107 w 3135233"/>
                <a:gd name="connsiteY5888" fmla="*/ 1092368 h 2493266"/>
                <a:gd name="connsiteX5889" fmla="*/ 2454107 w 3135233"/>
                <a:gd name="connsiteY5889" fmla="*/ 1097302 h 2493266"/>
                <a:gd name="connsiteX5890" fmla="*/ 2454107 w 3135233"/>
                <a:gd name="connsiteY5890" fmla="*/ 1097302 h 2493266"/>
                <a:gd name="connsiteX5891" fmla="*/ 2460324 w 3135233"/>
                <a:gd name="connsiteY5891" fmla="*/ 1094046 h 2493266"/>
                <a:gd name="connsiteX5892" fmla="*/ 2466590 w 3135233"/>
                <a:gd name="connsiteY5892" fmla="*/ 1094046 h 2493266"/>
                <a:gd name="connsiteX5893" fmla="*/ 2472857 w 3135233"/>
                <a:gd name="connsiteY5893" fmla="*/ 1089112 h 2493266"/>
                <a:gd name="connsiteX5894" fmla="*/ 2479123 w 3135233"/>
                <a:gd name="connsiteY5894" fmla="*/ 1087484 h 2493266"/>
                <a:gd name="connsiteX5895" fmla="*/ 2481146 w 3135233"/>
                <a:gd name="connsiteY5895" fmla="*/ 1084277 h 2493266"/>
                <a:gd name="connsiteX5896" fmla="*/ 2487412 w 3135233"/>
                <a:gd name="connsiteY5896" fmla="*/ 1081020 h 2493266"/>
                <a:gd name="connsiteX5897" fmla="*/ 2491606 w 3135233"/>
                <a:gd name="connsiteY5897" fmla="*/ 1082648 h 2493266"/>
                <a:gd name="connsiteX5898" fmla="*/ 2495750 w 3135233"/>
                <a:gd name="connsiteY5898" fmla="*/ 1087582 h 2493266"/>
                <a:gd name="connsiteX5899" fmla="*/ 2502017 w 3135233"/>
                <a:gd name="connsiteY5899" fmla="*/ 1095674 h 2493266"/>
                <a:gd name="connsiteX5900" fmla="*/ 2506161 w 3135233"/>
                <a:gd name="connsiteY5900" fmla="*/ 1100608 h 2493266"/>
                <a:gd name="connsiteX5901" fmla="*/ 2512427 w 3135233"/>
                <a:gd name="connsiteY5901" fmla="*/ 1103815 h 2493266"/>
                <a:gd name="connsiteX5902" fmla="*/ 2512427 w 3135233"/>
                <a:gd name="connsiteY5902" fmla="*/ 1111907 h 2493266"/>
                <a:gd name="connsiteX5903" fmla="*/ 2506161 w 3135233"/>
                <a:gd name="connsiteY5903" fmla="*/ 1116841 h 2493266"/>
                <a:gd name="connsiteX5904" fmla="*/ 2502017 w 3135233"/>
                <a:gd name="connsiteY5904" fmla="*/ 1116841 h 2493266"/>
                <a:gd name="connsiteX5905" fmla="*/ 2504089 w 3135233"/>
                <a:gd name="connsiteY5905" fmla="*/ 1110378 h 2493266"/>
                <a:gd name="connsiteX5906" fmla="*/ 2497724 w 3135233"/>
                <a:gd name="connsiteY5906" fmla="*/ 1110378 h 2493266"/>
                <a:gd name="connsiteX5907" fmla="*/ 2497724 w 3135233"/>
                <a:gd name="connsiteY5907" fmla="*/ 1113634 h 2493266"/>
                <a:gd name="connsiteX5908" fmla="*/ 2493579 w 3135233"/>
                <a:gd name="connsiteY5908" fmla="*/ 1116841 h 2493266"/>
                <a:gd name="connsiteX5909" fmla="*/ 2489435 w 3135233"/>
                <a:gd name="connsiteY5909" fmla="*/ 1121775 h 2493266"/>
                <a:gd name="connsiteX5910" fmla="*/ 2479024 w 3135233"/>
                <a:gd name="connsiteY5910" fmla="*/ 1121775 h 2493266"/>
                <a:gd name="connsiteX5911" fmla="*/ 2472758 w 3135233"/>
                <a:gd name="connsiteY5911" fmla="*/ 1123404 h 2493266"/>
                <a:gd name="connsiteX5912" fmla="*/ 2466491 w 3135233"/>
                <a:gd name="connsiteY5912" fmla="*/ 1123404 h 2493266"/>
                <a:gd name="connsiteX5913" fmla="*/ 2456081 w 3135233"/>
                <a:gd name="connsiteY5913" fmla="*/ 1128338 h 2493266"/>
                <a:gd name="connsiteX5914" fmla="*/ 2449814 w 3135233"/>
                <a:gd name="connsiteY5914" fmla="*/ 1129966 h 2493266"/>
                <a:gd name="connsiteX5915" fmla="*/ 2439404 w 3135233"/>
                <a:gd name="connsiteY5915" fmla="*/ 1134900 h 2493266"/>
                <a:gd name="connsiteX5916" fmla="*/ 2445670 w 3135233"/>
                <a:gd name="connsiteY5916" fmla="*/ 1133272 h 2493266"/>
                <a:gd name="connsiteX5917" fmla="*/ 2449814 w 3135233"/>
                <a:gd name="connsiteY5917" fmla="*/ 1134900 h 2493266"/>
                <a:gd name="connsiteX5918" fmla="*/ 2447742 w 3135233"/>
                <a:gd name="connsiteY5918" fmla="*/ 1139834 h 2493266"/>
                <a:gd name="connsiteX5919" fmla="*/ 2439404 w 3135233"/>
                <a:gd name="connsiteY5919" fmla="*/ 1141413 h 2493266"/>
                <a:gd name="connsiteX5920" fmla="*/ 2437331 w 3135233"/>
                <a:gd name="connsiteY5920" fmla="*/ 1144669 h 2493266"/>
                <a:gd name="connsiteX5921" fmla="*/ 2447742 w 3135233"/>
                <a:gd name="connsiteY5921" fmla="*/ 1143041 h 2493266"/>
                <a:gd name="connsiteX5922" fmla="*/ 2456081 w 3135233"/>
                <a:gd name="connsiteY5922" fmla="*/ 1136577 h 2493266"/>
                <a:gd name="connsiteX5923" fmla="*/ 2466491 w 3135233"/>
                <a:gd name="connsiteY5923" fmla="*/ 1128535 h 2493266"/>
                <a:gd name="connsiteX5924" fmla="*/ 2479024 w 3135233"/>
                <a:gd name="connsiteY5924" fmla="*/ 1128535 h 2493266"/>
                <a:gd name="connsiteX5925" fmla="*/ 2483169 w 3135233"/>
                <a:gd name="connsiteY5925" fmla="*/ 1126907 h 2493266"/>
                <a:gd name="connsiteX5926" fmla="*/ 2489435 w 3135233"/>
                <a:gd name="connsiteY5926" fmla="*/ 1126907 h 2493266"/>
                <a:gd name="connsiteX5927" fmla="*/ 2489435 w 3135233"/>
                <a:gd name="connsiteY5927" fmla="*/ 1129867 h 2493266"/>
                <a:gd name="connsiteX5928" fmla="*/ 2487313 w 3135233"/>
                <a:gd name="connsiteY5928" fmla="*/ 1136281 h 2493266"/>
                <a:gd name="connsiteX5929" fmla="*/ 2483169 w 3135233"/>
                <a:gd name="connsiteY5929" fmla="*/ 1137910 h 2493266"/>
                <a:gd name="connsiteX5930" fmla="*/ 2476903 w 3135233"/>
                <a:gd name="connsiteY5930" fmla="*/ 1142844 h 2493266"/>
                <a:gd name="connsiteX5931" fmla="*/ 2472758 w 3135233"/>
                <a:gd name="connsiteY5931" fmla="*/ 1141215 h 2493266"/>
                <a:gd name="connsiteX5932" fmla="*/ 2468613 w 3135233"/>
                <a:gd name="connsiteY5932" fmla="*/ 1144472 h 2493266"/>
                <a:gd name="connsiteX5933" fmla="*/ 2464419 w 3135233"/>
                <a:gd name="connsiteY5933" fmla="*/ 1149406 h 2493266"/>
                <a:gd name="connsiteX5934" fmla="*/ 2458153 w 3135233"/>
                <a:gd name="connsiteY5934" fmla="*/ 1151034 h 2493266"/>
                <a:gd name="connsiteX5935" fmla="*/ 2451936 w 3135233"/>
                <a:gd name="connsiteY5935" fmla="*/ 1149406 h 2493266"/>
                <a:gd name="connsiteX5936" fmla="*/ 2447742 w 3135233"/>
                <a:gd name="connsiteY5936" fmla="*/ 1151034 h 2493266"/>
                <a:gd name="connsiteX5937" fmla="*/ 2443598 w 3135233"/>
                <a:gd name="connsiteY5937" fmla="*/ 1155968 h 2493266"/>
                <a:gd name="connsiteX5938" fmla="*/ 2445670 w 3135233"/>
                <a:gd name="connsiteY5938" fmla="*/ 1154340 h 2493266"/>
                <a:gd name="connsiteX5939" fmla="*/ 2451936 w 3135233"/>
                <a:gd name="connsiteY5939" fmla="*/ 1152712 h 2493266"/>
                <a:gd name="connsiteX5940" fmla="*/ 2458153 w 3135233"/>
                <a:gd name="connsiteY5940" fmla="*/ 1154340 h 2493266"/>
                <a:gd name="connsiteX5941" fmla="*/ 2460225 w 3135233"/>
                <a:gd name="connsiteY5941" fmla="*/ 1155968 h 2493266"/>
                <a:gd name="connsiteX5942" fmla="*/ 2468613 w 3135233"/>
                <a:gd name="connsiteY5942" fmla="*/ 1151034 h 2493266"/>
                <a:gd name="connsiteX5943" fmla="*/ 2472758 w 3135233"/>
                <a:gd name="connsiteY5943" fmla="*/ 1144571 h 2493266"/>
                <a:gd name="connsiteX5944" fmla="*/ 2479024 w 3135233"/>
                <a:gd name="connsiteY5944" fmla="*/ 1142942 h 2493266"/>
                <a:gd name="connsiteX5945" fmla="*/ 2483169 w 3135233"/>
                <a:gd name="connsiteY5945" fmla="*/ 1144571 h 2493266"/>
                <a:gd name="connsiteX5946" fmla="*/ 2489435 w 3135233"/>
                <a:gd name="connsiteY5946" fmla="*/ 1146199 h 2493266"/>
                <a:gd name="connsiteX5947" fmla="*/ 2493579 w 3135233"/>
                <a:gd name="connsiteY5947" fmla="*/ 1141265 h 2493266"/>
                <a:gd name="connsiteX5948" fmla="*/ 2501918 w 3135233"/>
                <a:gd name="connsiteY5948" fmla="*/ 1138058 h 2493266"/>
                <a:gd name="connsiteX5949" fmla="*/ 2503990 w 3135233"/>
                <a:gd name="connsiteY5949" fmla="*/ 1136429 h 2493266"/>
                <a:gd name="connsiteX5950" fmla="*/ 2503990 w 3135233"/>
                <a:gd name="connsiteY5950" fmla="*/ 1133222 h 2493266"/>
                <a:gd name="connsiteX5951" fmla="*/ 2501918 w 3135233"/>
                <a:gd name="connsiteY5951" fmla="*/ 1131594 h 2493266"/>
                <a:gd name="connsiteX5952" fmla="*/ 2506063 w 3135233"/>
                <a:gd name="connsiteY5952" fmla="*/ 1126660 h 2493266"/>
                <a:gd name="connsiteX5953" fmla="*/ 2506063 w 3135233"/>
                <a:gd name="connsiteY5953" fmla="*/ 1123453 h 2493266"/>
                <a:gd name="connsiteX5954" fmla="*/ 2510256 w 3135233"/>
                <a:gd name="connsiteY5954" fmla="*/ 1121825 h 2493266"/>
                <a:gd name="connsiteX5955" fmla="*/ 2512329 w 3135233"/>
                <a:gd name="connsiteY5955" fmla="*/ 1123453 h 2493266"/>
                <a:gd name="connsiteX5956" fmla="*/ 2514401 w 3135233"/>
                <a:gd name="connsiteY5956" fmla="*/ 1121825 h 2493266"/>
                <a:gd name="connsiteX5957" fmla="*/ 2516473 w 3135233"/>
                <a:gd name="connsiteY5957" fmla="*/ 1128288 h 2493266"/>
                <a:gd name="connsiteX5958" fmla="*/ 2522740 w 3135233"/>
                <a:gd name="connsiteY5958" fmla="*/ 1141166 h 2493266"/>
                <a:gd name="connsiteX5959" fmla="*/ 2524861 w 3135233"/>
                <a:gd name="connsiteY5959" fmla="*/ 1149258 h 2493266"/>
                <a:gd name="connsiteX5960" fmla="*/ 2528957 w 3135233"/>
                <a:gd name="connsiteY5960" fmla="*/ 1152465 h 2493266"/>
                <a:gd name="connsiteX5961" fmla="*/ 2526884 w 3135233"/>
                <a:gd name="connsiteY5961" fmla="*/ 1157399 h 2493266"/>
                <a:gd name="connsiteX5962" fmla="*/ 2524861 w 3135233"/>
                <a:gd name="connsiteY5962" fmla="*/ 1162333 h 2493266"/>
                <a:gd name="connsiteX5963" fmla="*/ 2516473 w 3135233"/>
                <a:gd name="connsiteY5963" fmla="*/ 1162333 h 2493266"/>
                <a:gd name="connsiteX5964" fmla="*/ 2512329 w 3135233"/>
                <a:gd name="connsiteY5964" fmla="*/ 1159077 h 2493266"/>
                <a:gd name="connsiteX5965" fmla="*/ 2501918 w 3135233"/>
                <a:gd name="connsiteY5965" fmla="*/ 1157448 h 2493266"/>
                <a:gd name="connsiteX5966" fmla="*/ 2497724 w 3135233"/>
                <a:gd name="connsiteY5966" fmla="*/ 1160705 h 2493266"/>
                <a:gd name="connsiteX5967" fmla="*/ 2491507 w 3135233"/>
                <a:gd name="connsiteY5967" fmla="*/ 1163912 h 2493266"/>
                <a:gd name="connsiteX5968" fmla="*/ 2487313 w 3135233"/>
                <a:gd name="connsiteY5968" fmla="*/ 1163912 h 2493266"/>
                <a:gd name="connsiteX5969" fmla="*/ 2485241 w 3135233"/>
                <a:gd name="connsiteY5969" fmla="*/ 1162333 h 2493266"/>
                <a:gd name="connsiteX5970" fmla="*/ 2479024 w 3135233"/>
                <a:gd name="connsiteY5970" fmla="*/ 1162333 h 2493266"/>
                <a:gd name="connsiteX5971" fmla="*/ 2474830 w 3135233"/>
                <a:gd name="connsiteY5971" fmla="*/ 1165540 h 2493266"/>
                <a:gd name="connsiteX5972" fmla="*/ 2464419 w 3135233"/>
                <a:gd name="connsiteY5972" fmla="*/ 1167168 h 2493266"/>
                <a:gd name="connsiteX5973" fmla="*/ 2468613 w 3135233"/>
                <a:gd name="connsiteY5973" fmla="*/ 1168747 h 2493266"/>
                <a:gd name="connsiteX5974" fmla="*/ 2481047 w 3135233"/>
                <a:gd name="connsiteY5974" fmla="*/ 1167168 h 2493266"/>
                <a:gd name="connsiteX5975" fmla="*/ 2487313 w 3135233"/>
                <a:gd name="connsiteY5975" fmla="*/ 1168747 h 2493266"/>
                <a:gd name="connsiteX5976" fmla="*/ 2497724 w 3135233"/>
                <a:gd name="connsiteY5976" fmla="*/ 1176839 h 2493266"/>
                <a:gd name="connsiteX5977" fmla="*/ 2501918 w 3135233"/>
                <a:gd name="connsiteY5977" fmla="*/ 1180046 h 2493266"/>
                <a:gd name="connsiteX5978" fmla="*/ 2506063 w 3135233"/>
                <a:gd name="connsiteY5978" fmla="*/ 1178467 h 2493266"/>
                <a:gd name="connsiteX5979" fmla="*/ 2510256 w 3135233"/>
                <a:gd name="connsiteY5979" fmla="*/ 1176839 h 2493266"/>
                <a:gd name="connsiteX5980" fmla="*/ 2514401 w 3135233"/>
                <a:gd name="connsiteY5980" fmla="*/ 1178467 h 2493266"/>
                <a:gd name="connsiteX5981" fmla="*/ 2518545 w 3135233"/>
                <a:gd name="connsiteY5981" fmla="*/ 1181674 h 2493266"/>
                <a:gd name="connsiteX5982" fmla="*/ 2526884 w 3135233"/>
                <a:gd name="connsiteY5982" fmla="*/ 1184882 h 2493266"/>
                <a:gd name="connsiteX5983" fmla="*/ 2526884 w 3135233"/>
                <a:gd name="connsiteY5983" fmla="*/ 1188138 h 2493266"/>
                <a:gd name="connsiteX5984" fmla="*/ 2531078 w 3135233"/>
                <a:gd name="connsiteY5984" fmla="*/ 1193072 h 2493266"/>
                <a:gd name="connsiteX5985" fmla="*/ 2531078 w 3135233"/>
                <a:gd name="connsiteY5985" fmla="*/ 1198944 h 2493266"/>
                <a:gd name="connsiteX5986" fmla="*/ 2528957 w 3135233"/>
                <a:gd name="connsiteY5986" fmla="*/ 1202151 h 2493266"/>
                <a:gd name="connsiteX5987" fmla="*/ 2522740 w 3135233"/>
                <a:gd name="connsiteY5987" fmla="*/ 1202151 h 2493266"/>
                <a:gd name="connsiteX5988" fmla="*/ 2520667 w 3135233"/>
                <a:gd name="connsiteY5988" fmla="*/ 1197217 h 2493266"/>
                <a:gd name="connsiteX5989" fmla="*/ 2516473 w 3135233"/>
                <a:gd name="connsiteY5989" fmla="*/ 1197217 h 2493266"/>
                <a:gd name="connsiteX5990" fmla="*/ 2514401 w 3135233"/>
                <a:gd name="connsiteY5990" fmla="*/ 1200424 h 2493266"/>
                <a:gd name="connsiteX5991" fmla="*/ 2510256 w 3135233"/>
                <a:gd name="connsiteY5991" fmla="*/ 1198845 h 2493266"/>
                <a:gd name="connsiteX5992" fmla="*/ 2508135 w 3135233"/>
                <a:gd name="connsiteY5992" fmla="*/ 1195588 h 2493266"/>
                <a:gd name="connsiteX5993" fmla="*/ 2503990 w 3135233"/>
                <a:gd name="connsiteY5993" fmla="*/ 1197217 h 2493266"/>
                <a:gd name="connsiteX5994" fmla="*/ 2499846 w 3135233"/>
                <a:gd name="connsiteY5994" fmla="*/ 1195588 h 2493266"/>
                <a:gd name="connsiteX5995" fmla="*/ 2491507 w 3135233"/>
                <a:gd name="connsiteY5995" fmla="*/ 1187546 h 2493266"/>
                <a:gd name="connsiteX5996" fmla="*/ 2482922 w 3135233"/>
                <a:gd name="connsiteY5996" fmla="*/ 1187546 h 2493266"/>
                <a:gd name="connsiteX5997" fmla="*/ 2478777 w 3135233"/>
                <a:gd name="connsiteY5997" fmla="*/ 1189174 h 2493266"/>
                <a:gd name="connsiteX5998" fmla="*/ 2472511 w 3135233"/>
                <a:gd name="connsiteY5998" fmla="*/ 1185918 h 2493266"/>
                <a:gd name="connsiteX5999" fmla="*/ 2474583 w 3135233"/>
                <a:gd name="connsiteY5999" fmla="*/ 1189174 h 2493266"/>
                <a:gd name="connsiteX6000" fmla="*/ 2480800 w 3135233"/>
                <a:gd name="connsiteY6000" fmla="*/ 1190753 h 2493266"/>
                <a:gd name="connsiteX6001" fmla="*/ 2487067 w 3135233"/>
                <a:gd name="connsiteY6001" fmla="*/ 1192381 h 2493266"/>
                <a:gd name="connsiteX6002" fmla="*/ 2484994 w 3135233"/>
                <a:gd name="connsiteY6002" fmla="*/ 1194010 h 2493266"/>
                <a:gd name="connsiteX6003" fmla="*/ 2476656 w 3135233"/>
                <a:gd name="connsiteY6003" fmla="*/ 1195588 h 2493266"/>
                <a:gd name="connsiteX6004" fmla="*/ 2472511 w 3135233"/>
                <a:gd name="connsiteY6004" fmla="*/ 1197217 h 2493266"/>
                <a:gd name="connsiteX6005" fmla="*/ 2466245 w 3135233"/>
                <a:gd name="connsiteY6005" fmla="*/ 1197217 h 2493266"/>
                <a:gd name="connsiteX6006" fmla="*/ 2459979 w 3135233"/>
                <a:gd name="connsiteY6006" fmla="*/ 1198845 h 2493266"/>
                <a:gd name="connsiteX6007" fmla="*/ 2459979 w 3135233"/>
                <a:gd name="connsiteY6007" fmla="*/ 1203779 h 2493266"/>
                <a:gd name="connsiteX6008" fmla="*/ 2464173 w 3135233"/>
                <a:gd name="connsiteY6008" fmla="*/ 1203779 h 2493266"/>
                <a:gd name="connsiteX6009" fmla="*/ 2466245 w 3135233"/>
                <a:gd name="connsiteY6009" fmla="*/ 1200523 h 2493266"/>
                <a:gd name="connsiteX6010" fmla="*/ 2474583 w 3135233"/>
                <a:gd name="connsiteY6010" fmla="*/ 1200523 h 2493266"/>
                <a:gd name="connsiteX6011" fmla="*/ 2480800 w 3135233"/>
                <a:gd name="connsiteY6011" fmla="*/ 1197315 h 2493266"/>
                <a:gd name="connsiteX6012" fmla="*/ 2484994 w 3135233"/>
                <a:gd name="connsiteY6012" fmla="*/ 1197315 h 2493266"/>
                <a:gd name="connsiteX6013" fmla="*/ 2489188 w 3135233"/>
                <a:gd name="connsiteY6013" fmla="*/ 1202249 h 2493266"/>
                <a:gd name="connsiteX6014" fmla="*/ 2489188 w 3135233"/>
                <a:gd name="connsiteY6014" fmla="*/ 1203878 h 2493266"/>
                <a:gd name="connsiteX6015" fmla="*/ 2493333 w 3135233"/>
                <a:gd name="connsiteY6015" fmla="*/ 1205506 h 2493266"/>
                <a:gd name="connsiteX6016" fmla="*/ 2493333 w 3135233"/>
                <a:gd name="connsiteY6016" fmla="*/ 1208812 h 2493266"/>
                <a:gd name="connsiteX6017" fmla="*/ 2484994 w 3135233"/>
                <a:gd name="connsiteY6017" fmla="*/ 1208812 h 2493266"/>
                <a:gd name="connsiteX6018" fmla="*/ 2482922 w 3135233"/>
                <a:gd name="connsiteY6018" fmla="*/ 1210440 h 2493266"/>
                <a:gd name="connsiteX6019" fmla="*/ 2478777 w 3135233"/>
                <a:gd name="connsiteY6019" fmla="*/ 1208812 h 2493266"/>
                <a:gd name="connsiteX6020" fmla="*/ 2478777 w 3135233"/>
                <a:gd name="connsiteY6020" fmla="*/ 1207183 h 2493266"/>
                <a:gd name="connsiteX6021" fmla="*/ 2474583 w 3135233"/>
                <a:gd name="connsiteY6021" fmla="*/ 1207183 h 2493266"/>
                <a:gd name="connsiteX6022" fmla="*/ 2472511 w 3135233"/>
                <a:gd name="connsiteY6022" fmla="*/ 1208812 h 2493266"/>
                <a:gd name="connsiteX6023" fmla="*/ 2476656 w 3135233"/>
                <a:gd name="connsiteY6023" fmla="*/ 1212019 h 2493266"/>
                <a:gd name="connsiteX6024" fmla="*/ 2482922 w 3135233"/>
                <a:gd name="connsiteY6024" fmla="*/ 1213746 h 2493266"/>
                <a:gd name="connsiteX6025" fmla="*/ 2484994 w 3135233"/>
                <a:gd name="connsiteY6025" fmla="*/ 1215374 h 2493266"/>
                <a:gd name="connsiteX6026" fmla="*/ 2484994 w 3135233"/>
                <a:gd name="connsiteY6026" fmla="*/ 1220308 h 2493266"/>
                <a:gd name="connsiteX6027" fmla="*/ 2487067 w 3135233"/>
                <a:gd name="connsiteY6027" fmla="*/ 1221936 h 2493266"/>
                <a:gd name="connsiteX6028" fmla="*/ 2482922 w 3135233"/>
                <a:gd name="connsiteY6028" fmla="*/ 1223515 h 2493266"/>
                <a:gd name="connsiteX6029" fmla="*/ 2470390 w 3135233"/>
                <a:gd name="connsiteY6029" fmla="*/ 1220308 h 2493266"/>
                <a:gd name="connsiteX6030" fmla="*/ 2462100 w 3135233"/>
                <a:gd name="connsiteY6030" fmla="*/ 1220308 h 2493266"/>
                <a:gd name="connsiteX6031" fmla="*/ 2447298 w 3135233"/>
                <a:gd name="connsiteY6031" fmla="*/ 1215374 h 2493266"/>
                <a:gd name="connsiteX6032" fmla="*/ 2443450 w 3135233"/>
                <a:gd name="connsiteY6032" fmla="*/ 1215374 h 2493266"/>
                <a:gd name="connsiteX6033" fmla="*/ 2443450 w 3135233"/>
                <a:gd name="connsiteY6033" fmla="*/ 1218581 h 2493266"/>
                <a:gd name="connsiteX6034" fmla="*/ 2451788 w 3135233"/>
                <a:gd name="connsiteY6034" fmla="*/ 1220209 h 2493266"/>
                <a:gd name="connsiteX6035" fmla="*/ 2470488 w 3135233"/>
                <a:gd name="connsiteY6035" fmla="*/ 1228252 h 2493266"/>
                <a:gd name="connsiteX6036" fmla="*/ 2472610 w 3135233"/>
                <a:gd name="connsiteY6036" fmla="*/ 1229880 h 2493266"/>
                <a:gd name="connsiteX6037" fmla="*/ 2468465 w 3135233"/>
                <a:gd name="connsiteY6037" fmla="*/ 1231508 h 2493266"/>
                <a:gd name="connsiteX6038" fmla="*/ 2458005 w 3135233"/>
                <a:gd name="connsiteY6038" fmla="*/ 1226574 h 2493266"/>
                <a:gd name="connsiteX6039" fmla="*/ 2455933 w 3135233"/>
                <a:gd name="connsiteY6039" fmla="*/ 1226574 h 2493266"/>
                <a:gd name="connsiteX6040" fmla="*/ 2449667 w 3135233"/>
                <a:gd name="connsiteY6040" fmla="*/ 1231508 h 2493266"/>
                <a:gd name="connsiteX6041" fmla="*/ 2455933 w 3135233"/>
                <a:gd name="connsiteY6041" fmla="*/ 1231508 h 2493266"/>
                <a:gd name="connsiteX6042" fmla="*/ 2458005 w 3135233"/>
                <a:gd name="connsiteY6042" fmla="*/ 1233087 h 2493266"/>
                <a:gd name="connsiteX6043" fmla="*/ 2462199 w 3135233"/>
                <a:gd name="connsiteY6043" fmla="*/ 1234715 h 2493266"/>
                <a:gd name="connsiteX6044" fmla="*/ 2464271 w 3135233"/>
                <a:gd name="connsiteY6044" fmla="*/ 1234715 h 2493266"/>
                <a:gd name="connsiteX6045" fmla="*/ 2468465 w 3135233"/>
                <a:gd name="connsiteY6045" fmla="*/ 1236344 h 2493266"/>
                <a:gd name="connsiteX6046" fmla="*/ 2468465 w 3135233"/>
                <a:gd name="connsiteY6046" fmla="*/ 1239551 h 2493266"/>
                <a:gd name="connsiteX6047" fmla="*/ 2470488 w 3135233"/>
                <a:gd name="connsiteY6047" fmla="*/ 1242807 h 2493266"/>
                <a:gd name="connsiteX6048" fmla="*/ 2472610 w 3135233"/>
                <a:gd name="connsiteY6048" fmla="*/ 1241179 h 2493266"/>
                <a:gd name="connsiteX6049" fmla="*/ 2474682 w 3135233"/>
                <a:gd name="connsiteY6049" fmla="*/ 1237922 h 2493266"/>
                <a:gd name="connsiteX6050" fmla="*/ 2478876 w 3135233"/>
                <a:gd name="connsiteY6050" fmla="*/ 1237922 h 2493266"/>
                <a:gd name="connsiteX6051" fmla="*/ 2478876 w 3135233"/>
                <a:gd name="connsiteY6051" fmla="*/ 1241179 h 2493266"/>
                <a:gd name="connsiteX6052" fmla="*/ 2476754 w 3135233"/>
                <a:gd name="connsiteY6052" fmla="*/ 1244386 h 2493266"/>
                <a:gd name="connsiteX6053" fmla="*/ 2476754 w 3135233"/>
                <a:gd name="connsiteY6053" fmla="*/ 1246014 h 2493266"/>
                <a:gd name="connsiteX6054" fmla="*/ 2480899 w 3135233"/>
                <a:gd name="connsiteY6054" fmla="*/ 1246014 h 2493266"/>
                <a:gd name="connsiteX6055" fmla="*/ 2480899 w 3135233"/>
                <a:gd name="connsiteY6055" fmla="*/ 1241080 h 2493266"/>
                <a:gd name="connsiteX6056" fmla="*/ 2485093 w 3135233"/>
                <a:gd name="connsiteY6056" fmla="*/ 1241080 h 2493266"/>
                <a:gd name="connsiteX6057" fmla="*/ 2493431 w 3135233"/>
                <a:gd name="connsiteY6057" fmla="*/ 1242708 h 2493266"/>
                <a:gd name="connsiteX6058" fmla="*/ 2499698 w 3135233"/>
                <a:gd name="connsiteY6058" fmla="*/ 1245916 h 2493266"/>
                <a:gd name="connsiteX6059" fmla="*/ 2505914 w 3135233"/>
                <a:gd name="connsiteY6059" fmla="*/ 1244287 h 2493266"/>
                <a:gd name="connsiteX6060" fmla="*/ 2501770 w 3135233"/>
                <a:gd name="connsiteY6060" fmla="*/ 1249221 h 2493266"/>
                <a:gd name="connsiteX6061" fmla="*/ 2501770 w 3135233"/>
                <a:gd name="connsiteY6061" fmla="*/ 1252429 h 2493266"/>
                <a:gd name="connsiteX6062" fmla="*/ 2495504 w 3135233"/>
                <a:gd name="connsiteY6062" fmla="*/ 1250800 h 2493266"/>
                <a:gd name="connsiteX6063" fmla="*/ 2491359 w 3135233"/>
                <a:gd name="connsiteY6063" fmla="*/ 1249221 h 2493266"/>
                <a:gd name="connsiteX6064" fmla="*/ 2482922 w 3135233"/>
                <a:gd name="connsiteY6064" fmla="*/ 1249221 h 2493266"/>
                <a:gd name="connsiteX6065" fmla="*/ 2472511 w 3135233"/>
                <a:gd name="connsiteY6065" fmla="*/ 1254155 h 2493266"/>
                <a:gd name="connsiteX6066" fmla="*/ 2472511 w 3135233"/>
                <a:gd name="connsiteY6066" fmla="*/ 1259089 h 2493266"/>
                <a:gd name="connsiteX6067" fmla="*/ 2476656 w 3135233"/>
                <a:gd name="connsiteY6067" fmla="*/ 1254155 h 2493266"/>
                <a:gd name="connsiteX6068" fmla="*/ 2484994 w 3135233"/>
                <a:gd name="connsiteY6068" fmla="*/ 1254155 h 2493266"/>
                <a:gd name="connsiteX6069" fmla="*/ 2491260 w 3135233"/>
                <a:gd name="connsiteY6069" fmla="*/ 1255734 h 2493266"/>
                <a:gd name="connsiteX6070" fmla="*/ 2484994 w 3135233"/>
                <a:gd name="connsiteY6070" fmla="*/ 1257363 h 2493266"/>
                <a:gd name="connsiteX6071" fmla="*/ 2482922 w 3135233"/>
                <a:gd name="connsiteY6071" fmla="*/ 1260619 h 2493266"/>
                <a:gd name="connsiteX6072" fmla="*/ 2489188 w 3135233"/>
                <a:gd name="connsiteY6072" fmla="*/ 1258991 h 2493266"/>
                <a:gd name="connsiteX6073" fmla="*/ 2497724 w 3135233"/>
                <a:gd name="connsiteY6073" fmla="*/ 1258991 h 2493266"/>
                <a:gd name="connsiteX6074" fmla="*/ 2499846 w 3135233"/>
                <a:gd name="connsiteY6074" fmla="*/ 1262198 h 2493266"/>
                <a:gd name="connsiteX6075" fmla="*/ 2497724 w 3135233"/>
                <a:gd name="connsiteY6075" fmla="*/ 1263826 h 2493266"/>
                <a:gd name="connsiteX6076" fmla="*/ 2503990 w 3135233"/>
                <a:gd name="connsiteY6076" fmla="*/ 1265405 h 2493266"/>
                <a:gd name="connsiteX6077" fmla="*/ 2508135 w 3135233"/>
                <a:gd name="connsiteY6077" fmla="*/ 1268662 h 2493266"/>
                <a:gd name="connsiteX6078" fmla="*/ 2506063 w 3135233"/>
                <a:gd name="connsiteY6078" fmla="*/ 1273596 h 2493266"/>
                <a:gd name="connsiteX6079" fmla="*/ 2501918 w 3135233"/>
                <a:gd name="connsiteY6079" fmla="*/ 1280059 h 2493266"/>
                <a:gd name="connsiteX6080" fmla="*/ 2501918 w 3135233"/>
                <a:gd name="connsiteY6080" fmla="*/ 1282822 h 2493266"/>
                <a:gd name="connsiteX6081" fmla="*/ 2503990 w 3135233"/>
                <a:gd name="connsiteY6081" fmla="*/ 1281243 h 2493266"/>
                <a:gd name="connsiteX6082" fmla="*/ 2506063 w 3135233"/>
                <a:gd name="connsiteY6082" fmla="*/ 1276309 h 2493266"/>
                <a:gd name="connsiteX6083" fmla="*/ 2510256 w 3135233"/>
                <a:gd name="connsiteY6083" fmla="*/ 1273053 h 2493266"/>
                <a:gd name="connsiteX6084" fmla="*/ 2514401 w 3135233"/>
                <a:gd name="connsiteY6084" fmla="*/ 1273053 h 2493266"/>
                <a:gd name="connsiteX6085" fmla="*/ 2516473 w 3135233"/>
                <a:gd name="connsiteY6085" fmla="*/ 1276309 h 2493266"/>
                <a:gd name="connsiteX6086" fmla="*/ 2514401 w 3135233"/>
                <a:gd name="connsiteY6086" fmla="*/ 1281243 h 2493266"/>
                <a:gd name="connsiteX6087" fmla="*/ 2506063 w 3135233"/>
                <a:gd name="connsiteY6087" fmla="*/ 1291111 h 2493266"/>
                <a:gd name="connsiteX6088" fmla="*/ 2503990 w 3135233"/>
                <a:gd name="connsiteY6088" fmla="*/ 1296045 h 2493266"/>
                <a:gd name="connsiteX6089" fmla="*/ 2503990 w 3135233"/>
                <a:gd name="connsiteY6089" fmla="*/ 1300979 h 2493266"/>
                <a:gd name="connsiteX6090" fmla="*/ 2508135 w 3135233"/>
                <a:gd name="connsiteY6090" fmla="*/ 1299351 h 2493266"/>
                <a:gd name="connsiteX6091" fmla="*/ 2512329 w 3135233"/>
                <a:gd name="connsiteY6091" fmla="*/ 1291309 h 2493266"/>
                <a:gd name="connsiteX6092" fmla="*/ 2512329 w 3135233"/>
                <a:gd name="connsiteY6092" fmla="*/ 1287756 h 2493266"/>
                <a:gd name="connsiteX6093" fmla="*/ 2516473 w 3135233"/>
                <a:gd name="connsiteY6093" fmla="*/ 1282822 h 2493266"/>
                <a:gd name="connsiteX6094" fmla="*/ 2522740 w 3135233"/>
                <a:gd name="connsiteY6094" fmla="*/ 1281243 h 2493266"/>
                <a:gd name="connsiteX6095" fmla="*/ 2522740 w 3135233"/>
                <a:gd name="connsiteY6095" fmla="*/ 1279615 h 2493266"/>
                <a:gd name="connsiteX6096" fmla="*/ 2524861 w 3135233"/>
                <a:gd name="connsiteY6096" fmla="*/ 1274681 h 2493266"/>
                <a:gd name="connsiteX6097" fmla="*/ 2528957 w 3135233"/>
                <a:gd name="connsiteY6097" fmla="*/ 1271425 h 2493266"/>
                <a:gd name="connsiteX6098" fmla="*/ 2531078 w 3135233"/>
                <a:gd name="connsiteY6098" fmla="*/ 1273053 h 2493266"/>
                <a:gd name="connsiteX6099" fmla="*/ 2528957 w 3135233"/>
                <a:gd name="connsiteY6099" fmla="*/ 1277987 h 2493266"/>
                <a:gd name="connsiteX6100" fmla="*/ 2522740 w 3135233"/>
                <a:gd name="connsiteY6100" fmla="*/ 1284450 h 2493266"/>
                <a:gd name="connsiteX6101" fmla="*/ 2520667 w 3135233"/>
                <a:gd name="connsiteY6101" fmla="*/ 1289384 h 2493266"/>
                <a:gd name="connsiteX6102" fmla="*/ 2518545 w 3135233"/>
                <a:gd name="connsiteY6102" fmla="*/ 1295848 h 2493266"/>
                <a:gd name="connsiteX6103" fmla="*/ 2520667 w 3135233"/>
                <a:gd name="connsiteY6103" fmla="*/ 1300782 h 2493266"/>
                <a:gd name="connsiteX6104" fmla="*/ 2522740 w 3135233"/>
                <a:gd name="connsiteY6104" fmla="*/ 1299154 h 2493266"/>
                <a:gd name="connsiteX6105" fmla="*/ 2522740 w 3135233"/>
                <a:gd name="connsiteY6105" fmla="*/ 1289286 h 2493266"/>
                <a:gd name="connsiteX6106" fmla="*/ 2528957 w 3135233"/>
                <a:gd name="connsiteY6106" fmla="*/ 1286029 h 2493266"/>
                <a:gd name="connsiteX6107" fmla="*/ 2531078 w 3135233"/>
                <a:gd name="connsiteY6107" fmla="*/ 1281095 h 2493266"/>
                <a:gd name="connsiteX6108" fmla="*/ 2539417 w 3135233"/>
                <a:gd name="connsiteY6108" fmla="*/ 1276161 h 2493266"/>
                <a:gd name="connsiteX6109" fmla="*/ 2545683 w 3135233"/>
                <a:gd name="connsiteY6109" fmla="*/ 1271227 h 2493266"/>
                <a:gd name="connsiteX6110" fmla="*/ 2547706 w 3135233"/>
                <a:gd name="connsiteY6110" fmla="*/ 1274484 h 2493266"/>
                <a:gd name="connsiteX6111" fmla="*/ 2547706 w 3135233"/>
                <a:gd name="connsiteY6111" fmla="*/ 1280947 h 2493266"/>
                <a:gd name="connsiteX6112" fmla="*/ 2543561 w 3135233"/>
                <a:gd name="connsiteY6112" fmla="*/ 1284154 h 2493266"/>
                <a:gd name="connsiteX6113" fmla="*/ 2535272 w 3135233"/>
                <a:gd name="connsiteY6113" fmla="*/ 1285733 h 2493266"/>
                <a:gd name="connsiteX6114" fmla="*/ 2535272 w 3135233"/>
                <a:gd name="connsiteY6114" fmla="*/ 1290667 h 2493266"/>
                <a:gd name="connsiteX6115" fmla="*/ 2533150 w 3135233"/>
                <a:gd name="connsiteY6115" fmla="*/ 1295601 h 2493266"/>
                <a:gd name="connsiteX6116" fmla="*/ 2535272 w 3135233"/>
                <a:gd name="connsiteY6116" fmla="*/ 1297230 h 2493266"/>
                <a:gd name="connsiteX6117" fmla="*/ 2537295 w 3135233"/>
                <a:gd name="connsiteY6117" fmla="*/ 1293973 h 2493266"/>
                <a:gd name="connsiteX6118" fmla="*/ 2539417 w 3135233"/>
                <a:gd name="connsiteY6118" fmla="*/ 1297230 h 2493266"/>
                <a:gd name="connsiteX6119" fmla="*/ 2543561 w 3135233"/>
                <a:gd name="connsiteY6119" fmla="*/ 1293973 h 2493266"/>
                <a:gd name="connsiteX6120" fmla="*/ 2551998 w 3135233"/>
                <a:gd name="connsiteY6120" fmla="*/ 1292690 h 2493266"/>
                <a:gd name="connsiteX6121" fmla="*/ 2554071 w 3135233"/>
                <a:gd name="connsiteY6121" fmla="*/ 1295947 h 2493266"/>
                <a:gd name="connsiteX6122" fmla="*/ 2556192 w 3135233"/>
                <a:gd name="connsiteY6122" fmla="*/ 1302410 h 2493266"/>
                <a:gd name="connsiteX6123" fmla="*/ 2556192 w 3135233"/>
                <a:gd name="connsiteY6123" fmla="*/ 1305617 h 2493266"/>
                <a:gd name="connsiteX6124" fmla="*/ 2549926 w 3135233"/>
                <a:gd name="connsiteY6124" fmla="*/ 1308874 h 2493266"/>
                <a:gd name="connsiteX6125" fmla="*/ 2549926 w 3135233"/>
                <a:gd name="connsiteY6125" fmla="*/ 1310453 h 2493266"/>
                <a:gd name="connsiteX6126" fmla="*/ 2554071 w 3135233"/>
                <a:gd name="connsiteY6126" fmla="*/ 1310453 h 2493266"/>
                <a:gd name="connsiteX6127" fmla="*/ 2558265 w 3135233"/>
                <a:gd name="connsiteY6127" fmla="*/ 1315387 h 2493266"/>
                <a:gd name="connsiteX6128" fmla="*/ 2551998 w 3135233"/>
                <a:gd name="connsiteY6128" fmla="*/ 1316966 h 2493266"/>
                <a:gd name="connsiteX6129" fmla="*/ 2547805 w 3135233"/>
                <a:gd name="connsiteY6129" fmla="*/ 1316966 h 2493266"/>
                <a:gd name="connsiteX6130" fmla="*/ 2551998 w 3135233"/>
                <a:gd name="connsiteY6130" fmla="*/ 1318594 h 2493266"/>
                <a:gd name="connsiteX6131" fmla="*/ 2558265 w 3135233"/>
                <a:gd name="connsiteY6131" fmla="*/ 1321801 h 2493266"/>
                <a:gd name="connsiteX6132" fmla="*/ 2543463 w 3135233"/>
                <a:gd name="connsiteY6132" fmla="*/ 1323429 h 2493266"/>
                <a:gd name="connsiteX6133" fmla="*/ 2537196 w 3135233"/>
                <a:gd name="connsiteY6133" fmla="*/ 1323429 h 2493266"/>
                <a:gd name="connsiteX6134" fmla="*/ 2541390 w 3135233"/>
                <a:gd name="connsiteY6134" fmla="*/ 1326636 h 2493266"/>
                <a:gd name="connsiteX6135" fmla="*/ 2547607 w 3135233"/>
                <a:gd name="connsiteY6135" fmla="*/ 1326636 h 2493266"/>
                <a:gd name="connsiteX6136" fmla="*/ 2558067 w 3135233"/>
                <a:gd name="connsiteY6136" fmla="*/ 1328265 h 2493266"/>
                <a:gd name="connsiteX6137" fmla="*/ 2560140 w 3135233"/>
                <a:gd name="connsiteY6137" fmla="*/ 1325058 h 2493266"/>
                <a:gd name="connsiteX6138" fmla="*/ 2566406 w 3135233"/>
                <a:gd name="connsiteY6138" fmla="*/ 1323429 h 2493266"/>
                <a:gd name="connsiteX6139" fmla="*/ 2568478 w 3135233"/>
                <a:gd name="connsiteY6139" fmla="*/ 1325058 h 2493266"/>
                <a:gd name="connsiteX6140" fmla="*/ 2562212 w 3135233"/>
                <a:gd name="connsiteY6140" fmla="*/ 1329992 h 2493266"/>
                <a:gd name="connsiteX6141" fmla="*/ 2560140 w 3135233"/>
                <a:gd name="connsiteY6141" fmla="*/ 1336455 h 2493266"/>
                <a:gd name="connsiteX6142" fmla="*/ 2566406 w 3135233"/>
                <a:gd name="connsiteY6142" fmla="*/ 1331521 h 2493266"/>
                <a:gd name="connsiteX6143" fmla="*/ 2572623 w 3135233"/>
                <a:gd name="connsiteY6143" fmla="*/ 1329942 h 2493266"/>
                <a:gd name="connsiteX6144" fmla="*/ 2576817 w 3135233"/>
                <a:gd name="connsiteY6144" fmla="*/ 1325008 h 2493266"/>
                <a:gd name="connsiteX6145" fmla="*/ 2583033 w 3135233"/>
                <a:gd name="connsiteY6145" fmla="*/ 1321752 h 2493266"/>
                <a:gd name="connsiteX6146" fmla="*/ 2587227 w 3135233"/>
                <a:gd name="connsiteY6146" fmla="*/ 1323380 h 2493266"/>
                <a:gd name="connsiteX6147" fmla="*/ 2587227 w 3135233"/>
                <a:gd name="connsiteY6147" fmla="*/ 1325008 h 2493266"/>
                <a:gd name="connsiteX6148" fmla="*/ 2583033 w 3135233"/>
                <a:gd name="connsiteY6148" fmla="*/ 1329942 h 2493266"/>
                <a:gd name="connsiteX6149" fmla="*/ 2578889 w 3135233"/>
                <a:gd name="connsiteY6149" fmla="*/ 1329942 h 2493266"/>
                <a:gd name="connsiteX6150" fmla="*/ 2576817 w 3135233"/>
                <a:gd name="connsiteY6150" fmla="*/ 1334876 h 2493266"/>
                <a:gd name="connsiteX6151" fmla="*/ 2572623 w 3135233"/>
                <a:gd name="connsiteY6151" fmla="*/ 1341340 h 2493266"/>
                <a:gd name="connsiteX6152" fmla="*/ 2564284 w 3135233"/>
                <a:gd name="connsiteY6152" fmla="*/ 1343017 h 2493266"/>
                <a:gd name="connsiteX6153" fmla="*/ 2562212 w 3135233"/>
                <a:gd name="connsiteY6153" fmla="*/ 1349432 h 2493266"/>
                <a:gd name="connsiteX6154" fmla="*/ 2562212 w 3135233"/>
                <a:gd name="connsiteY6154" fmla="*/ 1352639 h 2493266"/>
                <a:gd name="connsiteX6155" fmla="*/ 2566406 w 3135233"/>
                <a:gd name="connsiteY6155" fmla="*/ 1352639 h 2493266"/>
                <a:gd name="connsiteX6156" fmla="*/ 2570550 w 3135233"/>
                <a:gd name="connsiteY6156" fmla="*/ 1349432 h 2493266"/>
                <a:gd name="connsiteX6157" fmla="*/ 2570550 w 3135233"/>
                <a:gd name="connsiteY6157" fmla="*/ 1346225 h 2493266"/>
                <a:gd name="connsiteX6158" fmla="*/ 2578889 w 3135233"/>
                <a:gd name="connsiteY6158" fmla="*/ 1338133 h 2493266"/>
                <a:gd name="connsiteX6159" fmla="*/ 2585106 w 3135233"/>
                <a:gd name="connsiteY6159" fmla="*/ 1336554 h 2493266"/>
                <a:gd name="connsiteX6160" fmla="*/ 2585106 w 3135233"/>
                <a:gd name="connsiteY6160" fmla="*/ 1341488 h 2493266"/>
                <a:gd name="connsiteX6161" fmla="*/ 2578889 w 3135233"/>
                <a:gd name="connsiteY6161" fmla="*/ 1347951 h 2493266"/>
                <a:gd name="connsiteX6162" fmla="*/ 2578889 w 3135233"/>
                <a:gd name="connsiteY6162" fmla="*/ 1354415 h 2493266"/>
                <a:gd name="connsiteX6163" fmla="*/ 2576817 w 3135233"/>
                <a:gd name="connsiteY6163" fmla="*/ 1357672 h 2493266"/>
                <a:gd name="connsiteX6164" fmla="*/ 2580961 w 3135233"/>
                <a:gd name="connsiteY6164" fmla="*/ 1356043 h 2493266"/>
                <a:gd name="connsiteX6165" fmla="*/ 2585106 w 3135233"/>
                <a:gd name="connsiteY6165" fmla="*/ 1347951 h 2493266"/>
                <a:gd name="connsiteX6166" fmla="*/ 2585106 w 3135233"/>
                <a:gd name="connsiteY6166" fmla="*/ 1344744 h 2493266"/>
                <a:gd name="connsiteX6167" fmla="*/ 2589300 w 3135233"/>
                <a:gd name="connsiteY6167" fmla="*/ 1343165 h 2493266"/>
                <a:gd name="connsiteX6168" fmla="*/ 2591372 w 3135233"/>
                <a:gd name="connsiteY6168" fmla="*/ 1344744 h 2493266"/>
                <a:gd name="connsiteX6169" fmla="*/ 2591372 w 3135233"/>
                <a:gd name="connsiteY6169" fmla="*/ 1352787 h 2493266"/>
                <a:gd name="connsiteX6170" fmla="*/ 2595517 w 3135233"/>
                <a:gd name="connsiteY6170" fmla="*/ 1356043 h 2493266"/>
                <a:gd name="connsiteX6171" fmla="*/ 2597638 w 3135233"/>
                <a:gd name="connsiteY6171" fmla="*/ 1356043 h 2493266"/>
                <a:gd name="connsiteX6172" fmla="*/ 2595517 w 3135233"/>
                <a:gd name="connsiteY6172" fmla="*/ 1349580 h 2493266"/>
                <a:gd name="connsiteX6173" fmla="*/ 2599710 w 3135233"/>
                <a:gd name="connsiteY6173" fmla="*/ 1344646 h 2493266"/>
                <a:gd name="connsiteX6174" fmla="*/ 2608049 w 3135233"/>
                <a:gd name="connsiteY6174" fmla="*/ 1341389 h 2493266"/>
                <a:gd name="connsiteX6175" fmla="*/ 2610121 w 3135233"/>
                <a:gd name="connsiteY6175" fmla="*/ 1343067 h 2493266"/>
                <a:gd name="connsiteX6176" fmla="*/ 2605927 w 3135233"/>
                <a:gd name="connsiteY6176" fmla="*/ 1346274 h 2493266"/>
                <a:gd name="connsiteX6177" fmla="*/ 2608049 w 3135233"/>
                <a:gd name="connsiteY6177" fmla="*/ 1347853 h 2493266"/>
                <a:gd name="connsiteX6178" fmla="*/ 2614315 w 3135233"/>
                <a:gd name="connsiteY6178" fmla="*/ 1347853 h 2493266"/>
                <a:gd name="connsiteX6179" fmla="*/ 2618460 w 3135233"/>
                <a:gd name="connsiteY6179" fmla="*/ 1351109 h 2493266"/>
                <a:gd name="connsiteX6180" fmla="*/ 2614315 w 3135233"/>
                <a:gd name="connsiteY6180" fmla="*/ 1357573 h 2493266"/>
                <a:gd name="connsiteX6181" fmla="*/ 2620532 w 3135233"/>
                <a:gd name="connsiteY6181" fmla="*/ 1355945 h 2493266"/>
                <a:gd name="connsiteX6182" fmla="*/ 2622604 w 3135233"/>
                <a:gd name="connsiteY6182" fmla="*/ 1359152 h 2493266"/>
                <a:gd name="connsiteX6183" fmla="*/ 2624726 w 3135233"/>
                <a:gd name="connsiteY6183" fmla="*/ 1364086 h 2493266"/>
                <a:gd name="connsiteX6184" fmla="*/ 2628871 w 3135233"/>
                <a:gd name="connsiteY6184" fmla="*/ 1367293 h 2493266"/>
                <a:gd name="connsiteX6185" fmla="*/ 2628871 w 3135233"/>
                <a:gd name="connsiteY6185" fmla="*/ 1370549 h 2493266"/>
                <a:gd name="connsiteX6186" fmla="*/ 2626749 w 3135233"/>
                <a:gd name="connsiteY6186" fmla="*/ 1372128 h 2493266"/>
                <a:gd name="connsiteX6187" fmla="*/ 2624726 w 3135233"/>
                <a:gd name="connsiteY6187" fmla="*/ 1373756 h 2493266"/>
                <a:gd name="connsiteX6188" fmla="*/ 2616141 w 3135233"/>
                <a:gd name="connsiteY6188" fmla="*/ 1373756 h 2493266"/>
                <a:gd name="connsiteX6189" fmla="*/ 2616141 w 3135233"/>
                <a:gd name="connsiteY6189" fmla="*/ 1370549 h 2493266"/>
                <a:gd name="connsiteX6190" fmla="*/ 2614118 w 3135233"/>
                <a:gd name="connsiteY6190" fmla="*/ 1365615 h 2493266"/>
                <a:gd name="connsiteX6191" fmla="*/ 2609924 w 3135233"/>
                <a:gd name="connsiteY6191" fmla="*/ 1365615 h 2493266"/>
                <a:gd name="connsiteX6192" fmla="*/ 2607852 w 3135233"/>
                <a:gd name="connsiteY6192" fmla="*/ 1362359 h 2493266"/>
                <a:gd name="connsiteX6193" fmla="*/ 2603658 w 3135233"/>
                <a:gd name="connsiteY6193" fmla="*/ 1365615 h 2493266"/>
                <a:gd name="connsiteX6194" fmla="*/ 2601585 w 3135233"/>
                <a:gd name="connsiteY6194" fmla="*/ 1370549 h 2493266"/>
                <a:gd name="connsiteX6195" fmla="*/ 2605730 w 3135233"/>
                <a:gd name="connsiteY6195" fmla="*/ 1367293 h 2493266"/>
                <a:gd name="connsiteX6196" fmla="*/ 2609924 w 3135233"/>
                <a:gd name="connsiteY6196" fmla="*/ 1368872 h 2493266"/>
                <a:gd name="connsiteX6197" fmla="*/ 2611996 w 3135233"/>
                <a:gd name="connsiteY6197" fmla="*/ 1372128 h 2493266"/>
                <a:gd name="connsiteX6198" fmla="*/ 2609924 w 3135233"/>
                <a:gd name="connsiteY6198" fmla="*/ 1372128 h 2493266"/>
                <a:gd name="connsiteX6199" fmla="*/ 2611996 w 3135233"/>
                <a:gd name="connsiteY6199" fmla="*/ 1373756 h 2493266"/>
                <a:gd name="connsiteX6200" fmla="*/ 2614118 w 3135233"/>
                <a:gd name="connsiteY6200" fmla="*/ 1376963 h 2493266"/>
                <a:gd name="connsiteX6201" fmla="*/ 2609924 w 3135233"/>
                <a:gd name="connsiteY6201" fmla="*/ 1378592 h 2493266"/>
                <a:gd name="connsiteX6202" fmla="*/ 2605730 w 3135233"/>
                <a:gd name="connsiteY6202" fmla="*/ 1376963 h 2493266"/>
                <a:gd name="connsiteX6203" fmla="*/ 2601585 w 3135233"/>
                <a:gd name="connsiteY6203" fmla="*/ 1380171 h 2493266"/>
                <a:gd name="connsiteX6204" fmla="*/ 2603658 w 3135233"/>
                <a:gd name="connsiteY6204" fmla="*/ 1381799 h 2493266"/>
                <a:gd name="connsiteX6205" fmla="*/ 2616141 w 3135233"/>
                <a:gd name="connsiteY6205" fmla="*/ 1381799 h 2493266"/>
                <a:gd name="connsiteX6206" fmla="*/ 2616141 w 3135233"/>
                <a:gd name="connsiteY6206" fmla="*/ 1383378 h 2493266"/>
                <a:gd name="connsiteX6207" fmla="*/ 2614118 w 3135233"/>
                <a:gd name="connsiteY6207" fmla="*/ 1386634 h 2493266"/>
                <a:gd name="connsiteX6208" fmla="*/ 2607852 w 3135233"/>
                <a:gd name="connsiteY6208" fmla="*/ 1386634 h 2493266"/>
                <a:gd name="connsiteX6209" fmla="*/ 2603658 w 3135233"/>
                <a:gd name="connsiteY6209" fmla="*/ 1388262 h 2493266"/>
                <a:gd name="connsiteX6210" fmla="*/ 2595319 w 3135233"/>
                <a:gd name="connsiteY6210" fmla="*/ 1386634 h 2493266"/>
                <a:gd name="connsiteX6211" fmla="*/ 2591471 w 3135233"/>
                <a:gd name="connsiteY6211" fmla="*/ 1386634 h 2493266"/>
                <a:gd name="connsiteX6212" fmla="*/ 2591471 w 3135233"/>
                <a:gd name="connsiteY6212" fmla="*/ 1378592 h 2493266"/>
                <a:gd name="connsiteX6213" fmla="*/ 2587326 w 3135233"/>
                <a:gd name="connsiteY6213" fmla="*/ 1376963 h 2493266"/>
                <a:gd name="connsiteX6214" fmla="*/ 2585204 w 3135233"/>
                <a:gd name="connsiteY6214" fmla="*/ 1375335 h 2493266"/>
                <a:gd name="connsiteX6215" fmla="*/ 2581060 w 3135233"/>
                <a:gd name="connsiteY6215" fmla="*/ 1375335 h 2493266"/>
                <a:gd name="connsiteX6216" fmla="*/ 2583132 w 3135233"/>
                <a:gd name="connsiteY6216" fmla="*/ 1378592 h 2493266"/>
                <a:gd name="connsiteX6217" fmla="*/ 2585204 w 3135233"/>
                <a:gd name="connsiteY6217" fmla="*/ 1380171 h 2493266"/>
                <a:gd name="connsiteX6218" fmla="*/ 2587326 w 3135233"/>
                <a:gd name="connsiteY6218" fmla="*/ 1385105 h 2493266"/>
                <a:gd name="connsiteX6219" fmla="*/ 2585204 w 3135233"/>
                <a:gd name="connsiteY6219" fmla="*/ 1388312 h 2493266"/>
                <a:gd name="connsiteX6220" fmla="*/ 2581060 w 3135233"/>
                <a:gd name="connsiteY6220" fmla="*/ 1388312 h 2493266"/>
                <a:gd name="connsiteX6221" fmla="*/ 2576915 w 3135233"/>
                <a:gd name="connsiteY6221" fmla="*/ 1385105 h 2493266"/>
                <a:gd name="connsiteX6222" fmla="*/ 2574794 w 3135233"/>
                <a:gd name="connsiteY6222" fmla="*/ 1381848 h 2493266"/>
                <a:gd name="connsiteX6223" fmla="*/ 2574794 w 3135233"/>
                <a:gd name="connsiteY6223" fmla="*/ 1388312 h 2493266"/>
                <a:gd name="connsiteX6224" fmla="*/ 2576915 w 3135233"/>
                <a:gd name="connsiteY6224" fmla="*/ 1391568 h 2493266"/>
                <a:gd name="connsiteX6225" fmla="*/ 2585204 w 3135233"/>
                <a:gd name="connsiteY6225" fmla="*/ 1391568 h 2493266"/>
                <a:gd name="connsiteX6226" fmla="*/ 2589398 w 3135233"/>
                <a:gd name="connsiteY6226" fmla="*/ 1394775 h 2493266"/>
                <a:gd name="connsiteX6227" fmla="*/ 2593543 w 3135233"/>
                <a:gd name="connsiteY6227" fmla="*/ 1394775 h 2493266"/>
                <a:gd name="connsiteX6228" fmla="*/ 2593543 w 3135233"/>
                <a:gd name="connsiteY6228" fmla="*/ 1397983 h 2493266"/>
                <a:gd name="connsiteX6229" fmla="*/ 2591471 w 3135233"/>
                <a:gd name="connsiteY6229" fmla="*/ 1402917 h 2493266"/>
                <a:gd name="connsiteX6230" fmla="*/ 2581060 w 3135233"/>
                <a:gd name="connsiteY6230" fmla="*/ 1402917 h 2493266"/>
                <a:gd name="connsiteX6231" fmla="*/ 2578987 w 3135233"/>
                <a:gd name="connsiteY6231" fmla="*/ 1399709 h 2493266"/>
                <a:gd name="connsiteX6232" fmla="*/ 2572721 w 3135233"/>
                <a:gd name="connsiteY6232" fmla="*/ 1394775 h 2493266"/>
                <a:gd name="connsiteX6233" fmla="*/ 2568577 w 3135233"/>
                <a:gd name="connsiteY6233" fmla="*/ 1393147 h 2493266"/>
                <a:gd name="connsiteX6234" fmla="*/ 2568577 w 3135233"/>
                <a:gd name="connsiteY6234" fmla="*/ 1393147 h 2493266"/>
                <a:gd name="connsiteX6235" fmla="*/ 2568577 w 3135233"/>
                <a:gd name="connsiteY6235" fmla="*/ 1394775 h 2493266"/>
                <a:gd name="connsiteX6236" fmla="*/ 2576915 w 3135233"/>
                <a:gd name="connsiteY6236" fmla="*/ 1399709 h 2493266"/>
                <a:gd name="connsiteX6237" fmla="*/ 2578987 w 3135233"/>
                <a:gd name="connsiteY6237" fmla="*/ 1404644 h 2493266"/>
                <a:gd name="connsiteX6238" fmla="*/ 2578987 w 3135233"/>
                <a:gd name="connsiteY6238" fmla="*/ 1411058 h 2493266"/>
                <a:gd name="connsiteX6239" fmla="*/ 2576915 w 3135233"/>
                <a:gd name="connsiteY6239" fmla="*/ 1414314 h 2493266"/>
                <a:gd name="connsiteX6240" fmla="*/ 2572721 w 3135233"/>
                <a:gd name="connsiteY6240" fmla="*/ 1414314 h 2493266"/>
                <a:gd name="connsiteX6241" fmla="*/ 2570649 w 3135233"/>
                <a:gd name="connsiteY6241" fmla="*/ 1411058 h 2493266"/>
                <a:gd name="connsiteX6242" fmla="*/ 2566504 w 3135233"/>
                <a:gd name="connsiteY6242" fmla="*/ 1407851 h 2493266"/>
                <a:gd name="connsiteX6243" fmla="*/ 2562311 w 3135233"/>
                <a:gd name="connsiteY6243" fmla="*/ 1406272 h 2493266"/>
                <a:gd name="connsiteX6244" fmla="*/ 2564383 w 3135233"/>
                <a:gd name="connsiteY6244" fmla="*/ 1407851 h 2493266"/>
                <a:gd name="connsiteX6245" fmla="*/ 2566504 w 3135233"/>
                <a:gd name="connsiteY6245" fmla="*/ 1409479 h 2493266"/>
                <a:gd name="connsiteX6246" fmla="*/ 2566504 w 3135233"/>
                <a:gd name="connsiteY6246" fmla="*/ 1422406 h 2493266"/>
                <a:gd name="connsiteX6247" fmla="*/ 2564383 w 3135233"/>
                <a:gd name="connsiteY6247" fmla="*/ 1423985 h 2493266"/>
                <a:gd name="connsiteX6248" fmla="*/ 2560238 w 3135233"/>
                <a:gd name="connsiteY6248" fmla="*/ 1423985 h 2493266"/>
                <a:gd name="connsiteX6249" fmla="*/ 2558166 w 3135233"/>
                <a:gd name="connsiteY6249" fmla="*/ 1420778 h 2493266"/>
                <a:gd name="connsiteX6250" fmla="*/ 2558166 w 3135233"/>
                <a:gd name="connsiteY6250" fmla="*/ 1415844 h 2493266"/>
                <a:gd name="connsiteX6251" fmla="*/ 2556094 w 3135233"/>
                <a:gd name="connsiteY6251" fmla="*/ 1417423 h 2493266"/>
                <a:gd name="connsiteX6252" fmla="*/ 2553972 w 3135233"/>
                <a:gd name="connsiteY6252" fmla="*/ 1420679 h 2493266"/>
                <a:gd name="connsiteX6253" fmla="*/ 2549827 w 3135233"/>
                <a:gd name="connsiteY6253" fmla="*/ 1420679 h 2493266"/>
                <a:gd name="connsiteX6254" fmla="*/ 2545683 w 3135233"/>
                <a:gd name="connsiteY6254" fmla="*/ 1419100 h 2493266"/>
                <a:gd name="connsiteX6255" fmla="*/ 2547706 w 3135233"/>
                <a:gd name="connsiteY6255" fmla="*/ 1415844 h 2493266"/>
                <a:gd name="connsiteX6256" fmla="*/ 2545683 w 3135233"/>
                <a:gd name="connsiteY6256" fmla="*/ 1410910 h 2493266"/>
                <a:gd name="connsiteX6257" fmla="*/ 2545683 w 3135233"/>
                <a:gd name="connsiteY6257" fmla="*/ 1405976 h 2493266"/>
                <a:gd name="connsiteX6258" fmla="*/ 2543561 w 3135233"/>
                <a:gd name="connsiteY6258" fmla="*/ 1404347 h 2493266"/>
                <a:gd name="connsiteX6259" fmla="*/ 2541489 w 3135233"/>
                <a:gd name="connsiteY6259" fmla="*/ 1407555 h 2493266"/>
                <a:gd name="connsiteX6260" fmla="*/ 2541489 w 3135233"/>
                <a:gd name="connsiteY6260" fmla="*/ 1415646 h 2493266"/>
                <a:gd name="connsiteX6261" fmla="*/ 2539417 w 3135233"/>
                <a:gd name="connsiteY6261" fmla="*/ 1417225 h 2493266"/>
                <a:gd name="connsiteX6262" fmla="*/ 2535272 w 3135233"/>
                <a:gd name="connsiteY6262" fmla="*/ 1418903 h 2493266"/>
                <a:gd name="connsiteX6263" fmla="*/ 2535272 w 3135233"/>
                <a:gd name="connsiteY6263" fmla="*/ 1420482 h 2493266"/>
                <a:gd name="connsiteX6264" fmla="*/ 2539417 w 3135233"/>
                <a:gd name="connsiteY6264" fmla="*/ 1420482 h 2493266"/>
                <a:gd name="connsiteX6265" fmla="*/ 2541489 w 3135233"/>
                <a:gd name="connsiteY6265" fmla="*/ 1422110 h 2493266"/>
                <a:gd name="connsiteX6266" fmla="*/ 2537295 w 3135233"/>
                <a:gd name="connsiteY6266" fmla="*/ 1425317 h 2493266"/>
                <a:gd name="connsiteX6267" fmla="*/ 2533150 w 3135233"/>
                <a:gd name="connsiteY6267" fmla="*/ 1425317 h 2493266"/>
                <a:gd name="connsiteX6268" fmla="*/ 2531078 w 3135233"/>
                <a:gd name="connsiteY6268" fmla="*/ 1423689 h 2493266"/>
                <a:gd name="connsiteX6269" fmla="*/ 2531078 w 3135233"/>
                <a:gd name="connsiteY6269" fmla="*/ 1425317 h 2493266"/>
                <a:gd name="connsiteX6270" fmla="*/ 2535272 w 3135233"/>
                <a:gd name="connsiteY6270" fmla="*/ 1428524 h 2493266"/>
                <a:gd name="connsiteX6271" fmla="*/ 2539417 w 3135233"/>
                <a:gd name="connsiteY6271" fmla="*/ 1428524 h 2493266"/>
                <a:gd name="connsiteX6272" fmla="*/ 2539417 w 3135233"/>
                <a:gd name="connsiteY6272" fmla="*/ 1434988 h 2493266"/>
                <a:gd name="connsiteX6273" fmla="*/ 2535272 w 3135233"/>
                <a:gd name="connsiteY6273" fmla="*/ 1436616 h 2493266"/>
                <a:gd name="connsiteX6274" fmla="*/ 2535272 w 3135233"/>
                <a:gd name="connsiteY6274" fmla="*/ 1438195 h 2493266"/>
                <a:gd name="connsiteX6275" fmla="*/ 2537295 w 3135233"/>
                <a:gd name="connsiteY6275" fmla="*/ 1443129 h 2493266"/>
                <a:gd name="connsiteX6276" fmla="*/ 2537295 w 3135233"/>
                <a:gd name="connsiteY6276" fmla="*/ 1445645 h 2493266"/>
                <a:gd name="connsiteX6277" fmla="*/ 2535272 w 3135233"/>
                <a:gd name="connsiteY6277" fmla="*/ 1445645 h 2493266"/>
                <a:gd name="connsiteX6278" fmla="*/ 2531078 w 3135233"/>
                <a:gd name="connsiteY6278" fmla="*/ 1444017 h 2493266"/>
                <a:gd name="connsiteX6279" fmla="*/ 2531078 w 3135233"/>
                <a:gd name="connsiteY6279" fmla="*/ 1444017 h 2493266"/>
                <a:gd name="connsiteX6280" fmla="*/ 2535272 w 3135233"/>
                <a:gd name="connsiteY6280" fmla="*/ 1448951 h 2493266"/>
                <a:gd name="connsiteX6281" fmla="*/ 2535272 w 3135233"/>
                <a:gd name="connsiteY6281" fmla="*/ 1456994 h 2493266"/>
                <a:gd name="connsiteX6282" fmla="*/ 2526884 w 3135233"/>
                <a:gd name="connsiteY6282" fmla="*/ 1458622 h 2493266"/>
                <a:gd name="connsiteX6283" fmla="*/ 2526884 w 3135233"/>
                <a:gd name="connsiteY6283" fmla="*/ 1461829 h 2493266"/>
                <a:gd name="connsiteX6284" fmla="*/ 2522740 w 3135233"/>
                <a:gd name="connsiteY6284" fmla="*/ 1460250 h 2493266"/>
                <a:gd name="connsiteX6285" fmla="*/ 2522740 w 3135233"/>
                <a:gd name="connsiteY6285" fmla="*/ 1456994 h 2493266"/>
                <a:gd name="connsiteX6286" fmla="*/ 2520667 w 3135233"/>
                <a:gd name="connsiteY6286" fmla="*/ 1456994 h 2493266"/>
                <a:gd name="connsiteX6287" fmla="*/ 2520667 w 3135233"/>
                <a:gd name="connsiteY6287" fmla="*/ 1453786 h 2493266"/>
                <a:gd name="connsiteX6288" fmla="*/ 2518545 w 3135233"/>
                <a:gd name="connsiteY6288" fmla="*/ 1452158 h 2493266"/>
                <a:gd name="connsiteX6289" fmla="*/ 2516473 w 3135233"/>
                <a:gd name="connsiteY6289" fmla="*/ 1450530 h 2493266"/>
                <a:gd name="connsiteX6290" fmla="*/ 2518545 w 3135233"/>
                <a:gd name="connsiteY6290" fmla="*/ 1447323 h 2493266"/>
                <a:gd name="connsiteX6291" fmla="*/ 2518545 w 3135233"/>
                <a:gd name="connsiteY6291" fmla="*/ 1444066 h 2493266"/>
                <a:gd name="connsiteX6292" fmla="*/ 2516473 w 3135233"/>
                <a:gd name="connsiteY6292" fmla="*/ 1445695 h 2493266"/>
                <a:gd name="connsiteX6293" fmla="*/ 2512329 w 3135233"/>
                <a:gd name="connsiteY6293" fmla="*/ 1447323 h 2493266"/>
                <a:gd name="connsiteX6294" fmla="*/ 2510256 w 3135233"/>
                <a:gd name="connsiteY6294" fmla="*/ 1450530 h 2493266"/>
                <a:gd name="connsiteX6295" fmla="*/ 2508135 w 3135233"/>
                <a:gd name="connsiteY6295" fmla="*/ 1450530 h 2493266"/>
                <a:gd name="connsiteX6296" fmla="*/ 2506063 w 3135233"/>
                <a:gd name="connsiteY6296" fmla="*/ 1445596 h 2493266"/>
                <a:gd name="connsiteX6297" fmla="*/ 2508135 w 3135233"/>
                <a:gd name="connsiteY6297" fmla="*/ 1443968 h 2493266"/>
                <a:gd name="connsiteX6298" fmla="*/ 2506063 w 3135233"/>
                <a:gd name="connsiteY6298" fmla="*/ 1440761 h 2493266"/>
                <a:gd name="connsiteX6299" fmla="*/ 2503990 w 3135233"/>
                <a:gd name="connsiteY6299" fmla="*/ 1439182 h 2493266"/>
                <a:gd name="connsiteX6300" fmla="*/ 2508135 w 3135233"/>
                <a:gd name="connsiteY6300" fmla="*/ 1437504 h 2493266"/>
                <a:gd name="connsiteX6301" fmla="*/ 2508135 w 3135233"/>
                <a:gd name="connsiteY6301" fmla="*/ 1431090 h 2493266"/>
                <a:gd name="connsiteX6302" fmla="*/ 2508135 w 3135233"/>
                <a:gd name="connsiteY6302" fmla="*/ 1431090 h 2493266"/>
                <a:gd name="connsiteX6303" fmla="*/ 2503990 w 3135233"/>
                <a:gd name="connsiteY6303" fmla="*/ 1434297 h 2493266"/>
                <a:gd name="connsiteX6304" fmla="*/ 2501918 w 3135233"/>
                <a:gd name="connsiteY6304" fmla="*/ 1440761 h 2493266"/>
                <a:gd name="connsiteX6305" fmla="*/ 2497724 w 3135233"/>
                <a:gd name="connsiteY6305" fmla="*/ 1443968 h 2493266"/>
                <a:gd name="connsiteX6306" fmla="*/ 2495652 w 3135233"/>
                <a:gd name="connsiteY6306" fmla="*/ 1442389 h 2493266"/>
                <a:gd name="connsiteX6307" fmla="*/ 2495652 w 3135233"/>
                <a:gd name="connsiteY6307" fmla="*/ 1439182 h 2493266"/>
                <a:gd name="connsiteX6308" fmla="*/ 2493579 w 3135233"/>
                <a:gd name="connsiteY6308" fmla="*/ 1435925 h 2493266"/>
                <a:gd name="connsiteX6309" fmla="*/ 2491507 w 3135233"/>
                <a:gd name="connsiteY6309" fmla="*/ 1430991 h 2493266"/>
                <a:gd name="connsiteX6310" fmla="*/ 2493579 w 3135233"/>
                <a:gd name="connsiteY6310" fmla="*/ 1429363 h 2493266"/>
                <a:gd name="connsiteX6311" fmla="*/ 2499846 w 3135233"/>
                <a:gd name="connsiteY6311" fmla="*/ 1427735 h 2493266"/>
                <a:gd name="connsiteX6312" fmla="*/ 2499846 w 3135233"/>
                <a:gd name="connsiteY6312" fmla="*/ 1426156 h 2493266"/>
                <a:gd name="connsiteX6313" fmla="*/ 2503990 w 3135233"/>
                <a:gd name="connsiteY6313" fmla="*/ 1424528 h 2493266"/>
                <a:gd name="connsiteX6314" fmla="*/ 2501918 w 3135233"/>
                <a:gd name="connsiteY6314" fmla="*/ 1422899 h 2493266"/>
                <a:gd name="connsiteX6315" fmla="*/ 2489336 w 3135233"/>
                <a:gd name="connsiteY6315" fmla="*/ 1422899 h 2493266"/>
                <a:gd name="connsiteX6316" fmla="*/ 2487214 w 3135233"/>
                <a:gd name="connsiteY6316" fmla="*/ 1421321 h 2493266"/>
                <a:gd name="connsiteX6317" fmla="*/ 2489336 w 3135233"/>
                <a:gd name="connsiteY6317" fmla="*/ 1418113 h 2493266"/>
                <a:gd name="connsiteX6318" fmla="*/ 2493481 w 3135233"/>
                <a:gd name="connsiteY6318" fmla="*/ 1416436 h 2493266"/>
                <a:gd name="connsiteX6319" fmla="*/ 2499747 w 3135233"/>
                <a:gd name="connsiteY6319" fmla="*/ 1411502 h 2493266"/>
                <a:gd name="connsiteX6320" fmla="*/ 2495553 w 3135233"/>
                <a:gd name="connsiteY6320" fmla="*/ 1411502 h 2493266"/>
                <a:gd name="connsiteX6321" fmla="*/ 2491408 w 3135233"/>
                <a:gd name="connsiteY6321" fmla="*/ 1413081 h 2493266"/>
                <a:gd name="connsiteX6322" fmla="*/ 2489336 w 3135233"/>
                <a:gd name="connsiteY6322" fmla="*/ 1413081 h 2493266"/>
                <a:gd name="connsiteX6323" fmla="*/ 2487214 w 3135233"/>
                <a:gd name="connsiteY6323" fmla="*/ 1409824 h 2493266"/>
                <a:gd name="connsiteX6324" fmla="*/ 2491408 w 3135233"/>
                <a:gd name="connsiteY6324" fmla="*/ 1408245 h 2493266"/>
                <a:gd name="connsiteX6325" fmla="*/ 2495553 w 3135233"/>
                <a:gd name="connsiteY6325" fmla="*/ 1406617 h 2493266"/>
                <a:gd name="connsiteX6326" fmla="*/ 2501819 w 3135233"/>
                <a:gd name="connsiteY6326" fmla="*/ 1405038 h 2493266"/>
                <a:gd name="connsiteX6327" fmla="*/ 2497625 w 3135233"/>
                <a:gd name="connsiteY6327" fmla="*/ 1403410 h 2493266"/>
                <a:gd name="connsiteX6328" fmla="*/ 2491408 w 3135233"/>
                <a:gd name="connsiteY6328" fmla="*/ 1403410 h 2493266"/>
                <a:gd name="connsiteX6329" fmla="*/ 2487214 w 3135233"/>
                <a:gd name="connsiteY6329" fmla="*/ 1406617 h 2493266"/>
                <a:gd name="connsiteX6330" fmla="*/ 2485142 w 3135233"/>
                <a:gd name="connsiteY6330" fmla="*/ 1405038 h 2493266"/>
                <a:gd name="connsiteX6331" fmla="*/ 2487214 w 3135233"/>
                <a:gd name="connsiteY6331" fmla="*/ 1401782 h 2493266"/>
                <a:gd name="connsiteX6332" fmla="*/ 2491408 w 3135233"/>
                <a:gd name="connsiteY6332" fmla="*/ 1395318 h 2493266"/>
                <a:gd name="connsiteX6333" fmla="*/ 2495553 w 3135233"/>
                <a:gd name="connsiteY6333" fmla="*/ 1393739 h 2493266"/>
                <a:gd name="connsiteX6334" fmla="*/ 2501819 w 3135233"/>
                <a:gd name="connsiteY6334" fmla="*/ 1393739 h 2493266"/>
                <a:gd name="connsiteX6335" fmla="*/ 2508036 w 3135233"/>
                <a:gd name="connsiteY6335" fmla="*/ 1388805 h 2493266"/>
                <a:gd name="connsiteX6336" fmla="*/ 2512230 w 3135233"/>
                <a:gd name="connsiteY6336" fmla="*/ 1387226 h 2493266"/>
                <a:gd name="connsiteX6337" fmla="*/ 2516375 w 3135233"/>
                <a:gd name="connsiteY6337" fmla="*/ 1380763 h 2493266"/>
                <a:gd name="connsiteX6338" fmla="*/ 2520569 w 3135233"/>
                <a:gd name="connsiteY6338" fmla="*/ 1375829 h 2493266"/>
                <a:gd name="connsiteX6339" fmla="*/ 2524762 w 3135233"/>
                <a:gd name="connsiteY6339" fmla="*/ 1374200 h 2493266"/>
                <a:gd name="connsiteX6340" fmla="*/ 2522641 w 3135233"/>
                <a:gd name="connsiteY6340" fmla="*/ 1372622 h 2493266"/>
                <a:gd name="connsiteX6341" fmla="*/ 2520569 w 3135233"/>
                <a:gd name="connsiteY6341" fmla="*/ 1372622 h 2493266"/>
                <a:gd name="connsiteX6342" fmla="*/ 2514302 w 3135233"/>
                <a:gd name="connsiteY6342" fmla="*/ 1377556 h 2493266"/>
                <a:gd name="connsiteX6343" fmla="*/ 2510158 w 3135233"/>
                <a:gd name="connsiteY6343" fmla="*/ 1379134 h 2493266"/>
                <a:gd name="connsiteX6344" fmla="*/ 2505964 w 3135233"/>
                <a:gd name="connsiteY6344" fmla="*/ 1384069 h 2493266"/>
                <a:gd name="connsiteX6345" fmla="*/ 2497625 w 3135233"/>
                <a:gd name="connsiteY6345" fmla="*/ 1387276 h 2493266"/>
                <a:gd name="connsiteX6346" fmla="*/ 2493481 w 3135233"/>
                <a:gd name="connsiteY6346" fmla="*/ 1387276 h 2493266"/>
                <a:gd name="connsiteX6347" fmla="*/ 2485142 w 3135233"/>
                <a:gd name="connsiteY6347" fmla="*/ 1393739 h 2493266"/>
                <a:gd name="connsiteX6348" fmla="*/ 2478925 w 3135233"/>
                <a:gd name="connsiteY6348" fmla="*/ 1393739 h 2493266"/>
                <a:gd name="connsiteX6349" fmla="*/ 2472659 w 3135233"/>
                <a:gd name="connsiteY6349" fmla="*/ 1392111 h 2493266"/>
                <a:gd name="connsiteX6350" fmla="*/ 2474732 w 3135233"/>
                <a:gd name="connsiteY6350" fmla="*/ 1390532 h 2493266"/>
                <a:gd name="connsiteX6351" fmla="*/ 2483070 w 3135233"/>
                <a:gd name="connsiteY6351" fmla="*/ 1380664 h 2493266"/>
                <a:gd name="connsiteX6352" fmla="*/ 2491408 w 3135233"/>
                <a:gd name="connsiteY6352" fmla="*/ 1377457 h 2493266"/>
                <a:gd name="connsiteX6353" fmla="*/ 2493481 w 3135233"/>
                <a:gd name="connsiteY6353" fmla="*/ 1374200 h 2493266"/>
                <a:gd name="connsiteX6354" fmla="*/ 2495553 w 3135233"/>
                <a:gd name="connsiteY6354" fmla="*/ 1372622 h 2493266"/>
                <a:gd name="connsiteX6355" fmla="*/ 2495553 w 3135233"/>
                <a:gd name="connsiteY6355" fmla="*/ 1367688 h 2493266"/>
                <a:gd name="connsiteX6356" fmla="*/ 2489336 w 3135233"/>
                <a:gd name="connsiteY6356" fmla="*/ 1374151 h 2493266"/>
                <a:gd name="connsiteX6357" fmla="*/ 2476804 w 3135233"/>
                <a:gd name="connsiteY6357" fmla="*/ 1382194 h 2493266"/>
                <a:gd name="connsiteX6358" fmla="*/ 2470537 w 3135233"/>
                <a:gd name="connsiteY6358" fmla="*/ 1383871 h 2493266"/>
                <a:gd name="connsiteX6359" fmla="*/ 2468515 w 3135233"/>
                <a:gd name="connsiteY6359" fmla="*/ 1382194 h 2493266"/>
                <a:gd name="connsiteX6360" fmla="*/ 2466393 w 3135233"/>
                <a:gd name="connsiteY6360" fmla="*/ 1380615 h 2493266"/>
                <a:gd name="connsiteX6361" fmla="*/ 2468515 w 3135233"/>
                <a:gd name="connsiteY6361" fmla="*/ 1375681 h 2493266"/>
                <a:gd name="connsiteX6362" fmla="*/ 2466393 w 3135233"/>
                <a:gd name="connsiteY6362" fmla="*/ 1374052 h 2493266"/>
                <a:gd name="connsiteX6363" fmla="*/ 2462248 w 3135233"/>
                <a:gd name="connsiteY6363" fmla="*/ 1375681 h 2493266"/>
                <a:gd name="connsiteX6364" fmla="*/ 2458054 w 3135233"/>
                <a:gd name="connsiteY6364" fmla="*/ 1372474 h 2493266"/>
                <a:gd name="connsiteX6365" fmla="*/ 2460127 w 3135233"/>
                <a:gd name="connsiteY6365" fmla="*/ 1370845 h 2493266"/>
                <a:gd name="connsiteX6366" fmla="*/ 2464320 w 3135233"/>
                <a:gd name="connsiteY6366" fmla="*/ 1369266 h 2493266"/>
                <a:gd name="connsiteX6367" fmla="*/ 2464320 w 3135233"/>
                <a:gd name="connsiteY6367" fmla="*/ 1367589 h 2493266"/>
                <a:gd name="connsiteX6368" fmla="*/ 2460127 w 3135233"/>
                <a:gd name="connsiteY6368" fmla="*/ 1366010 h 2493266"/>
                <a:gd name="connsiteX6369" fmla="*/ 2458252 w 3135233"/>
                <a:gd name="connsiteY6369" fmla="*/ 1366010 h 2493266"/>
                <a:gd name="connsiteX6370" fmla="*/ 2456180 w 3135233"/>
                <a:gd name="connsiteY6370" fmla="*/ 1364382 h 2493266"/>
                <a:gd name="connsiteX6371" fmla="*/ 2458252 w 3135233"/>
                <a:gd name="connsiteY6371" fmla="*/ 1357918 h 2493266"/>
                <a:gd name="connsiteX6372" fmla="*/ 2460324 w 3135233"/>
                <a:gd name="connsiteY6372" fmla="*/ 1356339 h 2493266"/>
                <a:gd name="connsiteX6373" fmla="*/ 2460324 w 3135233"/>
                <a:gd name="connsiteY6373" fmla="*/ 1353083 h 2493266"/>
                <a:gd name="connsiteX6374" fmla="*/ 2456180 w 3135233"/>
                <a:gd name="connsiteY6374" fmla="*/ 1351455 h 2493266"/>
                <a:gd name="connsiteX6375" fmla="*/ 2454107 w 3135233"/>
                <a:gd name="connsiteY6375" fmla="*/ 1348248 h 2493266"/>
                <a:gd name="connsiteX6376" fmla="*/ 2452035 w 3135233"/>
                <a:gd name="connsiteY6376" fmla="*/ 1348248 h 2493266"/>
                <a:gd name="connsiteX6377" fmla="*/ 2452035 w 3135233"/>
                <a:gd name="connsiteY6377" fmla="*/ 1353182 h 2493266"/>
                <a:gd name="connsiteX6378" fmla="*/ 2454107 w 3135233"/>
                <a:gd name="connsiteY6378" fmla="*/ 1356438 h 2493266"/>
                <a:gd name="connsiteX6379" fmla="*/ 2447841 w 3135233"/>
                <a:gd name="connsiteY6379" fmla="*/ 1358017 h 2493266"/>
                <a:gd name="connsiteX6380" fmla="*/ 2445768 w 3135233"/>
                <a:gd name="connsiteY6380" fmla="*/ 1354810 h 2493266"/>
                <a:gd name="connsiteX6381" fmla="*/ 2441624 w 3135233"/>
                <a:gd name="connsiteY6381" fmla="*/ 1353182 h 2493266"/>
                <a:gd name="connsiteX6382" fmla="*/ 2435358 w 3135233"/>
                <a:gd name="connsiteY6382" fmla="*/ 1353182 h 2493266"/>
                <a:gd name="connsiteX6383" fmla="*/ 2441624 w 3135233"/>
                <a:gd name="connsiteY6383" fmla="*/ 1356438 h 2493266"/>
                <a:gd name="connsiteX6384" fmla="*/ 2445768 w 3135233"/>
                <a:gd name="connsiteY6384" fmla="*/ 1361372 h 2493266"/>
                <a:gd name="connsiteX6385" fmla="*/ 2445768 w 3135233"/>
                <a:gd name="connsiteY6385" fmla="*/ 1367836 h 2493266"/>
                <a:gd name="connsiteX6386" fmla="*/ 2441624 w 3135233"/>
                <a:gd name="connsiteY6386" fmla="*/ 1366257 h 2493266"/>
                <a:gd name="connsiteX6387" fmla="*/ 2441624 w 3135233"/>
                <a:gd name="connsiteY6387" fmla="*/ 1369513 h 2493266"/>
                <a:gd name="connsiteX6388" fmla="*/ 2437430 w 3135233"/>
                <a:gd name="connsiteY6388" fmla="*/ 1369513 h 2493266"/>
                <a:gd name="connsiteX6389" fmla="*/ 2433286 w 3135233"/>
                <a:gd name="connsiteY6389" fmla="*/ 1366257 h 2493266"/>
                <a:gd name="connsiteX6390" fmla="*/ 2431213 w 3135233"/>
                <a:gd name="connsiteY6390" fmla="*/ 1361323 h 2493266"/>
                <a:gd name="connsiteX6391" fmla="*/ 2429092 w 3135233"/>
                <a:gd name="connsiteY6391" fmla="*/ 1358116 h 2493266"/>
                <a:gd name="connsiteX6392" fmla="*/ 2427019 w 3135233"/>
                <a:gd name="connsiteY6392" fmla="*/ 1359744 h 2493266"/>
                <a:gd name="connsiteX6393" fmla="*/ 2431213 w 3135233"/>
                <a:gd name="connsiteY6393" fmla="*/ 1364678 h 2493266"/>
                <a:gd name="connsiteX6394" fmla="*/ 2431213 w 3135233"/>
                <a:gd name="connsiteY6394" fmla="*/ 1367885 h 2493266"/>
                <a:gd name="connsiteX6395" fmla="*/ 2429092 w 3135233"/>
                <a:gd name="connsiteY6395" fmla="*/ 1372819 h 2493266"/>
                <a:gd name="connsiteX6396" fmla="*/ 2433286 w 3135233"/>
                <a:gd name="connsiteY6396" fmla="*/ 1372819 h 2493266"/>
                <a:gd name="connsiteX6397" fmla="*/ 2437430 w 3135233"/>
                <a:gd name="connsiteY6397" fmla="*/ 1377753 h 2493266"/>
                <a:gd name="connsiteX6398" fmla="*/ 2439502 w 3135233"/>
                <a:gd name="connsiteY6398" fmla="*/ 1382687 h 2493266"/>
                <a:gd name="connsiteX6399" fmla="*/ 2439502 w 3135233"/>
                <a:gd name="connsiteY6399" fmla="*/ 1387621 h 2493266"/>
                <a:gd name="connsiteX6400" fmla="*/ 2441624 w 3135233"/>
                <a:gd name="connsiteY6400" fmla="*/ 1387621 h 2493266"/>
                <a:gd name="connsiteX6401" fmla="*/ 2441624 w 3135233"/>
                <a:gd name="connsiteY6401" fmla="*/ 1390878 h 2493266"/>
                <a:gd name="connsiteX6402" fmla="*/ 2437430 w 3135233"/>
                <a:gd name="connsiteY6402" fmla="*/ 1392456 h 2493266"/>
                <a:gd name="connsiteX6403" fmla="*/ 2431213 w 3135233"/>
                <a:gd name="connsiteY6403" fmla="*/ 1390878 h 2493266"/>
                <a:gd name="connsiteX6404" fmla="*/ 2427019 w 3135233"/>
                <a:gd name="connsiteY6404" fmla="*/ 1387621 h 2493266"/>
                <a:gd name="connsiteX6405" fmla="*/ 2424898 w 3135233"/>
                <a:gd name="connsiteY6405" fmla="*/ 1392555 h 2493266"/>
                <a:gd name="connsiteX6406" fmla="*/ 2422875 w 3135233"/>
                <a:gd name="connsiteY6406" fmla="*/ 1392555 h 2493266"/>
                <a:gd name="connsiteX6407" fmla="*/ 2416608 w 3135233"/>
                <a:gd name="connsiteY6407" fmla="*/ 1386091 h 2493266"/>
                <a:gd name="connsiteX6408" fmla="*/ 2414487 w 3135233"/>
                <a:gd name="connsiteY6408" fmla="*/ 1382835 h 2493266"/>
                <a:gd name="connsiteX6409" fmla="*/ 2418681 w 3135233"/>
                <a:gd name="connsiteY6409" fmla="*/ 1379628 h 2493266"/>
                <a:gd name="connsiteX6410" fmla="*/ 2416608 w 3135233"/>
                <a:gd name="connsiteY6410" fmla="*/ 1374694 h 2493266"/>
                <a:gd name="connsiteX6411" fmla="*/ 2410342 w 3135233"/>
                <a:gd name="connsiteY6411" fmla="*/ 1371487 h 2493266"/>
                <a:gd name="connsiteX6412" fmla="*/ 2406198 w 3135233"/>
                <a:gd name="connsiteY6412" fmla="*/ 1371487 h 2493266"/>
                <a:gd name="connsiteX6413" fmla="*/ 2404076 w 3135233"/>
                <a:gd name="connsiteY6413" fmla="*/ 1368230 h 2493266"/>
                <a:gd name="connsiteX6414" fmla="*/ 2402053 w 3135233"/>
                <a:gd name="connsiteY6414" fmla="*/ 1365023 h 2493266"/>
                <a:gd name="connsiteX6415" fmla="*/ 2397859 w 3135233"/>
                <a:gd name="connsiteY6415" fmla="*/ 1366651 h 2493266"/>
                <a:gd name="connsiteX6416" fmla="*/ 2391593 w 3135233"/>
                <a:gd name="connsiteY6416" fmla="*/ 1368230 h 2493266"/>
                <a:gd name="connsiteX6417" fmla="*/ 2383254 w 3135233"/>
                <a:gd name="connsiteY6417" fmla="*/ 1368230 h 2493266"/>
                <a:gd name="connsiteX6418" fmla="*/ 2387448 w 3135233"/>
                <a:gd name="connsiteY6418" fmla="*/ 1371487 h 2493266"/>
                <a:gd name="connsiteX6419" fmla="*/ 2395787 w 3135233"/>
                <a:gd name="connsiteY6419" fmla="*/ 1371487 h 2493266"/>
                <a:gd name="connsiteX6420" fmla="*/ 2399931 w 3135233"/>
                <a:gd name="connsiteY6420" fmla="*/ 1373115 h 2493266"/>
                <a:gd name="connsiteX6421" fmla="*/ 2408270 w 3135233"/>
                <a:gd name="connsiteY6421" fmla="*/ 1376322 h 2493266"/>
                <a:gd name="connsiteX6422" fmla="*/ 2408270 w 3135233"/>
                <a:gd name="connsiteY6422" fmla="*/ 1381256 h 2493266"/>
                <a:gd name="connsiteX6423" fmla="*/ 2404076 w 3135233"/>
                <a:gd name="connsiteY6423" fmla="*/ 1386190 h 2493266"/>
                <a:gd name="connsiteX6424" fmla="*/ 2404076 w 3135233"/>
                <a:gd name="connsiteY6424" fmla="*/ 1389397 h 2493266"/>
                <a:gd name="connsiteX6425" fmla="*/ 2408270 w 3135233"/>
                <a:gd name="connsiteY6425" fmla="*/ 1389397 h 2493266"/>
                <a:gd name="connsiteX6426" fmla="*/ 2410342 w 3135233"/>
                <a:gd name="connsiteY6426" fmla="*/ 1391075 h 2493266"/>
                <a:gd name="connsiteX6427" fmla="*/ 2408270 w 3135233"/>
                <a:gd name="connsiteY6427" fmla="*/ 1394282 h 2493266"/>
                <a:gd name="connsiteX6428" fmla="*/ 2410342 w 3135233"/>
                <a:gd name="connsiteY6428" fmla="*/ 1395861 h 2493266"/>
                <a:gd name="connsiteX6429" fmla="*/ 2416608 w 3135233"/>
                <a:gd name="connsiteY6429" fmla="*/ 1395861 h 2493266"/>
                <a:gd name="connsiteX6430" fmla="*/ 2416608 w 3135233"/>
                <a:gd name="connsiteY6430" fmla="*/ 1399117 h 2493266"/>
                <a:gd name="connsiteX6431" fmla="*/ 2412464 w 3135233"/>
                <a:gd name="connsiteY6431" fmla="*/ 1404051 h 2493266"/>
                <a:gd name="connsiteX6432" fmla="*/ 2404076 w 3135233"/>
                <a:gd name="connsiteY6432" fmla="*/ 1412143 h 2493266"/>
                <a:gd name="connsiteX6433" fmla="*/ 2397859 w 3135233"/>
                <a:gd name="connsiteY6433" fmla="*/ 1415350 h 2493266"/>
                <a:gd name="connsiteX6434" fmla="*/ 2410342 w 3135233"/>
                <a:gd name="connsiteY6434" fmla="*/ 1413722 h 2493266"/>
                <a:gd name="connsiteX6435" fmla="*/ 2414487 w 3135233"/>
                <a:gd name="connsiteY6435" fmla="*/ 1408788 h 2493266"/>
                <a:gd name="connsiteX6436" fmla="*/ 2416608 w 3135233"/>
                <a:gd name="connsiteY6436" fmla="*/ 1405581 h 2493266"/>
                <a:gd name="connsiteX6437" fmla="*/ 2424898 w 3135233"/>
                <a:gd name="connsiteY6437" fmla="*/ 1405581 h 2493266"/>
                <a:gd name="connsiteX6438" fmla="*/ 2429092 w 3135233"/>
                <a:gd name="connsiteY6438" fmla="*/ 1408788 h 2493266"/>
                <a:gd name="connsiteX6439" fmla="*/ 2429092 w 3135233"/>
                <a:gd name="connsiteY6439" fmla="*/ 1410367 h 2493266"/>
                <a:gd name="connsiteX6440" fmla="*/ 2422875 w 3135233"/>
                <a:gd name="connsiteY6440" fmla="*/ 1413623 h 2493266"/>
                <a:gd name="connsiteX6441" fmla="*/ 2418681 w 3135233"/>
                <a:gd name="connsiteY6441" fmla="*/ 1418558 h 2493266"/>
                <a:gd name="connsiteX6442" fmla="*/ 2422875 w 3135233"/>
                <a:gd name="connsiteY6442" fmla="*/ 1420136 h 2493266"/>
                <a:gd name="connsiteX6443" fmla="*/ 2429092 w 3135233"/>
                <a:gd name="connsiteY6443" fmla="*/ 1420136 h 2493266"/>
                <a:gd name="connsiteX6444" fmla="*/ 2431213 w 3135233"/>
                <a:gd name="connsiteY6444" fmla="*/ 1423344 h 2493266"/>
                <a:gd name="connsiteX6445" fmla="*/ 2429092 w 3135233"/>
                <a:gd name="connsiteY6445" fmla="*/ 1424972 h 2493266"/>
                <a:gd name="connsiteX6446" fmla="*/ 2422875 w 3135233"/>
                <a:gd name="connsiteY6446" fmla="*/ 1426600 h 2493266"/>
                <a:gd name="connsiteX6447" fmla="*/ 2420802 w 3135233"/>
                <a:gd name="connsiteY6447" fmla="*/ 1428179 h 2493266"/>
                <a:gd name="connsiteX6448" fmla="*/ 2424898 w 3135233"/>
                <a:gd name="connsiteY6448" fmla="*/ 1429807 h 2493266"/>
                <a:gd name="connsiteX6449" fmla="*/ 2424898 w 3135233"/>
                <a:gd name="connsiteY6449" fmla="*/ 1436271 h 2493266"/>
                <a:gd name="connsiteX6450" fmla="*/ 2427019 w 3135233"/>
                <a:gd name="connsiteY6450" fmla="*/ 1436271 h 2493266"/>
                <a:gd name="connsiteX6451" fmla="*/ 2427019 w 3135233"/>
                <a:gd name="connsiteY6451" fmla="*/ 1441205 h 2493266"/>
                <a:gd name="connsiteX6452" fmla="*/ 2429092 w 3135233"/>
                <a:gd name="connsiteY6452" fmla="*/ 1441205 h 2493266"/>
                <a:gd name="connsiteX6453" fmla="*/ 2431213 w 3135233"/>
                <a:gd name="connsiteY6453" fmla="*/ 1446139 h 2493266"/>
                <a:gd name="connsiteX6454" fmla="*/ 2431213 w 3135233"/>
                <a:gd name="connsiteY6454" fmla="*/ 1452602 h 2493266"/>
                <a:gd name="connsiteX6455" fmla="*/ 2433286 w 3135233"/>
                <a:gd name="connsiteY6455" fmla="*/ 1454230 h 2493266"/>
                <a:gd name="connsiteX6456" fmla="*/ 2435358 w 3135233"/>
                <a:gd name="connsiteY6456" fmla="*/ 1450974 h 2493266"/>
                <a:gd name="connsiteX6457" fmla="*/ 2435358 w 3135233"/>
                <a:gd name="connsiteY6457" fmla="*/ 1444510 h 2493266"/>
                <a:gd name="connsiteX6458" fmla="*/ 2439502 w 3135233"/>
                <a:gd name="connsiteY6458" fmla="*/ 1442932 h 2493266"/>
                <a:gd name="connsiteX6459" fmla="*/ 2443696 w 3135233"/>
                <a:gd name="connsiteY6459" fmla="*/ 1446139 h 2493266"/>
                <a:gd name="connsiteX6460" fmla="*/ 2443696 w 3135233"/>
                <a:gd name="connsiteY6460" fmla="*/ 1452602 h 2493266"/>
                <a:gd name="connsiteX6461" fmla="*/ 2445768 w 3135233"/>
                <a:gd name="connsiteY6461" fmla="*/ 1455809 h 2493266"/>
                <a:gd name="connsiteX6462" fmla="*/ 2445768 w 3135233"/>
                <a:gd name="connsiteY6462" fmla="*/ 1457438 h 2493266"/>
                <a:gd name="connsiteX6463" fmla="*/ 2439502 w 3135233"/>
                <a:gd name="connsiteY6463" fmla="*/ 1460694 h 2493266"/>
                <a:gd name="connsiteX6464" fmla="*/ 2441624 w 3135233"/>
                <a:gd name="connsiteY6464" fmla="*/ 1462273 h 2493266"/>
                <a:gd name="connsiteX6465" fmla="*/ 2449913 w 3135233"/>
                <a:gd name="connsiteY6465" fmla="*/ 1462273 h 2493266"/>
                <a:gd name="connsiteX6466" fmla="*/ 2452035 w 3135233"/>
                <a:gd name="connsiteY6466" fmla="*/ 1460694 h 2493266"/>
                <a:gd name="connsiteX6467" fmla="*/ 2452035 w 3135233"/>
                <a:gd name="connsiteY6467" fmla="*/ 1463901 h 2493266"/>
                <a:gd name="connsiteX6468" fmla="*/ 2456180 w 3135233"/>
                <a:gd name="connsiteY6468" fmla="*/ 1460694 h 2493266"/>
                <a:gd name="connsiteX6469" fmla="*/ 2456180 w 3135233"/>
                <a:gd name="connsiteY6469" fmla="*/ 1457438 h 2493266"/>
                <a:gd name="connsiteX6470" fmla="*/ 2460324 w 3135233"/>
                <a:gd name="connsiteY6470" fmla="*/ 1457438 h 2493266"/>
                <a:gd name="connsiteX6471" fmla="*/ 2462446 w 3135233"/>
                <a:gd name="connsiteY6471" fmla="*/ 1462372 h 2493266"/>
                <a:gd name="connsiteX6472" fmla="*/ 2460324 w 3135233"/>
                <a:gd name="connsiteY6472" fmla="*/ 1467306 h 2493266"/>
                <a:gd name="connsiteX6473" fmla="*/ 2456180 w 3135233"/>
                <a:gd name="connsiteY6473" fmla="*/ 1470513 h 2493266"/>
                <a:gd name="connsiteX6474" fmla="*/ 2456180 w 3135233"/>
                <a:gd name="connsiteY6474" fmla="*/ 1475447 h 2493266"/>
                <a:gd name="connsiteX6475" fmla="*/ 2454107 w 3135233"/>
                <a:gd name="connsiteY6475" fmla="*/ 1477026 h 2493266"/>
                <a:gd name="connsiteX6476" fmla="*/ 2458252 w 3135233"/>
                <a:gd name="connsiteY6476" fmla="*/ 1478654 h 2493266"/>
                <a:gd name="connsiteX6477" fmla="*/ 2466590 w 3135233"/>
                <a:gd name="connsiteY6477" fmla="*/ 1478654 h 2493266"/>
                <a:gd name="connsiteX6478" fmla="*/ 2470735 w 3135233"/>
                <a:gd name="connsiteY6478" fmla="*/ 1477026 h 2493266"/>
                <a:gd name="connsiteX6479" fmla="*/ 2472857 w 3135233"/>
                <a:gd name="connsiteY6479" fmla="*/ 1478654 h 2493266"/>
                <a:gd name="connsiteX6480" fmla="*/ 2468712 w 3135233"/>
                <a:gd name="connsiteY6480" fmla="*/ 1483588 h 2493266"/>
                <a:gd name="connsiteX6481" fmla="*/ 2466590 w 3135233"/>
                <a:gd name="connsiteY6481" fmla="*/ 1485216 h 2493266"/>
                <a:gd name="connsiteX6482" fmla="*/ 2458252 w 3135233"/>
                <a:gd name="connsiteY6482" fmla="*/ 1486845 h 2493266"/>
                <a:gd name="connsiteX6483" fmla="*/ 2462446 w 3135233"/>
                <a:gd name="connsiteY6483" fmla="*/ 1490052 h 2493266"/>
                <a:gd name="connsiteX6484" fmla="*/ 2466590 w 3135233"/>
                <a:gd name="connsiteY6484" fmla="*/ 1496515 h 2493266"/>
                <a:gd name="connsiteX6485" fmla="*/ 2464518 w 3135233"/>
                <a:gd name="connsiteY6485" fmla="*/ 1501449 h 2493266"/>
                <a:gd name="connsiteX6486" fmla="*/ 2468712 w 3135233"/>
                <a:gd name="connsiteY6486" fmla="*/ 1501449 h 2493266"/>
                <a:gd name="connsiteX6487" fmla="*/ 2470735 w 3135233"/>
                <a:gd name="connsiteY6487" fmla="*/ 1509541 h 2493266"/>
                <a:gd name="connsiteX6488" fmla="*/ 2477001 w 3135233"/>
                <a:gd name="connsiteY6488" fmla="*/ 1520840 h 2493266"/>
                <a:gd name="connsiteX6489" fmla="*/ 2481146 w 3135233"/>
                <a:gd name="connsiteY6489" fmla="*/ 1522419 h 2493266"/>
                <a:gd name="connsiteX6490" fmla="*/ 2474929 w 3135233"/>
                <a:gd name="connsiteY6490" fmla="*/ 1524047 h 2493266"/>
                <a:gd name="connsiteX6491" fmla="*/ 2474929 w 3135233"/>
                <a:gd name="connsiteY6491" fmla="*/ 1532090 h 2493266"/>
                <a:gd name="connsiteX6492" fmla="*/ 2470735 w 3135233"/>
                <a:gd name="connsiteY6492" fmla="*/ 1538553 h 2493266"/>
                <a:gd name="connsiteX6493" fmla="*/ 2472857 w 3135233"/>
                <a:gd name="connsiteY6493" fmla="*/ 1545017 h 2493266"/>
                <a:gd name="connsiteX6494" fmla="*/ 2470735 w 3135233"/>
                <a:gd name="connsiteY6494" fmla="*/ 1548273 h 2493266"/>
                <a:gd name="connsiteX6495" fmla="*/ 2462446 w 3135233"/>
                <a:gd name="connsiteY6495" fmla="*/ 1538405 h 2493266"/>
                <a:gd name="connsiteX6496" fmla="*/ 2460324 w 3135233"/>
                <a:gd name="connsiteY6496" fmla="*/ 1531942 h 2493266"/>
                <a:gd name="connsiteX6497" fmla="*/ 2460324 w 3135233"/>
                <a:gd name="connsiteY6497" fmla="*/ 1525478 h 2493266"/>
                <a:gd name="connsiteX6498" fmla="*/ 2458252 w 3135233"/>
                <a:gd name="connsiteY6498" fmla="*/ 1517435 h 2493266"/>
                <a:gd name="connsiteX6499" fmla="*/ 2458252 w 3135233"/>
                <a:gd name="connsiteY6499" fmla="*/ 1523899 h 2493266"/>
                <a:gd name="connsiteX6500" fmla="*/ 2456180 w 3135233"/>
                <a:gd name="connsiteY6500" fmla="*/ 1533767 h 2493266"/>
                <a:gd name="connsiteX6501" fmla="*/ 2460324 w 3135233"/>
                <a:gd name="connsiteY6501" fmla="*/ 1543635 h 2493266"/>
                <a:gd name="connsiteX6502" fmla="*/ 2460324 w 3135233"/>
                <a:gd name="connsiteY6502" fmla="*/ 1553503 h 2493266"/>
                <a:gd name="connsiteX6503" fmla="*/ 2458252 w 3135233"/>
                <a:gd name="connsiteY6503" fmla="*/ 1558437 h 2493266"/>
                <a:gd name="connsiteX6504" fmla="*/ 2462446 w 3135233"/>
                <a:gd name="connsiteY6504" fmla="*/ 1564901 h 2493266"/>
                <a:gd name="connsiteX6505" fmla="*/ 2460324 w 3135233"/>
                <a:gd name="connsiteY6505" fmla="*/ 1566480 h 2493266"/>
                <a:gd name="connsiteX6506" fmla="*/ 2454107 w 3135233"/>
                <a:gd name="connsiteY6506" fmla="*/ 1564901 h 2493266"/>
                <a:gd name="connsiteX6507" fmla="*/ 2449913 w 3135233"/>
                <a:gd name="connsiteY6507" fmla="*/ 1559967 h 2493266"/>
                <a:gd name="connsiteX6508" fmla="*/ 2443450 w 3135233"/>
                <a:gd name="connsiteY6508" fmla="*/ 1559967 h 2493266"/>
                <a:gd name="connsiteX6509" fmla="*/ 2447594 w 3135233"/>
                <a:gd name="connsiteY6509" fmla="*/ 1571266 h 2493266"/>
                <a:gd name="connsiteX6510" fmla="*/ 2447594 w 3135233"/>
                <a:gd name="connsiteY6510" fmla="*/ 1579358 h 2493266"/>
                <a:gd name="connsiteX6511" fmla="*/ 2449667 w 3135233"/>
                <a:gd name="connsiteY6511" fmla="*/ 1580937 h 2493266"/>
                <a:gd name="connsiteX6512" fmla="*/ 2449667 w 3135233"/>
                <a:gd name="connsiteY6512" fmla="*/ 1585871 h 2493266"/>
                <a:gd name="connsiteX6513" fmla="*/ 2443450 w 3135233"/>
                <a:gd name="connsiteY6513" fmla="*/ 1584242 h 2493266"/>
                <a:gd name="connsiteX6514" fmla="*/ 2439256 w 3135233"/>
                <a:gd name="connsiteY6514" fmla="*/ 1580986 h 2493266"/>
                <a:gd name="connsiteX6515" fmla="*/ 2437183 w 3135233"/>
                <a:gd name="connsiteY6515" fmla="*/ 1571118 h 2493266"/>
                <a:gd name="connsiteX6516" fmla="*/ 2439256 w 3135233"/>
                <a:gd name="connsiteY6516" fmla="*/ 1567911 h 2493266"/>
                <a:gd name="connsiteX6517" fmla="*/ 2439256 w 3135233"/>
                <a:gd name="connsiteY6517" fmla="*/ 1561447 h 2493266"/>
                <a:gd name="connsiteX6518" fmla="*/ 2435111 w 3135233"/>
                <a:gd name="connsiteY6518" fmla="*/ 1564704 h 2493266"/>
                <a:gd name="connsiteX6519" fmla="*/ 2430966 w 3135233"/>
                <a:gd name="connsiteY6519" fmla="*/ 1566283 h 2493266"/>
                <a:gd name="connsiteX6520" fmla="*/ 2428845 w 3135233"/>
                <a:gd name="connsiteY6520" fmla="*/ 1563075 h 2493266"/>
                <a:gd name="connsiteX6521" fmla="*/ 2428845 w 3135233"/>
                <a:gd name="connsiteY6521" fmla="*/ 1553207 h 2493266"/>
                <a:gd name="connsiteX6522" fmla="*/ 2424651 w 3135233"/>
                <a:gd name="connsiteY6522" fmla="*/ 1554885 h 2493266"/>
                <a:gd name="connsiteX6523" fmla="*/ 2422628 w 3135233"/>
                <a:gd name="connsiteY6523" fmla="*/ 1559819 h 2493266"/>
                <a:gd name="connsiteX6524" fmla="*/ 2422628 w 3135233"/>
                <a:gd name="connsiteY6524" fmla="*/ 1554885 h 2493266"/>
                <a:gd name="connsiteX6525" fmla="*/ 2420556 w 3135233"/>
                <a:gd name="connsiteY6525" fmla="*/ 1548421 h 2493266"/>
                <a:gd name="connsiteX6526" fmla="*/ 2416362 w 3135233"/>
                <a:gd name="connsiteY6526" fmla="*/ 1548421 h 2493266"/>
                <a:gd name="connsiteX6527" fmla="*/ 2416362 w 3135233"/>
                <a:gd name="connsiteY6527" fmla="*/ 1549260 h 2493266"/>
                <a:gd name="connsiteX6528" fmla="*/ 2418434 w 3135233"/>
                <a:gd name="connsiteY6528" fmla="*/ 1552467 h 2493266"/>
                <a:gd name="connsiteX6529" fmla="*/ 2416362 w 3135233"/>
                <a:gd name="connsiteY6529" fmla="*/ 1555724 h 2493266"/>
                <a:gd name="connsiteX6530" fmla="*/ 2412217 w 3135233"/>
                <a:gd name="connsiteY6530" fmla="*/ 1552467 h 2493266"/>
                <a:gd name="connsiteX6531" fmla="*/ 2408023 w 3135233"/>
                <a:gd name="connsiteY6531" fmla="*/ 1552467 h 2493266"/>
                <a:gd name="connsiteX6532" fmla="*/ 2408023 w 3135233"/>
                <a:gd name="connsiteY6532" fmla="*/ 1542599 h 2493266"/>
                <a:gd name="connsiteX6533" fmla="*/ 2403829 w 3135233"/>
                <a:gd name="connsiteY6533" fmla="*/ 1532731 h 2493266"/>
                <a:gd name="connsiteX6534" fmla="*/ 2403829 w 3135233"/>
                <a:gd name="connsiteY6534" fmla="*/ 1527797 h 2493266"/>
                <a:gd name="connsiteX6535" fmla="*/ 2401806 w 3135233"/>
                <a:gd name="connsiteY6535" fmla="*/ 1534261 h 2493266"/>
                <a:gd name="connsiteX6536" fmla="*/ 2403829 w 3135233"/>
                <a:gd name="connsiteY6536" fmla="*/ 1542303 h 2493266"/>
                <a:gd name="connsiteX6537" fmla="*/ 2403829 w 3135233"/>
                <a:gd name="connsiteY6537" fmla="*/ 1549260 h 2493266"/>
                <a:gd name="connsiteX6538" fmla="*/ 2401806 w 3135233"/>
                <a:gd name="connsiteY6538" fmla="*/ 1552467 h 2493266"/>
                <a:gd name="connsiteX6539" fmla="*/ 2395540 w 3135233"/>
                <a:gd name="connsiteY6539" fmla="*/ 1542599 h 2493266"/>
                <a:gd name="connsiteX6540" fmla="*/ 2391346 w 3135233"/>
                <a:gd name="connsiteY6540" fmla="*/ 1537665 h 2493266"/>
                <a:gd name="connsiteX6541" fmla="*/ 2391346 w 3135233"/>
                <a:gd name="connsiteY6541" fmla="*/ 1536086 h 2493266"/>
                <a:gd name="connsiteX6542" fmla="*/ 2385129 w 3135233"/>
                <a:gd name="connsiteY6542" fmla="*/ 1534458 h 2493266"/>
                <a:gd name="connsiteX6543" fmla="*/ 2383008 w 3135233"/>
                <a:gd name="connsiteY6543" fmla="*/ 1524590 h 2493266"/>
                <a:gd name="connsiteX6544" fmla="*/ 2378863 w 3135233"/>
                <a:gd name="connsiteY6544" fmla="*/ 1523011 h 2493266"/>
                <a:gd name="connsiteX6545" fmla="*/ 2378863 w 3135233"/>
                <a:gd name="connsiteY6545" fmla="*/ 1519804 h 2493266"/>
                <a:gd name="connsiteX6546" fmla="*/ 2376791 w 3135233"/>
                <a:gd name="connsiteY6546" fmla="*/ 1514870 h 2493266"/>
                <a:gd name="connsiteX6547" fmla="*/ 2372597 w 3135233"/>
                <a:gd name="connsiteY6547" fmla="*/ 1516449 h 2493266"/>
                <a:gd name="connsiteX6548" fmla="*/ 2372597 w 3135233"/>
                <a:gd name="connsiteY6548" fmla="*/ 1519705 h 2493266"/>
                <a:gd name="connsiteX6549" fmla="*/ 2374719 w 3135233"/>
                <a:gd name="connsiteY6549" fmla="*/ 1526119 h 2493266"/>
                <a:gd name="connsiteX6550" fmla="*/ 2376791 w 3135233"/>
                <a:gd name="connsiteY6550" fmla="*/ 1531053 h 2493266"/>
                <a:gd name="connsiteX6551" fmla="*/ 2372597 w 3135233"/>
                <a:gd name="connsiteY6551" fmla="*/ 1527846 h 2493266"/>
                <a:gd name="connsiteX6552" fmla="*/ 2372597 w 3135233"/>
                <a:gd name="connsiteY6552" fmla="*/ 1524590 h 2493266"/>
                <a:gd name="connsiteX6553" fmla="*/ 2368452 w 3135233"/>
                <a:gd name="connsiteY6553" fmla="*/ 1521383 h 2493266"/>
                <a:gd name="connsiteX6554" fmla="*/ 2360114 w 3135233"/>
                <a:gd name="connsiteY6554" fmla="*/ 1518176 h 2493266"/>
                <a:gd name="connsiteX6555" fmla="*/ 2355969 w 3135233"/>
                <a:gd name="connsiteY6555" fmla="*/ 1510084 h 2493266"/>
                <a:gd name="connsiteX6556" fmla="*/ 2355969 w 3135233"/>
                <a:gd name="connsiteY6556" fmla="*/ 1505150 h 2493266"/>
                <a:gd name="connsiteX6557" fmla="*/ 2349703 w 3135233"/>
                <a:gd name="connsiteY6557" fmla="*/ 1503522 h 2493266"/>
                <a:gd name="connsiteX6558" fmla="*/ 2345558 w 3135233"/>
                <a:gd name="connsiteY6558" fmla="*/ 1506778 h 2493266"/>
                <a:gd name="connsiteX6559" fmla="*/ 2341364 w 3135233"/>
                <a:gd name="connsiteY6559" fmla="*/ 1505150 h 2493266"/>
                <a:gd name="connsiteX6560" fmla="*/ 2341364 w 3135233"/>
                <a:gd name="connsiteY6560" fmla="*/ 1518077 h 2493266"/>
                <a:gd name="connsiteX6561" fmla="*/ 2351775 w 3135233"/>
                <a:gd name="connsiteY6561" fmla="*/ 1524491 h 2493266"/>
                <a:gd name="connsiteX6562" fmla="*/ 2351775 w 3135233"/>
                <a:gd name="connsiteY6562" fmla="*/ 1527748 h 2493266"/>
                <a:gd name="connsiteX6563" fmla="*/ 2353897 w 3135233"/>
                <a:gd name="connsiteY6563" fmla="*/ 1532682 h 2493266"/>
                <a:gd name="connsiteX6564" fmla="*/ 2353897 w 3135233"/>
                <a:gd name="connsiteY6564" fmla="*/ 1539392 h 2493266"/>
                <a:gd name="connsiteX6565" fmla="*/ 2355969 w 3135233"/>
                <a:gd name="connsiteY6565" fmla="*/ 1539392 h 2493266"/>
                <a:gd name="connsiteX6566" fmla="*/ 2364308 w 3135233"/>
                <a:gd name="connsiteY6566" fmla="*/ 1541020 h 2493266"/>
                <a:gd name="connsiteX6567" fmla="*/ 2368452 w 3135233"/>
                <a:gd name="connsiteY6567" fmla="*/ 1545954 h 2493266"/>
                <a:gd name="connsiteX6568" fmla="*/ 2368452 w 3135233"/>
                <a:gd name="connsiteY6568" fmla="*/ 1549260 h 2493266"/>
                <a:gd name="connsiteX6569" fmla="*/ 2374719 w 3135233"/>
                <a:gd name="connsiteY6569" fmla="*/ 1549260 h 2493266"/>
                <a:gd name="connsiteX6570" fmla="*/ 2370524 w 3135233"/>
                <a:gd name="connsiteY6570" fmla="*/ 1554194 h 2493266"/>
                <a:gd name="connsiteX6571" fmla="*/ 2378863 w 3135233"/>
                <a:gd name="connsiteY6571" fmla="*/ 1554194 h 2493266"/>
                <a:gd name="connsiteX6572" fmla="*/ 2380935 w 3135233"/>
                <a:gd name="connsiteY6572" fmla="*/ 1559128 h 2493266"/>
                <a:gd name="connsiteX6573" fmla="*/ 2383008 w 3135233"/>
                <a:gd name="connsiteY6573" fmla="*/ 1564062 h 2493266"/>
                <a:gd name="connsiteX6574" fmla="*/ 2383008 w 3135233"/>
                <a:gd name="connsiteY6574" fmla="*/ 1570476 h 2493266"/>
                <a:gd name="connsiteX6575" fmla="*/ 2389274 w 3135233"/>
                <a:gd name="connsiteY6575" fmla="*/ 1568898 h 2493266"/>
                <a:gd name="connsiteX6576" fmla="*/ 2391346 w 3135233"/>
                <a:gd name="connsiteY6576" fmla="*/ 1570476 h 2493266"/>
                <a:gd name="connsiteX6577" fmla="*/ 2393418 w 3135233"/>
                <a:gd name="connsiteY6577" fmla="*/ 1576940 h 2493266"/>
                <a:gd name="connsiteX6578" fmla="*/ 2387202 w 3135233"/>
                <a:gd name="connsiteY6578" fmla="*/ 1583404 h 2493266"/>
                <a:gd name="connsiteX6579" fmla="*/ 2391346 w 3135233"/>
                <a:gd name="connsiteY6579" fmla="*/ 1583404 h 2493266"/>
                <a:gd name="connsiteX6580" fmla="*/ 2393418 w 3135233"/>
                <a:gd name="connsiteY6580" fmla="*/ 1586611 h 2493266"/>
                <a:gd name="connsiteX6581" fmla="*/ 2393418 w 3135233"/>
                <a:gd name="connsiteY6581" fmla="*/ 1589867 h 2493266"/>
                <a:gd name="connsiteX6582" fmla="*/ 2399685 w 3135233"/>
                <a:gd name="connsiteY6582" fmla="*/ 1584933 h 2493266"/>
                <a:gd name="connsiteX6583" fmla="*/ 2401806 w 3135233"/>
                <a:gd name="connsiteY6583" fmla="*/ 1586512 h 2493266"/>
                <a:gd name="connsiteX6584" fmla="*/ 2401806 w 3135233"/>
                <a:gd name="connsiteY6584" fmla="*/ 1592976 h 2493266"/>
                <a:gd name="connsiteX6585" fmla="*/ 2403829 w 3135233"/>
                <a:gd name="connsiteY6585" fmla="*/ 1594604 h 2493266"/>
                <a:gd name="connsiteX6586" fmla="*/ 2405951 w 3135233"/>
                <a:gd name="connsiteY6586" fmla="*/ 1592976 h 2493266"/>
                <a:gd name="connsiteX6587" fmla="*/ 2408023 w 3135233"/>
                <a:gd name="connsiteY6587" fmla="*/ 1596232 h 2493266"/>
                <a:gd name="connsiteX6588" fmla="*/ 2405951 w 3135233"/>
                <a:gd name="connsiteY6588" fmla="*/ 1601166 h 2493266"/>
                <a:gd name="connsiteX6589" fmla="*/ 2399685 w 3135233"/>
                <a:gd name="connsiteY6589" fmla="*/ 1599587 h 2493266"/>
                <a:gd name="connsiteX6590" fmla="*/ 2397613 w 3135233"/>
                <a:gd name="connsiteY6590" fmla="*/ 1602844 h 2493266"/>
                <a:gd name="connsiteX6591" fmla="*/ 2399685 w 3135233"/>
                <a:gd name="connsiteY6591" fmla="*/ 1606051 h 2493266"/>
                <a:gd name="connsiteX6592" fmla="*/ 2403829 w 3135233"/>
                <a:gd name="connsiteY6592" fmla="*/ 1610985 h 2493266"/>
                <a:gd name="connsiteX6593" fmla="*/ 2403829 w 3135233"/>
                <a:gd name="connsiteY6593" fmla="*/ 1615919 h 2493266"/>
                <a:gd name="connsiteX6594" fmla="*/ 1799854 w 3135233"/>
                <a:gd name="connsiteY6594" fmla="*/ 1461977 h 2493266"/>
                <a:gd name="connsiteX6595" fmla="*/ 1804048 w 3135233"/>
                <a:gd name="connsiteY6595" fmla="*/ 1461977 h 2493266"/>
                <a:gd name="connsiteX6596" fmla="*/ 1804048 w 3135233"/>
                <a:gd name="connsiteY6596" fmla="*/ 1457043 h 2493266"/>
                <a:gd name="connsiteX6597" fmla="*/ 1808193 w 3135233"/>
                <a:gd name="connsiteY6597" fmla="*/ 1455415 h 2493266"/>
                <a:gd name="connsiteX6598" fmla="*/ 1810265 w 3135233"/>
                <a:gd name="connsiteY6598" fmla="*/ 1457043 h 2493266"/>
                <a:gd name="connsiteX6599" fmla="*/ 1814459 w 3135233"/>
                <a:gd name="connsiteY6599" fmla="*/ 1458671 h 2493266"/>
                <a:gd name="connsiteX6600" fmla="*/ 1826942 w 3135233"/>
                <a:gd name="connsiteY6600" fmla="*/ 1458671 h 2493266"/>
                <a:gd name="connsiteX6601" fmla="*/ 1831087 w 3135233"/>
                <a:gd name="connsiteY6601" fmla="*/ 1460299 h 2493266"/>
                <a:gd name="connsiteX6602" fmla="*/ 1831087 w 3135233"/>
                <a:gd name="connsiteY6602" fmla="*/ 1463507 h 2493266"/>
                <a:gd name="connsiteX6603" fmla="*/ 1826942 w 3135233"/>
                <a:gd name="connsiteY6603" fmla="*/ 1469970 h 2493266"/>
                <a:gd name="connsiteX6604" fmla="*/ 1826942 w 3135233"/>
                <a:gd name="connsiteY6604" fmla="*/ 1474904 h 2493266"/>
                <a:gd name="connsiteX6605" fmla="*/ 1822748 w 3135233"/>
                <a:gd name="connsiteY6605" fmla="*/ 1479838 h 2493266"/>
                <a:gd name="connsiteX6606" fmla="*/ 1822748 w 3135233"/>
                <a:gd name="connsiteY6606" fmla="*/ 1487930 h 2493266"/>
                <a:gd name="connsiteX6607" fmla="*/ 1824870 w 3135233"/>
                <a:gd name="connsiteY6607" fmla="*/ 1491137 h 2493266"/>
                <a:gd name="connsiteX6608" fmla="*/ 1829014 w 3135233"/>
                <a:gd name="connsiteY6608" fmla="*/ 1489509 h 2493266"/>
                <a:gd name="connsiteX6609" fmla="*/ 1831087 w 3135233"/>
                <a:gd name="connsiteY6609" fmla="*/ 1491137 h 2493266"/>
                <a:gd name="connsiteX6610" fmla="*/ 1837353 w 3135233"/>
                <a:gd name="connsiteY6610" fmla="*/ 1491137 h 2493266"/>
                <a:gd name="connsiteX6611" fmla="*/ 1841547 w 3135233"/>
                <a:gd name="connsiteY6611" fmla="*/ 1487930 h 2493266"/>
                <a:gd name="connsiteX6612" fmla="*/ 1847764 w 3135233"/>
                <a:gd name="connsiteY6612" fmla="*/ 1489509 h 2493266"/>
                <a:gd name="connsiteX6613" fmla="*/ 1847764 w 3135233"/>
                <a:gd name="connsiteY6613" fmla="*/ 1486302 h 2493266"/>
                <a:gd name="connsiteX6614" fmla="*/ 1853981 w 3135233"/>
                <a:gd name="connsiteY6614" fmla="*/ 1483045 h 2493266"/>
                <a:gd name="connsiteX6615" fmla="*/ 1858174 w 3135233"/>
                <a:gd name="connsiteY6615" fmla="*/ 1483045 h 2493266"/>
                <a:gd name="connsiteX6616" fmla="*/ 1864441 w 3135233"/>
                <a:gd name="connsiteY6616" fmla="*/ 1479838 h 2493266"/>
                <a:gd name="connsiteX6617" fmla="*/ 1866513 w 3135233"/>
                <a:gd name="connsiteY6617" fmla="*/ 1471746 h 2493266"/>
                <a:gd name="connsiteX6618" fmla="*/ 1870657 w 3135233"/>
                <a:gd name="connsiteY6618" fmla="*/ 1468539 h 2493266"/>
                <a:gd name="connsiteX6619" fmla="*/ 1874851 w 3135233"/>
                <a:gd name="connsiteY6619" fmla="*/ 1463605 h 2493266"/>
                <a:gd name="connsiteX6620" fmla="*/ 1876924 w 3135233"/>
                <a:gd name="connsiteY6620" fmla="*/ 1463605 h 2493266"/>
                <a:gd name="connsiteX6621" fmla="*/ 1881068 w 3135233"/>
                <a:gd name="connsiteY6621" fmla="*/ 1466862 h 2493266"/>
                <a:gd name="connsiteX6622" fmla="*/ 1885262 w 3135233"/>
                <a:gd name="connsiteY6622" fmla="*/ 1463605 h 2493266"/>
                <a:gd name="connsiteX6623" fmla="*/ 1889407 w 3135233"/>
                <a:gd name="connsiteY6623" fmla="*/ 1461977 h 2493266"/>
                <a:gd name="connsiteX6624" fmla="*/ 1893601 w 3135233"/>
                <a:gd name="connsiteY6624" fmla="*/ 1461977 h 2493266"/>
                <a:gd name="connsiteX6625" fmla="*/ 1895673 w 3135233"/>
                <a:gd name="connsiteY6625" fmla="*/ 1453934 h 2493266"/>
                <a:gd name="connsiteX6626" fmla="*/ 1895673 w 3135233"/>
                <a:gd name="connsiteY6626" fmla="*/ 1447471 h 2493266"/>
                <a:gd name="connsiteX6627" fmla="*/ 1901939 w 3135233"/>
                <a:gd name="connsiteY6627" fmla="*/ 1442537 h 2493266"/>
                <a:gd name="connsiteX6628" fmla="*/ 1904011 w 3135233"/>
                <a:gd name="connsiteY6628" fmla="*/ 1439330 h 2493266"/>
                <a:gd name="connsiteX6629" fmla="*/ 1908206 w 3135233"/>
                <a:gd name="connsiteY6629" fmla="*/ 1439330 h 2493266"/>
                <a:gd name="connsiteX6630" fmla="*/ 1912350 w 3135233"/>
                <a:gd name="connsiteY6630" fmla="*/ 1440909 h 2493266"/>
                <a:gd name="connsiteX6631" fmla="*/ 1916495 w 3135233"/>
                <a:gd name="connsiteY6631" fmla="*/ 1437652 h 2493266"/>
                <a:gd name="connsiteX6632" fmla="*/ 1922761 w 3135233"/>
                <a:gd name="connsiteY6632" fmla="*/ 1437652 h 2493266"/>
                <a:gd name="connsiteX6633" fmla="*/ 1924833 w 3135233"/>
                <a:gd name="connsiteY6633" fmla="*/ 1444116 h 2493266"/>
                <a:gd name="connsiteX6634" fmla="*/ 1918616 w 3135233"/>
                <a:gd name="connsiteY6634" fmla="*/ 1447372 h 2493266"/>
                <a:gd name="connsiteX6635" fmla="*/ 1916495 w 3135233"/>
                <a:gd name="connsiteY6635" fmla="*/ 1450579 h 2493266"/>
                <a:gd name="connsiteX6636" fmla="*/ 1922761 w 3135233"/>
                <a:gd name="connsiteY6636" fmla="*/ 1453836 h 2493266"/>
                <a:gd name="connsiteX6637" fmla="*/ 1933172 w 3135233"/>
                <a:gd name="connsiteY6637" fmla="*/ 1453836 h 2493266"/>
                <a:gd name="connsiteX6638" fmla="*/ 1937316 w 3135233"/>
                <a:gd name="connsiteY6638" fmla="*/ 1455415 h 2493266"/>
                <a:gd name="connsiteX6639" fmla="*/ 1939438 w 3135233"/>
                <a:gd name="connsiteY6639" fmla="*/ 1458671 h 2493266"/>
                <a:gd name="connsiteX6640" fmla="*/ 1935244 w 3135233"/>
                <a:gd name="connsiteY6640" fmla="*/ 1465381 h 2493266"/>
                <a:gd name="connsiteX6641" fmla="*/ 1929027 w 3135233"/>
                <a:gd name="connsiteY6641" fmla="*/ 1465381 h 2493266"/>
                <a:gd name="connsiteX6642" fmla="*/ 1929027 w 3135233"/>
                <a:gd name="connsiteY6642" fmla="*/ 1473424 h 2493266"/>
                <a:gd name="connsiteX6643" fmla="*/ 1933172 w 3135233"/>
                <a:gd name="connsiteY6643" fmla="*/ 1475052 h 2493266"/>
                <a:gd name="connsiteX6644" fmla="*/ 1937316 w 3135233"/>
                <a:gd name="connsiteY6644" fmla="*/ 1473424 h 2493266"/>
                <a:gd name="connsiteX6645" fmla="*/ 1941510 w 3135233"/>
                <a:gd name="connsiteY6645" fmla="*/ 1473424 h 2493266"/>
                <a:gd name="connsiteX6646" fmla="*/ 1943583 w 3135233"/>
                <a:gd name="connsiteY6646" fmla="*/ 1475052 h 2493266"/>
                <a:gd name="connsiteX6647" fmla="*/ 1947727 w 3135233"/>
                <a:gd name="connsiteY6647" fmla="*/ 1475052 h 2493266"/>
                <a:gd name="connsiteX6648" fmla="*/ 1949849 w 3135233"/>
                <a:gd name="connsiteY6648" fmla="*/ 1478259 h 2493266"/>
                <a:gd name="connsiteX6649" fmla="*/ 1956065 w 3135233"/>
                <a:gd name="connsiteY6649" fmla="*/ 1478259 h 2493266"/>
                <a:gd name="connsiteX6650" fmla="*/ 1960260 w 3135233"/>
                <a:gd name="connsiteY6650" fmla="*/ 1481516 h 2493266"/>
                <a:gd name="connsiteX6651" fmla="*/ 1964404 w 3135233"/>
                <a:gd name="connsiteY6651" fmla="*/ 1481516 h 2493266"/>
                <a:gd name="connsiteX6652" fmla="*/ 1972743 w 3135233"/>
                <a:gd name="connsiteY6652" fmla="*/ 1486450 h 2493266"/>
                <a:gd name="connsiteX6653" fmla="*/ 1976887 w 3135233"/>
                <a:gd name="connsiteY6653" fmla="*/ 1484822 h 2493266"/>
                <a:gd name="connsiteX6654" fmla="*/ 1981081 w 3135233"/>
                <a:gd name="connsiteY6654" fmla="*/ 1478358 h 2493266"/>
                <a:gd name="connsiteX6655" fmla="*/ 1985226 w 3135233"/>
                <a:gd name="connsiteY6655" fmla="*/ 1476730 h 2493266"/>
                <a:gd name="connsiteX6656" fmla="*/ 1989370 w 3135233"/>
                <a:gd name="connsiteY6656" fmla="*/ 1471796 h 2493266"/>
                <a:gd name="connsiteX6657" fmla="*/ 1995686 w 3135233"/>
                <a:gd name="connsiteY6657" fmla="*/ 1471796 h 2493266"/>
                <a:gd name="connsiteX6658" fmla="*/ 1997758 w 3135233"/>
                <a:gd name="connsiteY6658" fmla="*/ 1468589 h 2493266"/>
                <a:gd name="connsiteX6659" fmla="*/ 1993564 w 3135233"/>
                <a:gd name="connsiteY6659" fmla="*/ 1467010 h 2493266"/>
                <a:gd name="connsiteX6660" fmla="*/ 1989370 w 3135233"/>
                <a:gd name="connsiteY6660" fmla="*/ 1462076 h 2493266"/>
                <a:gd name="connsiteX6661" fmla="*/ 1993564 w 3135233"/>
                <a:gd name="connsiteY6661" fmla="*/ 1462076 h 2493266"/>
                <a:gd name="connsiteX6662" fmla="*/ 1995686 w 3135233"/>
                <a:gd name="connsiteY6662" fmla="*/ 1457142 h 2493266"/>
                <a:gd name="connsiteX6663" fmla="*/ 1991492 w 3135233"/>
                <a:gd name="connsiteY6663" fmla="*/ 1455513 h 2493266"/>
                <a:gd name="connsiteX6664" fmla="*/ 1989370 w 3135233"/>
                <a:gd name="connsiteY6664" fmla="*/ 1450579 h 2493266"/>
                <a:gd name="connsiteX6665" fmla="*/ 1987347 w 3135233"/>
                <a:gd name="connsiteY6665" fmla="*/ 1452208 h 2493266"/>
                <a:gd name="connsiteX6666" fmla="*/ 1987347 w 3135233"/>
                <a:gd name="connsiteY6666" fmla="*/ 1455513 h 2493266"/>
                <a:gd name="connsiteX6667" fmla="*/ 1983154 w 3135233"/>
                <a:gd name="connsiteY6667" fmla="*/ 1457142 h 2493266"/>
                <a:gd name="connsiteX6668" fmla="*/ 1981081 w 3135233"/>
                <a:gd name="connsiteY6668" fmla="*/ 1455513 h 2493266"/>
                <a:gd name="connsiteX6669" fmla="*/ 1974815 w 3135233"/>
                <a:gd name="connsiteY6669" fmla="*/ 1453934 h 2493266"/>
                <a:gd name="connsiteX6670" fmla="*/ 1974815 w 3135233"/>
                <a:gd name="connsiteY6670" fmla="*/ 1449000 h 2493266"/>
                <a:gd name="connsiteX6671" fmla="*/ 1972743 w 3135233"/>
                <a:gd name="connsiteY6671" fmla="*/ 1450579 h 2493266"/>
                <a:gd name="connsiteX6672" fmla="*/ 1966477 w 3135233"/>
                <a:gd name="connsiteY6672" fmla="*/ 1455513 h 2493266"/>
                <a:gd name="connsiteX6673" fmla="*/ 1956065 w 3135233"/>
                <a:gd name="connsiteY6673" fmla="*/ 1455513 h 2493266"/>
                <a:gd name="connsiteX6674" fmla="*/ 1951921 w 3135233"/>
                <a:gd name="connsiteY6674" fmla="*/ 1452306 h 2493266"/>
                <a:gd name="connsiteX6675" fmla="*/ 1958138 w 3135233"/>
                <a:gd name="connsiteY6675" fmla="*/ 1449099 h 2493266"/>
                <a:gd name="connsiteX6676" fmla="*/ 1962332 w 3135233"/>
                <a:gd name="connsiteY6676" fmla="*/ 1449099 h 2493266"/>
                <a:gd name="connsiteX6677" fmla="*/ 1968549 w 3135233"/>
                <a:gd name="connsiteY6677" fmla="*/ 1445843 h 2493266"/>
                <a:gd name="connsiteX6678" fmla="*/ 1968549 w 3135233"/>
                <a:gd name="connsiteY6678" fmla="*/ 1440909 h 2493266"/>
                <a:gd name="connsiteX6679" fmla="*/ 1966477 w 3135233"/>
                <a:gd name="connsiteY6679" fmla="*/ 1439330 h 2493266"/>
                <a:gd name="connsiteX6680" fmla="*/ 1964404 w 3135233"/>
                <a:gd name="connsiteY6680" fmla="*/ 1432866 h 2493266"/>
                <a:gd name="connsiteX6681" fmla="*/ 1966477 w 3135233"/>
                <a:gd name="connsiteY6681" fmla="*/ 1427932 h 2493266"/>
                <a:gd name="connsiteX6682" fmla="*/ 1966477 w 3135233"/>
                <a:gd name="connsiteY6682" fmla="*/ 1424725 h 2493266"/>
                <a:gd name="connsiteX6683" fmla="*/ 1962332 w 3135233"/>
                <a:gd name="connsiteY6683" fmla="*/ 1423097 h 2493266"/>
                <a:gd name="connsiteX6684" fmla="*/ 1962332 w 3135233"/>
                <a:gd name="connsiteY6684" fmla="*/ 1418163 h 2493266"/>
                <a:gd name="connsiteX6685" fmla="*/ 1953993 w 3135233"/>
                <a:gd name="connsiteY6685" fmla="*/ 1408295 h 2493266"/>
                <a:gd name="connsiteX6686" fmla="*/ 1945655 w 3135233"/>
                <a:gd name="connsiteY6686" fmla="*/ 1406666 h 2493266"/>
                <a:gd name="connsiteX6687" fmla="*/ 1943583 w 3135233"/>
                <a:gd name="connsiteY6687" fmla="*/ 1403459 h 2493266"/>
                <a:gd name="connsiteX6688" fmla="*/ 1941510 w 3135233"/>
                <a:gd name="connsiteY6688" fmla="*/ 1395367 h 2493266"/>
                <a:gd name="connsiteX6689" fmla="*/ 1937316 w 3135233"/>
                <a:gd name="connsiteY6689" fmla="*/ 1395367 h 2493266"/>
                <a:gd name="connsiteX6690" fmla="*/ 1935244 w 3135233"/>
                <a:gd name="connsiteY6690" fmla="*/ 1392160 h 2493266"/>
                <a:gd name="connsiteX6691" fmla="*/ 1937316 w 3135233"/>
                <a:gd name="connsiteY6691" fmla="*/ 1385697 h 2493266"/>
                <a:gd name="connsiteX6692" fmla="*/ 1933172 w 3135233"/>
                <a:gd name="connsiteY6692" fmla="*/ 1380763 h 2493266"/>
                <a:gd name="connsiteX6693" fmla="*/ 1924833 w 3135233"/>
                <a:gd name="connsiteY6693" fmla="*/ 1380763 h 2493266"/>
                <a:gd name="connsiteX6694" fmla="*/ 1914422 w 3135233"/>
                <a:gd name="connsiteY6694" fmla="*/ 1375829 h 2493266"/>
                <a:gd name="connsiteX6695" fmla="*/ 1910228 w 3135233"/>
                <a:gd name="connsiteY6695" fmla="*/ 1370895 h 2493266"/>
                <a:gd name="connsiteX6696" fmla="*/ 1912350 w 3135233"/>
                <a:gd name="connsiteY6696" fmla="*/ 1367638 h 2493266"/>
                <a:gd name="connsiteX6697" fmla="*/ 1912350 w 3135233"/>
                <a:gd name="connsiteY6697" fmla="*/ 1364431 h 2493266"/>
                <a:gd name="connsiteX6698" fmla="*/ 1908206 w 3135233"/>
                <a:gd name="connsiteY6698" fmla="*/ 1361175 h 2493266"/>
                <a:gd name="connsiteX6699" fmla="*/ 1906084 w 3135233"/>
                <a:gd name="connsiteY6699" fmla="*/ 1356241 h 2493266"/>
                <a:gd name="connsiteX6700" fmla="*/ 1904011 w 3135233"/>
                <a:gd name="connsiteY6700" fmla="*/ 1356241 h 2493266"/>
                <a:gd name="connsiteX6701" fmla="*/ 1897795 w 3135233"/>
                <a:gd name="connsiteY6701" fmla="*/ 1362704 h 2493266"/>
                <a:gd name="connsiteX6702" fmla="*/ 1895673 w 3135233"/>
                <a:gd name="connsiteY6702" fmla="*/ 1367638 h 2493266"/>
                <a:gd name="connsiteX6703" fmla="*/ 1891479 w 3135233"/>
                <a:gd name="connsiteY6703" fmla="*/ 1370895 h 2493266"/>
                <a:gd name="connsiteX6704" fmla="*/ 1889407 w 3135233"/>
                <a:gd name="connsiteY6704" fmla="*/ 1367638 h 2493266"/>
                <a:gd name="connsiteX6705" fmla="*/ 1889407 w 3135233"/>
                <a:gd name="connsiteY6705" fmla="*/ 1361767 h 2493266"/>
                <a:gd name="connsiteX6706" fmla="*/ 1887334 w 3135233"/>
                <a:gd name="connsiteY6706" fmla="*/ 1355353 h 2493266"/>
                <a:gd name="connsiteX6707" fmla="*/ 1887334 w 3135233"/>
                <a:gd name="connsiteY6707" fmla="*/ 1352096 h 2493266"/>
                <a:gd name="connsiteX6708" fmla="*/ 1895772 w 3135233"/>
                <a:gd name="connsiteY6708" fmla="*/ 1352096 h 2493266"/>
                <a:gd name="connsiteX6709" fmla="*/ 1893699 w 3135233"/>
                <a:gd name="connsiteY6709" fmla="*/ 1348889 h 2493266"/>
                <a:gd name="connsiteX6710" fmla="*/ 1895772 w 3135233"/>
                <a:gd name="connsiteY6710" fmla="*/ 1343955 h 2493266"/>
                <a:gd name="connsiteX6711" fmla="*/ 1893699 w 3135233"/>
                <a:gd name="connsiteY6711" fmla="*/ 1337491 h 2493266"/>
                <a:gd name="connsiteX6712" fmla="*/ 1887433 w 3135233"/>
                <a:gd name="connsiteY6712" fmla="*/ 1339120 h 2493266"/>
                <a:gd name="connsiteX6713" fmla="*/ 1887433 w 3135233"/>
                <a:gd name="connsiteY6713" fmla="*/ 1335912 h 2493266"/>
                <a:gd name="connsiteX6714" fmla="*/ 1893699 w 3135233"/>
                <a:gd name="connsiteY6714" fmla="*/ 1329449 h 2493266"/>
                <a:gd name="connsiteX6715" fmla="*/ 1889505 w 3135233"/>
                <a:gd name="connsiteY6715" fmla="*/ 1327821 h 2493266"/>
                <a:gd name="connsiteX6716" fmla="*/ 1877022 w 3135233"/>
                <a:gd name="connsiteY6716" fmla="*/ 1332755 h 2493266"/>
                <a:gd name="connsiteX6717" fmla="*/ 1868684 w 3135233"/>
                <a:gd name="connsiteY6717" fmla="*/ 1339218 h 2493266"/>
                <a:gd name="connsiteX6718" fmla="*/ 1864539 w 3135233"/>
                <a:gd name="connsiteY6718" fmla="*/ 1350517 h 2493266"/>
                <a:gd name="connsiteX6719" fmla="*/ 1856299 w 3135233"/>
                <a:gd name="connsiteY6719" fmla="*/ 1358708 h 2493266"/>
                <a:gd name="connsiteX6720" fmla="*/ 1856299 w 3135233"/>
                <a:gd name="connsiteY6720" fmla="*/ 1363642 h 2493266"/>
                <a:gd name="connsiteX6721" fmla="*/ 1852155 w 3135233"/>
                <a:gd name="connsiteY6721" fmla="*/ 1368576 h 2493266"/>
                <a:gd name="connsiteX6722" fmla="*/ 1852155 w 3135233"/>
                <a:gd name="connsiteY6722" fmla="*/ 1371635 h 2493266"/>
                <a:gd name="connsiteX6723" fmla="*/ 1845889 w 3135233"/>
                <a:gd name="connsiteY6723" fmla="*/ 1381503 h 2493266"/>
                <a:gd name="connsiteX6724" fmla="*/ 1847961 w 3135233"/>
                <a:gd name="connsiteY6724" fmla="*/ 1386437 h 2493266"/>
                <a:gd name="connsiteX6725" fmla="*/ 1843767 w 3135233"/>
                <a:gd name="connsiteY6725" fmla="*/ 1388065 h 2493266"/>
                <a:gd name="connsiteX6726" fmla="*/ 1841744 w 3135233"/>
                <a:gd name="connsiteY6726" fmla="*/ 1394529 h 2493266"/>
                <a:gd name="connsiteX6727" fmla="*/ 1841744 w 3135233"/>
                <a:gd name="connsiteY6727" fmla="*/ 1399463 h 2493266"/>
                <a:gd name="connsiteX6728" fmla="*/ 1831284 w 3135233"/>
                <a:gd name="connsiteY6728" fmla="*/ 1405926 h 2493266"/>
                <a:gd name="connsiteX6729" fmla="*/ 1829212 w 3135233"/>
                <a:gd name="connsiteY6729" fmla="*/ 1410860 h 2493266"/>
                <a:gd name="connsiteX6730" fmla="*/ 1829212 w 3135233"/>
                <a:gd name="connsiteY6730" fmla="*/ 1419002 h 2493266"/>
                <a:gd name="connsiteX6731" fmla="*/ 1827139 w 3135233"/>
                <a:gd name="connsiteY6731" fmla="*/ 1422209 h 2493266"/>
                <a:gd name="connsiteX6732" fmla="*/ 1827139 w 3135233"/>
                <a:gd name="connsiteY6732" fmla="*/ 1432077 h 2493266"/>
                <a:gd name="connsiteX6733" fmla="*/ 1822945 w 3135233"/>
                <a:gd name="connsiteY6733" fmla="*/ 1435284 h 2493266"/>
                <a:gd name="connsiteX6734" fmla="*/ 1814656 w 3135233"/>
                <a:gd name="connsiteY6734" fmla="*/ 1436912 h 2493266"/>
                <a:gd name="connsiteX6735" fmla="*/ 1802124 w 3135233"/>
                <a:gd name="connsiteY6735" fmla="*/ 1440169 h 2493266"/>
                <a:gd name="connsiteX6736" fmla="*/ 1802124 w 3135233"/>
                <a:gd name="connsiteY6736" fmla="*/ 1445645 h 2493266"/>
                <a:gd name="connsiteX6737" fmla="*/ 1800051 w 3135233"/>
                <a:gd name="connsiteY6737" fmla="*/ 1455513 h 2493266"/>
                <a:gd name="connsiteX6738" fmla="*/ 1858174 w 3135233"/>
                <a:gd name="connsiteY6738" fmla="*/ 1552319 h 2493266"/>
                <a:gd name="connsiteX6739" fmla="*/ 1860247 w 3135233"/>
                <a:gd name="connsiteY6739" fmla="*/ 1553997 h 2493266"/>
                <a:gd name="connsiteX6740" fmla="*/ 1862368 w 3135233"/>
                <a:gd name="connsiteY6740" fmla="*/ 1552319 h 2493266"/>
                <a:gd name="connsiteX6741" fmla="*/ 1868585 w 3135233"/>
                <a:gd name="connsiteY6741" fmla="*/ 1545905 h 2493266"/>
                <a:gd name="connsiteX6742" fmla="*/ 1876924 w 3135233"/>
                <a:gd name="connsiteY6742" fmla="*/ 1545905 h 2493266"/>
                <a:gd name="connsiteX6743" fmla="*/ 1878996 w 3135233"/>
                <a:gd name="connsiteY6743" fmla="*/ 1549112 h 2493266"/>
                <a:gd name="connsiteX6744" fmla="*/ 1883190 w 3135233"/>
                <a:gd name="connsiteY6744" fmla="*/ 1549112 h 2493266"/>
                <a:gd name="connsiteX6745" fmla="*/ 1893601 w 3135233"/>
                <a:gd name="connsiteY6745" fmla="*/ 1542648 h 2493266"/>
                <a:gd name="connsiteX6746" fmla="*/ 1897795 w 3135233"/>
                <a:gd name="connsiteY6746" fmla="*/ 1541070 h 2493266"/>
                <a:gd name="connsiteX6747" fmla="*/ 1904011 w 3135233"/>
                <a:gd name="connsiteY6747" fmla="*/ 1537813 h 2493266"/>
                <a:gd name="connsiteX6748" fmla="*/ 1910228 w 3135233"/>
                <a:gd name="connsiteY6748" fmla="*/ 1529771 h 2493266"/>
                <a:gd name="connsiteX6749" fmla="*/ 1916495 w 3135233"/>
                <a:gd name="connsiteY6749" fmla="*/ 1529771 h 2493266"/>
                <a:gd name="connsiteX6750" fmla="*/ 1924833 w 3135233"/>
                <a:gd name="connsiteY6750" fmla="*/ 1524837 h 2493266"/>
                <a:gd name="connsiteX6751" fmla="*/ 1924833 w 3135233"/>
                <a:gd name="connsiteY6751" fmla="*/ 1521629 h 2493266"/>
                <a:gd name="connsiteX6752" fmla="*/ 1931099 w 3135233"/>
                <a:gd name="connsiteY6752" fmla="*/ 1515215 h 2493266"/>
                <a:gd name="connsiteX6753" fmla="*/ 1929027 w 3135233"/>
                <a:gd name="connsiteY6753" fmla="*/ 1513587 h 2493266"/>
                <a:gd name="connsiteX6754" fmla="*/ 1922761 w 3135233"/>
                <a:gd name="connsiteY6754" fmla="*/ 1513587 h 2493266"/>
                <a:gd name="connsiteX6755" fmla="*/ 1918616 w 3135233"/>
                <a:gd name="connsiteY6755" fmla="*/ 1511959 h 2493266"/>
                <a:gd name="connsiteX6756" fmla="*/ 1914422 w 3135233"/>
                <a:gd name="connsiteY6756" fmla="*/ 1511959 h 2493266"/>
                <a:gd name="connsiteX6757" fmla="*/ 1908206 w 3135233"/>
                <a:gd name="connsiteY6757" fmla="*/ 1513587 h 2493266"/>
                <a:gd name="connsiteX6758" fmla="*/ 1906084 w 3135233"/>
                <a:gd name="connsiteY6758" fmla="*/ 1511959 h 2493266"/>
                <a:gd name="connsiteX6759" fmla="*/ 1901939 w 3135233"/>
                <a:gd name="connsiteY6759" fmla="*/ 1513587 h 2493266"/>
                <a:gd name="connsiteX6760" fmla="*/ 1897795 w 3135233"/>
                <a:gd name="connsiteY6760" fmla="*/ 1518521 h 2493266"/>
                <a:gd name="connsiteX6761" fmla="*/ 1891479 w 3135233"/>
                <a:gd name="connsiteY6761" fmla="*/ 1515314 h 2493266"/>
                <a:gd name="connsiteX6762" fmla="*/ 1889407 w 3135233"/>
                <a:gd name="connsiteY6762" fmla="*/ 1510380 h 2493266"/>
                <a:gd name="connsiteX6763" fmla="*/ 1887334 w 3135233"/>
                <a:gd name="connsiteY6763" fmla="*/ 1512008 h 2493266"/>
                <a:gd name="connsiteX6764" fmla="*/ 1881068 w 3135233"/>
                <a:gd name="connsiteY6764" fmla="*/ 1513636 h 2493266"/>
                <a:gd name="connsiteX6765" fmla="*/ 1872779 w 3135233"/>
                <a:gd name="connsiteY6765" fmla="*/ 1521679 h 2493266"/>
                <a:gd name="connsiteX6766" fmla="*/ 1872779 w 3135233"/>
                <a:gd name="connsiteY6766" fmla="*/ 1523307 h 2493266"/>
                <a:gd name="connsiteX6767" fmla="*/ 1870657 w 3135233"/>
                <a:gd name="connsiteY6767" fmla="*/ 1526514 h 2493266"/>
                <a:gd name="connsiteX6768" fmla="*/ 1856102 w 3135233"/>
                <a:gd name="connsiteY6768" fmla="*/ 1529771 h 2493266"/>
                <a:gd name="connsiteX6769" fmla="*/ 1856102 w 3135233"/>
                <a:gd name="connsiteY6769" fmla="*/ 1532978 h 2493266"/>
                <a:gd name="connsiteX6770" fmla="*/ 1858174 w 3135233"/>
                <a:gd name="connsiteY6770" fmla="*/ 1536234 h 2493266"/>
                <a:gd name="connsiteX6771" fmla="*/ 1860247 w 3135233"/>
                <a:gd name="connsiteY6771" fmla="*/ 1542648 h 2493266"/>
                <a:gd name="connsiteX6772" fmla="*/ 1858174 w 3135233"/>
                <a:gd name="connsiteY6772" fmla="*/ 1545905 h 2493266"/>
                <a:gd name="connsiteX6773" fmla="*/ 2441427 w 3135233"/>
                <a:gd name="connsiteY6773" fmla="*/ 1592679 h 2493266"/>
                <a:gd name="connsiteX6774" fmla="*/ 2441427 w 3135233"/>
                <a:gd name="connsiteY6774" fmla="*/ 1594308 h 2493266"/>
                <a:gd name="connsiteX6775" fmla="*/ 2447643 w 3135233"/>
                <a:gd name="connsiteY6775" fmla="*/ 1594308 h 2493266"/>
                <a:gd name="connsiteX6776" fmla="*/ 2453910 w 3135233"/>
                <a:gd name="connsiteY6776" fmla="*/ 1599242 h 2493266"/>
                <a:gd name="connsiteX6777" fmla="*/ 2458054 w 3135233"/>
                <a:gd name="connsiteY6777" fmla="*/ 1597614 h 2493266"/>
                <a:gd name="connsiteX6778" fmla="*/ 2458054 w 3135233"/>
                <a:gd name="connsiteY6778" fmla="*/ 1592679 h 2493266"/>
                <a:gd name="connsiteX6779" fmla="*/ 2460127 w 3135233"/>
                <a:gd name="connsiteY6779" fmla="*/ 1591051 h 2493266"/>
                <a:gd name="connsiteX6780" fmla="*/ 2460127 w 3135233"/>
                <a:gd name="connsiteY6780" fmla="*/ 1587844 h 2493266"/>
                <a:gd name="connsiteX6781" fmla="*/ 2455982 w 3135233"/>
                <a:gd name="connsiteY6781" fmla="*/ 1586216 h 2493266"/>
                <a:gd name="connsiteX6782" fmla="*/ 2451838 w 3135233"/>
                <a:gd name="connsiteY6782" fmla="*/ 1587844 h 2493266"/>
                <a:gd name="connsiteX6783" fmla="*/ 2445571 w 3135233"/>
                <a:gd name="connsiteY6783" fmla="*/ 1589472 h 2493266"/>
                <a:gd name="connsiteX6784" fmla="*/ 2258078 w 3135233"/>
                <a:gd name="connsiteY6784" fmla="*/ 1550740 h 2493266"/>
                <a:gd name="connsiteX6785" fmla="*/ 2260199 w 3135233"/>
                <a:gd name="connsiteY6785" fmla="*/ 1552319 h 2493266"/>
                <a:gd name="connsiteX6786" fmla="*/ 2268489 w 3135233"/>
                <a:gd name="connsiteY6786" fmla="*/ 1553997 h 2493266"/>
                <a:gd name="connsiteX6787" fmla="*/ 2268489 w 3135233"/>
                <a:gd name="connsiteY6787" fmla="*/ 1563865 h 2493266"/>
                <a:gd name="connsiteX6788" fmla="*/ 2272683 w 3135233"/>
                <a:gd name="connsiteY6788" fmla="*/ 1565444 h 2493266"/>
                <a:gd name="connsiteX6789" fmla="*/ 2276877 w 3135233"/>
                <a:gd name="connsiteY6789" fmla="*/ 1567072 h 2493266"/>
                <a:gd name="connsiteX6790" fmla="*/ 2281021 w 3135233"/>
                <a:gd name="connsiteY6790" fmla="*/ 1567072 h 2493266"/>
                <a:gd name="connsiteX6791" fmla="*/ 2281021 w 3135233"/>
                <a:gd name="connsiteY6791" fmla="*/ 1565444 h 2493266"/>
                <a:gd name="connsiteX6792" fmla="*/ 2283093 w 3135233"/>
                <a:gd name="connsiteY6792" fmla="*/ 1563865 h 2493266"/>
                <a:gd name="connsiteX6793" fmla="*/ 2283093 w 3135233"/>
                <a:gd name="connsiteY6793" fmla="*/ 1560608 h 2493266"/>
                <a:gd name="connsiteX6794" fmla="*/ 2278900 w 3135233"/>
                <a:gd name="connsiteY6794" fmla="*/ 1557401 h 2493266"/>
                <a:gd name="connsiteX6795" fmla="*/ 2274755 w 3135233"/>
                <a:gd name="connsiteY6795" fmla="*/ 1555773 h 2493266"/>
                <a:gd name="connsiteX6796" fmla="*/ 2272683 w 3135233"/>
                <a:gd name="connsiteY6796" fmla="*/ 1554194 h 2493266"/>
                <a:gd name="connsiteX6797" fmla="*/ 2266466 w 3135233"/>
                <a:gd name="connsiteY6797" fmla="*/ 1550938 h 2493266"/>
                <a:gd name="connsiteX6798" fmla="*/ 2258078 w 3135233"/>
                <a:gd name="connsiteY6798" fmla="*/ 1550938 h 2493266"/>
                <a:gd name="connsiteX6799" fmla="*/ 2433088 w 3135233"/>
                <a:gd name="connsiteY6799" fmla="*/ 1631412 h 2493266"/>
                <a:gd name="connsiteX6800" fmla="*/ 2426822 w 3135233"/>
                <a:gd name="connsiteY6800" fmla="*/ 1628155 h 2493266"/>
                <a:gd name="connsiteX6801" fmla="*/ 2426822 w 3135233"/>
                <a:gd name="connsiteY6801" fmla="*/ 1623221 h 2493266"/>
                <a:gd name="connsiteX6802" fmla="*/ 2424700 w 3135233"/>
                <a:gd name="connsiteY6802" fmla="*/ 1621544 h 2493266"/>
                <a:gd name="connsiteX6803" fmla="*/ 2424700 w 3135233"/>
                <a:gd name="connsiteY6803" fmla="*/ 1618337 h 2493266"/>
                <a:gd name="connsiteX6804" fmla="*/ 2426822 w 3135233"/>
                <a:gd name="connsiteY6804" fmla="*/ 1616758 h 2493266"/>
                <a:gd name="connsiteX6805" fmla="*/ 2431016 w 3135233"/>
                <a:gd name="connsiteY6805" fmla="*/ 1619965 h 2493266"/>
                <a:gd name="connsiteX6806" fmla="*/ 2431016 w 3135233"/>
                <a:gd name="connsiteY6806" fmla="*/ 1623271 h 2493266"/>
                <a:gd name="connsiteX6807" fmla="*/ 2435160 w 3135233"/>
                <a:gd name="connsiteY6807" fmla="*/ 1626478 h 2493266"/>
                <a:gd name="connsiteX6808" fmla="*/ 2435160 w 3135233"/>
                <a:gd name="connsiteY6808" fmla="*/ 1631412 h 2493266"/>
                <a:gd name="connsiteX6809" fmla="*/ 2426822 w 3135233"/>
                <a:gd name="connsiteY6809" fmla="*/ 1650802 h 2493266"/>
                <a:gd name="connsiteX6810" fmla="*/ 2424700 w 3135233"/>
                <a:gd name="connsiteY6810" fmla="*/ 1649125 h 2493266"/>
                <a:gd name="connsiteX6811" fmla="*/ 2424700 w 3135233"/>
                <a:gd name="connsiteY6811" fmla="*/ 1644191 h 2493266"/>
                <a:gd name="connsiteX6812" fmla="*/ 2420605 w 3135233"/>
                <a:gd name="connsiteY6812" fmla="*/ 1642563 h 2493266"/>
                <a:gd name="connsiteX6813" fmla="*/ 2416411 w 3135233"/>
                <a:gd name="connsiteY6813" fmla="*/ 1642563 h 2493266"/>
                <a:gd name="connsiteX6814" fmla="*/ 2412266 w 3135233"/>
                <a:gd name="connsiteY6814" fmla="*/ 1637629 h 2493266"/>
                <a:gd name="connsiteX6815" fmla="*/ 2412266 w 3135233"/>
                <a:gd name="connsiteY6815" fmla="*/ 1634372 h 2493266"/>
                <a:gd name="connsiteX6816" fmla="*/ 2414290 w 3135233"/>
                <a:gd name="connsiteY6816" fmla="*/ 1634372 h 2493266"/>
                <a:gd name="connsiteX6817" fmla="*/ 2418483 w 3135233"/>
                <a:gd name="connsiteY6817" fmla="*/ 1631165 h 2493266"/>
                <a:gd name="connsiteX6818" fmla="*/ 2428894 w 3135233"/>
                <a:gd name="connsiteY6818" fmla="*/ 1632793 h 2493266"/>
                <a:gd name="connsiteX6819" fmla="*/ 2435160 w 3135233"/>
                <a:gd name="connsiteY6819" fmla="*/ 1637727 h 2493266"/>
                <a:gd name="connsiteX6820" fmla="*/ 2437233 w 3135233"/>
                <a:gd name="connsiteY6820" fmla="*/ 1639356 h 2493266"/>
                <a:gd name="connsiteX6821" fmla="*/ 2433088 w 3135233"/>
                <a:gd name="connsiteY6821" fmla="*/ 1640934 h 2493266"/>
                <a:gd name="connsiteX6822" fmla="*/ 2433088 w 3135233"/>
                <a:gd name="connsiteY6822" fmla="*/ 1645868 h 2493266"/>
                <a:gd name="connsiteX6823" fmla="*/ 2428894 w 3135233"/>
                <a:gd name="connsiteY6823" fmla="*/ 1647497 h 2493266"/>
                <a:gd name="connsiteX6824" fmla="*/ 2428894 w 3135233"/>
                <a:gd name="connsiteY6824" fmla="*/ 1650753 h 2493266"/>
                <a:gd name="connsiteX6825" fmla="*/ 2247667 w 3135233"/>
                <a:gd name="connsiteY6825" fmla="*/ 1744549 h 2493266"/>
                <a:gd name="connsiteX6826" fmla="*/ 2245595 w 3135233"/>
                <a:gd name="connsiteY6826" fmla="*/ 1747806 h 2493266"/>
                <a:gd name="connsiteX6827" fmla="*/ 2247667 w 3135233"/>
                <a:gd name="connsiteY6827" fmla="*/ 1746177 h 2493266"/>
                <a:gd name="connsiteX6828" fmla="*/ 2251861 w 3135233"/>
                <a:gd name="connsiteY6828" fmla="*/ 1744549 h 2493266"/>
                <a:gd name="connsiteX6829" fmla="*/ 2249789 w 3135233"/>
                <a:gd name="connsiteY6829" fmla="*/ 1747806 h 2493266"/>
                <a:gd name="connsiteX6830" fmla="*/ 2251861 w 3135233"/>
                <a:gd name="connsiteY6830" fmla="*/ 1747806 h 2493266"/>
                <a:gd name="connsiteX6831" fmla="*/ 2256055 w 3135233"/>
                <a:gd name="connsiteY6831" fmla="*/ 1744549 h 2493266"/>
                <a:gd name="connsiteX6832" fmla="*/ 2253933 w 3135233"/>
                <a:gd name="connsiteY6832" fmla="*/ 1747806 h 2493266"/>
                <a:gd name="connsiteX6833" fmla="*/ 2253933 w 3135233"/>
                <a:gd name="connsiteY6833" fmla="*/ 1755848 h 2493266"/>
                <a:gd name="connsiteX6834" fmla="*/ 2256055 w 3135233"/>
                <a:gd name="connsiteY6834" fmla="*/ 1754269 h 2493266"/>
                <a:gd name="connsiteX6835" fmla="*/ 2258078 w 3135233"/>
                <a:gd name="connsiteY6835" fmla="*/ 1749335 h 2493266"/>
                <a:gd name="connsiteX6836" fmla="*/ 2301843 w 3135233"/>
                <a:gd name="connsiteY6836" fmla="*/ 1697775 h 2493266"/>
                <a:gd name="connsiteX6837" fmla="*/ 2301843 w 3135233"/>
                <a:gd name="connsiteY6837" fmla="*/ 1694518 h 2493266"/>
                <a:gd name="connsiteX6838" fmla="*/ 2303915 w 3135233"/>
                <a:gd name="connsiteY6838" fmla="*/ 1689584 h 2493266"/>
                <a:gd name="connsiteX6839" fmla="*/ 2305987 w 3135233"/>
                <a:gd name="connsiteY6839" fmla="*/ 1686377 h 2493266"/>
                <a:gd name="connsiteX6840" fmla="*/ 2308109 w 3135233"/>
                <a:gd name="connsiteY6840" fmla="*/ 1683120 h 2493266"/>
                <a:gd name="connsiteX6841" fmla="*/ 2314326 w 3135233"/>
                <a:gd name="connsiteY6841" fmla="*/ 1678186 h 2493266"/>
                <a:gd name="connsiteX6842" fmla="*/ 2322714 w 3135233"/>
                <a:gd name="connsiteY6842" fmla="*/ 1676509 h 2493266"/>
                <a:gd name="connsiteX6843" fmla="*/ 2324737 w 3135233"/>
                <a:gd name="connsiteY6843" fmla="*/ 1679765 h 2493266"/>
                <a:gd name="connsiteX6844" fmla="*/ 2322714 w 3135233"/>
                <a:gd name="connsiteY6844" fmla="*/ 1682972 h 2493266"/>
                <a:gd name="connsiteX6845" fmla="*/ 2324737 w 3135233"/>
                <a:gd name="connsiteY6845" fmla="*/ 1682972 h 2493266"/>
                <a:gd name="connsiteX6846" fmla="*/ 2324737 w 3135233"/>
                <a:gd name="connsiteY6846" fmla="*/ 1686229 h 2493266"/>
                <a:gd name="connsiteX6847" fmla="*/ 2318520 w 3135233"/>
                <a:gd name="connsiteY6847" fmla="*/ 1689436 h 2493266"/>
                <a:gd name="connsiteX6848" fmla="*/ 2316398 w 3135233"/>
                <a:gd name="connsiteY6848" fmla="*/ 1692692 h 2493266"/>
                <a:gd name="connsiteX6849" fmla="*/ 2312303 w 3135233"/>
                <a:gd name="connsiteY6849" fmla="*/ 1692692 h 2493266"/>
                <a:gd name="connsiteX6850" fmla="*/ 2305987 w 3135233"/>
                <a:gd name="connsiteY6850" fmla="*/ 1697627 h 2493266"/>
                <a:gd name="connsiteX6851" fmla="*/ 2145631 w 3135233"/>
                <a:gd name="connsiteY6851" fmla="*/ 1544326 h 2493266"/>
                <a:gd name="connsiteX6852" fmla="*/ 2151897 w 3135233"/>
                <a:gd name="connsiteY6852" fmla="*/ 1549260 h 2493266"/>
                <a:gd name="connsiteX6853" fmla="*/ 2156042 w 3135233"/>
                <a:gd name="connsiteY6853" fmla="*/ 1552467 h 2493266"/>
                <a:gd name="connsiteX6854" fmla="*/ 2162210 w 3135233"/>
                <a:gd name="connsiteY6854" fmla="*/ 1554194 h 2493266"/>
                <a:gd name="connsiteX6855" fmla="*/ 2168427 w 3135233"/>
                <a:gd name="connsiteY6855" fmla="*/ 1555773 h 2493266"/>
                <a:gd name="connsiteX6856" fmla="*/ 2166354 w 3135233"/>
                <a:gd name="connsiteY6856" fmla="*/ 1554194 h 2493266"/>
                <a:gd name="connsiteX6857" fmla="*/ 2160088 w 3135233"/>
                <a:gd name="connsiteY6857" fmla="*/ 1550938 h 2493266"/>
                <a:gd name="connsiteX6858" fmla="*/ 2151799 w 3135233"/>
                <a:gd name="connsiteY6858" fmla="*/ 1546004 h 2493266"/>
                <a:gd name="connsiteX6859" fmla="*/ 2147605 w 3135233"/>
                <a:gd name="connsiteY6859" fmla="*/ 1544375 h 2493266"/>
                <a:gd name="connsiteX6860" fmla="*/ 2091357 w 3135233"/>
                <a:gd name="connsiteY6860" fmla="*/ 1503966 h 2493266"/>
                <a:gd name="connsiteX6861" fmla="*/ 2097623 w 3135233"/>
                <a:gd name="connsiteY6861" fmla="*/ 1503966 h 2493266"/>
                <a:gd name="connsiteX6862" fmla="*/ 2099696 w 3135233"/>
                <a:gd name="connsiteY6862" fmla="*/ 1507222 h 2493266"/>
                <a:gd name="connsiteX6863" fmla="*/ 2103840 w 3135233"/>
                <a:gd name="connsiteY6863" fmla="*/ 1505594 h 2493266"/>
                <a:gd name="connsiteX6864" fmla="*/ 2103840 w 3135233"/>
                <a:gd name="connsiteY6864" fmla="*/ 1503966 h 2493266"/>
                <a:gd name="connsiteX6865" fmla="*/ 2105962 w 3135233"/>
                <a:gd name="connsiteY6865" fmla="*/ 1502387 h 2493266"/>
                <a:gd name="connsiteX6866" fmla="*/ 2105962 w 3135233"/>
                <a:gd name="connsiteY6866" fmla="*/ 1499130 h 2493266"/>
                <a:gd name="connsiteX6867" fmla="*/ 2103840 w 3135233"/>
                <a:gd name="connsiteY6867" fmla="*/ 1497551 h 2493266"/>
                <a:gd name="connsiteX6868" fmla="*/ 2105962 w 3135233"/>
                <a:gd name="connsiteY6868" fmla="*/ 1495923 h 2493266"/>
                <a:gd name="connsiteX6869" fmla="*/ 2105962 w 3135233"/>
                <a:gd name="connsiteY6869" fmla="*/ 1494295 h 2493266"/>
                <a:gd name="connsiteX6870" fmla="*/ 2099696 w 3135233"/>
                <a:gd name="connsiteY6870" fmla="*/ 1489361 h 2493266"/>
                <a:gd name="connsiteX6871" fmla="*/ 2095551 w 3135233"/>
                <a:gd name="connsiteY6871" fmla="*/ 1489361 h 2493266"/>
                <a:gd name="connsiteX6872" fmla="*/ 2093429 w 3135233"/>
                <a:gd name="connsiteY6872" fmla="*/ 1487782 h 2493266"/>
                <a:gd name="connsiteX6873" fmla="*/ 2091357 w 3135233"/>
                <a:gd name="connsiteY6873" fmla="*/ 1486154 h 2493266"/>
                <a:gd name="connsiteX6874" fmla="*/ 2089284 w 3135233"/>
                <a:gd name="connsiteY6874" fmla="*/ 1486154 h 2493266"/>
                <a:gd name="connsiteX6875" fmla="*/ 2085140 w 3135233"/>
                <a:gd name="connsiteY6875" fmla="*/ 1484526 h 2493266"/>
                <a:gd name="connsiteX6876" fmla="*/ 2080946 w 3135233"/>
                <a:gd name="connsiteY6876" fmla="*/ 1486154 h 2493266"/>
                <a:gd name="connsiteX6877" fmla="*/ 2078874 w 3135233"/>
                <a:gd name="connsiteY6877" fmla="*/ 1487782 h 2493266"/>
                <a:gd name="connsiteX6878" fmla="*/ 2080946 w 3135233"/>
                <a:gd name="connsiteY6878" fmla="*/ 1490989 h 2493266"/>
                <a:gd name="connsiteX6879" fmla="*/ 2083265 w 3135233"/>
                <a:gd name="connsiteY6879" fmla="*/ 1490989 h 2493266"/>
                <a:gd name="connsiteX6880" fmla="*/ 2085387 w 3135233"/>
                <a:gd name="connsiteY6880" fmla="*/ 1492617 h 2493266"/>
                <a:gd name="connsiteX6881" fmla="*/ 2087459 w 3135233"/>
                <a:gd name="connsiteY6881" fmla="*/ 1495825 h 2493266"/>
                <a:gd name="connsiteX6882" fmla="*/ 2091604 w 3135233"/>
                <a:gd name="connsiteY6882" fmla="*/ 1499032 h 2493266"/>
                <a:gd name="connsiteX6883" fmla="*/ 2053907 w 3135233"/>
                <a:gd name="connsiteY6883" fmla="*/ 1518521 h 2493266"/>
                <a:gd name="connsiteX6884" fmla="*/ 2060124 w 3135233"/>
                <a:gd name="connsiteY6884" fmla="*/ 1516893 h 2493266"/>
                <a:gd name="connsiteX6885" fmla="*/ 2062197 w 3135233"/>
                <a:gd name="connsiteY6885" fmla="*/ 1515314 h 2493266"/>
                <a:gd name="connsiteX6886" fmla="*/ 2066341 w 3135233"/>
                <a:gd name="connsiteY6886" fmla="*/ 1515314 h 2493266"/>
                <a:gd name="connsiteX6887" fmla="*/ 2070535 w 3135233"/>
                <a:gd name="connsiteY6887" fmla="*/ 1513686 h 2493266"/>
                <a:gd name="connsiteX6888" fmla="*/ 2070535 w 3135233"/>
                <a:gd name="connsiteY6888" fmla="*/ 1499130 h 2493266"/>
                <a:gd name="connsiteX6889" fmla="*/ 2066341 w 3135233"/>
                <a:gd name="connsiteY6889" fmla="*/ 1499130 h 2493266"/>
                <a:gd name="connsiteX6890" fmla="*/ 2060124 w 3135233"/>
                <a:gd name="connsiteY6890" fmla="*/ 1497551 h 2493266"/>
                <a:gd name="connsiteX6891" fmla="*/ 2055931 w 3135233"/>
                <a:gd name="connsiteY6891" fmla="*/ 1494295 h 2493266"/>
                <a:gd name="connsiteX6892" fmla="*/ 2051786 w 3135233"/>
                <a:gd name="connsiteY6892" fmla="*/ 1491088 h 2493266"/>
                <a:gd name="connsiteX6893" fmla="*/ 2049714 w 3135233"/>
                <a:gd name="connsiteY6893" fmla="*/ 1492716 h 2493266"/>
                <a:gd name="connsiteX6894" fmla="*/ 2043793 w 3135233"/>
                <a:gd name="connsiteY6894" fmla="*/ 1492716 h 2493266"/>
                <a:gd name="connsiteX6895" fmla="*/ 2039599 w 3135233"/>
                <a:gd name="connsiteY6895" fmla="*/ 1491088 h 2493266"/>
                <a:gd name="connsiteX6896" fmla="*/ 2039599 w 3135233"/>
                <a:gd name="connsiteY6896" fmla="*/ 1499130 h 2493266"/>
                <a:gd name="connsiteX6897" fmla="*/ 2045816 w 3135233"/>
                <a:gd name="connsiteY6897" fmla="*/ 1504064 h 2493266"/>
                <a:gd name="connsiteX6898" fmla="*/ 2047937 w 3135233"/>
                <a:gd name="connsiteY6898" fmla="*/ 1510528 h 2493266"/>
                <a:gd name="connsiteX6899" fmla="*/ 2050010 w 3135233"/>
                <a:gd name="connsiteY6899" fmla="*/ 1512156 h 2493266"/>
                <a:gd name="connsiteX6900" fmla="*/ 2052082 w 3135233"/>
                <a:gd name="connsiteY6900" fmla="*/ 1517090 h 2493266"/>
                <a:gd name="connsiteX6901" fmla="*/ 2047740 w 3135233"/>
                <a:gd name="connsiteY6901" fmla="*/ 1544326 h 2493266"/>
                <a:gd name="connsiteX6902" fmla="*/ 2049812 w 3135233"/>
                <a:gd name="connsiteY6902" fmla="*/ 1542698 h 2493266"/>
                <a:gd name="connsiteX6903" fmla="*/ 2041474 w 3135233"/>
                <a:gd name="connsiteY6903" fmla="*/ 1541119 h 2493266"/>
                <a:gd name="connsiteX6904" fmla="*/ 2039401 w 3135233"/>
                <a:gd name="connsiteY6904" fmla="*/ 1542698 h 2493266"/>
                <a:gd name="connsiteX6905" fmla="*/ 2041474 w 3135233"/>
                <a:gd name="connsiteY6905" fmla="*/ 1544326 h 2493266"/>
                <a:gd name="connsiteX6906" fmla="*/ 1968795 w 3135233"/>
                <a:gd name="connsiteY6906" fmla="*/ 1592729 h 2493266"/>
                <a:gd name="connsiteX6907" fmla="*/ 1970917 w 3135233"/>
                <a:gd name="connsiteY6907" fmla="*/ 1592729 h 2493266"/>
                <a:gd name="connsiteX6908" fmla="*/ 1972989 w 3135233"/>
                <a:gd name="connsiteY6908" fmla="*/ 1591101 h 2493266"/>
                <a:gd name="connsiteX6909" fmla="*/ 1972989 w 3135233"/>
                <a:gd name="connsiteY6909" fmla="*/ 1587893 h 2493266"/>
                <a:gd name="connsiteX6910" fmla="*/ 1975062 w 3135233"/>
                <a:gd name="connsiteY6910" fmla="*/ 1584686 h 2493266"/>
                <a:gd name="connsiteX6911" fmla="*/ 1977134 w 3135233"/>
                <a:gd name="connsiteY6911" fmla="*/ 1583058 h 2493266"/>
                <a:gd name="connsiteX6912" fmla="*/ 1975062 w 3135233"/>
                <a:gd name="connsiteY6912" fmla="*/ 1581479 h 2493266"/>
                <a:gd name="connsiteX6913" fmla="*/ 1975062 w 3135233"/>
                <a:gd name="connsiteY6913" fmla="*/ 1578223 h 2493266"/>
                <a:gd name="connsiteX6914" fmla="*/ 1981328 w 3135233"/>
                <a:gd name="connsiteY6914" fmla="*/ 1573289 h 2493266"/>
                <a:gd name="connsiteX6915" fmla="*/ 1985472 w 3135233"/>
                <a:gd name="connsiteY6915" fmla="*/ 1568355 h 2493266"/>
                <a:gd name="connsiteX6916" fmla="*/ 1989518 w 3135233"/>
                <a:gd name="connsiteY6916" fmla="*/ 1568355 h 2493266"/>
                <a:gd name="connsiteX6917" fmla="*/ 1991640 w 3135233"/>
                <a:gd name="connsiteY6917" fmla="*/ 1566727 h 2493266"/>
                <a:gd name="connsiteX6918" fmla="*/ 1991640 w 3135233"/>
                <a:gd name="connsiteY6918" fmla="*/ 1563519 h 2493266"/>
                <a:gd name="connsiteX6919" fmla="*/ 1989518 w 3135233"/>
                <a:gd name="connsiteY6919" fmla="*/ 1560263 h 2493266"/>
                <a:gd name="connsiteX6920" fmla="*/ 1993712 w 3135233"/>
                <a:gd name="connsiteY6920" fmla="*/ 1557056 h 2493266"/>
                <a:gd name="connsiteX6921" fmla="*/ 1995834 w 3135233"/>
                <a:gd name="connsiteY6921" fmla="*/ 1553849 h 2493266"/>
                <a:gd name="connsiteX6922" fmla="*/ 1995834 w 3135233"/>
                <a:gd name="connsiteY6922" fmla="*/ 1547385 h 2493266"/>
                <a:gd name="connsiteX6923" fmla="*/ 1993712 w 3135233"/>
                <a:gd name="connsiteY6923" fmla="*/ 1544129 h 2493266"/>
                <a:gd name="connsiteX6924" fmla="*/ 1989518 w 3135233"/>
                <a:gd name="connsiteY6924" fmla="*/ 1545757 h 2493266"/>
                <a:gd name="connsiteX6925" fmla="*/ 1985374 w 3135233"/>
                <a:gd name="connsiteY6925" fmla="*/ 1545757 h 2493266"/>
                <a:gd name="connsiteX6926" fmla="*/ 1983301 w 3135233"/>
                <a:gd name="connsiteY6926" fmla="*/ 1542500 h 2493266"/>
                <a:gd name="connsiteX6927" fmla="*/ 1979108 w 3135233"/>
                <a:gd name="connsiteY6927" fmla="*/ 1542500 h 2493266"/>
                <a:gd name="connsiteX6928" fmla="*/ 1977035 w 3135233"/>
                <a:gd name="connsiteY6928" fmla="*/ 1545757 h 2493266"/>
                <a:gd name="connsiteX6929" fmla="*/ 1970818 w 3135233"/>
                <a:gd name="connsiteY6929" fmla="*/ 1550691 h 2493266"/>
                <a:gd name="connsiteX6930" fmla="*/ 1966624 w 3135233"/>
                <a:gd name="connsiteY6930" fmla="*/ 1550691 h 2493266"/>
                <a:gd name="connsiteX6931" fmla="*/ 1962480 w 3135233"/>
                <a:gd name="connsiteY6931" fmla="*/ 1555625 h 2493266"/>
                <a:gd name="connsiteX6932" fmla="*/ 1962480 w 3135233"/>
                <a:gd name="connsiteY6932" fmla="*/ 1560559 h 2493266"/>
                <a:gd name="connsiteX6933" fmla="*/ 1964552 w 3135233"/>
                <a:gd name="connsiteY6933" fmla="*/ 1565493 h 2493266"/>
                <a:gd name="connsiteX6934" fmla="*/ 1960407 w 3135233"/>
                <a:gd name="connsiteY6934" fmla="*/ 1567121 h 2493266"/>
                <a:gd name="connsiteX6935" fmla="*/ 1958286 w 3135233"/>
                <a:gd name="connsiteY6935" fmla="*/ 1572055 h 2493266"/>
                <a:gd name="connsiteX6936" fmla="*/ 1958286 w 3135233"/>
                <a:gd name="connsiteY6936" fmla="*/ 1576989 h 2493266"/>
                <a:gd name="connsiteX6937" fmla="*/ 1956214 w 3135233"/>
                <a:gd name="connsiteY6937" fmla="*/ 1580196 h 2493266"/>
                <a:gd name="connsiteX6938" fmla="*/ 1958286 w 3135233"/>
                <a:gd name="connsiteY6938" fmla="*/ 1581874 h 2493266"/>
                <a:gd name="connsiteX6939" fmla="*/ 1962480 w 3135233"/>
                <a:gd name="connsiteY6939" fmla="*/ 1583453 h 2493266"/>
                <a:gd name="connsiteX6940" fmla="*/ 1964552 w 3135233"/>
                <a:gd name="connsiteY6940" fmla="*/ 1586660 h 2493266"/>
                <a:gd name="connsiteX6941" fmla="*/ 1966624 w 3135233"/>
                <a:gd name="connsiteY6941" fmla="*/ 1588288 h 2493266"/>
                <a:gd name="connsiteX6942" fmla="*/ 1895772 w 3135233"/>
                <a:gd name="connsiteY6942" fmla="*/ 1850878 h 2493266"/>
                <a:gd name="connsiteX6943" fmla="*/ 1897893 w 3135233"/>
                <a:gd name="connsiteY6943" fmla="*/ 1854085 h 2493266"/>
                <a:gd name="connsiteX6944" fmla="*/ 1899916 w 3135233"/>
                <a:gd name="connsiteY6944" fmla="*/ 1852457 h 2493266"/>
                <a:gd name="connsiteX6945" fmla="*/ 1897893 w 3135233"/>
                <a:gd name="connsiteY6945" fmla="*/ 1850878 h 2493266"/>
                <a:gd name="connsiteX6946" fmla="*/ 1899916 w 3135233"/>
                <a:gd name="connsiteY6946" fmla="*/ 1878261 h 2493266"/>
                <a:gd name="connsiteX6947" fmla="*/ 1904110 w 3135233"/>
                <a:gd name="connsiteY6947" fmla="*/ 1871847 h 2493266"/>
                <a:gd name="connsiteX6948" fmla="*/ 1906182 w 3135233"/>
                <a:gd name="connsiteY6948" fmla="*/ 1866913 h 2493266"/>
                <a:gd name="connsiteX6949" fmla="*/ 1908304 w 3135233"/>
                <a:gd name="connsiteY6949" fmla="*/ 1866913 h 2493266"/>
                <a:gd name="connsiteX6950" fmla="*/ 1908304 w 3135233"/>
                <a:gd name="connsiteY6950" fmla="*/ 1874906 h 2493266"/>
                <a:gd name="connsiteX6951" fmla="*/ 1904110 w 3135233"/>
                <a:gd name="connsiteY6951" fmla="*/ 1878113 h 2493266"/>
                <a:gd name="connsiteX6952" fmla="*/ 1858273 w 3135233"/>
                <a:gd name="connsiteY6952" fmla="*/ 1870219 h 2493266"/>
                <a:gd name="connsiteX6953" fmla="*/ 1860345 w 3135233"/>
                <a:gd name="connsiteY6953" fmla="*/ 1863755 h 2493266"/>
                <a:gd name="connsiteX6954" fmla="*/ 1866612 w 3135233"/>
                <a:gd name="connsiteY6954" fmla="*/ 1863755 h 2493266"/>
                <a:gd name="connsiteX6955" fmla="*/ 1868684 w 3135233"/>
                <a:gd name="connsiteY6955" fmla="*/ 1862177 h 2493266"/>
                <a:gd name="connsiteX6956" fmla="*/ 1870756 w 3135233"/>
                <a:gd name="connsiteY6956" fmla="*/ 1862177 h 2493266"/>
                <a:gd name="connsiteX6957" fmla="*/ 1874950 w 3135233"/>
                <a:gd name="connsiteY6957" fmla="*/ 1858920 h 2493266"/>
                <a:gd name="connsiteX6958" fmla="*/ 1879095 w 3135233"/>
                <a:gd name="connsiteY6958" fmla="*/ 1857292 h 2493266"/>
                <a:gd name="connsiteX6959" fmla="*/ 1874950 w 3135233"/>
                <a:gd name="connsiteY6959" fmla="*/ 1863755 h 2493266"/>
                <a:gd name="connsiteX6960" fmla="*/ 1864539 w 3135233"/>
                <a:gd name="connsiteY6960" fmla="*/ 1868689 h 2493266"/>
                <a:gd name="connsiteX6961" fmla="*/ 1860345 w 3135233"/>
                <a:gd name="connsiteY6961" fmla="*/ 1870268 h 2493266"/>
                <a:gd name="connsiteX6962" fmla="*/ 1887433 w 3135233"/>
                <a:gd name="connsiteY6962" fmla="*/ 1881518 h 2493266"/>
                <a:gd name="connsiteX6963" fmla="*/ 1895772 w 3135233"/>
                <a:gd name="connsiteY6963" fmla="*/ 1871650 h 2493266"/>
                <a:gd name="connsiteX6964" fmla="*/ 1897893 w 3135233"/>
                <a:gd name="connsiteY6964" fmla="*/ 1866716 h 2493266"/>
                <a:gd name="connsiteX6965" fmla="*/ 1899916 w 3135233"/>
                <a:gd name="connsiteY6965" fmla="*/ 1866716 h 2493266"/>
                <a:gd name="connsiteX6966" fmla="*/ 1899916 w 3135233"/>
                <a:gd name="connsiteY6966" fmla="*/ 1869972 h 2493266"/>
                <a:gd name="connsiteX6967" fmla="*/ 1889505 w 3135233"/>
                <a:gd name="connsiteY6967" fmla="*/ 1879840 h 2493266"/>
                <a:gd name="connsiteX6968" fmla="*/ 1887433 w 3135233"/>
                <a:gd name="connsiteY6968" fmla="*/ 1884774 h 2493266"/>
                <a:gd name="connsiteX6969" fmla="*/ 1891578 w 3135233"/>
                <a:gd name="connsiteY6969" fmla="*/ 1881567 h 2493266"/>
                <a:gd name="connsiteX6970" fmla="*/ 1899916 w 3135233"/>
                <a:gd name="connsiteY6970" fmla="*/ 1873475 h 2493266"/>
                <a:gd name="connsiteX6971" fmla="*/ 1902038 w 3135233"/>
                <a:gd name="connsiteY6971" fmla="*/ 1871897 h 2493266"/>
                <a:gd name="connsiteX6972" fmla="*/ 1904110 w 3135233"/>
                <a:gd name="connsiteY6972" fmla="*/ 1863805 h 2493266"/>
                <a:gd name="connsiteX6973" fmla="*/ 1899916 w 3135233"/>
                <a:gd name="connsiteY6973" fmla="*/ 1862226 h 2493266"/>
                <a:gd name="connsiteX6974" fmla="*/ 1899916 w 3135233"/>
                <a:gd name="connsiteY6974" fmla="*/ 1862226 h 2493266"/>
                <a:gd name="connsiteX6975" fmla="*/ 1899916 w 3135233"/>
                <a:gd name="connsiteY6975" fmla="*/ 1857292 h 2493266"/>
                <a:gd name="connsiteX6976" fmla="*/ 1893699 w 3135233"/>
                <a:gd name="connsiteY6976" fmla="*/ 1855713 h 2493266"/>
                <a:gd name="connsiteX6977" fmla="*/ 1891578 w 3135233"/>
                <a:gd name="connsiteY6977" fmla="*/ 1857292 h 2493266"/>
                <a:gd name="connsiteX6978" fmla="*/ 1887433 w 3135233"/>
                <a:gd name="connsiteY6978" fmla="*/ 1867160 h 2493266"/>
                <a:gd name="connsiteX6979" fmla="*/ 1883288 w 3135233"/>
                <a:gd name="connsiteY6979" fmla="*/ 1870416 h 2493266"/>
                <a:gd name="connsiteX6980" fmla="*/ 1877022 w 3135233"/>
                <a:gd name="connsiteY6980" fmla="*/ 1873623 h 2493266"/>
                <a:gd name="connsiteX6981" fmla="*/ 1879095 w 3135233"/>
                <a:gd name="connsiteY6981" fmla="*/ 1870416 h 2493266"/>
                <a:gd name="connsiteX6982" fmla="*/ 1885361 w 3135233"/>
                <a:gd name="connsiteY6982" fmla="*/ 1865482 h 2493266"/>
                <a:gd name="connsiteX6983" fmla="*/ 1887433 w 3135233"/>
                <a:gd name="connsiteY6983" fmla="*/ 1860548 h 2493266"/>
                <a:gd name="connsiteX6984" fmla="*/ 1885361 w 3135233"/>
                <a:gd name="connsiteY6984" fmla="*/ 1858969 h 2493266"/>
                <a:gd name="connsiteX6985" fmla="*/ 1881167 w 3135233"/>
                <a:gd name="connsiteY6985" fmla="*/ 1860548 h 2493266"/>
                <a:gd name="connsiteX6986" fmla="*/ 1877022 w 3135233"/>
                <a:gd name="connsiteY6986" fmla="*/ 1868689 h 2493266"/>
                <a:gd name="connsiteX6987" fmla="*/ 1868684 w 3135233"/>
                <a:gd name="connsiteY6987" fmla="*/ 1875104 h 2493266"/>
                <a:gd name="connsiteX6988" fmla="*/ 1866612 w 3135233"/>
                <a:gd name="connsiteY6988" fmla="*/ 1878311 h 2493266"/>
                <a:gd name="connsiteX6989" fmla="*/ 1862467 w 3135233"/>
                <a:gd name="connsiteY6989" fmla="*/ 1884774 h 2493266"/>
                <a:gd name="connsiteX6990" fmla="*/ 1864539 w 3135233"/>
                <a:gd name="connsiteY6990" fmla="*/ 1887982 h 2493266"/>
                <a:gd name="connsiteX6991" fmla="*/ 1866612 w 3135233"/>
                <a:gd name="connsiteY6991" fmla="*/ 1887982 h 2493266"/>
                <a:gd name="connsiteX6992" fmla="*/ 1872878 w 3135233"/>
                <a:gd name="connsiteY6992" fmla="*/ 1879939 h 2493266"/>
                <a:gd name="connsiteX6993" fmla="*/ 1877022 w 3135233"/>
                <a:gd name="connsiteY6993" fmla="*/ 1878311 h 2493266"/>
                <a:gd name="connsiteX6994" fmla="*/ 1874950 w 3135233"/>
                <a:gd name="connsiteY6994" fmla="*/ 1881567 h 2493266"/>
                <a:gd name="connsiteX6995" fmla="*/ 1870756 w 3135233"/>
                <a:gd name="connsiteY6995" fmla="*/ 1887982 h 2493266"/>
                <a:gd name="connsiteX6996" fmla="*/ 1872878 w 3135233"/>
                <a:gd name="connsiteY6996" fmla="*/ 1889659 h 2493266"/>
                <a:gd name="connsiteX6997" fmla="*/ 1877022 w 3135233"/>
                <a:gd name="connsiteY6997" fmla="*/ 1886403 h 2493266"/>
                <a:gd name="connsiteX6998" fmla="*/ 1880970 w 3135233"/>
                <a:gd name="connsiteY6998" fmla="*/ 1886403 h 2493266"/>
                <a:gd name="connsiteX6999" fmla="*/ 1881167 w 3135233"/>
                <a:gd name="connsiteY6999" fmla="*/ 1881518 h 2493266"/>
                <a:gd name="connsiteX7000" fmla="*/ 1881167 w 3135233"/>
                <a:gd name="connsiteY7000" fmla="*/ 1876584 h 2493266"/>
                <a:gd name="connsiteX7001" fmla="*/ 1891578 w 3135233"/>
                <a:gd name="connsiteY7001" fmla="*/ 1868541 h 2493266"/>
                <a:gd name="connsiteX7002" fmla="*/ 1887433 w 3135233"/>
                <a:gd name="connsiteY7002" fmla="*/ 1874956 h 2493266"/>
                <a:gd name="connsiteX7003" fmla="*/ 1883288 w 3135233"/>
                <a:gd name="connsiteY7003" fmla="*/ 1879890 h 2493266"/>
                <a:gd name="connsiteX7004" fmla="*/ 2366429 w 3135233"/>
                <a:gd name="connsiteY7004" fmla="*/ 2304167 h 2493266"/>
                <a:gd name="connsiteX7005" fmla="*/ 2364505 w 3135233"/>
                <a:gd name="connsiteY7005" fmla="*/ 2304167 h 2493266"/>
                <a:gd name="connsiteX7006" fmla="*/ 2362383 w 3135233"/>
                <a:gd name="connsiteY7006" fmla="*/ 2302539 h 2493266"/>
                <a:gd name="connsiteX7007" fmla="*/ 2364505 w 3135233"/>
                <a:gd name="connsiteY7007" fmla="*/ 2300960 h 2493266"/>
                <a:gd name="connsiteX7008" fmla="*/ 2366577 w 3135233"/>
                <a:gd name="connsiteY7008" fmla="*/ 2297704 h 2493266"/>
                <a:gd name="connsiteX7009" fmla="*/ 2370722 w 3135233"/>
                <a:gd name="connsiteY7009" fmla="*/ 2292770 h 2493266"/>
                <a:gd name="connsiteX7010" fmla="*/ 2372794 w 3135233"/>
                <a:gd name="connsiteY7010" fmla="*/ 2294398 h 2493266"/>
                <a:gd name="connsiteX7011" fmla="*/ 2372794 w 3135233"/>
                <a:gd name="connsiteY7011" fmla="*/ 2292770 h 2493266"/>
                <a:gd name="connsiteX7012" fmla="*/ 2370722 w 3135233"/>
                <a:gd name="connsiteY7012" fmla="*/ 2292770 h 2493266"/>
                <a:gd name="connsiteX7013" fmla="*/ 2364505 w 3135233"/>
                <a:gd name="connsiteY7013" fmla="*/ 2297704 h 2493266"/>
                <a:gd name="connsiteX7014" fmla="*/ 2360311 w 3135233"/>
                <a:gd name="connsiteY7014" fmla="*/ 2302638 h 2493266"/>
                <a:gd name="connsiteX7015" fmla="*/ 2362383 w 3135233"/>
                <a:gd name="connsiteY7015" fmla="*/ 2305894 h 2493266"/>
                <a:gd name="connsiteX7016" fmla="*/ 2364505 w 3135233"/>
                <a:gd name="connsiteY7016" fmla="*/ 2305894 h 2493266"/>
                <a:gd name="connsiteX7017" fmla="*/ 2543463 w 3135233"/>
                <a:gd name="connsiteY7017" fmla="*/ 2333229 h 2493266"/>
                <a:gd name="connsiteX7018" fmla="*/ 2543463 w 3135233"/>
                <a:gd name="connsiteY7018" fmla="*/ 2320302 h 2493266"/>
                <a:gd name="connsiteX7019" fmla="*/ 2541390 w 3135233"/>
                <a:gd name="connsiteY7019" fmla="*/ 2315368 h 2493266"/>
                <a:gd name="connsiteX7020" fmla="*/ 2543463 w 3135233"/>
                <a:gd name="connsiteY7020" fmla="*/ 2313739 h 2493266"/>
                <a:gd name="connsiteX7021" fmla="*/ 2545584 w 3135233"/>
                <a:gd name="connsiteY7021" fmla="*/ 2310532 h 2493266"/>
                <a:gd name="connsiteX7022" fmla="*/ 2545584 w 3135233"/>
                <a:gd name="connsiteY7022" fmla="*/ 2314035 h 2493266"/>
                <a:gd name="connsiteX7023" fmla="*/ 2547607 w 3135233"/>
                <a:gd name="connsiteY7023" fmla="*/ 2315664 h 2493266"/>
                <a:gd name="connsiteX7024" fmla="*/ 2547607 w 3135233"/>
                <a:gd name="connsiteY7024" fmla="*/ 2318970 h 2493266"/>
                <a:gd name="connsiteX7025" fmla="*/ 2545584 w 3135233"/>
                <a:gd name="connsiteY7025" fmla="*/ 2322226 h 2493266"/>
                <a:gd name="connsiteX7026" fmla="*/ 2545584 w 3135233"/>
                <a:gd name="connsiteY7026" fmla="*/ 2323805 h 2493266"/>
                <a:gd name="connsiteX7027" fmla="*/ 2547607 w 3135233"/>
                <a:gd name="connsiteY7027" fmla="*/ 2325433 h 2493266"/>
                <a:gd name="connsiteX7028" fmla="*/ 2547607 w 3135233"/>
                <a:gd name="connsiteY7028" fmla="*/ 2328690 h 2493266"/>
                <a:gd name="connsiteX7029" fmla="*/ 2545584 w 3135233"/>
                <a:gd name="connsiteY7029" fmla="*/ 2331897 h 2493266"/>
                <a:gd name="connsiteX7030" fmla="*/ 2549729 w 3135233"/>
                <a:gd name="connsiteY7030" fmla="*/ 2334808 h 2493266"/>
                <a:gd name="connsiteX7031" fmla="*/ 2551801 w 3135233"/>
                <a:gd name="connsiteY7031" fmla="*/ 2331601 h 2493266"/>
                <a:gd name="connsiteX7032" fmla="*/ 2553873 w 3135233"/>
                <a:gd name="connsiteY7032" fmla="*/ 2331601 h 2493266"/>
                <a:gd name="connsiteX7033" fmla="*/ 2553873 w 3135233"/>
                <a:gd name="connsiteY7033" fmla="*/ 2334808 h 2493266"/>
                <a:gd name="connsiteX7034" fmla="*/ 2551801 w 3135233"/>
                <a:gd name="connsiteY7034" fmla="*/ 2336436 h 2493266"/>
                <a:gd name="connsiteX7035" fmla="*/ 2620532 w 3135233"/>
                <a:gd name="connsiteY7035" fmla="*/ 2118598 h 2493266"/>
                <a:gd name="connsiteX7036" fmla="*/ 2622604 w 3135233"/>
                <a:gd name="connsiteY7036" fmla="*/ 2112135 h 2493266"/>
                <a:gd name="connsiteX7037" fmla="*/ 2628871 w 3135233"/>
                <a:gd name="connsiteY7037" fmla="*/ 2108928 h 2493266"/>
                <a:gd name="connsiteX7038" fmla="*/ 2628871 w 3135233"/>
                <a:gd name="connsiteY7038" fmla="*/ 2113862 h 2493266"/>
                <a:gd name="connsiteX7039" fmla="*/ 2626749 w 3135233"/>
                <a:gd name="connsiteY7039" fmla="*/ 2117069 h 2493266"/>
                <a:gd name="connsiteX7040" fmla="*/ 2622604 w 3135233"/>
                <a:gd name="connsiteY7040" fmla="*/ 2118697 h 2493266"/>
                <a:gd name="connsiteX7041" fmla="*/ 2599710 w 3135233"/>
                <a:gd name="connsiteY7041" fmla="*/ 2163794 h 2493266"/>
                <a:gd name="connsiteX7042" fmla="*/ 2599710 w 3135233"/>
                <a:gd name="connsiteY7042" fmla="*/ 2167001 h 2493266"/>
                <a:gd name="connsiteX7043" fmla="*/ 2601783 w 3135233"/>
                <a:gd name="connsiteY7043" fmla="*/ 2167001 h 2493266"/>
                <a:gd name="connsiteX7044" fmla="*/ 2603855 w 3135233"/>
                <a:gd name="connsiteY7044" fmla="*/ 2165373 h 2493266"/>
                <a:gd name="connsiteX7045" fmla="*/ 2605927 w 3135233"/>
                <a:gd name="connsiteY7045" fmla="*/ 2165373 h 2493266"/>
                <a:gd name="connsiteX7046" fmla="*/ 2605927 w 3135233"/>
                <a:gd name="connsiteY7046" fmla="*/ 2162166 h 2493266"/>
                <a:gd name="connsiteX7047" fmla="*/ 2603855 w 3135233"/>
                <a:gd name="connsiteY7047" fmla="*/ 2162166 h 2493266"/>
                <a:gd name="connsiteX7048" fmla="*/ 2637160 w 3135233"/>
                <a:gd name="connsiteY7048" fmla="*/ 2215355 h 2493266"/>
                <a:gd name="connsiteX7049" fmla="*/ 2635137 w 3135233"/>
                <a:gd name="connsiteY7049" fmla="*/ 2208891 h 2493266"/>
                <a:gd name="connsiteX7050" fmla="*/ 2635137 w 3135233"/>
                <a:gd name="connsiteY7050" fmla="*/ 2207312 h 2493266"/>
                <a:gd name="connsiteX7051" fmla="*/ 2637160 w 3135233"/>
                <a:gd name="connsiteY7051" fmla="*/ 2207312 h 2493266"/>
                <a:gd name="connsiteX7052" fmla="*/ 2639281 w 3135233"/>
                <a:gd name="connsiteY7052" fmla="*/ 2208891 h 2493266"/>
                <a:gd name="connsiteX7053" fmla="*/ 2641354 w 3135233"/>
                <a:gd name="connsiteY7053" fmla="*/ 2208891 h 2493266"/>
                <a:gd name="connsiteX7054" fmla="*/ 2643475 w 3135233"/>
                <a:gd name="connsiteY7054" fmla="*/ 2210519 h 2493266"/>
                <a:gd name="connsiteX7055" fmla="*/ 2643475 w 3135233"/>
                <a:gd name="connsiteY7055" fmla="*/ 2212148 h 2493266"/>
                <a:gd name="connsiteX7056" fmla="*/ 2641354 w 3135233"/>
                <a:gd name="connsiteY7056" fmla="*/ 2215355 h 2493266"/>
                <a:gd name="connsiteX7057" fmla="*/ 2618460 w 3135233"/>
                <a:gd name="connsiteY7057" fmla="*/ 2213776 h 2493266"/>
                <a:gd name="connsiteX7058" fmla="*/ 2622604 w 3135233"/>
                <a:gd name="connsiteY7058" fmla="*/ 2215355 h 2493266"/>
                <a:gd name="connsiteX7059" fmla="*/ 2624726 w 3135233"/>
                <a:gd name="connsiteY7059" fmla="*/ 2213776 h 2493266"/>
                <a:gd name="connsiteX7060" fmla="*/ 2626749 w 3135233"/>
                <a:gd name="connsiteY7060" fmla="*/ 2210519 h 2493266"/>
                <a:gd name="connsiteX7061" fmla="*/ 2626749 w 3135233"/>
                <a:gd name="connsiteY7061" fmla="*/ 2208891 h 2493266"/>
                <a:gd name="connsiteX7062" fmla="*/ 2628871 w 3135233"/>
                <a:gd name="connsiteY7062" fmla="*/ 2208891 h 2493266"/>
                <a:gd name="connsiteX7063" fmla="*/ 2628871 w 3135233"/>
                <a:gd name="connsiteY7063" fmla="*/ 2213825 h 2493266"/>
                <a:gd name="connsiteX7064" fmla="*/ 2626749 w 3135233"/>
                <a:gd name="connsiteY7064" fmla="*/ 2217032 h 2493266"/>
                <a:gd name="connsiteX7065" fmla="*/ 2620532 w 3135233"/>
                <a:gd name="connsiteY7065" fmla="*/ 2220239 h 2493266"/>
                <a:gd name="connsiteX7066" fmla="*/ 2618460 w 3135233"/>
                <a:gd name="connsiteY7066" fmla="*/ 2217032 h 2493266"/>
                <a:gd name="connsiteX7067" fmla="*/ 2618460 w 3135233"/>
                <a:gd name="connsiteY7067" fmla="*/ 2213825 h 2493266"/>
                <a:gd name="connsiteX7068" fmla="*/ 2562212 w 3135233"/>
                <a:gd name="connsiteY7068" fmla="*/ 2292720 h 2493266"/>
                <a:gd name="connsiteX7069" fmla="*/ 2564284 w 3135233"/>
                <a:gd name="connsiteY7069" fmla="*/ 2291092 h 2493266"/>
                <a:gd name="connsiteX7070" fmla="*/ 2564284 w 3135233"/>
                <a:gd name="connsiteY7070" fmla="*/ 2294349 h 2493266"/>
                <a:gd name="connsiteX7071" fmla="*/ 2637160 w 3135233"/>
                <a:gd name="connsiteY7071" fmla="*/ 2274958 h 2493266"/>
                <a:gd name="connsiteX7072" fmla="*/ 2637160 w 3135233"/>
                <a:gd name="connsiteY7072" fmla="*/ 2278214 h 2493266"/>
                <a:gd name="connsiteX7073" fmla="*/ 2645745 w 3135233"/>
                <a:gd name="connsiteY7073" fmla="*/ 2278214 h 2493266"/>
                <a:gd name="connsiteX7074" fmla="*/ 2647817 w 3135233"/>
                <a:gd name="connsiteY7074" fmla="*/ 2276586 h 2493266"/>
                <a:gd name="connsiteX7075" fmla="*/ 2639479 w 3135233"/>
                <a:gd name="connsiteY7075" fmla="*/ 2274958 h 2493266"/>
                <a:gd name="connsiteX7076" fmla="*/ 2555995 w 3135233"/>
                <a:gd name="connsiteY7076" fmla="*/ 2157182 h 2493266"/>
                <a:gd name="connsiteX7077" fmla="*/ 2553873 w 3135233"/>
                <a:gd name="connsiteY7077" fmla="*/ 2160390 h 2493266"/>
                <a:gd name="connsiteX7078" fmla="*/ 2547607 w 3135233"/>
                <a:gd name="connsiteY7078" fmla="*/ 2165324 h 2493266"/>
                <a:gd name="connsiteX7079" fmla="*/ 2543463 w 3135233"/>
                <a:gd name="connsiteY7079" fmla="*/ 2166952 h 2493266"/>
                <a:gd name="connsiteX7080" fmla="*/ 2543463 w 3135233"/>
                <a:gd name="connsiteY7080" fmla="*/ 2168580 h 2493266"/>
                <a:gd name="connsiteX7081" fmla="*/ 2541390 w 3135233"/>
                <a:gd name="connsiteY7081" fmla="*/ 2170208 h 2493266"/>
                <a:gd name="connsiteX7082" fmla="*/ 2539318 w 3135233"/>
                <a:gd name="connsiteY7082" fmla="*/ 2170208 h 2493266"/>
                <a:gd name="connsiteX7083" fmla="*/ 2539318 w 3135233"/>
                <a:gd name="connsiteY7083" fmla="*/ 2173416 h 2493266"/>
                <a:gd name="connsiteX7084" fmla="*/ 2541390 w 3135233"/>
                <a:gd name="connsiteY7084" fmla="*/ 2174994 h 2493266"/>
                <a:gd name="connsiteX7085" fmla="*/ 2539318 w 3135233"/>
                <a:gd name="connsiteY7085" fmla="*/ 2176672 h 2493266"/>
                <a:gd name="connsiteX7086" fmla="*/ 2535173 w 3135233"/>
                <a:gd name="connsiteY7086" fmla="*/ 2178251 h 2493266"/>
                <a:gd name="connsiteX7087" fmla="*/ 2530979 w 3135233"/>
                <a:gd name="connsiteY7087" fmla="*/ 2181458 h 2493266"/>
                <a:gd name="connsiteX7088" fmla="*/ 2530979 w 3135233"/>
                <a:gd name="connsiteY7088" fmla="*/ 2184714 h 2493266"/>
                <a:gd name="connsiteX7089" fmla="*/ 2535173 w 3135233"/>
                <a:gd name="connsiteY7089" fmla="*/ 2184714 h 2493266"/>
                <a:gd name="connsiteX7090" fmla="*/ 2530979 w 3135233"/>
                <a:gd name="connsiteY7090" fmla="*/ 2187922 h 2493266"/>
                <a:gd name="connsiteX7091" fmla="*/ 2526786 w 3135233"/>
                <a:gd name="connsiteY7091" fmla="*/ 2187922 h 2493266"/>
                <a:gd name="connsiteX7092" fmla="*/ 2522641 w 3135233"/>
                <a:gd name="connsiteY7092" fmla="*/ 2192856 h 2493266"/>
                <a:gd name="connsiteX7093" fmla="*/ 2522641 w 3135233"/>
                <a:gd name="connsiteY7093" fmla="*/ 2196112 h 2493266"/>
                <a:gd name="connsiteX7094" fmla="*/ 2514302 w 3135233"/>
                <a:gd name="connsiteY7094" fmla="*/ 2205980 h 2493266"/>
                <a:gd name="connsiteX7095" fmla="*/ 2514302 w 3135233"/>
                <a:gd name="connsiteY7095" fmla="*/ 2209187 h 2493266"/>
                <a:gd name="connsiteX7096" fmla="*/ 2518447 w 3135233"/>
                <a:gd name="connsiteY7096" fmla="*/ 2212444 h 2493266"/>
                <a:gd name="connsiteX7097" fmla="*/ 2518447 w 3135233"/>
                <a:gd name="connsiteY7097" fmla="*/ 2215355 h 2493266"/>
                <a:gd name="connsiteX7098" fmla="*/ 2516375 w 3135233"/>
                <a:gd name="connsiteY7098" fmla="*/ 2215355 h 2493266"/>
                <a:gd name="connsiteX7099" fmla="*/ 2514302 w 3135233"/>
                <a:gd name="connsiteY7099" fmla="*/ 2213776 h 2493266"/>
                <a:gd name="connsiteX7100" fmla="*/ 2512230 w 3135233"/>
                <a:gd name="connsiteY7100" fmla="*/ 2213776 h 2493266"/>
                <a:gd name="connsiteX7101" fmla="*/ 2505964 w 3135233"/>
                <a:gd name="connsiteY7101" fmla="*/ 2216983 h 2493266"/>
                <a:gd name="connsiteX7102" fmla="*/ 2501819 w 3135233"/>
                <a:gd name="connsiteY7102" fmla="*/ 2220190 h 2493266"/>
                <a:gd name="connsiteX7103" fmla="*/ 2503892 w 3135233"/>
                <a:gd name="connsiteY7103" fmla="*/ 2223447 h 2493266"/>
                <a:gd name="connsiteX7104" fmla="*/ 2505964 w 3135233"/>
                <a:gd name="connsiteY7104" fmla="*/ 2223447 h 2493266"/>
                <a:gd name="connsiteX7105" fmla="*/ 2510158 w 3135233"/>
                <a:gd name="connsiteY7105" fmla="*/ 2225075 h 2493266"/>
                <a:gd name="connsiteX7106" fmla="*/ 2508036 w 3135233"/>
                <a:gd name="connsiteY7106" fmla="*/ 2226654 h 2493266"/>
                <a:gd name="connsiteX7107" fmla="*/ 2505964 w 3135233"/>
                <a:gd name="connsiteY7107" fmla="*/ 2229861 h 2493266"/>
                <a:gd name="connsiteX7108" fmla="*/ 2501819 w 3135233"/>
                <a:gd name="connsiteY7108" fmla="*/ 2233117 h 2493266"/>
                <a:gd name="connsiteX7109" fmla="*/ 2495553 w 3135233"/>
                <a:gd name="connsiteY7109" fmla="*/ 2231538 h 2493266"/>
                <a:gd name="connsiteX7110" fmla="*/ 2493481 w 3135233"/>
                <a:gd name="connsiteY7110" fmla="*/ 2233117 h 2493266"/>
                <a:gd name="connsiteX7111" fmla="*/ 2493481 w 3135233"/>
                <a:gd name="connsiteY7111" fmla="*/ 2236324 h 2493266"/>
                <a:gd name="connsiteX7112" fmla="*/ 2489336 w 3135233"/>
                <a:gd name="connsiteY7112" fmla="*/ 2239581 h 2493266"/>
                <a:gd name="connsiteX7113" fmla="*/ 2485142 w 3135233"/>
                <a:gd name="connsiteY7113" fmla="*/ 2246044 h 2493266"/>
                <a:gd name="connsiteX7114" fmla="*/ 2480948 w 3135233"/>
                <a:gd name="connsiteY7114" fmla="*/ 2249252 h 2493266"/>
                <a:gd name="connsiteX7115" fmla="*/ 2478925 w 3135233"/>
                <a:gd name="connsiteY7115" fmla="*/ 2249252 h 2493266"/>
                <a:gd name="connsiteX7116" fmla="*/ 2478925 w 3135233"/>
                <a:gd name="connsiteY7116" fmla="*/ 2246044 h 2493266"/>
                <a:gd name="connsiteX7117" fmla="*/ 2476804 w 3135233"/>
                <a:gd name="connsiteY7117" fmla="*/ 2249252 h 2493266"/>
                <a:gd name="connsiteX7118" fmla="*/ 2474732 w 3135233"/>
                <a:gd name="connsiteY7118" fmla="*/ 2246044 h 2493266"/>
                <a:gd name="connsiteX7119" fmla="*/ 2474732 w 3135233"/>
                <a:gd name="connsiteY7119" fmla="*/ 2242788 h 2493266"/>
                <a:gd name="connsiteX7120" fmla="*/ 2478925 w 3135233"/>
                <a:gd name="connsiteY7120" fmla="*/ 2241160 h 2493266"/>
                <a:gd name="connsiteX7121" fmla="*/ 2480948 w 3135233"/>
                <a:gd name="connsiteY7121" fmla="*/ 2237953 h 2493266"/>
                <a:gd name="connsiteX7122" fmla="*/ 2478925 w 3135233"/>
                <a:gd name="connsiteY7122" fmla="*/ 2239581 h 2493266"/>
                <a:gd name="connsiteX7123" fmla="*/ 2472659 w 3135233"/>
                <a:gd name="connsiteY7123" fmla="*/ 2242788 h 2493266"/>
                <a:gd name="connsiteX7124" fmla="*/ 2464320 w 3135233"/>
                <a:gd name="connsiteY7124" fmla="*/ 2246044 h 2493266"/>
                <a:gd name="connsiteX7125" fmla="*/ 2462248 w 3135233"/>
                <a:gd name="connsiteY7125" fmla="*/ 2254087 h 2493266"/>
                <a:gd name="connsiteX7126" fmla="*/ 2464320 w 3135233"/>
                <a:gd name="connsiteY7126" fmla="*/ 2254087 h 2493266"/>
                <a:gd name="connsiteX7127" fmla="*/ 2468515 w 3135233"/>
                <a:gd name="connsiteY7127" fmla="*/ 2252508 h 2493266"/>
                <a:gd name="connsiteX7128" fmla="*/ 2478925 w 3135233"/>
                <a:gd name="connsiteY7128" fmla="*/ 2250880 h 2493266"/>
                <a:gd name="connsiteX7129" fmla="*/ 2487214 w 3135233"/>
                <a:gd name="connsiteY7129" fmla="*/ 2250880 h 2493266"/>
                <a:gd name="connsiteX7130" fmla="*/ 2483070 w 3135233"/>
                <a:gd name="connsiteY7130" fmla="*/ 2255814 h 2493266"/>
                <a:gd name="connsiteX7131" fmla="*/ 2476804 w 3135233"/>
                <a:gd name="connsiteY7131" fmla="*/ 2262278 h 2493266"/>
                <a:gd name="connsiteX7132" fmla="*/ 2472659 w 3135233"/>
                <a:gd name="connsiteY7132" fmla="*/ 2268692 h 2493266"/>
                <a:gd name="connsiteX7133" fmla="*/ 2464320 w 3135233"/>
                <a:gd name="connsiteY7133" fmla="*/ 2271948 h 2493266"/>
                <a:gd name="connsiteX7134" fmla="*/ 2455982 w 3135233"/>
                <a:gd name="connsiteY7134" fmla="*/ 2276882 h 2493266"/>
                <a:gd name="connsiteX7135" fmla="*/ 2451838 w 3135233"/>
                <a:gd name="connsiteY7135" fmla="*/ 2278510 h 2493266"/>
                <a:gd name="connsiteX7136" fmla="*/ 2451838 w 3135233"/>
                <a:gd name="connsiteY7136" fmla="*/ 2291388 h 2493266"/>
                <a:gd name="connsiteX7137" fmla="*/ 2455982 w 3135233"/>
                <a:gd name="connsiteY7137" fmla="*/ 2291388 h 2493266"/>
                <a:gd name="connsiteX7138" fmla="*/ 2464320 w 3135233"/>
                <a:gd name="connsiteY7138" fmla="*/ 2293016 h 2493266"/>
                <a:gd name="connsiteX7139" fmla="*/ 2470537 w 3135233"/>
                <a:gd name="connsiteY7139" fmla="*/ 2293016 h 2493266"/>
                <a:gd name="connsiteX7140" fmla="*/ 2476804 w 3135233"/>
                <a:gd name="connsiteY7140" fmla="*/ 2289760 h 2493266"/>
                <a:gd name="connsiteX7141" fmla="*/ 2483070 w 3135233"/>
                <a:gd name="connsiteY7141" fmla="*/ 2288181 h 2493266"/>
                <a:gd name="connsiteX7142" fmla="*/ 2487214 w 3135233"/>
                <a:gd name="connsiteY7142" fmla="*/ 2284974 h 2493266"/>
                <a:gd name="connsiteX7143" fmla="*/ 2487214 w 3135233"/>
                <a:gd name="connsiteY7143" fmla="*/ 2281718 h 2493266"/>
                <a:gd name="connsiteX7144" fmla="*/ 2489336 w 3135233"/>
                <a:gd name="connsiteY7144" fmla="*/ 2284974 h 2493266"/>
                <a:gd name="connsiteX7145" fmla="*/ 2485142 w 3135233"/>
                <a:gd name="connsiteY7145" fmla="*/ 2288181 h 2493266"/>
                <a:gd name="connsiteX7146" fmla="*/ 2493481 w 3135233"/>
                <a:gd name="connsiteY7146" fmla="*/ 2289760 h 2493266"/>
                <a:gd name="connsiteX7147" fmla="*/ 2497625 w 3135233"/>
                <a:gd name="connsiteY7147" fmla="*/ 2288181 h 2493266"/>
                <a:gd name="connsiteX7148" fmla="*/ 2501819 w 3135233"/>
                <a:gd name="connsiteY7148" fmla="*/ 2291388 h 2493266"/>
                <a:gd name="connsiteX7149" fmla="*/ 2510158 w 3135233"/>
                <a:gd name="connsiteY7149" fmla="*/ 2291388 h 2493266"/>
                <a:gd name="connsiteX7150" fmla="*/ 2516375 w 3135233"/>
                <a:gd name="connsiteY7150" fmla="*/ 2289760 h 2493266"/>
                <a:gd name="connsiteX7151" fmla="*/ 2516375 w 3135233"/>
                <a:gd name="connsiteY7151" fmla="*/ 2293016 h 2493266"/>
                <a:gd name="connsiteX7152" fmla="*/ 2520569 w 3135233"/>
                <a:gd name="connsiteY7152" fmla="*/ 2294645 h 2493266"/>
                <a:gd name="connsiteX7153" fmla="*/ 2528858 w 3135233"/>
                <a:gd name="connsiteY7153" fmla="*/ 2294645 h 2493266"/>
                <a:gd name="connsiteX7154" fmla="*/ 2528858 w 3135233"/>
                <a:gd name="connsiteY7154" fmla="*/ 2296224 h 2493266"/>
                <a:gd name="connsiteX7155" fmla="*/ 2533052 w 3135233"/>
                <a:gd name="connsiteY7155" fmla="*/ 2296224 h 2493266"/>
                <a:gd name="connsiteX7156" fmla="*/ 2537196 w 3135233"/>
                <a:gd name="connsiteY7156" fmla="*/ 2294645 h 2493266"/>
                <a:gd name="connsiteX7157" fmla="*/ 2537196 w 3135233"/>
                <a:gd name="connsiteY7157" fmla="*/ 2293016 h 2493266"/>
                <a:gd name="connsiteX7158" fmla="*/ 2541390 w 3135233"/>
                <a:gd name="connsiteY7158" fmla="*/ 2293016 h 2493266"/>
                <a:gd name="connsiteX7159" fmla="*/ 2543463 w 3135233"/>
                <a:gd name="connsiteY7159" fmla="*/ 2294645 h 2493266"/>
                <a:gd name="connsiteX7160" fmla="*/ 2547607 w 3135233"/>
                <a:gd name="connsiteY7160" fmla="*/ 2294645 h 2493266"/>
                <a:gd name="connsiteX7161" fmla="*/ 2549729 w 3135233"/>
                <a:gd name="connsiteY7161" fmla="*/ 2291388 h 2493266"/>
                <a:gd name="connsiteX7162" fmla="*/ 2551998 w 3135233"/>
                <a:gd name="connsiteY7162" fmla="*/ 2291388 h 2493266"/>
                <a:gd name="connsiteX7163" fmla="*/ 2556192 w 3135233"/>
                <a:gd name="connsiteY7163" fmla="*/ 2293016 h 2493266"/>
                <a:gd name="connsiteX7164" fmla="*/ 2558265 w 3135233"/>
                <a:gd name="connsiteY7164" fmla="*/ 2289760 h 2493266"/>
                <a:gd name="connsiteX7165" fmla="*/ 2556192 w 3135233"/>
                <a:gd name="connsiteY7165" fmla="*/ 2288181 h 2493266"/>
                <a:gd name="connsiteX7166" fmla="*/ 2558265 w 3135233"/>
                <a:gd name="connsiteY7166" fmla="*/ 2283247 h 2493266"/>
                <a:gd name="connsiteX7167" fmla="*/ 2560337 w 3135233"/>
                <a:gd name="connsiteY7167" fmla="*/ 2284875 h 2493266"/>
                <a:gd name="connsiteX7168" fmla="*/ 2562409 w 3135233"/>
                <a:gd name="connsiteY7168" fmla="*/ 2281619 h 2493266"/>
                <a:gd name="connsiteX7169" fmla="*/ 2562409 w 3135233"/>
                <a:gd name="connsiteY7169" fmla="*/ 2281619 h 2493266"/>
                <a:gd name="connsiteX7170" fmla="*/ 2560337 w 3135233"/>
                <a:gd name="connsiteY7170" fmla="*/ 2288082 h 2493266"/>
                <a:gd name="connsiteX7171" fmla="*/ 2562409 w 3135233"/>
                <a:gd name="connsiteY7171" fmla="*/ 2289661 h 2493266"/>
                <a:gd name="connsiteX7172" fmla="*/ 2564482 w 3135233"/>
                <a:gd name="connsiteY7172" fmla="*/ 2286454 h 2493266"/>
                <a:gd name="connsiteX7173" fmla="*/ 2566603 w 3135233"/>
                <a:gd name="connsiteY7173" fmla="*/ 2283247 h 2493266"/>
                <a:gd name="connsiteX7174" fmla="*/ 2568675 w 3135233"/>
                <a:gd name="connsiteY7174" fmla="*/ 2283247 h 2493266"/>
                <a:gd name="connsiteX7175" fmla="*/ 2568675 w 3135233"/>
                <a:gd name="connsiteY7175" fmla="*/ 2286454 h 2493266"/>
                <a:gd name="connsiteX7176" fmla="*/ 2566603 w 3135233"/>
                <a:gd name="connsiteY7176" fmla="*/ 2289661 h 2493266"/>
                <a:gd name="connsiteX7177" fmla="*/ 2566603 w 3135233"/>
                <a:gd name="connsiteY7177" fmla="*/ 2291290 h 2493266"/>
                <a:gd name="connsiteX7178" fmla="*/ 2572820 w 3135233"/>
                <a:gd name="connsiteY7178" fmla="*/ 2291290 h 2493266"/>
                <a:gd name="connsiteX7179" fmla="*/ 2566603 w 3135233"/>
                <a:gd name="connsiteY7179" fmla="*/ 2296224 h 2493266"/>
                <a:gd name="connsiteX7180" fmla="*/ 2558265 w 3135233"/>
                <a:gd name="connsiteY7180" fmla="*/ 2297852 h 2493266"/>
                <a:gd name="connsiteX7181" fmla="*/ 2560337 w 3135233"/>
                <a:gd name="connsiteY7181" fmla="*/ 2299480 h 2493266"/>
                <a:gd name="connsiteX7182" fmla="*/ 2562409 w 3135233"/>
                <a:gd name="connsiteY7182" fmla="*/ 2297852 h 2493266"/>
                <a:gd name="connsiteX7183" fmla="*/ 2566603 w 3135233"/>
                <a:gd name="connsiteY7183" fmla="*/ 2297852 h 2493266"/>
                <a:gd name="connsiteX7184" fmla="*/ 2568675 w 3135233"/>
                <a:gd name="connsiteY7184" fmla="*/ 2299480 h 2493266"/>
                <a:gd name="connsiteX7185" fmla="*/ 2572820 w 3135233"/>
                <a:gd name="connsiteY7185" fmla="*/ 2299480 h 2493266"/>
                <a:gd name="connsiteX7186" fmla="*/ 2574892 w 3135233"/>
                <a:gd name="connsiteY7186" fmla="*/ 2301108 h 2493266"/>
                <a:gd name="connsiteX7187" fmla="*/ 2576669 w 3135233"/>
                <a:gd name="connsiteY7187" fmla="*/ 2299233 h 2493266"/>
                <a:gd name="connsiteX7188" fmla="*/ 2580813 w 3135233"/>
                <a:gd name="connsiteY7188" fmla="*/ 2299233 h 2493266"/>
                <a:gd name="connsiteX7189" fmla="*/ 2582885 w 3135233"/>
                <a:gd name="connsiteY7189" fmla="*/ 2294299 h 2493266"/>
                <a:gd name="connsiteX7190" fmla="*/ 2582885 w 3135233"/>
                <a:gd name="connsiteY7190" fmla="*/ 2291043 h 2493266"/>
                <a:gd name="connsiteX7191" fmla="*/ 2584958 w 3135233"/>
                <a:gd name="connsiteY7191" fmla="*/ 2292671 h 2493266"/>
                <a:gd name="connsiteX7192" fmla="*/ 2591224 w 3135233"/>
                <a:gd name="connsiteY7192" fmla="*/ 2294299 h 2493266"/>
                <a:gd name="connsiteX7193" fmla="*/ 2593296 w 3135233"/>
                <a:gd name="connsiteY7193" fmla="*/ 2295878 h 2493266"/>
                <a:gd name="connsiteX7194" fmla="*/ 2597490 w 3135233"/>
                <a:gd name="connsiteY7194" fmla="*/ 2295878 h 2493266"/>
                <a:gd name="connsiteX7195" fmla="*/ 2601635 w 3135233"/>
                <a:gd name="connsiteY7195" fmla="*/ 2294299 h 2493266"/>
                <a:gd name="connsiteX7196" fmla="*/ 2605779 w 3135233"/>
                <a:gd name="connsiteY7196" fmla="*/ 2294299 h 2493266"/>
                <a:gd name="connsiteX7197" fmla="*/ 2601635 w 3135233"/>
                <a:gd name="connsiteY7197" fmla="*/ 2295878 h 2493266"/>
                <a:gd name="connsiteX7198" fmla="*/ 2601635 w 3135233"/>
                <a:gd name="connsiteY7198" fmla="*/ 2299233 h 2493266"/>
                <a:gd name="connsiteX7199" fmla="*/ 2595368 w 3135233"/>
                <a:gd name="connsiteY7199" fmla="*/ 2300862 h 2493266"/>
                <a:gd name="connsiteX7200" fmla="*/ 2589152 w 3135233"/>
                <a:gd name="connsiteY7200" fmla="*/ 2300862 h 2493266"/>
                <a:gd name="connsiteX7201" fmla="*/ 2584958 w 3135233"/>
                <a:gd name="connsiteY7201" fmla="*/ 2304069 h 2493266"/>
                <a:gd name="connsiteX7202" fmla="*/ 2584958 w 3135233"/>
                <a:gd name="connsiteY7202" fmla="*/ 2307276 h 2493266"/>
                <a:gd name="connsiteX7203" fmla="*/ 2582885 w 3135233"/>
                <a:gd name="connsiteY7203" fmla="*/ 2307276 h 2493266"/>
                <a:gd name="connsiteX7204" fmla="*/ 2582885 w 3135233"/>
                <a:gd name="connsiteY7204" fmla="*/ 2310532 h 2493266"/>
                <a:gd name="connsiteX7205" fmla="*/ 2574695 w 3135233"/>
                <a:gd name="connsiteY7205" fmla="*/ 2310532 h 2493266"/>
                <a:gd name="connsiteX7206" fmla="*/ 2574695 w 3135233"/>
                <a:gd name="connsiteY7206" fmla="*/ 2314035 h 2493266"/>
                <a:gd name="connsiteX7207" fmla="*/ 2570550 w 3135233"/>
                <a:gd name="connsiteY7207" fmla="*/ 2315664 h 2493266"/>
                <a:gd name="connsiteX7208" fmla="*/ 2564284 w 3135233"/>
                <a:gd name="connsiteY7208" fmla="*/ 2317243 h 2493266"/>
                <a:gd name="connsiteX7209" fmla="*/ 2560140 w 3135233"/>
                <a:gd name="connsiteY7209" fmla="*/ 2320499 h 2493266"/>
                <a:gd name="connsiteX7210" fmla="*/ 2558067 w 3135233"/>
                <a:gd name="connsiteY7210" fmla="*/ 2322127 h 2493266"/>
                <a:gd name="connsiteX7211" fmla="*/ 2560140 w 3135233"/>
                <a:gd name="connsiteY7211" fmla="*/ 2323706 h 2493266"/>
                <a:gd name="connsiteX7212" fmla="*/ 2562212 w 3135233"/>
                <a:gd name="connsiteY7212" fmla="*/ 2326963 h 2493266"/>
                <a:gd name="connsiteX7213" fmla="*/ 2566406 w 3135233"/>
                <a:gd name="connsiteY7213" fmla="*/ 2326963 h 2493266"/>
                <a:gd name="connsiteX7214" fmla="*/ 2568478 w 3135233"/>
                <a:gd name="connsiteY7214" fmla="*/ 2323706 h 2493266"/>
                <a:gd name="connsiteX7215" fmla="*/ 2570550 w 3135233"/>
                <a:gd name="connsiteY7215" fmla="*/ 2322127 h 2493266"/>
                <a:gd name="connsiteX7216" fmla="*/ 2572623 w 3135233"/>
                <a:gd name="connsiteY7216" fmla="*/ 2322127 h 2493266"/>
                <a:gd name="connsiteX7217" fmla="*/ 2574695 w 3135233"/>
                <a:gd name="connsiteY7217" fmla="*/ 2325334 h 2493266"/>
                <a:gd name="connsiteX7218" fmla="*/ 2576817 w 3135233"/>
                <a:gd name="connsiteY7218" fmla="*/ 2326963 h 2493266"/>
                <a:gd name="connsiteX7219" fmla="*/ 2580961 w 3135233"/>
                <a:gd name="connsiteY7219" fmla="*/ 2325334 h 2493266"/>
                <a:gd name="connsiteX7220" fmla="*/ 2585106 w 3135233"/>
                <a:gd name="connsiteY7220" fmla="*/ 2322127 h 2493266"/>
                <a:gd name="connsiteX7221" fmla="*/ 2587227 w 3135233"/>
                <a:gd name="connsiteY7221" fmla="*/ 2318871 h 2493266"/>
                <a:gd name="connsiteX7222" fmla="*/ 2587227 w 3135233"/>
                <a:gd name="connsiteY7222" fmla="*/ 2318871 h 2493266"/>
                <a:gd name="connsiteX7223" fmla="*/ 2589300 w 3135233"/>
                <a:gd name="connsiteY7223" fmla="*/ 2315664 h 2493266"/>
                <a:gd name="connsiteX7224" fmla="*/ 2591372 w 3135233"/>
                <a:gd name="connsiteY7224" fmla="*/ 2312457 h 2493266"/>
                <a:gd name="connsiteX7225" fmla="*/ 2593444 w 3135233"/>
                <a:gd name="connsiteY7225" fmla="*/ 2310828 h 2493266"/>
                <a:gd name="connsiteX7226" fmla="*/ 2599710 w 3135233"/>
                <a:gd name="connsiteY7226" fmla="*/ 2304365 h 2493266"/>
                <a:gd name="connsiteX7227" fmla="*/ 2601783 w 3135233"/>
                <a:gd name="connsiteY7227" fmla="*/ 2304365 h 2493266"/>
                <a:gd name="connsiteX7228" fmla="*/ 2605927 w 3135233"/>
                <a:gd name="connsiteY7228" fmla="*/ 2305993 h 2493266"/>
                <a:gd name="connsiteX7229" fmla="*/ 2610121 w 3135233"/>
                <a:gd name="connsiteY7229" fmla="*/ 2304365 h 2493266"/>
                <a:gd name="connsiteX7230" fmla="*/ 2605927 w 3135233"/>
                <a:gd name="connsiteY7230" fmla="*/ 2307572 h 2493266"/>
                <a:gd name="connsiteX7231" fmla="*/ 2610121 w 3135233"/>
                <a:gd name="connsiteY7231" fmla="*/ 2307572 h 2493266"/>
                <a:gd name="connsiteX7232" fmla="*/ 2612194 w 3135233"/>
                <a:gd name="connsiteY7232" fmla="*/ 2304365 h 2493266"/>
                <a:gd name="connsiteX7233" fmla="*/ 2616338 w 3135233"/>
                <a:gd name="connsiteY7233" fmla="*/ 2297901 h 2493266"/>
                <a:gd name="connsiteX7234" fmla="*/ 2618460 w 3135233"/>
                <a:gd name="connsiteY7234" fmla="*/ 2291438 h 2493266"/>
                <a:gd name="connsiteX7235" fmla="*/ 2618460 w 3135233"/>
                <a:gd name="connsiteY7235" fmla="*/ 2286504 h 2493266"/>
                <a:gd name="connsiteX7236" fmla="*/ 2620532 w 3135233"/>
                <a:gd name="connsiteY7236" fmla="*/ 2284925 h 2493266"/>
                <a:gd name="connsiteX7237" fmla="*/ 2622604 w 3135233"/>
                <a:gd name="connsiteY7237" fmla="*/ 2284925 h 2493266"/>
                <a:gd name="connsiteX7238" fmla="*/ 2624726 w 3135233"/>
                <a:gd name="connsiteY7238" fmla="*/ 2286504 h 2493266"/>
                <a:gd name="connsiteX7239" fmla="*/ 2626749 w 3135233"/>
                <a:gd name="connsiteY7239" fmla="*/ 2286504 h 2493266"/>
                <a:gd name="connsiteX7240" fmla="*/ 2628871 w 3135233"/>
                <a:gd name="connsiteY7240" fmla="*/ 2289711 h 2493266"/>
                <a:gd name="connsiteX7241" fmla="*/ 2630943 w 3135233"/>
                <a:gd name="connsiteY7241" fmla="*/ 2294645 h 2493266"/>
                <a:gd name="connsiteX7242" fmla="*/ 2628871 w 3135233"/>
                <a:gd name="connsiteY7242" fmla="*/ 2299579 h 2493266"/>
                <a:gd name="connsiteX7243" fmla="*/ 2628871 w 3135233"/>
                <a:gd name="connsiteY7243" fmla="*/ 2302786 h 2493266"/>
                <a:gd name="connsiteX7244" fmla="*/ 2630943 w 3135233"/>
                <a:gd name="connsiteY7244" fmla="*/ 2306042 h 2493266"/>
                <a:gd name="connsiteX7245" fmla="*/ 2628871 w 3135233"/>
                <a:gd name="connsiteY7245" fmla="*/ 2309249 h 2493266"/>
                <a:gd name="connsiteX7246" fmla="*/ 2622604 w 3135233"/>
                <a:gd name="connsiteY7246" fmla="*/ 2312506 h 2493266"/>
                <a:gd name="connsiteX7247" fmla="*/ 2618460 w 3135233"/>
                <a:gd name="connsiteY7247" fmla="*/ 2322374 h 2493266"/>
                <a:gd name="connsiteX7248" fmla="*/ 2618460 w 3135233"/>
                <a:gd name="connsiteY7248" fmla="*/ 2325581 h 2493266"/>
                <a:gd name="connsiteX7249" fmla="*/ 2616338 w 3135233"/>
                <a:gd name="connsiteY7249" fmla="*/ 2327209 h 2493266"/>
                <a:gd name="connsiteX7250" fmla="*/ 2616338 w 3135233"/>
                <a:gd name="connsiteY7250" fmla="*/ 2332143 h 2493266"/>
                <a:gd name="connsiteX7251" fmla="*/ 2620532 w 3135233"/>
                <a:gd name="connsiteY7251" fmla="*/ 2332143 h 2493266"/>
                <a:gd name="connsiteX7252" fmla="*/ 2626749 w 3135233"/>
                <a:gd name="connsiteY7252" fmla="*/ 2330515 h 2493266"/>
                <a:gd name="connsiteX7253" fmla="*/ 2630943 w 3135233"/>
                <a:gd name="connsiteY7253" fmla="*/ 2322473 h 2493266"/>
                <a:gd name="connsiteX7254" fmla="*/ 2633065 w 3135233"/>
                <a:gd name="connsiteY7254" fmla="*/ 2322473 h 2493266"/>
                <a:gd name="connsiteX7255" fmla="*/ 2639281 w 3135233"/>
                <a:gd name="connsiteY7255" fmla="*/ 2316009 h 2493266"/>
                <a:gd name="connsiteX7256" fmla="*/ 2641354 w 3135233"/>
                <a:gd name="connsiteY7256" fmla="*/ 2312802 h 2493266"/>
                <a:gd name="connsiteX7257" fmla="*/ 2641354 w 3135233"/>
                <a:gd name="connsiteY7257" fmla="*/ 2316009 h 2493266"/>
                <a:gd name="connsiteX7258" fmla="*/ 2647620 w 3135233"/>
                <a:gd name="connsiteY7258" fmla="*/ 2316009 h 2493266"/>
                <a:gd name="connsiteX7259" fmla="*/ 2647620 w 3135233"/>
                <a:gd name="connsiteY7259" fmla="*/ 2317588 h 2493266"/>
                <a:gd name="connsiteX7260" fmla="*/ 2643475 w 3135233"/>
                <a:gd name="connsiteY7260" fmla="*/ 2317588 h 2493266"/>
                <a:gd name="connsiteX7261" fmla="*/ 2637160 w 3135233"/>
                <a:gd name="connsiteY7261" fmla="*/ 2324052 h 2493266"/>
                <a:gd name="connsiteX7262" fmla="*/ 2637160 w 3135233"/>
                <a:gd name="connsiteY7262" fmla="*/ 2327308 h 2493266"/>
                <a:gd name="connsiteX7263" fmla="*/ 2635137 w 3135233"/>
                <a:gd name="connsiteY7263" fmla="*/ 2332242 h 2493266"/>
                <a:gd name="connsiteX7264" fmla="*/ 2637160 w 3135233"/>
                <a:gd name="connsiteY7264" fmla="*/ 2333870 h 2493266"/>
                <a:gd name="connsiteX7265" fmla="*/ 2639281 w 3135233"/>
                <a:gd name="connsiteY7265" fmla="*/ 2338804 h 2493266"/>
                <a:gd name="connsiteX7266" fmla="*/ 2641354 w 3135233"/>
                <a:gd name="connsiteY7266" fmla="*/ 2342061 h 2493266"/>
                <a:gd name="connsiteX7267" fmla="*/ 2643475 w 3135233"/>
                <a:gd name="connsiteY7267" fmla="*/ 2337127 h 2493266"/>
                <a:gd name="connsiteX7268" fmla="*/ 2645548 w 3135233"/>
                <a:gd name="connsiteY7268" fmla="*/ 2335499 h 2493266"/>
                <a:gd name="connsiteX7269" fmla="*/ 2649692 w 3135233"/>
                <a:gd name="connsiteY7269" fmla="*/ 2333920 h 2493266"/>
                <a:gd name="connsiteX7270" fmla="*/ 2651764 w 3135233"/>
                <a:gd name="connsiteY7270" fmla="*/ 2338854 h 2493266"/>
                <a:gd name="connsiteX7271" fmla="*/ 2655959 w 3135233"/>
                <a:gd name="connsiteY7271" fmla="*/ 2338854 h 2493266"/>
                <a:gd name="connsiteX7272" fmla="*/ 2660103 w 3135233"/>
                <a:gd name="connsiteY7272" fmla="*/ 2337275 h 2493266"/>
                <a:gd name="connsiteX7273" fmla="*/ 2660103 w 3135233"/>
                <a:gd name="connsiteY7273" fmla="*/ 2334068 h 2493266"/>
                <a:gd name="connsiteX7274" fmla="*/ 2662175 w 3135233"/>
                <a:gd name="connsiteY7274" fmla="*/ 2334068 h 2493266"/>
                <a:gd name="connsiteX7275" fmla="*/ 2664297 w 3135233"/>
                <a:gd name="connsiteY7275" fmla="*/ 2330811 h 2493266"/>
                <a:gd name="connsiteX7276" fmla="*/ 2664297 w 3135233"/>
                <a:gd name="connsiteY7276" fmla="*/ 2325877 h 2493266"/>
                <a:gd name="connsiteX7277" fmla="*/ 2664297 w 3135233"/>
                <a:gd name="connsiteY7277" fmla="*/ 2325877 h 2493266"/>
                <a:gd name="connsiteX7278" fmla="*/ 2666369 w 3135233"/>
                <a:gd name="connsiteY7278" fmla="*/ 2324249 h 2493266"/>
                <a:gd name="connsiteX7279" fmla="*/ 2664297 w 3135233"/>
                <a:gd name="connsiteY7279" fmla="*/ 2321042 h 2493266"/>
                <a:gd name="connsiteX7280" fmla="*/ 2666369 w 3135233"/>
                <a:gd name="connsiteY7280" fmla="*/ 2316108 h 2493266"/>
                <a:gd name="connsiteX7281" fmla="*/ 2672586 w 3135233"/>
                <a:gd name="connsiteY7281" fmla="*/ 2308016 h 2493266"/>
                <a:gd name="connsiteX7282" fmla="*/ 2674708 w 3135233"/>
                <a:gd name="connsiteY7282" fmla="*/ 2303082 h 2493266"/>
                <a:gd name="connsiteX7283" fmla="*/ 2674708 w 3135233"/>
                <a:gd name="connsiteY7283" fmla="*/ 2291339 h 2493266"/>
                <a:gd name="connsiteX7284" fmla="*/ 2672586 w 3135233"/>
                <a:gd name="connsiteY7284" fmla="*/ 2289711 h 2493266"/>
                <a:gd name="connsiteX7285" fmla="*/ 2672586 w 3135233"/>
                <a:gd name="connsiteY7285" fmla="*/ 2292967 h 2493266"/>
                <a:gd name="connsiteX7286" fmla="*/ 2670563 w 3135233"/>
                <a:gd name="connsiteY7286" fmla="*/ 2297901 h 2493266"/>
                <a:gd name="connsiteX7287" fmla="*/ 2664297 w 3135233"/>
                <a:gd name="connsiteY7287" fmla="*/ 2301158 h 2493266"/>
                <a:gd name="connsiteX7288" fmla="*/ 2660103 w 3135233"/>
                <a:gd name="connsiteY7288" fmla="*/ 2304365 h 2493266"/>
                <a:gd name="connsiteX7289" fmla="*/ 2658031 w 3135233"/>
                <a:gd name="connsiteY7289" fmla="*/ 2305993 h 2493266"/>
                <a:gd name="connsiteX7290" fmla="*/ 2655959 w 3135233"/>
                <a:gd name="connsiteY7290" fmla="*/ 2301059 h 2493266"/>
                <a:gd name="connsiteX7291" fmla="*/ 2655959 w 3135233"/>
                <a:gd name="connsiteY7291" fmla="*/ 2292967 h 2493266"/>
                <a:gd name="connsiteX7292" fmla="*/ 2662175 w 3135233"/>
                <a:gd name="connsiteY7292" fmla="*/ 2288033 h 2493266"/>
                <a:gd name="connsiteX7293" fmla="*/ 2664297 w 3135233"/>
                <a:gd name="connsiteY7293" fmla="*/ 2286405 h 2493266"/>
                <a:gd name="connsiteX7294" fmla="*/ 2668441 w 3135233"/>
                <a:gd name="connsiteY7294" fmla="*/ 2281471 h 2493266"/>
                <a:gd name="connsiteX7295" fmla="*/ 2670415 w 3135233"/>
                <a:gd name="connsiteY7295" fmla="*/ 2281471 h 2493266"/>
                <a:gd name="connsiteX7296" fmla="*/ 2672438 w 3135233"/>
                <a:gd name="connsiteY7296" fmla="*/ 2279892 h 2493266"/>
                <a:gd name="connsiteX7297" fmla="*/ 2672438 w 3135233"/>
                <a:gd name="connsiteY7297" fmla="*/ 2278264 h 2493266"/>
                <a:gd name="connsiteX7298" fmla="*/ 2668294 w 3135233"/>
                <a:gd name="connsiteY7298" fmla="*/ 2279892 h 2493266"/>
                <a:gd name="connsiteX7299" fmla="*/ 2666221 w 3135233"/>
                <a:gd name="connsiteY7299" fmla="*/ 2279892 h 2493266"/>
                <a:gd name="connsiteX7300" fmla="*/ 2662027 w 3135233"/>
                <a:gd name="connsiteY7300" fmla="*/ 2281471 h 2493266"/>
                <a:gd name="connsiteX7301" fmla="*/ 2657883 w 3135233"/>
                <a:gd name="connsiteY7301" fmla="*/ 2283099 h 2493266"/>
                <a:gd name="connsiteX7302" fmla="*/ 2653738 w 3135233"/>
                <a:gd name="connsiteY7302" fmla="*/ 2286306 h 2493266"/>
                <a:gd name="connsiteX7303" fmla="*/ 2651617 w 3135233"/>
                <a:gd name="connsiteY7303" fmla="*/ 2289513 h 2493266"/>
                <a:gd name="connsiteX7304" fmla="*/ 2645400 w 3135233"/>
                <a:gd name="connsiteY7304" fmla="*/ 2294447 h 2493266"/>
                <a:gd name="connsiteX7305" fmla="*/ 2645400 w 3135233"/>
                <a:gd name="connsiteY7305" fmla="*/ 2296026 h 2493266"/>
                <a:gd name="connsiteX7306" fmla="*/ 2641206 w 3135233"/>
                <a:gd name="connsiteY7306" fmla="*/ 2299283 h 2493266"/>
                <a:gd name="connsiteX7307" fmla="*/ 2637012 w 3135233"/>
                <a:gd name="connsiteY7307" fmla="*/ 2294349 h 2493266"/>
                <a:gd name="connsiteX7308" fmla="*/ 2634989 w 3135233"/>
                <a:gd name="connsiteY7308" fmla="*/ 2291092 h 2493266"/>
                <a:gd name="connsiteX7309" fmla="*/ 2634989 w 3135233"/>
                <a:gd name="connsiteY7309" fmla="*/ 2287885 h 2493266"/>
                <a:gd name="connsiteX7310" fmla="*/ 2632917 w 3135233"/>
                <a:gd name="connsiteY7310" fmla="*/ 2284678 h 2493266"/>
                <a:gd name="connsiteX7311" fmla="*/ 2637012 w 3135233"/>
                <a:gd name="connsiteY7311" fmla="*/ 2287885 h 2493266"/>
                <a:gd name="connsiteX7312" fmla="*/ 2639133 w 3135233"/>
                <a:gd name="connsiteY7312" fmla="*/ 2287885 h 2493266"/>
                <a:gd name="connsiteX7313" fmla="*/ 2643327 w 3135233"/>
                <a:gd name="connsiteY7313" fmla="*/ 2281422 h 2493266"/>
                <a:gd name="connsiteX7314" fmla="*/ 2639133 w 3135233"/>
                <a:gd name="connsiteY7314" fmla="*/ 2283050 h 2493266"/>
                <a:gd name="connsiteX7315" fmla="*/ 2634989 w 3135233"/>
                <a:gd name="connsiteY7315" fmla="*/ 2281422 h 2493266"/>
                <a:gd name="connsiteX7316" fmla="*/ 2643327 w 3135233"/>
                <a:gd name="connsiteY7316" fmla="*/ 2281422 h 2493266"/>
                <a:gd name="connsiteX7317" fmla="*/ 2637012 w 3135233"/>
                <a:gd name="connsiteY7317" fmla="*/ 2279843 h 2493266"/>
                <a:gd name="connsiteX7318" fmla="*/ 2634989 w 3135233"/>
                <a:gd name="connsiteY7318" fmla="*/ 2278214 h 2493266"/>
                <a:gd name="connsiteX7319" fmla="*/ 2634989 w 3135233"/>
                <a:gd name="connsiteY7319" fmla="*/ 2274958 h 2493266"/>
                <a:gd name="connsiteX7320" fmla="*/ 2637012 w 3135233"/>
                <a:gd name="connsiteY7320" fmla="*/ 2273379 h 2493266"/>
                <a:gd name="connsiteX7321" fmla="*/ 2643327 w 3135233"/>
                <a:gd name="connsiteY7321" fmla="*/ 2273379 h 2493266"/>
                <a:gd name="connsiteX7322" fmla="*/ 2645400 w 3135233"/>
                <a:gd name="connsiteY7322" fmla="*/ 2271751 h 2493266"/>
                <a:gd name="connsiteX7323" fmla="*/ 2649544 w 3135233"/>
                <a:gd name="connsiteY7323" fmla="*/ 2268494 h 2493266"/>
                <a:gd name="connsiteX7324" fmla="*/ 2653738 w 3135233"/>
                <a:gd name="connsiteY7324" fmla="*/ 2263560 h 2493266"/>
                <a:gd name="connsiteX7325" fmla="*/ 2657883 w 3135233"/>
                <a:gd name="connsiteY7325" fmla="*/ 2263560 h 2493266"/>
                <a:gd name="connsiteX7326" fmla="*/ 2659955 w 3135233"/>
                <a:gd name="connsiteY7326" fmla="*/ 2265189 h 2493266"/>
                <a:gd name="connsiteX7327" fmla="*/ 2666221 w 3135233"/>
                <a:gd name="connsiteY7327" fmla="*/ 2261981 h 2493266"/>
                <a:gd name="connsiteX7328" fmla="*/ 2668294 w 3135233"/>
                <a:gd name="connsiteY7328" fmla="*/ 2257047 h 2493266"/>
                <a:gd name="connsiteX7329" fmla="*/ 2668294 w 3135233"/>
                <a:gd name="connsiteY7329" fmla="*/ 2252113 h 2493266"/>
                <a:gd name="connsiteX7330" fmla="*/ 2666221 w 3135233"/>
                <a:gd name="connsiteY7330" fmla="*/ 2250485 h 2493266"/>
                <a:gd name="connsiteX7331" fmla="*/ 2662027 w 3135233"/>
                <a:gd name="connsiteY7331" fmla="*/ 2253692 h 2493266"/>
                <a:gd name="connsiteX7332" fmla="*/ 2657883 w 3135233"/>
                <a:gd name="connsiteY7332" fmla="*/ 2255321 h 2493266"/>
                <a:gd name="connsiteX7333" fmla="*/ 2657883 w 3135233"/>
                <a:gd name="connsiteY7333" fmla="*/ 2253692 h 2493266"/>
                <a:gd name="connsiteX7334" fmla="*/ 2653738 w 3135233"/>
                <a:gd name="connsiteY7334" fmla="*/ 2253692 h 2493266"/>
                <a:gd name="connsiteX7335" fmla="*/ 2653738 w 3135233"/>
                <a:gd name="connsiteY7335" fmla="*/ 2260156 h 2493266"/>
                <a:gd name="connsiteX7336" fmla="*/ 2649544 w 3135233"/>
                <a:gd name="connsiteY7336" fmla="*/ 2261784 h 2493266"/>
                <a:gd name="connsiteX7337" fmla="*/ 2647472 w 3135233"/>
                <a:gd name="connsiteY7337" fmla="*/ 2261784 h 2493266"/>
                <a:gd name="connsiteX7338" fmla="*/ 2643327 w 3135233"/>
                <a:gd name="connsiteY7338" fmla="*/ 2263363 h 2493266"/>
                <a:gd name="connsiteX7339" fmla="*/ 2639133 w 3135233"/>
                <a:gd name="connsiteY7339" fmla="*/ 2266619 h 2493266"/>
                <a:gd name="connsiteX7340" fmla="*/ 2639133 w 3135233"/>
                <a:gd name="connsiteY7340" fmla="*/ 2268198 h 2493266"/>
                <a:gd name="connsiteX7341" fmla="*/ 2637012 w 3135233"/>
                <a:gd name="connsiteY7341" fmla="*/ 2269827 h 2493266"/>
                <a:gd name="connsiteX7342" fmla="*/ 2637012 w 3135233"/>
                <a:gd name="connsiteY7342" fmla="*/ 2263363 h 2493266"/>
                <a:gd name="connsiteX7343" fmla="*/ 2634989 w 3135233"/>
                <a:gd name="connsiteY7343" fmla="*/ 2264991 h 2493266"/>
                <a:gd name="connsiteX7344" fmla="*/ 2632917 w 3135233"/>
                <a:gd name="connsiteY7344" fmla="*/ 2264991 h 2493266"/>
                <a:gd name="connsiteX7345" fmla="*/ 2634989 w 3135233"/>
                <a:gd name="connsiteY7345" fmla="*/ 2263363 h 2493266"/>
                <a:gd name="connsiteX7346" fmla="*/ 2639133 w 3135233"/>
                <a:gd name="connsiteY7346" fmla="*/ 2260156 h 2493266"/>
                <a:gd name="connsiteX7347" fmla="*/ 2641206 w 3135233"/>
                <a:gd name="connsiteY7347" fmla="*/ 2258528 h 2493266"/>
                <a:gd name="connsiteX7348" fmla="*/ 2639133 w 3135233"/>
                <a:gd name="connsiteY7348" fmla="*/ 2256949 h 2493266"/>
                <a:gd name="connsiteX7349" fmla="*/ 2641206 w 3135233"/>
                <a:gd name="connsiteY7349" fmla="*/ 2255321 h 2493266"/>
                <a:gd name="connsiteX7350" fmla="*/ 2643327 w 3135233"/>
                <a:gd name="connsiteY7350" fmla="*/ 2250386 h 2493266"/>
                <a:gd name="connsiteX7351" fmla="*/ 2641206 w 3135233"/>
                <a:gd name="connsiteY7351" fmla="*/ 2250386 h 2493266"/>
                <a:gd name="connsiteX7352" fmla="*/ 2637012 w 3135233"/>
                <a:gd name="connsiteY7352" fmla="*/ 2252015 h 2493266"/>
                <a:gd name="connsiteX7353" fmla="*/ 2639133 w 3135233"/>
                <a:gd name="connsiteY7353" fmla="*/ 2248758 h 2493266"/>
                <a:gd name="connsiteX7354" fmla="*/ 2639133 w 3135233"/>
                <a:gd name="connsiteY7354" fmla="*/ 2245551 h 2493266"/>
                <a:gd name="connsiteX7355" fmla="*/ 2637012 w 3135233"/>
                <a:gd name="connsiteY7355" fmla="*/ 2245551 h 2493266"/>
                <a:gd name="connsiteX7356" fmla="*/ 2632917 w 3135233"/>
                <a:gd name="connsiteY7356" fmla="*/ 2247130 h 2493266"/>
                <a:gd name="connsiteX7357" fmla="*/ 2626601 w 3135233"/>
                <a:gd name="connsiteY7357" fmla="*/ 2245551 h 2493266"/>
                <a:gd name="connsiteX7358" fmla="*/ 2632917 w 3135233"/>
                <a:gd name="connsiteY7358" fmla="*/ 2245551 h 2493266"/>
                <a:gd name="connsiteX7359" fmla="*/ 2634989 w 3135233"/>
                <a:gd name="connsiteY7359" fmla="*/ 2243923 h 2493266"/>
                <a:gd name="connsiteX7360" fmla="*/ 2641206 w 3135233"/>
                <a:gd name="connsiteY7360" fmla="*/ 2242295 h 2493266"/>
                <a:gd name="connsiteX7361" fmla="*/ 2645400 w 3135233"/>
                <a:gd name="connsiteY7361" fmla="*/ 2240666 h 2493266"/>
                <a:gd name="connsiteX7362" fmla="*/ 2647472 w 3135233"/>
                <a:gd name="connsiteY7362" fmla="*/ 2239087 h 2493266"/>
                <a:gd name="connsiteX7363" fmla="*/ 2651617 w 3135233"/>
                <a:gd name="connsiteY7363" fmla="*/ 2237459 h 2493266"/>
                <a:gd name="connsiteX7364" fmla="*/ 2655810 w 3135233"/>
                <a:gd name="connsiteY7364" fmla="*/ 2235831 h 2493266"/>
                <a:gd name="connsiteX7365" fmla="*/ 2655810 w 3135233"/>
                <a:gd name="connsiteY7365" fmla="*/ 2232624 h 2493266"/>
                <a:gd name="connsiteX7366" fmla="*/ 2657883 w 3135233"/>
                <a:gd name="connsiteY7366" fmla="*/ 2229367 h 2493266"/>
                <a:gd name="connsiteX7367" fmla="*/ 2657883 w 3135233"/>
                <a:gd name="connsiteY7367" fmla="*/ 2226160 h 2493266"/>
                <a:gd name="connsiteX7368" fmla="*/ 2653738 w 3135233"/>
                <a:gd name="connsiteY7368" fmla="*/ 2224581 h 2493266"/>
                <a:gd name="connsiteX7369" fmla="*/ 2649544 w 3135233"/>
                <a:gd name="connsiteY7369" fmla="*/ 2219647 h 2493266"/>
                <a:gd name="connsiteX7370" fmla="*/ 2643327 w 3135233"/>
                <a:gd name="connsiteY7370" fmla="*/ 2219647 h 2493266"/>
                <a:gd name="connsiteX7371" fmla="*/ 2637012 w 3135233"/>
                <a:gd name="connsiteY7371" fmla="*/ 2221276 h 2493266"/>
                <a:gd name="connsiteX7372" fmla="*/ 2632917 w 3135233"/>
                <a:gd name="connsiteY7372" fmla="*/ 2221276 h 2493266"/>
                <a:gd name="connsiteX7373" fmla="*/ 2632917 w 3135233"/>
                <a:gd name="connsiteY7373" fmla="*/ 2222904 h 2493266"/>
                <a:gd name="connsiteX7374" fmla="*/ 2630795 w 3135233"/>
                <a:gd name="connsiteY7374" fmla="*/ 2227838 h 2493266"/>
                <a:gd name="connsiteX7375" fmla="*/ 2628723 w 3135233"/>
                <a:gd name="connsiteY7375" fmla="*/ 2232772 h 2493266"/>
                <a:gd name="connsiteX7376" fmla="*/ 2626601 w 3135233"/>
                <a:gd name="connsiteY7376" fmla="*/ 2235979 h 2493266"/>
                <a:gd name="connsiteX7377" fmla="*/ 2628723 w 3135233"/>
                <a:gd name="connsiteY7377" fmla="*/ 2232772 h 2493266"/>
                <a:gd name="connsiteX7378" fmla="*/ 2628723 w 3135233"/>
                <a:gd name="connsiteY7378" fmla="*/ 2227838 h 2493266"/>
                <a:gd name="connsiteX7379" fmla="*/ 2626601 w 3135233"/>
                <a:gd name="connsiteY7379" fmla="*/ 2226210 h 2493266"/>
                <a:gd name="connsiteX7380" fmla="*/ 2628723 w 3135233"/>
                <a:gd name="connsiteY7380" fmla="*/ 2223002 h 2493266"/>
                <a:gd name="connsiteX7381" fmla="*/ 2630795 w 3135233"/>
                <a:gd name="connsiteY7381" fmla="*/ 2218068 h 2493266"/>
                <a:gd name="connsiteX7382" fmla="*/ 2628723 w 3135233"/>
                <a:gd name="connsiteY7382" fmla="*/ 2218068 h 2493266"/>
                <a:gd name="connsiteX7383" fmla="*/ 2624578 w 3135233"/>
                <a:gd name="connsiteY7383" fmla="*/ 2221276 h 2493266"/>
                <a:gd name="connsiteX7384" fmla="*/ 2622457 w 3135233"/>
                <a:gd name="connsiteY7384" fmla="*/ 2224532 h 2493266"/>
                <a:gd name="connsiteX7385" fmla="*/ 2618312 w 3135233"/>
                <a:gd name="connsiteY7385" fmla="*/ 2226111 h 2493266"/>
                <a:gd name="connsiteX7386" fmla="*/ 2616141 w 3135233"/>
                <a:gd name="connsiteY7386" fmla="*/ 2225223 h 2493266"/>
                <a:gd name="connsiteX7387" fmla="*/ 2614118 w 3135233"/>
                <a:gd name="connsiteY7387" fmla="*/ 2226802 h 2493266"/>
                <a:gd name="connsiteX7388" fmla="*/ 2609924 w 3135233"/>
                <a:gd name="connsiteY7388" fmla="*/ 2228430 h 2493266"/>
                <a:gd name="connsiteX7389" fmla="*/ 2607852 w 3135233"/>
                <a:gd name="connsiteY7389" fmla="*/ 2226802 h 2493266"/>
                <a:gd name="connsiteX7390" fmla="*/ 2603658 w 3135233"/>
                <a:gd name="connsiteY7390" fmla="*/ 2230009 h 2493266"/>
                <a:gd name="connsiteX7391" fmla="*/ 2601585 w 3135233"/>
                <a:gd name="connsiteY7391" fmla="*/ 2234943 h 2493266"/>
                <a:gd name="connsiteX7392" fmla="*/ 2597441 w 3135233"/>
                <a:gd name="connsiteY7392" fmla="*/ 2238150 h 2493266"/>
                <a:gd name="connsiteX7393" fmla="*/ 2601585 w 3135233"/>
                <a:gd name="connsiteY7393" fmla="*/ 2234943 h 2493266"/>
                <a:gd name="connsiteX7394" fmla="*/ 2601585 w 3135233"/>
                <a:gd name="connsiteY7394" fmla="*/ 2226851 h 2493266"/>
                <a:gd name="connsiteX7395" fmla="*/ 2605730 w 3135233"/>
                <a:gd name="connsiteY7395" fmla="*/ 2221917 h 2493266"/>
                <a:gd name="connsiteX7396" fmla="*/ 2605730 w 3135233"/>
                <a:gd name="connsiteY7396" fmla="*/ 2220289 h 2493266"/>
                <a:gd name="connsiteX7397" fmla="*/ 2601585 w 3135233"/>
                <a:gd name="connsiteY7397" fmla="*/ 2221917 h 2493266"/>
                <a:gd name="connsiteX7398" fmla="*/ 2599513 w 3135233"/>
                <a:gd name="connsiteY7398" fmla="*/ 2225173 h 2493266"/>
                <a:gd name="connsiteX7399" fmla="*/ 2595319 w 3135233"/>
                <a:gd name="connsiteY7399" fmla="*/ 2228381 h 2493266"/>
                <a:gd name="connsiteX7400" fmla="*/ 2593247 w 3135233"/>
                <a:gd name="connsiteY7400" fmla="*/ 2226752 h 2493266"/>
                <a:gd name="connsiteX7401" fmla="*/ 2595319 w 3135233"/>
                <a:gd name="connsiteY7401" fmla="*/ 2225173 h 2493266"/>
                <a:gd name="connsiteX7402" fmla="*/ 2597441 w 3135233"/>
                <a:gd name="connsiteY7402" fmla="*/ 2221917 h 2493266"/>
                <a:gd name="connsiteX7403" fmla="*/ 2597441 w 3135233"/>
                <a:gd name="connsiteY7403" fmla="*/ 2220289 h 2493266"/>
                <a:gd name="connsiteX7404" fmla="*/ 2591471 w 3135233"/>
                <a:gd name="connsiteY7404" fmla="*/ 2220289 h 2493266"/>
                <a:gd name="connsiteX7405" fmla="*/ 2587326 w 3135233"/>
                <a:gd name="connsiteY7405" fmla="*/ 2225223 h 2493266"/>
                <a:gd name="connsiteX7406" fmla="*/ 2583132 w 3135233"/>
                <a:gd name="connsiteY7406" fmla="*/ 2225223 h 2493266"/>
                <a:gd name="connsiteX7407" fmla="*/ 2581060 w 3135233"/>
                <a:gd name="connsiteY7407" fmla="*/ 2220289 h 2493266"/>
                <a:gd name="connsiteX7408" fmla="*/ 2581060 w 3135233"/>
                <a:gd name="connsiteY7408" fmla="*/ 2220289 h 2493266"/>
                <a:gd name="connsiteX7409" fmla="*/ 2574794 w 3135233"/>
                <a:gd name="connsiteY7409" fmla="*/ 2223545 h 2493266"/>
                <a:gd name="connsiteX7410" fmla="*/ 2572721 w 3135233"/>
                <a:gd name="connsiteY7410" fmla="*/ 2223545 h 2493266"/>
                <a:gd name="connsiteX7411" fmla="*/ 2572721 w 3135233"/>
                <a:gd name="connsiteY7411" fmla="*/ 2221917 h 2493266"/>
                <a:gd name="connsiteX7412" fmla="*/ 2576915 w 3135233"/>
                <a:gd name="connsiteY7412" fmla="*/ 2218710 h 2493266"/>
                <a:gd name="connsiteX7413" fmla="*/ 2581060 w 3135233"/>
                <a:gd name="connsiteY7413" fmla="*/ 2213776 h 2493266"/>
                <a:gd name="connsiteX7414" fmla="*/ 2583132 w 3135233"/>
                <a:gd name="connsiteY7414" fmla="*/ 2208842 h 2493266"/>
                <a:gd name="connsiteX7415" fmla="*/ 2578987 w 3135233"/>
                <a:gd name="connsiteY7415" fmla="*/ 2208842 h 2493266"/>
                <a:gd name="connsiteX7416" fmla="*/ 2572721 w 3135233"/>
                <a:gd name="connsiteY7416" fmla="*/ 2213776 h 2493266"/>
                <a:gd name="connsiteX7417" fmla="*/ 2574794 w 3135233"/>
                <a:gd name="connsiteY7417" fmla="*/ 2208842 h 2493266"/>
                <a:gd name="connsiteX7418" fmla="*/ 2581060 w 3135233"/>
                <a:gd name="connsiteY7418" fmla="*/ 2205635 h 2493266"/>
                <a:gd name="connsiteX7419" fmla="*/ 2587326 w 3135233"/>
                <a:gd name="connsiteY7419" fmla="*/ 2204056 h 2493266"/>
                <a:gd name="connsiteX7420" fmla="*/ 2589398 w 3135233"/>
                <a:gd name="connsiteY7420" fmla="*/ 2204056 h 2493266"/>
                <a:gd name="connsiteX7421" fmla="*/ 2595615 w 3135233"/>
                <a:gd name="connsiteY7421" fmla="*/ 2202378 h 2493266"/>
                <a:gd name="connsiteX7422" fmla="*/ 2597737 w 3135233"/>
                <a:gd name="connsiteY7422" fmla="*/ 2199171 h 2493266"/>
                <a:gd name="connsiteX7423" fmla="*/ 2597737 w 3135233"/>
                <a:gd name="connsiteY7423" fmla="*/ 2197592 h 2493266"/>
                <a:gd name="connsiteX7424" fmla="*/ 2595615 w 3135233"/>
                <a:gd name="connsiteY7424" fmla="*/ 2197592 h 2493266"/>
                <a:gd name="connsiteX7425" fmla="*/ 2589398 w 3135233"/>
                <a:gd name="connsiteY7425" fmla="*/ 2199171 h 2493266"/>
                <a:gd name="connsiteX7426" fmla="*/ 2587326 w 3135233"/>
                <a:gd name="connsiteY7426" fmla="*/ 2197592 h 2493266"/>
                <a:gd name="connsiteX7427" fmla="*/ 2581060 w 3135233"/>
                <a:gd name="connsiteY7427" fmla="*/ 2194336 h 2493266"/>
                <a:gd name="connsiteX7428" fmla="*/ 2578987 w 3135233"/>
                <a:gd name="connsiteY7428" fmla="*/ 2195964 h 2493266"/>
                <a:gd name="connsiteX7429" fmla="*/ 2574794 w 3135233"/>
                <a:gd name="connsiteY7429" fmla="*/ 2197592 h 2493266"/>
                <a:gd name="connsiteX7430" fmla="*/ 2578987 w 3135233"/>
                <a:gd name="connsiteY7430" fmla="*/ 2191129 h 2493266"/>
                <a:gd name="connsiteX7431" fmla="*/ 2581060 w 3135233"/>
                <a:gd name="connsiteY7431" fmla="*/ 2189501 h 2493266"/>
                <a:gd name="connsiteX7432" fmla="*/ 2576669 w 3135233"/>
                <a:gd name="connsiteY7432" fmla="*/ 2189501 h 2493266"/>
                <a:gd name="connsiteX7433" fmla="*/ 2572475 w 3135233"/>
                <a:gd name="connsiteY7433" fmla="*/ 2192708 h 2493266"/>
                <a:gd name="connsiteX7434" fmla="*/ 2568330 w 3135233"/>
                <a:gd name="connsiteY7434" fmla="*/ 2195964 h 2493266"/>
                <a:gd name="connsiteX7435" fmla="*/ 2564136 w 3135233"/>
                <a:gd name="connsiteY7435" fmla="*/ 2200898 h 2493266"/>
                <a:gd name="connsiteX7436" fmla="*/ 2559992 w 3135233"/>
                <a:gd name="connsiteY7436" fmla="*/ 2202477 h 2493266"/>
                <a:gd name="connsiteX7437" fmla="*/ 2559992 w 3135233"/>
                <a:gd name="connsiteY7437" fmla="*/ 2205733 h 2493266"/>
                <a:gd name="connsiteX7438" fmla="*/ 2553725 w 3135233"/>
                <a:gd name="connsiteY7438" fmla="*/ 2208941 h 2493266"/>
                <a:gd name="connsiteX7439" fmla="*/ 2549581 w 3135233"/>
                <a:gd name="connsiteY7439" fmla="*/ 2212197 h 2493266"/>
                <a:gd name="connsiteX7440" fmla="*/ 2549581 w 3135233"/>
                <a:gd name="connsiteY7440" fmla="*/ 2207263 h 2493266"/>
                <a:gd name="connsiteX7441" fmla="*/ 2551653 w 3135233"/>
                <a:gd name="connsiteY7441" fmla="*/ 2204056 h 2493266"/>
                <a:gd name="connsiteX7442" fmla="*/ 2553725 w 3135233"/>
                <a:gd name="connsiteY7442" fmla="*/ 2199122 h 2493266"/>
                <a:gd name="connsiteX7443" fmla="*/ 2555847 w 3135233"/>
                <a:gd name="connsiteY7443" fmla="*/ 2195915 h 2493266"/>
                <a:gd name="connsiteX7444" fmla="*/ 2557919 w 3135233"/>
                <a:gd name="connsiteY7444" fmla="*/ 2190981 h 2493266"/>
                <a:gd name="connsiteX7445" fmla="*/ 2562064 w 3135233"/>
                <a:gd name="connsiteY7445" fmla="*/ 2186047 h 2493266"/>
                <a:gd name="connsiteX7446" fmla="*/ 2562064 w 3135233"/>
                <a:gd name="connsiteY7446" fmla="*/ 2184418 h 2493266"/>
                <a:gd name="connsiteX7447" fmla="*/ 2566258 w 3135233"/>
                <a:gd name="connsiteY7447" fmla="*/ 2181162 h 2493266"/>
                <a:gd name="connsiteX7448" fmla="*/ 2568330 w 3135233"/>
                <a:gd name="connsiteY7448" fmla="*/ 2179583 h 2493266"/>
                <a:gd name="connsiteX7449" fmla="*/ 2570402 w 3135233"/>
                <a:gd name="connsiteY7449" fmla="*/ 2174649 h 2493266"/>
                <a:gd name="connsiteX7450" fmla="*/ 2574547 w 3135233"/>
                <a:gd name="connsiteY7450" fmla="*/ 2171442 h 2493266"/>
                <a:gd name="connsiteX7451" fmla="*/ 2578741 w 3135233"/>
                <a:gd name="connsiteY7451" fmla="*/ 2168235 h 2493266"/>
                <a:gd name="connsiteX7452" fmla="*/ 2580813 w 3135233"/>
                <a:gd name="connsiteY7452" fmla="*/ 2166607 h 2493266"/>
                <a:gd name="connsiteX7453" fmla="*/ 2582885 w 3135233"/>
                <a:gd name="connsiteY7453" fmla="*/ 2164978 h 2493266"/>
                <a:gd name="connsiteX7454" fmla="*/ 2582885 w 3135233"/>
                <a:gd name="connsiteY7454" fmla="*/ 2163399 h 2493266"/>
                <a:gd name="connsiteX7455" fmla="*/ 2584958 w 3135233"/>
                <a:gd name="connsiteY7455" fmla="*/ 2158465 h 2493266"/>
                <a:gd name="connsiteX7456" fmla="*/ 2587079 w 3135233"/>
                <a:gd name="connsiteY7456" fmla="*/ 2155258 h 2493266"/>
                <a:gd name="connsiteX7457" fmla="*/ 2587079 w 3135233"/>
                <a:gd name="connsiteY7457" fmla="*/ 2158465 h 2493266"/>
                <a:gd name="connsiteX7458" fmla="*/ 2584958 w 3135233"/>
                <a:gd name="connsiteY7458" fmla="*/ 2161672 h 2493266"/>
                <a:gd name="connsiteX7459" fmla="*/ 2587079 w 3135233"/>
                <a:gd name="connsiteY7459" fmla="*/ 2164880 h 2493266"/>
                <a:gd name="connsiteX7460" fmla="*/ 2591224 w 3135233"/>
                <a:gd name="connsiteY7460" fmla="*/ 2158465 h 2493266"/>
                <a:gd name="connsiteX7461" fmla="*/ 2597490 w 3135233"/>
                <a:gd name="connsiteY7461" fmla="*/ 2152002 h 2493266"/>
                <a:gd name="connsiteX7462" fmla="*/ 2599563 w 3135233"/>
                <a:gd name="connsiteY7462" fmla="*/ 2148795 h 2493266"/>
                <a:gd name="connsiteX7463" fmla="*/ 2597490 w 3135233"/>
                <a:gd name="connsiteY7463" fmla="*/ 2147117 h 2493266"/>
                <a:gd name="connsiteX7464" fmla="*/ 2595368 w 3135233"/>
                <a:gd name="connsiteY7464" fmla="*/ 2147117 h 2493266"/>
                <a:gd name="connsiteX7465" fmla="*/ 2591224 w 3135233"/>
                <a:gd name="connsiteY7465" fmla="*/ 2148795 h 2493266"/>
                <a:gd name="connsiteX7466" fmla="*/ 2591224 w 3135233"/>
                <a:gd name="connsiteY7466" fmla="*/ 2143861 h 2493266"/>
                <a:gd name="connsiteX7467" fmla="*/ 2589152 w 3135233"/>
                <a:gd name="connsiteY7467" fmla="*/ 2142282 h 2493266"/>
                <a:gd name="connsiteX7468" fmla="*/ 2591224 w 3135233"/>
                <a:gd name="connsiteY7468" fmla="*/ 2139025 h 2493266"/>
                <a:gd name="connsiteX7469" fmla="*/ 2593296 w 3135233"/>
                <a:gd name="connsiteY7469" fmla="*/ 2139025 h 2493266"/>
                <a:gd name="connsiteX7470" fmla="*/ 2599563 w 3135233"/>
                <a:gd name="connsiteY7470" fmla="*/ 2140653 h 2493266"/>
                <a:gd name="connsiteX7471" fmla="*/ 2603707 w 3135233"/>
                <a:gd name="connsiteY7471" fmla="*/ 2142282 h 2493266"/>
                <a:gd name="connsiteX7472" fmla="*/ 2607901 w 3135233"/>
                <a:gd name="connsiteY7472" fmla="*/ 2140653 h 2493266"/>
                <a:gd name="connsiteX7473" fmla="*/ 2609973 w 3135233"/>
                <a:gd name="connsiteY7473" fmla="*/ 2137446 h 2493266"/>
                <a:gd name="connsiteX7474" fmla="*/ 2609973 w 3135233"/>
                <a:gd name="connsiteY7474" fmla="*/ 2131476 h 2493266"/>
                <a:gd name="connsiteX7475" fmla="*/ 2605779 w 3135233"/>
                <a:gd name="connsiteY7475" fmla="*/ 2131476 h 2493266"/>
                <a:gd name="connsiteX7476" fmla="*/ 2601635 w 3135233"/>
                <a:gd name="connsiteY7476" fmla="*/ 2133055 h 2493266"/>
                <a:gd name="connsiteX7477" fmla="*/ 2601635 w 3135233"/>
                <a:gd name="connsiteY7477" fmla="*/ 2134733 h 2493266"/>
                <a:gd name="connsiteX7478" fmla="*/ 2599563 w 3135233"/>
                <a:gd name="connsiteY7478" fmla="*/ 2134733 h 2493266"/>
                <a:gd name="connsiteX7479" fmla="*/ 2599563 w 3135233"/>
                <a:gd name="connsiteY7479" fmla="*/ 2131476 h 2493266"/>
                <a:gd name="connsiteX7480" fmla="*/ 2597490 w 3135233"/>
                <a:gd name="connsiteY7480" fmla="*/ 2129848 h 2493266"/>
                <a:gd name="connsiteX7481" fmla="*/ 2595368 w 3135233"/>
                <a:gd name="connsiteY7481" fmla="*/ 2131476 h 2493266"/>
                <a:gd name="connsiteX7482" fmla="*/ 2591224 w 3135233"/>
                <a:gd name="connsiteY7482" fmla="*/ 2134733 h 2493266"/>
                <a:gd name="connsiteX7483" fmla="*/ 2587079 w 3135233"/>
                <a:gd name="connsiteY7483" fmla="*/ 2134733 h 2493266"/>
                <a:gd name="connsiteX7484" fmla="*/ 2584958 w 3135233"/>
                <a:gd name="connsiteY7484" fmla="*/ 2136312 h 2493266"/>
                <a:gd name="connsiteX7485" fmla="*/ 2580813 w 3135233"/>
                <a:gd name="connsiteY7485" fmla="*/ 2139519 h 2493266"/>
                <a:gd name="connsiteX7486" fmla="*/ 2574695 w 3135233"/>
                <a:gd name="connsiteY7486" fmla="*/ 2139519 h 2493266"/>
                <a:gd name="connsiteX7487" fmla="*/ 2568478 w 3135233"/>
                <a:gd name="connsiteY7487" fmla="*/ 2142775 h 2493266"/>
                <a:gd name="connsiteX7488" fmla="*/ 2562212 w 3135233"/>
                <a:gd name="connsiteY7488" fmla="*/ 2147709 h 2493266"/>
                <a:gd name="connsiteX7489" fmla="*/ 2562212 w 3135233"/>
                <a:gd name="connsiteY7489" fmla="*/ 2152643 h 2493266"/>
                <a:gd name="connsiteX7490" fmla="*/ 2553873 w 3135233"/>
                <a:gd name="connsiteY7490" fmla="*/ 2152643 h 2493266"/>
                <a:gd name="connsiteX7491" fmla="*/ 2555995 w 3135233"/>
                <a:gd name="connsiteY7491" fmla="*/ 2154222 h 2493266"/>
                <a:gd name="connsiteX7492" fmla="*/ 2324737 w 3135233"/>
                <a:gd name="connsiteY7492" fmla="*/ 2213677 h 2493266"/>
                <a:gd name="connsiteX7493" fmla="*/ 2328931 w 3135233"/>
                <a:gd name="connsiteY7493" fmla="*/ 2215256 h 2493266"/>
                <a:gd name="connsiteX7494" fmla="*/ 2341414 w 3135233"/>
                <a:gd name="connsiteY7494" fmla="*/ 2223348 h 2493266"/>
                <a:gd name="connsiteX7495" fmla="*/ 2351825 w 3135233"/>
                <a:gd name="connsiteY7495" fmla="*/ 2223348 h 2493266"/>
                <a:gd name="connsiteX7496" fmla="*/ 2360163 w 3135233"/>
                <a:gd name="connsiteY7496" fmla="*/ 2224976 h 2493266"/>
                <a:gd name="connsiteX7497" fmla="*/ 2364357 w 3135233"/>
                <a:gd name="connsiteY7497" fmla="*/ 2228183 h 2493266"/>
                <a:gd name="connsiteX7498" fmla="*/ 2370574 w 3135233"/>
                <a:gd name="connsiteY7498" fmla="*/ 2229762 h 2493266"/>
                <a:gd name="connsiteX7499" fmla="*/ 2376840 w 3135233"/>
                <a:gd name="connsiteY7499" fmla="*/ 2231440 h 2493266"/>
                <a:gd name="connsiteX7500" fmla="*/ 2385179 w 3135233"/>
                <a:gd name="connsiteY7500" fmla="*/ 2229762 h 2493266"/>
                <a:gd name="connsiteX7501" fmla="*/ 2385179 w 3135233"/>
                <a:gd name="connsiteY7501" fmla="*/ 2224828 h 2493266"/>
                <a:gd name="connsiteX7502" fmla="*/ 2380985 w 3135233"/>
                <a:gd name="connsiteY7502" fmla="*/ 2221572 h 2493266"/>
                <a:gd name="connsiteX7503" fmla="*/ 2380985 w 3135233"/>
                <a:gd name="connsiteY7503" fmla="*/ 2220289 h 2493266"/>
                <a:gd name="connsiteX7504" fmla="*/ 2376840 w 3135233"/>
                <a:gd name="connsiteY7504" fmla="*/ 2217082 h 2493266"/>
                <a:gd name="connsiteX7505" fmla="*/ 2370574 w 3135233"/>
                <a:gd name="connsiteY7505" fmla="*/ 2215453 h 2493266"/>
                <a:gd name="connsiteX7506" fmla="*/ 2366429 w 3135233"/>
                <a:gd name="connsiteY7506" fmla="*/ 2208990 h 2493266"/>
                <a:gd name="connsiteX7507" fmla="*/ 2358091 w 3135233"/>
                <a:gd name="connsiteY7507" fmla="*/ 2204056 h 2493266"/>
                <a:gd name="connsiteX7508" fmla="*/ 2353946 w 3135233"/>
                <a:gd name="connsiteY7508" fmla="*/ 2204056 h 2493266"/>
                <a:gd name="connsiteX7509" fmla="*/ 2347680 w 3135233"/>
                <a:gd name="connsiteY7509" fmla="*/ 2197592 h 2493266"/>
                <a:gd name="connsiteX7510" fmla="*/ 2339342 w 3135233"/>
                <a:gd name="connsiteY7510" fmla="*/ 2194336 h 2493266"/>
                <a:gd name="connsiteX7511" fmla="*/ 2328931 w 3135233"/>
                <a:gd name="connsiteY7511" fmla="*/ 2194336 h 2493266"/>
                <a:gd name="connsiteX7512" fmla="*/ 2312303 w 3135233"/>
                <a:gd name="connsiteY7512" fmla="*/ 2189402 h 2493266"/>
                <a:gd name="connsiteX7513" fmla="*/ 2305987 w 3135233"/>
                <a:gd name="connsiteY7513" fmla="*/ 2186195 h 2493266"/>
                <a:gd name="connsiteX7514" fmla="*/ 2299771 w 3135233"/>
                <a:gd name="connsiteY7514" fmla="*/ 2189402 h 2493266"/>
                <a:gd name="connsiteX7515" fmla="*/ 2301843 w 3135233"/>
                <a:gd name="connsiteY7515" fmla="*/ 2195865 h 2493266"/>
                <a:gd name="connsiteX7516" fmla="*/ 2310181 w 3135233"/>
                <a:gd name="connsiteY7516" fmla="*/ 2197494 h 2493266"/>
                <a:gd name="connsiteX7517" fmla="*/ 2320592 w 3135233"/>
                <a:gd name="connsiteY7517" fmla="*/ 2205536 h 2493266"/>
                <a:gd name="connsiteX7518" fmla="*/ 2322714 w 3135233"/>
                <a:gd name="connsiteY7518" fmla="*/ 2212000 h 2493266"/>
                <a:gd name="connsiteX7519" fmla="*/ 2326858 w 3135233"/>
                <a:gd name="connsiteY7519" fmla="*/ 2355629 h 2493266"/>
                <a:gd name="connsiteX7520" fmla="*/ 2318520 w 3135233"/>
                <a:gd name="connsiteY7520" fmla="*/ 2352422 h 2493266"/>
                <a:gd name="connsiteX7521" fmla="*/ 2316398 w 3135233"/>
                <a:gd name="connsiteY7521" fmla="*/ 2346008 h 2493266"/>
                <a:gd name="connsiteX7522" fmla="*/ 2301596 w 3135233"/>
                <a:gd name="connsiteY7522" fmla="*/ 2344331 h 2493266"/>
                <a:gd name="connsiteX7523" fmla="*/ 2295330 w 3135233"/>
                <a:gd name="connsiteY7523" fmla="*/ 2342752 h 2493266"/>
                <a:gd name="connsiteX7524" fmla="*/ 2295330 w 3135233"/>
                <a:gd name="connsiteY7524" fmla="*/ 2337818 h 2493266"/>
                <a:gd name="connsiteX7525" fmla="*/ 2291185 w 3135233"/>
                <a:gd name="connsiteY7525" fmla="*/ 2336239 h 2493266"/>
                <a:gd name="connsiteX7526" fmla="*/ 2289113 w 3135233"/>
                <a:gd name="connsiteY7526" fmla="*/ 2334610 h 2493266"/>
                <a:gd name="connsiteX7527" fmla="*/ 2287041 w 3135233"/>
                <a:gd name="connsiteY7527" fmla="*/ 2331403 h 2493266"/>
                <a:gd name="connsiteX7528" fmla="*/ 2282847 w 3135233"/>
                <a:gd name="connsiteY7528" fmla="*/ 2329775 h 2493266"/>
                <a:gd name="connsiteX7529" fmla="*/ 2282847 w 3135233"/>
                <a:gd name="connsiteY7529" fmla="*/ 2324841 h 2493266"/>
                <a:gd name="connsiteX7530" fmla="*/ 2278653 w 3135233"/>
                <a:gd name="connsiteY7530" fmla="*/ 2323213 h 2493266"/>
                <a:gd name="connsiteX7531" fmla="*/ 2274508 w 3135233"/>
                <a:gd name="connsiteY7531" fmla="*/ 2323213 h 2493266"/>
                <a:gd name="connsiteX7532" fmla="*/ 2272436 w 3135233"/>
                <a:gd name="connsiteY7532" fmla="*/ 2321634 h 2493266"/>
                <a:gd name="connsiteX7533" fmla="*/ 2276630 w 3135233"/>
                <a:gd name="connsiteY7533" fmla="*/ 2316700 h 2493266"/>
                <a:gd name="connsiteX7534" fmla="*/ 2289113 w 3135233"/>
                <a:gd name="connsiteY7534" fmla="*/ 2308657 h 2493266"/>
                <a:gd name="connsiteX7535" fmla="*/ 2291185 w 3135233"/>
                <a:gd name="connsiteY7535" fmla="*/ 2313591 h 2493266"/>
                <a:gd name="connsiteX7536" fmla="*/ 2287041 w 3135233"/>
                <a:gd name="connsiteY7536" fmla="*/ 2318525 h 2493266"/>
                <a:gd name="connsiteX7537" fmla="*/ 2287041 w 3135233"/>
                <a:gd name="connsiteY7537" fmla="*/ 2320154 h 2493266"/>
                <a:gd name="connsiteX7538" fmla="*/ 2289113 w 3135233"/>
                <a:gd name="connsiteY7538" fmla="*/ 2323361 h 2493266"/>
                <a:gd name="connsiteX7539" fmla="*/ 2289113 w 3135233"/>
                <a:gd name="connsiteY7539" fmla="*/ 2328295 h 2493266"/>
                <a:gd name="connsiteX7540" fmla="*/ 2295330 w 3135233"/>
                <a:gd name="connsiteY7540" fmla="*/ 2331502 h 2493266"/>
                <a:gd name="connsiteX7541" fmla="*/ 2295330 w 3135233"/>
                <a:gd name="connsiteY7541" fmla="*/ 2326568 h 2493266"/>
                <a:gd name="connsiteX7542" fmla="*/ 2301596 w 3135233"/>
                <a:gd name="connsiteY7542" fmla="*/ 2326568 h 2493266"/>
                <a:gd name="connsiteX7543" fmla="*/ 2309935 w 3135233"/>
                <a:gd name="connsiteY7543" fmla="*/ 2333032 h 2493266"/>
                <a:gd name="connsiteX7544" fmla="*/ 2314079 w 3135233"/>
                <a:gd name="connsiteY7544" fmla="*/ 2333032 h 2493266"/>
                <a:gd name="connsiteX7545" fmla="*/ 2318273 w 3135233"/>
                <a:gd name="connsiteY7545" fmla="*/ 2336239 h 2493266"/>
                <a:gd name="connsiteX7546" fmla="*/ 2328684 w 3135233"/>
                <a:gd name="connsiteY7546" fmla="*/ 2336239 h 2493266"/>
                <a:gd name="connsiteX7547" fmla="*/ 2330756 w 3135233"/>
                <a:gd name="connsiteY7547" fmla="*/ 2333032 h 2493266"/>
                <a:gd name="connsiteX7548" fmla="*/ 2337022 w 3135233"/>
                <a:gd name="connsiteY7548" fmla="*/ 2334610 h 2493266"/>
                <a:gd name="connsiteX7549" fmla="*/ 2347433 w 3135233"/>
                <a:gd name="connsiteY7549" fmla="*/ 2334610 h 2493266"/>
                <a:gd name="connsiteX7550" fmla="*/ 2343289 w 3135233"/>
                <a:gd name="connsiteY7550" fmla="*/ 2336239 h 2493266"/>
                <a:gd name="connsiteX7551" fmla="*/ 2337022 w 3135233"/>
                <a:gd name="connsiteY7551" fmla="*/ 2337818 h 2493266"/>
                <a:gd name="connsiteX7552" fmla="*/ 2334901 w 3135233"/>
                <a:gd name="connsiteY7552" fmla="*/ 2344281 h 2493266"/>
                <a:gd name="connsiteX7553" fmla="*/ 2334901 w 3135233"/>
                <a:gd name="connsiteY7553" fmla="*/ 2347538 h 2493266"/>
                <a:gd name="connsiteX7554" fmla="*/ 2332878 w 3135233"/>
                <a:gd name="connsiteY7554" fmla="*/ 2354001 h 2493266"/>
                <a:gd name="connsiteX7555" fmla="*/ 2378912 w 3135233"/>
                <a:gd name="connsiteY7555" fmla="*/ 2376648 h 2493266"/>
                <a:gd name="connsiteX7556" fmla="*/ 2376840 w 3135233"/>
                <a:gd name="connsiteY7556" fmla="*/ 2371714 h 2493266"/>
                <a:gd name="connsiteX7557" fmla="*/ 2366429 w 3135233"/>
                <a:gd name="connsiteY7557" fmla="*/ 2366780 h 2493266"/>
                <a:gd name="connsiteX7558" fmla="*/ 2364357 w 3135233"/>
                <a:gd name="connsiteY7558" fmla="*/ 2358688 h 2493266"/>
                <a:gd name="connsiteX7559" fmla="*/ 2362235 w 3135233"/>
                <a:gd name="connsiteY7559" fmla="*/ 2355432 h 2493266"/>
                <a:gd name="connsiteX7560" fmla="*/ 2366429 w 3135233"/>
                <a:gd name="connsiteY7560" fmla="*/ 2350498 h 2493266"/>
                <a:gd name="connsiteX7561" fmla="*/ 2374768 w 3135233"/>
                <a:gd name="connsiteY7561" fmla="*/ 2345564 h 2493266"/>
                <a:gd name="connsiteX7562" fmla="*/ 2383057 w 3135233"/>
                <a:gd name="connsiteY7562" fmla="*/ 2335696 h 2493266"/>
                <a:gd name="connsiteX7563" fmla="*/ 2387251 w 3135233"/>
                <a:gd name="connsiteY7563" fmla="*/ 2332489 h 2493266"/>
                <a:gd name="connsiteX7564" fmla="*/ 2389323 w 3135233"/>
                <a:gd name="connsiteY7564" fmla="*/ 2326025 h 2493266"/>
                <a:gd name="connsiteX7565" fmla="*/ 2397662 w 3135233"/>
                <a:gd name="connsiteY7565" fmla="*/ 2319562 h 2493266"/>
                <a:gd name="connsiteX7566" fmla="*/ 2401856 w 3135233"/>
                <a:gd name="connsiteY7566" fmla="*/ 2314628 h 2493266"/>
                <a:gd name="connsiteX7567" fmla="*/ 2406000 w 3135233"/>
                <a:gd name="connsiteY7567" fmla="*/ 2314628 h 2493266"/>
                <a:gd name="connsiteX7568" fmla="*/ 2408073 w 3135233"/>
                <a:gd name="connsiteY7568" fmla="*/ 2317835 h 2493266"/>
                <a:gd name="connsiteX7569" fmla="*/ 2403879 w 3135233"/>
                <a:gd name="connsiteY7569" fmla="*/ 2321091 h 2493266"/>
                <a:gd name="connsiteX7570" fmla="*/ 2410145 w 3135233"/>
                <a:gd name="connsiteY7570" fmla="*/ 2322670 h 2493266"/>
                <a:gd name="connsiteX7571" fmla="*/ 2410145 w 3135233"/>
                <a:gd name="connsiteY7571" fmla="*/ 2325927 h 2493266"/>
                <a:gd name="connsiteX7572" fmla="*/ 2403977 w 3135233"/>
                <a:gd name="connsiteY7572" fmla="*/ 2338114 h 2493266"/>
                <a:gd name="connsiteX7573" fmla="*/ 2397760 w 3135233"/>
                <a:gd name="connsiteY7573" fmla="*/ 2343048 h 2493266"/>
                <a:gd name="connsiteX7574" fmla="*/ 2406099 w 3135233"/>
                <a:gd name="connsiteY7574" fmla="*/ 2344627 h 2493266"/>
                <a:gd name="connsiteX7575" fmla="*/ 2408171 w 3135233"/>
                <a:gd name="connsiteY7575" fmla="*/ 2349561 h 2493266"/>
                <a:gd name="connsiteX7576" fmla="*/ 2406099 w 3135233"/>
                <a:gd name="connsiteY7576" fmla="*/ 2352768 h 2493266"/>
                <a:gd name="connsiteX7577" fmla="*/ 2408171 w 3135233"/>
                <a:gd name="connsiteY7577" fmla="*/ 2355975 h 2493266"/>
                <a:gd name="connsiteX7578" fmla="*/ 2412365 w 3135233"/>
                <a:gd name="connsiteY7578" fmla="*/ 2352768 h 2493266"/>
                <a:gd name="connsiteX7579" fmla="*/ 2412365 w 3135233"/>
                <a:gd name="connsiteY7579" fmla="*/ 2347834 h 2493266"/>
                <a:gd name="connsiteX7580" fmla="*/ 2416510 w 3135233"/>
                <a:gd name="connsiteY7580" fmla="*/ 2347834 h 2493266"/>
                <a:gd name="connsiteX7581" fmla="*/ 2422776 w 3135233"/>
                <a:gd name="connsiteY7581" fmla="*/ 2349462 h 2493266"/>
                <a:gd name="connsiteX7582" fmla="*/ 2424799 w 3135233"/>
                <a:gd name="connsiteY7582" fmla="*/ 2355876 h 2493266"/>
                <a:gd name="connsiteX7583" fmla="*/ 2426921 w 3135233"/>
                <a:gd name="connsiteY7583" fmla="*/ 2359133 h 2493266"/>
                <a:gd name="connsiteX7584" fmla="*/ 2420704 w 3135233"/>
                <a:gd name="connsiteY7584" fmla="*/ 2360761 h 2493266"/>
                <a:gd name="connsiteX7585" fmla="*/ 2416510 w 3135233"/>
                <a:gd name="connsiteY7585" fmla="*/ 2363968 h 2493266"/>
                <a:gd name="connsiteX7586" fmla="*/ 2406099 w 3135233"/>
                <a:gd name="connsiteY7586" fmla="*/ 2363968 h 2493266"/>
                <a:gd name="connsiteX7587" fmla="*/ 2395688 w 3135233"/>
                <a:gd name="connsiteY7587" fmla="*/ 2372010 h 2493266"/>
                <a:gd name="connsiteX7588" fmla="*/ 2389175 w 3135233"/>
                <a:gd name="connsiteY7588" fmla="*/ 2372010 h 2493266"/>
                <a:gd name="connsiteX7589" fmla="*/ 2385031 w 3135233"/>
                <a:gd name="connsiteY7589" fmla="*/ 2368803 h 2493266"/>
                <a:gd name="connsiteX7590" fmla="*/ 2382909 w 3135233"/>
                <a:gd name="connsiteY7590" fmla="*/ 2368803 h 2493266"/>
                <a:gd name="connsiteX7591" fmla="*/ 2380837 w 3135233"/>
                <a:gd name="connsiteY7591" fmla="*/ 2375267 h 2493266"/>
                <a:gd name="connsiteX7592" fmla="*/ 1820676 w 3135233"/>
                <a:gd name="connsiteY7592" fmla="*/ 2002500 h 2493266"/>
                <a:gd name="connsiteX7593" fmla="*/ 1820676 w 3135233"/>
                <a:gd name="connsiteY7593" fmla="*/ 2008964 h 2493266"/>
                <a:gd name="connsiteX7594" fmla="*/ 1822748 w 3135233"/>
                <a:gd name="connsiteY7594" fmla="*/ 2010592 h 2493266"/>
                <a:gd name="connsiteX7595" fmla="*/ 1824870 w 3135233"/>
                <a:gd name="connsiteY7595" fmla="*/ 2008964 h 2493266"/>
                <a:gd name="connsiteX7596" fmla="*/ 1824870 w 3135233"/>
                <a:gd name="connsiteY7596" fmla="*/ 2000922 h 2493266"/>
                <a:gd name="connsiteX7597" fmla="*/ 1822748 w 3135233"/>
                <a:gd name="connsiteY7597" fmla="*/ 2002500 h 2493266"/>
                <a:gd name="connsiteX7598" fmla="*/ 1818603 w 3135233"/>
                <a:gd name="connsiteY7598" fmla="*/ 2071922 h 2493266"/>
                <a:gd name="connsiteX7599" fmla="*/ 1822748 w 3135233"/>
                <a:gd name="connsiteY7599" fmla="*/ 2066988 h 2493266"/>
                <a:gd name="connsiteX7600" fmla="*/ 1826942 w 3135233"/>
                <a:gd name="connsiteY7600" fmla="*/ 2066988 h 2493266"/>
                <a:gd name="connsiteX7601" fmla="*/ 1829014 w 3135233"/>
                <a:gd name="connsiteY7601" fmla="*/ 2065360 h 2493266"/>
                <a:gd name="connsiteX7602" fmla="*/ 1831087 w 3135233"/>
                <a:gd name="connsiteY7602" fmla="*/ 2070294 h 2493266"/>
                <a:gd name="connsiteX7603" fmla="*/ 1822748 w 3135233"/>
                <a:gd name="connsiteY7603" fmla="*/ 2073551 h 2493266"/>
                <a:gd name="connsiteX7604" fmla="*/ 1751944 w 3135233"/>
                <a:gd name="connsiteY7604" fmla="*/ 2023519 h 2493266"/>
                <a:gd name="connsiteX7605" fmla="*/ 1760283 w 3135233"/>
                <a:gd name="connsiteY7605" fmla="*/ 2015428 h 2493266"/>
                <a:gd name="connsiteX7606" fmla="*/ 1766500 w 3135233"/>
                <a:gd name="connsiteY7606" fmla="*/ 2017056 h 2493266"/>
                <a:gd name="connsiteX7607" fmla="*/ 1766500 w 3135233"/>
                <a:gd name="connsiteY7607" fmla="*/ 2012122 h 2493266"/>
                <a:gd name="connsiteX7608" fmla="*/ 1770694 w 3135233"/>
                <a:gd name="connsiteY7608" fmla="*/ 2010494 h 2493266"/>
                <a:gd name="connsiteX7609" fmla="*/ 1776911 w 3135233"/>
                <a:gd name="connsiteY7609" fmla="*/ 2010494 h 2493266"/>
                <a:gd name="connsiteX7610" fmla="*/ 1779033 w 3135233"/>
                <a:gd name="connsiteY7610" fmla="*/ 2012122 h 2493266"/>
                <a:gd name="connsiteX7611" fmla="*/ 1785299 w 3135233"/>
                <a:gd name="connsiteY7611" fmla="*/ 2012122 h 2493266"/>
                <a:gd name="connsiteX7612" fmla="*/ 1793637 w 3135233"/>
                <a:gd name="connsiteY7612" fmla="*/ 2018585 h 2493266"/>
                <a:gd name="connsiteX7613" fmla="*/ 1793637 w 3135233"/>
                <a:gd name="connsiteY7613" fmla="*/ 2025000 h 2493266"/>
                <a:gd name="connsiteX7614" fmla="*/ 1795709 w 3135233"/>
                <a:gd name="connsiteY7614" fmla="*/ 2026628 h 2493266"/>
                <a:gd name="connsiteX7615" fmla="*/ 1795709 w 3135233"/>
                <a:gd name="connsiteY7615" fmla="*/ 2031562 h 2493266"/>
                <a:gd name="connsiteX7616" fmla="*/ 1776911 w 3135233"/>
                <a:gd name="connsiteY7616" fmla="*/ 2028355 h 2493266"/>
                <a:gd name="connsiteX7617" fmla="*/ 1772766 w 3135233"/>
                <a:gd name="connsiteY7617" fmla="*/ 2025098 h 2493266"/>
                <a:gd name="connsiteX7618" fmla="*/ 1766500 w 3135233"/>
                <a:gd name="connsiteY7618" fmla="*/ 2025098 h 2493266"/>
                <a:gd name="connsiteX7619" fmla="*/ 1764428 w 3135233"/>
                <a:gd name="connsiteY7619" fmla="*/ 2030032 h 2493266"/>
                <a:gd name="connsiteX7620" fmla="*/ 1766500 w 3135233"/>
                <a:gd name="connsiteY7620" fmla="*/ 2031661 h 2493266"/>
                <a:gd name="connsiteX7621" fmla="*/ 1762356 w 3135233"/>
                <a:gd name="connsiteY7621" fmla="*/ 2028453 h 2493266"/>
                <a:gd name="connsiteX7622" fmla="*/ 1762356 w 3135233"/>
                <a:gd name="connsiteY7622" fmla="*/ 2025197 h 2493266"/>
                <a:gd name="connsiteX7623" fmla="*/ 1756089 w 3135233"/>
                <a:gd name="connsiteY7623" fmla="*/ 2025197 h 2493266"/>
                <a:gd name="connsiteX7624" fmla="*/ 277408 w 3135233"/>
                <a:gd name="connsiteY7624" fmla="*/ 2047598 h 2493266"/>
                <a:gd name="connsiteX7625" fmla="*/ 283674 w 3135233"/>
                <a:gd name="connsiteY7625" fmla="*/ 2052532 h 2493266"/>
                <a:gd name="connsiteX7626" fmla="*/ 289941 w 3135233"/>
                <a:gd name="connsiteY7626" fmla="*/ 2060574 h 2493266"/>
                <a:gd name="connsiteX7627" fmla="*/ 287819 w 3135233"/>
                <a:gd name="connsiteY7627" fmla="*/ 2063781 h 2493266"/>
                <a:gd name="connsiteX7628" fmla="*/ 277408 w 3135233"/>
                <a:gd name="connsiteY7628" fmla="*/ 2055788 h 2493266"/>
                <a:gd name="connsiteX7629" fmla="*/ 262606 w 3135233"/>
                <a:gd name="connsiteY7629" fmla="*/ 2034818 h 2493266"/>
                <a:gd name="connsiteX7630" fmla="*/ 262606 w 3135233"/>
                <a:gd name="connsiteY7630" fmla="*/ 2024950 h 2493266"/>
                <a:gd name="connsiteX7631" fmla="*/ 266751 w 3135233"/>
                <a:gd name="connsiteY7631" fmla="*/ 2023371 h 2493266"/>
                <a:gd name="connsiteX7632" fmla="*/ 223134 w 3135233"/>
                <a:gd name="connsiteY7632" fmla="*/ 2004129 h 2493266"/>
                <a:gd name="connsiteX7633" fmla="*/ 233545 w 3135233"/>
                <a:gd name="connsiteY7633" fmla="*/ 2009063 h 2493266"/>
                <a:gd name="connsiteX7634" fmla="*/ 233545 w 3135233"/>
                <a:gd name="connsiteY7634" fmla="*/ 2004129 h 2493266"/>
                <a:gd name="connsiteX7635" fmla="*/ 162692 w 3135233"/>
                <a:gd name="connsiteY7635" fmla="*/ 1981531 h 2493266"/>
                <a:gd name="connsiteX7636" fmla="*/ 166886 w 3135233"/>
                <a:gd name="connsiteY7636" fmla="*/ 1991399 h 2493266"/>
                <a:gd name="connsiteX7637" fmla="*/ 168859 w 3135233"/>
                <a:gd name="connsiteY7637" fmla="*/ 1991399 h 2493266"/>
                <a:gd name="connsiteX7638" fmla="*/ 173004 w 3135233"/>
                <a:gd name="connsiteY7638" fmla="*/ 1999441 h 2493266"/>
                <a:gd name="connsiteX7639" fmla="*/ 189681 w 3135233"/>
                <a:gd name="connsiteY7639" fmla="*/ 2001070 h 2493266"/>
                <a:gd name="connsiteX7640" fmla="*/ 183464 w 3135233"/>
                <a:gd name="connsiteY7640" fmla="*/ 2004277 h 2493266"/>
                <a:gd name="connsiteX7641" fmla="*/ 175126 w 3135233"/>
                <a:gd name="connsiteY7641" fmla="*/ 2004277 h 2493266"/>
                <a:gd name="connsiteX7642" fmla="*/ 168859 w 3135233"/>
                <a:gd name="connsiteY7642" fmla="*/ 2010592 h 2493266"/>
                <a:gd name="connsiteX7643" fmla="*/ 173004 w 3135233"/>
                <a:gd name="connsiteY7643" fmla="*/ 2012220 h 2493266"/>
                <a:gd name="connsiteX7644" fmla="*/ 168859 w 3135233"/>
                <a:gd name="connsiteY7644" fmla="*/ 2020263 h 2493266"/>
                <a:gd name="connsiteX7645" fmla="*/ 170932 w 3135233"/>
                <a:gd name="connsiteY7645" fmla="*/ 2021891 h 2493266"/>
                <a:gd name="connsiteX7646" fmla="*/ 179270 w 3135233"/>
                <a:gd name="connsiteY7646" fmla="*/ 2018684 h 2493266"/>
                <a:gd name="connsiteX7647" fmla="*/ 181343 w 3135233"/>
                <a:gd name="connsiteY7647" fmla="*/ 2025098 h 2493266"/>
                <a:gd name="connsiteX7648" fmla="*/ 189681 w 3135233"/>
                <a:gd name="connsiteY7648" fmla="*/ 2025098 h 2493266"/>
                <a:gd name="connsiteX7649" fmla="*/ 189681 w 3135233"/>
                <a:gd name="connsiteY7649" fmla="*/ 2031562 h 2493266"/>
                <a:gd name="connsiteX7650" fmla="*/ 195947 w 3135233"/>
                <a:gd name="connsiteY7650" fmla="*/ 2034818 h 2493266"/>
                <a:gd name="connsiteX7651" fmla="*/ 204286 w 3135233"/>
                <a:gd name="connsiteY7651" fmla="*/ 2031562 h 2493266"/>
                <a:gd name="connsiteX7652" fmla="*/ 193875 w 3135233"/>
                <a:gd name="connsiteY7652" fmla="*/ 2041430 h 2493266"/>
                <a:gd name="connsiteX7653" fmla="*/ 198020 w 3135233"/>
                <a:gd name="connsiteY7653" fmla="*/ 2049473 h 2493266"/>
                <a:gd name="connsiteX7654" fmla="*/ 204286 w 3135233"/>
                <a:gd name="connsiteY7654" fmla="*/ 2047844 h 2493266"/>
                <a:gd name="connsiteX7655" fmla="*/ 204286 w 3135233"/>
                <a:gd name="connsiteY7655" fmla="*/ 2041430 h 2493266"/>
                <a:gd name="connsiteX7656" fmla="*/ 212624 w 3135233"/>
                <a:gd name="connsiteY7656" fmla="*/ 2039802 h 2493266"/>
                <a:gd name="connsiteX7657" fmla="*/ 210503 w 3135233"/>
                <a:gd name="connsiteY7657" fmla="*/ 2046265 h 2493266"/>
                <a:gd name="connsiteX7658" fmla="*/ 204286 w 3135233"/>
                <a:gd name="connsiteY7658" fmla="*/ 2051199 h 2493266"/>
                <a:gd name="connsiteX7659" fmla="*/ 206358 w 3135233"/>
                <a:gd name="connsiteY7659" fmla="*/ 2056133 h 2493266"/>
                <a:gd name="connsiteX7660" fmla="*/ 208332 w 3135233"/>
                <a:gd name="connsiteY7660" fmla="*/ 2056133 h 2493266"/>
                <a:gd name="connsiteX7661" fmla="*/ 210404 w 3135233"/>
                <a:gd name="connsiteY7661" fmla="*/ 2062597 h 2493266"/>
                <a:gd name="connsiteX7662" fmla="*/ 223134 w 3135233"/>
                <a:gd name="connsiteY7662" fmla="*/ 2062597 h 2493266"/>
                <a:gd name="connsiteX7663" fmla="*/ 223134 w 3135233"/>
                <a:gd name="connsiteY7663" fmla="*/ 2067531 h 2493266"/>
                <a:gd name="connsiteX7664" fmla="*/ 227278 w 3135233"/>
                <a:gd name="connsiteY7664" fmla="*/ 2067531 h 2493266"/>
                <a:gd name="connsiteX7665" fmla="*/ 231472 w 3135233"/>
                <a:gd name="connsiteY7665" fmla="*/ 2073995 h 2493266"/>
                <a:gd name="connsiteX7666" fmla="*/ 227278 w 3135233"/>
                <a:gd name="connsiteY7666" fmla="*/ 2078929 h 2493266"/>
                <a:gd name="connsiteX7667" fmla="*/ 235617 w 3135233"/>
                <a:gd name="connsiteY7667" fmla="*/ 2085392 h 2493266"/>
                <a:gd name="connsiteX7668" fmla="*/ 241883 w 3135233"/>
                <a:gd name="connsiteY7668" fmla="*/ 2082185 h 2493266"/>
                <a:gd name="connsiteX7669" fmla="*/ 246028 w 3135233"/>
                <a:gd name="connsiteY7669" fmla="*/ 2085392 h 2493266"/>
                <a:gd name="connsiteX7670" fmla="*/ 252294 w 3135233"/>
                <a:gd name="connsiteY7670" fmla="*/ 2085392 h 2493266"/>
                <a:gd name="connsiteX7671" fmla="*/ 241883 w 3135233"/>
                <a:gd name="connsiteY7671" fmla="*/ 2093484 h 2493266"/>
                <a:gd name="connsiteX7672" fmla="*/ 254366 w 3135233"/>
                <a:gd name="connsiteY7672" fmla="*/ 2106362 h 2493266"/>
                <a:gd name="connsiteX7673" fmla="*/ 260633 w 3135233"/>
                <a:gd name="connsiteY7673" fmla="*/ 2106362 h 2493266"/>
                <a:gd name="connsiteX7674" fmla="*/ 262705 w 3135233"/>
                <a:gd name="connsiteY7674" fmla="*/ 2111296 h 2493266"/>
                <a:gd name="connsiteX7675" fmla="*/ 285599 w 3135233"/>
                <a:gd name="connsiteY7675" fmla="*/ 2122595 h 2493266"/>
                <a:gd name="connsiteX7676" fmla="*/ 287671 w 3135233"/>
                <a:gd name="connsiteY7676" fmla="*/ 2119339 h 2493266"/>
                <a:gd name="connsiteX7677" fmla="*/ 293937 w 3135233"/>
                <a:gd name="connsiteY7677" fmla="*/ 2120967 h 2493266"/>
                <a:gd name="connsiteX7678" fmla="*/ 289793 w 3135233"/>
                <a:gd name="connsiteY7678" fmla="*/ 2104832 h 2493266"/>
                <a:gd name="connsiteX7679" fmla="*/ 291865 w 3135233"/>
                <a:gd name="connsiteY7679" fmla="*/ 2096740 h 2493266"/>
                <a:gd name="connsiteX7680" fmla="*/ 287671 w 3135233"/>
                <a:gd name="connsiteY7680" fmla="*/ 2091806 h 2493266"/>
                <a:gd name="connsiteX7681" fmla="*/ 289793 w 3135233"/>
                <a:gd name="connsiteY7681" fmla="*/ 2078879 h 2493266"/>
                <a:gd name="connsiteX7682" fmla="*/ 283526 w 3135233"/>
                <a:gd name="connsiteY7682" fmla="*/ 2072465 h 2493266"/>
                <a:gd name="connsiteX7683" fmla="*/ 266849 w 3135233"/>
                <a:gd name="connsiteY7683" fmla="*/ 2062597 h 2493266"/>
                <a:gd name="connsiteX7684" fmla="*/ 266849 w 3135233"/>
                <a:gd name="connsiteY7684" fmla="*/ 2044835 h 2493266"/>
                <a:gd name="connsiteX7685" fmla="*/ 258511 w 3135233"/>
                <a:gd name="connsiteY7685" fmla="*/ 2033536 h 2493266"/>
                <a:gd name="connsiteX7686" fmla="*/ 256439 w 3135233"/>
                <a:gd name="connsiteY7686" fmla="*/ 2023667 h 2493266"/>
                <a:gd name="connsiteX7687" fmla="*/ 254366 w 3135233"/>
                <a:gd name="connsiteY7687" fmla="*/ 2018733 h 2493266"/>
                <a:gd name="connsiteX7688" fmla="*/ 246028 w 3135233"/>
                <a:gd name="connsiteY7688" fmla="*/ 2018733 h 2493266"/>
                <a:gd name="connsiteX7689" fmla="*/ 233545 w 3135233"/>
                <a:gd name="connsiteY7689" fmla="*/ 2012270 h 2493266"/>
                <a:gd name="connsiteX7690" fmla="*/ 225206 w 3135233"/>
                <a:gd name="connsiteY7690" fmla="*/ 2012270 h 2493266"/>
                <a:gd name="connsiteX7691" fmla="*/ 216868 w 3135233"/>
                <a:gd name="connsiteY7691" fmla="*/ 2010642 h 2493266"/>
                <a:gd name="connsiteX7692" fmla="*/ 214795 w 3135233"/>
                <a:gd name="connsiteY7692" fmla="*/ 2004178 h 2493266"/>
                <a:gd name="connsiteX7693" fmla="*/ 202312 w 3135233"/>
                <a:gd name="connsiteY7693" fmla="*/ 1999244 h 2493266"/>
                <a:gd name="connsiteX7694" fmla="*/ 198118 w 3135233"/>
                <a:gd name="connsiteY7694" fmla="*/ 1994310 h 2493266"/>
                <a:gd name="connsiteX7695" fmla="*/ 196046 w 3135233"/>
                <a:gd name="connsiteY7695" fmla="*/ 1987846 h 2493266"/>
                <a:gd name="connsiteX7696" fmla="*/ 187708 w 3135233"/>
                <a:gd name="connsiteY7696" fmla="*/ 1987846 h 2493266"/>
                <a:gd name="connsiteX7697" fmla="*/ 183563 w 3135233"/>
                <a:gd name="connsiteY7697" fmla="*/ 1981383 h 2493266"/>
                <a:gd name="connsiteX7698" fmla="*/ 177297 w 3135233"/>
                <a:gd name="connsiteY7698" fmla="*/ 1979804 h 2493266"/>
                <a:gd name="connsiteX7699" fmla="*/ 175224 w 3135233"/>
                <a:gd name="connsiteY7699" fmla="*/ 1983011 h 2493266"/>
                <a:gd name="connsiteX7700" fmla="*/ 229351 w 3135233"/>
                <a:gd name="connsiteY7700" fmla="*/ 1996086 h 2493266"/>
                <a:gd name="connsiteX7701" fmla="*/ 233545 w 3135233"/>
                <a:gd name="connsiteY7701" fmla="*/ 1996086 h 2493266"/>
                <a:gd name="connsiteX7702" fmla="*/ 235617 w 3135233"/>
                <a:gd name="connsiteY7702" fmla="*/ 1992879 h 2493266"/>
                <a:gd name="connsiteX7703" fmla="*/ 239762 w 3135233"/>
                <a:gd name="connsiteY7703" fmla="*/ 1996086 h 2493266"/>
                <a:gd name="connsiteX7704" fmla="*/ 233545 w 3135233"/>
                <a:gd name="connsiteY7704" fmla="*/ 1999293 h 2493266"/>
                <a:gd name="connsiteX7705" fmla="*/ 227278 w 3135233"/>
                <a:gd name="connsiteY7705" fmla="*/ 2000922 h 2493266"/>
                <a:gd name="connsiteX7706" fmla="*/ 221012 w 3135233"/>
                <a:gd name="connsiteY7706" fmla="*/ 1991152 h 2493266"/>
                <a:gd name="connsiteX7707" fmla="*/ 227278 w 3135233"/>
                <a:gd name="connsiteY7707" fmla="*/ 1986218 h 2493266"/>
                <a:gd name="connsiteX7708" fmla="*/ 229351 w 3135233"/>
                <a:gd name="connsiteY7708" fmla="*/ 1991152 h 2493266"/>
                <a:gd name="connsiteX7709" fmla="*/ 181540 w 3135233"/>
                <a:gd name="connsiteY7709" fmla="*/ 1853986 h 2493266"/>
                <a:gd name="connsiteX7710" fmla="*/ 181540 w 3135233"/>
                <a:gd name="connsiteY7710" fmla="*/ 1862078 h 2493266"/>
                <a:gd name="connsiteX7711" fmla="*/ 185734 w 3135233"/>
                <a:gd name="connsiteY7711" fmla="*/ 1858821 h 2493266"/>
                <a:gd name="connsiteX7712" fmla="*/ 200289 w 3135233"/>
                <a:gd name="connsiteY7712" fmla="*/ 1918523 h 2493266"/>
                <a:gd name="connsiteX7713" fmla="*/ 200289 w 3135233"/>
                <a:gd name="connsiteY7713" fmla="*/ 1913589 h 2493266"/>
                <a:gd name="connsiteX7714" fmla="*/ 202411 w 3135233"/>
                <a:gd name="connsiteY7714" fmla="*/ 1910382 h 2493266"/>
                <a:gd name="connsiteX7715" fmla="*/ 204483 w 3135233"/>
                <a:gd name="connsiteY7715" fmla="*/ 1913589 h 2493266"/>
                <a:gd name="connsiteX7716" fmla="*/ 202411 w 3135233"/>
                <a:gd name="connsiteY7716" fmla="*/ 1918523 h 2493266"/>
                <a:gd name="connsiteX7717" fmla="*/ 198217 w 3135233"/>
                <a:gd name="connsiteY7717" fmla="*/ 1937914 h 2493266"/>
                <a:gd name="connsiteX7718" fmla="*/ 194072 w 3135233"/>
                <a:gd name="connsiteY7718" fmla="*/ 1941121 h 2493266"/>
                <a:gd name="connsiteX7719" fmla="*/ 194072 w 3135233"/>
                <a:gd name="connsiteY7719" fmla="*/ 1947585 h 2493266"/>
                <a:gd name="connsiteX7720" fmla="*/ 198217 w 3135233"/>
                <a:gd name="connsiteY7720" fmla="*/ 1950792 h 2493266"/>
                <a:gd name="connsiteX7721" fmla="*/ 200289 w 3135233"/>
                <a:gd name="connsiteY7721" fmla="*/ 1942700 h 2493266"/>
                <a:gd name="connsiteX7722" fmla="*/ 204483 w 3135233"/>
                <a:gd name="connsiteY7722" fmla="*/ 1929822 h 2493266"/>
                <a:gd name="connsiteX7723" fmla="*/ 208628 w 3135233"/>
                <a:gd name="connsiteY7723" fmla="*/ 1923359 h 2493266"/>
                <a:gd name="connsiteX7724" fmla="*/ 206556 w 3135233"/>
                <a:gd name="connsiteY7724" fmla="*/ 1920152 h 2493266"/>
                <a:gd name="connsiteX7725" fmla="*/ 198217 w 3135233"/>
                <a:gd name="connsiteY7725" fmla="*/ 1923359 h 2493266"/>
                <a:gd name="connsiteX7726" fmla="*/ 196145 w 3135233"/>
                <a:gd name="connsiteY7726" fmla="*/ 1929822 h 2493266"/>
                <a:gd name="connsiteX7727" fmla="*/ 204483 w 3135233"/>
                <a:gd name="connsiteY7727" fmla="*/ 1929822 h 2493266"/>
                <a:gd name="connsiteX7728" fmla="*/ 210700 w 3135233"/>
                <a:gd name="connsiteY7728" fmla="*/ 1923359 h 2493266"/>
                <a:gd name="connsiteX7729" fmla="*/ 219039 w 3135233"/>
                <a:gd name="connsiteY7729" fmla="*/ 1913491 h 2493266"/>
                <a:gd name="connsiteX7730" fmla="*/ 225305 w 3135233"/>
                <a:gd name="connsiteY7730" fmla="*/ 1913491 h 2493266"/>
                <a:gd name="connsiteX7731" fmla="*/ 229449 w 3135233"/>
                <a:gd name="connsiteY7731" fmla="*/ 1907027 h 2493266"/>
                <a:gd name="connsiteX7732" fmla="*/ 239860 w 3135233"/>
                <a:gd name="connsiteY7732" fmla="*/ 1905399 h 2493266"/>
                <a:gd name="connsiteX7733" fmla="*/ 239860 w 3135233"/>
                <a:gd name="connsiteY7733" fmla="*/ 1908606 h 2493266"/>
                <a:gd name="connsiteX7734" fmla="*/ 227377 w 3135233"/>
                <a:gd name="connsiteY7734" fmla="*/ 1916747 h 2493266"/>
                <a:gd name="connsiteX7735" fmla="*/ 223134 w 3135233"/>
                <a:gd name="connsiteY7735" fmla="*/ 1916747 h 2493266"/>
                <a:gd name="connsiteX7736" fmla="*/ 214795 w 3135233"/>
                <a:gd name="connsiteY7736" fmla="*/ 1923161 h 2493266"/>
                <a:gd name="connsiteX7737" fmla="*/ 206556 w 3135233"/>
                <a:gd name="connsiteY7737" fmla="*/ 1891090 h 2493266"/>
                <a:gd name="connsiteX7738" fmla="*/ 206556 w 3135233"/>
                <a:gd name="connsiteY7738" fmla="*/ 1883047 h 2493266"/>
                <a:gd name="connsiteX7739" fmla="*/ 210700 w 3135233"/>
                <a:gd name="connsiteY7739" fmla="*/ 1878113 h 2493266"/>
                <a:gd name="connsiteX7740" fmla="*/ 212822 w 3135233"/>
                <a:gd name="connsiteY7740" fmla="*/ 1884577 h 2493266"/>
                <a:gd name="connsiteX7741" fmla="*/ 208628 w 3135233"/>
                <a:gd name="connsiteY7741" fmla="*/ 1886205 h 2493266"/>
                <a:gd name="connsiteX7742" fmla="*/ 208628 w 3135233"/>
                <a:gd name="connsiteY7742" fmla="*/ 1889708 h 2493266"/>
                <a:gd name="connsiteX7743" fmla="*/ 189878 w 3135233"/>
                <a:gd name="connsiteY7743" fmla="*/ 1889511 h 2493266"/>
                <a:gd name="connsiteX7744" fmla="*/ 198217 w 3135233"/>
                <a:gd name="connsiteY7744" fmla="*/ 1892718 h 2493266"/>
                <a:gd name="connsiteX7745" fmla="*/ 202411 w 3135233"/>
                <a:gd name="connsiteY7745" fmla="*/ 1889511 h 2493266"/>
                <a:gd name="connsiteX7746" fmla="*/ 200289 w 3135233"/>
                <a:gd name="connsiteY7746" fmla="*/ 1884577 h 2493266"/>
                <a:gd name="connsiteX7747" fmla="*/ 179468 w 3135233"/>
                <a:gd name="connsiteY7747" fmla="*/ 1870120 h 2493266"/>
                <a:gd name="connsiteX7748" fmla="*/ 179468 w 3135233"/>
                <a:gd name="connsiteY7748" fmla="*/ 1881419 h 2493266"/>
                <a:gd name="connsiteX7749" fmla="*/ 183662 w 3135233"/>
                <a:gd name="connsiteY7749" fmla="*/ 1884626 h 2493266"/>
                <a:gd name="connsiteX7750" fmla="*/ 183662 w 3135233"/>
                <a:gd name="connsiteY7750" fmla="*/ 1889560 h 2493266"/>
                <a:gd name="connsiteX7751" fmla="*/ 187806 w 3135233"/>
                <a:gd name="connsiteY7751" fmla="*/ 1883097 h 2493266"/>
                <a:gd name="connsiteX7752" fmla="*/ 185734 w 3135233"/>
                <a:gd name="connsiteY7752" fmla="*/ 1876633 h 2493266"/>
                <a:gd name="connsiteX7753" fmla="*/ 185734 w 3135233"/>
                <a:gd name="connsiteY7753" fmla="*/ 1865186 h 2493266"/>
                <a:gd name="connsiteX7754" fmla="*/ 191951 w 3135233"/>
                <a:gd name="connsiteY7754" fmla="*/ 1865186 h 2493266"/>
                <a:gd name="connsiteX7755" fmla="*/ 189878 w 3135233"/>
                <a:gd name="connsiteY7755" fmla="*/ 1870120 h 2493266"/>
                <a:gd name="connsiteX7756" fmla="*/ 189878 w 3135233"/>
                <a:gd name="connsiteY7756" fmla="*/ 1875054 h 2493266"/>
                <a:gd name="connsiteX7757" fmla="*/ 196145 w 3135233"/>
                <a:gd name="connsiteY7757" fmla="*/ 1875054 h 2493266"/>
                <a:gd name="connsiteX7758" fmla="*/ 202411 w 3135233"/>
                <a:gd name="connsiteY7758" fmla="*/ 1870120 h 2493266"/>
                <a:gd name="connsiteX7759" fmla="*/ 198217 w 3135233"/>
                <a:gd name="connsiteY7759" fmla="*/ 1876584 h 2493266"/>
                <a:gd name="connsiteX7760" fmla="*/ 200289 w 3135233"/>
                <a:gd name="connsiteY7760" fmla="*/ 1883047 h 2493266"/>
                <a:gd name="connsiteX7761" fmla="*/ 206556 w 3135233"/>
                <a:gd name="connsiteY7761" fmla="*/ 1876584 h 2493266"/>
                <a:gd name="connsiteX7762" fmla="*/ 208628 w 3135233"/>
                <a:gd name="connsiteY7762" fmla="*/ 1862078 h 2493266"/>
                <a:gd name="connsiteX7763" fmla="*/ 200289 w 3135233"/>
                <a:gd name="connsiteY7763" fmla="*/ 1857144 h 2493266"/>
                <a:gd name="connsiteX7764" fmla="*/ 194072 w 3135233"/>
                <a:gd name="connsiteY7764" fmla="*/ 1858772 h 2493266"/>
                <a:gd name="connsiteX7765" fmla="*/ 185734 w 3135233"/>
                <a:gd name="connsiteY7765" fmla="*/ 1850680 h 2493266"/>
                <a:gd name="connsiteX7766" fmla="*/ 189878 w 3135233"/>
                <a:gd name="connsiteY7766" fmla="*/ 1855614 h 2493266"/>
                <a:gd name="connsiteX7767" fmla="*/ 191951 w 3135233"/>
                <a:gd name="connsiteY7767" fmla="*/ 1852358 h 2493266"/>
                <a:gd name="connsiteX7768" fmla="*/ 189878 w 3135233"/>
                <a:gd name="connsiteY7768" fmla="*/ 1849151 h 2493266"/>
                <a:gd name="connsiteX7769" fmla="*/ 198217 w 3135233"/>
                <a:gd name="connsiteY7769" fmla="*/ 1840812 h 2493266"/>
                <a:gd name="connsiteX7770" fmla="*/ 202411 w 3135233"/>
                <a:gd name="connsiteY7770" fmla="*/ 1834349 h 2493266"/>
                <a:gd name="connsiteX7771" fmla="*/ 208628 w 3135233"/>
                <a:gd name="connsiteY7771" fmla="*/ 1831092 h 2493266"/>
                <a:gd name="connsiteX7772" fmla="*/ 212822 w 3135233"/>
                <a:gd name="connsiteY7772" fmla="*/ 1831092 h 2493266"/>
                <a:gd name="connsiteX7773" fmla="*/ 210700 w 3135233"/>
                <a:gd name="connsiteY7773" fmla="*/ 1836026 h 2493266"/>
                <a:gd name="connsiteX7774" fmla="*/ 204483 w 3135233"/>
                <a:gd name="connsiteY7774" fmla="*/ 1837654 h 2493266"/>
                <a:gd name="connsiteX7775" fmla="*/ 154452 w 3135233"/>
                <a:gd name="connsiteY7775" fmla="*/ 1823050 h 2493266"/>
                <a:gd name="connsiteX7776" fmla="*/ 171129 w 3135233"/>
                <a:gd name="connsiteY7776" fmla="*/ 1837556 h 2493266"/>
                <a:gd name="connsiteX7777" fmla="*/ 175323 w 3135233"/>
                <a:gd name="connsiteY7777" fmla="*/ 1847424 h 2493266"/>
                <a:gd name="connsiteX7778" fmla="*/ 173201 w 3135233"/>
                <a:gd name="connsiteY7778" fmla="*/ 1852358 h 2493266"/>
                <a:gd name="connsiteX7779" fmla="*/ 166985 w 3135233"/>
                <a:gd name="connsiteY7779" fmla="*/ 1850779 h 2493266"/>
                <a:gd name="connsiteX7780" fmla="*/ 166985 w 3135233"/>
                <a:gd name="connsiteY7780" fmla="*/ 1842687 h 2493266"/>
                <a:gd name="connsiteX7781" fmla="*/ 156574 w 3135233"/>
                <a:gd name="connsiteY7781" fmla="*/ 1832819 h 2493266"/>
                <a:gd name="connsiteX7782" fmla="*/ 152380 w 3135233"/>
                <a:gd name="connsiteY7782" fmla="*/ 1827885 h 2493266"/>
                <a:gd name="connsiteX7783" fmla="*/ 169254 w 3135233"/>
                <a:gd name="connsiteY7783" fmla="*/ 1816586 h 2493266"/>
                <a:gd name="connsiteX7784" fmla="*/ 171326 w 3135233"/>
                <a:gd name="connsiteY7784" fmla="*/ 1824629 h 2493266"/>
                <a:gd name="connsiteX7785" fmla="*/ 175520 w 3135233"/>
                <a:gd name="connsiteY7785" fmla="*/ 1832720 h 2493266"/>
                <a:gd name="connsiteX7786" fmla="*/ 177593 w 3135233"/>
                <a:gd name="connsiteY7786" fmla="*/ 1840812 h 2493266"/>
                <a:gd name="connsiteX7787" fmla="*/ 183859 w 3135233"/>
                <a:gd name="connsiteY7787" fmla="*/ 1845746 h 2493266"/>
                <a:gd name="connsiteX7788" fmla="*/ 185931 w 3135233"/>
                <a:gd name="connsiteY7788" fmla="*/ 1835878 h 2493266"/>
                <a:gd name="connsiteX7789" fmla="*/ 177593 w 3135233"/>
                <a:gd name="connsiteY7789" fmla="*/ 1824579 h 2493266"/>
                <a:gd name="connsiteX7790" fmla="*/ 175520 w 3135233"/>
                <a:gd name="connsiteY7790" fmla="*/ 1816537 h 2493266"/>
                <a:gd name="connsiteX7791" fmla="*/ 171326 w 3135233"/>
                <a:gd name="connsiteY7791" fmla="*/ 1814908 h 2493266"/>
                <a:gd name="connsiteX7792" fmla="*/ 156771 w 3135233"/>
                <a:gd name="connsiteY7792" fmla="*/ 1808494 h 2493266"/>
                <a:gd name="connsiteX7793" fmla="*/ 167182 w 3135233"/>
                <a:gd name="connsiteY7793" fmla="*/ 1808494 h 2493266"/>
                <a:gd name="connsiteX7794" fmla="*/ 167182 w 3135233"/>
                <a:gd name="connsiteY7794" fmla="*/ 1811701 h 2493266"/>
                <a:gd name="connsiteX7795" fmla="*/ 173399 w 3135233"/>
                <a:gd name="connsiteY7795" fmla="*/ 1811701 h 2493266"/>
                <a:gd name="connsiteX7796" fmla="*/ 175520 w 3135233"/>
                <a:gd name="connsiteY7796" fmla="*/ 1805287 h 2493266"/>
                <a:gd name="connsiteX7797" fmla="*/ 168859 w 3135233"/>
                <a:gd name="connsiteY7797" fmla="*/ 1800896 h 2493266"/>
                <a:gd name="connsiteX7798" fmla="*/ 160521 w 3135233"/>
                <a:gd name="connsiteY7798" fmla="*/ 1804103 h 2493266"/>
                <a:gd name="connsiteX7799" fmla="*/ 81774 w 3135233"/>
                <a:gd name="connsiteY7799" fmla="*/ 1811701 h 2493266"/>
                <a:gd name="connsiteX7800" fmla="*/ 79701 w 3135233"/>
                <a:gd name="connsiteY7800" fmla="*/ 1802080 h 2493266"/>
                <a:gd name="connsiteX7801" fmla="*/ 90112 w 3135233"/>
                <a:gd name="connsiteY7801" fmla="*/ 1785946 h 2493266"/>
                <a:gd name="connsiteX7802" fmla="*/ 102595 w 3135233"/>
                <a:gd name="connsiteY7802" fmla="*/ 1787525 h 2493266"/>
                <a:gd name="connsiteX7803" fmla="*/ 100523 w 3135233"/>
                <a:gd name="connsiteY7803" fmla="*/ 1795616 h 2493266"/>
                <a:gd name="connsiteX7804" fmla="*/ 104668 w 3135233"/>
                <a:gd name="connsiteY7804" fmla="*/ 1793988 h 2493266"/>
                <a:gd name="connsiteX7805" fmla="*/ 108862 w 3135233"/>
                <a:gd name="connsiteY7805" fmla="*/ 1790732 h 2493266"/>
                <a:gd name="connsiteX7806" fmla="*/ 113006 w 3135233"/>
                <a:gd name="connsiteY7806" fmla="*/ 1792360 h 2493266"/>
                <a:gd name="connsiteX7807" fmla="*/ 113006 w 3135233"/>
                <a:gd name="connsiteY7807" fmla="*/ 1803659 h 2493266"/>
                <a:gd name="connsiteX7808" fmla="*/ 106789 w 3135233"/>
                <a:gd name="connsiteY7808" fmla="*/ 1808593 h 2493266"/>
                <a:gd name="connsiteX7809" fmla="*/ 94257 w 3135233"/>
                <a:gd name="connsiteY7809" fmla="*/ 1813527 h 2493266"/>
                <a:gd name="connsiteX7810" fmla="*/ 98451 w 3135233"/>
                <a:gd name="connsiteY7810" fmla="*/ 1816734 h 2493266"/>
                <a:gd name="connsiteX7811" fmla="*/ 98451 w 3135233"/>
                <a:gd name="connsiteY7811" fmla="*/ 1819941 h 2493266"/>
                <a:gd name="connsiteX7812" fmla="*/ 106789 w 3135233"/>
                <a:gd name="connsiteY7812" fmla="*/ 1818313 h 2493266"/>
                <a:gd name="connsiteX7813" fmla="*/ 110934 w 3135233"/>
                <a:gd name="connsiteY7813" fmla="*/ 1808445 h 2493266"/>
                <a:gd name="connsiteX7814" fmla="*/ 119272 w 3135233"/>
                <a:gd name="connsiteY7814" fmla="*/ 1798577 h 2493266"/>
                <a:gd name="connsiteX7815" fmla="*/ 131756 w 3135233"/>
                <a:gd name="connsiteY7815" fmla="*/ 1793643 h 2493266"/>
                <a:gd name="connsiteX7816" fmla="*/ 133828 w 3135233"/>
                <a:gd name="connsiteY7816" fmla="*/ 1795271 h 2493266"/>
                <a:gd name="connsiteX7817" fmla="*/ 121345 w 3135233"/>
                <a:gd name="connsiteY7817" fmla="*/ 1808149 h 2493266"/>
                <a:gd name="connsiteX7818" fmla="*/ 119272 w 3135233"/>
                <a:gd name="connsiteY7818" fmla="*/ 1816241 h 2493266"/>
                <a:gd name="connsiteX7819" fmla="*/ 113006 w 3135233"/>
                <a:gd name="connsiteY7819" fmla="*/ 1824283 h 2493266"/>
                <a:gd name="connsiteX7820" fmla="*/ 110934 w 3135233"/>
                <a:gd name="connsiteY7820" fmla="*/ 1834151 h 2493266"/>
                <a:gd name="connsiteX7821" fmla="*/ 102595 w 3135233"/>
                <a:gd name="connsiteY7821" fmla="*/ 1839085 h 2493266"/>
                <a:gd name="connsiteX7822" fmla="*/ 96329 w 3135233"/>
                <a:gd name="connsiteY7822" fmla="*/ 1839085 h 2493266"/>
                <a:gd name="connsiteX7823" fmla="*/ 92185 w 3135233"/>
                <a:gd name="connsiteY7823" fmla="*/ 1845549 h 2493266"/>
                <a:gd name="connsiteX7824" fmla="*/ 98451 w 3135233"/>
                <a:gd name="connsiteY7824" fmla="*/ 1845549 h 2493266"/>
                <a:gd name="connsiteX7825" fmla="*/ 102595 w 3135233"/>
                <a:gd name="connsiteY7825" fmla="*/ 1842342 h 2493266"/>
                <a:gd name="connsiteX7826" fmla="*/ 110934 w 3135233"/>
                <a:gd name="connsiteY7826" fmla="*/ 1843970 h 2493266"/>
                <a:gd name="connsiteX7827" fmla="*/ 110934 w 3135233"/>
                <a:gd name="connsiteY7827" fmla="*/ 1850434 h 2493266"/>
                <a:gd name="connsiteX7828" fmla="*/ 100523 w 3135233"/>
                <a:gd name="connsiteY7828" fmla="*/ 1850434 h 2493266"/>
                <a:gd name="connsiteX7829" fmla="*/ 96329 w 3135233"/>
                <a:gd name="connsiteY7829" fmla="*/ 1858476 h 2493266"/>
                <a:gd name="connsiteX7830" fmla="*/ 98451 w 3135233"/>
                <a:gd name="connsiteY7830" fmla="*/ 1864940 h 2493266"/>
                <a:gd name="connsiteX7831" fmla="*/ 98451 w 3135233"/>
                <a:gd name="connsiteY7831" fmla="*/ 1872982 h 2493266"/>
                <a:gd name="connsiteX7832" fmla="*/ 102595 w 3135233"/>
                <a:gd name="connsiteY7832" fmla="*/ 1884281 h 2493266"/>
                <a:gd name="connsiteX7833" fmla="*/ 104668 w 3135233"/>
                <a:gd name="connsiteY7833" fmla="*/ 1892373 h 2493266"/>
                <a:gd name="connsiteX7834" fmla="*/ 108862 w 3135233"/>
                <a:gd name="connsiteY7834" fmla="*/ 1892373 h 2493266"/>
                <a:gd name="connsiteX7835" fmla="*/ 113006 w 3135233"/>
                <a:gd name="connsiteY7835" fmla="*/ 1895629 h 2493266"/>
                <a:gd name="connsiteX7836" fmla="*/ 108862 w 3135233"/>
                <a:gd name="connsiteY7836" fmla="*/ 1900563 h 2493266"/>
                <a:gd name="connsiteX7837" fmla="*/ 98451 w 3135233"/>
                <a:gd name="connsiteY7837" fmla="*/ 1898984 h 2493266"/>
                <a:gd name="connsiteX7838" fmla="*/ 87695 w 3135233"/>
                <a:gd name="connsiteY7838" fmla="*/ 1879840 h 2493266"/>
                <a:gd name="connsiteX7839" fmla="*/ 87695 w 3135233"/>
                <a:gd name="connsiteY7839" fmla="*/ 1869972 h 2493266"/>
                <a:gd name="connsiteX7840" fmla="*/ 89767 w 3135233"/>
                <a:gd name="connsiteY7840" fmla="*/ 1866716 h 2493266"/>
                <a:gd name="connsiteX7841" fmla="*/ 81428 w 3135233"/>
                <a:gd name="connsiteY7841" fmla="*/ 1865137 h 2493266"/>
                <a:gd name="connsiteX7842" fmla="*/ 79356 w 3135233"/>
                <a:gd name="connsiteY7842" fmla="*/ 1858673 h 2493266"/>
                <a:gd name="connsiteX7843" fmla="*/ 81428 w 3135233"/>
                <a:gd name="connsiteY7843" fmla="*/ 1855466 h 2493266"/>
                <a:gd name="connsiteX7844" fmla="*/ 89915 w 3135233"/>
                <a:gd name="connsiteY7844" fmla="*/ 1855466 h 2493266"/>
                <a:gd name="connsiteX7845" fmla="*/ 83649 w 3135233"/>
                <a:gd name="connsiteY7845" fmla="*/ 1849003 h 2493266"/>
                <a:gd name="connsiteX7846" fmla="*/ 79504 w 3135233"/>
                <a:gd name="connsiteY7846" fmla="*/ 1847424 h 2493266"/>
                <a:gd name="connsiteX7847" fmla="*/ 83649 w 3135233"/>
                <a:gd name="connsiteY7847" fmla="*/ 1840960 h 2493266"/>
                <a:gd name="connsiteX7848" fmla="*/ 77432 w 3135233"/>
                <a:gd name="connsiteY7848" fmla="*/ 1836026 h 2493266"/>
                <a:gd name="connsiteX7849" fmla="*/ 79504 w 3135233"/>
                <a:gd name="connsiteY7849" fmla="*/ 1832819 h 2493266"/>
                <a:gd name="connsiteX7850" fmla="*/ 83649 w 3135233"/>
                <a:gd name="connsiteY7850" fmla="*/ 1832819 h 2493266"/>
                <a:gd name="connsiteX7851" fmla="*/ 87843 w 3135233"/>
                <a:gd name="connsiteY7851" fmla="*/ 1836026 h 2493266"/>
                <a:gd name="connsiteX7852" fmla="*/ 87843 w 3135233"/>
                <a:gd name="connsiteY7852" fmla="*/ 1829563 h 2493266"/>
                <a:gd name="connsiteX7853" fmla="*/ 83649 w 3135233"/>
                <a:gd name="connsiteY7853" fmla="*/ 1824629 h 2493266"/>
                <a:gd name="connsiteX7854" fmla="*/ 77432 w 3135233"/>
                <a:gd name="connsiteY7854" fmla="*/ 1823050 h 2493266"/>
                <a:gd name="connsiteX7855" fmla="*/ 77432 w 3135233"/>
                <a:gd name="connsiteY7855" fmla="*/ 1818116 h 2493266"/>
                <a:gd name="connsiteX7856" fmla="*/ 167182 w 3135233"/>
                <a:gd name="connsiteY7856" fmla="*/ 1779482 h 2493266"/>
                <a:gd name="connsiteX7857" fmla="*/ 167182 w 3135233"/>
                <a:gd name="connsiteY7857" fmla="*/ 1774548 h 2493266"/>
                <a:gd name="connsiteX7858" fmla="*/ 171326 w 3135233"/>
                <a:gd name="connsiteY7858" fmla="*/ 1771292 h 2493266"/>
                <a:gd name="connsiteX7859" fmla="*/ 171326 w 3135233"/>
                <a:gd name="connsiteY7859" fmla="*/ 1776226 h 2493266"/>
                <a:gd name="connsiteX7860" fmla="*/ 902353 w 3135233"/>
                <a:gd name="connsiteY7860" fmla="*/ 837081 h 2493266"/>
                <a:gd name="connsiteX7861" fmla="*/ 906498 w 3135233"/>
                <a:gd name="connsiteY7861" fmla="*/ 840338 h 2493266"/>
                <a:gd name="connsiteX7862" fmla="*/ 910691 w 3135233"/>
                <a:gd name="connsiteY7862" fmla="*/ 838710 h 2493266"/>
                <a:gd name="connsiteX7863" fmla="*/ 910691 w 3135233"/>
                <a:gd name="connsiteY7863" fmla="*/ 835503 h 2493266"/>
                <a:gd name="connsiteX7864" fmla="*/ 912764 w 3135233"/>
                <a:gd name="connsiteY7864" fmla="*/ 833874 h 2493266"/>
                <a:gd name="connsiteX7865" fmla="*/ 906498 w 3135233"/>
                <a:gd name="connsiteY7865" fmla="*/ 833874 h 2493266"/>
                <a:gd name="connsiteX7866" fmla="*/ 833622 w 3135233"/>
                <a:gd name="connsiteY7866" fmla="*/ 777380 h 2493266"/>
                <a:gd name="connsiteX7867" fmla="*/ 837767 w 3135233"/>
                <a:gd name="connsiteY7867" fmla="*/ 779008 h 2493266"/>
                <a:gd name="connsiteX7868" fmla="*/ 844033 w 3135233"/>
                <a:gd name="connsiteY7868" fmla="*/ 775801 h 2493266"/>
                <a:gd name="connsiteX7869" fmla="*/ 844033 w 3135233"/>
                <a:gd name="connsiteY7869" fmla="*/ 769683 h 2493266"/>
                <a:gd name="connsiteX7870" fmla="*/ 837767 w 3135233"/>
                <a:gd name="connsiteY7870" fmla="*/ 772890 h 2493266"/>
                <a:gd name="connsiteX7871" fmla="*/ 579519 w 3135233"/>
                <a:gd name="connsiteY7871" fmla="*/ 796770 h 2493266"/>
                <a:gd name="connsiteX7872" fmla="*/ 583664 w 3135233"/>
                <a:gd name="connsiteY7872" fmla="*/ 798399 h 2493266"/>
                <a:gd name="connsiteX7873" fmla="*/ 587808 w 3135233"/>
                <a:gd name="connsiteY7873" fmla="*/ 793465 h 2493266"/>
                <a:gd name="connsiteX7874" fmla="*/ 583664 w 3135233"/>
                <a:gd name="connsiteY7874" fmla="*/ 791886 h 2493266"/>
                <a:gd name="connsiteX7875" fmla="*/ 577398 w 3135233"/>
                <a:gd name="connsiteY7875" fmla="*/ 806638 h 2493266"/>
                <a:gd name="connsiteX7876" fmla="*/ 577398 w 3135233"/>
                <a:gd name="connsiteY7876" fmla="*/ 803431 h 2493266"/>
                <a:gd name="connsiteX7877" fmla="*/ 579519 w 3135233"/>
                <a:gd name="connsiteY7877" fmla="*/ 801803 h 2493266"/>
                <a:gd name="connsiteX7878" fmla="*/ 581591 w 3135233"/>
                <a:gd name="connsiteY7878" fmla="*/ 805010 h 2493266"/>
                <a:gd name="connsiteX7879" fmla="*/ 564914 w 3135233"/>
                <a:gd name="connsiteY7879" fmla="*/ 825980 h 2493266"/>
                <a:gd name="connsiteX7880" fmla="*/ 564914 w 3135233"/>
                <a:gd name="connsiteY7880" fmla="*/ 835848 h 2493266"/>
                <a:gd name="connsiteX7881" fmla="*/ 560770 w 3135233"/>
                <a:gd name="connsiteY7881" fmla="*/ 840782 h 2493266"/>
                <a:gd name="connsiteX7882" fmla="*/ 562842 w 3135233"/>
                <a:gd name="connsiteY7882" fmla="*/ 845716 h 2493266"/>
                <a:gd name="connsiteX7883" fmla="*/ 569059 w 3135233"/>
                <a:gd name="connsiteY7883" fmla="*/ 847344 h 2493266"/>
                <a:gd name="connsiteX7884" fmla="*/ 575325 w 3135233"/>
                <a:gd name="connsiteY7884" fmla="*/ 842410 h 2493266"/>
                <a:gd name="connsiteX7885" fmla="*/ 581591 w 3135233"/>
                <a:gd name="connsiteY7885" fmla="*/ 842410 h 2493266"/>
                <a:gd name="connsiteX7886" fmla="*/ 604485 w 3135233"/>
                <a:gd name="connsiteY7886" fmla="*/ 824697 h 2493266"/>
                <a:gd name="connsiteX7887" fmla="*/ 616969 w 3135233"/>
                <a:gd name="connsiteY7887" fmla="*/ 819763 h 2493266"/>
                <a:gd name="connsiteX7888" fmla="*/ 621162 w 3135233"/>
                <a:gd name="connsiteY7888" fmla="*/ 813299 h 2493266"/>
                <a:gd name="connsiteX7889" fmla="*/ 616969 w 3135233"/>
                <a:gd name="connsiteY7889" fmla="*/ 814928 h 2493266"/>
                <a:gd name="connsiteX7890" fmla="*/ 612824 w 3135233"/>
                <a:gd name="connsiteY7890" fmla="*/ 811671 h 2493266"/>
                <a:gd name="connsiteX7891" fmla="*/ 610752 w 3135233"/>
                <a:gd name="connsiteY7891" fmla="*/ 801803 h 2493266"/>
                <a:gd name="connsiteX7892" fmla="*/ 606558 w 3135233"/>
                <a:gd name="connsiteY7892" fmla="*/ 801803 h 2493266"/>
                <a:gd name="connsiteX7893" fmla="*/ 600341 w 3135233"/>
                <a:gd name="connsiteY7893" fmla="*/ 809846 h 2493266"/>
                <a:gd name="connsiteX7894" fmla="*/ 594075 w 3135233"/>
                <a:gd name="connsiteY7894" fmla="*/ 811474 h 2493266"/>
                <a:gd name="connsiteX7895" fmla="*/ 596147 w 3135233"/>
                <a:gd name="connsiteY7895" fmla="*/ 816408 h 2493266"/>
                <a:gd name="connsiteX7896" fmla="*/ 589930 w 3135233"/>
                <a:gd name="connsiteY7896" fmla="*/ 816408 h 2493266"/>
                <a:gd name="connsiteX7897" fmla="*/ 587808 w 3135233"/>
                <a:gd name="connsiteY7897" fmla="*/ 818036 h 2493266"/>
                <a:gd name="connsiteX7898" fmla="*/ 583664 w 3135233"/>
                <a:gd name="connsiteY7898" fmla="*/ 824500 h 2493266"/>
                <a:gd name="connsiteX7899" fmla="*/ 581591 w 3135233"/>
                <a:gd name="connsiteY7899" fmla="*/ 818036 h 2493266"/>
                <a:gd name="connsiteX7900" fmla="*/ 583664 w 3135233"/>
                <a:gd name="connsiteY7900" fmla="*/ 814829 h 2493266"/>
                <a:gd name="connsiteX7901" fmla="*/ 579519 w 3135233"/>
                <a:gd name="connsiteY7901" fmla="*/ 811573 h 2493266"/>
                <a:gd name="connsiteX7902" fmla="*/ 575325 w 3135233"/>
                <a:gd name="connsiteY7902" fmla="*/ 816507 h 2493266"/>
                <a:gd name="connsiteX7903" fmla="*/ 573253 w 3135233"/>
                <a:gd name="connsiteY7903" fmla="*/ 814928 h 2493266"/>
                <a:gd name="connsiteX7904" fmla="*/ 569059 w 3135233"/>
                <a:gd name="connsiteY7904" fmla="*/ 821342 h 2493266"/>
                <a:gd name="connsiteX7905" fmla="*/ 539899 w 3135233"/>
                <a:gd name="connsiteY7905" fmla="*/ 845371 h 2493266"/>
                <a:gd name="connsiteX7906" fmla="*/ 542021 w 3135233"/>
                <a:gd name="connsiteY7906" fmla="*/ 838907 h 2493266"/>
                <a:gd name="connsiteX7907" fmla="*/ 542021 w 3135233"/>
                <a:gd name="connsiteY7907" fmla="*/ 825980 h 2493266"/>
                <a:gd name="connsiteX7908" fmla="*/ 533682 w 3135233"/>
                <a:gd name="connsiteY7908" fmla="*/ 832443 h 2493266"/>
                <a:gd name="connsiteX7909" fmla="*/ 533682 w 3135233"/>
                <a:gd name="connsiteY7909" fmla="*/ 837378 h 2493266"/>
                <a:gd name="connsiteX7910" fmla="*/ 529488 w 3135233"/>
                <a:gd name="connsiteY7910" fmla="*/ 840634 h 2493266"/>
                <a:gd name="connsiteX7911" fmla="*/ 533682 w 3135233"/>
                <a:gd name="connsiteY7911" fmla="*/ 842213 h 2493266"/>
                <a:gd name="connsiteX7912" fmla="*/ 539652 w 3135233"/>
                <a:gd name="connsiteY7912" fmla="*/ 845617 h 2493266"/>
                <a:gd name="connsiteX7913" fmla="*/ 539899 w 3135233"/>
                <a:gd name="connsiteY7913" fmla="*/ 848578 h 2493266"/>
                <a:gd name="connsiteX7914" fmla="*/ 546165 w 3135233"/>
                <a:gd name="connsiteY7914" fmla="*/ 846999 h 2493266"/>
                <a:gd name="connsiteX7915" fmla="*/ 548237 w 3135233"/>
                <a:gd name="connsiteY7915" fmla="*/ 842065 h 2493266"/>
                <a:gd name="connsiteX7916" fmla="*/ 544093 w 3135233"/>
                <a:gd name="connsiteY7916" fmla="*/ 835651 h 2493266"/>
                <a:gd name="connsiteX7917" fmla="*/ 544093 w 3135233"/>
                <a:gd name="connsiteY7917" fmla="*/ 824352 h 2493266"/>
                <a:gd name="connsiteX7918" fmla="*/ 548237 w 3135233"/>
                <a:gd name="connsiteY7918" fmla="*/ 821095 h 2493266"/>
                <a:gd name="connsiteX7919" fmla="*/ 552431 w 3135233"/>
                <a:gd name="connsiteY7919" fmla="*/ 822723 h 2493266"/>
                <a:gd name="connsiteX7920" fmla="*/ 554504 w 3135233"/>
                <a:gd name="connsiteY7920" fmla="*/ 819516 h 2493266"/>
                <a:gd name="connsiteX7921" fmla="*/ 558648 w 3135233"/>
                <a:gd name="connsiteY7921" fmla="*/ 817888 h 2493266"/>
                <a:gd name="connsiteX7922" fmla="*/ 560770 w 3135233"/>
                <a:gd name="connsiteY7922" fmla="*/ 824352 h 2493266"/>
                <a:gd name="connsiteX7923" fmla="*/ 560770 w 3135233"/>
                <a:gd name="connsiteY7923" fmla="*/ 838858 h 2493266"/>
                <a:gd name="connsiteX7924" fmla="*/ 556576 w 3135233"/>
                <a:gd name="connsiteY7924" fmla="*/ 843792 h 2493266"/>
                <a:gd name="connsiteX7925" fmla="*/ 558648 w 3135233"/>
                <a:gd name="connsiteY7925" fmla="*/ 848726 h 2493266"/>
                <a:gd name="connsiteX7926" fmla="*/ 550359 w 3135233"/>
                <a:gd name="connsiteY7926" fmla="*/ 853660 h 2493266"/>
                <a:gd name="connsiteX7927" fmla="*/ 552431 w 3135233"/>
                <a:gd name="connsiteY7927" fmla="*/ 880846 h 2493266"/>
                <a:gd name="connsiteX7928" fmla="*/ 556576 w 3135233"/>
                <a:gd name="connsiteY7928" fmla="*/ 874432 h 2493266"/>
                <a:gd name="connsiteX7929" fmla="*/ 552431 w 3135233"/>
                <a:gd name="connsiteY7929" fmla="*/ 864564 h 2493266"/>
                <a:gd name="connsiteX7930" fmla="*/ 552431 w 3135233"/>
                <a:gd name="connsiteY7930" fmla="*/ 854696 h 2493266"/>
                <a:gd name="connsiteX7931" fmla="*/ 543846 w 3135233"/>
                <a:gd name="connsiteY7931" fmla="*/ 854696 h 2493266"/>
                <a:gd name="connsiteX7932" fmla="*/ 533435 w 3135233"/>
                <a:gd name="connsiteY7932" fmla="*/ 846654 h 2493266"/>
                <a:gd name="connsiteX7933" fmla="*/ 529044 w 3135233"/>
                <a:gd name="connsiteY7933" fmla="*/ 848627 h 2493266"/>
                <a:gd name="connsiteX7934" fmla="*/ 529044 w 3135233"/>
                <a:gd name="connsiteY7934" fmla="*/ 851884 h 2493266"/>
                <a:gd name="connsiteX7935" fmla="*/ 543846 w 3135233"/>
                <a:gd name="connsiteY7935" fmla="*/ 861752 h 2493266"/>
                <a:gd name="connsiteX7936" fmla="*/ 533435 w 3135233"/>
                <a:gd name="connsiteY7936" fmla="*/ 861752 h 2493266"/>
                <a:gd name="connsiteX7937" fmla="*/ 533435 w 3135233"/>
                <a:gd name="connsiteY7937" fmla="*/ 864959 h 2493266"/>
                <a:gd name="connsiteX7938" fmla="*/ 541774 w 3135233"/>
                <a:gd name="connsiteY7938" fmla="*/ 869893 h 2493266"/>
                <a:gd name="connsiteX7939" fmla="*/ 471168 w 3135233"/>
                <a:gd name="connsiteY7939" fmla="*/ 767906 h 2493266"/>
                <a:gd name="connsiteX7940" fmla="*/ 477434 w 3135233"/>
                <a:gd name="connsiteY7940" fmla="*/ 775998 h 2493266"/>
                <a:gd name="connsiteX7941" fmla="*/ 481579 w 3135233"/>
                <a:gd name="connsiteY7941" fmla="*/ 774370 h 2493266"/>
                <a:gd name="connsiteX7942" fmla="*/ 487845 w 3135233"/>
                <a:gd name="connsiteY7942" fmla="*/ 777577 h 2493266"/>
                <a:gd name="connsiteX7943" fmla="*/ 489917 w 3135233"/>
                <a:gd name="connsiteY7943" fmla="*/ 775998 h 2493266"/>
                <a:gd name="connsiteX7944" fmla="*/ 483700 w 3135233"/>
                <a:gd name="connsiteY7944" fmla="*/ 767906 h 2493266"/>
                <a:gd name="connsiteX7945" fmla="*/ 475362 w 3135233"/>
                <a:gd name="connsiteY7945" fmla="*/ 764699 h 2493266"/>
                <a:gd name="connsiteX7946" fmla="*/ 320976 w 3135233"/>
                <a:gd name="connsiteY7946" fmla="*/ 2089685 h 2493266"/>
                <a:gd name="connsiteX7947" fmla="*/ 320976 w 3135233"/>
                <a:gd name="connsiteY7947" fmla="*/ 2089685 h 2493266"/>
                <a:gd name="connsiteX7948" fmla="*/ 314710 w 3135233"/>
                <a:gd name="connsiteY7948" fmla="*/ 2088057 h 2493266"/>
                <a:gd name="connsiteX7949" fmla="*/ 312637 w 3135233"/>
                <a:gd name="connsiteY7949" fmla="*/ 2078189 h 2493266"/>
                <a:gd name="connsiteX7950" fmla="*/ 318903 w 3135233"/>
                <a:gd name="connsiteY7950" fmla="*/ 2065311 h 2493266"/>
                <a:gd name="connsiteX7951" fmla="*/ 320976 w 3135233"/>
                <a:gd name="connsiteY7951" fmla="*/ 2057219 h 2493266"/>
                <a:gd name="connsiteX7952" fmla="*/ 316782 w 3135233"/>
                <a:gd name="connsiteY7952" fmla="*/ 2062153 h 2493266"/>
                <a:gd name="connsiteX7953" fmla="*/ 308493 w 3135233"/>
                <a:gd name="connsiteY7953" fmla="*/ 2063732 h 2493266"/>
                <a:gd name="connsiteX7954" fmla="*/ 300154 w 3135233"/>
                <a:gd name="connsiteY7954" fmla="*/ 2068666 h 2493266"/>
                <a:gd name="connsiteX7955" fmla="*/ 293888 w 3135233"/>
                <a:gd name="connsiteY7955" fmla="*/ 2060623 h 2493266"/>
                <a:gd name="connsiteX7956" fmla="*/ 293888 w 3135233"/>
                <a:gd name="connsiteY7956" fmla="*/ 2054160 h 2493266"/>
                <a:gd name="connsiteX7957" fmla="*/ 298032 w 3135233"/>
                <a:gd name="connsiteY7957" fmla="*/ 2054160 h 2493266"/>
                <a:gd name="connsiteX7958" fmla="*/ 300154 w 3135233"/>
                <a:gd name="connsiteY7958" fmla="*/ 2059094 h 2493266"/>
                <a:gd name="connsiteX7959" fmla="*/ 304299 w 3135233"/>
                <a:gd name="connsiteY7959" fmla="*/ 2060722 h 2493266"/>
                <a:gd name="connsiteX7960" fmla="*/ 304299 w 3135233"/>
                <a:gd name="connsiteY7960" fmla="*/ 2057466 h 2493266"/>
                <a:gd name="connsiteX7961" fmla="*/ 300154 w 3135233"/>
                <a:gd name="connsiteY7961" fmla="*/ 2051002 h 2493266"/>
                <a:gd name="connsiteX7962" fmla="*/ 298032 w 3135233"/>
                <a:gd name="connsiteY7962" fmla="*/ 2046068 h 2493266"/>
                <a:gd name="connsiteX7963" fmla="*/ 293888 w 3135233"/>
                <a:gd name="connsiteY7963" fmla="*/ 2046068 h 2493266"/>
                <a:gd name="connsiteX7964" fmla="*/ 289743 w 3135233"/>
                <a:gd name="connsiteY7964" fmla="*/ 2049275 h 2493266"/>
                <a:gd name="connsiteX7965" fmla="*/ 281405 w 3135233"/>
                <a:gd name="connsiteY7965" fmla="*/ 2046068 h 2493266"/>
                <a:gd name="connsiteX7966" fmla="*/ 277211 w 3135233"/>
                <a:gd name="connsiteY7966" fmla="*/ 2037976 h 2493266"/>
                <a:gd name="connsiteX7967" fmla="*/ 277211 w 3135233"/>
                <a:gd name="connsiteY7967" fmla="*/ 2034769 h 2493266"/>
                <a:gd name="connsiteX7968" fmla="*/ 285549 w 3135233"/>
                <a:gd name="connsiteY7968" fmla="*/ 2029835 h 2493266"/>
                <a:gd name="connsiteX7969" fmla="*/ 289743 w 3135233"/>
                <a:gd name="connsiteY7969" fmla="*/ 2021792 h 2493266"/>
                <a:gd name="connsiteX7970" fmla="*/ 293888 w 3135233"/>
                <a:gd name="connsiteY7970" fmla="*/ 2018585 h 2493266"/>
                <a:gd name="connsiteX7971" fmla="*/ 291816 w 3135233"/>
                <a:gd name="connsiteY7971" fmla="*/ 2016957 h 2493266"/>
                <a:gd name="connsiteX7972" fmla="*/ 285549 w 3135233"/>
                <a:gd name="connsiteY7972" fmla="*/ 2018585 h 2493266"/>
                <a:gd name="connsiteX7973" fmla="*/ 277408 w 3135233"/>
                <a:gd name="connsiteY7973" fmla="*/ 2018585 h 2493266"/>
                <a:gd name="connsiteX7974" fmla="*/ 275336 w 3135233"/>
                <a:gd name="connsiteY7974" fmla="*/ 2015329 h 2493266"/>
                <a:gd name="connsiteX7975" fmla="*/ 281602 w 3135233"/>
                <a:gd name="connsiteY7975" fmla="*/ 2010395 h 2493266"/>
                <a:gd name="connsiteX7976" fmla="*/ 287819 w 3135233"/>
                <a:gd name="connsiteY7976" fmla="*/ 2002303 h 2493266"/>
                <a:gd name="connsiteX7977" fmla="*/ 287819 w 3135233"/>
                <a:gd name="connsiteY7977" fmla="*/ 1994261 h 2493266"/>
                <a:gd name="connsiteX7978" fmla="*/ 289941 w 3135233"/>
                <a:gd name="connsiteY7978" fmla="*/ 1991054 h 2493266"/>
                <a:gd name="connsiteX7979" fmla="*/ 289941 w 3135233"/>
                <a:gd name="connsiteY7979" fmla="*/ 1987797 h 2493266"/>
                <a:gd name="connsiteX7980" fmla="*/ 285747 w 3135233"/>
                <a:gd name="connsiteY7980" fmla="*/ 1987797 h 2493266"/>
                <a:gd name="connsiteX7981" fmla="*/ 283674 w 3135233"/>
                <a:gd name="connsiteY7981" fmla="*/ 1994261 h 2493266"/>
                <a:gd name="connsiteX7982" fmla="*/ 281602 w 3135233"/>
                <a:gd name="connsiteY7982" fmla="*/ 2004129 h 2493266"/>
                <a:gd name="connsiteX7983" fmla="*/ 275336 w 3135233"/>
                <a:gd name="connsiteY7983" fmla="*/ 2013997 h 2493266"/>
                <a:gd name="connsiteX7984" fmla="*/ 269070 w 3135233"/>
                <a:gd name="connsiteY7984" fmla="*/ 2013997 h 2493266"/>
                <a:gd name="connsiteX7985" fmla="*/ 264925 w 3135233"/>
                <a:gd name="connsiteY7985" fmla="*/ 2012368 h 2493266"/>
                <a:gd name="connsiteX7986" fmla="*/ 262853 w 3135233"/>
                <a:gd name="connsiteY7986" fmla="*/ 2010740 h 2493266"/>
                <a:gd name="connsiteX7987" fmla="*/ 260781 w 3135233"/>
                <a:gd name="connsiteY7987" fmla="*/ 2007533 h 2493266"/>
                <a:gd name="connsiteX7988" fmla="*/ 264925 w 3135233"/>
                <a:gd name="connsiteY7988" fmla="*/ 2005905 h 2493266"/>
                <a:gd name="connsiteX7989" fmla="*/ 264925 w 3135233"/>
                <a:gd name="connsiteY7989" fmla="*/ 2002649 h 2493266"/>
                <a:gd name="connsiteX7990" fmla="*/ 258659 w 3135233"/>
                <a:gd name="connsiteY7990" fmla="*/ 2005905 h 2493266"/>
                <a:gd name="connsiteX7991" fmla="*/ 254514 w 3135233"/>
                <a:gd name="connsiteY7991" fmla="*/ 2009112 h 2493266"/>
                <a:gd name="connsiteX7992" fmla="*/ 252442 w 3135233"/>
                <a:gd name="connsiteY7992" fmla="*/ 2009112 h 2493266"/>
                <a:gd name="connsiteX7993" fmla="*/ 250320 w 3135233"/>
                <a:gd name="connsiteY7993" fmla="*/ 2005905 h 2493266"/>
                <a:gd name="connsiteX7994" fmla="*/ 246176 w 3135233"/>
                <a:gd name="connsiteY7994" fmla="*/ 2007533 h 2493266"/>
                <a:gd name="connsiteX7995" fmla="*/ 244103 w 3135233"/>
                <a:gd name="connsiteY7995" fmla="*/ 2009112 h 2493266"/>
                <a:gd name="connsiteX7996" fmla="*/ 237837 w 3135233"/>
                <a:gd name="connsiteY7996" fmla="*/ 2007533 h 2493266"/>
                <a:gd name="connsiteX7997" fmla="*/ 237837 w 3135233"/>
                <a:gd name="connsiteY7997" fmla="*/ 2004277 h 2493266"/>
                <a:gd name="connsiteX7998" fmla="*/ 244103 w 3135233"/>
                <a:gd name="connsiteY7998" fmla="*/ 1999343 h 2493266"/>
                <a:gd name="connsiteX7999" fmla="*/ 248248 w 3135233"/>
                <a:gd name="connsiteY7999" fmla="*/ 1999343 h 2493266"/>
                <a:gd name="connsiteX8000" fmla="*/ 258659 w 3135233"/>
                <a:gd name="connsiteY8000" fmla="*/ 1997715 h 2493266"/>
                <a:gd name="connsiteX8001" fmla="*/ 266997 w 3135233"/>
                <a:gd name="connsiteY8001" fmla="*/ 1991300 h 2493266"/>
                <a:gd name="connsiteX8002" fmla="*/ 271191 w 3135233"/>
                <a:gd name="connsiteY8002" fmla="*/ 1986366 h 2493266"/>
                <a:gd name="connsiteX8003" fmla="*/ 271191 w 3135233"/>
                <a:gd name="connsiteY8003" fmla="*/ 1979903 h 2493266"/>
                <a:gd name="connsiteX8004" fmla="*/ 269070 w 3135233"/>
                <a:gd name="connsiteY8004" fmla="*/ 1984837 h 2493266"/>
                <a:gd name="connsiteX8005" fmla="*/ 262853 w 3135233"/>
                <a:gd name="connsiteY8005" fmla="*/ 1989771 h 2493266"/>
                <a:gd name="connsiteX8006" fmla="*/ 258659 w 3135233"/>
                <a:gd name="connsiteY8006" fmla="*/ 1996234 h 2493266"/>
                <a:gd name="connsiteX8007" fmla="*/ 254514 w 3135233"/>
                <a:gd name="connsiteY8007" fmla="*/ 1997813 h 2493266"/>
                <a:gd name="connsiteX8008" fmla="*/ 244103 w 3135233"/>
                <a:gd name="connsiteY8008" fmla="*/ 1994606 h 2493266"/>
                <a:gd name="connsiteX8009" fmla="*/ 242031 w 3135233"/>
                <a:gd name="connsiteY8009" fmla="*/ 1989672 h 2493266"/>
                <a:gd name="connsiteX8010" fmla="*/ 235765 w 3135233"/>
                <a:gd name="connsiteY8010" fmla="*/ 1989672 h 2493266"/>
                <a:gd name="connsiteX8011" fmla="*/ 235765 w 3135233"/>
                <a:gd name="connsiteY8011" fmla="*/ 1988044 h 2493266"/>
                <a:gd name="connsiteX8012" fmla="*/ 242031 w 3135233"/>
                <a:gd name="connsiteY8012" fmla="*/ 1986465 h 2493266"/>
                <a:gd name="connsiteX8013" fmla="*/ 237837 w 3135233"/>
                <a:gd name="connsiteY8013" fmla="*/ 1983208 h 2493266"/>
                <a:gd name="connsiteX8014" fmla="*/ 229499 w 3135233"/>
                <a:gd name="connsiteY8014" fmla="*/ 1984837 h 2493266"/>
                <a:gd name="connsiteX8015" fmla="*/ 223282 w 3135233"/>
                <a:gd name="connsiteY8015" fmla="*/ 1983208 h 2493266"/>
                <a:gd name="connsiteX8016" fmla="*/ 219088 w 3135233"/>
                <a:gd name="connsiteY8016" fmla="*/ 1983208 h 2493266"/>
                <a:gd name="connsiteX8017" fmla="*/ 217016 w 3135233"/>
                <a:gd name="connsiteY8017" fmla="*/ 1988142 h 2493266"/>
                <a:gd name="connsiteX8018" fmla="*/ 208677 w 3135233"/>
                <a:gd name="connsiteY8018" fmla="*/ 1983208 h 2493266"/>
                <a:gd name="connsiteX8019" fmla="*/ 206605 w 3135233"/>
                <a:gd name="connsiteY8019" fmla="*/ 1976745 h 2493266"/>
                <a:gd name="connsiteX8020" fmla="*/ 208677 w 3135233"/>
                <a:gd name="connsiteY8020" fmla="*/ 1975166 h 2493266"/>
                <a:gd name="connsiteX8021" fmla="*/ 212871 w 3135233"/>
                <a:gd name="connsiteY8021" fmla="*/ 1976745 h 2493266"/>
                <a:gd name="connsiteX8022" fmla="*/ 221160 w 3135233"/>
                <a:gd name="connsiteY8022" fmla="*/ 1978373 h 2493266"/>
                <a:gd name="connsiteX8023" fmla="*/ 229499 w 3135233"/>
                <a:gd name="connsiteY8023" fmla="*/ 1978373 h 2493266"/>
                <a:gd name="connsiteX8024" fmla="*/ 229499 w 3135233"/>
                <a:gd name="connsiteY8024" fmla="*/ 1975166 h 2493266"/>
                <a:gd name="connsiteX8025" fmla="*/ 217016 w 3135233"/>
                <a:gd name="connsiteY8025" fmla="*/ 1975166 h 2493266"/>
                <a:gd name="connsiteX8026" fmla="*/ 214943 w 3135233"/>
                <a:gd name="connsiteY8026" fmla="*/ 1973538 h 2493266"/>
                <a:gd name="connsiteX8027" fmla="*/ 214943 w 3135233"/>
                <a:gd name="connsiteY8027" fmla="*/ 1971909 h 2493266"/>
                <a:gd name="connsiteX8028" fmla="*/ 221160 w 3135233"/>
                <a:gd name="connsiteY8028" fmla="*/ 1973538 h 2493266"/>
                <a:gd name="connsiteX8029" fmla="*/ 229499 w 3135233"/>
                <a:gd name="connsiteY8029" fmla="*/ 1971909 h 2493266"/>
                <a:gd name="connsiteX8030" fmla="*/ 229499 w 3135233"/>
                <a:gd name="connsiteY8030" fmla="*/ 1968653 h 2493266"/>
                <a:gd name="connsiteX8031" fmla="*/ 221160 w 3135233"/>
                <a:gd name="connsiteY8031" fmla="*/ 1968653 h 2493266"/>
                <a:gd name="connsiteX8032" fmla="*/ 217016 w 3135233"/>
                <a:gd name="connsiteY8032" fmla="*/ 1967025 h 2493266"/>
                <a:gd name="connsiteX8033" fmla="*/ 208332 w 3135233"/>
                <a:gd name="connsiteY8033" fmla="*/ 1968653 h 2493266"/>
                <a:gd name="connsiteX8034" fmla="*/ 202115 w 3135233"/>
                <a:gd name="connsiteY8034" fmla="*/ 1968653 h 2493266"/>
                <a:gd name="connsiteX8035" fmla="*/ 199993 w 3135233"/>
                <a:gd name="connsiteY8035" fmla="*/ 1965446 h 2493266"/>
                <a:gd name="connsiteX8036" fmla="*/ 202115 w 3135233"/>
                <a:gd name="connsiteY8036" fmla="*/ 1960512 h 2493266"/>
                <a:gd name="connsiteX8037" fmla="*/ 208332 w 3135233"/>
                <a:gd name="connsiteY8037" fmla="*/ 1958785 h 2493266"/>
                <a:gd name="connsiteX8038" fmla="*/ 212526 w 3135233"/>
                <a:gd name="connsiteY8038" fmla="*/ 1961992 h 2493266"/>
                <a:gd name="connsiteX8039" fmla="*/ 218742 w 3135233"/>
                <a:gd name="connsiteY8039" fmla="*/ 1961992 h 2493266"/>
                <a:gd name="connsiteX8040" fmla="*/ 223134 w 3135233"/>
                <a:gd name="connsiteY8040" fmla="*/ 1958785 h 2493266"/>
                <a:gd name="connsiteX8041" fmla="*/ 216868 w 3135233"/>
                <a:gd name="connsiteY8041" fmla="*/ 1958785 h 2493266"/>
                <a:gd name="connsiteX8042" fmla="*/ 210601 w 3135233"/>
                <a:gd name="connsiteY8042" fmla="*/ 1957157 h 2493266"/>
                <a:gd name="connsiteX8043" fmla="*/ 202312 w 3135233"/>
                <a:gd name="connsiteY8043" fmla="*/ 1955528 h 2493266"/>
                <a:gd name="connsiteX8044" fmla="*/ 204385 w 3135233"/>
                <a:gd name="connsiteY8044" fmla="*/ 1953900 h 2493266"/>
                <a:gd name="connsiteX8045" fmla="*/ 212723 w 3135233"/>
                <a:gd name="connsiteY8045" fmla="*/ 1952321 h 2493266"/>
                <a:gd name="connsiteX8046" fmla="*/ 216868 w 3135233"/>
                <a:gd name="connsiteY8046" fmla="*/ 1953900 h 2493266"/>
                <a:gd name="connsiteX8047" fmla="*/ 221012 w 3135233"/>
                <a:gd name="connsiteY8047" fmla="*/ 1952321 h 2493266"/>
                <a:gd name="connsiteX8048" fmla="*/ 221012 w 3135233"/>
                <a:gd name="connsiteY8048" fmla="*/ 1945858 h 2493266"/>
                <a:gd name="connsiteX8049" fmla="*/ 225206 w 3135233"/>
                <a:gd name="connsiteY8049" fmla="*/ 1942601 h 2493266"/>
                <a:gd name="connsiteX8050" fmla="*/ 233545 w 3135233"/>
                <a:gd name="connsiteY8050" fmla="*/ 1942601 h 2493266"/>
                <a:gd name="connsiteX8051" fmla="*/ 239762 w 3135233"/>
                <a:gd name="connsiteY8051" fmla="*/ 1944279 h 2493266"/>
                <a:gd name="connsiteX8052" fmla="*/ 241883 w 3135233"/>
                <a:gd name="connsiteY8052" fmla="*/ 1942601 h 2493266"/>
                <a:gd name="connsiteX8053" fmla="*/ 231472 w 3135233"/>
                <a:gd name="connsiteY8053" fmla="*/ 1941022 h 2493266"/>
                <a:gd name="connsiteX8054" fmla="*/ 227278 w 3135233"/>
                <a:gd name="connsiteY8054" fmla="*/ 1937815 h 2493266"/>
                <a:gd name="connsiteX8055" fmla="*/ 225206 w 3135233"/>
                <a:gd name="connsiteY8055" fmla="*/ 1936138 h 2493266"/>
                <a:gd name="connsiteX8056" fmla="*/ 221012 w 3135233"/>
                <a:gd name="connsiteY8056" fmla="*/ 1941072 h 2493266"/>
                <a:gd name="connsiteX8057" fmla="*/ 214795 w 3135233"/>
                <a:gd name="connsiteY8057" fmla="*/ 1944328 h 2493266"/>
                <a:gd name="connsiteX8058" fmla="*/ 208529 w 3135233"/>
                <a:gd name="connsiteY8058" fmla="*/ 1947535 h 2493266"/>
                <a:gd name="connsiteX8059" fmla="*/ 206457 w 3135233"/>
                <a:gd name="connsiteY8059" fmla="*/ 1945907 h 2493266"/>
                <a:gd name="connsiteX8060" fmla="*/ 208529 w 3135233"/>
                <a:gd name="connsiteY8060" fmla="*/ 1940973 h 2493266"/>
                <a:gd name="connsiteX8061" fmla="*/ 206457 w 3135233"/>
                <a:gd name="connsiteY8061" fmla="*/ 1936039 h 2493266"/>
                <a:gd name="connsiteX8062" fmla="*/ 208529 w 3135233"/>
                <a:gd name="connsiteY8062" fmla="*/ 1931105 h 2493266"/>
                <a:gd name="connsiteX8063" fmla="*/ 218940 w 3135233"/>
                <a:gd name="connsiteY8063" fmla="*/ 1927849 h 2493266"/>
                <a:gd name="connsiteX8064" fmla="*/ 223134 w 3135233"/>
                <a:gd name="connsiteY8064" fmla="*/ 1922915 h 2493266"/>
                <a:gd name="connsiteX8065" fmla="*/ 239762 w 3135233"/>
                <a:gd name="connsiteY8065" fmla="*/ 1913046 h 2493266"/>
                <a:gd name="connsiteX8066" fmla="*/ 243955 w 3135233"/>
                <a:gd name="connsiteY8066" fmla="*/ 1909839 h 2493266"/>
                <a:gd name="connsiteX8067" fmla="*/ 246028 w 3135233"/>
                <a:gd name="connsiteY8067" fmla="*/ 1914773 h 2493266"/>
                <a:gd name="connsiteX8068" fmla="*/ 248100 w 3135233"/>
                <a:gd name="connsiteY8068" fmla="*/ 1922865 h 2493266"/>
                <a:gd name="connsiteX8069" fmla="*/ 250172 w 3135233"/>
                <a:gd name="connsiteY8069" fmla="*/ 1927799 h 2493266"/>
                <a:gd name="connsiteX8070" fmla="*/ 254366 w 3135233"/>
                <a:gd name="connsiteY8070" fmla="*/ 1926220 h 2493266"/>
                <a:gd name="connsiteX8071" fmla="*/ 250172 w 3135233"/>
                <a:gd name="connsiteY8071" fmla="*/ 1918129 h 2493266"/>
                <a:gd name="connsiteX8072" fmla="*/ 250172 w 3135233"/>
                <a:gd name="connsiteY8072" fmla="*/ 1910086 h 2493266"/>
                <a:gd name="connsiteX8073" fmla="*/ 258511 w 3135233"/>
                <a:gd name="connsiteY8073" fmla="*/ 1906830 h 2493266"/>
                <a:gd name="connsiteX8074" fmla="*/ 266849 w 3135233"/>
                <a:gd name="connsiteY8074" fmla="*/ 1906830 h 2493266"/>
                <a:gd name="connsiteX8075" fmla="*/ 258511 w 3135233"/>
                <a:gd name="connsiteY8075" fmla="*/ 1905201 h 2493266"/>
                <a:gd name="connsiteX8076" fmla="*/ 250172 w 3135233"/>
                <a:gd name="connsiteY8076" fmla="*/ 1905201 h 2493266"/>
                <a:gd name="connsiteX8077" fmla="*/ 246028 w 3135233"/>
                <a:gd name="connsiteY8077" fmla="*/ 1906830 h 2493266"/>
                <a:gd name="connsiteX8078" fmla="*/ 241883 w 3135233"/>
                <a:gd name="connsiteY8078" fmla="*/ 1903622 h 2493266"/>
                <a:gd name="connsiteX8079" fmla="*/ 243955 w 3135233"/>
                <a:gd name="connsiteY8079" fmla="*/ 1898688 h 2493266"/>
                <a:gd name="connsiteX8080" fmla="*/ 252294 w 3135233"/>
                <a:gd name="connsiteY8080" fmla="*/ 1897060 h 2493266"/>
                <a:gd name="connsiteX8081" fmla="*/ 258511 w 3135233"/>
                <a:gd name="connsiteY8081" fmla="*/ 1892126 h 2493266"/>
                <a:gd name="connsiteX8082" fmla="*/ 264777 w 3135233"/>
                <a:gd name="connsiteY8082" fmla="*/ 1884034 h 2493266"/>
                <a:gd name="connsiteX8083" fmla="*/ 262705 w 3135233"/>
                <a:gd name="connsiteY8083" fmla="*/ 1879100 h 2493266"/>
                <a:gd name="connsiteX8084" fmla="*/ 260633 w 3135233"/>
                <a:gd name="connsiteY8084" fmla="*/ 1880728 h 2493266"/>
                <a:gd name="connsiteX8085" fmla="*/ 258511 w 3135233"/>
                <a:gd name="connsiteY8085" fmla="*/ 1885663 h 2493266"/>
                <a:gd name="connsiteX8086" fmla="*/ 252294 w 3135233"/>
                <a:gd name="connsiteY8086" fmla="*/ 1890597 h 2493266"/>
                <a:gd name="connsiteX8087" fmla="*/ 246028 w 3135233"/>
                <a:gd name="connsiteY8087" fmla="*/ 1892225 h 2493266"/>
                <a:gd name="connsiteX8088" fmla="*/ 237689 w 3135233"/>
                <a:gd name="connsiteY8088" fmla="*/ 1898688 h 2493266"/>
                <a:gd name="connsiteX8089" fmla="*/ 229351 w 3135233"/>
                <a:gd name="connsiteY8089" fmla="*/ 1905103 h 2493266"/>
                <a:gd name="connsiteX8090" fmla="*/ 218940 w 3135233"/>
                <a:gd name="connsiteY8090" fmla="*/ 1908310 h 2493266"/>
                <a:gd name="connsiteX8091" fmla="*/ 212723 w 3135233"/>
                <a:gd name="connsiteY8091" fmla="*/ 1903376 h 2493266"/>
                <a:gd name="connsiteX8092" fmla="*/ 214795 w 3135233"/>
                <a:gd name="connsiteY8092" fmla="*/ 1900119 h 2493266"/>
                <a:gd name="connsiteX8093" fmla="*/ 221012 w 3135233"/>
                <a:gd name="connsiteY8093" fmla="*/ 1898540 h 2493266"/>
                <a:gd name="connsiteX8094" fmla="*/ 214746 w 3135233"/>
                <a:gd name="connsiteY8094" fmla="*/ 1898540 h 2493266"/>
                <a:gd name="connsiteX8095" fmla="*/ 204335 w 3135233"/>
                <a:gd name="connsiteY8095" fmla="*/ 1901748 h 2493266"/>
                <a:gd name="connsiteX8096" fmla="*/ 202263 w 3135233"/>
                <a:gd name="connsiteY8096" fmla="*/ 1898540 h 2493266"/>
                <a:gd name="connsiteX8097" fmla="*/ 202263 w 3135233"/>
                <a:gd name="connsiteY8097" fmla="*/ 1895333 h 2493266"/>
                <a:gd name="connsiteX8098" fmla="*/ 212674 w 3135233"/>
                <a:gd name="connsiteY8098" fmla="*/ 1890399 h 2493266"/>
                <a:gd name="connsiteX8099" fmla="*/ 216818 w 3135233"/>
                <a:gd name="connsiteY8099" fmla="*/ 1887143 h 2493266"/>
                <a:gd name="connsiteX8100" fmla="*/ 223134 w 3135233"/>
                <a:gd name="connsiteY8100" fmla="*/ 1889708 h 2493266"/>
                <a:gd name="connsiteX8101" fmla="*/ 225206 w 3135233"/>
                <a:gd name="connsiteY8101" fmla="*/ 1886452 h 2493266"/>
                <a:gd name="connsiteX8102" fmla="*/ 227278 w 3135233"/>
                <a:gd name="connsiteY8102" fmla="*/ 1884824 h 2493266"/>
                <a:gd name="connsiteX8103" fmla="*/ 223134 w 3135233"/>
                <a:gd name="connsiteY8103" fmla="*/ 1881617 h 2493266"/>
                <a:gd name="connsiteX8104" fmla="*/ 223134 w 3135233"/>
                <a:gd name="connsiteY8104" fmla="*/ 1878360 h 2493266"/>
                <a:gd name="connsiteX8105" fmla="*/ 227278 w 3135233"/>
                <a:gd name="connsiteY8105" fmla="*/ 1876781 h 2493266"/>
                <a:gd name="connsiteX8106" fmla="*/ 223134 w 3135233"/>
                <a:gd name="connsiteY8106" fmla="*/ 1873525 h 2493266"/>
                <a:gd name="connsiteX8107" fmla="*/ 218940 w 3135233"/>
                <a:gd name="connsiteY8107" fmla="*/ 1876781 h 2493266"/>
                <a:gd name="connsiteX8108" fmla="*/ 214795 w 3135233"/>
                <a:gd name="connsiteY8108" fmla="*/ 1876781 h 2493266"/>
                <a:gd name="connsiteX8109" fmla="*/ 212723 w 3135233"/>
                <a:gd name="connsiteY8109" fmla="*/ 1871847 h 2493266"/>
                <a:gd name="connsiteX8110" fmla="*/ 210601 w 3135233"/>
                <a:gd name="connsiteY8110" fmla="*/ 1858920 h 2493266"/>
                <a:gd name="connsiteX8111" fmla="*/ 208529 w 3135233"/>
                <a:gd name="connsiteY8111" fmla="*/ 1853986 h 2493266"/>
                <a:gd name="connsiteX8112" fmla="*/ 208529 w 3135233"/>
                <a:gd name="connsiteY8112" fmla="*/ 1849052 h 2493266"/>
                <a:gd name="connsiteX8113" fmla="*/ 210601 w 3135233"/>
                <a:gd name="connsiteY8113" fmla="*/ 1844118 h 2493266"/>
                <a:gd name="connsiteX8114" fmla="*/ 218940 w 3135233"/>
                <a:gd name="connsiteY8114" fmla="*/ 1845697 h 2493266"/>
                <a:gd name="connsiteX8115" fmla="*/ 225206 w 3135233"/>
                <a:gd name="connsiteY8115" fmla="*/ 1848953 h 2493266"/>
                <a:gd name="connsiteX8116" fmla="*/ 235617 w 3135233"/>
                <a:gd name="connsiteY8116" fmla="*/ 1847374 h 2493266"/>
                <a:gd name="connsiteX8117" fmla="*/ 241883 w 3135233"/>
                <a:gd name="connsiteY8117" fmla="*/ 1850582 h 2493266"/>
                <a:gd name="connsiteX8118" fmla="*/ 239762 w 3135233"/>
                <a:gd name="connsiteY8118" fmla="*/ 1847374 h 2493266"/>
                <a:gd name="connsiteX8119" fmla="*/ 233545 w 3135233"/>
                <a:gd name="connsiteY8119" fmla="*/ 1845697 h 2493266"/>
                <a:gd name="connsiteX8120" fmla="*/ 227278 w 3135233"/>
                <a:gd name="connsiteY8120" fmla="*/ 1845697 h 2493266"/>
                <a:gd name="connsiteX8121" fmla="*/ 223134 w 3135233"/>
                <a:gd name="connsiteY8121" fmla="*/ 1842490 h 2493266"/>
                <a:gd name="connsiteX8122" fmla="*/ 216868 w 3135233"/>
                <a:gd name="connsiteY8122" fmla="*/ 1837556 h 2493266"/>
                <a:gd name="connsiteX8123" fmla="*/ 216868 w 3135233"/>
                <a:gd name="connsiteY8123" fmla="*/ 1834349 h 2493266"/>
                <a:gd name="connsiteX8124" fmla="*/ 221012 w 3135233"/>
                <a:gd name="connsiteY8124" fmla="*/ 1827885 h 2493266"/>
                <a:gd name="connsiteX8125" fmla="*/ 225206 w 3135233"/>
                <a:gd name="connsiteY8125" fmla="*/ 1827885 h 2493266"/>
                <a:gd name="connsiteX8126" fmla="*/ 227278 w 3135233"/>
                <a:gd name="connsiteY8126" fmla="*/ 1821421 h 2493266"/>
                <a:gd name="connsiteX8127" fmla="*/ 227278 w 3135233"/>
                <a:gd name="connsiteY8127" fmla="*/ 1814958 h 2493266"/>
                <a:gd name="connsiteX8128" fmla="*/ 225206 w 3135233"/>
                <a:gd name="connsiteY8128" fmla="*/ 1816586 h 2493266"/>
                <a:gd name="connsiteX8129" fmla="*/ 218940 w 3135233"/>
                <a:gd name="connsiteY8129" fmla="*/ 1823050 h 2493266"/>
                <a:gd name="connsiteX8130" fmla="*/ 212723 w 3135233"/>
                <a:gd name="connsiteY8130" fmla="*/ 1826257 h 2493266"/>
                <a:gd name="connsiteX8131" fmla="*/ 200191 w 3135233"/>
                <a:gd name="connsiteY8131" fmla="*/ 1829464 h 2493266"/>
                <a:gd name="connsiteX8132" fmla="*/ 196046 w 3135233"/>
                <a:gd name="connsiteY8132" fmla="*/ 1834398 h 2493266"/>
                <a:gd name="connsiteX8133" fmla="*/ 193974 w 3135233"/>
                <a:gd name="connsiteY8133" fmla="*/ 1839332 h 2493266"/>
                <a:gd name="connsiteX8134" fmla="*/ 189780 w 3135233"/>
                <a:gd name="connsiteY8134" fmla="*/ 1837753 h 2493266"/>
                <a:gd name="connsiteX8135" fmla="*/ 185635 w 3135233"/>
                <a:gd name="connsiteY8135" fmla="*/ 1829661 h 2493266"/>
                <a:gd name="connsiteX8136" fmla="*/ 181441 w 3135233"/>
                <a:gd name="connsiteY8136" fmla="*/ 1819793 h 2493266"/>
                <a:gd name="connsiteX8137" fmla="*/ 183563 w 3135233"/>
                <a:gd name="connsiteY8137" fmla="*/ 1803659 h 2493266"/>
                <a:gd name="connsiteX8138" fmla="*/ 185635 w 3135233"/>
                <a:gd name="connsiteY8138" fmla="*/ 1793791 h 2493266"/>
                <a:gd name="connsiteX8139" fmla="*/ 185635 w 3135233"/>
                <a:gd name="connsiteY8139" fmla="*/ 1788857 h 2493266"/>
                <a:gd name="connsiteX8140" fmla="*/ 179369 w 3135233"/>
                <a:gd name="connsiteY8140" fmla="*/ 1788857 h 2493266"/>
                <a:gd name="connsiteX8141" fmla="*/ 179369 w 3135233"/>
                <a:gd name="connsiteY8141" fmla="*/ 1780765 h 2493266"/>
                <a:gd name="connsiteX8142" fmla="*/ 183563 w 3135233"/>
                <a:gd name="connsiteY8142" fmla="*/ 1777558 h 2493266"/>
                <a:gd name="connsiteX8143" fmla="*/ 187708 w 3135233"/>
                <a:gd name="connsiteY8143" fmla="*/ 1780765 h 2493266"/>
                <a:gd name="connsiteX8144" fmla="*/ 191852 w 3135233"/>
                <a:gd name="connsiteY8144" fmla="*/ 1780765 h 2493266"/>
                <a:gd name="connsiteX8145" fmla="*/ 189780 w 3135233"/>
                <a:gd name="connsiteY8145" fmla="*/ 1774351 h 2493266"/>
                <a:gd name="connsiteX8146" fmla="*/ 196046 w 3135233"/>
                <a:gd name="connsiteY8146" fmla="*/ 1769417 h 2493266"/>
                <a:gd name="connsiteX8147" fmla="*/ 200191 w 3135233"/>
                <a:gd name="connsiteY8147" fmla="*/ 1761374 h 2493266"/>
                <a:gd name="connsiteX8148" fmla="*/ 212723 w 3135233"/>
                <a:gd name="connsiteY8148" fmla="*/ 1761374 h 2493266"/>
                <a:gd name="connsiteX8149" fmla="*/ 216868 w 3135233"/>
                <a:gd name="connsiteY8149" fmla="*/ 1758167 h 2493266"/>
                <a:gd name="connsiteX8150" fmla="*/ 212723 w 3135233"/>
                <a:gd name="connsiteY8150" fmla="*/ 1758167 h 2493266"/>
                <a:gd name="connsiteX8151" fmla="*/ 212723 w 3135233"/>
                <a:gd name="connsiteY8151" fmla="*/ 1756539 h 2493266"/>
                <a:gd name="connsiteX8152" fmla="*/ 221012 w 3135233"/>
                <a:gd name="connsiteY8152" fmla="*/ 1746671 h 2493266"/>
                <a:gd name="connsiteX8153" fmla="*/ 225206 w 3135233"/>
                <a:gd name="connsiteY8153" fmla="*/ 1741737 h 2493266"/>
                <a:gd name="connsiteX8154" fmla="*/ 235617 w 3135233"/>
                <a:gd name="connsiteY8154" fmla="*/ 1736803 h 2493266"/>
                <a:gd name="connsiteX8155" fmla="*/ 235617 w 3135233"/>
                <a:gd name="connsiteY8155" fmla="*/ 1733596 h 2493266"/>
                <a:gd name="connsiteX8156" fmla="*/ 231472 w 3135233"/>
                <a:gd name="connsiteY8156" fmla="*/ 1731967 h 2493266"/>
                <a:gd name="connsiteX8157" fmla="*/ 229351 w 3135233"/>
                <a:gd name="connsiteY8157" fmla="*/ 1728760 h 2493266"/>
                <a:gd name="connsiteX8158" fmla="*/ 221012 w 3135233"/>
                <a:gd name="connsiteY8158" fmla="*/ 1735224 h 2493266"/>
                <a:gd name="connsiteX8159" fmla="*/ 221012 w 3135233"/>
                <a:gd name="connsiteY8159" fmla="*/ 1741638 h 2493266"/>
                <a:gd name="connsiteX8160" fmla="*/ 208332 w 3135233"/>
                <a:gd name="connsiteY8160" fmla="*/ 1755651 h 2493266"/>
                <a:gd name="connsiteX8161" fmla="*/ 206259 w 3135233"/>
                <a:gd name="connsiteY8161" fmla="*/ 1755651 h 2493266"/>
                <a:gd name="connsiteX8162" fmla="*/ 206259 w 3135233"/>
                <a:gd name="connsiteY8162" fmla="*/ 1750717 h 2493266"/>
                <a:gd name="connsiteX8163" fmla="*/ 214598 w 3135233"/>
                <a:gd name="connsiteY8163" fmla="*/ 1742625 h 2493266"/>
                <a:gd name="connsiteX8164" fmla="*/ 214598 w 3135233"/>
                <a:gd name="connsiteY8164" fmla="*/ 1731375 h 2493266"/>
                <a:gd name="connsiteX8165" fmla="*/ 225009 w 3135233"/>
                <a:gd name="connsiteY8165" fmla="*/ 1716820 h 2493266"/>
                <a:gd name="connsiteX8166" fmla="*/ 227081 w 3135233"/>
                <a:gd name="connsiteY8166" fmla="*/ 1710356 h 2493266"/>
                <a:gd name="connsiteX8167" fmla="*/ 227081 w 3135233"/>
                <a:gd name="connsiteY8167" fmla="*/ 1702215 h 2493266"/>
                <a:gd name="connsiteX8168" fmla="*/ 229153 w 3135233"/>
                <a:gd name="connsiteY8168" fmla="*/ 1700587 h 2493266"/>
                <a:gd name="connsiteX8169" fmla="*/ 229153 w 3135233"/>
                <a:gd name="connsiteY8169" fmla="*/ 1699008 h 2493266"/>
                <a:gd name="connsiteX8170" fmla="*/ 231275 w 3135233"/>
                <a:gd name="connsiteY8170" fmla="*/ 1695752 h 2493266"/>
                <a:gd name="connsiteX8171" fmla="*/ 229153 w 3135233"/>
                <a:gd name="connsiteY8171" fmla="*/ 1692544 h 2493266"/>
                <a:gd name="connsiteX8172" fmla="*/ 225009 w 3135233"/>
                <a:gd name="connsiteY8172" fmla="*/ 1690916 h 2493266"/>
                <a:gd name="connsiteX8173" fmla="*/ 225009 w 3135233"/>
                <a:gd name="connsiteY8173" fmla="*/ 1684453 h 2493266"/>
                <a:gd name="connsiteX8174" fmla="*/ 220815 w 3135233"/>
                <a:gd name="connsiteY8174" fmla="*/ 1679519 h 2493266"/>
                <a:gd name="connsiteX8175" fmla="*/ 212526 w 3135233"/>
                <a:gd name="connsiteY8175" fmla="*/ 1674585 h 2493266"/>
                <a:gd name="connsiteX8176" fmla="*/ 208332 w 3135233"/>
                <a:gd name="connsiteY8176" fmla="*/ 1671377 h 2493266"/>
                <a:gd name="connsiteX8177" fmla="*/ 206259 w 3135233"/>
                <a:gd name="connsiteY8177" fmla="*/ 1666443 h 2493266"/>
                <a:gd name="connsiteX8178" fmla="*/ 199993 w 3135233"/>
                <a:gd name="connsiteY8178" fmla="*/ 1658401 h 2493266"/>
                <a:gd name="connsiteX8179" fmla="*/ 195849 w 3135233"/>
                <a:gd name="connsiteY8179" fmla="*/ 1656822 h 2493266"/>
                <a:gd name="connsiteX8180" fmla="*/ 189582 w 3135233"/>
                <a:gd name="connsiteY8180" fmla="*/ 1656822 h 2493266"/>
                <a:gd name="connsiteX8181" fmla="*/ 189582 w 3135233"/>
                <a:gd name="connsiteY8181" fmla="*/ 1655144 h 2493266"/>
                <a:gd name="connsiteX8182" fmla="*/ 191655 w 3135233"/>
                <a:gd name="connsiteY8182" fmla="*/ 1651937 h 2493266"/>
                <a:gd name="connsiteX8183" fmla="*/ 189582 w 3135233"/>
                <a:gd name="connsiteY8183" fmla="*/ 1647003 h 2493266"/>
                <a:gd name="connsiteX8184" fmla="*/ 187510 w 3135233"/>
                <a:gd name="connsiteY8184" fmla="*/ 1645375 h 2493266"/>
                <a:gd name="connsiteX8185" fmla="*/ 185438 w 3135233"/>
                <a:gd name="connsiteY8185" fmla="*/ 1640441 h 2493266"/>
                <a:gd name="connsiteX8186" fmla="*/ 189582 w 3135233"/>
                <a:gd name="connsiteY8186" fmla="*/ 1638862 h 2493266"/>
                <a:gd name="connsiteX8187" fmla="*/ 191655 w 3135233"/>
                <a:gd name="connsiteY8187" fmla="*/ 1637234 h 2493266"/>
                <a:gd name="connsiteX8188" fmla="*/ 191655 w 3135233"/>
                <a:gd name="connsiteY8188" fmla="*/ 1633977 h 2493266"/>
                <a:gd name="connsiteX8189" fmla="*/ 187510 w 3135233"/>
                <a:gd name="connsiteY8189" fmla="*/ 1632399 h 2493266"/>
                <a:gd name="connsiteX8190" fmla="*/ 183662 w 3135233"/>
                <a:gd name="connsiteY8190" fmla="*/ 1632399 h 2493266"/>
                <a:gd name="connsiteX8191" fmla="*/ 183662 w 3135233"/>
                <a:gd name="connsiteY8191" fmla="*/ 1629191 h 2493266"/>
                <a:gd name="connsiteX8192" fmla="*/ 189878 w 3135233"/>
                <a:gd name="connsiteY8192" fmla="*/ 1625935 h 2493266"/>
                <a:gd name="connsiteX8193" fmla="*/ 187806 w 3135233"/>
                <a:gd name="connsiteY8193" fmla="*/ 1603337 h 2493266"/>
                <a:gd name="connsiteX8194" fmla="*/ 187806 w 3135233"/>
                <a:gd name="connsiteY8194" fmla="*/ 1580789 h 2493266"/>
                <a:gd name="connsiteX8195" fmla="*/ 191951 w 3135233"/>
                <a:gd name="connsiteY8195" fmla="*/ 1563026 h 2493266"/>
                <a:gd name="connsiteX8196" fmla="*/ 189878 w 3135233"/>
                <a:gd name="connsiteY8196" fmla="*/ 1558092 h 2493266"/>
                <a:gd name="connsiteX8197" fmla="*/ 187806 w 3135233"/>
                <a:gd name="connsiteY8197" fmla="*/ 1551628 h 2493266"/>
                <a:gd name="connsiteX8198" fmla="*/ 191951 w 3135233"/>
                <a:gd name="connsiteY8198" fmla="*/ 1546694 h 2493266"/>
                <a:gd name="connsiteX8199" fmla="*/ 189878 w 3135233"/>
                <a:gd name="connsiteY8199" fmla="*/ 1540231 h 2493266"/>
                <a:gd name="connsiteX8200" fmla="*/ 187806 w 3135233"/>
                <a:gd name="connsiteY8200" fmla="*/ 1535297 h 2493266"/>
                <a:gd name="connsiteX8201" fmla="*/ 185734 w 3135233"/>
                <a:gd name="connsiteY8201" fmla="*/ 1523948 h 2493266"/>
                <a:gd name="connsiteX8202" fmla="*/ 177395 w 3135233"/>
                <a:gd name="connsiteY8202" fmla="*/ 1515906 h 2493266"/>
                <a:gd name="connsiteX8203" fmla="*/ 175323 w 3135233"/>
                <a:gd name="connsiteY8203" fmla="*/ 1504607 h 2493266"/>
                <a:gd name="connsiteX8204" fmla="*/ 177395 w 3135233"/>
                <a:gd name="connsiteY8204" fmla="*/ 1499673 h 2493266"/>
                <a:gd name="connsiteX8205" fmla="*/ 169057 w 3135233"/>
                <a:gd name="connsiteY8205" fmla="*/ 1481911 h 2493266"/>
                <a:gd name="connsiteX8206" fmla="*/ 171129 w 3135233"/>
                <a:gd name="connsiteY8206" fmla="*/ 1476976 h 2493266"/>
                <a:gd name="connsiteX8207" fmla="*/ 177247 w 3135233"/>
                <a:gd name="connsiteY8207" fmla="*/ 1470315 h 2493266"/>
                <a:gd name="connsiteX8208" fmla="*/ 175175 w 3135233"/>
                <a:gd name="connsiteY8208" fmla="*/ 1465381 h 2493266"/>
                <a:gd name="connsiteX8209" fmla="*/ 175175 w 3135233"/>
                <a:gd name="connsiteY8209" fmla="*/ 1460447 h 2493266"/>
                <a:gd name="connsiteX8210" fmla="*/ 166836 w 3135233"/>
                <a:gd name="connsiteY8210" fmla="*/ 1455513 h 2493266"/>
                <a:gd name="connsiteX8211" fmla="*/ 156426 w 3135233"/>
                <a:gd name="connsiteY8211" fmla="*/ 1455513 h 2493266"/>
                <a:gd name="connsiteX8212" fmla="*/ 143893 w 3135233"/>
                <a:gd name="connsiteY8212" fmla="*/ 1458770 h 2493266"/>
                <a:gd name="connsiteX8213" fmla="*/ 139749 w 3135233"/>
                <a:gd name="connsiteY8213" fmla="*/ 1460398 h 2493266"/>
                <a:gd name="connsiteX8214" fmla="*/ 127266 w 3135233"/>
                <a:gd name="connsiteY8214" fmla="*/ 1463605 h 2493266"/>
                <a:gd name="connsiteX8215" fmla="*/ 118927 w 3135233"/>
                <a:gd name="connsiteY8215" fmla="*/ 1470315 h 2493266"/>
                <a:gd name="connsiteX8216" fmla="*/ 108516 w 3135233"/>
                <a:gd name="connsiteY8216" fmla="*/ 1483193 h 2493266"/>
                <a:gd name="connsiteX8217" fmla="*/ 100178 w 3135233"/>
                <a:gd name="connsiteY8217" fmla="*/ 1488127 h 2493266"/>
                <a:gd name="connsiteX8218" fmla="*/ 89767 w 3135233"/>
                <a:gd name="connsiteY8218" fmla="*/ 1489706 h 2493266"/>
                <a:gd name="connsiteX8219" fmla="*/ 74965 w 3135233"/>
                <a:gd name="connsiteY8219" fmla="*/ 1491335 h 2493266"/>
                <a:gd name="connsiteX8220" fmla="*/ 72892 w 3135233"/>
                <a:gd name="connsiteY8220" fmla="*/ 1491335 h 2493266"/>
                <a:gd name="connsiteX8221" fmla="*/ 72892 w 3135233"/>
                <a:gd name="connsiteY8221" fmla="*/ 1486400 h 2493266"/>
                <a:gd name="connsiteX8222" fmla="*/ 79159 w 3135233"/>
                <a:gd name="connsiteY8222" fmla="*/ 1478309 h 2493266"/>
                <a:gd name="connsiteX8223" fmla="*/ 75113 w 3135233"/>
                <a:gd name="connsiteY8223" fmla="*/ 1470315 h 2493266"/>
                <a:gd name="connsiteX8224" fmla="*/ 64702 w 3135233"/>
                <a:gd name="connsiteY8224" fmla="*/ 1434790 h 2493266"/>
                <a:gd name="connsiteX8225" fmla="*/ 58485 w 3135233"/>
                <a:gd name="connsiteY8225" fmla="*/ 1418706 h 2493266"/>
                <a:gd name="connsiteX8226" fmla="*/ 56364 w 3135233"/>
                <a:gd name="connsiteY8226" fmla="*/ 1410564 h 2493266"/>
                <a:gd name="connsiteX8227" fmla="*/ 62630 w 3135233"/>
                <a:gd name="connsiteY8227" fmla="*/ 1397687 h 2493266"/>
                <a:gd name="connsiteX8228" fmla="*/ 45953 w 3135233"/>
                <a:gd name="connsiteY8228" fmla="*/ 1396058 h 2493266"/>
                <a:gd name="connsiteX8229" fmla="*/ 31151 w 3135233"/>
                <a:gd name="connsiteY8229" fmla="*/ 1402522 h 2493266"/>
                <a:gd name="connsiteX8230" fmla="*/ 22812 w 3135233"/>
                <a:gd name="connsiteY8230" fmla="*/ 1399315 h 2493266"/>
                <a:gd name="connsiteX8231" fmla="*/ -82 w 3135233"/>
                <a:gd name="connsiteY8231" fmla="*/ 1399315 h 2493266"/>
                <a:gd name="connsiteX8232" fmla="*/ 418571 w 3135233"/>
                <a:gd name="connsiteY8232" fmla="*/ 744223 h 2493266"/>
                <a:gd name="connsiteX8233" fmla="*/ 420643 w 3135233"/>
                <a:gd name="connsiteY8233" fmla="*/ 749157 h 2493266"/>
                <a:gd name="connsiteX8234" fmla="*/ 424837 w 3135233"/>
                <a:gd name="connsiteY8234" fmla="*/ 749157 h 2493266"/>
                <a:gd name="connsiteX8235" fmla="*/ 443586 w 3135233"/>
                <a:gd name="connsiteY8235" fmla="*/ 762035 h 2493266"/>
                <a:gd name="connsiteX8236" fmla="*/ 450099 w 3135233"/>
                <a:gd name="connsiteY8236" fmla="*/ 762035 h 2493266"/>
                <a:gd name="connsiteX8237" fmla="*/ 458438 w 3135233"/>
                <a:gd name="connsiteY8237" fmla="*/ 766969 h 2493266"/>
                <a:gd name="connsiteX8238" fmla="*/ 460510 w 3135233"/>
                <a:gd name="connsiteY8238" fmla="*/ 771903 h 2493266"/>
                <a:gd name="connsiteX8239" fmla="*/ 462583 w 3135233"/>
                <a:gd name="connsiteY8239" fmla="*/ 770275 h 2493266"/>
                <a:gd name="connsiteX8240" fmla="*/ 468849 w 3135233"/>
                <a:gd name="connsiteY8240" fmla="*/ 775209 h 2493266"/>
                <a:gd name="connsiteX8241" fmla="*/ 468849 w 3135233"/>
                <a:gd name="connsiteY8241" fmla="*/ 781672 h 2493266"/>
                <a:gd name="connsiteX8242" fmla="*/ 477187 w 3135233"/>
                <a:gd name="connsiteY8242" fmla="*/ 788136 h 2493266"/>
                <a:gd name="connsiteX8243" fmla="*/ 477187 w 3135233"/>
                <a:gd name="connsiteY8243" fmla="*/ 794550 h 2493266"/>
                <a:gd name="connsiteX8244" fmla="*/ 473043 w 3135233"/>
                <a:gd name="connsiteY8244" fmla="*/ 801014 h 2493266"/>
                <a:gd name="connsiteX8245" fmla="*/ 477187 w 3135233"/>
                <a:gd name="connsiteY8245" fmla="*/ 807477 h 2493266"/>
                <a:gd name="connsiteX8246" fmla="*/ 479260 w 3135233"/>
                <a:gd name="connsiteY8246" fmla="*/ 809106 h 2493266"/>
                <a:gd name="connsiteX8247" fmla="*/ 483454 w 3135233"/>
                <a:gd name="connsiteY8247" fmla="*/ 805849 h 2493266"/>
                <a:gd name="connsiteX8248" fmla="*/ 485526 w 3135233"/>
                <a:gd name="connsiteY8248" fmla="*/ 807477 h 2493266"/>
                <a:gd name="connsiteX8249" fmla="*/ 485526 w 3135233"/>
                <a:gd name="connsiteY8249" fmla="*/ 817345 h 2493266"/>
                <a:gd name="connsiteX8250" fmla="*/ 487598 w 3135233"/>
                <a:gd name="connsiteY8250" fmla="*/ 825437 h 2493266"/>
                <a:gd name="connsiteX8251" fmla="*/ 500081 w 3135233"/>
                <a:gd name="connsiteY8251" fmla="*/ 836736 h 2493266"/>
                <a:gd name="connsiteX8252" fmla="*/ 506347 w 3135233"/>
                <a:gd name="connsiteY8252" fmla="*/ 841670 h 2493266"/>
                <a:gd name="connsiteX8253" fmla="*/ 508420 w 3135233"/>
                <a:gd name="connsiteY8253" fmla="*/ 838414 h 2493266"/>
                <a:gd name="connsiteX8254" fmla="*/ 512614 w 3135233"/>
                <a:gd name="connsiteY8254" fmla="*/ 841670 h 2493266"/>
                <a:gd name="connsiteX8255" fmla="*/ 514686 w 3135233"/>
                <a:gd name="connsiteY8255" fmla="*/ 846604 h 2493266"/>
                <a:gd name="connsiteX8256" fmla="*/ 518831 w 3135233"/>
                <a:gd name="connsiteY8256" fmla="*/ 848232 h 2493266"/>
                <a:gd name="connsiteX8257" fmla="*/ 520952 w 3135233"/>
                <a:gd name="connsiteY8257" fmla="*/ 848232 h 2493266"/>
                <a:gd name="connsiteX8258" fmla="*/ 529241 w 3135233"/>
                <a:gd name="connsiteY8258" fmla="*/ 858100 h 2493266"/>
                <a:gd name="connsiteX8259" fmla="*/ 529241 w 3135233"/>
                <a:gd name="connsiteY8259" fmla="*/ 866143 h 2493266"/>
                <a:gd name="connsiteX8260" fmla="*/ 533435 w 3135233"/>
                <a:gd name="connsiteY8260" fmla="*/ 867771 h 2493266"/>
                <a:gd name="connsiteX8261" fmla="*/ 535508 w 3135233"/>
                <a:gd name="connsiteY8261" fmla="*/ 872705 h 2493266"/>
                <a:gd name="connsiteX8262" fmla="*/ 541774 w 3135233"/>
                <a:gd name="connsiteY8262" fmla="*/ 872705 h 2493266"/>
                <a:gd name="connsiteX8263" fmla="*/ 550112 w 3135233"/>
                <a:gd name="connsiteY8263" fmla="*/ 882573 h 2493266"/>
                <a:gd name="connsiteX8264" fmla="*/ 550112 w 3135233"/>
                <a:gd name="connsiteY8264" fmla="*/ 885830 h 2493266"/>
                <a:gd name="connsiteX8265" fmla="*/ 554257 w 3135233"/>
                <a:gd name="connsiteY8265" fmla="*/ 887409 h 2493266"/>
                <a:gd name="connsiteX8266" fmla="*/ 552185 w 3135233"/>
                <a:gd name="connsiteY8266" fmla="*/ 892343 h 2493266"/>
                <a:gd name="connsiteX8267" fmla="*/ 545918 w 3135233"/>
                <a:gd name="connsiteY8267" fmla="*/ 900385 h 2493266"/>
                <a:gd name="connsiteX8268" fmla="*/ 539652 w 3135233"/>
                <a:gd name="connsiteY8268" fmla="*/ 905319 h 2493266"/>
                <a:gd name="connsiteX8269" fmla="*/ 556329 w 3135233"/>
                <a:gd name="connsiteY8269" fmla="*/ 894020 h 2493266"/>
                <a:gd name="connsiteX8270" fmla="*/ 560523 w 3135233"/>
                <a:gd name="connsiteY8270" fmla="*/ 892441 h 2493266"/>
                <a:gd name="connsiteX8271" fmla="*/ 564668 w 3135233"/>
                <a:gd name="connsiteY8271" fmla="*/ 892441 h 2493266"/>
                <a:gd name="connsiteX8272" fmla="*/ 566740 w 3135233"/>
                <a:gd name="connsiteY8272" fmla="*/ 884350 h 2493266"/>
                <a:gd name="connsiteX8273" fmla="*/ 564668 w 3135233"/>
                <a:gd name="connsiteY8273" fmla="*/ 868215 h 2493266"/>
                <a:gd name="connsiteX8274" fmla="*/ 566740 w 3135233"/>
                <a:gd name="connsiteY8274" fmla="*/ 856916 h 2493266"/>
                <a:gd name="connsiteX8275" fmla="*/ 568812 w 3135233"/>
                <a:gd name="connsiteY8275" fmla="*/ 851982 h 2493266"/>
                <a:gd name="connsiteX8276" fmla="*/ 581345 w 3135233"/>
                <a:gd name="connsiteY8276" fmla="*/ 848775 h 2493266"/>
                <a:gd name="connsiteX8277" fmla="*/ 591756 w 3135233"/>
                <a:gd name="connsiteY8277" fmla="*/ 843841 h 2493266"/>
                <a:gd name="connsiteX8278" fmla="*/ 595900 w 3135233"/>
                <a:gd name="connsiteY8278" fmla="*/ 838907 h 2493266"/>
                <a:gd name="connsiteX8279" fmla="*/ 604239 w 3135233"/>
                <a:gd name="connsiteY8279" fmla="*/ 837328 h 2493266"/>
                <a:gd name="connsiteX8280" fmla="*/ 606311 w 3135233"/>
                <a:gd name="connsiteY8280" fmla="*/ 834072 h 2493266"/>
                <a:gd name="connsiteX8281" fmla="*/ 612577 w 3135233"/>
                <a:gd name="connsiteY8281" fmla="*/ 832493 h 2493266"/>
                <a:gd name="connsiteX8282" fmla="*/ 616722 w 3135233"/>
                <a:gd name="connsiteY8282" fmla="*/ 830865 h 2493266"/>
                <a:gd name="connsiteX8283" fmla="*/ 625060 w 3135233"/>
                <a:gd name="connsiteY8283" fmla="*/ 830865 h 2493266"/>
                <a:gd name="connsiteX8284" fmla="*/ 627182 w 3135233"/>
                <a:gd name="connsiteY8284" fmla="*/ 832493 h 2493266"/>
                <a:gd name="connsiteX8285" fmla="*/ 633399 w 3135233"/>
                <a:gd name="connsiteY8285" fmla="*/ 832493 h 2493266"/>
                <a:gd name="connsiteX8286" fmla="*/ 637593 w 3135233"/>
                <a:gd name="connsiteY8286" fmla="*/ 834072 h 2493266"/>
                <a:gd name="connsiteX8287" fmla="*/ 645882 w 3135233"/>
                <a:gd name="connsiteY8287" fmla="*/ 826029 h 2493266"/>
                <a:gd name="connsiteX8288" fmla="*/ 650076 w 3135233"/>
                <a:gd name="connsiteY8288" fmla="*/ 817937 h 2493266"/>
                <a:gd name="connsiteX8289" fmla="*/ 654220 w 3135233"/>
                <a:gd name="connsiteY8289" fmla="*/ 817937 h 2493266"/>
                <a:gd name="connsiteX8290" fmla="*/ 660487 w 3135233"/>
                <a:gd name="connsiteY8290" fmla="*/ 819566 h 2493266"/>
                <a:gd name="connsiteX8291" fmla="*/ 664631 w 3135233"/>
                <a:gd name="connsiteY8291" fmla="*/ 816359 h 2493266"/>
                <a:gd name="connsiteX8292" fmla="*/ 664631 w 3135233"/>
                <a:gd name="connsiteY8292" fmla="*/ 814730 h 2493266"/>
                <a:gd name="connsiteX8293" fmla="*/ 668825 w 3135233"/>
                <a:gd name="connsiteY8293" fmla="*/ 814730 h 2493266"/>
                <a:gd name="connsiteX8294" fmla="*/ 672970 w 3135233"/>
                <a:gd name="connsiteY8294" fmla="*/ 817937 h 2493266"/>
                <a:gd name="connsiteX8295" fmla="*/ 693792 w 3135233"/>
                <a:gd name="connsiteY8295" fmla="*/ 816359 h 2493266"/>
                <a:gd name="connsiteX8296" fmla="*/ 710469 w 3135233"/>
                <a:gd name="connsiteY8296" fmla="*/ 811425 h 2493266"/>
                <a:gd name="connsiteX8297" fmla="*/ 716735 w 3135233"/>
                <a:gd name="connsiteY8297" fmla="*/ 808217 h 2493266"/>
                <a:gd name="connsiteX8298" fmla="*/ 718807 w 3135233"/>
                <a:gd name="connsiteY8298" fmla="*/ 808217 h 2493266"/>
                <a:gd name="connsiteX8299" fmla="*/ 722952 w 3135233"/>
                <a:gd name="connsiteY8299" fmla="*/ 813151 h 2493266"/>
                <a:gd name="connsiteX8300" fmla="*/ 727146 w 3135233"/>
                <a:gd name="connsiteY8300" fmla="*/ 809944 h 2493266"/>
                <a:gd name="connsiteX8301" fmla="*/ 731290 w 3135233"/>
                <a:gd name="connsiteY8301" fmla="*/ 803481 h 2493266"/>
                <a:gd name="connsiteX8302" fmla="*/ 741701 w 3135233"/>
                <a:gd name="connsiteY8302" fmla="*/ 800274 h 2493266"/>
                <a:gd name="connsiteX8303" fmla="*/ 750039 w 3135233"/>
                <a:gd name="connsiteY8303" fmla="*/ 800274 h 2493266"/>
                <a:gd name="connsiteX8304" fmla="*/ 752112 w 3135233"/>
                <a:gd name="connsiteY8304" fmla="*/ 801852 h 2493266"/>
                <a:gd name="connsiteX8305" fmla="*/ 756306 w 3135233"/>
                <a:gd name="connsiteY8305" fmla="*/ 801852 h 2493266"/>
                <a:gd name="connsiteX8306" fmla="*/ 758378 w 3135233"/>
                <a:gd name="connsiteY8306" fmla="*/ 805109 h 2493266"/>
                <a:gd name="connsiteX8307" fmla="*/ 762572 w 3135233"/>
                <a:gd name="connsiteY8307" fmla="*/ 805109 h 2493266"/>
                <a:gd name="connsiteX8308" fmla="*/ 764644 w 3135233"/>
                <a:gd name="connsiteY8308" fmla="*/ 800175 h 2493266"/>
                <a:gd name="connsiteX8309" fmla="*/ 766716 w 3135233"/>
                <a:gd name="connsiteY8309" fmla="*/ 796918 h 2493266"/>
                <a:gd name="connsiteX8310" fmla="*/ 770861 w 3135233"/>
                <a:gd name="connsiteY8310" fmla="*/ 800175 h 2493266"/>
                <a:gd name="connsiteX8311" fmla="*/ 770861 w 3135233"/>
                <a:gd name="connsiteY8311" fmla="*/ 805109 h 2493266"/>
                <a:gd name="connsiteX8312" fmla="*/ 775055 w 3135233"/>
                <a:gd name="connsiteY8312" fmla="*/ 808316 h 2493266"/>
                <a:gd name="connsiteX8313" fmla="*/ 772983 w 3135233"/>
                <a:gd name="connsiteY8313" fmla="*/ 811523 h 2493266"/>
                <a:gd name="connsiteX8314" fmla="*/ 768789 w 3135233"/>
                <a:gd name="connsiteY8314" fmla="*/ 811523 h 2493266"/>
                <a:gd name="connsiteX8315" fmla="*/ 766716 w 3135233"/>
                <a:gd name="connsiteY8315" fmla="*/ 816457 h 2493266"/>
                <a:gd name="connsiteX8316" fmla="*/ 750039 w 3135233"/>
                <a:gd name="connsiteY8316" fmla="*/ 821391 h 2493266"/>
                <a:gd name="connsiteX8317" fmla="*/ 737556 w 3135233"/>
                <a:gd name="connsiteY8317" fmla="*/ 824598 h 2493266"/>
                <a:gd name="connsiteX8318" fmla="*/ 731290 w 3135233"/>
                <a:gd name="connsiteY8318" fmla="*/ 829532 h 2493266"/>
                <a:gd name="connsiteX8319" fmla="*/ 722952 w 3135233"/>
                <a:gd name="connsiteY8319" fmla="*/ 832789 h 2493266"/>
                <a:gd name="connsiteX8320" fmla="*/ 716735 w 3135233"/>
                <a:gd name="connsiteY8320" fmla="*/ 831161 h 2493266"/>
                <a:gd name="connsiteX8321" fmla="*/ 712541 w 3135233"/>
                <a:gd name="connsiteY8321" fmla="*/ 834368 h 2493266"/>
                <a:gd name="connsiteX8322" fmla="*/ 708396 w 3135233"/>
                <a:gd name="connsiteY8322" fmla="*/ 834368 h 2493266"/>
                <a:gd name="connsiteX8323" fmla="*/ 706324 w 3135233"/>
                <a:gd name="connsiteY8323" fmla="*/ 831161 h 2493266"/>
                <a:gd name="connsiteX8324" fmla="*/ 695913 w 3135233"/>
                <a:gd name="connsiteY8324" fmla="*/ 834368 h 2493266"/>
                <a:gd name="connsiteX8325" fmla="*/ 683381 w 3135233"/>
                <a:gd name="connsiteY8325" fmla="*/ 834368 h 2493266"/>
                <a:gd name="connsiteX8326" fmla="*/ 681308 w 3135233"/>
                <a:gd name="connsiteY8326" fmla="*/ 835996 h 2493266"/>
                <a:gd name="connsiteX8327" fmla="*/ 668825 w 3135233"/>
                <a:gd name="connsiteY8327" fmla="*/ 835996 h 2493266"/>
                <a:gd name="connsiteX8328" fmla="*/ 660487 w 3135233"/>
                <a:gd name="connsiteY8328" fmla="*/ 839203 h 2493266"/>
                <a:gd name="connsiteX8329" fmla="*/ 656342 w 3135233"/>
                <a:gd name="connsiteY8329" fmla="*/ 845667 h 2493266"/>
                <a:gd name="connsiteX8330" fmla="*/ 639665 w 3135233"/>
                <a:gd name="connsiteY8330" fmla="*/ 852130 h 2493266"/>
                <a:gd name="connsiteX8331" fmla="*/ 637593 w 3135233"/>
                <a:gd name="connsiteY8331" fmla="*/ 848923 h 2493266"/>
                <a:gd name="connsiteX8332" fmla="*/ 629254 w 3135233"/>
                <a:gd name="connsiteY8332" fmla="*/ 853857 h 2493266"/>
                <a:gd name="connsiteX8333" fmla="*/ 629254 w 3135233"/>
                <a:gd name="connsiteY8333" fmla="*/ 858791 h 2493266"/>
                <a:gd name="connsiteX8334" fmla="*/ 622988 w 3135233"/>
                <a:gd name="connsiteY8334" fmla="*/ 861998 h 2493266"/>
                <a:gd name="connsiteX8335" fmla="*/ 618844 w 3135233"/>
                <a:gd name="connsiteY8335" fmla="*/ 858791 h 2493266"/>
                <a:gd name="connsiteX8336" fmla="*/ 612577 w 3135233"/>
                <a:gd name="connsiteY8336" fmla="*/ 863725 h 2493266"/>
                <a:gd name="connsiteX8337" fmla="*/ 608433 w 3135233"/>
                <a:gd name="connsiteY8337" fmla="*/ 868659 h 2493266"/>
                <a:gd name="connsiteX8338" fmla="*/ 604239 w 3135233"/>
                <a:gd name="connsiteY8338" fmla="*/ 870288 h 2493266"/>
                <a:gd name="connsiteX8339" fmla="*/ 600094 w 3135233"/>
                <a:gd name="connsiteY8339" fmla="*/ 875222 h 2493266"/>
                <a:gd name="connsiteX8340" fmla="*/ 606311 w 3135233"/>
                <a:gd name="connsiteY8340" fmla="*/ 881685 h 2493266"/>
                <a:gd name="connsiteX8341" fmla="*/ 612577 w 3135233"/>
                <a:gd name="connsiteY8341" fmla="*/ 884892 h 2493266"/>
                <a:gd name="connsiteX8342" fmla="*/ 606311 w 3135233"/>
                <a:gd name="connsiteY8342" fmla="*/ 878429 h 2493266"/>
                <a:gd name="connsiteX8343" fmla="*/ 606311 w 3135233"/>
                <a:gd name="connsiteY8343" fmla="*/ 873297 h 2493266"/>
                <a:gd name="connsiteX8344" fmla="*/ 612577 w 3135233"/>
                <a:gd name="connsiteY8344" fmla="*/ 874926 h 2493266"/>
                <a:gd name="connsiteX8345" fmla="*/ 616722 w 3135233"/>
                <a:gd name="connsiteY8345" fmla="*/ 873297 h 2493266"/>
                <a:gd name="connsiteX8346" fmla="*/ 622988 w 3135233"/>
                <a:gd name="connsiteY8346" fmla="*/ 874926 h 2493266"/>
                <a:gd name="connsiteX8347" fmla="*/ 620916 w 3135233"/>
                <a:gd name="connsiteY8347" fmla="*/ 869991 h 2493266"/>
                <a:gd name="connsiteX8348" fmla="*/ 629254 w 3135233"/>
                <a:gd name="connsiteY8348" fmla="*/ 861949 h 2493266"/>
                <a:gd name="connsiteX8349" fmla="*/ 641738 w 3135233"/>
                <a:gd name="connsiteY8349" fmla="*/ 858742 h 2493266"/>
                <a:gd name="connsiteX8350" fmla="*/ 648004 w 3135233"/>
                <a:gd name="connsiteY8350" fmla="*/ 858742 h 2493266"/>
                <a:gd name="connsiteX8351" fmla="*/ 666753 w 3135233"/>
                <a:gd name="connsiteY8351" fmla="*/ 848874 h 2493266"/>
                <a:gd name="connsiteX8352" fmla="*/ 668825 w 3135233"/>
                <a:gd name="connsiteY8352" fmla="*/ 843940 h 2493266"/>
                <a:gd name="connsiteX8353" fmla="*/ 675042 w 3135233"/>
                <a:gd name="connsiteY8353" fmla="*/ 842312 h 2493266"/>
                <a:gd name="connsiteX8354" fmla="*/ 679236 w 3135233"/>
                <a:gd name="connsiteY8354" fmla="*/ 847246 h 2493266"/>
                <a:gd name="connsiteX8355" fmla="*/ 683381 w 3135233"/>
                <a:gd name="connsiteY8355" fmla="*/ 843989 h 2493266"/>
                <a:gd name="connsiteX8356" fmla="*/ 689647 w 3135233"/>
                <a:gd name="connsiteY8356" fmla="*/ 842361 h 2493266"/>
                <a:gd name="connsiteX8357" fmla="*/ 689647 w 3135233"/>
                <a:gd name="connsiteY8357" fmla="*/ 845617 h 2493266"/>
                <a:gd name="connsiteX8358" fmla="*/ 700058 w 3135233"/>
                <a:gd name="connsiteY8358" fmla="*/ 839154 h 2493266"/>
                <a:gd name="connsiteX8359" fmla="*/ 704202 w 3135233"/>
                <a:gd name="connsiteY8359" fmla="*/ 842361 h 2493266"/>
                <a:gd name="connsiteX8360" fmla="*/ 693792 w 3135233"/>
                <a:gd name="connsiteY8360" fmla="*/ 852229 h 2493266"/>
                <a:gd name="connsiteX8361" fmla="*/ 695913 w 3135233"/>
                <a:gd name="connsiteY8361" fmla="*/ 857163 h 2493266"/>
                <a:gd name="connsiteX8362" fmla="*/ 704202 w 3135233"/>
                <a:gd name="connsiteY8362" fmla="*/ 847295 h 2493266"/>
                <a:gd name="connsiteX8363" fmla="*/ 714662 w 3135233"/>
                <a:gd name="connsiteY8363" fmla="*/ 844038 h 2493266"/>
                <a:gd name="connsiteX8364" fmla="*/ 735484 w 3135233"/>
                <a:gd name="connsiteY8364" fmla="*/ 831161 h 2493266"/>
                <a:gd name="connsiteX8365" fmla="*/ 746142 w 3135233"/>
                <a:gd name="connsiteY8365" fmla="*/ 831161 h 2493266"/>
                <a:gd name="connsiteX8366" fmla="*/ 754480 w 3135233"/>
                <a:gd name="connsiteY8366" fmla="*/ 826227 h 2493266"/>
                <a:gd name="connsiteX8367" fmla="*/ 769282 w 3135233"/>
                <a:gd name="connsiteY8367" fmla="*/ 826227 h 2493266"/>
                <a:gd name="connsiteX8368" fmla="*/ 775549 w 3135233"/>
                <a:gd name="connsiteY8368" fmla="*/ 823019 h 2493266"/>
                <a:gd name="connsiteX8369" fmla="*/ 781765 w 3135233"/>
                <a:gd name="connsiteY8369" fmla="*/ 823019 h 2493266"/>
                <a:gd name="connsiteX8370" fmla="*/ 779693 w 3135233"/>
                <a:gd name="connsiteY8370" fmla="*/ 829483 h 2493266"/>
                <a:gd name="connsiteX8371" fmla="*/ 769282 w 3135233"/>
                <a:gd name="connsiteY8371" fmla="*/ 831111 h 2493266"/>
                <a:gd name="connsiteX8372" fmla="*/ 769282 w 3135233"/>
                <a:gd name="connsiteY8372" fmla="*/ 836045 h 2493266"/>
                <a:gd name="connsiteX8373" fmla="*/ 775549 w 3135233"/>
                <a:gd name="connsiteY8373" fmla="*/ 840979 h 2493266"/>
                <a:gd name="connsiteX8374" fmla="*/ 783887 w 3135233"/>
                <a:gd name="connsiteY8374" fmla="*/ 831111 h 2493266"/>
                <a:gd name="connsiteX8375" fmla="*/ 800515 w 3135233"/>
                <a:gd name="connsiteY8375" fmla="*/ 824648 h 2493266"/>
                <a:gd name="connsiteX8376" fmla="*/ 804709 w 3135233"/>
                <a:gd name="connsiteY8376" fmla="*/ 826227 h 2493266"/>
                <a:gd name="connsiteX8377" fmla="*/ 804709 w 3135233"/>
                <a:gd name="connsiteY8377" fmla="*/ 821293 h 2493266"/>
                <a:gd name="connsiteX8378" fmla="*/ 810925 w 3135233"/>
                <a:gd name="connsiteY8378" fmla="*/ 816359 h 2493266"/>
                <a:gd name="connsiteX8379" fmla="*/ 817192 w 3135233"/>
                <a:gd name="connsiteY8379" fmla="*/ 819615 h 2493266"/>
                <a:gd name="connsiteX8380" fmla="*/ 817192 w 3135233"/>
                <a:gd name="connsiteY8380" fmla="*/ 814681 h 2493266"/>
                <a:gd name="connsiteX8381" fmla="*/ 819264 w 3135233"/>
                <a:gd name="connsiteY8381" fmla="*/ 809747 h 2493266"/>
                <a:gd name="connsiteX8382" fmla="*/ 823458 w 3135233"/>
                <a:gd name="connsiteY8382" fmla="*/ 814681 h 2493266"/>
                <a:gd name="connsiteX8383" fmla="*/ 829675 w 3135233"/>
                <a:gd name="connsiteY8383" fmla="*/ 816260 h 2493266"/>
                <a:gd name="connsiteX8384" fmla="*/ 831796 w 3135233"/>
                <a:gd name="connsiteY8384" fmla="*/ 806392 h 2493266"/>
                <a:gd name="connsiteX8385" fmla="*/ 827603 w 3135233"/>
                <a:gd name="connsiteY8385" fmla="*/ 799928 h 2493266"/>
                <a:gd name="connsiteX8386" fmla="*/ 831796 w 3135233"/>
                <a:gd name="connsiteY8386" fmla="*/ 796721 h 2493266"/>
                <a:gd name="connsiteX8387" fmla="*/ 827603 w 3135233"/>
                <a:gd name="connsiteY8387" fmla="*/ 791787 h 2493266"/>
                <a:gd name="connsiteX8388" fmla="*/ 833869 w 3135233"/>
                <a:gd name="connsiteY8388" fmla="*/ 783695 h 2493266"/>
                <a:gd name="connsiteX8389" fmla="*/ 844280 w 3135233"/>
                <a:gd name="connsiteY8389" fmla="*/ 780488 h 2493266"/>
                <a:gd name="connsiteX8390" fmla="*/ 844280 w 3135233"/>
                <a:gd name="connsiteY8390" fmla="*/ 788531 h 2493266"/>
                <a:gd name="connsiteX8391" fmla="*/ 846352 w 3135233"/>
                <a:gd name="connsiteY8391" fmla="*/ 812757 h 2493266"/>
                <a:gd name="connsiteX8392" fmla="*/ 842207 w 3135233"/>
                <a:gd name="connsiteY8392" fmla="*/ 819220 h 2493266"/>
                <a:gd name="connsiteX8393" fmla="*/ 842207 w 3135233"/>
                <a:gd name="connsiteY8393" fmla="*/ 838562 h 2493266"/>
                <a:gd name="connsiteX8394" fmla="*/ 835941 w 3135233"/>
                <a:gd name="connsiteY8394" fmla="*/ 849861 h 2493266"/>
                <a:gd name="connsiteX8395" fmla="*/ 835941 w 3135233"/>
                <a:gd name="connsiteY8395" fmla="*/ 877294 h 2493266"/>
                <a:gd name="connsiteX8396" fmla="*/ 840135 w 3135233"/>
                <a:gd name="connsiteY8396" fmla="*/ 883757 h 2493266"/>
                <a:gd name="connsiteX8397" fmla="*/ 846352 w 3135233"/>
                <a:gd name="connsiteY8397" fmla="*/ 886965 h 2493266"/>
                <a:gd name="connsiteX8398" fmla="*/ 852618 w 3135233"/>
                <a:gd name="connsiteY8398" fmla="*/ 895056 h 2493266"/>
                <a:gd name="connsiteX8399" fmla="*/ 863029 w 3135233"/>
                <a:gd name="connsiteY8399" fmla="*/ 890122 h 2493266"/>
                <a:gd name="connsiteX8400" fmla="*/ 858884 w 3135233"/>
                <a:gd name="connsiteY8400" fmla="*/ 885188 h 2493266"/>
                <a:gd name="connsiteX8401" fmla="*/ 852618 w 3135233"/>
                <a:gd name="connsiteY8401" fmla="*/ 885188 h 2493266"/>
                <a:gd name="connsiteX8402" fmla="*/ 850546 w 3135233"/>
                <a:gd name="connsiteY8402" fmla="*/ 881981 h 2493266"/>
                <a:gd name="connsiteX8403" fmla="*/ 856763 w 3135233"/>
                <a:gd name="connsiteY8403" fmla="*/ 877047 h 2493266"/>
                <a:gd name="connsiteX8404" fmla="*/ 865101 w 3135233"/>
                <a:gd name="connsiteY8404" fmla="*/ 880254 h 2493266"/>
                <a:gd name="connsiteX8405" fmla="*/ 867174 w 3135233"/>
                <a:gd name="connsiteY8405" fmla="*/ 873840 h 2493266"/>
                <a:gd name="connsiteX8406" fmla="*/ 863029 w 3135233"/>
                <a:gd name="connsiteY8406" fmla="*/ 872212 h 2493266"/>
                <a:gd name="connsiteX8407" fmla="*/ 869295 w 3135233"/>
                <a:gd name="connsiteY8407" fmla="*/ 867278 h 2493266"/>
                <a:gd name="connsiteX8408" fmla="*/ 879360 w 3135233"/>
                <a:gd name="connsiteY8408" fmla="*/ 867278 h 2493266"/>
                <a:gd name="connsiteX8409" fmla="*/ 879360 w 3135233"/>
                <a:gd name="connsiteY8409" fmla="*/ 872212 h 2493266"/>
                <a:gd name="connsiteX8410" fmla="*/ 885577 w 3135233"/>
                <a:gd name="connsiteY8410" fmla="*/ 867278 h 2493266"/>
                <a:gd name="connsiteX8411" fmla="*/ 877239 w 3135233"/>
                <a:gd name="connsiteY8411" fmla="*/ 855979 h 2493266"/>
                <a:gd name="connsiteX8412" fmla="*/ 885577 w 3135233"/>
                <a:gd name="connsiteY8412" fmla="*/ 855979 h 2493266"/>
                <a:gd name="connsiteX8413" fmla="*/ 898110 w 3135233"/>
                <a:gd name="connsiteY8413" fmla="*/ 849515 h 2493266"/>
                <a:gd name="connsiteX8414" fmla="*/ 898110 w 3135233"/>
                <a:gd name="connsiteY8414" fmla="*/ 844581 h 2493266"/>
                <a:gd name="connsiteX8415" fmla="*/ 906399 w 3135233"/>
                <a:gd name="connsiteY8415" fmla="*/ 842953 h 2493266"/>
                <a:gd name="connsiteX8416" fmla="*/ 908521 w 3135233"/>
                <a:gd name="connsiteY8416" fmla="*/ 849417 h 2493266"/>
                <a:gd name="connsiteX8417" fmla="*/ 908521 w 3135233"/>
                <a:gd name="connsiteY8417" fmla="*/ 854351 h 2493266"/>
                <a:gd name="connsiteX8418" fmla="*/ 902254 w 3135233"/>
                <a:gd name="connsiteY8418" fmla="*/ 860814 h 2493266"/>
                <a:gd name="connsiteX8419" fmla="*/ 902254 w 3135233"/>
                <a:gd name="connsiteY8419" fmla="*/ 864021 h 2493266"/>
                <a:gd name="connsiteX8420" fmla="*/ 895988 w 3135233"/>
                <a:gd name="connsiteY8420" fmla="*/ 868955 h 2493266"/>
                <a:gd name="connsiteX8421" fmla="*/ 893916 w 3135233"/>
                <a:gd name="connsiteY8421" fmla="*/ 872212 h 2493266"/>
                <a:gd name="connsiteX8422" fmla="*/ 895988 w 3135233"/>
                <a:gd name="connsiteY8422" fmla="*/ 875419 h 2493266"/>
                <a:gd name="connsiteX8423" fmla="*/ 902254 w 3135233"/>
                <a:gd name="connsiteY8423" fmla="*/ 873840 h 2493266"/>
                <a:gd name="connsiteX8424" fmla="*/ 904327 w 3135233"/>
                <a:gd name="connsiteY8424" fmla="*/ 877047 h 2493266"/>
                <a:gd name="connsiteX8425" fmla="*/ 902254 w 3135233"/>
                <a:gd name="connsiteY8425" fmla="*/ 878675 h 2493266"/>
                <a:gd name="connsiteX8426" fmla="*/ 895988 w 3135233"/>
                <a:gd name="connsiteY8426" fmla="*/ 881883 h 2493266"/>
                <a:gd name="connsiteX8427" fmla="*/ 889771 w 3135233"/>
                <a:gd name="connsiteY8427" fmla="*/ 886817 h 2493266"/>
                <a:gd name="connsiteX8428" fmla="*/ 885577 w 3135233"/>
                <a:gd name="connsiteY8428" fmla="*/ 886817 h 2493266"/>
                <a:gd name="connsiteX8429" fmla="*/ 883505 w 3135233"/>
                <a:gd name="connsiteY8429" fmla="*/ 890073 h 2493266"/>
                <a:gd name="connsiteX8430" fmla="*/ 879360 w 3135233"/>
                <a:gd name="connsiteY8430" fmla="*/ 895007 h 2493266"/>
                <a:gd name="connsiteX8431" fmla="*/ 883505 w 3135233"/>
                <a:gd name="connsiteY8431" fmla="*/ 898214 h 2493266"/>
                <a:gd name="connsiteX8432" fmla="*/ 893916 w 3135233"/>
                <a:gd name="connsiteY8432" fmla="*/ 899842 h 2493266"/>
                <a:gd name="connsiteX8433" fmla="*/ 898110 w 3135233"/>
                <a:gd name="connsiteY8433" fmla="*/ 904776 h 2493266"/>
                <a:gd name="connsiteX8434" fmla="*/ 906399 w 3135233"/>
                <a:gd name="connsiteY8434" fmla="*/ 903148 h 2493266"/>
                <a:gd name="connsiteX8435" fmla="*/ 912665 w 3135233"/>
                <a:gd name="connsiteY8435" fmla="*/ 898214 h 2493266"/>
                <a:gd name="connsiteX8436" fmla="*/ 918932 w 3135233"/>
                <a:gd name="connsiteY8436" fmla="*/ 896586 h 2493266"/>
                <a:gd name="connsiteX8437" fmla="*/ 927270 w 3135233"/>
                <a:gd name="connsiteY8437" fmla="*/ 885287 h 2493266"/>
                <a:gd name="connsiteX8438" fmla="*/ 935559 w 3135233"/>
                <a:gd name="connsiteY8438" fmla="*/ 878873 h 2493266"/>
                <a:gd name="connsiteX8439" fmla="*/ 941825 w 3135233"/>
                <a:gd name="connsiteY8439" fmla="*/ 877245 h 2493266"/>
                <a:gd name="connsiteX8440" fmla="*/ 948092 w 3135233"/>
                <a:gd name="connsiteY8440" fmla="*/ 880452 h 2493266"/>
                <a:gd name="connsiteX8441" fmla="*/ 954308 w 3135233"/>
                <a:gd name="connsiteY8441" fmla="*/ 880452 h 2493266"/>
                <a:gd name="connsiteX8442" fmla="*/ 960575 w 3135233"/>
                <a:gd name="connsiteY8442" fmla="*/ 885386 h 2493266"/>
                <a:gd name="connsiteX8443" fmla="*/ 966841 w 3135233"/>
                <a:gd name="connsiteY8443" fmla="*/ 885386 h 2493266"/>
                <a:gd name="connsiteX8444" fmla="*/ 975179 w 3135233"/>
                <a:gd name="connsiteY8444" fmla="*/ 891849 h 2493266"/>
                <a:gd name="connsiteX8445" fmla="*/ 981396 w 3135233"/>
                <a:gd name="connsiteY8445" fmla="*/ 891849 h 2493266"/>
                <a:gd name="connsiteX8446" fmla="*/ 981396 w 3135233"/>
                <a:gd name="connsiteY8446" fmla="*/ 896783 h 2493266"/>
                <a:gd name="connsiteX8447" fmla="*/ 987663 w 3135233"/>
                <a:gd name="connsiteY8447" fmla="*/ 912918 h 2493266"/>
                <a:gd name="connsiteX8448" fmla="*/ 987663 w 3135233"/>
                <a:gd name="connsiteY8448" fmla="*/ 921009 h 2493266"/>
                <a:gd name="connsiteX8449" fmla="*/ 996001 w 3135233"/>
                <a:gd name="connsiteY8449" fmla="*/ 930877 h 2493266"/>
                <a:gd name="connsiteX8450" fmla="*/ 1025161 w 3135233"/>
                <a:gd name="connsiteY8450" fmla="*/ 947012 h 2493266"/>
                <a:gd name="connsiteX8451" fmla="*/ 1027233 w 3135233"/>
                <a:gd name="connsiteY8451" fmla="*/ 951946 h 2493266"/>
                <a:gd name="connsiteX8452" fmla="*/ 1037644 w 3135233"/>
                <a:gd name="connsiteY8452" fmla="*/ 956880 h 2493266"/>
                <a:gd name="connsiteX8453" fmla="*/ 1048055 w 3135233"/>
                <a:gd name="connsiteY8453" fmla="*/ 966748 h 2493266"/>
                <a:gd name="connsiteX8454" fmla="*/ 1052052 w 3135233"/>
                <a:gd name="connsiteY8454" fmla="*/ 966748 h 2493266"/>
                <a:gd name="connsiteX8455" fmla="*/ 1058269 w 3135233"/>
                <a:gd name="connsiteY8455" fmla="*/ 971682 h 2493266"/>
                <a:gd name="connsiteX8456" fmla="*/ 1062462 w 3135233"/>
                <a:gd name="connsiteY8456" fmla="*/ 976616 h 2493266"/>
                <a:gd name="connsiteX8457" fmla="*/ 1066607 w 3135233"/>
                <a:gd name="connsiteY8457" fmla="*/ 979823 h 2493266"/>
                <a:gd name="connsiteX8458" fmla="*/ 1068679 w 3135233"/>
                <a:gd name="connsiteY8458" fmla="*/ 976616 h 2493266"/>
                <a:gd name="connsiteX8459" fmla="*/ 1072873 w 3135233"/>
                <a:gd name="connsiteY8459" fmla="*/ 979823 h 2493266"/>
                <a:gd name="connsiteX8460" fmla="*/ 1083284 w 3135233"/>
                <a:gd name="connsiteY8460" fmla="*/ 986287 h 2493266"/>
                <a:gd name="connsiteX8461" fmla="*/ 1087429 w 3135233"/>
                <a:gd name="connsiteY8461" fmla="*/ 986287 h 2493266"/>
                <a:gd name="connsiteX8462" fmla="*/ 1087429 w 3135233"/>
                <a:gd name="connsiteY8462" fmla="*/ 992750 h 2493266"/>
                <a:gd name="connsiteX8463" fmla="*/ 1093695 w 3135233"/>
                <a:gd name="connsiteY8463" fmla="*/ 997684 h 2493266"/>
                <a:gd name="connsiteX8464" fmla="*/ 1095767 w 3135233"/>
                <a:gd name="connsiteY8464" fmla="*/ 992750 h 2493266"/>
                <a:gd name="connsiteX8465" fmla="*/ 1093695 w 3135233"/>
                <a:gd name="connsiteY8465" fmla="*/ 987816 h 2493266"/>
                <a:gd name="connsiteX8466" fmla="*/ 1093695 w 3135233"/>
                <a:gd name="connsiteY8466" fmla="*/ 984560 h 2493266"/>
                <a:gd name="connsiteX8467" fmla="*/ 1087429 w 3135233"/>
                <a:gd name="connsiteY8467" fmla="*/ 979626 h 2493266"/>
                <a:gd name="connsiteX8468" fmla="*/ 1087429 w 3135233"/>
                <a:gd name="connsiteY8468" fmla="*/ 976419 h 2493266"/>
                <a:gd name="connsiteX8469" fmla="*/ 1097840 w 3135233"/>
                <a:gd name="connsiteY8469" fmla="*/ 981353 h 2493266"/>
                <a:gd name="connsiteX8470" fmla="*/ 1099961 w 3135233"/>
                <a:gd name="connsiteY8470" fmla="*/ 986287 h 2493266"/>
                <a:gd name="connsiteX8471" fmla="*/ 1104106 w 3135233"/>
                <a:gd name="connsiteY8471" fmla="*/ 986287 h 2493266"/>
                <a:gd name="connsiteX8472" fmla="*/ 1106178 w 3135233"/>
                <a:gd name="connsiteY8472" fmla="*/ 981353 h 2493266"/>
                <a:gd name="connsiteX8473" fmla="*/ 1108250 w 3135233"/>
                <a:gd name="connsiteY8473" fmla="*/ 979724 h 2493266"/>
                <a:gd name="connsiteX8474" fmla="*/ 1118661 w 3135233"/>
                <a:gd name="connsiteY8474" fmla="*/ 987816 h 2493266"/>
                <a:gd name="connsiteX8475" fmla="*/ 1120783 w 3135233"/>
                <a:gd name="connsiteY8475" fmla="*/ 992750 h 2493266"/>
                <a:gd name="connsiteX8476" fmla="*/ 1124928 w 3135233"/>
                <a:gd name="connsiteY8476" fmla="*/ 994378 h 2493266"/>
                <a:gd name="connsiteX8477" fmla="*/ 1129121 w 3135233"/>
                <a:gd name="connsiteY8477" fmla="*/ 1002421 h 2493266"/>
                <a:gd name="connsiteX8478" fmla="*/ 1131194 w 3135233"/>
                <a:gd name="connsiteY8478" fmla="*/ 1007355 h 2493266"/>
                <a:gd name="connsiteX8479" fmla="*/ 1133266 w 3135233"/>
                <a:gd name="connsiteY8479" fmla="*/ 1015447 h 2493266"/>
                <a:gd name="connsiteX8480" fmla="*/ 1135338 w 3135233"/>
                <a:gd name="connsiteY8480" fmla="*/ 1021910 h 2493266"/>
                <a:gd name="connsiteX8481" fmla="*/ 1133266 w 3135233"/>
                <a:gd name="connsiteY8481" fmla="*/ 1028325 h 2493266"/>
                <a:gd name="connsiteX8482" fmla="*/ 1131194 w 3135233"/>
                <a:gd name="connsiteY8482" fmla="*/ 1034788 h 2493266"/>
                <a:gd name="connsiteX8483" fmla="*/ 1124977 w 3135233"/>
                <a:gd name="connsiteY8483" fmla="*/ 1041054 h 2493266"/>
                <a:gd name="connsiteX8484" fmla="*/ 1110421 w 3135233"/>
                <a:gd name="connsiteY8484" fmla="*/ 1036120 h 2493266"/>
                <a:gd name="connsiteX8485" fmla="*/ 1100010 w 3135233"/>
                <a:gd name="connsiteY8485" fmla="*/ 1036120 h 2493266"/>
                <a:gd name="connsiteX8486" fmla="*/ 1102083 w 3135233"/>
                <a:gd name="connsiteY8486" fmla="*/ 1037699 h 2493266"/>
                <a:gd name="connsiteX8487" fmla="*/ 1097889 w 3135233"/>
                <a:gd name="connsiteY8487" fmla="*/ 1040956 h 2493266"/>
                <a:gd name="connsiteX8488" fmla="*/ 1089550 w 3135233"/>
                <a:gd name="connsiteY8488" fmla="*/ 1037699 h 2493266"/>
                <a:gd name="connsiteX8489" fmla="*/ 1083334 w 3135233"/>
                <a:gd name="connsiteY8489" fmla="*/ 1037699 h 2493266"/>
                <a:gd name="connsiteX8490" fmla="*/ 1085406 w 3135233"/>
                <a:gd name="connsiteY8490" fmla="*/ 1040956 h 2493266"/>
                <a:gd name="connsiteX8491" fmla="*/ 1079140 w 3135233"/>
                <a:gd name="connsiteY8491" fmla="*/ 1045890 h 2493266"/>
                <a:gd name="connsiteX8492" fmla="*/ 1077067 w 3135233"/>
                <a:gd name="connsiteY8492" fmla="*/ 1052353 h 2493266"/>
                <a:gd name="connsiteX8493" fmla="*/ 1070850 w 3135233"/>
                <a:gd name="connsiteY8493" fmla="*/ 1050725 h 2493266"/>
                <a:gd name="connsiteX8494" fmla="*/ 1064584 w 3135233"/>
                <a:gd name="connsiteY8494" fmla="*/ 1053982 h 2493266"/>
                <a:gd name="connsiteX8495" fmla="*/ 1066657 w 3135233"/>
                <a:gd name="connsiteY8495" fmla="*/ 1055561 h 2493266"/>
                <a:gd name="connsiteX8496" fmla="*/ 1072923 w 3135233"/>
                <a:gd name="connsiteY8496" fmla="*/ 1058817 h 2493266"/>
                <a:gd name="connsiteX8497" fmla="*/ 1074995 w 3135233"/>
                <a:gd name="connsiteY8497" fmla="*/ 1065231 h 2493266"/>
                <a:gd name="connsiteX8498" fmla="*/ 1081261 w 3135233"/>
                <a:gd name="connsiteY8498" fmla="*/ 1070165 h 2493266"/>
                <a:gd name="connsiteX8499" fmla="*/ 1085406 w 3135233"/>
                <a:gd name="connsiteY8499" fmla="*/ 1066909 h 2493266"/>
                <a:gd name="connsiteX8500" fmla="*/ 1093744 w 3135233"/>
                <a:gd name="connsiteY8500" fmla="*/ 1073372 h 2493266"/>
                <a:gd name="connsiteX8501" fmla="*/ 1095817 w 3135233"/>
                <a:gd name="connsiteY8501" fmla="*/ 1078306 h 2493266"/>
                <a:gd name="connsiteX8502" fmla="*/ 1104155 w 3135233"/>
                <a:gd name="connsiteY8502" fmla="*/ 1078306 h 2493266"/>
                <a:gd name="connsiteX8503" fmla="*/ 1116638 w 3135233"/>
                <a:gd name="connsiteY8503" fmla="*/ 1084770 h 2493266"/>
                <a:gd name="connsiteX8504" fmla="*/ 1127049 w 3135233"/>
                <a:gd name="connsiteY8504" fmla="*/ 1084770 h 2493266"/>
                <a:gd name="connsiteX8505" fmla="*/ 1143726 w 3135233"/>
                <a:gd name="connsiteY8505" fmla="*/ 1091234 h 2493266"/>
                <a:gd name="connsiteX8506" fmla="*/ 1152065 w 3135233"/>
                <a:gd name="connsiteY8506" fmla="*/ 1091234 h 2493266"/>
                <a:gd name="connsiteX8507" fmla="*/ 1152065 w 3135233"/>
                <a:gd name="connsiteY8507" fmla="*/ 1087977 h 2493266"/>
                <a:gd name="connsiteX8508" fmla="*/ 1156209 w 3135233"/>
                <a:gd name="connsiteY8508" fmla="*/ 1087977 h 2493266"/>
                <a:gd name="connsiteX8509" fmla="*/ 1162475 w 3135233"/>
                <a:gd name="connsiteY8509" fmla="*/ 1091234 h 2493266"/>
                <a:gd name="connsiteX8510" fmla="*/ 1162475 w 3135233"/>
                <a:gd name="connsiteY8510" fmla="*/ 1096168 h 2493266"/>
                <a:gd name="connsiteX8511" fmla="*/ 1172886 w 3135233"/>
                <a:gd name="connsiteY8511" fmla="*/ 1088076 h 2493266"/>
                <a:gd name="connsiteX8512" fmla="*/ 1174958 w 3135233"/>
                <a:gd name="connsiteY8512" fmla="*/ 1093010 h 2493266"/>
                <a:gd name="connsiteX8513" fmla="*/ 1181225 w 3135233"/>
                <a:gd name="connsiteY8513" fmla="*/ 1091431 h 2493266"/>
                <a:gd name="connsiteX8514" fmla="*/ 1185369 w 3135233"/>
                <a:gd name="connsiteY8514" fmla="*/ 1086497 h 2493266"/>
                <a:gd name="connsiteX8515" fmla="*/ 1187491 w 3135233"/>
                <a:gd name="connsiteY8515" fmla="*/ 1088076 h 2493266"/>
                <a:gd name="connsiteX8516" fmla="*/ 1187491 w 3135233"/>
                <a:gd name="connsiteY8516" fmla="*/ 1089704 h 2493266"/>
                <a:gd name="connsiteX8517" fmla="*/ 1191635 w 3135233"/>
                <a:gd name="connsiteY8517" fmla="*/ 1091332 h 2493266"/>
                <a:gd name="connsiteX8518" fmla="*/ 1204119 w 3135233"/>
                <a:gd name="connsiteY8518" fmla="*/ 1086398 h 2493266"/>
                <a:gd name="connsiteX8519" fmla="*/ 1222868 w 3135233"/>
                <a:gd name="connsiteY8519" fmla="*/ 1079935 h 2493266"/>
                <a:gd name="connsiteX8520" fmla="*/ 1229134 w 3135233"/>
                <a:gd name="connsiteY8520" fmla="*/ 1078306 h 2493266"/>
                <a:gd name="connsiteX8521" fmla="*/ 1229134 w 3135233"/>
                <a:gd name="connsiteY8521" fmla="*/ 1084770 h 2493266"/>
                <a:gd name="connsiteX8522" fmla="*/ 1227062 w 3135233"/>
                <a:gd name="connsiteY8522" fmla="*/ 1087977 h 2493266"/>
                <a:gd name="connsiteX8523" fmla="*/ 1227062 w 3135233"/>
                <a:gd name="connsiteY8523" fmla="*/ 1089605 h 2493266"/>
                <a:gd name="connsiteX8524" fmla="*/ 1231207 w 3135233"/>
                <a:gd name="connsiteY8524" fmla="*/ 1089605 h 2493266"/>
                <a:gd name="connsiteX8525" fmla="*/ 1231207 w 3135233"/>
                <a:gd name="connsiteY8525" fmla="*/ 1096069 h 2493266"/>
                <a:gd name="connsiteX8526" fmla="*/ 1229134 w 3135233"/>
                <a:gd name="connsiteY8526" fmla="*/ 1101003 h 2493266"/>
                <a:gd name="connsiteX8527" fmla="*/ 1231207 w 3135233"/>
                <a:gd name="connsiteY8527" fmla="*/ 1104210 h 2493266"/>
                <a:gd name="connsiteX8528" fmla="*/ 1233279 w 3135233"/>
                <a:gd name="connsiteY8528" fmla="*/ 1105838 h 2493266"/>
                <a:gd name="connsiteX8529" fmla="*/ 1237473 w 3135233"/>
                <a:gd name="connsiteY8529" fmla="*/ 1102631 h 2493266"/>
                <a:gd name="connsiteX8530" fmla="*/ 1241617 w 3135233"/>
                <a:gd name="connsiteY8530" fmla="*/ 1105838 h 2493266"/>
                <a:gd name="connsiteX8531" fmla="*/ 1241617 w 3135233"/>
                <a:gd name="connsiteY8531" fmla="*/ 1110772 h 2493266"/>
                <a:gd name="connsiteX8532" fmla="*/ 1237473 w 3135233"/>
                <a:gd name="connsiteY8532" fmla="*/ 1120640 h 2493266"/>
                <a:gd name="connsiteX8533" fmla="*/ 1237473 w 3135233"/>
                <a:gd name="connsiteY8533" fmla="*/ 1127104 h 2493266"/>
                <a:gd name="connsiteX8534" fmla="*/ 1239545 w 3135233"/>
                <a:gd name="connsiteY8534" fmla="*/ 1128732 h 2493266"/>
                <a:gd name="connsiteX8535" fmla="*/ 1245811 w 3135233"/>
                <a:gd name="connsiteY8535" fmla="*/ 1123798 h 2493266"/>
                <a:gd name="connsiteX8536" fmla="*/ 1245811 w 3135233"/>
                <a:gd name="connsiteY8536" fmla="*/ 1117335 h 2493266"/>
                <a:gd name="connsiteX8537" fmla="*/ 1249956 w 3135233"/>
                <a:gd name="connsiteY8537" fmla="*/ 1112401 h 2493266"/>
                <a:gd name="connsiteX8538" fmla="*/ 1252028 w 3135233"/>
                <a:gd name="connsiteY8538" fmla="*/ 1112401 h 2493266"/>
                <a:gd name="connsiteX8539" fmla="*/ 1249956 w 3135233"/>
                <a:gd name="connsiteY8539" fmla="*/ 1122269 h 2493266"/>
                <a:gd name="connsiteX8540" fmla="*/ 1245811 w 3135233"/>
                <a:gd name="connsiteY8540" fmla="*/ 1132137 h 2493266"/>
                <a:gd name="connsiteX8541" fmla="*/ 1239545 w 3135233"/>
                <a:gd name="connsiteY8541" fmla="*/ 1137663 h 2493266"/>
                <a:gd name="connsiteX8542" fmla="*/ 1239545 w 3135233"/>
                <a:gd name="connsiteY8542" fmla="*/ 1148962 h 2493266"/>
                <a:gd name="connsiteX8543" fmla="*/ 1245811 w 3135233"/>
                <a:gd name="connsiteY8543" fmla="*/ 1155425 h 2493266"/>
                <a:gd name="connsiteX8544" fmla="*/ 1245811 w 3135233"/>
                <a:gd name="connsiteY8544" fmla="*/ 1165293 h 2493266"/>
                <a:gd name="connsiteX8545" fmla="*/ 1241617 w 3135233"/>
                <a:gd name="connsiteY8545" fmla="*/ 1173385 h 2493266"/>
                <a:gd name="connsiteX8546" fmla="*/ 1249956 w 3135233"/>
                <a:gd name="connsiteY8546" fmla="*/ 1178319 h 2493266"/>
                <a:gd name="connsiteX8547" fmla="*/ 1249956 w 3135233"/>
                <a:gd name="connsiteY8547" fmla="*/ 1181526 h 2493266"/>
                <a:gd name="connsiteX8548" fmla="*/ 1247884 w 3135233"/>
                <a:gd name="connsiteY8548" fmla="*/ 1187990 h 2493266"/>
                <a:gd name="connsiteX8549" fmla="*/ 1249956 w 3135233"/>
                <a:gd name="connsiteY8549" fmla="*/ 1189618 h 2493266"/>
                <a:gd name="connsiteX8550" fmla="*/ 1254101 w 3135233"/>
                <a:gd name="connsiteY8550" fmla="*/ 1199486 h 2493266"/>
                <a:gd name="connsiteX8551" fmla="*/ 1256222 w 3135233"/>
                <a:gd name="connsiteY8551" fmla="*/ 1218828 h 2493266"/>
                <a:gd name="connsiteX8552" fmla="*/ 1256222 w 3135233"/>
                <a:gd name="connsiteY8552" fmla="*/ 1198944 h 2493266"/>
                <a:gd name="connsiteX8553" fmla="*/ 1252028 w 3135233"/>
                <a:gd name="connsiteY8553" fmla="*/ 1184388 h 2493266"/>
                <a:gd name="connsiteX8554" fmla="*/ 1254101 w 3135233"/>
                <a:gd name="connsiteY8554" fmla="*/ 1169882 h 2493266"/>
                <a:gd name="connsiteX8555" fmla="*/ 1262439 w 3135233"/>
                <a:gd name="connsiteY8555" fmla="*/ 1156955 h 2493266"/>
                <a:gd name="connsiteX8556" fmla="*/ 1266633 w 3135233"/>
                <a:gd name="connsiteY8556" fmla="*/ 1158583 h 2493266"/>
                <a:gd name="connsiteX8557" fmla="*/ 1266633 w 3135233"/>
                <a:gd name="connsiteY8557" fmla="*/ 1163517 h 2493266"/>
                <a:gd name="connsiteX8558" fmla="*/ 1264561 w 3135233"/>
                <a:gd name="connsiteY8558" fmla="*/ 1165145 h 2493266"/>
                <a:gd name="connsiteX8559" fmla="*/ 1264561 w 3135233"/>
                <a:gd name="connsiteY8559" fmla="*/ 1170079 h 2493266"/>
                <a:gd name="connsiteX8560" fmla="*/ 1266633 w 3135233"/>
                <a:gd name="connsiteY8560" fmla="*/ 1171708 h 2493266"/>
                <a:gd name="connsiteX8561" fmla="*/ 1270778 w 3135233"/>
                <a:gd name="connsiteY8561" fmla="*/ 1168451 h 2493266"/>
                <a:gd name="connsiteX8562" fmla="*/ 1272850 w 3135233"/>
                <a:gd name="connsiteY8562" fmla="*/ 1170079 h 2493266"/>
                <a:gd name="connsiteX8563" fmla="*/ 1274971 w 3135233"/>
                <a:gd name="connsiteY8563" fmla="*/ 1168451 h 2493266"/>
                <a:gd name="connsiteX8564" fmla="*/ 1274971 w 3135233"/>
                <a:gd name="connsiteY8564" fmla="*/ 1162037 h 2493266"/>
                <a:gd name="connsiteX8565" fmla="*/ 1270778 w 3135233"/>
                <a:gd name="connsiteY8565" fmla="*/ 1155573 h 2493266"/>
                <a:gd name="connsiteX8566" fmla="*/ 1270778 w 3135233"/>
                <a:gd name="connsiteY8566" fmla="*/ 1152317 h 2493266"/>
                <a:gd name="connsiteX8567" fmla="*/ 1279116 w 3135233"/>
                <a:gd name="connsiteY8567" fmla="*/ 1150738 h 2493266"/>
                <a:gd name="connsiteX8568" fmla="*/ 1279116 w 3135233"/>
                <a:gd name="connsiteY8568" fmla="*/ 1147482 h 2493266"/>
                <a:gd name="connsiteX8569" fmla="*/ 1272850 w 3135233"/>
                <a:gd name="connsiteY8569" fmla="*/ 1142548 h 2493266"/>
                <a:gd name="connsiteX8570" fmla="*/ 1274971 w 3135233"/>
                <a:gd name="connsiteY8570" fmla="*/ 1139341 h 2493266"/>
                <a:gd name="connsiteX8571" fmla="*/ 1277044 w 3135233"/>
                <a:gd name="connsiteY8571" fmla="*/ 1128042 h 2493266"/>
                <a:gd name="connsiteX8572" fmla="*/ 1283310 w 3135233"/>
                <a:gd name="connsiteY8572" fmla="*/ 1111907 h 2493266"/>
                <a:gd name="connsiteX8573" fmla="*/ 1281188 w 3135233"/>
                <a:gd name="connsiteY8573" fmla="*/ 1106973 h 2493266"/>
                <a:gd name="connsiteX8574" fmla="*/ 1281188 w 3135233"/>
                <a:gd name="connsiteY8574" fmla="*/ 1102039 h 2493266"/>
                <a:gd name="connsiteX8575" fmla="*/ 1287455 w 3135233"/>
                <a:gd name="connsiteY8575" fmla="*/ 1098783 h 2493266"/>
                <a:gd name="connsiteX8576" fmla="*/ 1297865 w 3135233"/>
                <a:gd name="connsiteY8576" fmla="*/ 1097204 h 2493266"/>
                <a:gd name="connsiteX8577" fmla="*/ 1297865 w 3135233"/>
                <a:gd name="connsiteY8577" fmla="*/ 1095576 h 2493266"/>
                <a:gd name="connsiteX8578" fmla="*/ 1299938 w 3135233"/>
                <a:gd name="connsiteY8578" fmla="*/ 1092319 h 2493266"/>
                <a:gd name="connsiteX8579" fmla="*/ 1306204 w 3135233"/>
                <a:gd name="connsiteY8579" fmla="*/ 1090740 h 2493266"/>
                <a:gd name="connsiteX8580" fmla="*/ 1308276 w 3135233"/>
                <a:gd name="connsiteY8580" fmla="*/ 1093947 h 2493266"/>
                <a:gd name="connsiteX8581" fmla="*/ 1314542 w 3135233"/>
                <a:gd name="connsiteY8581" fmla="*/ 1092319 h 2493266"/>
                <a:gd name="connsiteX8582" fmla="*/ 1318687 w 3135233"/>
                <a:gd name="connsiteY8582" fmla="*/ 1087385 h 2493266"/>
                <a:gd name="connsiteX8583" fmla="*/ 1320759 w 3135233"/>
                <a:gd name="connsiteY8583" fmla="*/ 1087385 h 2493266"/>
                <a:gd name="connsiteX8584" fmla="*/ 1320759 w 3135233"/>
                <a:gd name="connsiteY8584" fmla="*/ 1090642 h 2493266"/>
                <a:gd name="connsiteX8585" fmla="*/ 1324953 w 3135233"/>
                <a:gd name="connsiteY8585" fmla="*/ 1089013 h 2493266"/>
                <a:gd name="connsiteX8586" fmla="*/ 1333292 w 3135233"/>
                <a:gd name="connsiteY8586" fmla="*/ 1089013 h 2493266"/>
                <a:gd name="connsiteX8587" fmla="*/ 1337436 w 3135233"/>
                <a:gd name="connsiteY8587" fmla="*/ 1082550 h 2493266"/>
                <a:gd name="connsiteX8588" fmla="*/ 1341630 w 3135233"/>
                <a:gd name="connsiteY8588" fmla="*/ 1082550 h 2493266"/>
                <a:gd name="connsiteX8589" fmla="*/ 1343702 w 3135233"/>
                <a:gd name="connsiteY8589" fmla="*/ 1087484 h 2493266"/>
                <a:gd name="connsiteX8590" fmla="*/ 1345775 w 3135233"/>
                <a:gd name="connsiteY8590" fmla="*/ 1087484 h 2493266"/>
                <a:gd name="connsiteX8591" fmla="*/ 1347847 w 3135233"/>
                <a:gd name="connsiteY8591" fmla="*/ 1095576 h 2493266"/>
                <a:gd name="connsiteX8592" fmla="*/ 1347847 w 3135233"/>
                <a:gd name="connsiteY8592" fmla="*/ 1087484 h 2493266"/>
                <a:gd name="connsiteX8593" fmla="*/ 1345775 w 3135233"/>
                <a:gd name="connsiteY8593" fmla="*/ 1081020 h 2493266"/>
                <a:gd name="connsiteX8594" fmla="*/ 1352041 w 3135233"/>
                <a:gd name="connsiteY8594" fmla="*/ 1071152 h 2493266"/>
                <a:gd name="connsiteX8595" fmla="*/ 1356186 w 3135233"/>
                <a:gd name="connsiteY8595" fmla="*/ 1071152 h 2493266"/>
                <a:gd name="connsiteX8596" fmla="*/ 1360330 w 3135233"/>
                <a:gd name="connsiteY8596" fmla="*/ 1074409 h 2493266"/>
                <a:gd name="connsiteX8597" fmla="*/ 1366596 w 3135233"/>
                <a:gd name="connsiteY8597" fmla="*/ 1074409 h 2493266"/>
                <a:gd name="connsiteX8598" fmla="*/ 1370790 w 3135233"/>
                <a:gd name="connsiteY8598" fmla="*/ 1071152 h 2493266"/>
                <a:gd name="connsiteX8599" fmla="*/ 1374935 w 3135233"/>
                <a:gd name="connsiteY8599" fmla="*/ 1074409 h 2493266"/>
                <a:gd name="connsiteX8600" fmla="*/ 1383274 w 3135233"/>
                <a:gd name="connsiteY8600" fmla="*/ 1066317 h 2493266"/>
                <a:gd name="connsiteX8601" fmla="*/ 1379080 w 3135233"/>
                <a:gd name="connsiteY8601" fmla="*/ 1063110 h 2493266"/>
                <a:gd name="connsiteX8602" fmla="*/ 1385346 w 3135233"/>
                <a:gd name="connsiteY8602" fmla="*/ 1058176 h 2493266"/>
                <a:gd name="connsiteX8603" fmla="*/ 1377007 w 3135233"/>
                <a:gd name="connsiteY8603" fmla="*/ 1058176 h 2493266"/>
                <a:gd name="connsiteX8604" fmla="*/ 1377007 w 3135233"/>
                <a:gd name="connsiteY8604" fmla="*/ 1056547 h 2493266"/>
                <a:gd name="connsiteX8605" fmla="*/ 1370790 w 3135233"/>
                <a:gd name="connsiteY8605" fmla="*/ 1056547 h 2493266"/>
                <a:gd name="connsiteX8606" fmla="*/ 1355988 w 3135233"/>
                <a:gd name="connsiteY8606" fmla="*/ 1061481 h 2493266"/>
                <a:gd name="connsiteX8607" fmla="*/ 1351844 w 3135233"/>
                <a:gd name="connsiteY8607" fmla="*/ 1059853 h 2493266"/>
                <a:gd name="connsiteX8608" fmla="*/ 1349722 w 3135233"/>
                <a:gd name="connsiteY8608" fmla="*/ 1064787 h 2493266"/>
                <a:gd name="connsiteX8609" fmla="*/ 1343505 w 3135233"/>
                <a:gd name="connsiteY8609" fmla="*/ 1064787 h 2493266"/>
                <a:gd name="connsiteX8610" fmla="*/ 1343505 w 3135233"/>
                <a:gd name="connsiteY8610" fmla="*/ 1072879 h 2493266"/>
                <a:gd name="connsiteX8611" fmla="*/ 1337239 w 3135233"/>
                <a:gd name="connsiteY8611" fmla="*/ 1066415 h 2493266"/>
                <a:gd name="connsiteX8612" fmla="*/ 1337239 w 3135233"/>
                <a:gd name="connsiteY8612" fmla="*/ 1061481 h 2493266"/>
                <a:gd name="connsiteX8613" fmla="*/ 1333094 w 3135233"/>
                <a:gd name="connsiteY8613" fmla="*/ 1063110 h 2493266"/>
                <a:gd name="connsiteX8614" fmla="*/ 1330973 w 3135233"/>
                <a:gd name="connsiteY8614" fmla="*/ 1069573 h 2493266"/>
                <a:gd name="connsiteX8615" fmla="*/ 1326828 w 3135233"/>
                <a:gd name="connsiteY8615" fmla="*/ 1071152 h 2493266"/>
                <a:gd name="connsiteX8616" fmla="*/ 1320562 w 3135233"/>
                <a:gd name="connsiteY8616" fmla="*/ 1066218 h 2493266"/>
                <a:gd name="connsiteX8617" fmla="*/ 1314542 w 3135233"/>
                <a:gd name="connsiteY8617" fmla="*/ 1066218 h 2493266"/>
                <a:gd name="connsiteX8618" fmla="*/ 1314542 w 3135233"/>
                <a:gd name="connsiteY8618" fmla="*/ 1064590 h 2493266"/>
                <a:gd name="connsiteX8619" fmla="*/ 1308276 w 3135233"/>
                <a:gd name="connsiteY8619" fmla="*/ 1064590 h 2493266"/>
                <a:gd name="connsiteX8620" fmla="*/ 1308276 w 3135233"/>
                <a:gd name="connsiteY8620" fmla="*/ 1069524 h 2493266"/>
                <a:gd name="connsiteX8621" fmla="*/ 1312470 w 3135233"/>
                <a:gd name="connsiteY8621" fmla="*/ 1072731 h 2493266"/>
                <a:gd name="connsiteX8622" fmla="*/ 1312470 w 3135233"/>
                <a:gd name="connsiteY8622" fmla="*/ 1075938 h 2493266"/>
                <a:gd name="connsiteX8623" fmla="*/ 1306204 w 3135233"/>
                <a:gd name="connsiteY8623" fmla="*/ 1079195 h 2493266"/>
                <a:gd name="connsiteX8624" fmla="*/ 1304132 w 3135233"/>
                <a:gd name="connsiteY8624" fmla="*/ 1075938 h 2493266"/>
                <a:gd name="connsiteX8625" fmla="*/ 1293721 w 3135233"/>
                <a:gd name="connsiteY8625" fmla="*/ 1074359 h 2493266"/>
                <a:gd name="connsiteX8626" fmla="*/ 1293721 w 3135233"/>
                <a:gd name="connsiteY8626" fmla="*/ 1071103 h 2493266"/>
                <a:gd name="connsiteX8627" fmla="*/ 1297865 w 3135233"/>
                <a:gd name="connsiteY8627" fmla="*/ 1067896 h 2493266"/>
                <a:gd name="connsiteX8628" fmla="*/ 1299938 w 3135233"/>
                <a:gd name="connsiteY8628" fmla="*/ 1062962 h 2493266"/>
                <a:gd name="connsiteX8629" fmla="*/ 1295793 w 3135233"/>
                <a:gd name="connsiteY8629" fmla="*/ 1062962 h 2493266"/>
                <a:gd name="connsiteX8630" fmla="*/ 1291599 w 3135233"/>
                <a:gd name="connsiteY8630" fmla="*/ 1064540 h 2493266"/>
                <a:gd name="connsiteX8631" fmla="*/ 1287455 w 3135233"/>
                <a:gd name="connsiteY8631" fmla="*/ 1061333 h 2493266"/>
                <a:gd name="connsiteX8632" fmla="*/ 1289527 w 3135233"/>
                <a:gd name="connsiteY8632" fmla="*/ 1056399 h 2493266"/>
                <a:gd name="connsiteX8633" fmla="*/ 1295793 w 3135233"/>
                <a:gd name="connsiteY8633" fmla="*/ 1053192 h 2493266"/>
                <a:gd name="connsiteX8634" fmla="*/ 1306204 w 3135233"/>
                <a:gd name="connsiteY8634" fmla="*/ 1041893 h 2493266"/>
                <a:gd name="connsiteX8635" fmla="*/ 1312470 w 3135233"/>
                <a:gd name="connsiteY8635" fmla="*/ 1041893 h 2493266"/>
                <a:gd name="connsiteX8636" fmla="*/ 1318687 w 3135233"/>
                <a:gd name="connsiteY8636" fmla="*/ 1045100 h 2493266"/>
                <a:gd name="connsiteX8637" fmla="*/ 1345775 w 3135233"/>
                <a:gd name="connsiteY8637" fmla="*/ 1043472 h 2493266"/>
                <a:gd name="connsiteX8638" fmla="*/ 1364524 w 3135233"/>
                <a:gd name="connsiteY8638" fmla="*/ 1038538 h 2493266"/>
                <a:gd name="connsiteX8639" fmla="*/ 1368669 w 3135233"/>
                <a:gd name="connsiteY8639" fmla="*/ 1040166 h 2493266"/>
                <a:gd name="connsiteX8640" fmla="*/ 1379080 w 3135233"/>
                <a:gd name="connsiteY8640" fmla="*/ 1036910 h 2493266"/>
                <a:gd name="connsiteX8641" fmla="*/ 1381201 w 3135233"/>
                <a:gd name="connsiteY8641" fmla="*/ 1041844 h 2493266"/>
                <a:gd name="connsiteX8642" fmla="*/ 1385346 w 3135233"/>
                <a:gd name="connsiteY8642" fmla="*/ 1045051 h 2493266"/>
                <a:gd name="connsiteX8643" fmla="*/ 1389540 w 3135233"/>
                <a:gd name="connsiteY8643" fmla="*/ 1045051 h 2493266"/>
                <a:gd name="connsiteX8644" fmla="*/ 1391612 w 3135233"/>
                <a:gd name="connsiteY8644" fmla="*/ 1049985 h 2493266"/>
                <a:gd name="connsiteX8645" fmla="*/ 1389540 w 3135233"/>
                <a:gd name="connsiteY8645" fmla="*/ 1062912 h 2493266"/>
                <a:gd name="connsiteX8646" fmla="*/ 1389540 w 3135233"/>
                <a:gd name="connsiteY8646" fmla="*/ 1066119 h 2493266"/>
                <a:gd name="connsiteX8647" fmla="*/ 1391612 w 3135233"/>
                <a:gd name="connsiteY8647" fmla="*/ 1067748 h 2493266"/>
                <a:gd name="connsiteX8648" fmla="*/ 1391612 w 3135233"/>
                <a:gd name="connsiteY8648" fmla="*/ 1070955 h 2493266"/>
                <a:gd name="connsiteX8649" fmla="*/ 1385346 w 3135233"/>
                <a:gd name="connsiteY8649" fmla="*/ 1074211 h 2493266"/>
                <a:gd name="connsiteX8650" fmla="*/ 1385346 w 3135233"/>
                <a:gd name="connsiteY8650" fmla="*/ 1075790 h 2493266"/>
                <a:gd name="connsiteX8651" fmla="*/ 1389540 w 3135233"/>
                <a:gd name="connsiteY8651" fmla="*/ 1077418 h 2493266"/>
                <a:gd name="connsiteX8652" fmla="*/ 1389540 w 3135233"/>
                <a:gd name="connsiteY8652" fmla="*/ 1090346 h 2493266"/>
                <a:gd name="connsiteX8653" fmla="*/ 1395756 w 3135233"/>
                <a:gd name="connsiteY8653" fmla="*/ 1090346 h 2493266"/>
                <a:gd name="connsiteX8654" fmla="*/ 1399951 w 3135233"/>
                <a:gd name="connsiteY8654" fmla="*/ 1091924 h 2493266"/>
                <a:gd name="connsiteX8655" fmla="*/ 1399951 w 3135233"/>
                <a:gd name="connsiteY8655" fmla="*/ 1095181 h 2493266"/>
                <a:gd name="connsiteX8656" fmla="*/ 1393684 w 3135233"/>
                <a:gd name="connsiteY8656" fmla="*/ 1098388 h 2493266"/>
                <a:gd name="connsiteX8657" fmla="*/ 1393684 w 3135233"/>
                <a:gd name="connsiteY8657" fmla="*/ 1103322 h 2493266"/>
                <a:gd name="connsiteX8658" fmla="*/ 1391612 w 3135233"/>
                <a:gd name="connsiteY8658" fmla="*/ 1106578 h 2493266"/>
                <a:gd name="connsiteX8659" fmla="*/ 1397829 w 3135233"/>
                <a:gd name="connsiteY8659" fmla="*/ 1106578 h 2493266"/>
                <a:gd name="connsiteX8660" fmla="*/ 1404095 w 3135233"/>
                <a:gd name="connsiteY8660" fmla="*/ 1109786 h 2493266"/>
                <a:gd name="connsiteX8661" fmla="*/ 1406168 w 3135233"/>
                <a:gd name="connsiteY8661" fmla="*/ 1111414 h 2493266"/>
                <a:gd name="connsiteX8662" fmla="*/ 1408240 w 3135233"/>
                <a:gd name="connsiteY8662" fmla="*/ 1111414 h 2493266"/>
                <a:gd name="connsiteX8663" fmla="*/ 1414506 w 3135233"/>
                <a:gd name="connsiteY8663" fmla="*/ 1116348 h 2493266"/>
                <a:gd name="connsiteX8664" fmla="*/ 1420772 w 3135233"/>
                <a:gd name="connsiteY8664" fmla="*/ 1116348 h 2493266"/>
                <a:gd name="connsiteX8665" fmla="*/ 1426989 w 3135233"/>
                <a:gd name="connsiteY8665" fmla="*/ 1113141 h 2493266"/>
                <a:gd name="connsiteX8666" fmla="*/ 1429111 w 3135233"/>
                <a:gd name="connsiteY8666" fmla="*/ 1114720 h 2493266"/>
                <a:gd name="connsiteX8667" fmla="*/ 1429111 w 3135233"/>
                <a:gd name="connsiteY8667" fmla="*/ 1117976 h 2493266"/>
                <a:gd name="connsiteX8668" fmla="*/ 1431183 w 3135233"/>
                <a:gd name="connsiteY8668" fmla="*/ 1119555 h 2493266"/>
                <a:gd name="connsiteX8669" fmla="*/ 1435328 w 3135233"/>
                <a:gd name="connsiteY8669" fmla="*/ 1119555 h 2493266"/>
                <a:gd name="connsiteX8670" fmla="*/ 1437400 w 3135233"/>
                <a:gd name="connsiteY8670" fmla="*/ 1122811 h 2493266"/>
                <a:gd name="connsiteX8671" fmla="*/ 1437400 w 3135233"/>
                <a:gd name="connsiteY8671" fmla="*/ 1129867 h 2493266"/>
                <a:gd name="connsiteX8672" fmla="*/ 1439522 w 3135233"/>
                <a:gd name="connsiteY8672" fmla="*/ 1131446 h 2493266"/>
                <a:gd name="connsiteX8673" fmla="*/ 1441594 w 3135233"/>
                <a:gd name="connsiteY8673" fmla="*/ 1134703 h 2493266"/>
                <a:gd name="connsiteX8674" fmla="*/ 1449932 w 3135233"/>
                <a:gd name="connsiteY8674" fmla="*/ 1142745 h 2493266"/>
                <a:gd name="connsiteX8675" fmla="*/ 1449932 w 3135233"/>
                <a:gd name="connsiteY8675" fmla="*/ 1147679 h 2493266"/>
                <a:gd name="connsiteX8676" fmla="*/ 1458271 w 3135233"/>
                <a:gd name="connsiteY8676" fmla="*/ 1142745 h 2493266"/>
                <a:gd name="connsiteX8677" fmla="*/ 1460343 w 3135233"/>
                <a:gd name="connsiteY8677" fmla="*/ 1144373 h 2493266"/>
                <a:gd name="connsiteX8678" fmla="*/ 1462415 w 3135233"/>
                <a:gd name="connsiteY8678" fmla="*/ 1149307 h 2493266"/>
                <a:gd name="connsiteX8679" fmla="*/ 1464488 w 3135233"/>
                <a:gd name="connsiteY8679" fmla="*/ 1150935 h 2493266"/>
                <a:gd name="connsiteX8680" fmla="*/ 1470754 w 3135233"/>
                <a:gd name="connsiteY8680" fmla="*/ 1155869 h 2493266"/>
                <a:gd name="connsiteX8681" fmla="*/ 1479092 w 3135233"/>
                <a:gd name="connsiteY8681" fmla="*/ 1152613 h 2493266"/>
                <a:gd name="connsiteX8682" fmla="*/ 1491576 w 3135233"/>
                <a:gd name="connsiteY8682" fmla="*/ 1152613 h 2493266"/>
                <a:gd name="connsiteX8683" fmla="*/ 1495769 w 3135233"/>
                <a:gd name="connsiteY8683" fmla="*/ 1147679 h 2493266"/>
                <a:gd name="connsiteX8684" fmla="*/ 1504059 w 3135233"/>
                <a:gd name="connsiteY8684" fmla="*/ 1142745 h 2493266"/>
                <a:gd name="connsiteX8685" fmla="*/ 1505983 w 3135233"/>
                <a:gd name="connsiteY8685" fmla="*/ 1142745 h 2493266"/>
                <a:gd name="connsiteX8686" fmla="*/ 1508055 w 3135233"/>
                <a:gd name="connsiteY8686" fmla="*/ 1147679 h 2493266"/>
                <a:gd name="connsiteX8687" fmla="*/ 1522611 w 3135233"/>
                <a:gd name="connsiteY8687" fmla="*/ 1146100 h 2493266"/>
                <a:gd name="connsiteX8688" fmla="*/ 1535143 w 3135233"/>
                <a:gd name="connsiteY8688" fmla="*/ 1154143 h 2493266"/>
                <a:gd name="connsiteX8689" fmla="*/ 1541360 w 3135233"/>
                <a:gd name="connsiteY8689" fmla="*/ 1155771 h 2493266"/>
                <a:gd name="connsiteX8690" fmla="*/ 1545554 w 3135233"/>
                <a:gd name="connsiteY8690" fmla="*/ 1160705 h 2493266"/>
                <a:gd name="connsiteX8691" fmla="*/ 1549698 w 3135233"/>
                <a:gd name="connsiteY8691" fmla="*/ 1157448 h 2493266"/>
                <a:gd name="connsiteX8692" fmla="*/ 1562182 w 3135233"/>
                <a:gd name="connsiteY8692" fmla="*/ 1155869 h 2493266"/>
                <a:gd name="connsiteX8693" fmla="*/ 1566375 w 3135233"/>
                <a:gd name="connsiteY8693" fmla="*/ 1160803 h 2493266"/>
                <a:gd name="connsiteX8694" fmla="*/ 1570520 w 3135233"/>
                <a:gd name="connsiteY8694" fmla="*/ 1159175 h 2493266"/>
                <a:gd name="connsiteX8695" fmla="*/ 1568448 w 3135233"/>
                <a:gd name="connsiteY8695" fmla="*/ 1152712 h 2493266"/>
                <a:gd name="connsiteX8696" fmla="*/ 1564303 w 3135233"/>
                <a:gd name="connsiteY8696" fmla="*/ 1147778 h 2493266"/>
                <a:gd name="connsiteX8697" fmla="*/ 1562182 w 3135233"/>
                <a:gd name="connsiteY8697" fmla="*/ 1137910 h 2493266"/>
                <a:gd name="connsiteX8698" fmla="*/ 1564303 w 3135233"/>
                <a:gd name="connsiteY8698" fmla="*/ 1136281 h 2493266"/>
                <a:gd name="connsiteX8699" fmla="*/ 1568448 w 3135233"/>
                <a:gd name="connsiteY8699" fmla="*/ 1136281 h 2493266"/>
                <a:gd name="connsiteX8700" fmla="*/ 1572642 w 3135233"/>
                <a:gd name="connsiteY8700" fmla="*/ 1146149 h 2493266"/>
                <a:gd name="connsiteX8701" fmla="*/ 1574665 w 3135233"/>
                <a:gd name="connsiteY8701" fmla="*/ 1154192 h 2493266"/>
                <a:gd name="connsiteX8702" fmla="*/ 1583053 w 3135233"/>
                <a:gd name="connsiteY8702" fmla="*/ 1165491 h 2493266"/>
                <a:gd name="connsiteX8703" fmla="*/ 1589269 w 3135233"/>
                <a:gd name="connsiteY8703" fmla="*/ 1168698 h 2493266"/>
                <a:gd name="connsiteX8704" fmla="*/ 1591391 w 3135233"/>
                <a:gd name="connsiteY8704" fmla="*/ 1175162 h 2493266"/>
                <a:gd name="connsiteX8705" fmla="*/ 1591391 w 3135233"/>
                <a:gd name="connsiteY8705" fmla="*/ 1162284 h 2493266"/>
                <a:gd name="connsiteX8706" fmla="*/ 1587197 w 3135233"/>
                <a:gd name="connsiteY8706" fmla="*/ 1157350 h 2493266"/>
                <a:gd name="connsiteX8707" fmla="*/ 1578859 w 3135233"/>
                <a:gd name="connsiteY8707" fmla="*/ 1154143 h 2493266"/>
                <a:gd name="connsiteX8708" fmla="*/ 1576786 w 3135233"/>
                <a:gd name="connsiteY8708" fmla="*/ 1146100 h 2493266"/>
                <a:gd name="connsiteX8709" fmla="*/ 1572642 w 3135233"/>
                <a:gd name="connsiteY8709" fmla="*/ 1133173 h 2493266"/>
                <a:gd name="connsiteX8710" fmla="*/ 1574665 w 3135233"/>
                <a:gd name="connsiteY8710" fmla="*/ 1128239 h 2493266"/>
                <a:gd name="connsiteX8711" fmla="*/ 1576786 w 3135233"/>
                <a:gd name="connsiteY8711" fmla="*/ 1129867 h 2493266"/>
                <a:gd name="connsiteX8712" fmla="*/ 1576786 w 3135233"/>
                <a:gd name="connsiteY8712" fmla="*/ 1133074 h 2493266"/>
                <a:gd name="connsiteX8713" fmla="*/ 1580980 w 3135233"/>
                <a:gd name="connsiteY8713" fmla="*/ 1136281 h 2493266"/>
                <a:gd name="connsiteX8714" fmla="*/ 1583053 w 3135233"/>
                <a:gd name="connsiteY8714" fmla="*/ 1133074 h 2493266"/>
                <a:gd name="connsiteX8715" fmla="*/ 1583053 w 3135233"/>
                <a:gd name="connsiteY8715" fmla="*/ 1129867 h 2493266"/>
                <a:gd name="connsiteX8716" fmla="*/ 1580980 w 3135233"/>
                <a:gd name="connsiteY8716" fmla="*/ 1123404 h 2493266"/>
                <a:gd name="connsiteX8717" fmla="*/ 1583053 w 3135233"/>
                <a:gd name="connsiteY8717" fmla="*/ 1120147 h 2493266"/>
                <a:gd name="connsiteX8718" fmla="*/ 1580980 w 3135233"/>
                <a:gd name="connsiteY8718" fmla="*/ 1116940 h 2493266"/>
                <a:gd name="connsiteX8719" fmla="*/ 1583053 w 3135233"/>
                <a:gd name="connsiteY8719" fmla="*/ 1113733 h 2493266"/>
                <a:gd name="connsiteX8720" fmla="*/ 1587197 w 3135233"/>
                <a:gd name="connsiteY8720" fmla="*/ 1113733 h 2493266"/>
                <a:gd name="connsiteX8721" fmla="*/ 1591391 w 3135233"/>
                <a:gd name="connsiteY8721" fmla="*/ 1118667 h 2493266"/>
                <a:gd name="connsiteX8722" fmla="*/ 1591391 w 3135233"/>
                <a:gd name="connsiteY8722" fmla="*/ 1121874 h 2493266"/>
                <a:gd name="connsiteX8723" fmla="*/ 1595536 w 3135233"/>
                <a:gd name="connsiteY8723" fmla="*/ 1123502 h 2493266"/>
                <a:gd name="connsiteX8724" fmla="*/ 1595536 w 3135233"/>
                <a:gd name="connsiteY8724" fmla="*/ 1121874 h 2493266"/>
                <a:gd name="connsiteX8725" fmla="*/ 1603874 w 3135233"/>
                <a:gd name="connsiteY8725" fmla="*/ 1118667 h 2493266"/>
                <a:gd name="connsiteX8726" fmla="*/ 1605947 w 3135233"/>
                <a:gd name="connsiteY8726" fmla="*/ 1112203 h 2493266"/>
                <a:gd name="connsiteX8727" fmla="*/ 1612213 w 3135233"/>
                <a:gd name="connsiteY8727" fmla="*/ 1112203 h 2493266"/>
                <a:gd name="connsiteX8728" fmla="*/ 1616357 w 3135233"/>
                <a:gd name="connsiteY8728" fmla="*/ 1117137 h 2493266"/>
                <a:gd name="connsiteX8729" fmla="*/ 1612213 w 3135233"/>
                <a:gd name="connsiteY8729" fmla="*/ 1120344 h 2493266"/>
                <a:gd name="connsiteX8730" fmla="*/ 1612213 w 3135233"/>
                <a:gd name="connsiteY8730" fmla="*/ 1123601 h 2493266"/>
                <a:gd name="connsiteX8731" fmla="*/ 1614532 w 3135233"/>
                <a:gd name="connsiteY8731" fmla="*/ 1119999 h 2493266"/>
                <a:gd name="connsiteX8732" fmla="*/ 1618676 w 3135233"/>
                <a:gd name="connsiteY8732" fmla="*/ 1118420 h 2493266"/>
                <a:gd name="connsiteX8733" fmla="*/ 1624942 w 3135233"/>
                <a:gd name="connsiteY8733" fmla="*/ 1123354 h 2493266"/>
                <a:gd name="connsiteX8734" fmla="*/ 1622870 w 3135233"/>
                <a:gd name="connsiteY8734" fmla="*/ 1129818 h 2493266"/>
                <a:gd name="connsiteX8735" fmla="*/ 1620749 w 3135233"/>
                <a:gd name="connsiteY8735" fmla="*/ 1134752 h 2493266"/>
                <a:gd name="connsiteX8736" fmla="*/ 1624942 w 3135233"/>
                <a:gd name="connsiteY8736" fmla="*/ 1137959 h 2493266"/>
                <a:gd name="connsiteX8737" fmla="*/ 1631159 w 3135233"/>
                <a:gd name="connsiteY8737" fmla="*/ 1136331 h 2493266"/>
                <a:gd name="connsiteX8738" fmla="*/ 1635353 w 3135233"/>
                <a:gd name="connsiteY8738" fmla="*/ 1139587 h 2493266"/>
                <a:gd name="connsiteX8739" fmla="*/ 1633281 w 3135233"/>
                <a:gd name="connsiteY8739" fmla="*/ 1144521 h 2493266"/>
                <a:gd name="connsiteX8740" fmla="*/ 1624942 w 3135233"/>
                <a:gd name="connsiteY8740" fmla="*/ 1147728 h 2493266"/>
                <a:gd name="connsiteX8741" fmla="*/ 1624942 w 3135233"/>
                <a:gd name="connsiteY8741" fmla="*/ 1149357 h 2493266"/>
                <a:gd name="connsiteX8742" fmla="*/ 1629137 w 3135233"/>
                <a:gd name="connsiteY8742" fmla="*/ 1150985 h 2493266"/>
                <a:gd name="connsiteX8743" fmla="*/ 1637426 w 3135233"/>
                <a:gd name="connsiteY8743" fmla="*/ 1146051 h 2493266"/>
                <a:gd name="connsiteX8744" fmla="*/ 1641570 w 3135233"/>
                <a:gd name="connsiteY8744" fmla="*/ 1141117 h 2493266"/>
                <a:gd name="connsiteX8745" fmla="*/ 1649958 w 3135233"/>
                <a:gd name="connsiteY8745" fmla="*/ 1137910 h 2493266"/>
                <a:gd name="connsiteX8746" fmla="*/ 1658247 w 3135233"/>
                <a:gd name="connsiteY8746" fmla="*/ 1139538 h 2493266"/>
                <a:gd name="connsiteX8747" fmla="*/ 1658247 w 3135233"/>
                <a:gd name="connsiteY8747" fmla="*/ 1141117 h 2493266"/>
                <a:gd name="connsiteX8748" fmla="*/ 1651981 w 3135233"/>
                <a:gd name="connsiteY8748" fmla="*/ 1142745 h 2493266"/>
                <a:gd name="connsiteX8749" fmla="*/ 1647836 w 3135233"/>
                <a:gd name="connsiteY8749" fmla="*/ 1146001 h 2493266"/>
                <a:gd name="connsiteX8750" fmla="*/ 1647836 w 3135233"/>
                <a:gd name="connsiteY8750" fmla="*/ 1154044 h 2493266"/>
                <a:gd name="connsiteX8751" fmla="*/ 1637426 w 3135233"/>
                <a:gd name="connsiteY8751" fmla="*/ 1158978 h 2493266"/>
                <a:gd name="connsiteX8752" fmla="*/ 1635353 w 3135233"/>
                <a:gd name="connsiteY8752" fmla="*/ 1162234 h 2493266"/>
                <a:gd name="connsiteX8753" fmla="*/ 1624942 w 3135233"/>
                <a:gd name="connsiteY8753" fmla="*/ 1172102 h 2493266"/>
                <a:gd name="connsiteX8754" fmla="*/ 1624942 w 3135233"/>
                <a:gd name="connsiteY8754" fmla="*/ 1175310 h 2493266"/>
                <a:gd name="connsiteX8755" fmla="*/ 1622870 w 3135233"/>
                <a:gd name="connsiteY8755" fmla="*/ 1178566 h 2493266"/>
                <a:gd name="connsiteX8756" fmla="*/ 1620749 w 3135233"/>
                <a:gd name="connsiteY8756" fmla="*/ 1173632 h 2493266"/>
                <a:gd name="connsiteX8757" fmla="*/ 1616604 w 3135233"/>
                <a:gd name="connsiteY8757" fmla="*/ 1178566 h 2493266"/>
                <a:gd name="connsiteX8758" fmla="*/ 1614532 w 3135233"/>
                <a:gd name="connsiteY8758" fmla="*/ 1189865 h 2493266"/>
                <a:gd name="connsiteX8759" fmla="*/ 1614532 w 3135233"/>
                <a:gd name="connsiteY8759" fmla="*/ 1193072 h 2493266"/>
                <a:gd name="connsiteX8760" fmla="*/ 1620749 w 3135233"/>
                <a:gd name="connsiteY8760" fmla="*/ 1189865 h 2493266"/>
                <a:gd name="connsiteX8761" fmla="*/ 1624942 w 3135233"/>
                <a:gd name="connsiteY8761" fmla="*/ 1189865 h 2493266"/>
                <a:gd name="connsiteX8762" fmla="*/ 1624942 w 3135233"/>
                <a:gd name="connsiteY8762" fmla="*/ 1196279 h 2493266"/>
                <a:gd name="connsiteX8763" fmla="*/ 1616604 w 3135233"/>
                <a:gd name="connsiteY8763" fmla="*/ 1201213 h 2493266"/>
                <a:gd name="connsiteX8764" fmla="*/ 1616604 w 3135233"/>
                <a:gd name="connsiteY8764" fmla="*/ 1203878 h 2493266"/>
                <a:gd name="connsiteX8765" fmla="*/ 1624942 w 3135233"/>
                <a:gd name="connsiteY8765" fmla="*/ 1200621 h 2493266"/>
                <a:gd name="connsiteX8766" fmla="*/ 1631159 w 3135233"/>
                <a:gd name="connsiteY8766" fmla="*/ 1197414 h 2493266"/>
                <a:gd name="connsiteX8767" fmla="*/ 1635353 w 3135233"/>
                <a:gd name="connsiteY8767" fmla="*/ 1197414 h 2493266"/>
                <a:gd name="connsiteX8768" fmla="*/ 1631159 w 3135233"/>
                <a:gd name="connsiteY8768" fmla="*/ 1203878 h 2493266"/>
                <a:gd name="connsiteX8769" fmla="*/ 1627015 w 3135233"/>
                <a:gd name="connsiteY8769" fmla="*/ 1207085 h 2493266"/>
                <a:gd name="connsiteX8770" fmla="*/ 1631159 w 3135233"/>
                <a:gd name="connsiteY8770" fmla="*/ 1208713 h 2493266"/>
                <a:gd name="connsiteX8771" fmla="*/ 1635353 w 3135233"/>
                <a:gd name="connsiteY8771" fmla="*/ 1205506 h 2493266"/>
                <a:gd name="connsiteX8772" fmla="*/ 1633281 w 3135233"/>
                <a:gd name="connsiteY8772" fmla="*/ 1213548 h 2493266"/>
                <a:gd name="connsiteX8773" fmla="*/ 1633281 w 3135233"/>
                <a:gd name="connsiteY8773" fmla="*/ 1218482 h 2493266"/>
                <a:gd name="connsiteX8774" fmla="*/ 1627015 w 3135233"/>
                <a:gd name="connsiteY8774" fmla="*/ 1223416 h 2493266"/>
                <a:gd name="connsiteX8775" fmla="*/ 1618676 w 3135233"/>
                <a:gd name="connsiteY8775" fmla="*/ 1220209 h 2493266"/>
                <a:gd name="connsiteX8776" fmla="*/ 1616604 w 3135233"/>
                <a:gd name="connsiteY8776" fmla="*/ 1213746 h 2493266"/>
                <a:gd name="connsiteX8777" fmla="*/ 1608265 w 3135233"/>
                <a:gd name="connsiteY8777" fmla="*/ 1218680 h 2493266"/>
                <a:gd name="connsiteX8778" fmla="*/ 1604121 w 3135233"/>
                <a:gd name="connsiteY8778" fmla="*/ 1208812 h 2493266"/>
                <a:gd name="connsiteX8779" fmla="*/ 1602048 w 3135233"/>
                <a:gd name="connsiteY8779" fmla="*/ 1210440 h 2493266"/>
                <a:gd name="connsiteX8780" fmla="*/ 1599927 w 3135233"/>
                <a:gd name="connsiteY8780" fmla="*/ 1218482 h 2493266"/>
                <a:gd name="connsiteX8781" fmla="*/ 1604121 w 3135233"/>
                <a:gd name="connsiteY8781" fmla="*/ 1223416 h 2493266"/>
                <a:gd name="connsiteX8782" fmla="*/ 1606193 w 3135233"/>
                <a:gd name="connsiteY8782" fmla="*/ 1231508 h 2493266"/>
                <a:gd name="connsiteX8783" fmla="*/ 1604121 w 3135233"/>
                <a:gd name="connsiteY8783" fmla="*/ 1246014 h 2493266"/>
                <a:gd name="connsiteX8784" fmla="*/ 1610338 w 3135233"/>
                <a:gd name="connsiteY8784" fmla="*/ 1233087 h 2493266"/>
                <a:gd name="connsiteX8785" fmla="*/ 1608265 w 3135233"/>
                <a:gd name="connsiteY8785" fmla="*/ 1223219 h 2493266"/>
                <a:gd name="connsiteX8786" fmla="*/ 1612460 w 3135233"/>
                <a:gd name="connsiteY8786" fmla="*/ 1220012 h 2493266"/>
                <a:gd name="connsiteX8787" fmla="*/ 1616604 w 3135233"/>
                <a:gd name="connsiteY8787" fmla="*/ 1223219 h 2493266"/>
                <a:gd name="connsiteX8788" fmla="*/ 1624942 w 3135233"/>
                <a:gd name="connsiteY8788" fmla="*/ 1224847 h 2493266"/>
                <a:gd name="connsiteX8789" fmla="*/ 1631159 w 3135233"/>
                <a:gd name="connsiteY8789" fmla="*/ 1228054 h 2493266"/>
                <a:gd name="connsiteX8790" fmla="*/ 1635353 w 3135233"/>
                <a:gd name="connsiteY8790" fmla="*/ 1224847 h 2493266"/>
                <a:gd name="connsiteX8791" fmla="*/ 1637426 w 3135233"/>
                <a:gd name="connsiteY8791" fmla="*/ 1218384 h 2493266"/>
                <a:gd name="connsiteX8792" fmla="*/ 1645764 w 3135233"/>
                <a:gd name="connsiteY8792" fmla="*/ 1215177 h 2493266"/>
                <a:gd name="connsiteX8793" fmla="*/ 1651981 w 3135233"/>
                <a:gd name="connsiteY8793" fmla="*/ 1208713 h 2493266"/>
                <a:gd name="connsiteX8794" fmla="*/ 1660369 w 3135233"/>
                <a:gd name="connsiteY8794" fmla="*/ 1208713 h 2493266"/>
                <a:gd name="connsiteX8795" fmla="*/ 1664514 w 3135233"/>
                <a:gd name="connsiteY8795" fmla="*/ 1203779 h 2493266"/>
                <a:gd name="connsiteX8796" fmla="*/ 1658247 w 3135233"/>
                <a:gd name="connsiteY8796" fmla="*/ 1206986 h 2493266"/>
                <a:gd name="connsiteX8797" fmla="*/ 1651981 w 3135233"/>
                <a:gd name="connsiteY8797" fmla="*/ 1205407 h 2493266"/>
                <a:gd name="connsiteX8798" fmla="*/ 1647836 w 3135233"/>
                <a:gd name="connsiteY8798" fmla="*/ 1210341 h 2493266"/>
                <a:gd name="connsiteX8799" fmla="*/ 1643692 w 3135233"/>
                <a:gd name="connsiteY8799" fmla="*/ 1211920 h 2493266"/>
                <a:gd name="connsiteX8800" fmla="*/ 1641570 w 3135233"/>
                <a:gd name="connsiteY8800" fmla="*/ 1211920 h 2493266"/>
                <a:gd name="connsiteX8801" fmla="*/ 1643692 w 3135233"/>
                <a:gd name="connsiteY8801" fmla="*/ 1205506 h 2493266"/>
                <a:gd name="connsiteX8802" fmla="*/ 1647836 w 3135233"/>
                <a:gd name="connsiteY8802" fmla="*/ 1202249 h 2493266"/>
                <a:gd name="connsiteX8803" fmla="*/ 1645764 w 3135233"/>
                <a:gd name="connsiteY8803" fmla="*/ 1199042 h 2493266"/>
                <a:gd name="connsiteX8804" fmla="*/ 1645764 w 3135233"/>
                <a:gd name="connsiteY8804" fmla="*/ 1194108 h 2493266"/>
                <a:gd name="connsiteX8805" fmla="*/ 1649958 w 3135233"/>
                <a:gd name="connsiteY8805" fmla="*/ 1186016 h 2493266"/>
                <a:gd name="connsiteX8806" fmla="*/ 1649958 w 3135233"/>
                <a:gd name="connsiteY8806" fmla="*/ 1181082 h 2493266"/>
                <a:gd name="connsiteX8807" fmla="*/ 1645764 w 3135233"/>
                <a:gd name="connsiteY8807" fmla="*/ 1177875 h 2493266"/>
                <a:gd name="connsiteX8808" fmla="*/ 1647836 w 3135233"/>
                <a:gd name="connsiteY8808" fmla="*/ 1174619 h 2493266"/>
                <a:gd name="connsiteX8809" fmla="*/ 1654103 w 3135233"/>
                <a:gd name="connsiteY8809" fmla="*/ 1166576 h 2493266"/>
                <a:gd name="connsiteX8810" fmla="*/ 1658247 w 3135233"/>
                <a:gd name="connsiteY8810" fmla="*/ 1158484 h 2493266"/>
                <a:gd name="connsiteX8811" fmla="*/ 1664514 w 3135233"/>
                <a:gd name="connsiteY8811" fmla="*/ 1153550 h 2493266"/>
                <a:gd name="connsiteX8812" fmla="*/ 1666586 w 3135233"/>
                <a:gd name="connsiteY8812" fmla="*/ 1156758 h 2493266"/>
                <a:gd name="connsiteX8813" fmla="*/ 1664514 w 3135233"/>
                <a:gd name="connsiteY8813" fmla="*/ 1158386 h 2493266"/>
                <a:gd name="connsiteX8814" fmla="*/ 1668806 w 3135233"/>
                <a:gd name="connsiteY8814" fmla="*/ 1158386 h 2493266"/>
                <a:gd name="connsiteX8815" fmla="*/ 1673000 w 3135233"/>
                <a:gd name="connsiteY8815" fmla="*/ 1153452 h 2493266"/>
                <a:gd name="connsiteX8816" fmla="*/ 1675072 w 3135233"/>
                <a:gd name="connsiteY8816" fmla="*/ 1155080 h 2493266"/>
                <a:gd name="connsiteX8817" fmla="*/ 1677145 w 3135233"/>
                <a:gd name="connsiteY8817" fmla="*/ 1155080 h 2493266"/>
                <a:gd name="connsiteX8818" fmla="*/ 1679217 w 3135233"/>
                <a:gd name="connsiteY8818" fmla="*/ 1158287 h 2493266"/>
                <a:gd name="connsiteX8819" fmla="*/ 1685533 w 3135233"/>
                <a:gd name="connsiteY8819" fmla="*/ 1158287 h 2493266"/>
                <a:gd name="connsiteX8820" fmla="*/ 1689677 w 3135233"/>
                <a:gd name="connsiteY8820" fmla="*/ 1153353 h 2493266"/>
                <a:gd name="connsiteX8821" fmla="*/ 1706354 w 3135233"/>
                <a:gd name="connsiteY8821" fmla="*/ 1146890 h 2493266"/>
                <a:gd name="connsiteX8822" fmla="*/ 1710499 w 3135233"/>
                <a:gd name="connsiteY8822" fmla="*/ 1141956 h 2493266"/>
                <a:gd name="connsiteX8823" fmla="*/ 1710499 w 3135233"/>
                <a:gd name="connsiteY8823" fmla="*/ 1138748 h 2493266"/>
                <a:gd name="connsiteX8824" fmla="*/ 1714643 w 3135233"/>
                <a:gd name="connsiteY8824" fmla="*/ 1137120 h 2493266"/>
                <a:gd name="connsiteX8825" fmla="*/ 1720909 w 3135233"/>
                <a:gd name="connsiteY8825" fmla="*/ 1130657 h 2493266"/>
                <a:gd name="connsiteX8826" fmla="*/ 1731320 w 3135233"/>
                <a:gd name="connsiteY8826" fmla="*/ 1130657 h 2493266"/>
                <a:gd name="connsiteX8827" fmla="*/ 1735465 w 3135233"/>
                <a:gd name="connsiteY8827" fmla="*/ 1125723 h 2493266"/>
                <a:gd name="connsiteX8828" fmla="*/ 1735465 w 3135233"/>
                <a:gd name="connsiteY8828" fmla="*/ 1120788 h 2493266"/>
                <a:gd name="connsiteX8829" fmla="*/ 1737587 w 3135233"/>
                <a:gd name="connsiteY8829" fmla="*/ 1112746 h 2493266"/>
                <a:gd name="connsiteX8830" fmla="*/ 1741731 w 3135233"/>
                <a:gd name="connsiteY8830" fmla="*/ 1106282 h 2493266"/>
                <a:gd name="connsiteX8831" fmla="*/ 1743803 w 3135233"/>
                <a:gd name="connsiteY8831" fmla="*/ 1099819 h 2493266"/>
                <a:gd name="connsiteX8832" fmla="*/ 1741731 w 3135233"/>
                <a:gd name="connsiteY8832" fmla="*/ 1096612 h 2493266"/>
                <a:gd name="connsiteX8833" fmla="*/ 1737587 w 3135233"/>
                <a:gd name="connsiteY8833" fmla="*/ 1099819 h 2493266"/>
                <a:gd name="connsiteX8834" fmla="*/ 1731320 w 3135233"/>
                <a:gd name="connsiteY8834" fmla="*/ 1101447 h 2493266"/>
                <a:gd name="connsiteX8835" fmla="*/ 1733393 w 3135233"/>
                <a:gd name="connsiteY8835" fmla="*/ 1103026 h 2493266"/>
                <a:gd name="connsiteX8836" fmla="*/ 1729248 w 3135233"/>
                <a:gd name="connsiteY8836" fmla="*/ 1107960 h 2493266"/>
                <a:gd name="connsiteX8837" fmla="*/ 1722982 w 3135233"/>
                <a:gd name="connsiteY8837" fmla="*/ 1109588 h 2493266"/>
                <a:gd name="connsiteX8838" fmla="*/ 1718837 w 3135233"/>
                <a:gd name="connsiteY8838" fmla="*/ 1107960 h 2493266"/>
                <a:gd name="connsiteX8839" fmla="*/ 1714643 w 3135233"/>
                <a:gd name="connsiteY8839" fmla="*/ 1107960 h 2493266"/>
                <a:gd name="connsiteX8840" fmla="*/ 1712571 w 3135233"/>
                <a:gd name="connsiteY8840" fmla="*/ 1104753 h 2493266"/>
                <a:gd name="connsiteX8841" fmla="*/ 1716765 w 3135233"/>
                <a:gd name="connsiteY8841" fmla="*/ 1096710 h 2493266"/>
                <a:gd name="connsiteX8842" fmla="*/ 1720909 w 3135233"/>
                <a:gd name="connsiteY8842" fmla="*/ 1096710 h 2493266"/>
                <a:gd name="connsiteX8843" fmla="*/ 1725054 w 3135233"/>
                <a:gd name="connsiteY8843" fmla="*/ 1091776 h 2493266"/>
                <a:gd name="connsiteX8844" fmla="*/ 1735465 w 3135233"/>
                <a:gd name="connsiteY8844" fmla="*/ 1088569 h 2493266"/>
                <a:gd name="connsiteX8845" fmla="*/ 1735465 w 3135233"/>
                <a:gd name="connsiteY8845" fmla="*/ 1085362 h 2493266"/>
                <a:gd name="connsiteX8846" fmla="*/ 1731320 w 3135233"/>
                <a:gd name="connsiteY8846" fmla="*/ 1082106 h 2493266"/>
                <a:gd name="connsiteX8847" fmla="*/ 1737587 w 3135233"/>
                <a:gd name="connsiteY8847" fmla="*/ 1075642 h 2493266"/>
                <a:gd name="connsiteX8848" fmla="*/ 1745876 w 3135233"/>
                <a:gd name="connsiteY8848" fmla="*/ 1074063 h 2493266"/>
                <a:gd name="connsiteX8849" fmla="*/ 1754214 w 3135233"/>
                <a:gd name="connsiteY8849" fmla="*/ 1075642 h 2493266"/>
                <a:gd name="connsiteX8850" fmla="*/ 1747997 w 3135233"/>
                <a:gd name="connsiteY8850" fmla="*/ 1078899 h 2493266"/>
                <a:gd name="connsiteX8851" fmla="*/ 1747997 w 3135233"/>
                <a:gd name="connsiteY8851" fmla="*/ 1085362 h 2493266"/>
                <a:gd name="connsiteX8852" fmla="*/ 1750070 w 3135233"/>
                <a:gd name="connsiteY8852" fmla="*/ 1086941 h 2493266"/>
                <a:gd name="connsiteX8853" fmla="*/ 1756286 w 3135233"/>
                <a:gd name="connsiteY8853" fmla="*/ 1083734 h 2493266"/>
                <a:gd name="connsiteX8854" fmla="*/ 1762553 w 3135233"/>
                <a:gd name="connsiteY8854" fmla="*/ 1073126 h 2493266"/>
                <a:gd name="connsiteX8855" fmla="*/ 1762553 w 3135233"/>
                <a:gd name="connsiteY8855" fmla="*/ 1068192 h 2493266"/>
                <a:gd name="connsiteX8856" fmla="*/ 1756286 w 3135233"/>
                <a:gd name="connsiteY8856" fmla="*/ 1066563 h 2493266"/>
                <a:gd name="connsiteX8857" fmla="*/ 1750070 w 3135233"/>
                <a:gd name="connsiteY8857" fmla="*/ 1066563 h 2493266"/>
                <a:gd name="connsiteX8858" fmla="*/ 1745876 w 3135233"/>
                <a:gd name="connsiteY8858" fmla="*/ 1063356 h 2493266"/>
                <a:gd name="connsiteX8859" fmla="*/ 1735465 w 3135233"/>
                <a:gd name="connsiteY8859" fmla="*/ 1061728 h 2493266"/>
                <a:gd name="connsiteX8860" fmla="*/ 1731320 w 3135233"/>
                <a:gd name="connsiteY8860" fmla="*/ 1053686 h 2493266"/>
                <a:gd name="connsiteX8861" fmla="*/ 1733393 w 3135233"/>
                <a:gd name="connsiteY8861" fmla="*/ 1045594 h 2493266"/>
                <a:gd name="connsiteX8862" fmla="*/ 1727176 w 3135233"/>
                <a:gd name="connsiteY8862" fmla="*/ 1052057 h 2493266"/>
                <a:gd name="connsiteX8863" fmla="*/ 1722982 w 3135233"/>
                <a:gd name="connsiteY8863" fmla="*/ 1052057 h 2493266"/>
                <a:gd name="connsiteX8864" fmla="*/ 1720909 w 3135233"/>
                <a:gd name="connsiteY8864" fmla="*/ 1047123 h 2493266"/>
                <a:gd name="connsiteX8865" fmla="*/ 1714643 w 3135233"/>
                <a:gd name="connsiteY8865" fmla="*/ 1043867 h 2493266"/>
                <a:gd name="connsiteX8866" fmla="*/ 1712571 w 3135233"/>
                <a:gd name="connsiteY8866" fmla="*/ 1035824 h 2493266"/>
                <a:gd name="connsiteX8867" fmla="*/ 1704232 w 3135233"/>
                <a:gd name="connsiteY8867" fmla="*/ 1035824 h 2493266"/>
                <a:gd name="connsiteX8868" fmla="*/ 1702160 w 3135233"/>
                <a:gd name="connsiteY8868" fmla="*/ 1030890 h 2493266"/>
                <a:gd name="connsiteX8869" fmla="*/ 1700088 w 3135233"/>
                <a:gd name="connsiteY8869" fmla="*/ 1027634 h 2493266"/>
                <a:gd name="connsiteX8870" fmla="*/ 1704232 w 3135233"/>
                <a:gd name="connsiteY8870" fmla="*/ 1022700 h 2493266"/>
                <a:gd name="connsiteX8871" fmla="*/ 1702160 w 3135233"/>
                <a:gd name="connsiteY8871" fmla="*/ 1017766 h 2493266"/>
                <a:gd name="connsiteX8872" fmla="*/ 1700088 w 3135233"/>
                <a:gd name="connsiteY8872" fmla="*/ 1012832 h 2493266"/>
                <a:gd name="connsiteX8873" fmla="*/ 1702160 w 3135233"/>
                <a:gd name="connsiteY8873" fmla="*/ 996697 h 2493266"/>
                <a:gd name="connsiteX8874" fmla="*/ 1706354 w 3135233"/>
                <a:gd name="connsiteY8874" fmla="*/ 991763 h 2493266"/>
                <a:gd name="connsiteX8875" fmla="*/ 1718837 w 3135233"/>
                <a:gd name="connsiteY8875" fmla="*/ 981895 h 2493266"/>
                <a:gd name="connsiteX8876" fmla="*/ 1725054 w 3135233"/>
                <a:gd name="connsiteY8876" fmla="*/ 980267 h 2493266"/>
                <a:gd name="connsiteX8877" fmla="*/ 1731320 w 3135233"/>
                <a:gd name="connsiteY8877" fmla="*/ 980267 h 2493266"/>
                <a:gd name="connsiteX8878" fmla="*/ 1731320 w 3135233"/>
                <a:gd name="connsiteY8878" fmla="*/ 978639 h 2493266"/>
                <a:gd name="connsiteX8879" fmla="*/ 1737587 w 3135233"/>
                <a:gd name="connsiteY8879" fmla="*/ 973705 h 2493266"/>
                <a:gd name="connsiteX8880" fmla="*/ 1737587 w 3135233"/>
                <a:gd name="connsiteY8880" fmla="*/ 970498 h 2493266"/>
                <a:gd name="connsiteX8881" fmla="*/ 1733393 w 3135233"/>
                <a:gd name="connsiteY8881" fmla="*/ 970498 h 2493266"/>
                <a:gd name="connsiteX8882" fmla="*/ 1729248 w 3135233"/>
                <a:gd name="connsiteY8882" fmla="*/ 973705 h 2493266"/>
                <a:gd name="connsiteX8883" fmla="*/ 1725054 w 3135233"/>
                <a:gd name="connsiteY8883" fmla="*/ 972077 h 2493266"/>
                <a:gd name="connsiteX8884" fmla="*/ 1725054 w 3135233"/>
                <a:gd name="connsiteY8884" fmla="*/ 968869 h 2493266"/>
                <a:gd name="connsiteX8885" fmla="*/ 1722982 w 3135233"/>
                <a:gd name="connsiteY8885" fmla="*/ 962406 h 2493266"/>
                <a:gd name="connsiteX8886" fmla="*/ 1722982 w 3135233"/>
                <a:gd name="connsiteY8886" fmla="*/ 957176 h 2493266"/>
                <a:gd name="connsiteX8887" fmla="*/ 1731320 w 3135233"/>
                <a:gd name="connsiteY8887" fmla="*/ 947308 h 2493266"/>
                <a:gd name="connsiteX8888" fmla="*/ 1737587 w 3135233"/>
                <a:gd name="connsiteY8888" fmla="*/ 937440 h 2493266"/>
                <a:gd name="connsiteX8889" fmla="*/ 1741731 w 3135233"/>
                <a:gd name="connsiteY8889" fmla="*/ 935811 h 2493266"/>
                <a:gd name="connsiteX8890" fmla="*/ 1747997 w 3135233"/>
                <a:gd name="connsiteY8890" fmla="*/ 927769 h 2493266"/>
                <a:gd name="connsiteX8891" fmla="*/ 1752142 w 3135233"/>
                <a:gd name="connsiteY8891" fmla="*/ 927769 h 2493266"/>
                <a:gd name="connsiteX8892" fmla="*/ 1756286 w 3135233"/>
                <a:gd name="connsiteY8892" fmla="*/ 919677 h 2493266"/>
                <a:gd name="connsiteX8893" fmla="*/ 1766697 w 3135233"/>
                <a:gd name="connsiteY8893" fmla="*/ 916470 h 2493266"/>
                <a:gd name="connsiteX8894" fmla="*/ 1770891 w 3135233"/>
                <a:gd name="connsiteY8894" fmla="*/ 921404 h 2493266"/>
                <a:gd name="connsiteX8895" fmla="*/ 1768819 w 3135233"/>
                <a:gd name="connsiteY8895" fmla="*/ 927868 h 2493266"/>
                <a:gd name="connsiteX8896" fmla="*/ 1772963 w 3135233"/>
                <a:gd name="connsiteY8896" fmla="*/ 931075 h 2493266"/>
                <a:gd name="connsiteX8897" fmla="*/ 1770891 w 3135233"/>
                <a:gd name="connsiteY8897" fmla="*/ 934331 h 2493266"/>
                <a:gd name="connsiteX8898" fmla="*/ 1777108 w 3135233"/>
                <a:gd name="connsiteY8898" fmla="*/ 931075 h 2493266"/>
                <a:gd name="connsiteX8899" fmla="*/ 1779230 w 3135233"/>
                <a:gd name="connsiteY8899" fmla="*/ 927868 h 2493266"/>
                <a:gd name="connsiteX8900" fmla="*/ 1787519 w 3135233"/>
                <a:gd name="connsiteY8900" fmla="*/ 916569 h 2493266"/>
                <a:gd name="connsiteX8901" fmla="*/ 1787519 w 3135233"/>
                <a:gd name="connsiteY8901" fmla="*/ 914941 h 2493266"/>
                <a:gd name="connsiteX8902" fmla="*/ 1781302 w 3135233"/>
                <a:gd name="connsiteY8902" fmla="*/ 913312 h 2493266"/>
                <a:gd name="connsiteX8903" fmla="*/ 1775085 w 3135233"/>
                <a:gd name="connsiteY8903" fmla="*/ 911733 h 2493266"/>
                <a:gd name="connsiteX8904" fmla="*/ 1770891 w 3135233"/>
                <a:gd name="connsiteY8904" fmla="*/ 905270 h 2493266"/>
                <a:gd name="connsiteX8905" fmla="*/ 1777108 w 3135233"/>
                <a:gd name="connsiteY8905" fmla="*/ 900336 h 2493266"/>
                <a:gd name="connsiteX8906" fmla="*/ 1787223 w 3135233"/>
                <a:gd name="connsiteY8906" fmla="*/ 900336 h 2493266"/>
                <a:gd name="connsiteX8907" fmla="*/ 1789345 w 3135233"/>
                <a:gd name="connsiteY8907" fmla="*/ 897079 h 2493266"/>
                <a:gd name="connsiteX8908" fmla="*/ 1799755 w 3135233"/>
                <a:gd name="connsiteY8908" fmla="*/ 892145 h 2493266"/>
                <a:gd name="connsiteX8909" fmla="*/ 1797634 w 3135233"/>
                <a:gd name="connsiteY8909" fmla="*/ 887211 h 2493266"/>
                <a:gd name="connsiteX8910" fmla="*/ 1803949 w 3135233"/>
                <a:gd name="connsiteY8910" fmla="*/ 884004 h 2493266"/>
                <a:gd name="connsiteX8911" fmla="*/ 1812239 w 3135233"/>
                <a:gd name="connsiteY8911" fmla="*/ 887211 h 2493266"/>
                <a:gd name="connsiteX8912" fmla="*/ 1822649 w 3135233"/>
                <a:gd name="connsiteY8912" fmla="*/ 888839 h 2493266"/>
                <a:gd name="connsiteX8913" fmla="*/ 1824771 w 3135233"/>
                <a:gd name="connsiteY8913" fmla="*/ 895303 h 2493266"/>
                <a:gd name="connsiteX8914" fmla="*/ 1822649 w 3135233"/>
                <a:gd name="connsiteY8914" fmla="*/ 896882 h 2493266"/>
                <a:gd name="connsiteX8915" fmla="*/ 1826843 w 3135233"/>
                <a:gd name="connsiteY8915" fmla="*/ 898510 h 2493266"/>
                <a:gd name="connsiteX8916" fmla="*/ 1833060 w 3135233"/>
                <a:gd name="connsiteY8916" fmla="*/ 903444 h 2493266"/>
                <a:gd name="connsiteX8917" fmla="*/ 1839326 w 3135233"/>
                <a:gd name="connsiteY8917" fmla="*/ 906701 h 2493266"/>
                <a:gd name="connsiteX8918" fmla="*/ 1835182 w 3135233"/>
                <a:gd name="connsiteY8918" fmla="*/ 913115 h 2493266"/>
                <a:gd name="connsiteX8919" fmla="*/ 1833060 w 3135233"/>
                <a:gd name="connsiteY8919" fmla="*/ 914743 h 2493266"/>
                <a:gd name="connsiteX8920" fmla="*/ 1833060 w 3135233"/>
                <a:gd name="connsiteY8920" fmla="*/ 924611 h 2493266"/>
                <a:gd name="connsiteX8921" fmla="*/ 1839326 w 3135233"/>
                <a:gd name="connsiteY8921" fmla="*/ 929545 h 2493266"/>
                <a:gd name="connsiteX8922" fmla="*/ 1841448 w 3135233"/>
                <a:gd name="connsiteY8922" fmla="*/ 934479 h 2493266"/>
                <a:gd name="connsiteX8923" fmla="*/ 1839326 w 3135233"/>
                <a:gd name="connsiteY8923" fmla="*/ 945729 h 2493266"/>
                <a:gd name="connsiteX8924" fmla="*/ 1843471 w 3135233"/>
                <a:gd name="connsiteY8924" fmla="*/ 947357 h 2493266"/>
                <a:gd name="connsiteX8925" fmla="*/ 1843471 w 3135233"/>
                <a:gd name="connsiteY8925" fmla="*/ 950614 h 2493266"/>
                <a:gd name="connsiteX8926" fmla="*/ 1839326 w 3135233"/>
                <a:gd name="connsiteY8926" fmla="*/ 957028 h 2493266"/>
                <a:gd name="connsiteX8927" fmla="*/ 1839326 w 3135233"/>
                <a:gd name="connsiteY8927" fmla="*/ 961962 h 2493266"/>
                <a:gd name="connsiteX8928" fmla="*/ 1833060 w 3135233"/>
                <a:gd name="connsiteY8928" fmla="*/ 968425 h 2493266"/>
                <a:gd name="connsiteX8929" fmla="*/ 1833060 w 3135233"/>
                <a:gd name="connsiteY8929" fmla="*/ 976517 h 2493266"/>
                <a:gd name="connsiteX8930" fmla="*/ 1828916 w 3135233"/>
                <a:gd name="connsiteY8930" fmla="*/ 978146 h 2493266"/>
                <a:gd name="connsiteX8931" fmla="*/ 1833060 w 3135233"/>
                <a:gd name="connsiteY8931" fmla="*/ 984560 h 2493266"/>
                <a:gd name="connsiteX8932" fmla="*/ 1828916 w 3135233"/>
                <a:gd name="connsiteY8932" fmla="*/ 989494 h 2493266"/>
                <a:gd name="connsiteX8933" fmla="*/ 1837254 w 3135233"/>
                <a:gd name="connsiteY8933" fmla="*/ 997586 h 2493266"/>
                <a:gd name="connsiteX8934" fmla="*/ 1837254 w 3135233"/>
                <a:gd name="connsiteY8934" fmla="*/ 1002520 h 2493266"/>
                <a:gd name="connsiteX8935" fmla="*/ 1835182 w 3135233"/>
                <a:gd name="connsiteY8935" fmla="*/ 1004148 h 2493266"/>
                <a:gd name="connsiteX8936" fmla="*/ 1837254 w 3135233"/>
                <a:gd name="connsiteY8936" fmla="*/ 1010611 h 2493266"/>
                <a:gd name="connsiteX8937" fmla="*/ 1835182 w 3135233"/>
                <a:gd name="connsiteY8937" fmla="*/ 1015545 h 2493266"/>
                <a:gd name="connsiteX8938" fmla="*/ 1835182 w 3135233"/>
                <a:gd name="connsiteY8938" fmla="*/ 1020480 h 2493266"/>
                <a:gd name="connsiteX8939" fmla="*/ 1839326 w 3135233"/>
                <a:gd name="connsiteY8939" fmla="*/ 1022108 h 2493266"/>
                <a:gd name="connsiteX8940" fmla="*/ 1843471 w 3135233"/>
                <a:gd name="connsiteY8940" fmla="*/ 1027042 h 2493266"/>
                <a:gd name="connsiteX8941" fmla="*/ 1843471 w 3135233"/>
                <a:gd name="connsiteY8941" fmla="*/ 1031976 h 2493266"/>
                <a:gd name="connsiteX8942" fmla="*/ 1839326 w 3135233"/>
                <a:gd name="connsiteY8942" fmla="*/ 1036910 h 2493266"/>
                <a:gd name="connsiteX8943" fmla="*/ 1833060 w 3135233"/>
                <a:gd name="connsiteY8943" fmla="*/ 1033653 h 2493266"/>
                <a:gd name="connsiteX8944" fmla="*/ 1826843 w 3135233"/>
                <a:gd name="connsiteY8944" fmla="*/ 1035282 h 2493266"/>
                <a:gd name="connsiteX8945" fmla="*/ 1824771 w 3135233"/>
                <a:gd name="connsiteY8945" fmla="*/ 1028818 h 2493266"/>
                <a:gd name="connsiteX8946" fmla="*/ 1826843 w 3135233"/>
                <a:gd name="connsiteY8946" fmla="*/ 1022404 h 2493266"/>
                <a:gd name="connsiteX8947" fmla="*/ 1818505 w 3135233"/>
                <a:gd name="connsiteY8947" fmla="*/ 1025611 h 2493266"/>
                <a:gd name="connsiteX8948" fmla="*/ 1814360 w 3135233"/>
                <a:gd name="connsiteY8948" fmla="*/ 1032074 h 2493266"/>
                <a:gd name="connsiteX8949" fmla="*/ 1808094 w 3135233"/>
                <a:gd name="connsiteY8949" fmla="*/ 1035282 h 2493266"/>
                <a:gd name="connsiteX8950" fmla="*/ 1808094 w 3135233"/>
                <a:gd name="connsiteY8950" fmla="*/ 1036120 h 2493266"/>
                <a:gd name="connsiteX8951" fmla="*/ 1818505 w 3135233"/>
                <a:gd name="connsiteY8951" fmla="*/ 1034492 h 2493266"/>
                <a:gd name="connsiteX8952" fmla="*/ 1822649 w 3135233"/>
                <a:gd name="connsiteY8952" fmla="*/ 1039426 h 2493266"/>
                <a:gd name="connsiteX8953" fmla="*/ 1820577 w 3135233"/>
                <a:gd name="connsiteY8953" fmla="*/ 1042683 h 2493266"/>
                <a:gd name="connsiteX8954" fmla="*/ 1801828 w 3135233"/>
                <a:gd name="connsiteY8954" fmla="*/ 1053982 h 2493266"/>
                <a:gd name="connsiteX8955" fmla="*/ 1797634 w 3135233"/>
                <a:gd name="connsiteY8955" fmla="*/ 1053982 h 2493266"/>
                <a:gd name="connsiteX8956" fmla="*/ 1795611 w 3135233"/>
                <a:gd name="connsiteY8956" fmla="*/ 1057189 h 2493266"/>
                <a:gd name="connsiteX8957" fmla="*/ 1791417 w 3135233"/>
                <a:gd name="connsiteY8957" fmla="*/ 1058817 h 2493266"/>
                <a:gd name="connsiteX8958" fmla="*/ 1789345 w 3135233"/>
                <a:gd name="connsiteY8958" fmla="*/ 1065231 h 2493266"/>
                <a:gd name="connsiteX8959" fmla="*/ 1793539 w 3135233"/>
                <a:gd name="connsiteY8959" fmla="*/ 1068488 h 2493266"/>
                <a:gd name="connsiteX8960" fmla="*/ 1799755 w 3135233"/>
                <a:gd name="connsiteY8960" fmla="*/ 1066859 h 2493266"/>
                <a:gd name="connsiteX8961" fmla="*/ 1803949 w 3135233"/>
                <a:gd name="connsiteY8961" fmla="*/ 1068488 h 2493266"/>
                <a:gd name="connsiteX8962" fmla="*/ 1806022 w 3135233"/>
                <a:gd name="connsiteY8962" fmla="*/ 1074951 h 2493266"/>
                <a:gd name="connsiteX8963" fmla="*/ 1812239 w 3135233"/>
                <a:gd name="connsiteY8963" fmla="*/ 1079885 h 2493266"/>
                <a:gd name="connsiteX8964" fmla="*/ 1820577 w 3135233"/>
                <a:gd name="connsiteY8964" fmla="*/ 1076629 h 2493266"/>
                <a:gd name="connsiteX8965" fmla="*/ 1822649 w 3135233"/>
                <a:gd name="connsiteY8965" fmla="*/ 1073422 h 2493266"/>
                <a:gd name="connsiteX8966" fmla="*/ 1828916 w 3135233"/>
                <a:gd name="connsiteY8966" fmla="*/ 1071793 h 2493266"/>
                <a:gd name="connsiteX8967" fmla="*/ 1830988 w 3135233"/>
                <a:gd name="connsiteY8967" fmla="*/ 1073422 h 2493266"/>
                <a:gd name="connsiteX8968" fmla="*/ 1826843 w 3135233"/>
                <a:gd name="connsiteY8968" fmla="*/ 1076629 h 2493266"/>
                <a:gd name="connsiteX8969" fmla="*/ 1826843 w 3135233"/>
                <a:gd name="connsiteY8969" fmla="*/ 1078257 h 2493266"/>
                <a:gd name="connsiteX8970" fmla="*/ 1833060 w 3135233"/>
                <a:gd name="connsiteY8970" fmla="*/ 1079885 h 2493266"/>
                <a:gd name="connsiteX8971" fmla="*/ 1837254 w 3135233"/>
                <a:gd name="connsiteY8971" fmla="*/ 1084819 h 2493266"/>
                <a:gd name="connsiteX8972" fmla="*/ 1843471 w 3135233"/>
                <a:gd name="connsiteY8972" fmla="*/ 1079885 h 2493266"/>
                <a:gd name="connsiteX8973" fmla="*/ 1849737 w 3135233"/>
                <a:gd name="connsiteY8973" fmla="*/ 1083092 h 2493266"/>
                <a:gd name="connsiteX8974" fmla="*/ 1843471 w 3135233"/>
                <a:gd name="connsiteY8974" fmla="*/ 1086349 h 2493266"/>
                <a:gd name="connsiteX8975" fmla="*/ 1837254 w 3135233"/>
                <a:gd name="connsiteY8975" fmla="*/ 1087928 h 2493266"/>
                <a:gd name="connsiteX8976" fmla="*/ 1830988 w 3135233"/>
                <a:gd name="connsiteY8976" fmla="*/ 1094391 h 2493266"/>
                <a:gd name="connsiteX8977" fmla="*/ 1826843 w 3135233"/>
                <a:gd name="connsiteY8977" fmla="*/ 1096020 h 2493266"/>
                <a:gd name="connsiteX8978" fmla="*/ 1826843 w 3135233"/>
                <a:gd name="connsiteY8978" fmla="*/ 1089556 h 2493266"/>
                <a:gd name="connsiteX8979" fmla="*/ 1822649 w 3135233"/>
                <a:gd name="connsiteY8979" fmla="*/ 1089556 h 2493266"/>
                <a:gd name="connsiteX8980" fmla="*/ 1820577 w 3135233"/>
                <a:gd name="connsiteY8980" fmla="*/ 1087928 h 2493266"/>
                <a:gd name="connsiteX8981" fmla="*/ 1820577 w 3135233"/>
                <a:gd name="connsiteY8981" fmla="*/ 1091184 h 2493266"/>
                <a:gd name="connsiteX8982" fmla="*/ 1824771 w 3135233"/>
                <a:gd name="connsiteY8982" fmla="*/ 1096118 h 2493266"/>
                <a:gd name="connsiteX8983" fmla="*/ 1824771 w 3135233"/>
                <a:gd name="connsiteY8983" fmla="*/ 1101052 h 2493266"/>
                <a:gd name="connsiteX8984" fmla="*/ 1830988 w 3135233"/>
                <a:gd name="connsiteY8984" fmla="*/ 1110920 h 2493266"/>
                <a:gd name="connsiteX8985" fmla="*/ 1828916 w 3135233"/>
                <a:gd name="connsiteY8985" fmla="*/ 1117384 h 2493266"/>
                <a:gd name="connsiteX8986" fmla="*/ 1830988 w 3135233"/>
                <a:gd name="connsiteY8986" fmla="*/ 1119012 h 2493266"/>
                <a:gd name="connsiteX8987" fmla="*/ 1828916 w 3135233"/>
                <a:gd name="connsiteY8987" fmla="*/ 1125427 h 2493266"/>
                <a:gd name="connsiteX8988" fmla="*/ 1824771 w 3135233"/>
                <a:gd name="connsiteY8988" fmla="*/ 1128683 h 2493266"/>
                <a:gd name="connsiteX8989" fmla="*/ 1824771 w 3135233"/>
                <a:gd name="connsiteY8989" fmla="*/ 1133617 h 2493266"/>
                <a:gd name="connsiteX8990" fmla="*/ 1822649 w 3135233"/>
                <a:gd name="connsiteY8990" fmla="*/ 1140081 h 2493266"/>
                <a:gd name="connsiteX8991" fmla="*/ 1816432 w 3135233"/>
                <a:gd name="connsiteY8991" fmla="*/ 1148123 h 2493266"/>
                <a:gd name="connsiteX8992" fmla="*/ 1818505 w 3135233"/>
                <a:gd name="connsiteY8992" fmla="*/ 1151379 h 2493266"/>
                <a:gd name="connsiteX8993" fmla="*/ 1818505 w 3135233"/>
                <a:gd name="connsiteY8993" fmla="*/ 1157794 h 2493266"/>
                <a:gd name="connsiteX8994" fmla="*/ 1814360 w 3135233"/>
                <a:gd name="connsiteY8994" fmla="*/ 1159422 h 2493266"/>
                <a:gd name="connsiteX8995" fmla="*/ 1814360 w 3135233"/>
                <a:gd name="connsiteY8995" fmla="*/ 1164356 h 2493266"/>
                <a:gd name="connsiteX8996" fmla="*/ 1818505 w 3135233"/>
                <a:gd name="connsiteY8996" fmla="*/ 1164356 h 2493266"/>
                <a:gd name="connsiteX8997" fmla="*/ 1824771 w 3135233"/>
                <a:gd name="connsiteY8997" fmla="*/ 1157892 h 2493266"/>
                <a:gd name="connsiteX8998" fmla="*/ 1826843 w 3135233"/>
                <a:gd name="connsiteY8998" fmla="*/ 1152958 h 2493266"/>
                <a:gd name="connsiteX8999" fmla="*/ 1837254 w 3135233"/>
                <a:gd name="connsiteY8999" fmla="*/ 1149751 h 2493266"/>
                <a:gd name="connsiteX9000" fmla="*/ 1839326 w 3135233"/>
                <a:gd name="connsiteY9000" fmla="*/ 1146544 h 2493266"/>
                <a:gd name="connsiteX9001" fmla="*/ 1837254 w 3135233"/>
                <a:gd name="connsiteY9001" fmla="*/ 1144916 h 2493266"/>
                <a:gd name="connsiteX9002" fmla="*/ 1841448 w 3135233"/>
                <a:gd name="connsiteY9002" fmla="*/ 1141660 h 2493266"/>
                <a:gd name="connsiteX9003" fmla="*/ 1845593 w 3135233"/>
                <a:gd name="connsiteY9003" fmla="*/ 1143288 h 2493266"/>
                <a:gd name="connsiteX9004" fmla="*/ 1849737 w 3135233"/>
                <a:gd name="connsiteY9004" fmla="*/ 1141660 h 2493266"/>
                <a:gd name="connsiteX9005" fmla="*/ 1849737 w 3135233"/>
                <a:gd name="connsiteY9005" fmla="*/ 1123946 h 2493266"/>
                <a:gd name="connsiteX9006" fmla="*/ 1860148 w 3135233"/>
                <a:gd name="connsiteY9006" fmla="*/ 1117483 h 2493266"/>
                <a:gd name="connsiteX9007" fmla="*/ 1868486 w 3135233"/>
                <a:gd name="connsiteY9007" fmla="*/ 1106184 h 2493266"/>
                <a:gd name="connsiteX9008" fmla="*/ 1870559 w 3135233"/>
                <a:gd name="connsiteY9008" fmla="*/ 1101250 h 2493266"/>
                <a:gd name="connsiteX9009" fmla="*/ 1872680 w 3135233"/>
                <a:gd name="connsiteY9009" fmla="*/ 1099621 h 2493266"/>
                <a:gd name="connsiteX9010" fmla="*/ 1876825 w 3135233"/>
                <a:gd name="connsiteY9010" fmla="*/ 1102878 h 2493266"/>
                <a:gd name="connsiteX9011" fmla="*/ 1876825 w 3135233"/>
                <a:gd name="connsiteY9011" fmla="*/ 1107812 h 2493266"/>
                <a:gd name="connsiteX9012" fmla="*/ 1883091 w 3135233"/>
                <a:gd name="connsiteY9012" fmla="*/ 1119111 h 2493266"/>
                <a:gd name="connsiteX9013" fmla="*/ 1885163 w 3135233"/>
                <a:gd name="connsiteY9013" fmla="*/ 1127153 h 2493266"/>
                <a:gd name="connsiteX9014" fmla="*/ 1891380 w 3135233"/>
                <a:gd name="connsiteY9014" fmla="*/ 1133617 h 2493266"/>
                <a:gd name="connsiteX9015" fmla="*/ 1891380 w 3135233"/>
                <a:gd name="connsiteY9015" fmla="*/ 1140081 h 2493266"/>
                <a:gd name="connsiteX9016" fmla="*/ 1889308 w 3135233"/>
                <a:gd name="connsiteY9016" fmla="*/ 1146544 h 2493266"/>
                <a:gd name="connsiteX9017" fmla="*/ 1891380 w 3135233"/>
                <a:gd name="connsiteY9017" fmla="*/ 1159422 h 2493266"/>
                <a:gd name="connsiteX9018" fmla="*/ 1887236 w 3135233"/>
                <a:gd name="connsiteY9018" fmla="*/ 1164356 h 2493266"/>
                <a:gd name="connsiteX9019" fmla="*/ 1880970 w 3135233"/>
                <a:gd name="connsiteY9019" fmla="*/ 1167612 h 2493266"/>
                <a:gd name="connsiteX9020" fmla="*/ 1876825 w 3135233"/>
                <a:gd name="connsiteY9020" fmla="*/ 1164356 h 2493266"/>
                <a:gd name="connsiteX9021" fmla="*/ 1872680 w 3135233"/>
                <a:gd name="connsiteY9021" fmla="*/ 1167612 h 2493266"/>
                <a:gd name="connsiteX9022" fmla="*/ 1870559 w 3135233"/>
                <a:gd name="connsiteY9022" fmla="*/ 1172546 h 2493266"/>
                <a:gd name="connsiteX9023" fmla="*/ 1870559 w 3135233"/>
                <a:gd name="connsiteY9023" fmla="*/ 1179010 h 2493266"/>
                <a:gd name="connsiteX9024" fmla="*/ 1866414 w 3135233"/>
                <a:gd name="connsiteY9024" fmla="*/ 1183944 h 2493266"/>
                <a:gd name="connsiteX9025" fmla="*/ 1862270 w 3135233"/>
                <a:gd name="connsiteY9025" fmla="*/ 1191987 h 2493266"/>
                <a:gd name="connsiteX9026" fmla="*/ 1866414 w 3135233"/>
                <a:gd name="connsiteY9026" fmla="*/ 1196921 h 2493266"/>
                <a:gd name="connsiteX9027" fmla="*/ 1866414 w 3135233"/>
                <a:gd name="connsiteY9027" fmla="*/ 1206789 h 2493266"/>
                <a:gd name="connsiteX9028" fmla="*/ 1870559 w 3135233"/>
                <a:gd name="connsiteY9028" fmla="*/ 1227758 h 2493266"/>
                <a:gd name="connsiteX9029" fmla="*/ 1876825 w 3135233"/>
                <a:gd name="connsiteY9029" fmla="*/ 1237626 h 2493266"/>
                <a:gd name="connsiteX9030" fmla="*/ 1874753 w 3135233"/>
                <a:gd name="connsiteY9030" fmla="*/ 1244090 h 2493266"/>
                <a:gd name="connsiteX9031" fmla="*/ 1880970 w 3135233"/>
                <a:gd name="connsiteY9031" fmla="*/ 1247297 h 2493266"/>
                <a:gd name="connsiteX9032" fmla="*/ 1885163 w 3135233"/>
                <a:gd name="connsiteY9032" fmla="*/ 1247297 h 2493266"/>
                <a:gd name="connsiteX9033" fmla="*/ 1885163 w 3135233"/>
                <a:gd name="connsiteY9033" fmla="*/ 1240833 h 2493266"/>
                <a:gd name="connsiteX9034" fmla="*/ 1880970 w 3135233"/>
                <a:gd name="connsiteY9034" fmla="*/ 1237626 h 2493266"/>
                <a:gd name="connsiteX9035" fmla="*/ 1887236 w 3135233"/>
                <a:gd name="connsiteY9035" fmla="*/ 1234370 h 2493266"/>
                <a:gd name="connsiteX9036" fmla="*/ 1891380 w 3135233"/>
                <a:gd name="connsiteY9036" fmla="*/ 1232791 h 2493266"/>
                <a:gd name="connsiteX9037" fmla="*/ 1895574 w 3135233"/>
                <a:gd name="connsiteY9037" fmla="*/ 1240833 h 2493266"/>
                <a:gd name="connsiteX9038" fmla="*/ 1899719 w 3135233"/>
                <a:gd name="connsiteY9038" fmla="*/ 1239205 h 2493266"/>
                <a:gd name="connsiteX9039" fmla="*/ 1899719 w 3135233"/>
                <a:gd name="connsiteY9039" fmla="*/ 1232791 h 2493266"/>
                <a:gd name="connsiteX9040" fmla="*/ 1905985 w 3135233"/>
                <a:gd name="connsiteY9040" fmla="*/ 1227857 h 2493266"/>
                <a:gd name="connsiteX9041" fmla="*/ 1905985 w 3135233"/>
                <a:gd name="connsiteY9041" fmla="*/ 1217989 h 2493266"/>
                <a:gd name="connsiteX9042" fmla="*/ 1912252 w 3135233"/>
                <a:gd name="connsiteY9042" fmla="*/ 1216410 h 2493266"/>
                <a:gd name="connsiteX9043" fmla="*/ 1918518 w 3135233"/>
                <a:gd name="connsiteY9043" fmla="*/ 1208318 h 2493266"/>
                <a:gd name="connsiteX9044" fmla="*/ 1922662 w 3135233"/>
                <a:gd name="connsiteY9044" fmla="*/ 1208318 h 2493266"/>
                <a:gd name="connsiteX9045" fmla="*/ 1924734 w 3135233"/>
                <a:gd name="connsiteY9045" fmla="*/ 1201855 h 2493266"/>
                <a:gd name="connsiteX9046" fmla="*/ 1939537 w 3135233"/>
                <a:gd name="connsiteY9046" fmla="*/ 1193812 h 2493266"/>
                <a:gd name="connsiteX9047" fmla="*/ 1947826 w 3135233"/>
                <a:gd name="connsiteY9047" fmla="*/ 1182513 h 2493266"/>
                <a:gd name="connsiteX9048" fmla="*/ 1954092 w 3135233"/>
                <a:gd name="connsiteY9048" fmla="*/ 1168007 h 2493266"/>
                <a:gd name="connsiteX9049" fmla="*/ 1960358 w 3135233"/>
                <a:gd name="connsiteY9049" fmla="*/ 1158139 h 2493266"/>
                <a:gd name="connsiteX9050" fmla="*/ 1966575 w 3135233"/>
                <a:gd name="connsiteY9050" fmla="*/ 1153205 h 2493266"/>
                <a:gd name="connsiteX9051" fmla="*/ 1970769 w 3135233"/>
                <a:gd name="connsiteY9051" fmla="*/ 1159669 h 2493266"/>
                <a:gd name="connsiteX9052" fmla="*/ 1974914 w 3135233"/>
                <a:gd name="connsiteY9052" fmla="*/ 1156462 h 2493266"/>
                <a:gd name="connsiteX9053" fmla="*/ 1979058 w 3135233"/>
                <a:gd name="connsiteY9053" fmla="*/ 1158040 h 2493266"/>
                <a:gd name="connsiteX9054" fmla="*/ 1987446 w 3135233"/>
                <a:gd name="connsiteY9054" fmla="*/ 1158040 h 2493266"/>
                <a:gd name="connsiteX9055" fmla="*/ 1987446 w 3135233"/>
                <a:gd name="connsiteY9055" fmla="*/ 1154833 h 2493266"/>
                <a:gd name="connsiteX9056" fmla="*/ 1983252 w 3135233"/>
                <a:gd name="connsiteY9056" fmla="*/ 1153205 h 2493266"/>
                <a:gd name="connsiteX9057" fmla="*/ 1976986 w 3135233"/>
                <a:gd name="connsiteY9057" fmla="*/ 1148271 h 2493266"/>
                <a:gd name="connsiteX9058" fmla="*/ 1979058 w 3135233"/>
                <a:gd name="connsiteY9058" fmla="*/ 1145064 h 2493266"/>
                <a:gd name="connsiteX9059" fmla="*/ 1987446 w 3135233"/>
                <a:gd name="connsiteY9059" fmla="*/ 1143436 h 2493266"/>
                <a:gd name="connsiteX9060" fmla="*/ 1991591 w 3135233"/>
                <a:gd name="connsiteY9060" fmla="*/ 1146692 h 2493266"/>
                <a:gd name="connsiteX9061" fmla="*/ 1993663 w 3135233"/>
                <a:gd name="connsiteY9061" fmla="*/ 1145064 h 2493266"/>
                <a:gd name="connsiteX9062" fmla="*/ 1999880 w 3135233"/>
                <a:gd name="connsiteY9062" fmla="*/ 1145064 h 2493266"/>
                <a:gd name="connsiteX9063" fmla="*/ 2002002 w 3135233"/>
                <a:gd name="connsiteY9063" fmla="*/ 1143436 h 2493266"/>
                <a:gd name="connsiteX9064" fmla="*/ 1999880 w 3135233"/>
                <a:gd name="connsiteY9064" fmla="*/ 1136972 h 2493266"/>
                <a:gd name="connsiteX9065" fmla="*/ 1995785 w 3135233"/>
                <a:gd name="connsiteY9065" fmla="*/ 1136972 h 2493266"/>
                <a:gd name="connsiteX9066" fmla="*/ 1991591 w 3135233"/>
                <a:gd name="connsiteY9066" fmla="*/ 1132038 h 2493266"/>
                <a:gd name="connsiteX9067" fmla="*/ 1989518 w 3135233"/>
                <a:gd name="connsiteY9067" fmla="*/ 1132038 h 2493266"/>
                <a:gd name="connsiteX9068" fmla="*/ 1989518 w 3135233"/>
                <a:gd name="connsiteY9068" fmla="*/ 1122170 h 2493266"/>
                <a:gd name="connsiteX9069" fmla="*/ 1993712 w 3135233"/>
                <a:gd name="connsiteY9069" fmla="*/ 1118963 h 2493266"/>
                <a:gd name="connsiteX9070" fmla="*/ 1993712 w 3135233"/>
                <a:gd name="connsiteY9070" fmla="*/ 1112499 h 2493266"/>
                <a:gd name="connsiteX9071" fmla="*/ 1999929 w 3135233"/>
                <a:gd name="connsiteY9071" fmla="*/ 1112499 h 2493266"/>
                <a:gd name="connsiteX9072" fmla="*/ 1995834 w 3135233"/>
                <a:gd name="connsiteY9072" fmla="*/ 1107565 h 2493266"/>
                <a:gd name="connsiteX9073" fmla="*/ 1995834 w 3135233"/>
                <a:gd name="connsiteY9073" fmla="*/ 1102631 h 2493266"/>
                <a:gd name="connsiteX9074" fmla="*/ 2002051 w 3135233"/>
                <a:gd name="connsiteY9074" fmla="*/ 1099375 h 2493266"/>
                <a:gd name="connsiteX9075" fmla="*/ 1999929 w 3135233"/>
                <a:gd name="connsiteY9075" fmla="*/ 1096168 h 2493266"/>
                <a:gd name="connsiteX9076" fmla="*/ 1997906 w 3135233"/>
                <a:gd name="connsiteY9076" fmla="*/ 1094539 h 2493266"/>
                <a:gd name="connsiteX9077" fmla="*/ 2006245 w 3135233"/>
                <a:gd name="connsiteY9077" fmla="*/ 1094539 h 2493266"/>
                <a:gd name="connsiteX9078" fmla="*/ 2008317 w 3135233"/>
                <a:gd name="connsiteY9078" fmla="*/ 1089605 h 2493266"/>
                <a:gd name="connsiteX9079" fmla="*/ 2002051 w 3135233"/>
                <a:gd name="connsiteY9079" fmla="*/ 1086398 h 2493266"/>
                <a:gd name="connsiteX9080" fmla="*/ 1999929 w 3135233"/>
                <a:gd name="connsiteY9080" fmla="*/ 1083142 h 2493266"/>
                <a:gd name="connsiteX9081" fmla="*/ 2008317 w 3135233"/>
                <a:gd name="connsiteY9081" fmla="*/ 1084770 h 2493266"/>
                <a:gd name="connsiteX9082" fmla="*/ 2010340 w 3135233"/>
                <a:gd name="connsiteY9082" fmla="*/ 1087977 h 2493266"/>
                <a:gd name="connsiteX9083" fmla="*/ 2016656 w 3135233"/>
                <a:gd name="connsiteY9083" fmla="*/ 1089605 h 2493266"/>
                <a:gd name="connsiteX9084" fmla="*/ 2020800 w 3135233"/>
                <a:gd name="connsiteY9084" fmla="*/ 1086398 h 2493266"/>
                <a:gd name="connsiteX9085" fmla="*/ 2031211 w 3135233"/>
                <a:gd name="connsiteY9085" fmla="*/ 1086398 h 2493266"/>
                <a:gd name="connsiteX9086" fmla="*/ 2041622 w 3135233"/>
                <a:gd name="connsiteY9086" fmla="*/ 1092813 h 2493266"/>
                <a:gd name="connsiteX9087" fmla="*/ 2043743 w 3135233"/>
                <a:gd name="connsiteY9087" fmla="*/ 1096069 h 2493266"/>
                <a:gd name="connsiteX9088" fmla="*/ 2045766 w 3135233"/>
                <a:gd name="connsiteY9088" fmla="*/ 1101003 h 2493266"/>
                <a:gd name="connsiteX9089" fmla="*/ 2060569 w 3135233"/>
                <a:gd name="connsiteY9089" fmla="*/ 1105937 h 2493266"/>
                <a:gd name="connsiteX9090" fmla="*/ 2066785 w 3135233"/>
                <a:gd name="connsiteY9090" fmla="*/ 1102730 h 2493266"/>
                <a:gd name="connsiteX9091" fmla="*/ 2073052 w 3135233"/>
                <a:gd name="connsiteY9091" fmla="*/ 1107664 h 2493266"/>
                <a:gd name="connsiteX9092" fmla="*/ 2081390 w 3135233"/>
                <a:gd name="connsiteY9092" fmla="*/ 1110871 h 2493266"/>
                <a:gd name="connsiteX9093" fmla="*/ 2081390 w 3135233"/>
                <a:gd name="connsiteY9093" fmla="*/ 1114128 h 2493266"/>
                <a:gd name="connsiteX9094" fmla="*/ 2077246 w 3135233"/>
                <a:gd name="connsiteY9094" fmla="*/ 1115706 h 2493266"/>
                <a:gd name="connsiteX9095" fmla="*/ 2081390 w 3135233"/>
                <a:gd name="connsiteY9095" fmla="*/ 1118963 h 2493266"/>
                <a:gd name="connsiteX9096" fmla="*/ 2077246 w 3135233"/>
                <a:gd name="connsiteY9096" fmla="*/ 1122170 h 2493266"/>
                <a:gd name="connsiteX9097" fmla="*/ 2073052 w 3135233"/>
                <a:gd name="connsiteY9097" fmla="*/ 1117236 h 2493266"/>
                <a:gd name="connsiteX9098" fmla="*/ 2068463 w 3135233"/>
                <a:gd name="connsiteY9098" fmla="*/ 1117236 h 2493266"/>
                <a:gd name="connsiteX9099" fmla="*/ 2068463 w 3135233"/>
                <a:gd name="connsiteY9099" fmla="*/ 1119999 h 2493266"/>
                <a:gd name="connsiteX9100" fmla="*/ 2083265 w 3135233"/>
                <a:gd name="connsiteY9100" fmla="*/ 1128091 h 2493266"/>
                <a:gd name="connsiteX9101" fmla="*/ 2085387 w 3135233"/>
                <a:gd name="connsiteY9101" fmla="*/ 1134554 h 2493266"/>
                <a:gd name="connsiteX9102" fmla="*/ 2079120 w 3135233"/>
                <a:gd name="connsiteY9102" fmla="*/ 1136133 h 2493266"/>
                <a:gd name="connsiteX9103" fmla="*/ 2081193 w 3135233"/>
                <a:gd name="connsiteY9103" fmla="*/ 1137762 h 2493266"/>
                <a:gd name="connsiteX9104" fmla="*/ 2087459 w 3135233"/>
                <a:gd name="connsiteY9104" fmla="*/ 1136133 h 2493266"/>
                <a:gd name="connsiteX9105" fmla="*/ 2099942 w 3135233"/>
                <a:gd name="connsiteY9105" fmla="*/ 1139390 h 2493266"/>
                <a:gd name="connsiteX9106" fmla="*/ 2102014 w 3135233"/>
                <a:gd name="connsiteY9106" fmla="*/ 1142597 h 2493266"/>
                <a:gd name="connsiteX9107" fmla="*/ 2106208 w 3135233"/>
                <a:gd name="connsiteY9107" fmla="*/ 1144225 h 2493266"/>
                <a:gd name="connsiteX9108" fmla="*/ 2106208 w 3135233"/>
                <a:gd name="connsiteY9108" fmla="*/ 1145853 h 2493266"/>
                <a:gd name="connsiteX9109" fmla="*/ 2102014 w 3135233"/>
                <a:gd name="connsiteY9109" fmla="*/ 1152268 h 2493266"/>
                <a:gd name="connsiteX9110" fmla="*/ 2091604 w 3135233"/>
                <a:gd name="connsiteY9110" fmla="*/ 1160359 h 2493266"/>
                <a:gd name="connsiteX9111" fmla="*/ 2083265 w 3135233"/>
                <a:gd name="connsiteY9111" fmla="*/ 1160359 h 2493266"/>
                <a:gd name="connsiteX9112" fmla="*/ 2079120 w 3135233"/>
                <a:gd name="connsiteY9112" fmla="*/ 1163566 h 2493266"/>
                <a:gd name="connsiteX9113" fmla="*/ 2089531 w 3135233"/>
                <a:gd name="connsiteY9113" fmla="*/ 1163566 h 2493266"/>
                <a:gd name="connsiteX9114" fmla="*/ 2091604 w 3135233"/>
                <a:gd name="connsiteY9114" fmla="*/ 1165195 h 2493266"/>
                <a:gd name="connsiteX9115" fmla="*/ 2093676 w 3135233"/>
                <a:gd name="connsiteY9115" fmla="*/ 1170129 h 2493266"/>
                <a:gd name="connsiteX9116" fmla="*/ 2095797 w 3135233"/>
                <a:gd name="connsiteY9116" fmla="*/ 1170129 h 2493266"/>
                <a:gd name="connsiteX9117" fmla="*/ 2097870 w 3135233"/>
                <a:gd name="connsiteY9117" fmla="*/ 1171757 h 2493266"/>
                <a:gd name="connsiteX9118" fmla="*/ 2093676 w 3135233"/>
                <a:gd name="connsiteY9118" fmla="*/ 1176691 h 2493266"/>
                <a:gd name="connsiteX9119" fmla="*/ 2095797 w 3135233"/>
                <a:gd name="connsiteY9119" fmla="*/ 1179898 h 2493266"/>
                <a:gd name="connsiteX9120" fmla="*/ 2087459 w 3135233"/>
                <a:gd name="connsiteY9120" fmla="*/ 1184832 h 2493266"/>
                <a:gd name="connsiteX9121" fmla="*/ 2077048 w 3135233"/>
                <a:gd name="connsiteY9121" fmla="*/ 1188089 h 2493266"/>
                <a:gd name="connsiteX9122" fmla="*/ 2072854 w 3135233"/>
                <a:gd name="connsiteY9122" fmla="*/ 1186460 h 2493266"/>
                <a:gd name="connsiteX9123" fmla="*/ 2068710 w 3135233"/>
                <a:gd name="connsiteY9123" fmla="*/ 1191395 h 2493266"/>
                <a:gd name="connsiteX9124" fmla="*/ 2064565 w 3135233"/>
                <a:gd name="connsiteY9124" fmla="*/ 1189816 h 2493266"/>
                <a:gd name="connsiteX9125" fmla="*/ 2058299 w 3135233"/>
                <a:gd name="connsiteY9125" fmla="*/ 1183352 h 2493266"/>
                <a:gd name="connsiteX9126" fmla="*/ 2052032 w 3135233"/>
                <a:gd name="connsiteY9126" fmla="*/ 1183352 h 2493266"/>
                <a:gd name="connsiteX9127" fmla="*/ 2049960 w 3135233"/>
                <a:gd name="connsiteY9127" fmla="*/ 1180096 h 2493266"/>
                <a:gd name="connsiteX9128" fmla="*/ 2045766 w 3135233"/>
                <a:gd name="connsiteY9128" fmla="*/ 1180096 h 2493266"/>
                <a:gd name="connsiteX9129" fmla="*/ 2043743 w 3135233"/>
                <a:gd name="connsiteY9129" fmla="*/ 1185030 h 2493266"/>
                <a:gd name="connsiteX9130" fmla="*/ 2041622 w 3135233"/>
                <a:gd name="connsiteY9130" fmla="*/ 1186658 h 2493266"/>
                <a:gd name="connsiteX9131" fmla="*/ 2047888 w 3135233"/>
                <a:gd name="connsiteY9131" fmla="*/ 1188286 h 2493266"/>
                <a:gd name="connsiteX9132" fmla="*/ 2052032 w 3135233"/>
                <a:gd name="connsiteY9132" fmla="*/ 1191493 h 2493266"/>
                <a:gd name="connsiteX9133" fmla="*/ 2049960 w 3135233"/>
                <a:gd name="connsiteY9133" fmla="*/ 1196427 h 2493266"/>
                <a:gd name="connsiteX9134" fmla="*/ 2045766 w 3135233"/>
                <a:gd name="connsiteY9134" fmla="*/ 1199684 h 2493266"/>
                <a:gd name="connsiteX9135" fmla="*/ 2052032 w 3135233"/>
                <a:gd name="connsiteY9135" fmla="*/ 1199684 h 2493266"/>
                <a:gd name="connsiteX9136" fmla="*/ 2047888 w 3135233"/>
                <a:gd name="connsiteY9136" fmla="*/ 1204618 h 2493266"/>
                <a:gd name="connsiteX9137" fmla="*/ 2047888 w 3135233"/>
                <a:gd name="connsiteY9137" fmla="*/ 1209552 h 2493266"/>
                <a:gd name="connsiteX9138" fmla="*/ 2049960 w 3135233"/>
                <a:gd name="connsiteY9138" fmla="*/ 1209552 h 2493266"/>
                <a:gd name="connsiteX9139" fmla="*/ 2054154 w 3135233"/>
                <a:gd name="connsiteY9139" fmla="*/ 1206345 h 2493266"/>
                <a:gd name="connsiteX9140" fmla="*/ 2056177 w 3135233"/>
                <a:gd name="connsiteY9140" fmla="*/ 1206345 h 2493266"/>
                <a:gd name="connsiteX9141" fmla="*/ 2056177 w 3135233"/>
                <a:gd name="connsiteY9141" fmla="*/ 1211279 h 2493266"/>
                <a:gd name="connsiteX9142" fmla="*/ 2045766 w 3135233"/>
                <a:gd name="connsiteY9142" fmla="*/ 1212858 h 2493266"/>
                <a:gd name="connsiteX9143" fmla="*/ 2043743 w 3135233"/>
                <a:gd name="connsiteY9143" fmla="*/ 1219321 h 2493266"/>
                <a:gd name="connsiteX9144" fmla="*/ 2045766 w 3135233"/>
                <a:gd name="connsiteY9144" fmla="*/ 1225785 h 2493266"/>
                <a:gd name="connsiteX9145" fmla="*/ 2054154 w 3135233"/>
                <a:gd name="connsiteY9145" fmla="*/ 1230719 h 2493266"/>
                <a:gd name="connsiteX9146" fmla="*/ 2052032 w 3135233"/>
                <a:gd name="connsiteY9146" fmla="*/ 1235653 h 2493266"/>
                <a:gd name="connsiteX9147" fmla="*/ 2060371 w 3135233"/>
                <a:gd name="connsiteY9147" fmla="*/ 1248580 h 2493266"/>
                <a:gd name="connsiteX9148" fmla="*/ 2058299 w 3135233"/>
                <a:gd name="connsiteY9148" fmla="*/ 1256622 h 2493266"/>
                <a:gd name="connsiteX9149" fmla="*/ 2056177 w 3135233"/>
                <a:gd name="connsiteY9149" fmla="*/ 1258251 h 2493266"/>
                <a:gd name="connsiteX9150" fmla="*/ 2054154 w 3135233"/>
                <a:gd name="connsiteY9150" fmla="*/ 1263185 h 2493266"/>
                <a:gd name="connsiteX9151" fmla="*/ 2045766 w 3135233"/>
                <a:gd name="connsiteY9151" fmla="*/ 1269648 h 2493266"/>
                <a:gd name="connsiteX9152" fmla="*/ 2047888 w 3135233"/>
                <a:gd name="connsiteY9152" fmla="*/ 1274582 h 2493266"/>
                <a:gd name="connsiteX9153" fmla="*/ 2043743 w 3135233"/>
                <a:gd name="connsiteY9153" fmla="*/ 1279516 h 2493266"/>
                <a:gd name="connsiteX9154" fmla="*/ 2037477 w 3135233"/>
                <a:gd name="connsiteY9154" fmla="*/ 1277938 h 2493266"/>
                <a:gd name="connsiteX9155" fmla="*/ 2027066 w 3135233"/>
                <a:gd name="connsiteY9155" fmla="*/ 1277938 h 2493266"/>
                <a:gd name="connsiteX9156" fmla="*/ 2020800 w 3135233"/>
                <a:gd name="connsiteY9156" fmla="*/ 1279516 h 2493266"/>
                <a:gd name="connsiteX9157" fmla="*/ 2018728 w 3135233"/>
                <a:gd name="connsiteY9157" fmla="*/ 1287559 h 2493266"/>
                <a:gd name="connsiteX9158" fmla="*/ 2012462 w 3135233"/>
                <a:gd name="connsiteY9158" fmla="*/ 1290815 h 2493266"/>
                <a:gd name="connsiteX9159" fmla="*/ 2008317 w 3135233"/>
                <a:gd name="connsiteY9159" fmla="*/ 1295749 h 2493266"/>
                <a:gd name="connsiteX9160" fmla="*/ 2004123 w 3135233"/>
                <a:gd name="connsiteY9160" fmla="*/ 1295749 h 2493266"/>
                <a:gd name="connsiteX9161" fmla="*/ 1993712 w 3135233"/>
                <a:gd name="connsiteY9161" fmla="*/ 1305617 h 2493266"/>
                <a:gd name="connsiteX9162" fmla="*/ 1989518 w 3135233"/>
                <a:gd name="connsiteY9162" fmla="*/ 1304038 h 2493266"/>
                <a:gd name="connsiteX9163" fmla="*/ 1983301 w 3135233"/>
                <a:gd name="connsiteY9163" fmla="*/ 1304038 h 2493266"/>
                <a:gd name="connsiteX9164" fmla="*/ 1981229 w 3135233"/>
                <a:gd name="connsiteY9164" fmla="*/ 1310502 h 2493266"/>
                <a:gd name="connsiteX9165" fmla="*/ 1962480 w 3135233"/>
                <a:gd name="connsiteY9165" fmla="*/ 1313709 h 2493266"/>
                <a:gd name="connsiteX9166" fmla="*/ 1960407 w 3135233"/>
                <a:gd name="connsiteY9166" fmla="*/ 1312081 h 2493266"/>
                <a:gd name="connsiteX9167" fmla="*/ 1962480 w 3135233"/>
                <a:gd name="connsiteY9167" fmla="*/ 1307147 h 2493266"/>
                <a:gd name="connsiteX9168" fmla="*/ 1960407 w 3135233"/>
                <a:gd name="connsiteY9168" fmla="*/ 1300683 h 2493266"/>
                <a:gd name="connsiteX9169" fmla="*/ 1954141 w 3135233"/>
                <a:gd name="connsiteY9169" fmla="*/ 1295749 h 2493266"/>
                <a:gd name="connsiteX9170" fmla="*/ 1954141 w 3135233"/>
                <a:gd name="connsiteY9170" fmla="*/ 1292542 h 2493266"/>
                <a:gd name="connsiteX9171" fmla="*/ 1958286 w 3135233"/>
                <a:gd name="connsiteY9171" fmla="*/ 1290914 h 2493266"/>
                <a:gd name="connsiteX9172" fmla="*/ 1958286 w 3135233"/>
                <a:gd name="connsiteY9172" fmla="*/ 1285980 h 2493266"/>
                <a:gd name="connsiteX9173" fmla="*/ 1964552 w 3135233"/>
                <a:gd name="connsiteY9173" fmla="*/ 1277938 h 2493266"/>
                <a:gd name="connsiteX9174" fmla="*/ 1958286 w 3135233"/>
                <a:gd name="connsiteY9174" fmla="*/ 1284352 h 2493266"/>
                <a:gd name="connsiteX9175" fmla="*/ 1954141 w 3135233"/>
                <a:gd name="connsiteY9175" fmla="*/ 1284352 h 2493266"/>
                <a:gd name="connsiteX9176" fmla="*/ 1954141 w 3135233"/>
                <a:gd name="connsiteY9176" fmla="*/ 1269994 h 2493266"/>
                <a:gd name="connsiteX9177" fmla="*/ 1949997 w 3135233"/>
                <a:gd name="connsiteY9177" fmla="*/ 1268365 h 2493266"/>
                <a:gd name="connsiteX9178" fmla="*/ 1945803 w 3135233"/>
                <a:gd name="connsiteY9178" fmla="*/ 1263431 h 2493266"/>
                <a:gd name="connsiteX9179" fmla="*/ 1939586 w 3135233"/>
                <a:gd name="connsiteY9179" fmla="*/ 1266639 h 2493266"/>
                <a:gd name="connsiteX9180" fmla="*/ 1937464 w 3135233"/>
                <a:gd name="connsiteY9180" fmla="*/ 1263431 h 2493266"/>
                <a:gd name="connsiteX9181" fmla="*/ 1931247 w 3135233"/>
                <a:gd name="connsiteY9181" fmla="*/ 1265010 h 2493266"/>
                <a:gd name="connsiteX9182" fmla="*/ 1924981 w 3135233"/>
                <a:gd name="connsiteY9182" fmla="*/ 1273102 h 2493266"/>
                <a:gd name="connsiteX9183" fmla="*/ 1927054 w 3135233"/>
                <a:gd name="connsiteY9183" fmla="*/ 1273102 h 2493266"/>
                <a:gd name="connsiteX9184" fmla="*/ 1937464 w 3135233"/>
                <a:gd name="connsiteY9184" fmla="*/ 1268168 h 2493266"/>
                <a:gd name="connsiteX9185" fmla="*/ 1941658 w 3135233"/>
                <a:gd name="connsiteY9185" fmla="*/ 1269796 h 2493266"/>
                <a:gd name="connsiteX9186" fmla="*/ 1939586 w 3135233"/>
                <a:gd name="connsiteY9186" fmla="*/ 1274730 h 2493266"/>
                <a:gd name="connsiteX9187" fmla="*/ 1945803 w 3135233"/>
                <a:gd name="connsiteY9187" fmla="*/ 1277938 h 2493266"/>
                <a:gd name="connsiteX9188" fmla="*/ 1952069 w 3135233"/>
                <a:gd name="connsiteY9188" fmla="*/ 1287806 h 2493266"/>
                <a:gd name="connsiteX9189" fmla="*/ 1949997 w 3135233"/>
                <a:gd name="connsiteY9189" fmla="*/ 1295848 h 2493266"/>
                <a:gd name="connsiteX9190" fmla="*/ 1952069 w 3135233"/>
                <a:gd name="connsiteY9190" fmla="*/ 1297476 h 2493266"/>
                <a:gd name="connsiteX9191" fmla="*/ 1954141 w 3135233"/>
                <a:gd name="connsiteY9191" fmla="*/ 1307344 h 2493266"/>
                <a:gd name="connsiteX9192" fmla="*/ 1952069 w 3135233"/>
                <a:gd name="connsiteY9192" fmla="*/ 1310551 h 2493266"/>
                <a:gd name="connsiteX9193" fmla="*/ 1954141 w 3135233"/>
                <a:gd name="connsiteY9193" fmla="*/ 1312180 h 2493266"/>
                <a:gd name="connsiteX9194" fmla="*/ 1954141 w 3135233"/>
                <a:gd name="connsiteY9194" fmla="*/ 1317114 h 2493266"/>
                <a:gd name="connsiteX9195" fmla="*/ 1950046 w 3135233"/>
                <a:gd name="connsiteY9195" fmla="*/ 1317114 h 2493266"/>
                <a:gd name="connsiteX9196" fmla="*/ 1937514 w 3135233"/>
                <a:gd name="connsiteY9196" fmla="*/ 1309071 h 2493266"/>
                <a:gd name="connsiteX9197" fmla="*/ 1937514 w 3135233"/>
                <a:gd name="connsiteY9197" fmla="*/ 1304137 h 2493266"/>
                <a:gd name="connsiteX9198" fmla="*/ 1931297 w 3135233"/>
                <a:gd name="connsiteY9198" fmla="*/ 1302558 h 2493266"/>
                <a:gd name="connsiteX9199" fmla="*/ 1931297 w 3135233"/>
                <a:gd name="connsiteY9199" fmla="*/ 1297624 h 2493266"/>
                <a:gd name="connsiteX9200" fmla="*/ 1927103 w 3135233"/>
                <a:gd name="connsiteY9200" fmla="*/ 1302558 h 2493266"/>
                <a:gd name="connsiteX9201" fmla="*/ 1933369 w 3135233"/>
                <a:gd name="connsiteY9201" fmla="*/ 1309022 h 2493266"/>
                <a:gd name="connsiteX9202" fmla="*/ 1931297 w 3135233"/>
                <a:gd name="connsiteY9202" fmla="*/ 1313956 h 2493266"/>
                <a:gd name="connsiteX9203" fmla="*/ 1922958 w 3135233"/>
                <a:gd name="connsiteY9203" fmla="*/ 1309022 h 2493266"/>
                <a:gd name="connsiteX9204" fmla="*/ 1918814 w 3135233"/>
                <a:gd name="connsiteY9204" fmla="*/ 1309022 h 2493266"/>
                <a:gd name="connsiteX9205" fmla="*/ 1916692 w 3135233"/>
                <a:gd name="connsiteY9205" fmla="*/ 1305765 h 2493266"/>
                <a:gd name="connsiteX9206" fmla="*/ 1912548 w 3135233"/>
                <a:gd name="connsiteY9206" fmla="*/ 1307394 h 2493266"/>
                <a:gd name="connsiteX9207" fmla="*/ 1910426 w 3135233"/>
                <a:gd name="connsiteY9207" fmla="*/ 1302460 h 2493266"/>
                <a:gd name="connsiteX9208" fmla="*/ 1914620 w 3135233"/>
                <a:gd name="connsiteY9208" fmla="*/ 1294368 h 2493266"/>
                <a:gd name="connsiteX9209" fmla="*/ 1916692 w 3135233"/>
                <a:gd name="connsiteY9209" fmla="*/ 1292740 h 2493266"/>
                <a:gd name="connsiteX9210" fmla="*/ 1912548 w 3135233"/>
                <a:gd name="connsiteY9210" fmla="*/ 1291161 h 2493266"/>
                <a:gd name="connsiteX9211" fmla="*/ 1912548 w 3135233"/>
                <a:gd name="connsiteY9211" fmla="*/ 1287756 h 2493266"/>
                <a:gd name="connsiteX9212" fmla="*/ 1902136 w 3135233"/>
                <a:gd name="connsiteY9212" fmla="*/ 1290963 h 2493266"/>
                <a:gd name="connsiteX9213" fmla="*/ 1893798 w 3135233"/>
                <a:gd name="connsiteY9213" fmla="*/ 1290963 h 2493266"/>
                <a:gd name="connsiteX9214" fmla="*/ 1887532 w 3135233"/>
                <a:gd name="connsiteY9214" fmla="*/ 1287756 h 2493266"/>
                <a:gd name="connsiteX9215" fmla="*/ 1881266 w 3135233"/>
                <a:gd name="connsiteY9215" fmla="*/ 1289335 h 2493266"/>
                <a:gd name="connsiteX9216" fmla="*/ 1872976 w 3135233"/>
                <a:gd name="connsiteY9216" fmla="*/ 1284401 h 2493266"/>
                <a:gd name="connsiteX9217" fmla="*/ 1872976 w 3135233"/>
                <a:gd name="connsiteY9217" fmla="*/ 1289335 h 2493266"/>
                <a:gd name="connsiteX9218" fmla="*/ 1875049 w 3135233"/>
                <a:gd name="connsiteY9218" fmla="*/ 1292542 h 2493266"/>
                <a:gd name="connsiteX9219" fmla="*/ 1870855 w 3135233"/>
                <a:gd name="connsiteY9219" fmla="*/ 1294170 h 2493266"/>
                <a:gd name="connsiteX9220" fmla="*/ 1870855 w 3135233"/>
                <a:gd name="connsiteY9220" fmla="*/ 1300634 h 2493266"/>
                <a:gd name="connsiteX9221" fmla="*/ 1875049 w 3135233"/>
                <a:gd name="connsiteY9221" fmla="*/ 1305568 h 2493266"/>
                <a:gd name="connsiteX9222" fmla="*/ 1883387 w 3135233"/>
                <a:gd name="connsiteY9222" fmla="*/ 1307196 h 2493266"/>
                <a:gd name="connsiteX9223" fmla="*/ 1887532 w 3135233"/>
                <a:gd name="connsiteY9223" fmla="*/ 1312130 h 2493266"/>
                <a:gd name="connsiteX9224" fmla="*/ 1880970 w 3135233"/>
                <a:gd name="connsiteY9224" fmla="*/ 1319975 h 2493266"/>
                <a:gd name="connsiteX9225" fmla="*/ 1876825 w 3135233"/>
                <a:gd name="connsiteY9225" fmla="*/ 1321604 h 2493266"/>
                <a:gd name="connsiteX9226" fmla="*/ 1860148 w 3135233"/>
                <a:gd name="connsiteY9226" fmla="*/ 1332903 h 2493266"/>
                <a:gd name="connsiteX9227" fmla="*/ 1851859 w 3135233"/>
                <a:gd name="connsiteY9227" fmla="*/ 1340945 h 2493266"/>
                <a:gd name="connsiteX9228" fmla="*/ 1843471 w 3135233"/>
                <a:gd name="connsiteY9228" fmla="*/ 1349037 h 2493266"/>
                <a:gd name="connsiteX9229" fmla="*/ 1839326 w 3135233"/>
                <a:gd name="connsiteY9229" fmla="*/ 1347409 h 2493266"/>
                <a:gd name="connsiteX9230" fmla="*/ 1833060 w 3135233"/>
                <a:gd name="connsiteY9230" fmla="*/ 1350665 h 2493266"/>
                <a:gd name="connsiteX9231" fmla="*/ 1830988 w 3135233"/>
                <a:gd name="connsiteY9231" fmla="*/ 1357129 h 2493266"/>
                <a:gd name="connsiteX9232" fmla="*/ 1824771 w 3135233"/>
                <a:gd name="connsiteY9232" fmla="*/ 1360336 h 2493266"/>
                <a:gd name="connsiteX9233" fmla="*/ 1801828 w 3135233"/>
                <a:gd name="connsiteY9233" fmla="*/ 1355402 h 2493266"/>
                <a:gd name="connsiteX9234" fmla="*/ 1797634 w 3135233"/>
                <a:gd name="connsiteY9234" fmla="*/ 1350468 h 2493266"/>
                <a:gd name="connsiteX9235" fmla="*/ 1793539 w 3135233"/>
                <a:gd name="connsiteY9235" fmla="*/ 1342425 h 2493266"/>
                <a:gd name="connsiteX9236" fmla="*/ 1783128 w 3135233"/>
                <a:gd name="connsiteY9236" fmla="*/ 1339169 h 2493266"/>
                <a:gd name="connsiteX9237" fmla="*/ 1783128 w 3135233"/>
                <a:gd name="connsiteY9237" fmla="*/ 1335962 h 2493266"/>
                <a:gd name="connsiteX9238" fmla="*/ 1787223 w 3135233"/>
                <a:gd name="connsiteY9238" fmla="*/ 1335962 h 2493266"/>
                <a:gd name="connsiteX9239" fmla="*/ 1789345 w 3135233"/>
                <a:gd name="connsiteY9239" fmla="*/ 1334284 h 2493266"/>
                <a:gd name="connsiteX9240" fmla="*/ 1785200 w 3135233"/>
                <a:gd name="connsiteY9240" fmla="*/ 1331077 h 2493266"/>
                <a:gd name="connsiteX9241" fmla="*/ 1778934 w 3135233"/>
                <a:gd name="connsiteY9241" fmla="*/ 1329498 h 2493266"/>
                <a:gd name="connsiteX9242" fmla="*/ 1770595 w 3135233"/>
                <a:gd name="connsiteY9242" fmla="*/ 1316571 h 2493266"/>
                <a:gd name="connsiteX9243" fmla="*/ 1762553 w 3135233"/>
                <a:gd name="connsiteY9243" fmla="*/ 1310305 h 2493266"/>
                <a:gd name="connsiteX9244" fmla="*/ 1747751 w 3135233"/>
                <a:gd name="connsiteY9244" fmla="*/ 1310305 h 2493266"/>
                <a:gd name="connsiteX9245" fmla="*/ 1737340 w 3135233"/>
                <a:gd name="connsiteY9245" fmla="*/ 1305371 h 2493266"/>
                <a:gd name="connsiteX9246" fmla="*/ 1720663 w 3135233"/>
                <a:gd name="connsiteY9246" fmla="*/ 1303742 h 2493266"/>
                <a:gd name="connsiteX9247" fmla="*/ 1714397 w 3135233"/>
                <a:gd name="connsiteY9247" fmla="*/ 1302164 h 2493266"/>
                <a:gd name="connsiteX9248" fmla="*/ 1714397 w 3135233"/>
                <a:gd name="connsiteY9248" fmla="*/ 1307098 h 2493266"/>
                <a:gd name="connsiteX9249" fmla="*/ 1718591 w 3135233"/>
                <a:gd name="connsiteY9249" fmla="*/ 1310305 h 2493266"/>
                <a:gd name="connsiteX9250" fmla="*/ 1720663 w 3135233"/>
                <a:gd name="connsiteY9250" fmla="*/ 1308726 h 2493266"/>
                <a:gd name="connsiteX9251" fmla="*/ 1724807 w 3135233"/>
                <a:gd name="connsiteY9251" fmla="*/ 1307098 h 2493266"/>
                <a:gd name="connsiteX9252" fmla="*/ 1741484 w 3135233"/>
                <a:gd name="connsiteY9252" fmla="*/ 1312032 h 2493266"/>
                <a:gd name="connsiteX9253" fmla="*/ 1756286 w 3135233"/>
                <a:gd name="connsiteY9253" fmla="*/ 1312032 h 2493266"/>
                <a:gd name="connsiteX9254" fmla="*/ 1762553 w 3135233"/>
                <a:gd name="connsiteY9254" fmla="*/ 1315288 h 2493266"/>
                <a:gd name="connsiteX9255" fmla="*/ 1760481 w 3135233"/>
                <a:gd name="connsiteY9255" fmla="*/ 1318495 h 2493266"/>
                <a:gd name="connsiteX9256" fmla="*/ 1756286 w 3135233"/>
                <a:gd name="connsiteY9256" fmla="*/ 1318495 h 2493266"/>
                <a:gd name="connsiteX9257" fmla="*/ 1754214 w 3135233"/>
                <a:gd name="connsiteY9257" fmla="*/ 1320074 h 2493266"/>
                <a:gd name="connsiteX9258" fmla="*/ 1756286 w 3135233"/>
                <a:gd name="connsiteY9258" fmla="*/ 1323331 h 2493266"/>
                <a:gd name="connsiteX9259" fmla="*/ 1758408 w 3135233"/>
                <a:gd name="connsiteY9259" fmla="*/ 1333199 h 2493266"/>
                <a:gd name="connsiteX9260" fmla="*/ 1760481 w 3135233"/>
                <a:gd name="connsiteY9260" fmla="*/ 1333199 h 2493266"/>
                <a:gd name="connsiteX9261" fmla="*/ 1768819 w 3135233"/>
                <a:gd name="connsiteY9261" fmla="*/ 1346126 h 2493266"/>
                <a:gd name="connsiteX9262" fmla="*/ 1772963 w 3135233"/>
                <a:gd name="connsiteY9262" fmla="*/ 1355994 h 2493266"/>
                <a:gd name="connsiteX9263" fmla="*/ 1787519 w 3135233"/>
                <a:gd name="connsiteY9263" fmla="*/ 1359201 h 2493266"/>
                <a:gd name="connsiteX9264" fmla="*/ 1800051 w 3135233"/>
                <a:gd name="connsiteY9264" fmla="*/ 1362408 h 2493266"/>
                <a:gd name="connsiteX9265" fmla="*/ 1827139 w 3135233"/>
                <a:gd name="connsiteY9265" fmla="*/ 1367342 h 2493266"/>
                <a:gd name="connsiteX9266" fmla="*/ 1827139 w 3135233"/>
                <a:gd name="connsiteY9266" fmla="*/ 1375385 h 2493266"/>
                <a:gd name="connsiteX9267" fmla="*/ 1825067 w 3135233"/>
                <a:gd name="connsiteY9267" fmla="*/ 1377013 h 2493266"/>
                <a:gd name="connsiteX9268" fmla="*/ 1816728 w 3135233"/>
                <a:gd name="connsiteY9268" fmla="*/ 1381947 h 2493266"/>
                <a:gd name="connsiteX9269" fmla="*/ 1810462 w 3135233"/>
                <a:gd name="connsiteY9269" fmla="*/ 1385203 h 2493266"/>
                <a:gd name="connsiteX9270" fmla="*/ 1800051 w 3135233"/>
                <a:gd name="connsiteY9270" fmla="*/ 1396453 h 2493266"/>
                <a:gd name="connsiteX9271" fmla="*/ 1797930 w 3135233"/>
                <a:gd name="connsiteY9271" fmla="*/ 1394874 h 2493266"/>
                <a:gd name="connsiteX9272" fmla="*/ 1795907 w 3135233"/>
                <a:gd name="connsiteY9272" fmla="*/ 1396453 h 2493266"/>
                <a:gd name="connsiteX9273" fmla="*/ 1793835 w 3135233"/>
                <a:gd name="connsiteY9273" fmla="*/ 1399709 h 2493266"/>
                <a:gd name="connsiteX9274" fmla="*/ 1770891 w 3135233"/>
                <a:gd name="connsiteY9274" fmla="*/ 1420679 h 2493266"/>
                <a:gd name="connsiteX9275" fmla="*/ 1762553 w 3135233"/>
                <a:gd name="connsiteY9275" fmla="*/ 1423886 h 2493266"/>
                <a:gd name="connsiteX9276" fmla="*/ 1756286 w 3135233"/>
                <a:gd name="connsiteY9276" fmla="*/ 1433754 h 2493266"/>
                <a:gd name="connsiteX9277" fmla="*/ 1750070 w 3135233"/>
                <a:gd name="connsiteY9277" fmla="*/ 1435333 h 2493266"/>
                <a:gd name="connsiteX9278" fmla="*/ 1745876 w 3135233"/>
                <a:gd name="connsiteY9278" fmla="*/ 1432126 h 2493266"/>
                <a:gd name="connsiteX9279" fmla="*/ 1741731 w 3135233"/>
                <a:gd name="connsiteY9279" fmla="*/ 1432126 h 2493266"/>
                <a:gd name="connsiteX9280" fmla="*/ 1739659 w 3135233"/>
                <a:gd name="connsiteY9280" fmla="*/ 1435333 h 2493266"/>
                <a:gd name="connsiteX9281" fmla="*/ 1731320 w 3135233"/>
                <a:gd name="connsiteY9281" fmla="*/ 1427291 h 2493266"/>
                <a:gd name="connsiteX9282" fmla="*/ 1725054 w 3135233"/>
                <a:gd name="connsiteY9282" fmla="*/ 1425663 h 2493266"/>
                <a:gd name="connsiteX9283" fmla="*/ 1720909 w 3135233"/>
                <a:gd name="connsiteY9283" fmla="*/ 1428870 h 2493266"/>
                <a:gd name="connsiteX9284" fmla="*/ 1718837 w 3135233"/>
                <a:gd name="connsiteY9284" fmla="*/ 1425663 h 2493266"/>
                <a:gd name="connsiteX9285" fmla="*/ 1716765 w 3135233"/>
                <a:gd name="connsiteY9285" fmla="*/ 1424034 h 2493266"/>
                <a:gd name="connsiteX9286" fmla="*/ 1722982 w 3135233"/>
                <a:gd name="connsiteY9286" fmla="*/ 1417571 h 2493266"/>
                <a:gd name="connsiteX9287" fmla="*/ 1718837 w 3135233"/>
                <a:gd name="connsiteY9287" fmla="*/ 1415992 h 2493266"/>
                <a:gd name="connsiteX9288" fmla="*/ 1718837 w 3135233"/>
                <a:gd name="connsiteY9288" fmla="*/ 1412785 h 2493266"/>
                <a:gd name="connsiteX9289" fmla="*/ 1710499 w 3135233"/>
                <a:gd name="connsiteY9289" fmla="*/ 1417719 h 2493266"/>
                <a:gd name="connsiteX9290" fmla="*/ 1706354 w 3135233"/>
                <a:gd name="connsiteY9290" fmla="*/ 1429018 h 2493266"/>
                <a:gd name="connsiteX9291" fmla="*/ 1704232 w 3135233"/>
                <a:gd name="connsiteY9291" fmla="*/ 1424084 h 2493266"/>
                <a:gd name="connsiteX9292" fmla="*/ 1702160 w 3135233"/>
                <a:gd name="connsiteY9292" fmla="*/ 1414216 h 2493266"/>
                <a:gd name="connsiteX9293" fmla="*/ 1697966 w 3135233"/>
                <a:gd name="connsiteY9293" fmla="*/ 1422307 h 2493266"/>
                <a:gd name="connsiteX9294" fmla="*/ 1702160 w 3135233"/>
                <a:gd name="connsiteY9294" fmla="*/ 1425515 h 2493266"/>
                <a:gd name="connsiteX9295" fmla="*/ 1700088 w 3135233"/>
                <a:gd name="connsiteY9295" fmla="*/ 1438392 h 2493266"/>
                <a:gd name="connsiteX9296" fmla="*/ 1691749 w 3135233"/>
                <a:gd name="connsiteY9296" fmla="*/ 1448260 h 2493266"/>
                <a:gd name="connsiteX9297" fmla="*/ 1687555 w 3135233"/>
                <a:gd name="connsiteY9297" fmla="*/ 1446632 h 2493266"/>
                <a:gd name="connsiteX9298" fmla="*/ 1685533 w 3135233"/>
                <a:gd name="connsiteY9298" fmla="*/ 1443425 h 2493266"/>
                <a:gd name="connsiteX9299" fmla="*/ 1681338 w 3135233"/>
                <a:gd name="connsiteY9299" fmla="*/ 1435333 h 2493266"/>
                <a:gd name="connsiteX9300" fmla="*/ 1679217 w 3135233"/>
                <a:gd name="connsiteY9300" fmla="*/ 1441797 h 2493266"/>
                <a:gd name="connsiteX9301" fmla="*/ 1683411 w 3135233"/>
                <a:gd name="connsiteY9301" fmla="*/ 1445004 h 2493266"/>
                <a:gd name="connsiteX9302" fmla="*/ 1677145 w 3135233"/>
                <a:gd name="connsiteY9302" fmla="*/ 1448260 h 2493266"/>
                <a:gd name="connsiteX9303" fmla="*/ 1675072 w 3135233"/>
                <a:gd name="connsiteY9303" fmla="*/ 1454724 h 2493266"/>
                <a:gd name="connsiteX9304" fmla="*/ 1673000 w 3135233"/>
                <a:gd name="connsiteY9304" fmla="*/ 1453096 h 2493266"/>
                <a:gd name="connsiteX9305" fmla="*/ 1666734 w 3135233"/>
                <a:gd name="connsiteY9305" fmla="*/ 1449889 h 2493266"/>
                <a:gd name="connsiteX9306" fmla="*/ 1664661 w 3135233"/>
                <a:gd name="connsiteY9306" fmla="*/ 1444954 h 2493266"/>
                <a:gd name="connsiteX9307" fmla="*/ 1658395 w 3135233"/>
                <a:gd name="connsiteY9307" fmla="*/ 1441747 h 2493266"/>
                <a:gd name="connsiteX9308" fmla="*/ 1652129 w 3135233"/>
                <a:gd name="connsiteY9308" fmla="*/ 1433705 h 2493266"/>
                <a:gd name="connsiteX9309" fmla="*/ 1637327 w 3135233"/>
                <a:gd name="connsiteY9309" fmla="*/ 1430449 h 2493266"/>
                <a:gd name="connsiteX9310" fmla="*/ 1622525 w 3135233"/>
                <a:gd name="connsiteY9310" fmla="*/ 1423985 h 2493266"/>
                <a:gd name="connsiteX9311" fmla="*/ 1618331 w 3135233"/>
                <a:gd name="connsiteY9311" fmla="*/ 1414117 h 2493266"/>
                <a:gd name="connsiteX9312" fmla="*/ 1614186 w 3135233"/>
                <a:gd name="connsiteY9312" fmla="*/ 1412538 h 2493266"/>
                <a:gd name="connsiteX9313" fmla="*/ 1603776 w 3135233"/>
                <a:gd name="connsiteY9313" fmla="*/ 1406074 h 2493266"/>
                <a:gd name="connsiteX9314" fmla="*/ 1599581 w 3135233"/>
                <a:gd name="connsiteY9314" fmla="*/ 1401140 h 2493266"/>
                <a:gd name="connsiteX9315" fmla="*/ 1599581 w 3135233"/>
                <a:gd name="connsiteY9315" fmla="*/ 1409183 h 2493266"/>
                <a:gd name="connsiteX9316" fmla="*/ 1593365 w 3135233"/>
                <a:gd name="connsiteY9316" fmla="*/ 1409183 h 2493266"/>
                <a:gd name="connsiteX9317" fmla="*/ 1597509 w 3135233"/>
                <a:gd name="connsiteY9317" fmla="*/ 1417225 h 2493266"/>
                <a:gd name="connsiteX9318" fmla="*/ 1603776 w 3135233"/>
                <a:gd name="connsiteY9318" fmla="*/ 1422159 h 2493266"/>
                <a:gd name="connsiteX9319" fmla="*/ 1605848 w 3135233"/>
                <a:gd name="connsiteY9319" fmla="*/ 1418952 h 2493266"/>
                <a:gd name="connsiteX9320" fmla="*/ 1603776 w 3135233"/>
                <a:gd name="connsiteY9320" fmla="*/ 1415696 h 2493266"/>
                <a:gd name="connsiteX9321" fmla="*/ 1603776 w 3135233"/>
                <a:gd name="connsiteY9321" fmla="*/ 1412489 h 2493266"/>
                <a:gd name="connsiteX9322" fmla="*/ 1607920 w 3135233"/>
                <a:gd name="connsiteY9322" fmla="*/ 1412489 h 2493266"/>
                <a:gd name="connsiteX9323" fmla="*/ 1622722 w 3135233"/>
                <a:gd name="connsiteY9323" fmla="*/ 1425367 h 2493266"/>
                <a:gd name="connsiteX9324" fmla="*/ 1635205 w 3135233"/>
                <a:gd name="connsiteY9324" fmla="*/ 1431830 h 2493266"/>
                <a:gd name="connsiteX9325" fmla="*/ 1635205 w 3135233"/>
                <a:gd name="connsiteY9325" fmla="*/ 1435037 h 2493266"/>
                <a:gd name="connsiteX9326" fmla="*/ 1626867 w 3135233"/>
                <a:gd name="connsiteY9326" fmla="*/ 1439971 h 2493266"/>
                <a:gd name="connsiteX9327" fmla="*/ 1618528 w 3135233"/>
                <a:gd name="connsiteY9327" fmla="*/ 1441550 h 2493266"/>
                <a:gd name="connsiteX9328" fmla="*/ 1614384 w 3135233"/>
                <a:gd name="connsiteY9328" fmla="*/ 1439971 h 2493266"/>
                <a:gd name="connsiteX9329" fmla="*/ 1616456 w 3135233"/>
                <a:gd name="connsiteY9329" fmla="*/ 1444905 h 2493266"/>
                <a:gd name="connsiteX9330" fmla="*/ 1616456 w 3135233"/>
                <a:gd name="connsiteY9330" fmla="*/ 1445645 h 2493266"/>
                <a:gd name="connsiteX9331" fmla="*/ 1618528 w 3135233"/>
                <a:gd name="connsiteY9331" fmla="*/ 1444017 h 2493266"/>
                <a:gd name="connsiteX9332" fmla="*/ 1633330 w 3135233"/>
                <a:gd name="connsiteY9332" fmla="*/ 1442438 h 2493266"/>
                <a:gd name="connsiteX9333" fmla="*/ 1641620 w 3135233"/>
                <a:gd name="connsiteY9333" fmla="*/ 1435975 h 2493266"/>
                <a:gd name="connsiteX9334" fmla="*/ 1643741 w 3135233"/>
                <a:gd name="connsiteY9334" fmla="*/ 1435975 h 2493266"/>
                <a:gd name="connsiteX9335" fmla="*/ 1650007 w 3135233"/>
                <a:gd name="connsiteY9335" fmla="*/ 1440909 h 2493266"/>
                <a:gd name="connsiteX9336" fmla="*/ 1650007 w 3135233"/>
                <a:gd name="connsiteY9336" fmla="*/ 1447372 h 2493266"/>
                <a:gd name="connsiteX9337" fmla="*/ 1664810 w 3135233"/>
                <a:gd name="connsiteY9337" fmla="*/ 1461878 h 2493266"/>
                <a:gd name="connsiteX9338" fmla="*/ 1662737 w 3135233"/>
                <a:gd name="connsiteY9338" fmla="*/ 1476384 h 2493266"/>
                <a:gd name="connsiteX9339" fmla="*/ 1654004 w 3135233"/>
                <a:gd name="connsiteY9339" fmla="*/ 1484575 h 2493266"/>
                <a:gd name="connsiteX9340" fmla="*/ 1647738 w 3135233"/>
                <a:gd name="connsiteY9340" fmla="*/ 1484575 h 2493266"/>
                <a:gd name="connsiteX9341" fmla="*/ 1643593 w 3135233"/>
                <a:gd name="connsiteY9341" fmla="*/ 1487831 h 2493266"/>
                <a:gd name="connsiteX9342" fmla="*/ 1635255 w 3135233"/>
                <a:gd name="connsiteY9342" fmla="*/ 1487831 h 2493266"/>
                <a:gd name="connsiteX9343" fmla="*/ 1629038 w 3135233"/>
                <a:gd name="connsiteY9343" fmla="*/ 1482897 h 2493266"/>
                <a:gd name="connsiteX9344" fmla="*/ 1612361 w 3135233"/>
                <a:gd name="connsiteY9344" fmla="*/ 1481318 h 2493266"/>
                <a:gd name="connsiteX9345" fmla="*/ 1604072 w 3135233"/>
                <a:gd name="connsiteY9345" fmla="*/ 1470315 h 2493266"/>
                <a:gd name="connsiteX9346" fmla="*/ 1599878 w 3135233"/>
                <a:gd name="connsiteY9346" fmla="*/ 1460447 h 2493266"/>
                <a:gd name="connsiteX9347" fmla="*/ 1595733 w 3135233"/>
                <a:gd name="connsiteY9347" fmla="*/ 1455513 h 2493266"/>
                <a:gd name="connsiteX9348" fmla="*/ 1593661 w 3135233"/>
                <a:gd name="connsiteY9348" fmla="*/ 1458770 h 2493266"/>
                <a:gd name="connsiteX9349" fmla="*/ 1593661 w 3135233"/>
                <a:gd name="connsiteY9349" fmla="*/ 1468638 h 2493266"/>
                <a:gd name="connsiteX9350" fmla="*/ 1599878 w 3135233"/>
                <a:gd name="connsiteY9350" fmla="*/ 1475102 h 2493266"/>
                <a:gd name="connsiteX9351" fmla="*/ 1606144 w 3135233"/>
                <a:gd name="connsiteY9351" fmla="*/ 1488029 h 2493266"/>
                <a:gd name="connsiteX9352" fmla="*/ 1612410 w 3135233"/>
                <a:gd name="connsiteY9352" fmla="*/ 1499278 h 2493266"/>
                <a:gd name="connsiteX9353" fmla="*/ 1608216 w 3135233"/>
                <a:gd name="connsiteY9353" fmla="*/ 1502535 h 2493266"/>
                <a:gd name="connsiteX9354" fmla="*/ 1604072 w 3135233"/>
                <a:gd name="connsiteY9354" fmla="*/ 1500907 h 2493266"/>
                <a:gd name="connsiteX9355" fmla="*/ 1597805 w 3135233"/>
                <a:gd name="connsiteY9355" fmla="*/ 1500907 h 2493266"/>
                <a:gd name="connsiteX9356" fmla="*/ 1595733 w 3135233"/>
                <a:gd name="connsiteY9356" fmla="*/ 1492864 h 2493266"/>
                <a:gd name="connsiteX9357" fmla="*/ 1593661 w 3135233"/>
                <a:gd name="connsiteY9357" fmla="*/ 1497798 h 2493266"/>
                <a:gd name="connsiteX9358" fmla="*/ 1591588 w 3135233"/>
                <a:gd name="connsiteY9358" fmla="*/ 1499377 h 2493266"/>
                <a:gd name="connsiteX9359" fmla="*/ 1593661 w 3135233"/>
                <a:gd name="connsiteY9359" fmla="*/ 1502633 h 2493266"/>
                <a:gd name="connsiteX9360" fmla="*/ 1599878 w 3135233"/>
                <a:gd name="connsiteY9360" fmla="*/ 1504212 h 2493266"/>
                <a:gd name="connsiteX9361" fmla="*/ 1601999 w 3135233"/>
                <a:gd name="connsiteY9361" fmla="*/ 1509146 h 2493266"/>
                <a:gd name="connsiteX9362" fmla="*/ 1589467 w 3135233"/>
                <a:gd name="connsiteY9362" fmla="*/ 1505890 h 2493266"/>
                <a:gd name="connsiteX9363" fmla="*/ 1585273 w 3135233"/>
                <a:gd name="connsiteY9363" fmla="*/ 1504262 h 2493266"/>
                <a:gd name="connsiteX9364" fmla="*/ 1585273 w 3135233"/>
                <a:gd name="connsiteY9364" fmla="*/ 1509196 h 2493266"/>
                <a:gd name="connsiteX9365" fmla="*/ 1589467 w 3135233"/>
                <a:gd name="connsiteY9365" fmla="*/ 1512403 h 2493266"/>
                <a:gd name="connsiteX9366" fmla="*/ 1589467 w 3135233"/>
                <a:gd name="connsiteY9366" fmla="*/ 1517337 h 2493266"/>
                <a:gd name="connsiteX9367" fmla="*/ 1583250 w 3135233"/>
                <a:gd name="connsiteY9367" fmla="*/ 1523800 h 2493266"/>
                <a:gd name="connsiteX9368" fmla="*/ 1583250 w 3135233"/>
                <a:gd name="connsiteY9368" fmla="*/ 1515758 h 2493266"/>
                <a:gd name="connsiteX9369" fmla="*/ 1576984 w 3135233"/>
                <a:gd name="connsiteY9369" fmla="*/ 1515758 h 2493266"/>
                <a:gd name="connsiteX9370" fmla="*/ 1581178 w 3135233"/>
                <a:gd name="connsiteY9370" fmla="*/ 1518965 h 2493266"/>
                <a:gd name="connsiteX9371" fmla="*/ 1579056 w 3135233"/>
                <a:gd name="connsiteY9371" fmla="*/ 1522172 h 2493266"/>
                <a:gd name="connsiteX9372" fmla="*/ 1576984 w 3135233"/>
                <a:gd name="connsiteY9372" fmla="*/ 1520593 h 2493266"/>
                <a:gd name="connsiteX9373" fmla="*/ 1568645 w 3135233"/>
                <a:gd name="connsiteY9373" fmla="*/ 1520593 h 2493266"/>
                <a:gd name="connsiteX9374" fmla="*/ 1564501 w 3135233"/>
                <a:gd name="connsiteY9374" fmla="*/ 1525527 h 2493266"/>
                <a:gd name="connsiteX9375" fmla="*/ 1554090 w 3135233"/>
                <a:gd name="connsiteY9375" fmla="*/ 1528784 h 2493266"/>
                <a:gd name="connsiteX9376" fmla="*/ 1560307 w 3135233"/>
                <a:gd name="connsiteY9376" fmla="*/ 1531991 h 2493266"/>
                <a:gd name="connsiteX9377" fmla="*/ 1560307 w 3135233"/>
                <a:gd name="connsiteY9377" fmla="*/ 1534458 h 2493266"/>
                <a:gd name="connsiteX9378" fmla="*/ 1558235 w 3135233"/>
                <a:gd name="connsiteY9378" fmla="*/ 1536086 h 2493266"/>
                <a:gd name="connsiteX9379" fmla="*/ 1556162 w 3135233"/>
                <a:gd name="connsiteY9379" fmla="*/ 1532830 h 2493266"/>
                <a:gd name="connsiteX9380" fmla="*/ 1547823 w 3135233"/>
                <a:gd name="connsiteY9380" fmla="*/ 1527896 h 2493266"/>
                <a:gd name="connsiteX9381" fmla="*/ 1541557 w 3135233"/>
                <a:gd name="connsiteY9381" fmla="*/ 1527896 h 2493266"/>
                <a:gd name="connsiteX9382" fmla="*/ 1541557 w 3135233"/>
                <a:gd name="connsiteY9382" fmla="*/ 1531103 h 2493266"/>
                <a:gd name="connsiteX9383" fmla="*/ 1537413 w 3135233"/>
                <a:gd name="connsiteY9383" fmla="*/ 1532731 h 2493266"/>
                <a:gd name="connsiteX9384" fmla="*/ 1547823 w 3135233"/>
                <a:gd name="connsiteY9384" fmla="*/ 1539195 h 2493266"/>
                <a:gd name="connsiteX9385" fmla="*/ 1543679 w 3135233"/>
                <a:gd name="connsiteY9385" fmla="*/ 1542402 h 2493266"/>
                <a:gd name="connsiteX9386" fmla="*/ 1543679 w 3135233"/>
                <a:gd name="connsiteY9386" fmla="*/ 1545658 h 2493266"/>
                <a:gd name="connsiteX9387" fmla="*/ 1537413 w 3135233"/>
                <a:gd name="connsiteY9387" fmla="*/ 1545658 h 2493266"/>
                <a:gd name="connsiteX9388" fmla="*/ 1531146 w 3135233"/>
                <a:gd name="connsiteY9388" fmla="*/ 1554194 h 2493266"/>
                <a:gd name="connsiteX9389" fmla="*/ 1522808 w 3135233"/>
                <a:gd name="connsiteY9389" fmla="*/ 1557401 h 2493266"/>
                <a:gd name="connsiteX9390" fmla="*/ 1527002 w 3135233"/>
                <a:gd name="connsiteY9390" fmla="*/ 1562335 h 2493266"/>
                <a:gd name="connsiteX9391" fmla="*/ 1524930 w 3135233"/>
                <a:gd name="connsiteY9391" fmla="*/ 1565542 h 2493266"/>
                <a:gd name="connsiteX9392" fmla="*/ 1518663 w 3135233"/>
                <a:gd name="connsiteY9392" fmla="*/ 1565542 h 2493266"/>
                <a:gd name="connsiteX9393" fmla="*/ 1514519 w 3135233"/>
                <a:gd name="connsiteY9393" fmla="*/ 1570476 h 2493266"/>
                <a:gd name="connsiteX9394" fmla="*/ 1516591 w 3135233"/>
                <a:gd name="connsiteY9394" fmla="*/ 1575410 h 2493266"/>
                <a:gd name="connsiteX9395" fmla="*/ 1510325 w 3135233"/>
                <a:gd name="connsiteY9395" fmla="*/ 1576989 h 2493266"/>
                <a:gd name="connsiteX9396" fmla="*/ 1499914 w 3135233"/>
                <a:gd name="connsiteY9396" fmla="*/ 1588288 h 2493266"/>
                <a:gd name="connsiteX9397" fmla="*/ 1491576 w 3135233"/>
                <a:gd name="connsiteY9397" fmla="*/ 1589916 h 2493266"/>
                <a:gd name="connsiteX9398" fmla="*/ 1491576 w 3135233"/>
                <a:gd name="connsiteY9398" fmla="*/ 1594850 h 2493266"/>
                <a:gd name="connsiteX9399" fmla="*/ 1485309 w 3135233"/>
                <a:gd name="connsiteY9399" fmla="*/ 1601265 h 2493266"/>
                <a:gd name="connsiteX9400" fmla="*/ 1477020 w 3135233"/>
                <a:gd name="connsiteY9400" fmla="*/ 1596331 h 2493266"/>
                <a:gd name="connsiteX9401" fmla="*/ 1477020 w 3135233"/>
                <a:gd name="connsiteY9401" fmla="*/ 1599538 h 2493266"/>
                <a:gd name="connsiteX9402" fmla="*/ 1479092 w 3135233"/>
                <a:gd name="connsiteY9402" fmla="*/ 1606001 h 2493266"/>
                <a:gd name="connsiteX9403" fmla="*/ 1472826 w 3135233"/>
                <a:gd name="connsiteY9403" fmla="*/ 1612465 h 2493266"/>
                <a:gd name="connsiteX9404" fmla="*/ 1470754 w 3135233"/>
                <a:gd name="connsiteY9404" fmla="*/ 1623764 h 2493266"/>
                <a:gd name="connsiteX9405" fmla="*/ 1466560 w 3135233"/>
                <a:gd name="connsiteY9405" fmla="*/ 1630228 h 2493266"/>
                <a:gd name="connsiteX9406" fmla="*/ 1462415 w 3135233"/>
                <a:gd name="connsiteY9406" fmla="*/ 1638270 h 2493266"/>
                <a:gd name="connsiteX9407" fmla="*/ 1458271 w 3135233"/>
                <a:gd name="connsiteY9407" fmla="*/ 1639898 h 2493266"/>
                <a:gd name="connsiteX9408" fmla="*/ 1452005 w 3135233"/>
                <a:gd name="connsiteY9408" fmla="*/ 1652776 h 2493266"/>
                <a:gd name="connsiteX9409" fmla="*/ 1454077 w 3135233"/>
                <a:gd name="connsiteY9409" fmla="*/ 1655983 h 2493266"/>
                <a:gd name="connsiteX9410" fmla="*/ 1454077 w 3135233"/>
                <a:gd name="connsiteY9410" fmla="*/ 1664075 h 2493266"/>
                <a:gd name="connsiteX9411" fmla="*/ 1447860 w 3135233"/>
                <a:gd name="connsiteY9411" fmla="*/ 1673943 h 2493266"/>
                <a:gd name="connsiteX9412" fmla="*/ 1445738 w 3135233"/>
                <a:gd name="connsiteY9412" fmla="*/ 1678877 h 2493266"/>
                <a:gd name="connsiteX9413" fmla="*/ 1439522 w 3135233"/>
                <a:gd name="connsiteY9413" fmla="*/ 1680456 h 2493266"/>
                <a:gd name="connsiteX9414" fmla="*/ 1437400 w 3135233"/>
                <a:gd name="connsiteY9414" fmla="*/ 1683663 h 2493266"/>
                <a:gd name="connsiteX9415" fmla="*/ 1443666 w 3135233"/>
                <a:gd name="connsiteY9415" fmla="*/ 1685291 h 2493266"/>
                <a:gd name="connsiteX9416" fmla="*/ 1445738 w 3135233"/>
                <a:gd name="connsiteY9416" fmla="*/ 1690225 h 2493266"/>
                <a:gd name="connsiteX9417" fmla="*/ 1443666 w 3135233"/>
                <a:gd name="connsiteY9417" fmla="*/ 1695159 h 2493266"/>
                <a:gd name="connsiteX9418" fmla="*/ 1447860 w 3135233"/>
                <a:gd name="connsiteY9418" fmla="*/ 1700094 h 2493266"/>
                <a:gd name="connsiteX9419" fmla="*/ 1447860 w 3135233"/>
                <a:gd name="connsiteY9419" fmla="*/ 1707149 h 2493266"/>
                <a:gd name="connsiteX9420" fmla="*/ 1449932 w 3135233"/>
                <a:gd name="connsiteY9420" fmla="*/ 1708777 h 2493266"/>
                <a:gd name="connsiteX9421" fmla="*/ 1443666 w 3135233"/>
                <a:gd name="connsiteY9421" fmla="*/ 1723283 h 2493266"/>
                <a:gd name="connsiteX9422" fmla="*/ 1433255 w 3135233"/>
                <a:gd name="connsiteY9422" fmla="*/ 1729747 h 2493266"/>
                <a:gd name="connsiteX9423" fmla="*/ 1414506 w 3135233"/>
                <a:gd name="connsiteY9423" fmla="*/ 1734681 h 2493266"/>
                <a:gd name="connsiteX9424" fmla="*/ 1412434 w 3135233"/>
                <a:gd name="connsiteY9424" fmla="*/ 1741145 h 2493266"/>
                <a:gd name="connsiteX9425" fmla="*/ 1420772 w 3135233"/>
                <a:gd name="connsiteY9425" fmla="*/ 1733053 h 2493266"/>
                <a:gd name="connsiteX9426" fmla="*/ 1437400 w 3135233"/>
                <a:gd name="connsiteY9426" fmla="*/ 1731474 h 2493266"/>
                <a:gd name="connsiteX9427" fmla="*/ 1449932 w 3135233"/>
                <a:gd name="connsiteY9427" fmla="*/ 1718547 h 2493266"/>
                <a:gd name="connsiteX9428" fmla="*/ 1460343 w 3135233"/>
                <a:gd name="connsiteY9428" fmla="*/ 1703991 h 2493266"/>
                <a:gd name="connsiteX9429" fmla="*/ 1481313 w 3135233"/>
                <a:gd name="connsiteY9429" fmla="*/ 1702215 h 2493266"/>
                <a:gd name="connsiteX9430" fmla="*/ 1487579 w 3135233"/>
                <a:gd name="connsiteY9430" fmla="*/ 1705472 h 2493266"/>
                <a:gd name="connsiteX9431" fmla="*/ 1487579 w 3135233"/>
                <a:gd name="connsiteY9431" fmla="*/ 1710406 h 2493266"/>
                <a:gd name="connsiteX9432" fmla="*/ 1483385 w 3135233"/>
                <a:gd name="connsiteY9432" fmla="*/ 1716869 h 2493266"/>
                <a:gd name="connsiteX9433" fmla="*/ 1483385 w 3135233"/>
                <a:gd name="connsiteY9433" fmla="*/ 1724961 h 2493266"/>
                <a:gd name="connsiteX9434" fmla="*/ 1487579 w 3135233"/>
                <a:gd name="connsiteY9434" fmla="*/ 1733003 h 2493266"/>
                <a:gd name="connsiteX9435" fmla="*/ 1487579 w 3135233"/>
                <a:gd name="connsiteY9435" fmla="*/ 1745931 h 2493266"/>
                <a:gd name="connsiteX9436" fmla="*/ 1483385 w 3135233"/>
                <a:gd name="connsiteY9436" fmla="*/ 1757230 h 2493266"/>
                <a:gd name="connsiteX9437" fmla="*/ 1487579 w 3135233"/>
                <a:gd name="connsiteY9437" fmla="*/ 1763644 h 2493266"/>
                <a:gd name="connsiteX9438" fmla="*/ 1489651 w 3135233"/>
                <a:gd name="connsiteY9438" fmla="*/ 1774992 h 2493266"/>
                <a:gd name="connsiteX9439" fmla="*/ 1485457 w 3135233"/>
                <a:gd name="connsiteY9439" fmla="*/ 1781406 h 2493266"/>
                <a:gd name="connsiteX9440" fmla="*/ 1464636 w 3135233"/>
                <a:gd name="connsiteY9440" fmla="*/ 1799169 h 2493266"/>
                <a:gd name="connsiteX9441" fmla="*/ 1454225 w 3135233"/>
                <a:gd name="connsiteY9441" fmla="*/ 1802425 h 2493266"/>
                <a:gd name="connsiteX9442" fmla="*/ 1445886 w 3135233"/>
                <a:gd name="connsiteY9442" fmla="*/ 1800797 h 2493266"/>
                <a:gd name="connsiteX9443" fmla="*/ 1454225 w 3135233"/>
                <a:gd name="connsiteY9443" fmla="*/ 1804004 h 2493266"/>
                <a:gd name="connsiteX9444" fmla="*/ 1464636 w 3135233"/>
                <a:gd name="connsiteY9444" fmla="*/ 1804004 h 2493266"/>
                <a:gd name="connsiteX9445" fmla="*/ 1489651 w 3135233"/>
                <a:gd name="connsiteY9445" fmla="*/ 1797541 h 2493266"/>
                <a:gd name="connsiteX9446" fmla="*/ 1516739 w 3135233"/>
                <a:gd name="connsiteY9446" fmla="*/ 1789498 h 2493266"/>
                <a:gd name="connsiteX9447" fmla="*/ 1529222 w 3135233"/>
                <a:gd name="connsiteY9447" fmla="*/ 1789498 h 2493266"/>
                <a:gd name="connsiteX9448" fmla="*/ 1545899 w 3135233"/>
                <a:gd name="connsiteY9448" fmla="*/ 1797541 h 2493266"/>
                <a:gd name="connsiteX9449" fmla="*/ 1556310 w 3135233"/>
                <a:gd name="connsiteY9449" fmla="*/ 1805632 h 2493266"/>
                <a:gd name="connsiteX9450" fmla="*/ 1571112 w 3135233"/>
                <a:gd name="connsiteY9450" fmla="*/ 1810566 h 2493266"/>
                <a:gd name="connsiteX9451" fmla="*/ 1575257 w 3135233"/>
                <a:gd name="connsiteY9451" fmla="*/ 1813823 h 2493266"/>
                <a:gd name="connsiteX9452" fmla="*/ 1583645 w 3135233"/>
                <a:gd name="connsiteY9452" fmla="*/ 1815402 h 2493266"/>
                <a:gd name="connsiteX9453" fmla="*/ 1594055 w 3135233"/>
                <a:gd name="connsiteY9453" fmla="*/ 1825270 h 2493266"/>
                <a:gd name="connsiteX9454" fmla="*/ 1600272 w 3135233"/>
                <a:gd name="connsiteY9454" fmla="*/ 1826898 h 2493266"/>
                <a:gd name="connsiteX9455" fmla="*/ 1606539 w 3135233"/>
                <a:gd name="connsiteY9455" fmla="*/ 1836766 h 2493266"/>
                <a:gd name="connsiteX9456" fmla="*/ 1612805 w 3135233"/>
                <a:gd name="connsiteY9456" fmla="*/ 1839973 h 2493266"/>
                <a:gd name="connsiteX9457" fmla="*/ 1612805 w 3135233"/>
                <a:gd name="connsiteY9457" fmla="*/ 1844907 h 2493266"/>
                <a:gd name="connsiteX9458" fmla="*/ 1616949 w 3135233"/>
                <a:gd name="connsiteY9458" fmla="*/ 1849842 h 2493266"/>
                <a:gd name="connsiteX9459" fmla="*/ 1621094 w 3135233"/>
                <a:gd name="connsiteY9459" fmla="*/ 1861091 h 2493266"/>
                <a:gd name="connsiteX9460" fmla="*/ 1621094 w 3135233"/>
                <a:gd name="connsiteY9460" fmla="*/ 1862769 h 2493266"/>
                <a:gd name="connsiteX9461" fmla="*/ 1627360 w 3135233"/>
                <a:gd name="connsiteY9461" fmla="*/ 1861091 h 2493266"/>
                <a:gd name="connsiteX9462" fmla="*/ 1629482 w 3135233"/>
                <a:gd name="connsiteY9462" fmla="*/ 1864347 h 2493266"/>
                <a:gd name="connsiteX9463" fmla="*/ 1644037 w 3135233"/>
                <a:gd name="connsiteY9463" fmla="*/ 1874216 h 2493266"/>
                <a:gd name="connsiteX9464" fmla="*/ 1650303 w 3135233"/>
                <a:gd name="connsiteY9464" fmla="*/ 1874216 h 2493266"/>
                <a:gd name="connsiteX9465" fmla="*/ 1660714 w 3135233"/>
                <a:gd name="connsiteY9465" fmla="*/ 1880679 h 2493266"/>
                <a:gd name="connsiteX9466" fmla="*/ 1664859 w 3135233"/>
                <a:gd name="connsiteY9466" fmla="*/ 1882307 h 2493266"/>
                <a:gd name="connsiteX9467" fmla="*/ 1677342 w 3135233"/>
                <a:gd name="connsiteY9467" fmla="*/ 1892175 h 2493266"/>
                <a:gd name="connsiteX9468" fmla="*/ 1679414 w 3135233"/>
                <a:gd name="connsiteY9468" fmla="*/ 1897109 h 2493266"/>
                <a:gd name="connsiteX9469" fmla="*/ 1687753 w 3135233"/>
                <a:gd name="connsiteY9469" fmla="*/ 1903524 h 2493266"/>
                <a:gd name="connsiteX9470" fmla="*/ 1687753 w 3135233"/>
                <a:gd name="connsiteY9470" fmla="*/ 1906731 h 2493266"/>
                <a:gd name="connsiteX9471" fmla="*/ 1689875 w 3135233"/>
                <a:gd name="connsiteY9471" fmla="*/ 1908359 h 2493266"/>
                <a:gd name="connsiteX9472" fmla="*/ 1700285 w 3135233"/>
                <a:gd name="connsiteY9472" fmla="*/ 1909938 h 2493266"/>
                <a:gd name="connsiteX9473" fmla="*/ 1704430 w 3135233"/>
                <a:gd name="connsiteY9473" fmla="*/ 1909938 h 2493266"/>
                <a:gd name="connsiteX9474" fmla="*/ 1712768 w 3135233"/>
                <a:gd name="connsiteY9474" fmla="*/ 1908359 h 2493266"/>
                <a:gd name="connsiteX9475" fmla="*/ 1727570 w 3135233"/>
                <a:gd name="connsiteY9475" fmla="*/ 1909938 h 2493266"/>
                <a:gd name="connsiteX9476" fmla="*/ 1731715 w 3135233"/>
                <a:gd name="connsiteY9476" fmla="*/ 1911616 h 2493266"/>
                <a:gd name="connsiteX9477" fmla="*/ 1733787 w 3135233"/>
                <a:gd name="connsiteY9477" fmla="*/ 1911616 h 2493266"/>
                <a:gd name="connsiteX9478" fmla="*/ 1746271 w 3135233"/>
                <a:gd name="connsiteY9478" fmla="*/ 1914823 h 2493266"/>
                <a:gd name="connsiteX9479" fmla="*/ 1758803 w 3135233"/>
                <a:gd name="connsiteY9479" fmla="*/ 1916402 h 2493266"/>
                <a:gd name="connsiteX9480" fmla="*/ 1767092 w 3135233"/>
                <a:gd name="connsiteY9480" fmla="*/ 1914823 h 2493266"/>
                <a:gd name="connsiteX9481" fmla="*/ 1771286 w 3135233"/>
                <a:gd name="connsiteY9481" fmla="*/ 1914823 h 2493266"/>
                <a:gd name="connsiteX9482" fmla="*/ 1771286 w 3135233"/>
                <a:gd name="connsiteY9482" fmla="*/ 1916402 h 2493266"/>
                <a:gd name="connsiteX9483" fmla="*/ 1777503 w 3135233"/>
                <a:gd name="connsiteY9483" fmla="*/ 1916402 h 2493266"/>
                <a:gd name="connsiteX9484" fmla="*/ 1779625 w 3135233"/>
                <a:gd name="connsiteY9484" fmla="*/ 1924493 h 2493266"/>
                <a:gd name="connsiteX9485" fmla="*/ 1769214 w 3135233"/>
                <a:gd name="connsiteY9485" fmla="*/ 1940628 h 2493266"/>
                <a:gd name="connsiteX9486" fmla="*/ 1769214 w 3135233"/>
                <a:gd name="connsiteY9486" fmla="*/ 1945562 h 2493266"/>
                <a:gd name="connsiteX9487" fmla="*/ 1765020 w 3135233"/>
                <a:gd name="connsiteY9487" fmla="*/ 1951976 h 2493266"/>
                <a:gd name="connsiteX9488" fmla="*/ 1758211 w 3135233"/>
                <a:gd name="connsiteY9488" fmla="*/ 1958785 h 2493266"/>
                <a:gd name="connsiteX9489" fmla="*/ 1760283 w 3135233"/>
                <a:gd name="connsiteY9489" fmla="*/ 1965249 h 2493266"/>
                <a:gd name="connsiteX9490" fmla="*/ 1762356 w 3135233"/>
                <a:gd name="connsiteY9490" fmla="*/ 1966827 h 2493266"/>
                <a:gd name="connsiteX9491" fmla="*/ 1762356 w 3135233"/>
                <a:gd name="connsiteY9491" fmla="*/ 1979755 h 2493266"/>
                <a:gd name="connsiteX9492" fmla="*/ 1754017 w 3135233"/>
                <a:gd name="connsiteY9492" fmla="*/ 1992682 h 2493266"/>
                <a:gd name="connsiteX9493" fmla="*/ 1754017 w 3135233"/>
                <a:gd name="connsiteY9493" fmla="*/ 1997616 h 2493266"/>
                <a:gd name="connsiteX9494" fmla="*/ 1749872 w 3135233"/>
                <a:gd name="connsiteY9494" fmla="*/ 2005708 h 2493266"/>
                <a:gd name="connsiteX9495" fmla="*/ 1743606 w 3135233"/>
                <a:gd name="connsiteY9495" fmla="*/ 2012171 h 2493266"/>
                <a:gd name="connsiteX9496" fmla="*/ 1739462 w 3135233"/>
                <a:gd name="connsiteY9496" fmla="*/ 2023470 h 2493266"/>
                <a:gd name="connsiteX9497" fmla="*/ 1741534 w 3135233"/>
                <a:gd name="connsiteY9497" fmla="*/ 2028404 h 2493266"/>
                <a:gd name="connsiteX9498" fmla="*/ 1749872 w 3135233"/>
                <a:gd name="connsiteY9498" fmla="*/ 2033338 h 2493266"/>
                <a:gd name="connsiteX9499" fmla="*/ 1749872 w 3135233"/>
                <a:gd name="connsiteY9499" fmla="*/ 2041430 h 2493266"/>
                <a:gd name="connsiteX9500" fmla="*/ 1756089 w 3135233"/>
                <a:gd name="connsiteY9500" fmla="*/ 2044637 h 2493266"/>
                <a:gd name="connsiteX9501" fmla="*/ 1760283 w 3135233"/>
                <a:gd name="connsiteY9501" fmla="*/ 2049571 h 2493266"/>
                <a:gd name="connsiteX9502" fmla="*/ 1758211 w 3135233"/>
                <a:gd name="connsiteY9502" fmla="*/ 2054505 h 2493266"/>
                <a:gd name="connsiteX9503" fmla="*/ 1758211 w 3135233"/>
                <a:gd name="connsiteY9503" fmla="*/ 2060969 h 2493266"/>
                <a:gd name="connsiteX9504" fmla="*/ 1764428 w 3135233"/>
                <a:gd name="connsiteY9504" fmla="*/ 2064176 h 2493266"/>
                <a:gd name="connsiteX9505" fmla="*/ 1772766 w 3135233"/>
                <a:gd name="connsiteY9505" fmla="*/ 2067432 h 2493266"/>
                <a:gd name="connsiteX9506" fmla="*/ 1774888 w 3135233"/>
                <a:gd name="connsiteY9506" fmla="*/ 2067432 h 2493266"/>
                <a:gd name="connsiteX9507" fmla="*/ 1776911 w 3135233"/>
                <a:gd name="connsiteY9507" fmla="*/ 2072366 h 2493266"/>
                <a:gd name="connsiteX9508" fmla="*/ 1781105 w 3135233"/>
                <a:gd name="connsiteY9508" fmla="*/ 2077300 h 2493266"/>
                <a:gd name="connsiteX9509" fmla="*/ 1781105 w 3135233"/>
                <a:gd name="connsiteY9509" fmla="*/ 2087168 h 2493266"/>
                <a:gd name="connsiteX9510" fmla="*/ 1783226 w 3135233"/>
                <a:gd name="connsiteY9510" fmla="*/ 2090425 h 2493266"/>
                <a:gd name="connsiteX9511" fmla="*/ 1781105 w 3135233"/>
                <a:gd name="connsiteY9511" fmla="*/ 2100293 h 2493266"/>
                <a:gd name="connsiteX9512" fmla="*/ 1766303 w 3135233"/>
                <a:gd name="connsiteY9512" fmla="*/ 2110161 h 2493266"/>
                <a:gd name="connsiteX9513" fmla="*/ 1776713 w 3135233"/>
                <a:gd name="connsiteY9513" fmla="*/ 2106905 h 2493266"/>
                <a:gd name="connsiteX9514" fmla="*/ 1787124 w 3135233"/>
                <a:gd name="connsiteY9514" fmla="*/ 2100441 h 2493266"/>
                <a:gd name="connsiteX9515" fmla="*/ 1795512 w 3135233"/>
                <a:gd name="connsiteY9515" fmla="*/ 2103698 h 2493266"/>
                <a:gd name="connsiteX9516" fmla="*/ 1801729 w 3135233"/>
                <a:gd name="connsiteY9516" fmla="*/ 2108632 h 2493266"/>
                <a:gd name="connsiteX9517" fmla="*/ 1807995 w 3135233"/>
                <a:gd name="connsiteY9517" fmla="*/ 2108632 h 2493266"/>
                <a:gd name="connsiteX9518" fmla="*/ 1810068 w 3135233"/>
                <a:gd name="connsiteY9518" fmla="*/ 2103698 h 2493266"/>
                <a:gd name="connsiteX9519" fmla="*/ 1810068 w 3135233"/>
                <a:gd name="connsiteY9519" fmla="*/ 2098764 h 2493266"/>
                <a:gd name="connsiteX9520" fmla="*/ 1822550 w 3135233"/>
                <a:gd name="connsiteY9520" fmla="*/ 2085836 h 2493266"/>
                <a:gd name="connsiteX9521" fmla="*/ 1824672 w 3135233"/>
                <a:gd name="connsiteY9521" fmla="*/ 2085836 h 2493266"/>
                <a:gd name="connsiteX9522" fmla="*/ 1824672 w 3135233"/>
                <a:gd name="connsiteY9522" fmla="*/ 2093928 h 2493266"/>
                <a:gd name="connsiteX9523" fmla="*/ 1828817 w 3135233"/>
                <a:gd name="connsiteY9523" fmla="*/ 2095556 h 2493266"/>
                <a:gd name="connsiteX9524" fmla="*/ 1830889 w 3135233"/>
                <a:gd name="connsiteY9524" fmla="*/ 2105425 h 2493266"/>
                <a:gd name="connsiteX9525" fmla="*/ 1830889 w 3135233"/>
                <a:gd name="connsiteY9525" fmla="*/ 2115293 h 2493266"/>
                <a:gd name="connsiteX9526" fmla="*/ 1839228 w 3135233"/>
                <a:gd name="connsiteY9526" fmla="*/ 2120227 h 2493266"/>
                <a:gd name="connsiteX9527" fmla="*/ 1851760 w 3135233"/>
                <a:gd name="connsiteY9527" fmla="*/ 2121855 h 2493266"/>
                <a:gd name="connsiteX9528" fmla="*/ 1843372 w 3135233"/>
                <a:gd name="connsiteY9528" fmla="*/ 2118598 h 2493266"/>
                <a:gd name="connsiteX9529" fmla="*/ 1837155 w 3135233"/>
                <a:gd name="connsiteY9529" fmla="*/ 2112184 h 2493266"/>
                <a:gd name="connsiteX9530" fmla="*/ 1835083 w 3135233"/>
                <a:gd name="connsiteY9530" fmla="*/ 2104092 h 2493266"/>
                <a:gd name="connsiteX9531" fmla="*/ 1837155 w 3135233"/>
                <a:gd name="connsiteY9531" fmla="*/ 2094224 h 2493266"/>
                <a:gd name="connsiteX9532" fmla="*/ 1841349 w 3135233"/>
                <a:gd name="connsiteY9532" fmla="*/ 2091017 h 2493266"/>
                <a:gd name="connsiteX9533" fmla="*/ 1837155 w 3135233"/>
                <a:gd name="connsiteY9533" fmla="*/ 2086083 h 2493266"/>
                <a:gd name="connsiteX9534" fmla="*/ 1837155 w 3135233"/>
                <a:gd name="connsiteY9534" fmla="*/ 2081149 h 2493266"/>
                <a:gd name="connsiteX9535" fmla="*/ 1839228 w 3135233"/>
                <a:gd name="connsiteY9535" fmla="*/ 2082728 h 2493266"/>
                <a:gd name="connsiteX9536" fmla="*/ 1843372 w 3135233"/>
                <a:gd name="connsiteY9536" fmla="*/ 2081149 h 2493266"/>
                <a:gd name="connsiteX9537" fmla="*/ 1847566 w 3135233"/>
                <a:gd name="connsiteY9537" fmla="*/ 2071281 h 2493266"/>
                <a:gd name="connsiteX9538" fmla="*/ 1855905 w 3135233"/>
                <a:gd name="connsiteY9538" fmla="*/ 2064817 h 2493266"/>
                <a:gd name="connsiteX9539" fmla="*/ 1853783 w 3135233"/>
                <a:gd name="connsiteY9539" fmla="*/ 2061610 h 2493266"/>
                <a:gd name="connsiteX9540" fmla="*/ 1851760 w 3135233"/>
                <a:gd name="connsiteY9540" fmla="*/ 2053568 h 2493266"/>
                <a:gd name="connsiteX9541" fmla="*/ 1847566 w 3135233"/>
                <a:gd name="connsiteY9541" fmla="*/ 2050311 h 2493266"/>
                <a:gd name="connsiteX9542" fmla="*/ 1847566 w 3135233"/>
                <a:gd name="connsiteY9542" fmla="*/ 2042664 h 2493266"/>
                <a:gd name="connsiteX9543" fmla="*/ 1853783 w 3135233"/>
                <a:gd name="connsiteY9543" fmla="*/ 2036200 h 2493266"/>
                <a:gd name="connsiteX9544" fmla="*/ 1851760 w 3135233"/>
                <a:gd name="connsiteY9544" fmla="*/ 2032993 h 2493266"/>
                <a:gd name="connsiteX9545" fmla="*/ 1851760 w 3135233"/>
                <a:gd name="connsiteY9545" fmla="*/ 2029736 h 2493266"/>
                <a:gd name="connsiteX9546" fmla="*/ 1847566 w 3135233"/>
                <a:gd name="connsiteY9546" fmla="*/ 2028157 h 2493266"/>
                <a:gd name="connsiteX9547" fmla="*/ 1847566 w 3135233"/>
                <a:gd name="connsiteY9547" fmla="*/ 2024901 h 2493266"/>
                <a:gd name="connsiteX9548" fmla="*/ 1853783 w 3135233"/>
                <a:gd name="connsiteY9548" fmla="*/ 2008767 h 2493266"/>
                <a:gd name="connsiteX9549" fmla="*/ 1851760 w 3135233"/>
                <a:gd name="connsiteY9549" fmla="*/ 2002303 h 2493266"/>
                <a:gd name="connsiteX9550" fmla="*/ 1853783 w 3135233"/>
                <a:gd name="connsiteY9550" fmla="*/ 1992682 h 2493266"/>
                <a:gd name="connsiteX9551" fmla="*/ 1857977 w 3135233"/>
                <a:gd name="connsiteY9551" fmla="*/ 1989425 h 2493266"/>
                <a:gd name="connsiteX9552" fmla="*/ 1855905 w 3135233"/>
                <a:gd name="connsiteY9552" fmla="*/ 1982962 h 2493266"/>
                <a:gd name="connsiteX9553" fmla="*/ 1857977 w 3135233"/>
                <a:gd name="connsiteY9553" fmla="*/ 1981334 h 2493266"/>
                <a:gd name="connsiteX9554" fmla="*/ 1855905 w 3135233"/>
                <a:gd name="connsiteY9554" fmla="*/ 1976399 h 2493266"/>
                <a:gd name="connsiteX9555" fmla="*/ 1860049 w 3135233"/>
                <a:gd name="connsiteY9555" fmla="*/ 1973192 h 2493266"/>
                <a:gd name="connsiteX9556" fmla="*/ 1856299 w 3135233"/>
                <a:gd name="connsiteY9556" fmla="*/ 1973192 h 2493266"/>
                <a:gd name="connsiteX9557" fmla="*/ 1854178 w 3135233"/>
                <a:gd name="connsiteY9557" fmla="*/ 1968258 h 2493266"/>
                <a:gd name="connsiteX9558" fmla="*/ 1858372 w 3135233"/>
                <a:gd name="connsiteY9558" fmla="*/ 1966630 h 2493266"/>
                <a:gd name="connsiteX9559" fmla="*/ 1856299 w 3135233"/>
                <a:gd name="connsiteY9559" fmla="*/ 1961696 h 2493266"/>
                <a:gd name="connsiteX9560" fmla="*/ 1856299 w 3135233"/>
                <a:gd name="connsiteY9560" fmla="*/ 1956762 h 2493266"/>
                <a:gd name="connsiteX9561" fmla="*/ 1852155 w 3135233"/>
                <a:gd name="connsiteY9561" fmla="*/ 1951828 h 2493266"/>
                <a:gd name="connsiteX9562" fmla="*/ 1852155 w 3135233"/>
                <a:gd name="connsiteY9562" fmla="*/ 1945364 h 2493266"/>
                <a:gd name="connsiteX9563" fmla="*/ 1850033 w 3135233"/>
                <a:gd name="connsiteY9563" fmla="*/ 1942108 h 2493266"/>
                <a:gd name="connsiteX9564" fmla="*/ 1858372 w 3135233"/>
                <a:gd name="connsiteY9564" fmla="*/ 1938901 h 2493266"/>
                <a:gd name="connsiteX9565" fmla="*/ 1873174 w 3135233"/>
                <a:gd name="connsiteY9565" fmla="*/ 1935644 h 2493266"/>
                <a:gd name="connsiteX9566" fmla="*/ 1881463 w 3135233"/>
                <a:gd name="connsiteY9566" fmla="*/ 1930710 h 2493266"/>
                <a:gd name="connsiteX9567" fmla="*/ 1889801 w 3135233"/>
                <a:gd name="connsiteY9567" fmla="*/ 1932289 h 2493266"/>
                <a:gd name="connsiteX9568" fmla="*/ 1891874 w 3135233"/>
                <a:gd name="connsiteY9568" fmla="*/ 1929082 h 2493266"/>
                <a:gd name="connsiteX9569" fmla="*/ 1906676 w 3135233"/>
                <a:gd name="connsiteY9569" fmla="*/ 1922619 h 2493266"/>
                <a:gd name="connsiteX9570" fmla="*/ 1929619 w 3135233"/>
                <a:gd name="connsiteY9570" fmla="*/ 1916204 h 2493266"/>
                <a:gd name="connsiteX9571" fmla="*/ 1929619 w 3135233"/>
                <a:gd name="connsiteY9571" fmla="*/ 1912948 h 2493266"/>
                <a:gd name="connsiteX9572" fmla="*/ 1933764 w 3135233"/>
                <a:gd name="connsiteY9572" fmla="*/ 1909741 h 2493266"/>
                <a:gd name="connsiteX9573" fmla="*/ 1950441 w 3135233"/>
                <a:gd name="connsiteY9573" fmla="*/ 1903277 h 2493266"/>
                <a:gd name="connsiteX9574" fmla="*/ 1952513 w 3135233"/>
                <a:gd name="connsiteY9574" fmla="*/ 1898343 h 2493266"/>
                <a:gd name="connsiteX9575" fmla="*/ 1960852 w 3135233"/>
                <a:gd name="connsiteY9575" fmla="*/ 1895136 h 2493266"/>
                <a:gd name="connsiteX9576" fmla="*/ 1971262 w 3135233"/>
                <a:gd name="connsiteY9576" fmla="*/ 1880334 h 2493266"/>
                <a:gd name="connsiteX9577" fmla="*/ 1975407 w 3135233"/>
                <a:gd name="connsiteY9577" fmla="*/ 1881962 h 2493266"/>
                <a:gd name="connsiteX9578" fmla="*/ 1977479 w 3135233"/>
                <a:gd name="connsiteY9578" fmla="*/ 1885169 h 2493266"/>
                <a:gd name="connsiteX9579" fmla="*/ 1985818 w 3135233"/>
                <a:gd name="connsiteY9579" fmla="*/ 1883541 h 2493266"/>
                <a:gd name="connsiteX9580" fmla="*/ 1989963 w 3135233"/>
                <a:gd name="connsiteY9580" fmla="*/ 1878607 h 2493266"/>
                <a:gd name="connsiteX9581" fmla="*/ 1983746 w 3135233"/>
                <a:gd name="connsiteY9581" fmla="*/ 1872143 h 2493266"/>
                <a:gd name="connsiteX9582" fmla="*/ 1983746 w 3135233"/>
                <a:gd name="connsiteY9582" fmla="*/ 1864101 h 2493266"/>
                <a:gd name="connsiteX9583" fmla="*/ 1979552 w 3135233"/>
                <a:gd name="connsiteY9583" fmla="*/ 1867357 h 2493266"/>
                <a:gd name="connsiteX9584" fmla="*/ 1977479 w 3135233"/>
                <a:gd name="connsiteY9584" fmla="*/ 1873771 h 2493266"/>
                <a:gd name="connsiteX9585" fmla="*/ 1974716 w 3135233"/>
                <a:gd name="connsiteY9585" fmla="*/ 1873771 h 2493266"/>
                <a:gd name="connsiteX9586" fmla="*/ 1976788 w 3135233"/>
                <a:gd name="connsiteY9586" fmla="*/ 1865680 h 2493266"/>
                <a:gd name="connsiteX9587" fmla="*/ 1983055 w 3135233"/>
                <a:gd name="connsiteY9587" fmla="*/ 1851174 h 2493266"/>
                <a:gd name="connsiteX9588" fmla="*/ 1985127 w 3135233"/>
                <a:gd name="connsiteY9588" fmla="*/ 1847967 h 2493266"/>
                <a:gd name="connsiteX9589" fmla="*/ 1985127 w 3135233"/>
                <a:gd name="connsiteY9589" fmla="*/ 1838098 h 2493266"/>
                <a:gd name="connsiteX9590" fmla="*/ 1987249 w 3135233"/>
                <a:gd name="connsiteY9590" fmla="*/ 1830056 h 2493266"/>
                <a:gd name="connsiteX9591" fmla="*/ 1980983 w 3135233"/>
                <a:gd name="connsiteY9591" fmla="*/ 1820188 h 2493266"/>
                <a:gd name="connsiteX9592" fmla="*/ 1983055 w 3135233"/>
                <a:gd name="connsiteY9592" fmla="*/ 1802425 h 2493266"/>
                <a:gd name="connsiteX9593" fmla="*/ 1978861 w 3135233"/>
                <a:gd name="connsiteY9593" fmla="*/ 1786291 h 2493266"/>
                <a:gd name="connsiteX9594" fmla="*/ 1968450 w 3135233"/>
                <a:gd name="connsiteY9594" fmla="*/ 1771785 h 2493266"/>
                <a:gd name="connsiteX9595" fmla="*/ 1960161 w 3135233"/>
                <a:gd name="connsiteY9595" fmla="*/ 1766851 h 2493266"/>
                <a:gd name="connsiteX9596" fmla="*/ 1958039 w 3135233"/>
                <a:gd name="connsiteY9596" fmla="*/ 1760387 h 2493266"/>
                <a:gd name="connsiteX9597" fmla="*/ 1951822 w 3135233"/>
                <a:gd name="connsiteY9597" fmla="*/ 1758759 h 2493266"/>
                <a:gd name="connsiteX9598" fmla="*/ 1949750 w 3135233"/>
                <a:gd name="connsiteY9598" fmla="*/ 1753825 h 2493266"/>
                <a:gd name="connsiteX9599" fmla="*/ 1953895 w 3135233"/>
                <a:gd name="connsiteY9599" fmla="*/ 1740898 h 2493266"/>
                <a:gd name="connsiteX9600" fmla="*/ 1960161 w 3135233"/>
                <a:gd name="connsiteY9600" fmla="*/ 1739319 h 2493266"/>
                <a:gd name="connsiteX9601" fmla="*/ 1978861 w 3135233"/>
                <a:gd name="connsiteY9601" fmla="*/ 1721557 h 2493266"/>
                <a:gd name="connsiteX9602" fmla="*/ 1985127 w 3135233"/>
                <a:gd name="connsiteY9602" fmla="*/ 1721557 h 2493266"/>
                <a:gd name="connsiteX9603" fmla="*/ 1991393 w 3135233"/>
                <a:gd name="connsiteY9603" fmla="*/ 1716623 h 2493266"/>
                <a:gd name="connsiteX9604" fmla="*/ 1989272 w 3135233"/>
                <a:gd name="connsiteY9604" fmla="*/ 1711689 h 2493266"/>
                <a:gd name="connsiteX9605" fmla="*/ 1987249 w 3135233"/>
                <a:gd name="connsiteY9605" fmla="*/ 1710060 h 2493266"/>
                <a:gd name="connsiteX9606" fmla="*/ 1987249 w 3135233"/>
                <a:gd name="connsiteY9606" fmla="*/ 1708432 h 2493266"/>
                <a:gd name="connsiteX9607" fmla="*/ 1995587 w 3135233"/>
                <a:gd name="connsiteY9607" fmla="*/ 1698564 h 2493266"/>
                <a:gd name="connsiteX9608" fmla="*/ 1999682 w 3135233"/>
                <a:gd name="connsiteY9608" fmla="*/ 1698564 h 2493266"/>
                <a:gd name="connsiteX9609" fmla="*/ 2003876 w 3135233"/>
                <a:gd name="connsiteY9609" fmla="*/ 1706656 h 2493266"/>
                <a:gd name="connsiteX9610" fmla="*/ 2008070 w 3135233"/>
                <a:gd name="connsiteY9610" fmla="*/ 1708235 h 2493266"/>
                <a:gd name="connsiteX9611" fmla="*/ 2005998 w 3135233"/>
                <a:gd name="connsiteY9611" fmla="*/ 1705028 h 2493266"/>
                <a:gd name="connsiteX9612" fmla="*/ 2005998 w 3135233"/>
                <a:gd name="connsiteY9612" fmla="*/ 1698564 h 2493266"/>
                <a:gd name="connsiteX9613" fmla="*/ 2014287 w 3135233"/>
                <a:gd name="connsiteY9613" fmla="*/ 1695357 h 2493266"/>
                <a:gd name="connsiteX9614" fmla="*/ 2020553 w 3135233"/>
                <a:gd name="connsiteY9614" fmla="*/ 1684058 h 2493266"/>
                <a:gd name="connsiteX9615" fmla="*/ 2020553 w 3135233"/>
                <a:gd name="connsiteY9615" fmla="*/ 1679124 h 2493266"/>
                <a:gd name="connsiteX9616" fmla="*/ 2010093 w 3135233"/>
                <a:gd name="connsiteY9616" fmla="*/ 1679124 h 2493266"/>
                <a:gd name="connsiteX9617" fmla="*/ 2010093 w 3135233"/>
                <a:gd name="connsiteY9617" fmla="*/ 1677496 h 2493266"/>
                <a:gd name="connsiteX9618" fmla="*/ 2016409 w 3135233"/>
                <a:gd name="connsiteY9618" fmla="*/ 1669453 h 2493266"/>
                <a:gd name="connsiteX9619" fmla="*/ 2012215 w 3135233"/>
                <a:gd name="connsiteY9619" fmla="*/ 1666197 h 2493266"/>
                <a:gd name="connsiteX9620" fmla="*/ 2010093 w 3135233"/>
                <a:gd name="connsiteY9620" fmla="*/ 1662989 h 2493266"/>
                <a:gd name="connsiteX9621" fmla="*/ 2014287 w 3135233"/>
                <a:gd name="connsiteY9621" fmla="*/ 1658055 h 2493266"/>
                <a:gd name="connsiteX9622" fmla="*/ 2020553 w 3135233"/>
                <a:gd name="connsiteY9622" fmla="*/ 1654848 h 2493266"/>
                <a:gd name="connsiteX9623" fmla="*/ 2014189 w 3135233"/>
                <a:gd name="connsiteY9623" fmla="*/ 1654848 h 2493266"/>
                <a:gd name="connsiteX9624" fmla="*/ 2012116 w 3135233"/>
                <a:gd name="connsiteY9624" fmla="*/ 1651592 h 2493266"/>
                <a:gd name="connsiteX9625" fmla="*/ 2016310 w 3135233"/>
                <a:gd name="connsiteY9625" fmla="*/ 1641724 h 2493266"/>
                <a:gd name="connsiteX9626" fmla="*/ 2022527 w 3135233"/>
                <a:gd name="connsiteY9626" fmla="*/ 1638467 h 2493266"/>
                <a:gd name="connsiteX9627" fmla="*/ 2018382 w 3135233"/>
                <a:gd name="connsiteY9627" fmla="*/ 1638467 h 2493266"/>
                <a:gd name="connsiteX9628" fmla="*/ 2005899 w 3135233"/>
                <a:gd name="connsiteY9628" fmla="*/ 1640096 h 2493266"/>
                <a:gd name="connsiteX9629" fmla="*/ 2001705 w 3135233"/>
                <a:gd name="connsiteY9629" fmla="*/ 1638467 h 2493266"/>
                <a:gd name="connsiteX9630" fmla="*/ 2001705 w 3135233"/>
                <a:gd name="connsiteY9630" fmla="*/ 1633533 h 2493266"/>
                <a:gd name="connsiteX9631" fmla="*/ 2018382 w 3135233"/>
                <a:gd name="connsiteY9631" fmla="*/ 1622234 h 2493266"/>
                <a:gd name="connsiteX9632" fmla="*/ 2026721 w 3135233"/>
                <a:gd name="connsiteY9632" fmla="*/ 1610935 h 2493266"/>
                <a:gd name="connsiteX9633" fmla="*/ 2028793 w 3135233"/>
                <a:gd name="connsiteY9633" fmla="*/ 1604472 h 2493266"/>
                <a:gd name="connsiteX9634" fmla="*/ 2032938 w 3135233"/>
                <a:gd name="connsiteY9634" fmla="*/ 1604472 h 2493266"/>
                <a:gd name="connsiteX9635" fmla="*/ 2037132 w 3135233"/>
                <a:gd name="connsiteY9635" fmla="*/ 1601265 h 2493266"/>
                <a:gd name="connsiteX9636" fmla="*/ 2037132 w 3135233"/>
                <a:gd name="connsiteY9636" fmla="*/ 1594801 h 2493266"/>
                <a:gd name="connsiteX9637" fmla="*/ 2032938 w 3135233"/>
                <a:gd name="connsiteY9637" fmla="*/ 1593222 h 2493266"/>
                <a:gd name="connsiteX9638" fmla="*/ 2032938 w 3135233"/>
                <a:gd name="connsiteY9638" fmla="*/ 1589966 h 2493266"/>
                <a:gd name="connsiteX9639" fmla="*/ 2028991 w 3135233"/>
                <a:gd name="connsiteY9639" fmla="*/ 1589966 h 2493266"/>
                <a:gd name="connsiteX9640" fmla="*/ 2024797 w 3135233"/>
                <a:gd name="connsiteY9640" fmla="*/ 1583502 h 2493266"/>
                <a:gd name="connsiteX9641" fmla="*/ 2024797 w 3135233"/>
                <a:gd name="connsiteY9641" fmla="*/ 1572253 h 2493266"/>
                <a:gd name="connsiteX9642" fmla="*/ 2028991 w 3135233"/>
                <a:gd name="connsiteY9642" fmla="*/ 1562385 h 2493266"/>
                <a:gd name="connsiteX9643" fmla="*/ 2031063 w 3135233"/>
                <a:gd name="connsiteY9643" fmla="*/ 1554342 h 2493266"/>
                <a:gd name="connsiteX9644" fmla="*/ 2035208 w 3135233"/>
                <a:gd name="connsiteY9644" fmla="*/ 1551135 h 2493266"/>
                <a:gd name="connsiteX9645" fmla="*/ 2039401 w 3135233"/>
                <a:gd name="connsiteY9645" fmla="*/ 1554342 h 2493266"/>
                <a:gd name="connsiteX9646" fmla="*/ 2043595 w 3135233"/>
                <a:gd name="connsiteY9646" fmla="*/ 1552714 h 2493266"/>
                <a:gd name="connsiteX9647" fmla="*/ 2043595 w 3135233"/>
                <a:gd name="connsiteY9647" fmla="*/ 1549457 h 2493266"/>
                <a:gd name="connsiteX9648" fmla="*/ 2047740 w 3135233"/>
                <a:gd name="connsiteY9648" fmla="*/ 1544523 h 2493266"/>
                <a:gd name="connsiteX9649" fmla="*/ 2051885 w 3135233"/>
                <a:gd name="connsiteY9649" fmla="*/ 1544523 h 2493266"/>
                <a:gd name="connsiteX9650" fmla="*/ 2056029 w 3135233"/>
                <a:gd name="connsiteY9650" fmla="*/ 1542895 h 2493266"/>
                <a:gd name="connsiteX9651" fmla="*/ 2060223 w 3135233"/>
                <a:gd name="connsiteY9651" fmla="*/ 1546102 h 2493266"/>
                <a:gd name="connsiteX9652" fmla="*/ 2072706 w 3135233"/>
                <a:gd name="connsiteY9652" fmla="*/ 1546102 h 2493266"/>
                <a:gd name="connsiteX9653" fmla="*/ 2085239 w 3135233"/>
                <a:gd name="connsiteY9653" fmla="*/ 1552566 h 2493266"/>
                <a:gd name="connsiteX9654" fmla="*/ 2101866 w 3135233"/>
                <a:gd name="connsiteY9654" fmla="*/ 1559029 h 2493266"/>
                <a:gd name="connsiteX9655" fmla="*/ 2110254 w 3135233"/>
                <a:gd name="connsiteY9655" fmla="*/ 1559029 h 2493266"/>
                <a:gd name="connsiteX9656" fmla="*/ 2107935 w 3135233"/>
                <a:gd name="connsiteY9656" fmla="*/ 1568503 h 2493266"/>
                <a:gd name="connsiteX9657" fmla="*/ 2097525 w 3135233"/>
                <a:gd name="connsiteY9657" fmla="*/ 1571710 h 2493266"/>
                <a:gd name="connsiteX9658" fmla="*/ 2110057 w 3135233"/>
                <a:gd name="connsiteY9658" fmla="*/ 1571710 h 2493266"/>
                <a:gd name="connsiteX9659" fmla="*/ 2120468 w 3135233"/>
                <a:gd name="connsiteY9659" fmla="*/ 1565246 h 2493266"/>
                <a:gd name="connsiteX9660" fmla="*/ 2126685 w 3135233"/>
                <a:gd name="connsiteY9660" fmla="*/ 1565246 h 2493266"/>
                <a:gd name="connsiteX9661" fmla="*/ 2130879 w 3135233"/>
                <a:gd name="connsiteY9661" fmla="*/ 1568503 h 2493266"/>
                <a:gd name="connsiteX9662" fmla="*/ 2135023 w 3135233"/>
                <a:gd name="connsiteY9662" fmla="*/ 1568503 h 2493266"/>
                <a:gd name="connsiteX9663" fmla="*/ 2141289 w 3135233"/>
                <a:gd name="connsiteY9663" fmla="*/ 1574966 h 2493266"/>
                <a:gd name="connsiteX9664" fmla="*/ 2141289 w 3135233"/>
                <a:gd name="connsiteY9664" fmla="*/ 1568503 h 2493266"/>
                <a:gd name="connsiteX9665" fmla="*/ 2149579 w 3135233"/>
                <a:gd name="connsiteY9665" fmla="*/ 1571710 h 2493266"/>
                <a:gd name="connsiteX9666" fmla="*/ 2153772 w 3135233"/>
                <a:gd name="connsiteY9666" fmla="*/ 1568503 h 2493266"/>
                <a:gd name="connsiteX9667" fmla="*/ 2157917 w 3135233"/>
                <a:gd name="connsiteY9667" fmla="*/ 1566875 h 2493266"/>
                <a:gd name="connsiteX9668" fmla="*/ 2168328 w 3135233"/>
                <a:gd name="connsiteY9668" fmla="*/ 1561941 h 2493266"/>
                <a:gd name="connsiteX9669" fmla="*/ 2180811 w 3135233"/>
                <a:gd name="connsiteY9669" fmla="*/ 1571809 h 2493266"/>
                <a:gd name="connsiteX9670" fmla="*/ 2180811 w 3135233"/>
                <a:gd name="connsiteY9670" fmla="*/ 1576743 h 2493266"/>
                <a:gd name="connsiteX9671" fmla="*/ 2189150 w 3135233"/>
                <a:gd name="connsiteY9671" fmla="*/ 1583206 h 2493266"/>
                <a:gd name="connsiteX9672" fmla="*/ 2195416 w 3135233"/>
                <a:gd name="connsiteY9672" fmla="*/ 1583206 h 2493266"/>
                <a:gd name="connsiteX9673" fmla="*/ 2195416 w 3135233"/>
                <a:gd name="connsiteY9673" fmla="*/ 1593074 h 2493266"/>
                <a:gd name="connsiteX9674" fmla="*/ 2191222 w 3135233"/>
                <a:gd name="connsiteY9674" fmla="*/ 1598008 h 2493266"/>
                <a:gd name="connsiteX9675" fmla="*/ 2191222 w 3135233"/>
                <a:gd name="connsiteY9675" fmla="*/ 1602942 h 2493266"/>
                <a:gd name="connsiteX9676" fmla="*/ 2195416 w 3135233"/>
                <a:gd name="connsiteY9676" fmla="*/ 1599686 h 2493266"/>
                <a:gd name="connsiteX9677" fmla="*/ 2203754 w 3135233"/>
                <a:gd name="connsiteY9677" fmla="*/ 1606149 h 2493266"/>
                <a:gd name="connsiteX9678" fmla="*/ 2207948 w 3135233"/>
                <a:gd name="connsiteY9678" fmla="*/ 1612613 h 2493266"/>
                <a:gd name="connsiteX9679" fmla="*/ 2201633 w 3135233"/>
                <a:gd name="connsiteY9679" fmla="*/ 1614192 h 2493266"/>
                <a:gd name="connsiteX9680" fmla="*/ 2207948 w 3135233"/>
                <a:gd name="connsiteY9680" fmla="*/ 1619126 h 2493266"/>
                <a:gd name="connsiteX9681" fmla="*/ 2212043 w 3135233"/>
                <a:gd name="connsiteY9681" fmla="*/ 1614192 h 2493266"/>
                <a:gd name="connsiteX9682" fmla="*/ 2218359 w 3135233"/>
                <a:gd name="connsiteY9682" fmla="*/ 1622234 h 2493266"/>
                <a:gd name="connsiteX9683" fmla="*/ 2218359 w 3135233"/>
                <a:gd name="connsiteY9683" fmla="*/ 1625491 h 2493266"/>
                <a:gd name="connsiteX9684" fmla="*/ 2212043 w 3135233"/>
                <a:gd name="connsiteY9684" fmla="*/ 1622234 h 2493266"/>
                <a:gd name="connsiteX9685" fmla="*/ 2207948 w 3135233"/>
                <a:gd name="connsiteY9685" fmla="*/ 1627169 h 2493266"/>
                <a:gd name="connsiteX9686" fmla="*/ 2201682 w 3135233"/>
                <a:gd name="connsiteY9686" fmla="*/ 1627169 h 2493266"/>
                <a:gd name="connsiteX9687" fmla="*/ 2212093 w 3135233"/>
                <a:gd name="connsiteY9687" fmla="*/ 1635211 h 2493266"/>
                <a:gd name="connsiteX9688" fmla="*/ 2212093 w 3135233"/>
                <a:gd name="connsiteY9688" fmla="*/ 1641675 h 2493266"/>
                <a:gd name="connsiteX9689" fmla="*/ 2218408 w 3135233"/>
                <a:gd name="connsiteY9689" fmla="*/ 1635211 h 2493266"/>
                <a:gd name="connsiteX9690" fmla="*/ 2218408 w 3135233"/>
                <a:gd name="connsiteY9690" fmla="*/ 1641675 h 2493266"/>
                <a:gd name="connsiteX9691" fmla="*/ 2222553 w 3135233"/>
                <a:gd name="connsiteY9691" fmla="*/ 1638467 h 2493266"/>
                <a:gd name="connsiteX9692" fmla="*/ 2235036 w 3135233"/>
                <a:gd name="connsiteY9692" fmla="*/ 1646510 h 2493266"/>
                <a:gd name="connsiteX9693" fmla="*/ 2239230 w 3135233"/>
                <a:gd name="connsiteY9693" fmla="*/ 1644931 h 2493266"/>
                <a:gd name="connsiteX9694" fmla="*/ 2241302 w 3135233"/>
                <a:gd name="connsiteY9694" fmla="*/ 1648138 h 2493266"/>
                <a:gd name="connsiteX9695" fmla="*/ 2249641 w 3135233"/>
                <a:gd name="connsiteY9695" fmla="*/ 1644931 h 2493266"/>
                <a:gd name="connsiteX9696" fmla="*/ 2257930 w 3135233"/>
                <a:gd name="connsiteY9696" fmla="*/ 1648138 h 2493266"/>
                <a:gd name="connsiteX9697" fmla="*/ 2257930 w 3135233"/>
                <a:gd name="connsiteY9697" fmla="*/ 1659437 h 2493266"/>
                <a:gd name="connsiteX9698" fmla="*/ 2260052 w 3135233"/>
                <a:gd name="connsiteY9698" fmla="*/ 1664371 h 2493266"/>
                <a:gd name="connsiteX9699" fmla="*/ 2268341 w 3135233"/>
                <a:gd name="connsiteY9699" fmla="*/ 1657957 h 2493266"/>
                <a:gd name="connsiteX9700" fmla="*/ 2270462 w 3135233"/>
                <a:gd name="connsiteY9700" fmla="*/ 1648089 h 2493266"/>
                <a:gd name="connsiteX9701" fmla="*/ 2276729 w 3135233"/>
                <a:gd name="connsiteY9701" fmla="*/ 1648089 h 2493266"/>
                <a:gd name="connsiteX9702" fmla="*/ 2276729 w 3135233"/>
                <a:gd name="connsiteY9702" fmla="*/ 1659388 h 2493266"/>
                <a:gd name="connsiteX9703" fmla="*/ 2274607 w 3135233"/>
                <a:gd name="connsiteY9703" fmla="*/ 1669256 h 2493266"/>
                <a:gd name="connsiteX9704" fmla="*/ 2266318 w 3135233"/>
                <a:gd name="connsiteY9704" fmla="*/ 1670884 h 2493266"/>
                <a:gd name="connsiteX9705" fmla="*/ 2257930 w 3135233"/>
                <a:gd name="connsiteY9705" fmla="*/ 1680752 h 2493266"/>
                <a:gd name="connsiteX9706" fmla="*/ 2260052 w 3135233"/>
                <a:gd name="connsiteY9706" fmla="*/ 1695258 h 2493266"/>
                <a:gd name="connsiteX9707" fmla="*/ 2257930 w 3135233"/>
                <a:gd name="connsiteY9707" fmla="*/ 1701722 h 2493266"/>
                <a:gd name="connsiteX9708" fmla="*/ 2255907 w 3135233"/>
                <a:gd name="connsiteY9708" fmla="*/ 1693679 h 2493266"/>
                <a:gd name="connsiteX9709" fmla="*/ 2251713 w 3135233"/>
                <a:gd name="connsiteY9709" fmla="*/ 1696886 h 2493266"/>
                <a:gd name="connsiteX9710" fmla="*/ 2249641 w 3135233"/>
                <a:gd name="connsiteY9710" fmla="*/ 1706755 h 2493266"/>
                <a:gd name="connsiteX9711" fmla="*/ 2234838 w 3135233"/>
                <a:gd name="connsiteY9711" fmla="*/ 1705077 h 2493266"/>
                <a:gd name="connsiteX9712" fmla="*/ 2216089 w 3135233"/>
                <a:gd name="connsiteY9712" fmla="*/ 1698663 h 2493266"/>
                <a:gd name="connsiteX9713" fmla="*/ 2232766 w 3135233"/>
                <a:gd name="connsiteY9713" fmla="*/ 1706755 h 2493266"/>
                <a:gd name="connsiteX9714" fmla="*/ 2245250 w 3135233"/>
                <a:gd name="connsiteY9714" fmla="*/ 1709962 h 2493266"/>
                <a:gd name="connsiteX9715" fmla="*/ 2255710 w 3135233"/>
                <a:gd name="connsiteY9715" fmla="*/ 1716376 h 2493266"/>
                <a:gd name="connsiteX9716" fmla="*/ 2255710 w 3135233"/>
                <a:gd name="connsiteY9716" fmla="*/ 1726885 h 2493266"/>
                <a:gd name="connsiteX9717" fmla="*/ 2249443 w 3135233"/>
                <a:gd name="connsiteY9717" fmla="*/ 1733299 h 2493266"/>
                <a:gd name="connsiteX9718" fmla="*/ 2247322 w 3135233"/>
                <a:gd name="connsiteY9718" fmla="*/ 1738234 h 2493266"/>
                <a:gd name="connsiteX9719" fmla="*/ 2241105 w 3135233"/>
                <a:gd name="connsiteY9719" fmla="*/ 1746325 h 2493266"/>
                <a:gd name="connsiteX9720" fmla="*/ 2243177 w 3135233"/>
                <a:gd name="connsiteY9720" fmla="*/ 1746325 h 2493266"/>
                <a:gd name="connsiteX9721" fmla="*/ 2251516 w 3135233"/>
                <a:gd name="connsiteY9721" fmla="*/ 1759253 h 2493266"/>
                <a:gd name="connsiteX9722" fmla="*/ 2257732 w 3135233"/>
                <a:gd name="connsiteY9722" fmla="*/ 1760831 h 2493266"/>
                <a:gd name="connsiteX9723" fmla="*/ 2253588 w 3135233"/>
                <a:gd name="connsiteY9723" fmla="*/ 1762460 h 2493266"/>
                <a:gd name="connsiteX9724" fmla="*/ 2241105 w 3135233"/>
                <a:gd name="connsiteY9724" fmla="*/ 1755996 h 2493266"/>
                <a:gd name="connsiteX9725" fmla="*/ 2249443 w 3135233"/>
                <a:gd name="connsiteY9725" fmla="*/ 1767295 h 2493266"/>
                <a:gd name="connsiteX9726" fmla="*/ 2255710 w 3135233"/>
                <a:gd name="connsiteY9726" fmla="*/ 1772229 h 2493266"/>
                <a:gd name="connsiteX9727" fmla="*/ 2257732 w 3135233"/>
                <a:gd name="connsiteY9727" fmla="*/ 1770601 h 2493266"/>
                <a:gd name="connsiteX9728" fmla="*/ 2255710 w 3135233"/>
                <a:gd name="connsiteY9728" fmla="*/ 1764137 h 2493266"/>
                <a:gd name="connsiteX9729" fmla="*/ 2261927 w 3135233"/>
                <a:gd name="connsiteY9729" fmla="*/ 1764137 h 2493266"/>
                <a:gd name="connsiteX9730" fmla="*/ 2270265 w 3135233"/>
                <a:gd name="connsiteY9730" fmla="*/ 1770601 h 2493266"/>
                <a:gd name="connsiteX9731" fmla="*/ 2274410 w 3135233"/>
                <a:gd name="connsiteY9731" fmla="*/ 1775535 h 2493266"/>
                <a:gd name="connsiteX9732" fmla="*/ 2272337 w 3135233"/>
                <a:gd name="connsiteY9732" fmla="*/ 1783577 h 2493266"/>
                <a:gd name="connsiteX9733" fmla="*/ 2272337 w 3135233"/>
                <a:gd name="connsiteY9733" fmla="*/ 1790041 h 2493266"/>
                <a:gd name="connsiteX9734" fmla="*/ 2263999 w 3135233"/>
                <a:gd name="connsiteY9734" fmla="*/ 1799909 h 2493266"/>
                <a:gd name="connsiteX9735" fmla="*/ 2263999 w 3135233"/>
                <a:gd name="connsiteY9735" fmla="*/ 1808001 h 2493266"/>
                <a:gd name="connsiteX9736" fmla="*/ 2257732 w 3135233"/>
                <a:gd name="connsiteY9736" fmla="*/ 1812935 h 2493266"/>
                <a:gd name="connsiteX9737" fmla="*/ 2266120 w 3135233"/>
                <a:gd name="connsiteY9737" fmla="*/ 1809728 h 2493266"/>
                <a:gd name="connsiteX9738" fmla="*/ 2274410 w 3135233"/>
                <a:gd name="connsiteY9738" fmla="*/ 1793593 h 2493266"/>
                <a:gd name="connsiteX9739" fmla="*/ 2284820 w 3135233"/>
                <a:gd name="connsiteY9739" fmla="*/ 1785551 h 2493266"/>
                <a:gd name="connsiteX9740" fmla="*/ 2286942 w 3135233"/>
                <a:gd name="connsiteY9740" fmla="*/ 1785551 h 2493266"/>
                <a:gd name="connsiteX9741" fmla="*/ 2284820 w 3135233"/>
                <a:gd name="connsiteY9741" fmla="*/ 1791965 h 2493266"/>
                <a:gd name="connsiteX9742" fmla="*/ 2286942 w 3135233"/>
                <a:gd name="connsiteY9742" fmla="*/ 1804892 h 2493266"/>
                <a:gd name="connsiteX9743" fmla="*/ 2284820 w 3135233"/>
                <a:gd name="connsiteY9743" fmla="*/ 1806521 h 2493266"/>
                <a:gd name="connsiteX9744" fmla="*/ 2284820 w 3135233"/>
                <a:gd name="connsiteY9744" fmla="*/ 1812935 h 2493266"/>
                <a:gd name="connsiteX9745" fmla="*/ 2280676 w 3135233"/>
                <a:gd name="connsiteY9745" fmla="*/ 1817869 h 2493266"/>
                <a:gd name="connsiteX9746" fmla="*/ 2289014 w 3135233"/>
                <a:gd name="connsiteY9746" fmla="*/ 1809777 h 2493266"/>
                <a:gd name="connsiteX9747" fmla="*/ 2291087 w 3135233"/>
                <a:gd name="connsiteY9747" fmla="*/ 1803363 h 2493266"/>
                <a:gd name="connsiteX9748" fmla="*/ 2299425 w 3135233"/>
                <a:gd name="connsiteY9748" fmla="*/ 1798429 h 2493266"/>
                <a:gd name="connsiteX9749" fmla="*/ 2305642 w 3135233"/>
                <a:gd name="connsiteY9749" fmla="*/ 1796850 h 2493266"/>
                <a:gd name="connsiteX9750" fmla="*/ 2311957 w 3135233"/>
                <a:gd name="connsiteY9750" fmla="*/ 1791916 h 2493266"/>
                <a:gd name="connsiteX9751" fmla="*/ 2316053 w 3135233"/>
                <a:gd name="connsiteY9751" fmla="*/ 1793544 h 2493266"/>
                <a:gd name="connsiteX9752" fmla="*/ 2318174 w 3135233"/>
                <a:gd name="connsiteY9752" fmla="*/ 1795172 h 2493266"/>
                <a:gd name="connsiteX9753" fmla="*/ 2320247 w 3135233"/>
                <a:gd name="connsiteY9753" fmla="*/ 1793544 h 2493266"/>
                <a:gd name="connsiteX9754" fmla="*/ 2326513 w 3135233"/>
                <a:gd name="connsiteY9754" fmla="*/ 1791916 h 2493266"/>
                <a:gd name="connsiteX9755" fmla="*/ 2328585 w 3135233"/>
                <a:gd name="connsiteY9755" fmla="*/ 1785502 h 2493266"/>
                <a:gd name="connsiteX9756" fmla="*/ 2332779 w 3135233"/>
                <a:gd name="connsiteY9756" fmla="*/ 1780568 h 2493266"/>
                <a:gd name="connsiteX9757" fmla="*/ 2343190 w 3135233"/>
                <a:gd name="connsiteY9757" fmla="*/ 1774104 h 2493266"/>
                <a:gd name="connsiteX9758" fmla="*/ 2347335 w 3135233"/>
                <a:gd name="connsiteY9758" fmla="*/ 1777311 h 2493266"/>
                <a:gd name="connsiteX9759" fmla="*/ 2349407 w 3135233"/>
                <a:gd name="connsiteY9759" fmla="*/ 1787179 h 2493266"/>
                <a:gd name="connsiteX9760" fmla="*/ 2347335 w 3135233"/>
                <a:gd name="connsiteY9760" fmla="*/ 1793593 h 2493266"/>
                <a:gd name="connsiteX9761" fmla="*/ 2353601 w 3135233"/>
                <a:gd name="connsiteY9761" fmla="*/ 1783725 h 2493266"/>
                <a:gd name="connsiteX9762" fmla="*/ 2351479 w 3135233"/>
                <a:gd name="connsiteY9762" fmla="*/ 1775683 h 2493266"/>
                <a:gd name="connsiteX9763" fmla="*/ 2355673 w 3135233"/>
                <a:gd name="connsiteY9763" fmla="*/ 1774055 h 2493266"/>
                <a:gd name="connsiteX9764" fmla="*/ 2355673 w 3135233"/>
                <a:gd name="connsiteY9764" fmla="*/ 1772426 h 2493266"/>
                <a:gd name="connsiteX9765" fmla="*/ 2359818 w 3135233"/>
                <a:gd name="connsiteY9765" fmla="*/ 1765963 h 2493266"/>
                <a:gd name="connsiteX9766" fmla="*/ 2364012 w 3135233"/>
                <a:gd name="connsiteY9766" fmla="*/ 1764335 h 2493266"/>
                <a:gd name="connsiteX9767" fmla="*/ 2366084 w 3135233"/>
                <a:gd name="connsiteY9767" fmla="*/ 1756292 h 2493266"/>
                <a:gd name="connsiteX9768" fmla="*/ 2372301 w 3135233"/>
                <a:gd name="connsiteY9768" fmla="*/ 1754713 h 2493266"/>
                <a:gd name="connsiteX9769" fmla="*/ 2376495 w 3135233"/>
                <a:gd name="connsiteY9769" fmla="*/ 1748250 h 2493266"/>
                <a:gd name="connsiteX9770" fmla="*/ 2378567 w 3135233"/>
                <a:gd name="connsiteY9770" fmla="*/ 1743316 h 2493266"/>
                <a:gd name="connsiteX9771" fmla="*/ 2382712 w 3135233"/>
                <a:gd name="connsiteY9771" fmla="*/ 1743316 h 2493266"/>
                <a:gd name="connsiteX9772" fmla="*/ 2388978 w 3135233"/>
                <a:gd name="connsiteY9772" fmla="*/ 1749779 h 2493266"/>
                <a:gd name="connsiteX9773" fmla="*/ 2388978 w 3135233"/>
                <a:gd name="connsiteY9773" fmla="*/ 1744845 h 2493266"/>
                <a:gd name="connsiteX9774" fmla="*/ 2386905 w 3135233"/>
                <a:gd name="connsiteY9774" fmla="*/ 1739911 h 2493266"/>
                <a:gd name="connsiteX9775" fmla="*/ 2380639 w 3135233"/>
                <a:gd name="connsiteY9775" fmla="*/ 1739911 h 2493266"/>
                <a:gd name="connsiteX9776" fmla="*/ 2380639 w 3135233"/>
                <a:gd name="connsiteY9776" fmla="*/ 1736704 h 2493266"/>
                <a:gd name="connsiteX9777" fmla="*/ 2384833 w 3135233"/>
                <a:gd name="connsiteY9777" fmla="*/ 1726836 h 2493266"/>
                <a:gd name="connsiteX9778" fmla="*/ 2388978 w 3135233"/>
                <a:gd name="connsiteY9778" fmla="*/ 1725208 h 2493266"/>
                <a:gd name="connsiteX9779" fmla="*/ 2393122 w 3135233"/>
                <a:gd name="connsiteY9779" fmla="*/ 1728415 h 2493266"/>
                <a:gd name="connsiteX9780" fmla="*/ 2391050 w 3135233"/>
                <a:gd name="connsiteY9780" fmla="*/ 1723481 h 2493266"/>
                <a:gd name="connsiteX9781" fmla="*/ 2395244 w 3135233"/>
                <a:gd name="connsiteY9781" fmla="*/ 1720274 h 2493266"/>
                <a:gd name="connsiteX9782" fmla="*/ 2397317 w 3135233"/>
                <a:gd name="connsiteY9782" fmla="*/ 1715340 h 2493266"/>
                <a:gd name="connsiteX9783" fmla="*/ 2405655 w 3135233"/>
                <a:gd name="connsiteY9783" fmla="*/ 1708925 h 2493266"/>
                <a:gd name="connsiteX9784" fmla="*/ 2407727 w 3135233"/>
                <a:gd name="connsiteY9784" fmla="*/ 1703991 h 2493266"/>
                <a:gd name="connsiteX9785" fmla="*/ 2405655 w 3135233"/>
                <a:gd name="connsiteY9785" fmla="*/ 1699057 h 2493266"/>
                <a:gd name="connsiteX9786" fmla="*/ 2411921 w 3135233"/>
                <a:gd name="connsiteY9786" fmla="*/ 1692594 h 2493266"/>
                <a:gd name="connsiteX9787" fmla="*/ 2420260 w 3135233"/>
                <a:gd name="connsiteY9787" fmla="*/ 1689337 h 2493266"/>
                <a:gd name="connsiteX9788" fmla="*/ 2422332 w 3135233"/>
                <a:gd name="connsiteY9788" fmla="*/ 1692594 h 2493266"/>
                <a:gd name="connsiteX9789" fmla="*/ 2418138 w 3135233"/>
                <a:gd name="connsiteY9789" fmla="*/ 1695801 h 2493266"/>
                <a:gd name="connsiteX9790" fmla="*/ 2424355 w 3135233"/>
                <a:gd name="connsiteY9790" fmla="*/ 1694173 h 2493266"/>
                <a:gd name="connsiteX9791" fmla="*/ 2426477 w 3135233"/>
                <a:gd name="connsiteY9791" fmla="*/ 1697429 h 2493266"/>
                <a:gd name="connsiteX9792" fmla="*/ 2422332 w 3135233"/>
                <a:gd name="connsiteY9792" fmla="*/ 1699057 h 2493266"/>
                <a:gd name="connsiteX9793" fmla="*/ 2420260 w 3135233"/>
                <a:gd name="connsiteY9793" fmla="*/ 1703991 h 2493266"/>
                <a:gd name="connsiteX9794" fmla="*/ 2424355 w 3135233"/>
                <a:gd name="connsiteY9794" fmla="*/ 1707248 h 2493266"/>
                <a:gd name="connsiteX9795" fmla="*/ 2420260 w 3135233"/>
                <a:gd name="connsiteY9795" fmla="*/ 1712182 h 2493266"/>
                <a:gd name="connsiteX9796" fmla="*/ 2418138 w 3135233"/>
                <a:gd name="connsiteY9796" fmla="*/ 1712182 h 2493266"/>
                <a:gd name="connsiteX9797" fmla="*/ 2416066 w 3135233"/>
                <a:gd name="connsiteY9797" fmla="*/ 1713810 h 2493266"/>
                <a:gd name="connsiteX9798" fmla="*/ 2422332 w 3135233"/>
                <a:gd name="connsiteY9798" fmla="*/ 1715389 h 2493266"/>
                <a:gd name="connsiteX9799" fmla="*/ 2426477 w 3135233"/>
                <a:gd name="connsiteY9799" fmla="*/ 1715389 h 2493266"/>
                <a:gd name="connsiteX9800" fmla="*/ 2424355 w 3135233"/>
                <a:gd name="connsiteY9800" fmla="*/ 1720323 h 2493266"/>
                <a:gd name="connsiteX9801" fmla="*/ 2422332 w 3135233"/>
                <a:gd name="connsiteY9801" fmla="*/ 1723530 h 2493266"/>
                <a:gd name="connsiteX9802" fmla="*/ 2426477 w 3135233"/>
                <a:gd name="connsiteY9802" fmla="*/ 1721902 h 2493266"/>
                <a:gd name="connsiteX9803" fmla="*/ 2426477 w 3135233"/>
                <a:gd name="connsiteY9803" fmla="*/ 1728365 h 2493266"/>
                <a:gd name="connsiteX9804" fmla="*/ 2422332 w 3135233"/>
                <a:gd name="connsiteY9804" fmla="*/ 1729994 h 2493266"/>
                <a:gd name="connsiteX9805" fmla="*/ 2424355 w 3135233"/>
                <a:gd name="connsiteY9805" fmla="*/ 1736457 h 2493266"/>
                <a:gd name="connsiteX9806" fmla="*/ 2430670 w 3135233"/>
                <a:gd name="connsiteY9806" fmla="*/ 1741391 h 2493266"/>
                <a:gd name="connsiteX9807" fmla="*/ 2430670 w 3135233"/>
                <a:gd name="connsiteY9807" fmla="*/ 1749434 h 2493266"/>
                <a:gd name="connsiteX9808" fmla="*/ 2428549 w 3135233"/>
                <a:gd name="connsiteY9808" fmla="*/ 1752690 h 2493266"/>
                <a:gd name="connsiteX9809" fmla="*/ 2424355 w 3135233"/>
                <a:gd name="connsiteY9809" fmla="*/ 1749434 h 2493266"/>
                <a:gd name="connsiteX9810" fmla="*/ 2420260 w 3135233"/>
                <a:gd name="connsiteY9810" fmla="*/ 1751062 h 2493266"/>
                <a:gd name="connsiteX9811" fmla="*/ 2424355 w 3135233"/>
                <a:gd name="connsiteY9811" fmla="*/ 1754319 h 2493266"/>
                <a:gd name="connsiteX9812" fmla="*/ 2426477 w 3135233"/>
                <a:gd name="connsiteY9812" fmla="*/ 1759253 h 2493266"/>
                <a:gd name="connsiteX9813" fmla="*/ 2430670 w 3135233"/>
                <a:gd name="connsiteY9813" fmla="*/ 1759253 h 2493266"/>
                <a:gd name="connsiteX9814" fmla="*/ 2434815 w 3135233"/>
                <a:gd name="connsiteY9814" fmla="*/ 1754319 h 2493266"/>
                <a:gd name="connsiteX9815" fmla="*/ 2434815 w 3135233"/>
                <a:gd name="connsiteY9815" fmla="*/ 1759253 h 2493266"/>
                <a:gd name="connsiteX9816" fmla="*/ 2438960 w 3135233"/>
                <a:gd name="connsiteY9816" fmla="*/ 1762460 h 2493266"/>
                <a:gd name="connsiteX9817" fmla="*/ 2434815 w 3135233"/>
                <a:gd name="connsiteY9817" fmla="*/ 1768923 h 2493266"/>
                <a:gd name="connsiteX9818" fmla="*/ 2428549 w 3135233"/>
                <a:gd name="connsiteY9818" fmla="*/ 1770502 h 2493266"/>
                <a:gd name="connsiteX9819" fmla="*/ 2420260 w 3135233"/>
                <a:gd name="connsiteY9819" fmla="*/ 1770502 h 2493266"/>
                <a:gd name="connsiteX9820" fmla="*/ 2416066 w 3135233"/>
                <a:gd name="connsiteY9820" fmla="*/ 1773759 h 2493266"/>
                <a:gd name="connsiteX9821" fmla="*/ 2422332 w 3135233"/>
                <a:gd name="connsiteY9821" fmla="*/ 1776966 h 2493266"/>
                <a:gd name="connsiteX9822" fmla="*/ 2438960 w 3135233"/>
                <a:gd name="connsiteY9822" fmla="*/ 1772032 h 2493266"/>
                <a:gd name="connsiteX9823" fmla="*/ 2445226 w 3135233"/>
                <a:gd name="connsiteY9823" fmla="*/ 1773660 h 2493266"/>
                <a:gd name="connsiteX9824" fmla="*/ 2443154 w 3135233"/>
                <a:gd name="connsiteY9824" fmla="*/ 1778594 h 2493266"/>
                <a:gd name="connsiteX9825" fmla="*/ 2436887 w 3135233"/>
                <a:gd name="connsiteY9825" fmla="*/ 1785058 h 2493266"/>
                <a:gd name="connsiteX9826" fmla="*/ 2441081 w 3135233"/>
                <a:gd name="connsiteY9826" fmla="*/ 1786686 h 2493266"/>
                <a:gd name="connsiteX9827" fmla="*/ 2447298 w 3135233"/>
                <a:gd name="connsiteY9827" fmla="*/ 1783429 h 2493266"/>
                <a:gd name="connsiteX9828" fmla="*/ 2447298 w 3135233"/>
                <a:gd name="connsiteY9828" fmla="*/ 1791028 h 2493266"/>
                <a:gd name="connsiteX9829" fmla="*/ 2441081 w 3135233"/>
                <a:gd name="connsiteY9829" fmla="*/ 1797491 h 2493266"/>
                <a:gd name="connsiteX9830" fmla="*/ 2430670 w 3135233"/>
                <a:gd name="connsiteY9830" fmla="*/ 1797491 h 2493266"/>
                <a:gd name="connsiteX9831" fmla="*/ 2424355 w 3135233"/>
                <a:gd name="connsiteY9831" fmla="*/ 1794284 h 2493266"/>
                <a:gd name="connsiteX9832" fmla="*/ 2422332 w 3135233"/>
                <a:gd name="connsiteY9832" fmla="*/ 1799218 h 2493266"/>
                <a:gd name="connsiteX9833" fmla="*/ 2424355 w 3135233"/>
                <a:gd name="connsiteY9833" fmla="*/ 1802475 h 2493266"/>
                <a:gd name="connsiteX9834" fmla="*/ 2420260 w 3135233"/>
                <a:gd name="connsiteY9834" fmla="*/ 1807409 h 2493266"/>
                <a:gd name="connsiteX9835" fmla="*/ 2430670 w 3135233"/>
                <a:gd name="connsiteY9835" fmla="*/ 1804152 h 2493266"/>
                <a:gd name="connsiteX9836" fmla="*/ 2441081 w 3135233"/>
                <a:gd name="connsiteY9836" fmla="*/ 1804152 h 2493266"/>
                <a:gd name="connsiteX9837" fmla="*/ 2449371 w 3135233"/>
                <a:gd name="connsiteY9837" fmla="*/ 1800945 h 2493266"/>
                <a:gd name="connsiteX9838" fmla="*/ 2451492 w 3135233"/>
                <a:gd name="connsiteY9838" fmla="*/ 1802573 h 2493266"/>
                <a:gd name="connsiteX9839" fmla="*/ 2447298 w 3135233"/>
                <a:gd name="connsiteY9839" fmla="*/ 1807507 h 2493266"/>
                <a:gd name="connsiteX9840" fmla="*/ 2447298 w 3135233"/>
                <a:gd name="connsiteY9840" fmla="*/ 1810764 h 2493266"/>
                <a:gd name="connsiteX9841" fmla="*/ 2441081 w 3135233"/>
                <a:gd name="connsiteY9841" fmla="*/ 1814020 h 2493266"/>
                <a:gd name="connsiteX9842" fmla="*/ 2434815 w 3135233"/>
                <a:gd name="connsiteY9842" fmla="*/ 1814020 h 2493266"/>
                <a:gd name="connsiteX9843" fmla="*/ 2424355 w 3135233"/>
                <a:gd name="connsiteY9843" fmla="*/ 1825270 h 2493266"/>
                <a:gd name="connsiteX9844" fmla="*/ 2436887 w 3135233"/>
                <a:gd name="connsiteY9844" fmla="*/ 1820336 h 2493266"/>
                <a:gd name="connsiteX9845" fmla="*/ 2443450 w 3135233"/>
                <a:gd name="connsiteY9845" fmla="*/ 1820336 h 2493266"/>
                <a:gd name="connsiteX9846" fmla="*/ 2449667 w 3135233"/>
                <a:gd name="connsiteY9846" fmla="*/ 1818708 h 2493266"/>
                <a:gd name="connsiteX9847" fmla="*/ 2455933 w 3135233"/>
                <a:gd name="connsiteY9847" fmla="*/ 1820336 h 2493266"/>
                <a:gd name="connsiteX9848" fmla="*/ 2455933 w 3135233"/>
                <a:gd name="connsiteY9848" fmla="*/ 1825270 h 2493266"/>
                <a:gd name="connsiteX9849" fmla="*/ 2449667 w 3135233"/>
                <a:gd name="connsiteY9849" fmla="*/ 1825270 h 2493266"/>
                <a:gd name="connsiteX9850" fmla="*/ 2441377 w 3135233"/>
                <a:gd name="connsiteY9850" fmla="*/ 1830204 h 2493266"/>
                <a:gd name="connsiteX9851" fmla="*/ 2439256 w 3135233"/>
                <a:gd name="connsiteY9851" fmla="*/ 1836668 h 2493266"/>
                <a:gd name="connsiteX9852" fmla="*/ 2445522 w 3135233"/>
                <a:gd name="connsiteY9852" fmla="*/ 1831734 h 2493266"/>
                <a:gd name="connsiteX9853" fmla="*/ 2451788 w 3135233"/>
                <a:gd name="connsiteY9853" fmla="*/ 1834990 h 2493266"/>
                <a:gd name="connsiteX9854" fmla="*/ 2455933 w 3135233"/>
                <a:gd name="connsiteY9854" fmla="*/ 1830056 h 2493266"/>
                <a:gd name="connsiteX9855" fmla="*/ 2462199 w 3135233"/>
                <a:gd name="connsiteY9855" fmla="*/ 1836520 h 2493266"/>
                <a:gd name="connsiteX9856" fmla="*/ 2466344 w 3135233"/>
                <a:gd name="connsiteY9856" fmla="*/ 1846388 h 2493266"/>
                <a:gd name="connsiteX9857" fmla="*/ 2458005 w 3135233"/>
                <a:gd name="connsiteY9857" fmla="*/ 1851322 h 2493266"/>
                <a:gd name="connsiteX9858" fmla="*/ 2453860 w 3135233"/>
                <a:gd name="connsiteY9858" fmla="*/ 1849693 h 2493266"/>
                <a:gd name="connsiteX9859" fmla="*/ 2449667 w 3135233"/>
                <a:gd name="connsiteY9859" fmla="*/ 1852901 h 2493266"/>
                <a:gd name="connsiteX9860" fmla="*/ 2443450 w 3135233"/>
                <a:gd name="connsiteY9860" fmla="*/ 1852901 h 2493266"/>
                <a:gd name="connsiteX9861" fmla="*/ 2447594 w 3135233"/>
                <a:gd name="connsiteY9861" fmla="*/ 1856157 h 2493266"/>
                <a:gd name="connsiteX9862" fmla="*/ 2451788 w 3135233"/>
                <a:gd name="connsiteY9862" fmla="*/ 1856157 h 2493266"/>
                <a:gd name="connsiteX9863" fmla="*/ 2455933 w 3135233"/>
                <a:gd name="connsiteY9863" fmla="*/ 1857736 h 2493266"/>
                <a:gd name="connsiteX9864" fmla="*/ 2464271 w 3135233"/>
                <a:gd name="connsiteY9864" fmla="*/ 1857736 h 2493266"/>
                <a:gd name="connsiteX9865" fmla="*/ 2466344 w 3135233"/>
                <a:gd name="connsiteY9865" fmla="*/ 1860943 h 2493266"/>
                <a:gd name="connsiteX9866" fmla="*/ 2464271 w 3135233"/>
                <a:gd name="connsiteY9866" fmla="*/ 1865877 h 2493266"/>
                <a:gd name="connsiteX9867" fmla="*/ 2460077 w 3135233"/>
                <a:gd name="connsiteY9867" fmla="*/ 1867456 h 2493266"/>
                <a:gd name="connsiteX9868" fmla="*/ 2466344 w 3135233"/>
                <a:gd name="connsiteY9868" fmla="*/ 1870712 h 2493266"/>
                <a:gd name="connsiteX9869" fmla="*/ 2470488 w 3135233"/>
                <a:gd name="connsiteY9869" fmla="*/ 1869133 h 2493266"/>
                <a:gd name="connsiteX9870" fmla="*/ 2478876 w 3135233"/>
                <a:gd name="connsiteY9870" fmla="*/ 1874067 h 2493266"/>
                <a:gd name="connsiteX9871" fmla="*/ 2476754 w 3135233"/>
                <a:gd name="connsiteY9871" fmla="*/ 1880531 h 2493266"/>
                <a:gd name="connsiteX9872" fmla="*/ 2470488 w 3135233"/>
                <a:gd name="connsiteY9872" fmla="*/ 1882159 h 2493266"/>
                <a:gd name="connsiteX9873" fmla="*/ 2462199 w 3135233"/>
                <a:gd name="connsiteY9873" fmla="*/ 1888574 h 2493266"/>
                <a:gd name="connsiteX9874" fmla="*/ 2455933 w 3135233"/>
                <a:gd name="connsiteY9874" fmla="*/ 1886995 h 2493266"/>
                <a:gd name="connsiteX9875" fmla="*/ 2453860 w 3135233"/>
                <a:gd name="connsiteY9875" fmla="*/ 1890251 h 2493266"/>
                <a:gd name="connsiteX9876" fmla="*/ 2462199 w 3135233"/>
                <a:gd name="connsiteY9876" fmla="*/ 1891830 h 2493266"/>
                <a:gd name="connsiteX9877" fmla="*/ 2462199 w 3135233"/>
                <a:gd name="connsiteY9877" fmla="*/ 1894642 h 2493266"/>
                <a:gd name="connsiteX9878" fmla="*/ 2453860 w 3135233"/>
                <a:gd name="connsiteY9878" fmla="*/ 1896320 h 2493266"/>
                <a:gd name="connsiteX9879" fmla="*/ 2445522 w 3135233"/>
                <a:gd name="connsiteY9879" fmla="*/ 1891386 h 2493266"/>
                <a:gd name="connsiteX9880" fmla="*/ 2435111 w 3135233"/>
                <a:gd name="connsiteY9880" fmla="*/ 1891386 h 2493266"/>
                <a:gd name="connsiteX9881" fmla="*/ 2443450 w 3135233"/>
                <a:gd name="connsiteY9881" fmla="*/ 1896320 h 2493266"/>
                <a:gd name="connsiteX9882" fmla="*/ 2443450 w 3135233"/>
                <a:gd name="connsiteY9882" fmla="*/ 1901254 h 2493266"/>
                <a:gd name="connsiteX9883" fmla="*/ 2451788 w 3135233"/>
                <a:gd name="connsiteY9883" fmla="*/ 1907718 h 2493266"/>
                <a:gd name="connsiteX9884" fmla="*/ 2453860 w 3135233"/>
                <a:gd name="connsiteY9884" fmla="*/ 1910974 h 2493266"/>
                <a:gd name="connsiteX9885" fmla="*/ 2453860 w 3135233"/>
                <a:gd name="connsiteY9885" fmla="*/ 1914181 h 2493266"/>
                <a:gd name="connsiteX9886" fmla="*/ 2445522 w 3135233"/>
                <a:gd name="connsiteY9886" fmla="*/ 1915760 h 2493266"/>
                <a:gd name="connsiteX9887" fmla="*/ 2443450 w 3135233"/>
                <a:gd name="connsiteY9887" fmla="*/ 1919017 h 2493266"/>
                <a:gd name="connsiteX9888" fmla="*/ 2433039 w 3135233"/>
                <a:gd name="connsiteY9888" fmla="*/ 1917438 h 2493266"/>
                <a:gd name="connsiteX9889" fmla="*/ 2445522 w 3135233"/>
                <a:gd name="connsiteY9889" fmla="*/ 1920645 h 2493266"/>
                <a:gd name="connsiteX9890" fmla="*/ 2449667 w 3135233"/>
                <a:gd name="connsiteY9890" fmla="*/ 1920645 h 2493266"/>
                <a:gd name="connsiteX9891" fmla="*/ 2451788 w 3135233"/>
                <a:gd name="connsiteY9891" fmla="*/ 1917438 h 2493266"/>
                <a:gd name="connsiteX9892" fmla="*/ 2460077 w 3135233"/>
                <a:gd name="connsiteY9892" fmla="*/ 1915760 h 2493266"/>
                <a:gd name="connsiteX9893" fmla="*/ 2464271 w 3135233"/>
                <a:gd name="connsiteY9893" fmla="*/ 1917438 h 2493266"/>
                <a:gd name="connsiteX9894" fmla="*/ 2464271 w 3135233"/>
                <a:gd name="connsiteY9894" fmla="*/ 1920645 h 2493266"/>
                <a:gd name="connsiteX9895" fmla="*/ 2468465 w 3135233"/>
                <a:gd name="connsiteY9895" fmla="*/ 1923852 h 2493266"/>
                <a:gd name="connsiteX9896" fmla="*/ 2464271 w 3135233"/>
                <a:gd name="connsiteY9896" fmla="*/ 1927108 h 2493266"/>
                <a:gd name="connsiteX9897" fmla="*/ 2468465 w 3135233"/>
                <a:gd name="connsiteY9897" fmla="*/ 1927108 h 2493266"/>
                <a:gd name="connsiteX9898" fmla="*/ 2470488 w 3135233"/>
                <a:gd name="connsiteY9898" fmla="*/ 1928687 h 2493266"/>
                <a:gd name="connsiteX9899" fmla="*/ 2468465 w 3135233"/>
                <a:gd name="connsiteY9899" fmla="*/ 1933621 h 2493266"/>
                <a:gd name="connsiteX9900" fmla="*/ 2470488 w 3135233"/>
                <a:gd name="connsiteY9900" fmla="*/ 1935250 h 2493266"/>
                <a:gd name="connsiteX9901" fmla="*/ 2476754 w 3135233"/>
                <a:gd name="connsiteY9901" fmla="*/ 1932042 h 2493266"/>
                <a:gd name="connsiteX9902" fmla="*/ 2480899 w 3135233"/>
                <a:gd name="connsiteY9902" fmla="*/ 1933621 h 2493266"/>
                <a:gd name="connsiteX9903" fmla="*/ 2485093 w 3135233"/>
                <a:gd name="connsiteY9903" fmla="*/ 1933621 h 2493266"/>
                <a:gd name="connsiteX9904" fmla="*/ 2485093 w 3135233"/>
                <a:gd name="connsiteY9904" fmla="*/ 1941713 h 2493266"/>
                <a:gd name="connsiteX9905" fmla="*/ 2480899 w 3135233"/>
                <a:gd name="connsiteY9905" fmla="*/ 1944970 h 2493266"/>
                <a:gd name="connsiteX9906" fmla="*/ 2480899 w 3135233"/>
                <a:gd name="connsiteY9906" fmla="*/ 1948177 h 2493266"/>
                <a:gd name="connsiteX9907" fmla="*/ 2485093 w 3135233"/>
                <a:gd name="connsiteY9907" fmla="*/ 1948177 h 2493266"/>
                <a:gd name="connsiteX9908" fmla="*/ 2491359 w 3135233"/>
                <a:gd name="connsiteY9908" fmla="*/ 1940085 h 2493266"/>
                <a:gd name="connsiteX9909" fmla="*/ 2493431 w 3135233"/>
                <a:gd name="connsiteY9909" fmla="*/ 1940085 h 2493266"/>
                <a:gd name="connsiteX9910" fmla="*/ 2493431 w 3135233"/>
                <a:gd name="connsiteY9910" fmla="*/ 1946548 h 2493266"/>
                <a:gd name="connsiteX9911" fmla="*/ 2497576 w 3135233"/>
                <a:gd name="connsiteY9911" fmla="*/ 1949756 h 2493266"/>
                <a:gd name="connsiteX9912" fmla="*/ 2487165 w 3135233"/>
                <a:gd name="connsiteY9912" fmla="*/ 1954690 h 2493266"/>
                <a:gd name="connsiteX9913" fmla="*/ 2476754 w 3135233"/>
                <a:gd name="connsiteY9913" fmla="*/ 1967617 h 2493266"/>
                <a:gd name="connsiteX9914" fmla="*/ 2470488 w 3135233"/>
                <a:gd name="connsiteY9914" fmla="*/ 1970824 h 2493266"/>
                <a:gd name="connsiteX9915" fmla="*/ 2464271 w 3135233"/>
                <a:gd name="connsiteY9915" fmla="*/ 1969245 h 2493266"/>
                <a:gd name="connsiteX9916" fmla="*/ 2470488 w 3135233"/>
                <a:gd name="connsiteY9916" fmla="*/ 1972452 h 2493266"/>
                <a:gd name="connsiteX9917" fmla="*/ 2476754 w 3135233"/>
                <a:gd name="connsiteY9917" fmla="*/ 1970824 h 2493266"/>
                <a:gd name="connsiteX9918" fmla="*/ 2489287 w 3135233"/>
                <a:gd name="connsiteY9918" fmla="*/ 1960956 h 2493266"/>
                <a:gd name="connsiteX9919" fmla="*/ 2495504 w 3135233"/>
                <a:gd name="connsiteY9919" fmla="*/ 1960956 h 2493266"/>
                <a:gd name="connsiteX9920" fmla="*/ 2495504 w 3135233"/>
                <a:gd name="connsiteY9920" fmla="*/ 1963719 h 2493266"/>
                <a:gd name="connsiteX9921" fmla="*/ 2489287 w 3135233"/>
                <a:gd name="connsiteY9921" fmla="*/ 1966926 h 2493266"/>
                <a:gd name="connsiteX9922" fmla="*/ 2485093 w 3135233"/>
                <a:gd name="connsiteY9922" fmla="*/ 1971860 h 2493266"/>
                <a:gd name="connsiteX9923" fmla="*/ 2489287 w 3135233"/>
                <a:gd name="connsiteY9923" fmla="*/ 1973488 h 2493266"/>
                <a:gd name="connsiteX9924" fmla="*/ 2497576 w 3135233"/>
                <a:gd name="connsiteY9924" fmla="*/ 1967025 h 2493266"/>
                <a:gd name="connsiteX9925" fmla="*/ 2503842 w 3135233"/>
                <a:gd name="connsiteY9925" fmla="*/ 1960561 h 2493266"/>
                <a:gd name="connsiteX9926" fmla="*/ 2510108 w 3135233"/>
                <a:gd name="connsiteY9926" fmla="*/ 1958982 h 2493266"/>
                <a:gd name="connsiteX9927" fmla="*/ 2510108 w 3135233"/>
                <a:gd name="connsiteY9927" fmla="*/ 1962189 h 2493266"/>
                <a:gd name="connsiteX9928" fmla="*/ 2505914 w 3135233"/>
                <a:gd name="connsiteY9928" fmla="*/ 1963818 h 2493266"/>
                <a:gd name="connsiteX9929" fmla="*/ 2501770 w 3135233"/>
                <a:gd name="connsiteY9929" fmla="*/ 1967025 h 2493266"/>
                <a:gd name="connsiteX9930" fmla="*/ 2503842 w 3135233"/>
                <a:gd name="connsiteY9930" fmla="*/ 1968653 h 2493266"/>
                <a:gd name="connsiteX9931" fmla="*/ 2514253 w 3135233"/>
                <a:gd name="connsiteY9931" fmla="*/ 1965446 h 2493266"/>
                <a:gd name="connsiteX9932" fmla="*/ 2518398 w 3135233"/>
                <a:gd name="connsiteY9932" fmla="*/ 1967025 h 2493266"/>
                <a:gd name="connsiteX9933" fmla="*/ 2508036 w 3135233"/>
                <a:gd name="connsiteY9933" fmla="*/ 1973587 h 2493266"/>
                <a:gd name="connsiteX9934" fmla="*/ 2501819 w 3135233"/>
                <a:gd name="connsiteY9934" fmla="*/ 1978521 h 2493266"/>
                <a:gd name="connsiteX9935" fmla="*/ 2505964 w 3135233"/>
                <a:gd name="connsiteY9935" fmla="*/ 1980149 h 2493266"/>
                <a:gd name="connsiteX9936" fmla="*/ 2512230 w 3135233"/>
                <a:gd name="connsiteY9936" fmla="*/ 1975215 h 2493266"/>
                <a:gd name="connsiteX9937" fmla="*/ 2524762 w 3135233"/>
                <a:gd name="connsiteY9937" fmla="*/ 1965347 h 2493266"/>
                <a:gd name="connsiteX9938" fmla="*/ 2528858 w 3135233"/>
                <a:gd name="connsiteY9938" fmla="*/ 1966926 h 2493266"/>
                <a:gd name="connsiteX9939" fmla="*/ 2524762 w 3135233"/>
                <a:gd name="connsiteY9939" fmla="*/ 1968554 h 2493266"/>
                <a:gd name="connsiteX9940" fmla="*/ 2522641 w 3135233"/>
                <a:gd name="connsiteY9940" fmla="*/ 1971761 h 2493266"/>
                <a:gd name="connsiteX9941" fmla="*/ 2533052 w 3135233"/>
                <a:gd name="connsiteY9941" fmla="*/ 1966827 h 2493266"/>
                <a:gd name="connsiteX9942" fmla="*/ 2533052 w 3135233"/>
                <a:gd name="connsiteY9942" fmla="*/ 1979755 h 2493266"/>
                <a:gd name="connsiteX9943" fmla="*/ 2528858 w 3135233"/>
                <a:gd name="connsiteY9943" fmla="*/ 1979755 h 2493266"/>
                <a:gd name="connsiteX9944" fmla="*/ 2528858 w 3135233"/>
                <a:gd name="connsiteY9944" fmla="*/ 1984689 h 2493266"/>
                <a:gd name="connsiteX9945" fmla="*/ 2537196 w 3135233"/>
                <a:gd name="connsiteY9945" fmla="*/ 1983060 h 2493266"/>
                <a:gd name="connsiteX9946" fmla="*/ 2545584 w 3135233"/>
                <a:gd name="connsiteY9946" fmla="*/ 1987994 h 2493266"/>
                <a:gd name="connsiteX9947" fmla="*/ 2549729 w 3135233"/>
                <a:gd name="connsiteY9947" fmla="*/ 1981531 h 2493266"/>
                <a:gd name="connsiteX9948" fmla="*/ 2560140 w 3135233"/>
                <a:gd name="connsiteY9948" fmla="*/ 1979952 h 2493266"/>
                <a:gd name="connsiteX9949" fmla="*/ 2566406 w 3135233"/>
                <a:gd name="connsiteY9949" fmla="*/ 1981531 h 2493266"/>
                <a:gd name="connsiteX9950" fmla="*/ 2562212 w 3135233"/>
                <a:gd name="connsiteY9950" fmla="*/ 1986465 h 2493266"/>
                <a:gd name="connsiteX9951" fmla="*/ 2558067 w 3135233"/>
                <a:gd name="connsiteY9951" fmla="*/ 1986465 h 2493266"/>
                <a:gd name="connsiteX9952" fmla="*/ 2555995 w 3135233"/>
                <a:gd name="connsiteY9952" fmla="*/ 1989672 h 2493266"/>
                <a:gd name="connsiteX9953" fmla="*/ 2572623 w 3135233"/>
                <a:gd name="connsiteY9953" fmla="*/ 1994606 h 2493266"/>
                <a:gd name="connsiteX9954" fmla="*/ 2578889 w 3135233"/>
                <a:gd name="connsiteY9954" fmla="*/ 1999540 h 2493266"/>
                <a:gd name="connsiteX9955" fmla="*/ 2568478 w 3135233"/>
                <a:gd name="connsiteY9955" fmla="*/ 2001168 h 2493266"/>
                <a:gd name="connsiteX9956" fmla="*/ 2568478 w 3135233"/>
                <a:gd name="connsiteY9956" fmla="*/ 2002747 h 2493266"/>
                <a:gd name="connsiteX9957" fmla="*/ 2553676 w 3135233"/>
                <a:gd name="connsiteY9957" fmla="*/ 2004375 h 2493266"/>
                <a:gd name="connsiteX9958" fmla="*/ 2549531 w 3135233"/>
                <a:gd name="connsiteY9958" fmla="*/ 2002747 h 2493266"/>
                <a:gd name="connsiteX9959" fmla="*/ 2539121 w 3135233"/>
                <a:gd name="connsiteY9959" fmla="*/ 2006004 h 2493266"/>
                <a:gd name="connsiteX9960" fmla="*/ 2532854 w 3135233"/>
                <a:gd name="connsiteY9960" fmla="*/ 2012467 h 2493266"/>
                <a:gd name="connsiteX9961" fmla="*/ 2520371 w 3135233"/>
                <a:gd name="connsiteY9961" fmla="*/ 2012467 h 2493266"/>
                <a:gd name="connsiteX9962" fmla="*/ 2501622 w 3135233"/>
                <a:gd name="connsiteY9962" fmla="*/ 2015674 h 2493266"/>
                <a:gd name="connsiteX9963" fmla="*/ 2499550 w 3135233"/>
                <a:gd name="connsiteY9963" fmla="*/ 2018931 h 2493266"/>
                <a:gd name="connsiteX9964" fmla="*/ 2514352 w 3135233"/>
                <a:gd name="connsiteY9964" fmla="*/ 2017303 h 2493266"/>
                <a:gd name="connsiteX9965" fmla="*/ 2526835 w 3135233"/>
                <a:gd name="connsiteY9965" fmla="*/ 2014095 h 2493266"/>
                <a:gd name="connsiteX9966" fmla="*/ 2533101 w 3135233"/>
                <a:gd name="connsiteY9966" fmla="*/ 2014095 h 2493266"/>
                <a:gd name="connsiteX9967" fmla="*/ 2533101 w 3135233"/>
                <a:gd name="connsiteY9967" fmla="*/ 2017303 h 2493266"/>
                <a:gd name="connsiteX9968" fmla="*/ 2518299 w 3135233"/>
                <a:gd name="connsiteY9968" fmla="*/ 2018931 h 2493266"/>
                <a:gd name="connsiteX9969" fmla="*/ 2505816 w 3135233"/>
                <a:gd name="connsiteY9969" fmla="*/ 2020510 h 2493266"/>
                <a:gd name="connsiteX9970" fmla="*/ 2493333 w 3135233"/>
                <a:gd name="connsiteY9970" fmla="*/ 2026973 h 2493266"/>
                <a:gd name="connsiteX9971" fmla="*/ 2489188 w 3135233"/>
                <a:gd name="connsiteY9971" fmla="*/ 2030180 h 2493266"/>
                <a:gd name="connsiteX9972" fmla="*/ 2480800 w 3135233"/>
                <a:gd name="connsiteY9972" fmla="*/ 2030180 h 2493266"/>
                <a:gd name="connsiteX9973" fmla="*/ 2480800 w 3135233"/>
                <a:gd name="connsiteY9973" fmla="*/ 2036644 h 2493266"/>
                <a:gd name="connsiteX9974" fmla="*/ 2476656 w 3135233"/>
                <a:gd name="connsiteY9974" fmla="*/ 2039900 h 2493266"/>
                <a:gd name="connsiteX9975" fmla="*/ 2464173 w 3135233"/>
                <a:gd name="connsiteY9975" fmla="*/ 2031809 h 2493266"/>
                <a:gd name="connsiteX9976" fmla="*/ 2455834 w 3135233"/>
                <a:gd name="connsiteY9976" fmla="*/ 2020510 h 2493266"/>
                <a:gd name="connsiteX9977" fmla="*/ 2457906 w 3135233"/>
                <a:gd name="connsiteY9977" fmla="*/ 2025444 h 2493266"/>
                <a:gd name="connsiteX9978" fmla="*/ 2455834 w 3135233"/>
                <a:gd name="connsiteY9978" fmla="*/ 2028700 h 2493266"/>
                <a:gd name="connsiteX9979" fmla="*/ 2459979 w 3135233"/>
                <a:gd name="connsiteY9979" fmla="*/ 2031907 h 2493266"/>
                <a:gd name="connsiteX9980" fmla="*/ 2462100 w 3135233"/>
                <a:gd name="connsiteY9980" fmla="*/ 2033536 h 2493266"/>
                <a:gd name="connsiteX9981" fmla="*/ 2476903 w 3135233"/>
                <a:gd name="connsiteY9981" fmla="*/ 2044835 h 2493266"/>
                <a:gd name="connsiteX9982" fmla="*/ 2474830 w 3135233"/>
                <a:gd name="connsiteY9982" fmla="*/ 2048042 h 2493266"/>
                <a:gd name="connsiteX9983" fmla="*/ 2470636 w 3135233"/>
                <a:gd name="connsiteY9983" fmla="*/ 2046463 h 2493266"/>
                <a:gd name="connsiteX9984" fmla="*/ 2466491 w 3135233"/>
                <a:gd name="connsiteY9984" fmla="*/ 2049670 h 2493266"/>
                <a:gd name="connsiteX9985" fmla="*/ 2468613 w 3135233"/>
                <a:gd name="connsiteY9985" fmla="*/ 2054604 h 2493266"/>
                <a:gd name="connsiteX9986" fmla="*/ 2472758 w 3135233"/>
                <a:gd name="connsiteY9986" fmla="*/ 2056232 h 2493266"/>
                <a:gd name="connsiteX9987" fmla="*/ 2474830 w 3135233"/>
                <a:gd name="connsiteY9987" fmla="*/ 2053025 h 2493266"/>
                <a:gd name="connsiteX9988" fmla="*/ 2479024 w 3135233"/>
                <a:gd name="connsiteY9988" fmla="*/ 2053025 h 2493266"/>
                <a:gd name="connsiteX9989" fmla="*/ 2485241 w 3135233"/>
                <a:gd name="connsiteY9989" fmla="*/ 2043157 h 2493266"/>
                <a:gd name="connsiteX9990" fmla="*/ 2495652 w 3135233"/>
                <a:gd name="connsiteY9990" fmla="*/ 2043157 h 2493266"/>
                <a:gd name="connsiteX9991" fmla="*/ 2503990 w 3135233"/>
                <a:gd name="connsiteY9991" fmla="*/ 2036693 h 2493266"/>
                <a:gd name="connsiteX9992" fmla="*/ 2508135 w 3135233"/>
                <a:gd name="connsiteY9992" fmla="*/ 2036693 h 2493266"/>
                <a:gd name="connsiteX9993" fmla="*/ 2512329 w 3135233"/>
                <a:gd name="connsiteY9993" fmla="*/ 2030230 h 2493266"/>
                <a:gd name="connsiteX9994" fmla="*/ 2518545 w 3135233"/>
                <a:gd name="connsiteY9994" fmla="*/ 2023815 h 2493266"/>
                <a:gd name="connsiteX9995" fmla="*/ 2526884 w 3135233"/>
                <a:gd name="connsiteY9995" fmla="*/ 2023815 h 2493266"/>
                <a:gd name="connsiteX9996" fmla="*/ 2539417 w 3135233"/>
                <a:gd name="connsiteY9996" fmla="*/ 2018881 h 2493266"/>
                <a:gd name="connsiteX9997" fmla="*/ 2547706 w 3135233"/>
                <a:gd name="connsiteY9997" fmla="*/ 2020460 h 2493266"/>
                <a:gd name="connsiteX9998" fmla="*/ 2556094 w 3135233"/>
                <a:gd name="connsiteY9998" fmla="*/ 2018881 h 2493266"/>
                <a:gd name="connsiteX9999" fmla="*/ 2551900 w 3135233"/>
                <a:gd name="connsiteY9999" fmla="*/ 2017253 h 2493266"/>
                <a:gd name="connsiteX10000" fmla="*/ 2543561 w 3135233"/>
                <a:gd name="connsiteY10000" fmla="*/ 2017253 h 2493266"/>
                <a:gd name="connsiteX10001" fmla="*/ 2541489 w 3135233"/>
                <a:gd name="connsiteY10001" fmla="*/ 2015625 h 2493266"/>
                <a:gd name="connsiteX10002" fmla="*/ 2547706 w 3135233"/>
                <a:gd name="connsiteY10002" fmla="*/ 2014046 h 2493266"/>
                <a:gd name="connsiteX10003" fmla="*/ 2562508 w 3135233"/>
                <a:gd name="connsiteY10003" fmla="*/ 2012418 h 2493266"/>
                <a:gd name="connsiteX10004" fmla="*/ 2574991 w 3135233"/>
                <a:gd name="connsiteY10004" fmla="*/ 2015625 h 2493266"/>
                <a:gd name="connsiteX10005" fmla="*/ 2579185 w 3135233"/>
                <a:gd name="connsiteY10005" fmla="*/ 2025493 h 2493266"/>
                <a:gd name="connsiteX10006" fmla="*/ 2579185 w 3135233"/>
                <a:gd name="connsiteY10006" fmla="*/ 2030427 h 2493266"/>
                <a:gd name="connsiteX10007" fmla="*/ 2570846 w 3135233"/>
                <a:gd name="connsiteY10007" fmla="*/ 2036891 h 2493266"/>
                <a:gd name="connsiteX10008" fmla="*/ 2566702 w 3135233"/>
                <a:gd name="connsiteY10008" fmla="*/ 2036891 h 2493266"/>
                <a:gd name="connsiteX10009" fmla="*/ 2562508 w 3135233"/>
                <a:gd name="connsiteY10009" fmla="*/ 2041825 h 2493266"/>
                <a:gd name="connsiteX10010" fmla="*/ 2570846 w 3135233"/>
                <a:gd name="connsiteY10010" fmla="*/ 2043404 h 2493266"/>
                <a:gd name="connsiteX10011" fmla="*/ 2572919 w 3135233"/>
                <a:gd name="connsiteY10011" fmla="*/ 2048338 h 2493266"/>
                <a:gd name="connsiteX10012" fmla="*/ 2577113 w 3135233"/>
                <a:gd name="connsiteY10012" fmla="*/ 2045131 h 2493266"/>
                <a:gd name="connsiteX10013" fmla="*/ 2579185 w 3135233"/>
                <a:gd name="connsiteY10013" fmla="*/ 2040197 h 2493266"/>
                <a:gd name="connsiteX10014" fmla="*/ 2589596 w 3135233"/>
                <a:gd name="connsiteY10014" fmla="*/ 2035262 h 2493266"/>
                <a:gd name="connsiteX10015" fmla="*/ 2597934 w 3135233"/>
                <a:gd name="connsiteY10015" fmla="*/ 2035262 h 2493266"/>
                <a:gd name="connsiteX10016" fmla="*/ 2597934 w 3135233"/>
                <a:gd name="connsiteY10016" fmla="*/ 2036841 h 2493266"/>
                <a:gd name="connsiteX10017" fmla="*/ 2595813 w 3135233"/>
                <a:gd name="connsiteY10017" fmla="*/ 2038470 h 2493266"/>
                <a:gd name="connsiteX10018" fmla="*/ 2595813 w 3135233"/>
                <a:gd name="connsiteY10018" fmla="*/ 2041726 h 2493266"/>
                <a:gd name="connsiteX10019" fmla="*/ 2604151 w 3135233"/>
                <a:gd name="connsiteY10019" fmla="*/ 2043305 h 2493266"/>
                <a:gd name="connsiteX10020" fmla="*/ 2614611 w 3135233"/>
                <a:gd name="connsiteY10020" fmla="*/ 2046561 h 2493266"/>
                <a:gd name="connsiteX10021" fmla="*/ 2614611 w 3135233"/>
                <a:gd name="connsiteY10021" fmla="*/ 2049769 h 2493266"/>
                <a:gd name="connsiteX10022" fmla="*/ 2608345 w 3135233"/>
                <a:gd name="connsiteY10022" fmla="*/ 2046561 h 2493266"/>
                <a:gd name="connsiteX10023" fmla="*/ 2606223 w 3135233"/>
                <a:gd name="connsiteY10023" fmla="*/ 2048140 h 2493266"/>
                <a:gd name="connsiteX10024" fmla="*/ 2608345 w 3135233"/>
                <a:gd name="connsiteY10024" fmla="*/ 2053074 h 2493266"/>
                <a:gd name="connsiteX10025" fmla="*/ 2616634 w 3135233"/>
                <a:gd name="connsiteY10025" fmla="*/ 2056282 h 2493266"/>
                <a:gd name="connsiteX10026" fmla="*/ 2618756 w 3135233"/>
                <a:gd name="connsiteY10026" fmla="*/ 2061216 h 2493266"/>
                <a:gd name="connsiteX10027" fmla="*/ 2612490 w 3135233"/>
                <a:gd name="connsiteY10027" fmla="*/ 2066150 h 2493266"/>
                <a:gd name="connsiteX10028" fmla="*/ 2608345 w 3135233"/>
                <a:gd name="connsiteY10028" fmla="*/ 2064521 h 2493266"/>
                <a:gd name="connsiteX10029" fmla="*/ 2602079 w 3135233"/>
                <a:gd name="connsiteY10029" fmla="*/ 2067778 h 2493266"/>
                <a:gd name="connsiteX10030" fmla="*/ 2612490 w 3135233"/>
                <a:gd name="connsiteY10030" fmla="*/ 2070985 h 2493266"/>
                <a:gd name="connsiteX10031" fmla="*/ 2610417 w 3135233"/>
                <a:gd name="connsiteY10031" fmla="*/ 2077448 h 2493266"/>
                <a:gd name="connsiteX10032" fmla="*/ 2604151 w 3135233"/>
                <a:gd name="connsiteY10032" fmla="*/ 2079027 h 2493266"/>
                <a:gd name="connsiteX10033" fmla="*/ 2602079 w 3135233"/>
                <a:gd name="connsiteY10033" fmla="*/ 2083961 h 2493266"/>
                <a:gd name="connsiteX10034" fmla="*/ 2597934 w 3135233"/>
                <a:gd name="connsiteY10034" fmla="*/ 2087168 h 2493266"/>
                <a:gd name="connsiteX10035" fmla="*/ 2589596 w 3135233"/>
                <a:gd name="connsiteY10035" fmla="*/ 2082234 h 2493266"/>
                <a:gd name="connsiteX10036" fmla="*/ 2591668 w 3135233"/>
                <a:gd name="connsiteY10036" fmla="*/ 2087168 h 2493266"/>
                <a:gd name="connsiteX10037" fmla="*/ 2602079 w 3135233"/>
                <a:gd name="connsiteY10037" fmla="*/ 2090425 h 2493266"/>
                <a:gd name="connsiteX10038" fmla="*/ 2608345 w 3135233"/>
                <a:gd name="connsiteY10038" fmla="*/ 2090425 h 2493266"/>
                <a:gd name="connsiteX10039" fmla="*/ 2612490 w 3135233"/>
                <a:gd name="connsiteY10039" fmla="*/ 2095359 h 2493266"/>
                <a:gd name="connsiteX10040" fmla="*/ 2608345 w 3135233"/>
                <a:gd name="connsiteY10040" fmla="*/ 2096938 h 2493266"/>
                <a:gd name="connsiteX10041" fmla="*/ 2602079 w 3135233"/>
                <a:gd name="connsiteY10041" fmla="*/ 2095359 h 2493266"/>
                <a:gd name="connsiteX10042" fmla="*/ 2597934 w 3135233"/>
                <a:gd name="connsiteY10042" fmla="*/ 2095359 h 2493266"/>
                <a:gd name="connsiteX10043" fmla="*/ 2602079 w 3135233"/>
                <a:gd name="connsiteY10043" fmla="*/ 2098566 h 2493266"/>
                <a:gd name="connsiteX10044" fmla="*/ 2608345 w 3135233"/>
                <a:gd name="connsiteY10044" fmla="*/ 2098566 h 2493266"/>
                <a:gd name="connsiteX10045" fmla="*/ 2612490 w 3135233"/>
                <a:gd name="connsiteY10045" fmla="*/ 2100145 h 2493266"/>
                <a:gd name="connsiteX10046" fmla="*/ 2610417 w 3135233"/>
                <a:gd name="connsiteY10046" fmla="*/ 2105079 h 2493266"/>
                <a:gd name="connsiteX10047" fmla="*/ 2608345 w 3135233"/>
                <a:gd name="connsiteY10047" fmla="*/ 2111543 h 2493266"/>
                <a:gd name="connsiteX10048" fmla="*/ 2604151 w 3135233"/>
                <a:gd name="connsiteY10048" fmla="*/ 2111543 h 2493266"/>
                <a:gd name="connsiteX10049" fmla="*/ 2600006 w 3135233"/>
                <a:gd name="connsiteY10049" fmla="*/ 2116477 h 2493266"/>
                <a:gd name="connsiteX10050" fmla="*/ 2591471 w 3135233"/>
                <a:gd name="connsiteY10050" fmla="*/ 2121954 h 2493266"/>
                <a:gd name="connsiteX10051" fmla="*/ 2583132 w 3135233"/>
                <a:gd name="connsiteY10051" fmla="*/ 2121954 h 2493266"/>
                <a:gd name="connsiteX10052" fmla="*/ 2574794 w 3135233"/>
                <a:gd name="connsiteY10052" fmla="*/ 2126888 h 2493266"/>
                <a:gd name="connsiteX10053" fmla="*/ 2572721 w 3135233"/>
                <a:gd name="connsiteY10053" fmla="*/ 2126888 h 2493266"/>
                <a:gd name="connsiteX10054" fmla="*/ 2566504 w 3135233"/>
                <a:gd name="connsiteY10054" fmla="*/ 2131822 h 2493266"/>
                <a:gd name="connsiteX10055" fmla="*/ 2562311 w 3135233"/>
                <a:gd name="connsiteY10055" fmla="*/ 2131822 h 2493266"/>
                <a:gd name="connsiteX10056" fmla="*/ 2560238 w 3135233"/>
                <a:gd name="connsiteY10056" fmla="*/ 2136756 h 2493266"/>
                <a:gd name="connsiteX10057" fmla="*/ 2556094 w 3135233"/>
                <a:gd name="connsiteY10057" fmla="*/ 2136756 h 2493266"/>
                <a:gd name="connsiteX10058" fmla="*/ 2551900 w 3135233"/>
                <a:gd name="connsiteY10058" fmla="*/ 2133499 h 2493266"/>
                <a:gd name="connsiteX10059" fmla="*/ 2545683 w 3135233"/>
                <a:gd name="connsiteY10059" fmla="*/ 2136756 h 2493266"/>
                <a:gd name="connsiteX10060" fmla="*/ 2539417 w 3135233"/>
                <a:gd name="connsiteY10060" fmla="*/ 2135177 h 2493266"/>
                <a:gd name="connsiteX10061" fmla="*/ 2539417 w 3135233"/>
                <a:gd name="connsiteY10061" fmla="*/ 2133499 h 2493266"/>
                <a:gd name="connsiteX10062" fmla="*/ 2531078 w 3135233"/>
                <a:gd name="connsiteY10062" fmla="*/ 2138433 h 2493266"/>
                <a:gd name="connsiteX10063" fmla="*/ 2522740 w 3135233"/>
                <a:gd name="connsiteY10063" fmla="*/ 2136805 h 2493266"/>
                <a:gd name="connsiteX10064" fmla="*/ 2520667 w 3135233"/>
                <a:gd name="connsiteY10064" fmla="*/ 2131871 h 2493266"/>
                <a:gd name="connsiteX10065" fmla="*/ 2516473 w 3135233"/>
                <a:gd name="connsiteY10065" fmla="*/ 2133450 h 2493266"/>
                <a:gd name="connsiteX10066" fmla="*/ 2518545 w 3135233"/>
                <a:gd name="connsiteY10066" fmla="*/ 2138384 h 2493266"/>
                <a:gd name="connsiteX10067" fmla="*/ 2512329 w 3135233"/>
                <a:gd name="connsiteY10067" fmla="*/ 2139963 h 2493266"/>
                <a:gd name="connsiteX10068" fmla="*/ 2503990 w 3135233"/>
                <a:gd name="connsiteY10068" fmla="*/ 2138384 h 2493266"/>
                <a:gd name="connsiteX10069" fmla="*/ 2501918 w 3135233"/>
                <a:gd name="connsiteY10069" fmla="*/ 2141591 h 2493266"/>
                <a:gd name="connsiteX10070" fmla="*/ 2503990 w 3135233"/>
                <a:gd name="connsiteY10070" fmla="*/ 2141591 h 2493266"/>
                <a:gd name="connsiteX10071" fmla="*/ 2503990 w 3135233"/>
                <a:gd name="connsiteY10071" fmla="*/ 2146525 h 2493266"/>
                <a:gd name="connsiteX10072" fmla="*/ 2497724 w 3135233"/>
                <a:gd name="connsiteY10072" fmla="*/ 2149781 h 2493266"/>
                <a:gd name="connsiteX10073" fmla="*/ 2493579 w 3135233"/>
                <a:gd name="connsiteY10073" fmla="*/ 2149781 h 2493266"/>
                <a:gd name="connsiteX10074" fmla="*/ 2493579 w 3135233"/>
                <a:gd name="connsiteY10074" fmla="*/ 2154715 h 2493266"/>
                <a:gd name="connsiteX10075" fmla="*/ 2489435 w 3135233"/>
                <a:gd name="connsiteY10075" fmla="*/ 2164584 h 2493266"/>
                <a:gd name="connsiteX10076" fmla="*/ 2483169 w 3135233"/>
                <a:gd name="connsiteY10076" fmla="*/ 2162955 h 2493266"/>
                <a:gd name="connsiteX10077" fmla="*/ 2481047 w 3135233"/>
                <a:gd name="connsiteY10077" fmla="*/ 2166162 h 2493266"/>
                <a:gd name="connsiteX10078" fmla="*/ 2474830 w 3135233"/>
                <a:gd name="connsiteY10078" fmla="*/ 2169419 h 2493266"/>
                <a:gd name="connsiteX10079" fmla="*/ 2470636 w 3135233"/>
                <a:gd name="connsiteY10079" fmla="*/ 2174353 h 2493266"/>
                <a:gd name="connsiteX10080" fmla="*/ 2466491 w 3135233"/>
                <a:gd name="connsiteY10080" fmla="*/ 2174353 h 2493266"/>
                <a:gd name="connsiteX10081" fmla="*/ 2462347 w 3135233"/>
                <a:gd name="connsiteY10081" fmla="*/ 2175932 h 2493266"/>
                <a:gd name="connsiteX10082" fmla="*/ 2456081 w 3135233"/>
                <a:gd name="connsiteY10082" fmla="*/ 2175932 h 2493266"/>
                <a:gd name="connsiteX10083" fmla="*/ 2454009 w 3135233"/>
                <a:gd name="connsiteY10083" fmla="*/ 2179188 h 2493266"/>
                <a:gd name="connsiteX10084" fmla="*/ 2447742 w 3135233"/>
                <a:gd name="connsiteY10084" fmla="*/ 2182395 h 2493266"/>
                <a:gd name="connsiteX10085" fmla="*/ 2443598 w 3135233"/>
                <a:gd name="connsiteY10085" fmla="*/ 2179188 h 2493266"/>
                <a:gd name="connsiteX10086" fmla="*/ 2431115 w 3135233"/>
                <a:gd name="connsiteY10086" fmla="*/ 2179188 h 2493266"/>
                <a:gd name="connsiteX10087" fmla="*/ 2428993 w 3135233"/>
                <a:gd name="connsiteY10087" fmla="*/ 2177609 h 2493266"/>
                <a:gd name="connsiteX10088" fmla="*/ 2420704 w 3135233"/>
                <a:gd name="connsiteY10088" fmla="*/ 2179188 h 2493266"/>
                <a:gd name="connsiteX10089" fmla="*/ 2416510 w 3135233"/>
                <a:gd name="connsiteY10089" fmla="*/ 2179188 h 2493266"/>
                <a:gd name="connsiteX10090" fmla="*/ 2399833 w 3135233"/>
                <a:gd name="connsiteY10090" fmla="*/ 2184122 h 2493266"/>
                <a:gd name="connsiteX10091" fmla="*/ 2393567 w 3135233"/>
                <a:gd name="connsiteY10091" fmla="*/ 2182445 h 2493266"/>
                <a:gd name="connsiteX10092" fmla="*/ 2395688 w 3135233"/>
                <a:gd name="connsiteY10092" fmla="*/ 2179238 h 2493266"/>
                <a:gd name="connsiteX10093" fmla="*/ 2389175 w 3135233"/>
                <a:gd name="connsiteY10093" fmla="*/ 2179238 h 2493266"/>
                <a:gd name="connsiteX10094" fmla="*/ 2382909 w 3135233"/>
                <a:gd name="connsiteY10094" fmla="*/ 2180866 h 2493266"/>
                <a:gd name="connsiteX10095" fmla="*/ 2376840 w 3135233"/>
                <a:gd name="connsiteY10095" fmla="*/ 2180866 h 2493266"/>
                <a:gd name="connsiteX10096" fmla="*/ 2366429 w 3135233"/>
                <a:gd name="connsiteY10096" fmla="*/ 2177659 h 2493266"/>
                <a:gd name="connsiteX10097" fmla="*/ 2356019 w 3135233"/>
                <a:gd name="connsiteY10097" fmla="*/ 2177659 h 2493266"/>
                <a:gd name="connsiteX10098" fmla="*/ 2349752 w 3135233"/>
                <a:gd name="connsiteY10098" fmla="*/ 2172725 h 2493266"/>
                <a:gd name="connsiteX10099" fmla="*/ 2345608 w 3135233"/>
                <a:gd name="connsiteY10099" fmla="*/ 2172725 h 2493266"/>
                <a:gd name="connsiteX10100" fmla="*/ 2341414 w 3135233"/>
                <a:gd name="connsiteY10100" fmla="*/ 2175932 h 2493266"/>
                <a:gd name="connsiteX10101" fmla="*/ 2331003 w 3135233"/>
                <a:gd name="connsiteY10101" fmla="*/ 2175932 h 2493266"/>
                <a:gd name="connsiteX10102" fmla="*/ 2322714 w 3135233"/>
                <a:gd name="connsiteY10102" fmla="*/ 2170998 h 2493266"/>
                <a:gd name="connsiteX10103" fmla="*/ 2316398 w 3135233"/>
                <a:gd name="connsiteY10103" fmla="*/ 2174205 h 2493266"/>
                <a:gd name="connsiteX10104" fmla="*/ 2310231 w 3135233"/>
                <a:gd name="connsiteY10104" fmla="*/ 2174205 h 2493266"/>
                <a:gd name="connsiteX10105" fmla="*/ 2303964 w 3135233"/>
                <a:gd name="connsiteY10105" fmla="*/ 2170998 h 2493266"/>
                <a:gd name="connsiteX10106" fmla="*/ 2295626 w 3135233"/>
                <a:gd name="connsiteY10106" fmla="*/ 2174205 h 2493266"/>
                <a:gd name="connsiteX10107" fmla="*/ 2291481 w 3135233"/>
                <a:gd name="connsiteY10107" fmla="*/ 2172577 h 2493266"/>
                <a:gd name="connsiteX10108" fmla="*/ 2287337 w 3135233"/>
                <a:gd name="connsiteY10108" fmla="*/ 2172577 h 2493266"/>
                <a:gd name="connsiteX10109" fmla="*/ 2276926 w 3135233"/>
                <a:gd name="connsiteY10109" fmla="*/ 2169370 h 2493266"/>
                <a:gd name="connsiteX10110" fmla="*/ 2262124 w 3135233"/>
                <a:gd name="connsiteY10110" fmla="*/ 2170998 h 2493266"/>
                <a:gd name="connsiteX10111" fmla="*/ 2251713 w 3135233"/>
                <a:gd name="connsiteY10111" fmla="*/ 2169370 h 2493266"/>
                <a:gd name="connsiteX10112" fmla="*/ 2245447 w 3135233"/>
                <a:gd name="connsiteY10112" fmla="*/ 2164436 h 2493266"/>
                <a:gd name="connsiteX10113" fmla="*/ 2241302 w 3135233"/>
                <a:gd name="connsiteY10113" fmla="*/ 2166014 h 2493266"/>
                <a:gd name="connsiteX10114" fmla="*/ 2237108 w 3135233"/>
                <a:gd name="connsiteY10114" fmla="*/ 2169271 h 2493266"/>
                <a:gd name="connsiteX10115" fmla="*/ 2239230 w 3135233"/>
                <a:gd name="connsiteY10115" fmla="*/ 2172478 h 2493266"/>
                <a:gd name="connsiteX10116" fmla="*/ 2237108 w 3135233"/>
                <a:gd name="connsiteY10116" fmla="*/ 2175685 h 2493266"/>
                <a:gd name="connsiteX10117" fmla="*/ 2231286 w 3135233"/>
                <a:gd name="connsiteY10117" fmla="*/ 2175685 h 2493266"/>
                <a:gd name="connsiteX10118" fmla="*/ 2218803 w 3135233"/>
                <a:gd name="connsiteY10118" fmla="*/ 2187033 h 2493266"/>
                <a:gd name="connsiteX10119" fmla="*/ 2210465 w 3135233"/>
                <a:gd name="connsiteY10119" fmla="*/ 2190241 h 2493266"/>
                <a:gd name="connsiteX10120" fmla="*/ 2208392 w 3135233"/>
                <a:gd name="connsiteY10120" fmla="*/ 2195175 h 2493266"/>
                <a:gd name="connsiteX10121" fmla="*/ 2206271 w 3135233"/>
                <a:gd name="connsiteY10121" fmla="*/ 2198431 h 2493266"/>
                <a:gd name="connsiteX10122" fmla="*/ 2204198 w 3135233"/>
                <a:gd name="connsiteY10122" fmla="*/ 2204895 h 2493266"/>
                <a:gd name="connsiteX10123" fmla="*/ 2200054 w 3135233"/>
                <a:gd name="connsiteY10123" fmla="*/ 2211309 h 2493266"/>
                <a:gd name="connsiteX10124" fmla="*/ 2189347 w 3135233"/>
                <a:gd name="connsiteY10124" fmla="*/ 2211309 h 2493266"/>
                <a:gd name="connsiteX10125" fmla="*/ 2183130 w 3135233"/>
                <a:gd name="connsiteY10125" fmla="*/ 2212937 h 2493266"/>
                <a:gd name="connsiteX10126" fmla="*/ 2170598 w 3135233"/>
                <a:gd name="connsiteY10126" fmla="*/ 2214565 h 2493266"/>
                <a:gd name="connsiteX10127" fmla="*/ 2164381 w 3135233"/>
                <a:gd name="connsiteY10127" fmla="*/ 2220980 h 2493266"/>
                <a:gd name="connsiteX10128" fmla="*/ 2160187 w 3135233"/>
                <a:gd name="connsiteY10128" fmla="*/ 2220980 h 2493266"/>
                <a:gd name="connsiteX10129" fmla="*/ 2158114 w 3135233"/>
                <a:gd name="connsiteY10129" fmla="*/ 2219401 h 2493266"/>
                <a:gd name="connsiteX10130" fmla="*/ 2151897 w 3135233"/>
                <a:gd name="connsiteY10130" fmla="*/ 2222608 h 2493266"/>
                <a:gd name="connsiteX10131" fmla="*/ 2149776 w 3135233"/>
                <a:gd name="connsiteY10131" fmla="*/ 2229071 h 2493266"/>
                <a:gd name="connsiteX10132" fmla="*/ 2141487 w 3135233"/>
                <a:gd name="connsiteY10132" fmla="*/ 2230650 h 2493266"/>
                <a:gd name="connsiteX10133" fmla="*/ 2135221 w 3135233"/>
                <a:gd name="connsiteY10133" fmla="*/ 2235584 h 2493266"/>
                <a:gd name="connsiteX10134" fmla="*/ 2133148 w 3135233"/>
                <a:gd name="connsiteY10134" fmla="*/ 2238791 h 2493266"/>
                <a:gd name="connsiteX10135" fmla="*/ 2128954 w 3135233"/>
                <a:gd name="connsiteY10135" fmla="*/ 2238791 h 2493266"/>
                <a:gd name="connsiteX10136" fmla="*/ 2120665 w 3135233"/>
                <a:gd name="connsiteY10136" fmla="*/ 2250090 h 2493266"/>
                <a:gd name="connsiteX10137" fmla="*/ 2105863 w 3135233"/>
                <a:gd name="connsiteY10137" fmla="*/ 2256554 h 2493266"/>
                <a:gd name="connsiteX10138" fmla="*/ 2101669 w 3135233"/>
                <a:gd name="connsiteY10138" fmla="*/ 2267853 h 2493266"/>
                <a:gd name="connsiteX10139" fmla="*/ 2093330 w 3135233"/>
                <a:gd name="connsiteY10139" fmla="*/ 2271060 h 2493266"/>
                <a:gd name="connsiteX10140" fmla="*/ 2085041 w 3135233"/>
                <a:gd name="connsiteY10140" fmla="*/ 2279152 h 2493266"/>
                <a:gd name="connsiteX10141" fmla="*/ 2076703 w 3135233"/>
                <a:gd name="connsiteY10141" fmla="*/ 2280780 h 2493266"/>
                <a:gd name="connsiteX10142" fmla="*/ 2074630 w 3135233"/>
                <a:gd name="connsiteY10142" fmla="*/ 2287194 h 2493266"/>
                <a:gd name="connsiteX10143" fmla="*/ 2070437 w 3135233"/>
                <a:gd name="connsiteY10143" fmla="*/ 2293658 h 2493266"/>
                <a:gd name="connsiteX10144" fmla="*/ 2053809 w 3135233"/>
                <a:gd name="connsiteY10144" fmla="*/ 2303526 h 2493266"/>
                <a:gd name="connsiteX10145" fmla="*/ 2051687 w 3135233"/>
                <a:gd name="connsiteY10145" fmla="*/ 2308460 h 2493266"/>
                <a:gd name="connsiteX10146" fmla="*/ 2032938 w 3135233"/>
                <a:gd name="connsiteY10146" fmla="*/ 2314924 h 2493266"/>
                <a:gd name="connsiteX10147" fmla="*/ 2022527 w 3135233"/>
                <a:gd name="connsiteY10147" fmla="*/ 2316552 h 2493266"/>
                <a:gd name="connsiteX10148" fmla="*/ 2030866 w 3135233"/>
                <a:gd name="connsiteY10148" fmla="*/ 2318131 h 2493266"/>
                <a:gd name="connsiteX10149" fmla="*/ 2049615 w 3135233"/>
                <a:gd name="connsiteY10149" fmla="*/ 2310088 h 2493266"/>
                <a:gd name="connsiteX10150" fmla="*/ 2066243 w 3135233"/>
                <a:gd name="connsiteY10150" fmla="*/ 2303625 h 2493266"/>
                <a:gd name="connsiteX10151" fmla="*/ 2078775 w 3135233"/>
                <a:gd name="connsiteY10151" fmla="*/ 2297161 h 2493266"/>
                <a:gd name="connsiteX10152" fmla="*/ 2087114 w 3135233"/>
                <a:gd name="connsiteY10152" fmla="*/ 2287293 h 2493266"/>
                <a:gd name="connsiteX10153" fmla="*/ 2095452 w 3135233"/>
                <a:gd name="connsiteY10153" fmla="*/ 2279251 h 2493266"/>
                <a:gd name="connsiteX10154" fmla="*/ 2101669 w 3135233"/>
                <a:gd name="connsiteY10154" fmla="*/ 2277622 h 2493266"/>
                <a:gd name="connsiteX10155" fmla="*/ 2120468 w 3135233"/>
                <a:gd name="connsiteY10155" fmla="*/ 2263116 h 2493266"/>
                <a:gd name="connsiteX10156" fmla="*/ 2143362 w 3135233"/>
                <a:gd name="connsiteY10156" fmla="*/ 2248561 h 2493266"/>
                <a:gd name="connsiteX10157" fmla="*/ 2159989 w 3135233"/>
                <a:gd name="connsiteY10157" fmla="*/ 2238693 h 2493266"/>
                <a:gd name="connsiteX10158" fmla="*/ 2170400 w 3135233"/>
                <a:gd name="connsiteY10158" fmla="*/ 2238693 h 2493266"/>
                <a:gd name="connsiteX10159" fmla="*/ 2180811 w 3135233"/>
                <a:gd name="connsiteY10159" fmla="*/ 2233759 h 2493266"/>
                <a:gd name="connsiteX10160" fmla="*/ 2197488 w 3135233"/>
                <a:gd name="connsiteY10160" fmla="*/ 2230502 h 2493266"/>
                <a:gd name="connsiteX10161" fmla="*/ 2220431 w 3135233"/>
                <a:gd name="connsiteY10161" fmla="*/ 2224088 h 2493266"/>
                <a:gd name="connsiteX10162" fmla="*/ 2228770 w 3135233"/>
                <a:gd name="connsiteY10162" fmla="*/ 2224088 h 2493266"/>
                <a:gd name="connsiteX10163" fmla="*/ 2234987 w 3135233"/>
                <a:gd name="connsiteY10163" fmla="*/ 2219154 h 2493266"/>
                <a:gd name="connsiteX10164" fmla="*/ 2260002 w 3135233"/>
                <a:gd name="connsiteY10164" fmla="*/ 2220733 h 2493266"/>
                <a:gd name="connsiteX10165" fmla="*/ 2272485 w 3135233"/>
                <a:gd name="connsiteY10165" fmla="*/ 2223989 h 2493266"/>
                <a:gd name="connsiteX10166" fmla="*/ 2287287 w 3135233"/>
                <a:gd name="connsiteY10166" fmla="*/ 2232081 h 2493266"/>
                <a:gd name="connsiteX10167" fmla="*/ 2287287 w 3135233"/>
                <a:gd name="connsiteY10167" fmla="*/ 2235091 h 2493266"/>
                <a:gd name="connsiteX10168" fmla="*/ 2276877 w 3135233"/>
                <a:gd name="connsiteY10168" fmla="*/ 2233463 h 2493266"/>
                <a:gd name="connsiteX10169" fmla="*/ 2276877 w 3135233"/>
                <a:gd name="connsiteY10169" fmla="*/ 2233463 h 2493266"/>
                <a:gd name="connsiteX10170" fmla="*/ 2276877 w 3135233"/>
                <a:gd name="connsiteY10170" fmla="*/ 2236670 h 2493266"/>
                <a:gd name="connsiteX10171" fmla="*/ 2281021 w 3135233"/>
                <a:gd name="connsiteY10171" fmla="*/ 2235091 h 2493266"/>
                <a:gd name="connsiteX10172" fmla="*/ 2289360 w 3135233"/>
                <a:gd name="connsiteY10172" fmla="*/ 2238298 h 2493266"/>
                <a:gd name="connsiteX10173" fmla="*/ 2293504 w 3135233"/>
                <a:gd name="connsiteY10173" fmla="*/ 2241505 h 2493266"/>
                <a:gd name="connsiteX10174" fmla="*/ 2287287 w 3135233"/>
                <a:gd name="connsiteY10174" fmla="*/ 2243133 h 2493266"/>
                <a:gd name="connsiteX10175" fmla="*/ 2291432 w 3135233"/>
                <a:gd name="connsiteY10175" fmla="*/ 2246390 h 2493266"/>
                <a:gd name="connsiteX10176" fmla="*/ 2285166 w 3135233"/>
                <a:gd name="connsiteY10176" fmla="*/ 2256258 h 2493266"/>
                <a:gd name="connsiteX10177" fmla="*/ 2278900 w 3135233"/>
                <a:gd name="connsiteY10177" fmla="*/ 2257886 h 2493266"/>
                <a:gd name="connsiteX10178" fmla="*/ 2270610 w 3135233"/>
                <a:gd name="connsiteY10178" fmla="*/ 2264300 h 2493266"/>
                <a:gd name="connsiteX10179" fmla="*/ 2264344 w 3135233"/>
                <a:gd name="connsiteY10179" fmla="*/ 2264300 h 2493266"/>
                <a:gd name="connsiteX10180" fmla="*/ 2255956 w 3135233"/>
                <a:gd name="connsiteY10180" fmla="*/ 2270369 h 2493266"/>
                <a:gd name="connsiteX10181" fmla="*/ 2247568 w 3135233"/>
                <a:gd name="connsiteY10181" fmla="*/ 2270369 h 2493266"/>
                <a:gd name="connsiteX10182" fmla="*/ 2241351 w 3135233"/>
                <a:gd name="connsiteY10182" fmla="*/ 2265435 h 2493266"/>
                <a:gd name="connsiteX10183" fmla="*/ 2233013 w 3135233"/>
                <a:gd name="connsiteY10183" fmla="*/ 2262228 h 2493266"/>
                <a:gd name="connsiteX10184" fmla="*/ 2228868 w 3135233"/>
                <a:gd name="connsiteY10184" fmla="*/ 2265435 h 2493266"/>
                <a:gd name="connsiteX10185" fmla="*/ 2220530 w 3135233"/>
                <a:gd name="connsiteY10185" fmla="*/ 2267064 h 2493266"/>
                <a:gd name="connsiteX10186" fmla="*/ 2214264 w 3135233"/>
                <a:gd name="connsiteY10186" fmla="*/ 2265435 h 2493266"/>
                <a:gd name="connsiteX10187" fmla="*/ 2203853 w 3135233"/>
                <a:gd name="connsiteY10187" fmla="*/ 2270369 h 2493266"/>
                <a:gd name="connsiteX10188" fmla="*/ 2214264 w 3135233"/>
                <a:gd name="connsiteY10188" fmla="*/ 2268741 h 2493266"/>
                <a:gd name="connsiteX10189" fmla="*/ 2222602 w 3135233"/>
                <a:gd name="connsiteY10189" fmla="*/ 2268741 h 2493266"/>
                <a:gd name="connsiteX10190" fmla="*/ 2237404 w 3135233"/>
                <a:gd name="connsiteY10190" fmla="*/ 2271998 h 2493266"/>
                <a:gd name="connsiteX10191" fmla="*/ 2239526 w 3135233"/>
                <a:gd name="connsiteY10191" fmla="*/ 2278461 h 2493266"/>
                <a:gd name="connsiteX10192" fmla="*/ 2241598 w 3135233"/>
                <a:gd name="connsiteY10192" fmla="*/ 2283395 h 2493266"/>
                <a:gd name="connsiteX10193" fmla="*/ 2249937 w 3135233"/>
                <a:gd name="connsiteY10193" fmla="*/ 2280188 h 2493266"/>
                <a:gd name="connsiteX10194" fmla="*/ 2258226 w 3135233"/>
                <a:gd name="connsiteY10194" fmla="*/ 2275254 h 2493266"/>
                <a:gd name="connsiteX10195" fmla="*/ 2264492 w 3135233"/>
                <a:gd name="connsiteY10195" fmla="*/ 2275254 h 2493266"/>
                <a:gd name="connsiteX10196" fmla="*/ 2266614 w 3135233"/>
                <a:gd name="connsiteY10196" fmla="*/ 2278510 h 2493266"/>
                <a:gd name="connsiteX10197" fmla="*/ 2272831 w 3135233"/>
                <a:gd name="connsiteY10197" fmla="*/ 2276882 h 2493266"/>
                <a:gd name="connsiteX10198" fmla="*/ 2272831 w 3135233"/>
                <a:gd name="connsiteY10198" fmla="*/ 2281816 h 2493266"/>
                <a:gd name="connsiteX10199" fmla="*/ 2266614 w 3135233"/>
                <a:gd name="connsiteY10199" fmla="*/ 2286750 h 2493266"/>
                <a:gd name="connsiteX10200" fmla="*/ 2258226 w 3135233"/>
                <a:gd name="connsiteY10200" fmla="*/ 2302885 h 2493266"/>
                <a:gd name="connsiteX10201" fmla="*/ 2254081 w 3135233"/>
                <a:gd name="connsiteY10201" fmla="*/ 2302885 h 2493266"/>
                <a:gd name="connsiteX10202" fmla="*/ 2247815 w 3135233"/>
                <a:gd name="connsiteY10202" fmla="*/ 2306141 h 2493266"/>
                <a:gd name="connsiteX10203" fmla="*/ 2262617 w 3135233"/>
                <a:gd name="connsiteY10203" fmla="*/ 2307720 h 2493266"/>
                <a:gd name="connsiteX10204" fmla="*/ 2262617 w 3135233"/>
                <a:gd name="connsiteY10204" fmla="*/ 2309101 h 2493266"/>
                <a:gd name="connsiteX10205" fmla="*/ 2258423 w 3135233"/>
                <a:gd name="connsiteY10205" fmla="*/ 2315565 h 2493266"/>
                <a:gd name="connsiteX10206" fmla="*/ 2262617 w 3135233"/>
                <a:gd name="connsiteY10206" fmla="*/ 2318772 h 2493266"/>
                <a:gd name="connsiteX10207" fmla="*/ 2262617 w 3135233"/>
                <a:gd name="connsiteY10207" fmla="*/ 2333574 h 2493266"/>
                <a:gd name="connsiteX10208" fmla="*/ 2266811 w 3135233"/>
                <a:gd name="connsiteY10208" fmla="*/ 2336781 h 2493266"/>
                <a:gd name="connsiteX10209" fmla="*/ 2270956 w 3135233"/>
                <a:gd name="connsiteY10209" fmla="*/ 2343245 h 2493266"/>
                <a:gd name="connsiteX10210" fmla="*/ 2277222 w 3135233"/>
                <a:gd name="connsiteY10210" fmla="*/ 2343245 h 2493266"/>
                <a:gd name="connsiteX10211" fmla="*/ 2281367 w 3135233"/>
                <a:gd name="connsiteY10211" fmla="*/ 2346501 h 2493266"/>
                <a:gd name="connsiteX10212" fmla="*/ 2291777 w 3135233"/>
                <a:gd name="connsiteY10212" fmla="*/ 2346501 h 2493266"/>
                <a:gd name="connsiteX10213" fmla="*/ 2289705 w 3135233"/>
                <a:gd name="connsiteY10213" fmla="*/ 2351435 h 2493266"/>
                <a:gd name="connsiteX10214" fmla="*/ 2281367 w 3135233"/>
                <a:gd name="connsiteY10214" fmla="*/ 2353064 h 2493266"/>
                <a:gd name="connsiteX10215" fmla="*/ 2291777 w 3135233"/>
                <a:gd name="connsiteY10215" fmla="*/ 2359527 h 2493266"/>
                <a:gd name="connsiteX10216" fmla="*/ 2302188 w 3135233"/>
                <a:gd name="connsiteY10216" fmla="*/ 2359527 h 2493266"/>
                <a:gd name="connsiteX10217" fmla="*/ 2308455 w 3135233"/>
                <a:gd name="connsiteY10217" fmla="*/ 2362734 h 2493266"/>
                <a:gd name="connsiteX10218" fmla="*/ 2312648 w 3135233"/>
                <a:gd name="connsiteY10218" fmla="*/ 2359527 h 2493266"/>
                <a:gd name="connsiteX10219" fmla="*/ 2320937 w 3135233"/>
                <a:gd name="connsiteY10219" fmla="*/ 2362734 h 2493266"/>
                <a:gd name="connsiteX10220" fmla="*/ 2323059 w 3135233"/>
                <a:gd name="connsiteY10220" fmla="*/ 2365941 h 2493266"/>
                <a:gd name="connsiteX10221" fmla="*/ 2335493 w 3135233"/>
                <a:gd name="connsiteY10221" fmla="*/ 2369198 h 2493266"/>
                <a:gd name="connsiteX10222" fmla="*/ 2337615 w 3135233"/>
                <a:gd name="connsiteY10222" fmla="*/ 2365941 h 2493266"/>
                <a:gd name="connsiteX10223" fmla="*/ 2348025 w 3135233"/>
                <a:gd name="connsiteY10223" fmla="*/ 2359527 h 2493266"/>
                <a:gd name="connsiteX10224" fmla="*/ 2350098 w 3135233"/>
                <a:gd name="connsiteY10224" fmla="*/ 2364461 h 2493266"/>
                <a:gd name="connsiteX10225" fmla="*/ 2348025 w 3135233"/>
                <a:gd name="connsiteY10225" fmla="*/ 2367718 h 2493266"/>
                <a:gd name="connsiteX10226" fmla="*/ 2356364 w 3135233"/>
                <a:gd name="connsiteY10226" fmla="*/ 2367718 h 2493266"/>
                <a:gd name="connsiteX10227" fmla="*/ 2368847 w 3135233"/>
                <a:gd name="connsiteY10227" fmla="*/ 2374181 h 2493266"/>
                <a:gd name="connsiteX10228" fmla="*/ 2368847 w 3135233"/>
                <a:gd name="connsiteY10228" fmla="*/ 2377388 h 2493266"/>
                <a:gd name="connsiteX10229" fmla="*/ 2364505 w 3135233"/>
                <a:gd name="connsiteY10229" fmla="*/ 2377388 h 2493266"/>
                <a:gd name="connsiteX10230" fmla="*/ 2360311 w 3135233"/>
                <a:gd name="connsiteY10230" fmla="*/ 2378967 h 2493266"/>
                <a:gd name="connsiteX10231" fmla="*/ 2368650 w 3135233"/>
                <a:gd name="connsiteY10231" fmla="*/ 2382224 h 2493266"/>
                <a:gd name="connsiteX10232" fmla="*/ 2374916 w 3135233"/>
                <a:gd name="connsiteY10232" fmla="*/ 2380596 h 2493266"/>
                <a:gd name="connsiteX10233" fmla="*/ 2376988 w 3135233"/>
                <a:gd name="connsiteY10233" fmla="*/ 2385530 h 2493266"/>
                <a:gd name="connsiteX10234" fmla="*/ 2372794 w 3135233"/>
                <a:gd name="connsiteY10234" fmla="*/ 2387109 h 2493266"/>
                <a:gd name="connsiteX10235" fmla="*/ 2368650 w 3135233"/>
                <a:gd name="connsiteY10235" fmla="*/ 2385530 h 2493266"/>
                <a:gd name="connsiteX10236" fmla="*/ 2360311 w 3135233"/>
                <a:gd name="connsiteY10236" fmla="*/ 2385530 h 2493266"/>
                <a:gd name="connsiteX10237" fmla="*/ 2349703 w 3135233"/>
                <a:gd name="connsiteY10237" fmla="*/ 2388046 h 2493266"/>
                <a:gd name="connsiteX10238" fmla="*/ 2334901 w 3135233"/>
                <a:gd name="connsiteY10238" fmla="*/ 2396089 h 2493266"/>
                <a:gd name="connsiteX10239" fmla="*/ 2326612 w 3135233"/>
                <a:gd name="connsiteY10239" fmla="*/ 2396089 h 2493266"/>
                <a:gd name="connsiteX10240" fmla="*/ 2314079 w 3135233"/>
                <a:gd name="connsiteY10240" fmla="*/ 2399296 h 2493266"/>
                <a:gd name="connsiteX10241" fmla="*/ 2303668 w 3135233"/>
                <a:gd name="connsiteY10241" fmla="*/ 2400924 h 2493266"/>
                <a:gd name="connsiteX10242" fmla="*/ 2293258 w 3135233"/>
                <a:gd name="connsiteY10242" fmla="*/ 2405858 h 2493266"/>
                <a:gd name="connsiteX10243" fmla="*/ 2287041 w 3135233"/>
                <a:gd name="connsiteY10243" fmla="*/ 2405858 h 2493266"/>
                <a:gd name="connsiteX10244" fmla="*/ 2287041 w 3135233"/>
                <a:gd name="connsiteY10244" fmla="*/ 2409114 h 2493266"/>
                <a:gd name="connsiteX10245" fmla="*/ 2278653 w 3135233"/>
                <a:gd name="connsiteY10245" fmla="*/ 2409114 h 2493266"/>
                <a:gd name="connsiteX10246" fmla="*/ 2274508 w 3135233"/>
                <a:gd name="connsiteY10246" fmla="*/ 2402651 h 2493266"/>
                <a:gd name="connsiteX10247" fmla="*/ 2272436 w 3135233"/>
                <a:gd name="connsiteY10247" fmla="*/ 2401023 h 2493266"/>
                <a:gd name="connsiteX10248" fmla="*/ 2268242 w 3135233"/>
                <a:gd name="connsiteY10248" fmla="*/ 2405957 h 2493266"/>
                <a:gd name="connsiteX10249" fmla="*/ 2264098 w 3135233"/>
                <a:gd name="connsiteY10249" fmla="*/ 2404328 h 2493266"/>
                <a:gd name="connsiteX10250" fmla="*/ 2259953 w 3135233"/>
                <a:gd name="connsiteY10250" fmla="*/ 2412420 h 2493266"/>
                <a:gd name="connsiteX10251" fmla="*/ 2262025 w 3135233"/>
                <a:gd name="connsiteY10251" fmla="*/ 2415676 h 2493266"/>
                <a:gd name="connsiteX10252" fmla="*/ 2251614 w 3135233"/>
                <a:gd name="connsiteY10252" fmla="*/ 2422140 h 2493266"/>
                <a:gd name="connsiteX10253" fmla="*/ 2241204 w 3135233"/>
                <a:gd name="connsiteY10253" fmla="*/ 2433390 h 2493266"/>
                <a:gd name="connsiteX10254" fmla="*/ 2234937 w 3135233"/>
                <a:gd name="connsiteY10254" fmla="*/ 2434969 h 2493266"/>
                <a:gd name="connsiteX10255" fmla="*/ 2226599 w 3135233"/>
                <a:gd name="connsiteY10255" fmla="*/ 2439903 h 2493266"/>
                <a:gd name="connsiteX10256" fmla="*/ 2222454 w 3135233"/>
                <a:gd name="connsiteY10256" fmla="*/ 2439903 h 2493266"/>
                <a:gd name="connsiteX10257" fmla="*/ 2218310 w 3135233"/>
                <a:gd name="connsiteY10257" fmla="*/ 2441482 h 2493266"/>
                <a:gd name="connsiteX10258" fmla="*/ 2218310 w 3135233"/>
                <a:gd name="connsiteY10258" fmla="*/ 2446416 h 2493266"/>
                <a:gd name="connsiteX10259" fmla="*/ 2216188 w 3135233"/>
                <a:gd name="connsiteY10259" fmla="*/ 2449623 h 2493266"/>
                <a:gd name="connsiteX10260" fmla="*/ 2211994 w 3135233"/>
                <a:gd name="connsiteY10260" fmla="*/ 2446416 h 2493266"/>
                <a:gd name="connsiteX10261" fmla="*/ 2207899 w 3135233"/>
                <a:gd name="connsiteY10261" fmla="*/ 2447995 h 2493266"/>
                <a:gd name="connsiteX10262" fmla="*/ 2201583 w 3135233"/>
                <a:gd name="connsiteY10262" fmla="*/ 2444787 h 2493266"/>
                <a:gd name="connsiteX10263" fmla="*/ 2201583 w 3135233"/>
                <a:gd name="connsiteY10263" fmla="*/ 2438324 h 2493266"/>
                <a:gd name="connsiteX10264" fmla="*/ 2197439 w 3135233"/>
                <a:gd name="connsiteY10264" fmla="*/ 2436745 h 2493266"/>
                <a:gd name="connsiteX10265" fmla="*/ 2193294 w 3135233"/>
                <a:gd name="connsiteY10265" fmla="*/ 2438324 h 2493266"/>
                <a:gd name="connsiteX10266" fmla="*/ 2193294 w 3135233"/>
                <a:gd name="connsiteY10266" fmla="*/ 2431860 h 2493266"/>
                <a:gd name="connsiteX10267" fmla="*/ 2191172 w 3135233"/>
                <a:gd name="connsiteY10267" fmla="*/ 2425446 h 2493266"/>
                <a:gd name="connsiteX10268" fmla="*/ 2191172 w 3135233"/>
                <a:gd name="connsiteY10268" fmla="*/ 2418983 h 2493266"/>
                <a:gd name="connsiteX10269" fmla="*/ 2197439 w 3135233"/>
                <a:gd name="connsiteY10269" fmla="*/ 2409114 h 2493266"/>
                <a:gd name="connsiteX10270" fmla="*/ 2205777 w 3135233"/>
                <a:gd name="connsiteY10270" fmla="*/ 2402651 h 2493266"/>
                <a:gd name="connsiteX10271" fmla="*/ 2205777 w 3135233"/>
                <a:gd name="connsiteY10271" fmla="*/ 2397717 h 2493266"/>
                <a:gd name="connsiteX10272" fmla="*/ 2220579 w 3135233"/>
                <a:gd name="connsiteY10272" fmla="*/ 2391253 h 2493266"/>
                <a:gd name="connsiteX10273" fmla="*/ 2235135 w 3135233"/>
                <a:gd name="connsiteY10273" fmla="*/ 2388046 h 2493266"/>
                <a:gd name="connsiteX10274" fmla="*/ 2247618 w 3135233"/>
                <a:gd name="connsiteY10274" fmla="*/ 2381582 h 2493266"/>
                <a:gd name="connsiteX10275" fmla="*/ 2258029 w 3135233"/>
                <a:gd name="connsiteY10275" fmla="*/ 2378326 h 2493266"/>
                <a:gd name="connsiteX10276" fmla="*/ 2264295 w 3135233"/>
                <a:gd name="connsiteY10276" fmla="*/ 2379954 h 2493266"/>
                <a:gd name="connsiteX10277" fmla="*/ 2264295 w 3135233"/>
                <a:gd name="connsiteY10277" fmla="*/ 2386368 h 2493266"/>
                <a:gd name="connsiteX10278" fmla="*/ 2268440 w 3135233"/>
                <a:gd name="connsiteY10278" fmla="*/ 2388046 h 2493266"/>
                <a:gd name="connsiteX10279" fmla="*/ 2268440 w 3135233"/>
                <a:gd name="connsiteY10279" fmla="*/ 2386368 h 2493266"/>
                <a:gd name="connsiteX10280" fmla="*/ 2270561 w 3135233"/>
                <a:gd name="connsiteY10280" fmla="*/ 2381434 h 2493266"/>
                <a:gd name="connsiteX10281" fmla="*/ 2276827 w 3135233"/>
                <a:gd name="connsiteY10281" fmla="*/ 2381434 h 2493266"/>
                <a:gd name="connsiteX10282" fmla="*/ 2287238 w 3135233"/>
                <a:gd name="connsiteY10282" fmla="*/ 2379806 h 2493266"/>
                <a:gd name="connsiteX10283" fmla="*/ 2293455 w 3135233"/>
                <a:gd name="connsiteY10283" fmla="*/ 2376599 h 2493266"/>
                <a:gd name="connsiteX10284" fmla="*/ 2268440 w 3135233"/>
                <a:gd name="connsiteY10284" fmla="*/ 2376599 h 2493266"/>
                <a:gd name="connsiteX10285" fmla="*/ 2262223 w 3135233"/>
                <a:gd name="connsiteY10285" fmla="*/ 2373392 h 2493266"/>
                <a:gd name="connsiteX10286" fmla="*/ 2255956 w 3135233"/>
                <a:gd name="connsiteY10286" fmla="*/ 2373392 h 2493266"/>
                <a:gd name="connsiteX10287" fmla="*/ 2251762 w 3135233"/>
                <a:gd name="connsiteY10287" fmla="*/ 2378326 h 2493266"/>
                <a:gd name="connsiteX10288" fmla="*/ 2243424 w 3135233"/>
                <a:gd name="connsiteY10288" fmla="*/ 2376747 h 2493266"/>
                <a:gd name="connsiteX10289" fmla="*/ 2249690 w 3135233"/>
                <a:gd name="connsiteY10289" fmla="*/ 2368655 h 2493266"/>
                <a:gd name="connsiteX10290" fmla="*/ 2257979 w 3135233"/>
                <a:gd name="connsiteY10290" fmla="*/ 2367076 h 2493266"/>
                <a:gd name="connsiteX10291" fmla="*/ 2264245 w 3135233"/>
                <a:gd name="connsiteY10291" fmla="*/ 2360613 h 2493266"/>
                <a:gd name="connsiteX10292" fmla="*/ 2266367 w 3135233"/>
                <a:gd name="connsiteY10292" fmla="*/ 2357356 h 2493266"/>
                <a:gd name="connsiteX10293" fmla="*/ 2260101 w 3135233"/>
                <a:gd name="connsiteY10293" fmla="*/ 2358984 h 2493266"/>
                <a:gd name="connsiteX10294" fmla="*/ 2260101 w 3135233"/>
                <a:gd name="connsiteY10294" fmla="*/ 2355728 h 2493266"/>
                <a:gd name="connsiteX10295" fmla="*/ 2251762 w 3135233"/>
                <a:gd name="connsiteY10295" fmla="*/ 2365596 h 2493266"/>
                <a:gd name="connsiteX10296" fmla="*/ 2245496 w 3135233"/>
                <a:gd name="connsiteY10296" fmla="*/ 2367274 h 2493266"/>
                <a:gd name="connsiteX10297" fmla="*/ 2239279 w 3135233"/>
                <a:gd name="connsiteY10297" fmla="*/ 2373737 h 2493266"/>
                <a:gd name="connsiteX10298" fmla="*/ 2228868 w 3135233"/>
                <a:gd name="connsiteY10298" fmla="*/ 2373737 h 2493266"/>
                <a:gd name="connsiteX10299" fmla="*/ 2226747 w 3135233"/>
                <a:gd name="connsiteY10299" fmla="*/ 2378671 h 2493266"/>
                <a:gd name="connsiteX10300" fmla="*/ 2210119 w 3135233"/>
                <a:gd name="connsiteY10300" fmla="*/ 2381928 h 2493266"/>
                <a:gd name="connsiteX10301" fmla="*/ 2208047 w 3135233"/>
                <a:gd name="connsiteY10301" fmla="*/ 2380300 h 2493266"/>
                <a:gd name="connsiteX10302" fmla="*/ 2210119 w 3135233"/>
                <a:gd name="connsiteY10302" fmla="*/ 2377092 h 2493266"/>
                <a:gd name="connsiteX10303" fmla="*/ 2208047 w 3135233"/>
                <a:gd name="connsiteY10303" fmla="*/ 2377092 h 2493266"/>
                <a:gd name="connsiteX10304" fmla="*/ 2212142 w 3135233"/>
                <a:gd name="connsiteY10304" fmla="*/ 2370629 h 2493266"/>
                <a:gd name="connsiteX10305" fmla="*/ 2205925 w 3135233"/>
                <a:gd name="connsiteY10305" fmla="*/ 2377092 h 2493266"/>
                <a:gd name="connsiteX10306" fmla="*/ 2201731 w 3135233"/>
                <a:gd name="connsiteY10306" fmla="*/ 2382026 h 2493266"/>
                <a:gd name="connsiteX10307" fmla="*/ 2193442 w 3135233"/>
                <a:gd name="connsiteY10307" fmla="*/ 2383605 h 2493266"/>
                <a:gd name="connsiteX10308" fmla="*/ 2187176 w 3135233"/>
                <a:gd name="connsiteY10308" fmla="*/ 2382026 h 2493266"/>
                <a:gd name="connsiteX10309" fmla="*/ 2185104 w 3135233"/>
                <a:gd name="connsiteY10309" fmla="*/ 2385234 h 2493266"/>
                <a:gd name="connsiteX10310" fmla="*/ 2180910 w 3135233"/>
                <a:gd name="connsiteY10310" fmla="*/ 2385234 h 2493266"/>
                <a:gd name="connsiteX10311" fmla="*/ 2178837 w 3135233"/>
                <a:gd name="connsiteY10311" fmla="*/ 2380300 h 2493266"/>
                <a:gd name="connsiteX10312" fmla="*/ 2170499 w 3135233"/>
                <a:gd name="connsiteY10312" fmla="*/ 2381928 h 2493266"/>
                <a:gd name="connsiteX10313" fmla="*/ 2160088 w 3135233"/>
                <a:gd name="connsiteY10313" fmla="*/ 2378671 h 2493266"/>
                <a:gd name="connsiteX10314" fmla="*/ 2160088 w 3135233"/>
                <a:gd name="connsiteY10314" fmla="*/ 2378671 h 2493266"/>
                <a:gd name="connsiteX10315" fmla="*/ 2158016 w 3135233"/>
                <a:gd name="connsiteY10315" fmla="*/ 2377092 h 2493266"/>
                <a:gd name="connsiteX10316" fmla="*/ 2160088 w 3135233"/>
                <a:gd name="connsiteY10316" fmla="*/ 2373885 h 2493266"/>
                <a:gd name="connsiteX10317" fmla="*/ 2158016 w 3135233"/>
                <a:gd name="connsiteY10317" fmla="*/ 2372208 h 2493266"/>
                <a:gd name="connsiteX10318" fmla="*/ 2160088 w 3135233"/>
                <a:gd name="connsiteY10318" fmla="*/ 2369001 h 2493266"/>
                <a:gd name="connsiteX10319" fmla="*/ 2160088 w 3135233"/>
                <a:gd name="connsiteY10319" fmla="*/ 2362537 h 2493266"/>
                <a:gd name="connsiteX10320" fmla="*/ 2155943 w 3135233"/>
                <a:gd name="connsiteY10320" fmla="*/ 2359330 h 2493266"/>
                <a:gd name="connsiteX10321" fmla="*/ 2153871 w 3135233"/>
                <a:gd name="connsiteY10321" fmla="*/ 2356073 h 2493266"/>
                <a:gd name="connsiteX10322" fmla="*/ 2151799 w 3135233"/>
                <a:gd name="connsiteY10322" fmla="*/ 2356073 h 2493266"/>
                <a:gd name="connsiteX10323" fmla="*/ 2153871 w 3135233"/>
                <a:gd name="connsiteY10323" fmla="*/ 2351139 h 2493266"/>
                <a:gd name="connsiteX10324" fmla="*/ 2160088 w 3135233"/>
                <a:gd name="connsiteY10324" fmla="*/ 2312457 h 2493266"/>
                <a:gd name="connsiteX10325" fmla="*/ 2160088 w 3135233"/>
                <a:gd name="connsiteY10325" fmla="*/ 2302588 h 2493266"/>
                <a:gd name="connsiteX10326" fmla="*/ 2145286 w 3135233"/>
                <a:gd name="connsiteY10326" fmla="*/ 2289661 h 2493266"/>
                <a:gd name="connsiteX10327" fmla="*/ 2143214 w 3135233"/>
                <a:gd name="connsiteY10327" fmla="*/ 2292918 h 2493266"/>
                <a:gd name="connsiteX10328" fmla="*/ 2132803 w 3135233"/>
                <a:gd name="connsiteY10328" fmla="*/ 2291290 h 2493266"/>
                <a:gd name="connsiteX10329" fmla="*/ 2126537 w 3135233"/>
                <a:gd name="connsiteY10329" fmla="*/ 2292918 h 2493266"/>
                <a:gd name="connsiteX10330" fmla="*/ 2120320 w 3135233"/>
                <a:gd name="connsiteY10330" fmla="*/ 2287984 h 2493266"/>
                <a:gd name="connsiteX10331" fmla="*/ 2116126 w 3135233"/>
                <a:gd name="connsiteY10331" fmla="*/ 2286356 h 2493266"/>
                <a:gd name="connsiteX10332" fmla="*/ 2114053 w 3135233"/>
                <a:gd name="connsiteY10332" fmla="*/ 2286356 h 2493266"/>
                <a:gd name="connsiteX10333" fmla="*/ 2107787 w 3135233"/>
                <a:gd name="connsiteY10333" fmla="*/ 2291290 h 2493266"/>
                <a:gd name="connsiteX10334" fmla="*/ 2105715 w 3135233"/>
                <a:gd name="connsiteY10334" fmla="*/ 2296224 h 2493266"/>
                <a:gd name="connsiteX10335" fmla="*/ 2093528 w 3135233"/>
                <a:gd name="connsiteY10335" fmla="*/ 2309101 h 2493266"/>
                <a:gd name="connsiteX10336" fmla="*/ 2087311 w 3135233"/>
                <a:gd name="connsiteY10336" fmla="*/ 2315565 h 2493266"/>
                <a:gd name="connsiteX10337" fmla="*/ 2087311 w 3135233"/>
                <a:gd name="connsiteY10337" fmla="*/ 2320499 h 2493266"/>
                <a:gd name="connsiteX10338" fmla="*/ 2076900 w 3135233"/>
                <a:gd name="connsiteY10338" fmla="*/ 2325433 h 2493266"/>
                <a:gd name="connsiteX10339" fmla="*/ 2076900 w 3135233"/>
                <a:gd name="connsiteY10339" fmla="*/ 2331897 h 2493266"/>
                <a:gd name="connsiteX10340" fmla="*/ 2072706 w 3135233"/>
                <a:gd name="connsiteY10340" fmla="*/ 2338311 h 2493266"/>
                <a:gd name="connsiteX10341" fmla="*/ 2064417 w 3135233"/>
                <a:gd name="connsiteY10341" fmla="*/ 2348179 h 2493266"/>
                <a:gd name="connsiteX10342" fmla="*/ 2060223 w 3135233"/>
                <a:gd name="connsiteY10342" fmla="*/ 2349807 h 2493266"/>
                <a:gd name="connsiteX10343" fmla="*/ 2047740 w 3135233"/>
                <a:gd name="connsiteY10343" fmla="*/ 2361106 h 2493266"/>
                <a:gd name="connsiteX10344" fmla="*/ 2045618 w 3135233"/>
                <a:gd name="connsiteY10344" fmla="*/ 2366040 h 2493266"/>
                <a:gd name="connsiteX10345" fmla="*/ 2041474 w 3135233"/>
                <a:gd name="connsiteY10345" fmla="*/ 2367718 h 2493266"/>
                <a:gd name="connsiteX10346" fmla="*/ 2031063 w 3135233"/>
                <a:gd name="connsiteY10346" fmla="*/ 2367718 h 2493266"/>
                <a:gd name="connsiteX10347" fmla="*/ 2026918 w 3135233"/>
                <a:gd name="connsiteY10347" fmla="*/ 2369297 h 2493266"/>
                <a:gd name="connsiteX10348" fmla="*/ 2024797 w 3135233"/>
                <a:gd name="connsiteY10348" fmla="*/ 2369297 h 2493266"/>
                <a:gd name="connsiteX10349" fmla="*/ 2016507 w 3135233"/>
                <a:gd name="connsiteY10349" fmla="*/ 2375760 h 2493266"/>
                <a:gd name="connsiteX10350" fmla="*/ 1910228 w 3135233"/>
                <a:gd name="connsiteY10350" fmla="*/ 2374181 h 2493266"/>
                <a:gd name="connsiteX10351" fmla="*/ 1897795 w 3135233"/>
                <a:gd name="connsiteY10351" fmla="*/ 2375760 h 2493266"/>
                <a:gd name="connsiteX10352" fmla="*/ 1891479 w 3135233"/>
                <a:gd name="connsiteY10352" fmla="*/ 2382224 h 2493266"/>
                <a:gd name="connsiteX10353" fmla="*/ 1883190 w 3135233"/>
                <a:gd name="connsiteY10353" fmla="*/ 2385431 h 2493266"/>
                <a:gd name="connsiteX10354" fmla="*/ 1876924 w 3135233"/>
                <a:gd name="connsiteY10354" fmla="*/ 2390365 h 2493266"/>
                <a:gd name="connsiteX10355" fmla="*/ 1860247 w 3135233"/>
                <a:gd name="connsiteY10355" fmla="*/ 2402848 h 2493266"/>
                <a:gd name="connsiteX10356" fmla="*/ 1849836 w 3135233"/>
                <a:gd name="connsiteY10356" fmla="*/ 2404427 h 2493266"/>
                <a:gd name="connsiteX10357" fmla="*/ 1843570 w 3135233"/>
                <a:gd name="connsiteY10357" fmla="*/ 2407683 h 2493266"/>
                <a:gd name="connsiteX10358" fmla="*/ 1814459 w 3135233"/>
                <a:gd name="connsiteY10358" fmla="*/ 2427025 h 2493266"/>
                <a:gd name="connsiteX10359" fmla="*/ 1745678 w 3135233"/>
                <a:gd name="connsiteY10359" fmla="*/ 2444787 h 2493266"/>
                <a:gd name="connsiteX10360" fmla="*/ 1741534 w 3135233"/>
                <a:gd name="connsiteY10360" fmla="*/ 2459293 h 2493266"/>
                <a:gd name="connsiteX10361" fmla="*/ 1726732 w 3135233"/>
                <a:gd name="connsiteY10361" fmla="*/ 2464228 h 2493266"/>
                <a:gd name="connsiteX10362" fmla="*/ 1601752 w 3135233"/>
                <a:gd name="connsiteY10362" fmla="*/ 2493240 h 2493266"/>
                <a:gd name="connsiteX10363" fmla="*/ 1595486 w 3135233"/>
                <a:gd name="connsiteY10363" fmla="*/ 2483372 h 2493266"/>
                <a:gd name="connsiteX10364" fmla="*/ 1603825 w 3135233"/>
                <a:gd name="connsiteY10364" fmla="*/ 2475280 h 2493266"/>
                <a:gd name="connsiteX10365" fmla="*/ 1616308 w 3135233"/>
                <a:gd name="connsiteY10365" fmla="*/ 2470346 h 2493266"/>
                <a:gd name="connsiteX10366" fmla="*/ 1622574 w 3135233"/>
                <a:gd name="connsiteY10366" fmla="*/ 2463882 h 2493266"/>
                <a:gd name="connsiteX10367" fmla="*/ 1626719 w 3135233"/>
                <a:gd name="connsiteY10367" fmla="*/ 2455790 h 2493266"/>
                <a:gd name="connsiteX10368" fmla="*/ 1630863 w 3135233"/>
                <a:gd name="connsiteY10368" fmla="*/ 2449327 h 2493266"/>
                <a:gd name="connsiteX10369" fmla="*/ 1632985 w 3135233"/>
                <a:gd name="connsiteY10369" fmla="*/ 2407387 h 2493266"/>
                <a:gd name="connsiteX10370" fmla="*/ 1610042 w 3135233"/>
                <a:gd name="connsiteY10370" fmla="*/ 2312210 h 2493266"/>
                <a:gd name="connsiteX10371" fmla="*/ 1587148 w 3135233"/>
                <a:gd name="connsiteY10371" fmla="*/ 2297408 h 2493266"/>
                <a:gd name="connsiteX10372" fmla="*/ 1578809 w 3135233"/>
                <a:gd name="connsiteY10372" fmla="*/ 2287540 h 2493266"/>
                <a:gd name="connsiteX10373" fmla="*/ 1435328 w 3135233"/>
                <a:gd name="connsiteY10373" fmla="*/ 2230157 h 2493266"/>
                <a:gd name="connsiteX10374" fmla="*/ 1429111 w 3135233"/>
                <a:gd name="connsiteY10374" fmla="*/ 2226950 h 2493266"/>
                <a:gd name="connsiteX10375" fmla="*/ 1420772 w 3135233"/>
                <a:gd name="connsiteY10375" fmla="*/ 2225371 h 2493266"/>
                <a:gd name="connsiteX10376" fmla="*/ 1416578 w 3135233"/>
                <a:gd name="connsiteY10376" fmla="*/ 2222114 h 2493266"/>
                <a:gd name="connsiteX10377" fmla="*/ 1399951 w 3135233"/>
                <a:gd name="connsiteY10377" fmla="*/ 2222114 h 2493266"/>
                <a:gd name="connsiteX10378" fmla="*/ 1397829 w 3135233"/>
                <a:gd name="connsiteY10378" fmla="*/ 2215651 h 2493266"/>
                <a:gd name="connsiteX10379" fmla="*/ 1393684 w 3135233"/>
                <a:gd name="connsiteY10379" fmla="*/ 2214072 h 2493266"/>
                <a:gd name="connsiteX10380" fmla="*/ 1387418 w 3135233"/>
                <a:gd name="connsiteY10380" fmla="*/ 2217279 h 2493266"/>
                <a:gd name="connsiteX10381" fmla="*/ 1374935 w 3135233"/>
                <a:gd name="connsiteY10381" fmla="*/ 2217279 h 2493266"/>
                <a:gd name="connsiteX10382" fmla="*/ 1370790 w 3135233"/>
                <a:gd name="connsiteY10382" fmla="*/ 2214072 h 2493266"/>
                <a:gd name="connsiteX10383" fmla="*/ 1364524 w 3135233"/>
                <a:gd name="connsiteY10383" fmla="*/ 2209138 h 2493266"/>
                <a:gd name="connsiteX10384" fmla="*/ 1358258 w 3135233"/>
                <a:gd name="connsiteY10384" fmla="*/ 2207559 h 2493266"/>
                <a:gd name="connsiteX10385" fmla="*/ 1345775 w 3135233"/>
                <a:gd name="connsiteY10385" fmla="*/ 2204352 h 2493266"/>
                <a:gd name="connsiteX10386" fmla="*/ 1341630 w 3135233"/>
                <a:gd name="connsiteY10386" fmla="*/ 2197888 h 2493266"/>
                <a:gd name="connsiteX10387" fmla="*/ 1337436 w 3135233"/>
                <a:gd name="connsiteY10387" fmla="*/ 2197888 h 2493266"/>
                <a:gd name="connsiteX10388" fmla="*/ 1329098 w 3135233"/>
                <a:gd name="connsiteY10388" fmla="*/ 2191425 h 2493266"/>
                <a:gd name="connsiteX10389" fmla="*/ 1322881 w 3135233"/>
                <a:gd name="connsiteY10389" fmla="*/ 2193004 h 2493266"/>
                <a:gd name="connsiteX10390" fmla="*/ 1316615 w 3135233"/>
                <a:gd name="connsiteY10390" fmla="*/ 2191425 h 2493266"/>
                <a:gd name="connsiteX10391" fmla="*/ 1310348 w 3135233"/>
                <a:gd name="connsiteY10391" fmla="*/ 2193004 h 2493266"/>
                <a:gd name="connsiteX10392" fmla="*/ 1306204 w 3135233"/>
                <a:gd name="connsiteY10392" fmla="*/ 2193004 h 2493266"/>
                <a:gd name="connsiteX10393" fmla="*/ 1304132 w 3135233"/>
                <a:gd name="connsiteY10393" fmla="*/ 2189797 h 2493266"/>
                <a:gd name="connsiteX10394" fmla="*/ 1295793 w 3135233"/>
                <a:gd name="connsiteY10394" fmla="*/ 2188168 h 2493266"/>
                <a:gd name="connsiteX10395" fmla="*/ 1295793 w 3135233"/>
                <a:gd name="connsiteY10395" fmla="*/ 2186589 h 2493266"/>
                <a:gd name="connsiteX10396" fmla="*/ 1287455 w 3135233"/>
                <a:gd name="connsiteY10396" fmla="*/ 2183382 h 2493266"/>
                <a:gd name="connsiteX10397" fmla="*/ 1285382 w 3135233"/>
                <a:gd name="connsiteY10397" fmla="*/ 2183382 h 2493266"/>
                <a:gd name="connsiteX10398" fmla="*/ 1281188 w 3135233"/>
                <a:gd name="connsiteY10398" fmla="*/ 2178448 h 2493266"/>
                <a:gd name="connsiteX10399" fmla="*/ 1281188 w 3135233"/>
                <a:gd name="connsiteY10399" fmla="*/ 2176869 h 2493266"/>
                <a:gd name="connsiteX10400" fmla="*/ 1272850 w 3135233"/>
                <a:gd name="connsiteY10400" fmla="*/ 2170406 h 2493266"/>
                <a:gd name="connsiteX10401" fmla="*/ 1258048 w 3135233"/>
                <a:gd name="connsiteY10401" fmla="*/ 2170406 h 2493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</a:cxnLst>
              <a:rect l="l" t="t" r="r" b="b"/>
              <a:pathLst>
                <a:path w="3135233" h="2493266">
                  <a:moveTo>
                    <a:pt x="2268489" y="439102"/>
                  </a:moveTo>
                  <a:lnTo>
                    <a:pt x="2272683" y="434168"/>
                  </a:lnTo>
                  <a:lnTo>
                    <a:pt x="2276877" y="427705"/>
                  </a:lnTo>
                  <a:lnTo>
                    <a:pt x="2289360" y="417837"/>
                  </a:lnTo>
                  <a:lnTo>
                    <a:pt x="2293504" y="401702"/>
                  </a:lnTo>
                  <a:lnTo>
                    <a:pt x="2297698" y="400074"/>
                  </a:lnTo>
                  <a:lnTo>
                    <a:pt x="2299771" y="405008"/>
                  </a:lnTo>
                  <a:lnTo>
                    <a:pt x="2295577" y="413100"/>
                  </a:lnTo>
                  <a:lnTo>
                    <a:pt x="2295577" y="416307"/>
                  </a:lnTo>
                  <a:lnTo>
                    <a:pt x="2301843" y="417935"/>
                  </a:lnTo>
                  <a:lnTo>
                    <a:pt x="2310181" y="411472"/>
                  </a:lnTo>
                  <a:lnTo>
                    <a:pt x="2316398" y="408264"/>
                  </a:lnTo>
                  <a:lnTo>
                    <a:pt x="2314326" y="401801"/>
                  </a:lnTo>
                  <a:lnTo>
                    <a:pt x="2308109" y="400173"/>
                  </a:lnTo>
                  <a:lnTo>
                    <a:pt x="2308109" y="398544"/>
                  </a:lnTo>
                  <a:lnTo>
                    <a:pt x="2316398" y="395337"/>
                  </a:lnTo>
                  <a:lnTo>
                    <a:pt x="2316398" y="387245"/>
                  </a:lnTo>
                  <a:lnTo>
                    <a:pt x="2312303" y="384038"/>
                  </a:lnTo>
                  <a:lnTo>
                    <a:pt x="2314326" y="377575"/>
                  </a:lnTo>
                  <a:lnTo>
                    <a:pt x="2322714" y="371111"/>
                  </a:lnTo>
                  <a:lnTo>
                    <a:pt x="2324737" y="361243"/>
                  </a:lnTo>
                  <a:lnTo>
                    <a:pt x="2333125" y="359615"/>
                  </a:lnTo>
                  <a:lnTo>
                    <a:pt x="2335147" y="354681"/>
                  </a:lnTo>
                  <a:lnTo>
                    <a:pt x="2335147" y="359615"/>
                  </a:lnTo>
                  <a:lnTo>
                    <a:pt x="2337269" y="362871"/>
                  </a:lnTo>
                  <a:lnTo>
                    <a:pt x="2331003" y="364500"/>
                  </a:lnTo>
                  <a:lnTo>
                    <a:pt x="2326858" y="374368"/>
                  </a:lnTo>
                  <a:lnTo>
                    <a:pt x="2320592" y="380831"/>
                  </a:lnTo>
                  <a:lnTo>
                    <a:pt x="2318520" y="390699"/>
                  </a:lnTo>
                  <a:lnTo>
                    <a:pt x="2322714" y="395633"/>
                  </a:lnTo>
                  <a:lnTo>
                    <a:pt x="2324737" y="403676"/>
                  </a:lnTo>
                  <a:lnTo>
                    <a:pt x="2328931" y="400469"/>
                  </a:lnTo>
                  <a:lnTo>
                    <a:pt x="2333125" y="389170"/>
                  </a:lnTo>
                  <a:lnTo>
                    <a:pt x="2347927" y="379302"/>
                  </a:lnTo>
                  <a:lnTo>
                    <a:pt x="2352071" y="372838"/>
                  </a:lnTo>
                  <a:lnTo>
                    <a:pt x="2352071" y="364796"/>
                  </a:lnTo>
                  <a:lnTo>
                    <a:pt x="2356265" y="358332"/>
                  </a:lnTo>
                  <a:lnTo>
                    <a:pt x="2362482" y="356704"/>
                  </a:lnTo>
                  <a:lnTo>
                    <a:pt x="2362482" y="361638"/>
                  </a:lnTo>
                  <a:lnTo>
                    <a:pt x="2360410" y="363266"/>
                  </a:lnTo>
                  <a:lnTo>
                    <a:pt x="2360410" y="369730"/>
                  </a:lnTo>
                  <a:lnTo>
                    <a:pt x="2366676" y="368101"/>
                  </a:lnTo>
                  <a:lnTo>
                    <a:pt x="2372893" y="360010"/>
                  </a:lnTo>
                  <a:lnTo>
                    <a:pt x="2391642" y="360010"/>
                  </a:lnTo>
                  <a:lnTo>
                    <a:pt x="2402102" y="356803"/>
                  </a:lnTo>
                  <a:lnTo>
                    <a:pt x="2408319" y="356803"/>
                  </a:lnTo>
                  <a:lnTo>
                    <a:pt x="2414536" y="351868"/>
                  </a:lnTo>
                  <a:lnTo>
                    <a:pt x="2420852" y="350240"/>
                  </a:lnTo>
                  <a:lnTo>
                    <a:pt x="2422924" y="345306"/>
                  </a:lnTo>
                  <a:lnTo>
                    <a:pt x="2422924" y="340422"/>
                  </a:lnTo>
                  <a:lnTo>
                    <a:pt x="2424947" y="335487"/>
                  </a:lnTo>
                  <a:lnTo>
                    <a:pt x="2420852" y="332280"/>
                  </a:lnTo>
                  <a:lnTo>
                    <a:pt x="2422924" y="324189"/>
                  </a:lnTo>
                  <a:lnTo>
                    <a:pt x="2422924" y="309929"/>
                  </a:lnTo>
                  <a:lnTo>
                    <a:pt x="2420852" y="309929"/>
                  </a:lnTo>
                  <a:lnTo>
                    <a:pt x="2414536" y="319797"/>
                  </a:lnTo>
                  <a:lnTo>
                    <a:pt x="2406247" y="327840"/>
                  </a:lnTo>
                  <a:lnTo>
                    <a:pt x="2402102" y="327840"/>
                  </a:lnTo>
                  <a:lnTo>
                    <a:pt x="2402102" y="322906"/>
                  </a:lnTo>
                  <a:lnTo>
                    <a:pt x="2408319" y="316442"/>
                  </a:lnTo>
                  <a:lnTo>
                    <a:pt x="2416658" y="313235"/>
                  </a:lnTo>
                  <a:lnTo>
                    <a:pt x="2416658" y="308301"/>
                  </a:lnTo>
                  <a:lnTo>
                    <a:pt x="2408319" y="301837"/>
                  </a:lnTo>
                  <a:lnTo>
                    <a:pt x="2406247" y="296903"/>
                  </a:lnTo>
                  <a:lnTo>
                    <a:pt x="2403977" y="296903"/>
                  </a:lnTo>
                  <a:lnTo>
                    <a:pt x="2399833" y="300110"/>
                  </a:lnTo>
                  <a:lnTo>
                    <a:pt x="2397760" y="303367"/>
                  </a:lnTo>
                  <a:lnTo>
                    <a:pt x="2393567" y="300110"/>
                  </a:lnTo>
                  <a:lnTo>
                    <a:pt x="2387350" y="300110"/>
                  </a:lnTo>
                  <a:lnTo>
                    <a:pt x="2381083" y="305044"/>
                  </a:lnTo>
                  <a:lnTo>
                    <a:pt x="2376939" y="303416"/>
                  </a:lnTo>
                  <a:lnTo>
                    <a:pt x="2379011" y="300160"/>
                  </a:lnTo>
                  <a:lnTo>
                    <a:pt x="2395688" y="293746"/>
                  </a:lnTo>
                  <a:lnTo>
                    <a:pt x="2401955" y="292117"/>
                  </a:lnTo>
                  <a:lnTo>
                    <a:pt x="2414388" y="282249"/>
                  </a:lnTo>
                  <a:lnTo>
                    <a:pt x="2418582" y="278993"/>
                  </a:lnTo>
                  <a:lnTo>
                    <a:pt x="2426921" y="267694"/>
                  </a:lnTo>
                  <a:lnTo>
                    <a:pt x="2428993" y="256444"/>
                  </a:lnTo>
                  <a:lnTo>
                    <a:pt x="2426921" y="254816"/>
                  </a:lnTo>
                  <a:lnTo>
                    <a:pt x="2420704" y="256444"/>
                  </a:lnTo>
                  <a:lnTo>
                    <a:pt x="2416510" y="258023"/>
                  </a:lnTo>
                  <a:lnTo>
                    <a:pt x="2414388" y="256444"/>
                  </a:lnTo>
                  <a:lnTo>
                    <a:pt x="2416510" y="251510"/>
                  </a:lnTo>
                  <a:lnTo>
                    <a:pt x="2420704" y="249931"/>
                  </a:lnTo>
                  <a:lnTo>
                    <a:pt x="2426921" y="249931"/>
                  </a:lnTo>
                  <a:lnTo>
                    <a:pt x="2428993" y="246675"/>
                  </a:lnTo>
                  <a:lnTo>
                    <a:pt x="2428993" y="240507"/>
                  </a:lnTo>
                  <a:lnTo>
                    <a:pt x="2437331" y="234093"/>
                  </a:lnTo>
                  <a:lnTo>
                    <a:pt x="2435259" y="227629"/>
                  </a:lnTo>
                  <a:lnTo>
                    <a:pt x="2435259" y="219538"/>
                  </a:lnTo>
                  <a:lnTo>
                    <a:pt x="2428993" y="217959"/>
                  </a:lnTo>
                  <a:lnTo>
                    <a:pt x="2422776" y="221166"/>
                  </a:lnTo>
                  <a:lnTo>
                    <a:pt x="2414388" y="234093"/>
                  </a:lnTo>
                  <a:lnTo>
                    <a:pt x="2412365" y="240507"/>
                  </a:lnTo>
                  <a:lnTo>
                    <a:pt x="2416510" y="245441"/>
                  </a:lnTo>
                  <a:lnTo>
                    <a:pt x="2412365" y="250375"/>
                  </a:lnTo>
                  <a:lnTo>
                    <a:pt x="2408171" y="251954"/>
                  </a:lnTo>
                  <a:lnTo>
                    <a:pt x="2406099" y="251954"/>
                  </a:lnTo>
                  <a:lnTo>
                    <a:pt x="2406099" y="248747"/>
                  </a:lnTo>
                  <a:lnTo>
                    <a:pt x="2403977" y="245540"/>
                  </a:lnTo>
                  <a:lnTo>
                    <a:pt x="2403977" y="238928"/>
                  </a:lnTo>
                  <a:lnTo>
                    <a:pt x="2410244" y="229060"/>
                  </a:lnTo>
                  <a:lnTo>
                    <a:pt x="2408171" y="222597"/>
                  </a:lnTo>
                  <a:lnTo>
                    <a:pt x="2408171" y="219538"/>
                  </a:lnTo>
                  <a:lnTo>
                    <a:pt x="2412365" y="222794"/>
                  </a:lnTo>
                  <a:lnTo>
                    <a:pt x="2416510" y="219538"/>
                  </a:lnTo>
                  <a:lnTo>
                    <a:pt x="2414388" y="211495"/>
                  </a:lnTo>
                  <a:lnTo>
                    <a:pt x="2410244" y="205032"/>
                  </a:lnTo>
                  <a:lnTo>
                    <a:pt x="2403977" y="205032"/>
                  </a:lnTo>
                  <a:lnTo>
                    <a:pt x="2395688" y="208239"/>
                  </a:lnTo>
                  <a:lnTo>
                    <a:pt x="2391494" y="213173"/>
                  </a:lnTo>
                  <a:lnTo>
                    <a:pt x="2391494" y="209916"/>
                  </a:lnTo>
                  <a:lnTo>
                    <a:pt x="2389422" y="208288"/>
                  </a:lnTo>
                  <a:lnTo>
                    <a:pt x="2389422" y="198420"/>
                  </a:lnTo>
                  <a:lnTo>
                    <a:pt x="2385277" y="190377"/>
                  </a:lnTo>
                  <a:lnTo>
                    <a:pt x="2387350" y="177450"/>
                  </a:lnTo>
                  <a:lnTo>
                    <a:pt x="2387350" y="167730"/>
                  </a:lnTo>
                  <a:lnTo>
                    <a:pt x="2391494" y="161267"/>
                  </a:lnTo>
                  <a:lnTo>
                    <a:pt x="2391494" y="143504"/>
                  </a:lnTo>
                  <a:lnTo>
                    <a:pt x="2395688" y="133636"/>
                  </a:lnTo>
                  <a:lnTo>
                    <a:pt x="2397760" y="125594"/>
                  </a:lnTo>
                  <a:lnTo>
                    <a:pt x="2391494" y="119130"/>
                  </a:lnTo>
                  <a:lnTo>
                    <a:pt x="2389175" y="113061"/>
                  </a:lnTo>
                  <a:lnTo>
                    <a:pt x="2378764" y="106598"/>
                  </a:lnTo>
                  <a:lnTo>
                    <a:pt x="2376692" y="100134"/>
                  </a:lnTo>
                  <a:lnTo>
                    <a:pt x="2366281" y="96927"/>
                  </a:lnTo>
                  <a:lnTo>
                    <a:pt x="2362087" y="98555"/>
                  </a:lnTo>
                  <a:lnTo>
                    <a:pt x="2362087" y="101762"/>
                  </a:lnTo>
                  <a:lnTo>
                    <a:pt x="2360015" y="103390"/>
                  </a:lnTo>
                  <a:lnTo>
                    <a:pt x="2349703" y="95299"/>
                  </a:lnTo>
                  <a:lnTo>
                    <a:pt x="2343486" y="96927"/>
                  </a:lnTo>
                  <a:lnTo>
                    <a:pt x="2343486" y="103588"/>
                  </a:lnTo>
                  <a:lnTo>
                    <a:pt x="2337220" y="111630"/>
                  </a:lnTo>
                  <a:lnTo>
                    <a:pt x="2341364" y="116564"/>
                  </a:lnTo>
                  <a:lnTo>
                    <a:pt x="2349703" y="116564"/>
                  </a:lnTo>
                  <a:lnTo>
                    <a:pt x="2355969" y="114985"/>
                  </a:lnTo>
                  <a:lnTo>
                    <a:pt x="2364308" y="118193"/>
                  </a:lnTo>
                  <a:lnTo>
                    <a:pt x="2366380" y="123127"/>
                  </a:lnTo>
                  <a:lnTo>
                    <a:pt x="2372597" y="123127"/>
                  </a:lnTo>
                  <a:lnTo>
                    <a:pt x="2372597" y="128061"/>
                  </a:lnTo>
                  <a:lnTo>
                    <a:pt x="2362186" y="137929"/>
                  </a:lnTo>
                  <a:lnTo>
                    <a:pt x="2355969" y="137929"/>
                  </a:lnTo>
                  <a:lnTo>
                    <a:pt x="2349703" y="132995"/>
                  </a:lnTo>
                  <a:lnTo>
                    <a:pt x="2343486" y="132995"/>
                  </a:lnTo>
                  <a:lnTo>
                    <a:pt x="2335098" y="131416"/>
                  </a:lnTo>
                  <a:lnTo>
                    <a:pt x="2339292" y="136350"/>
                  </a:lnTo>
                  <a:lnTo>
                    <a:pt x="2343486" y="137978"/>
                  </a:lnTo>
                  <a:lnTo>
                    <a:pt x="2339292" y="142912"/>
                  </a:lnTo>
                  <a:lnTo>
                    <a:pt x="2333075" y="144491"/>
                  </a:lnTo>
                  <a:lnTo>
                    <a:pt x="2322665" y="134623"/>
                  </a:lnTo>
                  <a:lnTo>
                    <a:pt x="2312254" y="139557"/>
                  </a:lnTo>
                  <a:lnTo>
                    <a:pt x="2310231" y="146958"/>
                  </a:lnTo>
                  <a:lnTo>
                    <a:pt x="2303964" y="151892"/>
                  </a:lnTo>
                  <a:lnTo>
                    <a:pt x="2306037" y="155099"/>
                  </a:lnTo>
                  <a:lnTo>
                    <a:pt x="2310231" y="156727"/>
                  </a:lnTo>
                  <a:lnTo>
                    <a:pt x="2312352" y="164770"/>
                  </a:lnTo>
                  <a:lnTo>
                    <a:pt x="2320641" y="168026"/>
                  </a:lnTo>
                  <a:lnTo>
                    <a:pt x="2320641" y="171233"/>
                  </a:lnTo>
                  <a:lnTo>
                    <a:pt x="2316448" y="171233"/>
                  </a:lnTo>
                  <a:lnTo>
                    <a:pt x="2314375" y="176167"/>
                  </a:lnTo>
                  <a:lnTo>
                    <a:pt x="2318569" y="179424"/>
                  </a:lnTo>
                  <a:lnTo>
                    <a:pt x="2318569" y="182532"/>
                  </a:lnTo>
                  <a:lnTo>
                    <a:pt x="2312352" y="182532"/>
                  </a:lnTo>
                  <a:lnTo>
                    <a:pt x="2308158" y="179325"/>
                  </a:lnTo>
                  <a:lnTo>
                    <a:pt x="2301843" y="179325"/>
                  </a:lnTo>
                  <a:lnTo>
                    <a:pt x="2293504" y="174391"/>
                  </a:lnTo>
                  <a:lnTo>
                    <a:pt x="2289360" y="172763"/>
                  </a:lnTo>
                  <a:lnTo>
                    <a:pt x="2281021" y="175970"/>
                  </a:lnTo>
                  <a:lnTo>
                    <a:pt x="2281021" y="180904"/>
                  </a:lnTo>
                  <a:lnTo>
                    <a:pt x="2285166" y="187318"/>
                  </a:lnTo>
                  <a:lnTo>
                    <a:pt x="2281021" y="192252"/>
                  </a:lnTo>
                  <a:lnTo>
                    <a:pt x="2278900" y="190674"/>
                  </a:lnTo>
                  <a:lnTo>
                    <a:pt x="2278900" y="185740"/>
                  </a:lnTo>
                  <a:lnTo>
                    <a:pt x="2272683" y="182532"/>
                  </a:lnTo>
                  <a:lnTo>
                    <a:pt x="2264344" y="180954"/>
                  </a:lnTo>
                  <a:lnTo>
                    <a:pt x="2262272" y="180954"/>
                  </a:lnTo>
                  <a:lnTo>
                    <a:pt x="2258078" y="176019"/>
                  </a:lnTo>
                  <a:lnTo>
                    <a:pt x="2253933" y="176019"/>
                  </a:lnTo>
                  <a:lnTo>
                    <a:pt x="2251861" y="179276"/>
                  </a:lnTo>
                  <a:lnTo>
                    <a:pt x="2255956" y="187466"/>
                  </a:lnTo>
                  <a:lnTo>
                    <a:pt x="2253835" y="193930"/>
                  </a:lnTo>
                  <a:lnTo>
                    <a:pt x="2255956" y="202022"/>
                  </a:lnTo>
                  <a:lnTo>
                    <a:pt x="2262173" y="205229"/>
                  </a:lnTo>
                  <a:lnTo>
                    <a:pt x="2270512" y="206857"/>
                  </a:lnTo>
                  <a:lnTo>
                    <a:pt x="2274656" y="210064"/>
                  </a:lnTo>
                  <a:lnTo>
                    <a:pt x="2264344" y="210064"/>
                  </a:lnTo>
                  <a:lnTo>
                    <a:pt x="2272683" y="214998"/>
                  </a:lnTo>
                  <a:lnTo>
                    <a:pt x="2274755" y="219932"/>
                  </a:lnTo>
                  <a:lnTo>
                    <a:pt x="2281021" y="223189"/>
                  </a:lnTo>
                  <a:lnTo>
                    <a:pt x="2291432" y="223189"/>
                  </a:lnTo>
                  <a:lnTo>
                    <a:pt x="2295577" y="219932"/>
                  </a:lnTo>
                  <a:lnTo>
                    <a:pt x="2297698" y="219932"/>
                  </a:lnTo>
                  <a:lnTo>
                    <a:pt x="2299771" y="223189"/>
                  </a:lnTo>
                  <a:lnTo>
                    <a:pt x="2293504" y="228123"/>
                  </a:lnTo>
                  <a:lnTo>
                    <a:pt x="2291432" y="236165"/>
                  </a:lnTo>
                  <a:lnTo>
                    <a:pt x="2287287" y="237794"/>
                  </a:lnTo>
                  <a:lnTo>
                    <a:pt x="2276877" y="231330"/>
                  </a:lnTo>
                  <a:lnTo>
                    <a:pt x="2258078" y="228123"/>
                  </a:lnTo>
                  <a:lnTo>
                    <a:pt x="2249789" y="218255"/>
                  </a:lnTo>
                  <a:lnTo>
                    <a:pt x="2245595" y="216627"/>
                  </a:lnTo>
                  <a:lnTo>
                    <a:pt x="2243522" y="213419"/>
                  </a:lnTo>
                  <a:lnTo>
                    <a:pt x="2241450" y="213419"/>
                  </a:lnTo>
                  <a:lnTo>
                    <a:pt x="2237256" y="219834"/>
                  </a:lnTo>
                  <a:lnTo>
                    <a:pt x="2239378" y="223090"/>
                  </a:lnTo>
                  <a:lnTo>
                    <a:pt x="2235184" y="226297"/>
                  </a:lnTo>
                  <a:lnTo>
                    <a:pt x="2239378" y="236165"/>
                  </a:lnTo>
                  <a:lnTo>
                    <a:pt x="2233112" y="239422"/>
                  </a:lnTo>
                  <a:lnTo>
                    <a:pt x="2228967" y="237794"/>
                  </a:lnTo>
                  <a:lnTo>
                    <a:pt x="2228967" y="245885"/>
                  </a:lnTo>
                  <a:lnTo>
                    <a:pt x="2224773" y="247464"/>
                  </a:lnTo>
                  <a:lnTo>
                    <a:pt x="2224773" y="260391"/>
                  </a:lnTo>
                  <a:lnTo>
                    <a:pt x="2228967" y="263599"/>
                  </a:lnTo>
                  <a:lnTo>
                    <a:pt x="2239378" y="265227"/>
                  </a:lnTo>
                  <a:lnTo>
                    <a:pt x="2245595" y="266855"/>
                  </a:lnTo>
                  <a:lnTo>
                    <a:pt x="2253933" y="265227"/>
                  </a:lnTo>
                  <a:lnTo>
                    <a:pt x="2253933" y="268434"/>
                  </a:lnTo>
                  <a:lnTo>
                    <a:pt x="2247667" y="271690"/>
                  </a:lnTo>
                  <a:lnTo>
                    <a:pt x="2241450" y="268434"/>
                  </a:lnTo>
                  <a:lnTo>
                    <a:pt x="2228967" y="268434"/>
                  </a:lnTo>
                  <a:lnTo>
                    <a:pt x="2226845" y="266411"/>
                  </a:lnTo>
                  <a:lnTo>
                    <a:pt x="2218556" y="267990"/>
                  </a:lnTo>
                  <a:lnTo>
                    <a:pt x="2210218" y="277858"/>
                  </a:lnTo>
                  <a:lnTo>
                    <a:pt x="2208145" y="282792"/>
                  </a:lnTo>
                  <a:lnTo>
                    <a:pt x="2212241" y="287726"/>
                  </a:lnTo>
                  <a:lnTo>
                    <a:pt x="2212241" y="290933"/>
                  </a:lnTo>
                  <a:lnTo>
                    <a:pt x="2208145" y="292561"/>
                  </a:lnTo>
                  <a:lnTo>
                    <a:pt x="2206024" y="297495"/>
                  </a:lnTo>
                  <a:lnTo>
                    <a:pt x="2210218" y="300703"/>
                  </a:lnTo>
                  <a:lnTo>
                    <a:pt x="2216484" y="297002"/>
                  </a:lnTo>
                  <a:lnTo>
                    <a:pt x="2224823" y="298630"/>
                  </a:lnTo>
                  <a:lnTo>
                    <a:pt x="2231286" y="292167"/>
                  </a:lnTo>
                  <a:lnTo>
                    <a:pt x="2233358" y="295374"/>
                  </a:lnTo>
                  <a:lnTo>
                    <a:pt x="2233358" y="300308"/>
                  </a:lnTo>
                  <a:lnTo>
                    <a:pt x="2226845" y="300308"/>
                  </a:lnTo>
                  <a:lnTo>
                    <a:pt x="2222701" y="306771"/>
                  </a:lnTo>
                  <a:lnTo>
                    <a:pt x="2224773" y="310028"/>
                  </a:lnTo>
                  <a:lnTo>
                    <a:pt x="2231286" y="310028"/>
                  </a:lnTo>
                  <a:lnTo>
                    <a:pt x="2237503" y="305094"/>
                  </a:lnTo>
                  <a:lnTo>
                    <a:pt x="2241697" y="305094"/>
                  </a:lnTo>
                  <a:lnTo>
                    <a:pt x="2247914" y="301837"/>
                  </a:lnTo>
                  <a:lnTo>
                    <a:pt x="2247914" y="305094"/>
                  </a:lnTo>
                  <a:lnTo>
                    <a:pt x="2243769" y="308301"/>
                  </a:lnTo>
                  <a:lnTo>
                    <a:pt x="2247914" y="309929"/>
                  </a:lnTo>
                  <a:lnTo>
                    <a:pt x="2258325" y="309929"/>
                  </a:lnTo>
                  <a:lnTo>
                    <a:pt x="2260446" y="313136"/>
                  </a:lnTo>
                  <a:lnTo>
                    <a:pt x="2254180" y="313136"/>
                  </a:lnTo>
                  <a:lnTo>
                    <a:pt x="2254180" y="319600"/>
                  </a:lnTo>
                  <a:lnTo>
                    <a:pt x="2260446" y="319600"/>
                  </a:lnTo>
                  <a:lnTo>
                    <a:pt x="2268736" y="317972"/>
                  </a:lnTo>
                  <a:lnTo>
                    <a:pt x="2277123" y="322906"/>
                  </a:lnTo>
                  <a:lnTo>
                    <a:pt x="2293751" y="326162"/>
                  </a:lnTo>
                  <a:lnTo>
                    <a:pt x="2295823" y="329369"/>
                  </a:lnTo>
                  <a:lnTo>
                    <a:pt x="2272929" y="329369"/>
                  </a:lnTo>
                  <a:lnTo>
                    <a:pt x="2264591" y="324435"/>
                  </a:lnTo>
                  <a:lnTo>
                    <a:pt x="2254180" y="327642"/>
                  </a:lnTo>
                  <a:lnTo>
                    <a:pt x="2254180" y="330899"/>
                  </a:lnTo>
                  <a:lnTo>
                    <a:pt x="2264591" y="334106"/>
                  </a:lnTo>
                  <a:lnTo>
                    <a:pt x="2277123" y="335734"/>
                  </a:lnTo>
                  <a:lnTo>
                    <a:pt x="2291925" y="335734"/>
                  </a:lnTo>
                  <a:lnTo>
                    <a:pt x="2298192" y="338941"/>
                  </a:lnTo>
                  <a:lnTo>
                    <a:pt x="2281515" y="340570"/>
                  </a:lnTo>
                  <a:lnTo>
                    <a:pt x="2277370" y="338941"/>
                  </a:lnTo>
                  <a:lnTo>
                    <a:pt x="2262568" y="337362"/>
                  </a:lnTo>
                  <a:lnTo>
                    <a:pt x="2254230" y="337362"/>
                  </a:lnTo>
                  <a:lnTo>
                    <a:pt x="2250085" y="332428"/>
                  </a:lnTo>
                  <a:lnTo>
                    <a:pt x="2241746" y="330800"/>
                  </a:lnTo>
                  <a:lnTo>
                    <a:pt x="2231286" y="322807"/>
                  </a:lnTo>
                  <a:lnTo>
                    <a:pt x="2227092" y="326063"/>
                  </a:lnTo>
                  <a:lnTo>
                    <a:pt x="2222948" y="330997"/>
                  </a:lnTo>
                  <a:lnTo>
                    <a:pt x="2212487" y="330997"/>
                  </a:lnTo>
                  <a:lnTo>
                    <a:pt x="2206271" y="334205"/>
                  </a:lnTo>
                  <a:lnTo>
                    <a:pt x="2203952" y="345356"/>
                  </a:lnTo>
                  <a:lnTo>
                    <a:pt x="2212241" y="351819"/>
                  </a:lnTo>
                  <a:lnTo>
                    <a:pt x="2212241" y="358283"/>
                  </a:lnTo>
                  <a:lnTo>
                    <a:pt x="2210218" y="361490"/>
                  </a:lnTo>
                  <a:lnTo>
                    <a:pt x="2206024" y="351622"/>
                  </a:lnTo>
                  <a:lnTo>
                    <a:pt x="2201682" y="350290"/>
                  </a:lnTo>
                  <a:lnTo>
                    <a:pt x="2197537" y="365092"/>
                  </a:lnTo>
                  <a:lnTo>
                    <a:pt x="2197537" y="373134"/>
                  </a:lnTo>
                  <a:lnTo>
                    <a:pt x="2203804" y="374762"/>
                  </a:lnTo>
                  <a:lnTo>
                    <a:pt x="2205876" y="371506"/>
                  </a:lnTo>
                  <a:lnTo>
                    <a:pt x="2210070" y="371506"/>
                  </a:lnTo>
                  <a:lnTo>
                    <a:pt x="2214214" y="379598"/>
                  </a:lnTo>
                  <a:lnTo>
                    <a:pt x="2220481" y="379598"/>
                  </a:lnTo>
                  <a:lnTo>
                    <a:pt x="2214214" y="381226"/>
                  </a:lnTo>
                  <a:lnTo>
                    <a:pt x="2210070" y="384433"/>
                  </a:lnTo>
                  <a:lnTo>
                    <a:pt x="2203804" y="377970"/>
                  </a:lnTo>
                  <a:lnTo>
                    <a:pt x="2195465" y="379598"/>
                  </a:lnTo>
                  <a:lnTo>
                    <a:pt x="2193393" y="389466"/>
                  </a:lnTo>
                  <a:lnTo>
                    <a:pt x="2197537" y="394400"/>
                  </a:lnTo>
                  <a:lnTo>
                    <a:pt x="2201682" y="391193"/>
                  </a:lnTo>
                  <a:lnTo>
                    <a:pt x="2197537" y="396127"/>
                  </a:lnTo>
                  <a:lnTo>
                    <a:pt x="2199659" y="410633"/>
                  </a:lnTo>
                  <a:lnTo>
                    <a:pt x="2203804" y="407426"/>
                  </a:lnTo>
                  <a:lnTo>
                    <a:pt x="2207998" y="409054"/>
                  </a:lnTo>
                  <a:lnTo>
                    <a:pt x="2207998" y="417096"/>
                  </a:lnTo>
                  <a:lnTo>
                    <a:pt x="2218408" y="420304"/>
                  </a:lnTo>
                  <a:lnTo>
                    <a:pt x="2233210" y="428395"/>
                  </a:lnTo>
                  <a:lnTo>
                    <a:pt x="2239476" y="426767"/>
                  </a:lnTo>
                  <a:lnTo>
                    <a:pt x="2243621" y="420304"/>
                  </a:lnTo>
                  <a:lnTo>
                    <a:pt x="2241549" y="415370"/>
                  </a:lnTo>
                  <a:lnTo>
                    <a:pt x="2251960" y="415370"/>
                  </a:lnTo>
                  <a:lnTo>
                    <a:pt x="2251960" y="433132"/>
                  </a:lnTo>
                  <a:lnTo>
                    <a:pt x="2256154" y="431504"/>
                  </a:lnTo>
                  <a:lnTo>
                    <a:pt x="2262370" y="416998"/>
                  </a:lnTo>
                  <a:lnTo>
                    <a:pt x="2260298" y="404071"/>
                  </a:lnTo>
                  <a:lnTo>
                    <a:pt x="2264443" y="396028"/>
                  </a:lnTo>
                  <a:lnTo>
                    <a:pt x="2272781" y="387936"/>
                  </a:lnTo>
                  <a:lnTo>
                    <a:pt x="2274854" y="381522"/>
                  </a:lnTo>
                  <a:lnTo>
                    <a:pt x="2274854" y="389564"/>
                  </a:lnTo>
                  <a:lnTo>
                    <a:pt x="2266565" y="402492"/>
                  </a:lnTo>
                  <a:lnTo>
                    <a:pt x="2264443" y="410534"/>
                  </a:lnTo>
                  <a:lnTo>
                    <a:pt x="2266565" y="415468"/>
                  </a:lnTo>
                  <a:lnTo>
                    <a:pt x="2264443" y="426767"/>
                  </a:lnTo>
                  <a:lnTo>
                    <a:pt x="2268587" y="433231"/>
                  </a:lnTo>
                  <a:lnTo>
                    <a:pt x="2266565" y="436438"/>
                  </a:lnTo>
                  <a:close/>
                  <a:moveTo>
                    <a:pt x="2285166" y="166398"/>
                  </a:moveTo>
                  <a:lnTo>
                    <a:pt x="2287287" y="164770"/>
                  </a:lnTo>
                  <a:lnTo>
                    <a:pt x="2293504" y="164770"/>
                  </a:lnTo>
                  <a:lnTo>
                    <a:pt x="2295577" y="166398"/>
                  </a:lnTo>
                  <a:lnTo>
                    <a:pt x="2301843" y="166398"/>
                  </a:lnTo>
                  <a:lnTo>
                    <a:pt x="2301843" y="171332"/>
                  </a:lnTo>
                  <a:lnTo>
                    <a:pt x="2297698" y="171332"/>
                  </a:lnTo>
                  <a:lnTo>
                    <a:pt x="2295577" y="169753"/>
                  </a:lnTo>
                  <a:lnTo>
                    <a:pt x="2287287" y="167730"/>
                  </a:lnTo>
                  <a:close/>
                  <a:moveTo>
                    <a:pt x="2291432" y="435846"/>
                  </a:moveTo>
                  <a:lnTo>
                    <a:pt x="2291432" y="429234"/>
                  </a:lnTo>
                  <a:lnTo>
                    <a:pt x="2297698" y="425978"/>
                  </a:lnTo>
                  <a:lnTo>
                    <a:pt x="2297698" y="421044"/>
                  </a:lnTo>
                  <a:lnTo>
                    <a:pt x="2301843" y="419415"/>
                  </a:lnTo>
                  <a:lnTo>
                    <a:pt x="2303915" y="421044"/>
                  </a:lnTo>
                  <a:lnTo>
                    <a:pt x="2301843" y="425978"/>
                  </a:lnTo>
                  <a:lnTo>
                    <a:pt x="2301843" y="429234"/>
                  </a:lnTo>
                  <a:lnTo>
                    <a:pt x="2293504" y="435648"/>
                  </a:lnTo>
                  <a:close/>
                  <a:moveTo>
                    <a:pt x="2366429" y="376193"/>
                  </a:moveTo>
                  <a:lnTo>
                    <a:pt x="2374768" y="366325"/>
                  </a:lnTo>
                  <a:lnTo>
                    <a:pt x="2378912" y="366325"/>
                  </a:lnTo>
                  <a:lnTo>
                    <a:pt x="2385179" y="363118"/>
                  </a:lnTo>
                  <a:lnTo>
                    <a:pt x="2393468" y="366325"/>
                  </a:lnTo>
                  <a:lnTo>
                    <a:pt x="2399734" y="371259"/>
                  </a:lnTo>
                  <a:lnTo>
                    <a:pt x="2397662" y="376193"/>
                  </a:lnTo>
                  <a:lnTo>
                    <a:pt x="2387251" y="374565"/>
                  </a:lnTo>
                  <a:lnTo>
                    <a:pt x="2383057" y="381029"/>
                  </a:lnTo>
                  <a:lnTo>
                    <a:pt x="2372646" y="381029"/>
                  </a:lnTo>
                  <a:lnTo>
                    <a:pt x="2366429" y="379400"/>
                  </a:lnTo>
                  <a:close/>
                  <a:moveTo>
                    <a:pt x="2907989" y="12999"/>
                  </a:moveTo>
                  <a:lnTo>
                    <a:pt x="2912134" y="6585"/>
                  </a:lnTo>
                  <a:lnTo>
                    <a:pt x="2916328" y="6585"/>
                  </a:lnTo>
                  <a:lnTo>
                    <a:pt x="2920472" y="11519"/>
                  </a:lnTo>
                  <a:lnTo>
                    <a:pt x="2912183" y="14775"/>
                  </a:lnTo>
                  <a:close/>
                  <a:moveTo>
                    <a:pt x="2647620" y="448674"/>
                  </a:moveTo>
                  <a:lnTo>
                    <a:pt x="2645548" y="451931"/>
                  </a:lnTo>
                  <a:lnTo>
                    <a:pt x="2647620" y="455138"/>
                  </a:lnTo>
                  <a:lnTo>
                    <a:pt x="2655959" y="455138"/>
                  </a:lnTo>
                  <a:lnTo>
                    <a:pt x="2655959" y="450204"/>
                  </a:lnTo>
                  <a:lnTo>
                    <a:pt x="2651764" y="448576"/>
                  </a:lnTo>
                  <a:close/>
                  <a:moveTo>
                    <a:pt x="2518447" y="518047"/>
                  </a:moveTo>
                  <a:lnTo>
                    <a:pt x="2520569" y="521303"/>
                  </a:lnTo>
                  <a:lnTo>
                    <a:pt x="2526786" y="521303"/>
                  </a:lnTo>
                  <a:lnTo>
                    <a:pt x="2524762" y="516369"/>
                  </a:lnTo>
                  <a:close/>
                  <a:moveTo>
                    <a:pt x="2335147" y="514840"/>
                  </a:moveTo>
                  <a:lnTo>
                    <a:pt x="2331003" y="506748"/>
                  </a:lnTo>
                  <a:lnTo>
                    <a:pt x="2331003" y="503541"/>
                  </a:lnTo>
                  <a:lnTo>
                    <a:pt x="2335147" y="503541"/>
                  </a:lnTo>
                  <a:lnTo>
                    <a:pt x="2339342" y="506748"/>
                  </a:lnTo>
                  <a:lnTo>
                    <a:pt x="2339342" y="511682"/>
                  </a:lnTo>
                  <a:lnTo>
                    <a:pt x="2337269" y="514938"/>
                  </a:lnTo>
                  <a:close/>
                  <a:moveTo>
                    <a:pt x="2283093" y="608586"/>
                  </a:moveTo>
                  <a:lnTo>
                    <a:pt x="2283093" y="598718"/>
                  </a:lnTo>
                  <a:lnTo>
                    <a:pt x="2278900" y="592304"/>
                  </a:lnTo>
                  <a:lnTo>
                    <a:pt x="2278900" y="590676"/>
                  </a:lnTo>
                  <a:lnTo>
                    <a:pt x="2274755" y="592304"/>
                  </a:lnTo>
                  <a:lnTo>
                    <a:pt x="2272683" y="598718"/>
                  </a:lnTo>
                  <a:lnTo>
                    <a:pt x="2274755" y="608586"/>
                  </a:lnTo>
                  <a:lnTo>
                    <a:pt x="2278900" y="616629"/>
                  </a:lnTo>
                  <a:lnTo>
                    <a:pt x="2276877" y="621563"/>
                  </a:lnTo>
                  <a:lnTo>
                    <a:pt x="2274755" y="621563"/>
                  </a:lnTo>
                  <a:lnTo>
                    <a:pt x="2268489" y="619984"/>
                  </a:lnTo>
                  <a:lnTo>
                    <a:pt x="2256055" y="618356"/>
                  </a:lnTo>
                  <a:lnTo>
                    <a:pt x="2256055" y="613422"/>
                  </a:lnTo>
                  <a:lnTo>
                    <a:pt x="2251861" y="613422"/>
                  </a:lnTo>
                  <a:lnTo>
                    <a:pt x="2241450" y="606859"/>
                  </a:lnTo>
                  <a:lnTo>
                    <a:pt x="2237256" y="606859"/>
                  </a:lnTo>
                  <a:lnTo>
                    <a:pt x="2235184" y="605231"/>
                  </a:lnTo>
                  <a:lnTo>
                    <a:pt x="2233112" y="603652"/>
                  </a:lnTo>
                  <a:lnTo>
                    <a:pt x="2228967" y="603652"/>
                  </a:lnTo>
                  <a:lnTo>
                    <a:pt x="2228967" y="600396"/>
                  </a:lnTo>
                  <a:lnTo>
                    <a:pt x="2231039" y="595462"/>
                  </a:lnTo>
                  <a:lnTo>
                    <a:pt x="2235184" y="593834"/>
                  </a:lnTo>
                  <a:lnTo>
                    <a:pt x="2239378" y="588900"/>
                  </a:lnTo>
                  <a:lnTo>
                    <a:pt x="2237256" y="585692"/>
                  </a:lnTo>
                  <a:lnTo>
                    <a:pt x="2233112" y="577601"/>
                  </a:lnTo>
                  <a:lnTo>
                    <a:pt x="2231039" y="574393"/>
                  </a:lnTo>
                  <a:lnTo>
                    <a:pt x="2231039" y="579327"/>
                  </a:lnTo>
                  <a:lnTo>
                    <a:pt x="2233112" y="582535"/>
                  </a:lnTo>
                  <a:lnTo>
                    <a:pt x="2233112" y="587469"/>
                  </a:lnTo>
                  <a:lnTo>
                    <a:pt x="2231039" y="590676"/>
                  </a:lnTo>
                  <a:lnTo>
                    <a:pt x="2226845" y="590676"/>
                  </a:lnTo>
                  <a:lnTo>
                    <a:pt x="2224773" y="592304"/>
                  </a:lnTo>
                  <a:lnTo>
                    <a:pt x="2224773" y="593883"/>
                  </a:lnTo>
                  <a:lnTo>
                    <a:pt x="2226845" y="597139"/>
                  </a:lnTo>
                  <a:lnTo>
                    <a:pt x="2222701" y="602073"/>
                  </a:lnTo>
                  <a:lnTo>
                    <a:pt x="2218556" y="600445"/>
                  </a:lnTo>
                  <a:lnTo>
                    <a:pt x="2214362" y="593982"/>
                  </a:lnTo>
                  <a:lnTo>
                    <a:pt x="2214362" y="590774"/>
                  </a:lnTo>
                  <a:lnTo>
                    <a:pt x="2212241" y="587567"/>
                  </a:lnTo>
                  <a:lnTo>
                    <a:pt x="2216435" y="579475"/>
                  </a:lnTo>
                  <a:lnTo>
                    <a:pt x="2214362" y="576268"/>
                  </a:lnTo>
                  <a:lnTo>
                    <a:pt x="2216435" y="573012"/>
                  </a:lnTo>
                  <a:lnTo>
                    <a:pt x="2212241" y="576268"/>
                  </a:lnTo>
                  <a:lnTo>
                    <a:pt x="2210218" y="581202"/>
                  </a:lnTo>
                  <a:lnTo>
                    <a:pt x="2206024" y="586136"/>
                  </a:lnTo>
                  <a:lnTo>
                    <a:pt x="2208145" y="589344"/>
                  </a:lnTo>
                  <a:lnTo>
                    <a:pt x="2206024" y="594278"/>
                  </a:lnTo>
                  <a:lnTo>
                    <a:pt x="2199807" y="592699"/>
                  </a:lnTo>
                  <a:lnTo>
                    <a:pt x="2195613" y="589442"/>
                  </a:lnTo>
                  <a:lnTo>
                    <a:pt x="2191419" y="589442"/>
                  </a:lnTo>
                  <a:lnTo>
                    <a:pt x="2189347" y="587863"/>
                  </a:lnTo>
                  <a:lnTo>
                    <a:pt x="2191419" y="581400"/>
                  </a:lnTo>
                  <a:lnTo>
                    <a:pt x="2193541" y="574936"/>
                  </a:lnTo>
                  <a:lnTo>
                    <a:pt x="2195613" y="573308"/>
                  </a:lnTo>
                  <a:lnTo>
                    <a:pt x="2195613" y="566844"/>
                  </a:lnTo>
                  <a:lnTo>
                    <a:pt x="2201830" y="555545"/>
                  </a:lnTo>
                  <a:lnTo>
                    <a:pt x="2197685" y="557174"/>
                  </a:lnTo>
                  <a:lnTo>
                    <a:pt x="2193541" y="558802"/>
                  </a:lnTo>
                  <a:lnTo>
                    <a:pt x="2189347" y="571680"/>
                  </a:lnTo>
                  <a:lnTo>
                    <a:pt x="2189347" y="579772"/>
                  </a:lnTo>
                  <a:lnTo>
                    <a:pt x="2185202" y="584706"/>
                  </a:lnTo>
                  <a:lnTo>
                    <a:pt x="2183130" y="583077"/>
                  </a:lnTo>
                  <a:lnTo>
                    <a:pt x="2185202" y="576663"/>
                  </a:lnTo>
                  <a:lnTo>
                    <a:pt x="2187275" y="575035"/>
                  </a:lnTo>
                  <a:lnTo>
                    <a:pt x="2185202" y="575035"/>
                  </a:lnTo>
                  <a:lnTo>
                    <a:pt x="2181008" y="583077"/>
                  </a:lnTo>
                  <a:lnTo>
                    <a:pt x="2172719" y="583077"/>
                  </a:lnTo>
                  <a:lnTo>
                    <a:pt x="2170598" y="579870"/>
                  </a:lnTo>
                  <a:lnTo>
                    <a:pt x="2170598" y="571778"/>
                  </a:lnTo>
                  <a:lnTo>
                    <a:pt x="2168525" y="568571"/>
                  </a:lnTo>
                  <a:lnTo>
                    <a:pt x="2170598" y="563637"/>
                  </a:lnTo>
                  <a:lnTo>
                    <a:pt x="2176864" y="560430"/>
                  </a:lnTo>
                  <a:lnTo>
                    <a:pt x="2178936" y="555496"/>
                  </a:lnTo>
                  <a:lnTo>
                    <a:pt x="2178936" y="552289"/>
                  </a:lnTo>
                  <a:lnTo>
                    <a:pt x="2181008" y="547355"/>
                  </a:lnTo>
                  <a:lnTo>
                    <a:pt x="2185202" y="542421"/>
                  </a:lnTo>
                  <a:lnTo>
                    <a:pt x="2191419" y="542421"/>
                  </a:lnTo>
                  <a:lnTo>
                    <a:pt x="2195613" y="539164"/>
                  </a:lnTo>
                  <a:lnTo>
                    <a:pt x="2203952" y="539164"/>
                  </a:lnTo>
                  <a:lnTo>
                    <a:pt x="2208145" y="534230"/>
                  </a:lnTo>
                  <a:lnTo>
                    <a:pt x="2214362" y="532652"/>
                  </a:lnTo>
                  <a:lnTo>
                    <a:pt x="2218556" y="531023"/>
                  </a:lnTo>
                  <a:lnTo>
                    <a:pt x="2220629" y="527816"/>
                  </a:lnTo>
                  <a:lnTo>
                    <a:pt x="2222701" y="526188"/>
                  </a:lnTo>
                  <a:lnTo>
                    <a:pt x="2228967" y="524560"/>
                  </a:lnTo>
                  <a:lnTo>
                    <a:pt x="2239378" y="529494"/>
                  </a:lnTo>
                  <a:lnTo>
                    <a:pt x="2249789" y="529494"/>
                  </a:lnTo>
                  <a:lnTo>
                    <a:pt x="2253933" y="526287"/>
                  </a:lnTo>
                  <a:lnTo>
                    <a:pt x="2260199" y="527915"/>
                  </a:lnTo>
                  <a:lnTo>
                    <a:pt x="2262272" y="534329"/>
                  </a:lnTo>
                  <a:lnTo>
                    <a:pt x="2268489" y="534329"/>
                  </a:lnTo>
                  <a:lnTo>
                    <a:pt x="2268489" y="529395"/>
                  </a:lnTo>
                  <a:lnTo>
                    <a:pt x="2272683" y="529395"/>
                  </a:lnTo>
                  <a:lnTo>
                    <a:pt x="2278900" y="534329"/>
                  </a:lnTo>
                  <a:lnTo>
                    <a:pt x="2283093" y="532750"/>
                  </a:lnTo>
                  <a:lnTo>
                    <a:pt x="2289360" y="534329"/>
                  </a:lnTo>
                  <a:lnTo>
                    <a:pt x="2291432" y="531122"/>
                  </a:lnTo>
                  <a:lnTo>
                    <a:pt x="2289360" y="527915"/>
                  </a:lnTo>
                  <a:lnTo>
                    <a:pt x="2285166" y="529494"/>
                  </a:lnTo>
                  <a:lnTo>
                    <a:pt x="2278900" y="526287"/>
                  </a:lnTo>
                  <a:lnTo>
                    <a:pt x="2276877" y="526287"/>
                  </a:lnTo>
                  <a:lnTo>
                    <a:pt x="2276877" y="522981"/>
                  </a:lnTo>
                  <a:lnTo>
                    <a:pt x="2281021" y="519774"/>
                  </a:lnTo>
                  <a:lnTo>
                    <a:pt x="2281021" y="516567"/>
                  </a:lnTo>
                  <a:lnTo>
                    <a:pt x="2276877" y="514938"/>
                  </a:lnTo>
                  <a:lnTo>
                    <a:pt x="2276877" y="513113"/>
                  </a:lnTo>
                  <a:lnTo>
                    <a:pt x="2285166" y="513113"/>
                  </a:lnTo>
                  <a:lnTo>
                    <a:pt x="2285166" y="511484"/>
                  </a:lnTo>
                  <a:lnTo>
                    <a:pt x="2278900" y="509906"/>
                  </a:lnTo>
                  <a:lnTo>
                    <a:pt x="2276877" y="511484"/>
                  </a:lnTo>
                  <a:lnTo>
                    <a:pt x="2272683" y="511484"/>
                  </a:lnTo>
                  <a:lnTo>
                    <a:pt x="2268489" y="506550"/>
                  </a:lnTo>
                  <a:lnTo>
                    <a:pt x="2268489" y="503343"/>
                  </a:lnTo>
                  <a:lnTo>
                    <a:pt x="2274755" y="498409"/>
                  </a:lnTo>
                  <a:lnTo>
                    <a:pt x="2274755" y="495153"/>
                  </a:lnTo>
                  <a:lnTo>
                    <a:pt x="2272683" y="495153"/>
                  </a:lnTo>
                  <a:lnTo>
                    <a:pt x="2270610" y="490219"/>
                  </a:lnTo>
                  <a:lnTo>
                    <a:pt x="2270610" y="480351"/>
                  </a:lnTo>
                  <a:lnTo>
                    <a:pt x="2272683" y="478722"/>
                  </a:lnTo>
                  <a:lnTo>
                    <a:pt x="2270610" y="472308"/>
                  </a:lnTo>
                  <a:lnTo>
                    <a:pt x="2270610" y="467374"/>
                  </a:lnTo>
                  <a:lnTo>
                    <a:pt x="2276877" y="467374"/>
                  </a:lnTo>
                  <a:lnTo>
                    <a:pt x="2283093" y="465746"/>
                  </a:lnTo>
                  <a:lnTo>
                    <a:pt x="2291432" y="465746"/>
                  </a:lnTo>
                  <a:lnTo>
                    <a:pt x="2295577" y="464118"/>
                  </a:lnTo>
                  <a:lnTo>
                    <a:pt x="2301843" y="467374"/>
                  </a:lnTo>
                  <a:lnTo>
                    <a:pt x="2308109" y="467374"/>
                  </a:lnTo>
                  <a:lnTo>
                    <a:pt x="2316398" y="473788"/>
                  </a:lnTo>
                  <a:lnTo>
                    <a:pt x="2318520" y="486716"/>
                  </a:lnTo>
                  <a:lnTo>
                    <a:pt x="2318520" y="504478"/>
                  </a:lnTo>
                  <a:lnTo>
                    <a:pt x="2316398" y="512521"/>
                  </a:lnTo>
                  <a:lnTo>
                    <a:pt x="2320592" y="514149"/>
                  </a:lnTo>
                  <a:lnTo>
                    <a:pt x="2324737" y="512521"/>
                  </a:lnTo>
                  <a:lnTo>
                    <a:pt x="2337269" y="518984"/>
                  </a:lnTo>
                  <a:lnTo>
                    <a:pt x="2341414" y="525448"/>
                  </a:lnTo>
                  <a:lnTo>
                    <a:pt x="2345608" y="527076"/>
                  </a:lnTo>
                  <a:lnTo>
                    <a:pt x="2345608" y="523820"/>
                  </a:lnTo>
                  <a:lnTo>
                    <a:pt x="2360410" y="522191"/>
                  </a:lnTo>
                  <a:lnTo>
                    <a:pt x="2370821" y="530283"/>
                  </a:lnTo>
                  <a:lnTo>
                    <a:pt x="2375015" y="528655"/>
                  </a:lnTo>
                  <a:lnTo>
                    <a:pt x="2370821" y="523721"/>
                  </a:lnTo>
                  <a:lnTo>
                    <a:pt x="2375015" y="520514"/>
                  </a:lnTo>
                  <a:lnTo>
                    <a:pt x="2385425" y="515580"/>
                  </a:lnTo>
                  <a:lnTo>
                    <a:pt x="2393714" y="507488"/>
                  </a:lnTo>
                  <a:lnTo>
                    <a:pt x="2406247" y="499445"/>
                  </a:lnTo>
                  <a:lnTo>
                    <a:pt x="2418730" y="488147"/>
                  </a:lnTo>
                  <a:lnTo>
                    <a:pt x="2418730" y="483212"/>
                  </a:lnTo>
                  <a:lnTo>
                    <a:pt x="2424947" y="479956"/>
                  </a:lnTo>
                  <a:lnTo>
                    <a:pt x="2418730" y="479956"/>
                  </a:lnTo>
                  <a:lnTo>
                    <a:pt x="2414536" y="483212"/>
                  </a:lnTo>
                  <a:lnTo>
                    <a:pt x="2414536" y="488147"/>
                  </a:lnTo>
                  <a:lnTo>
                    <a:pt x="2402102" y="498015"/>
                  </a:lnTo>
                  <a:lnTo>
                    <a:pt x="2393714" y="502949"/>
                  </a:lnTo>
                  <a:lnTo>
                    <a:pt x="2393714" y="504577"/>
                  </a:lnTo>
                  <a:lnTo>
                    <a:pt x="2383057" y="513113"/>
                  </a:lnTo>
                  <a:lnTo>
                    <a:pt x="2370574" y="518047"/>
                  </a:lnTo>
                  <a:lnTo>
                    <a:pt x="2366429" y="514840"/>
                  </a:lnTo>
                  <a:lnTo>
                    <a:pt x="2362235" y="514840"/>
                  </a:lnTo>
                  <a:lnTo>
                    <a:pt x="2362235" y="516468"/>
                  </a:lnTo>
                  <a:lnTo>
                    <a:pt x="2353946" y="516468"/>
                  </a:lnTo>
                  <a:lnTo>
                    <a:pt x="2345608" y="511534"/>
                  </a:lnTo>
                  <a:lnTo>
                    <a:pt x="2345608" y="508179"/>
                  </a:lnTo>
                  <a:lnTo>
                    <a:pt x="2351825" y="503245"/>
                  </a:lnTo>
                  <a:lnTo>
                    <a:pt x="2358091" y="500038"/>
                  </a:lnTo>
                  <a:lnTo>
                    <a:pt x="2358091" y="493870"/>
                  </a:lnTo>
                  <a:lnTo>
                    <a:pt x="2349703" y="500334"/>
                  </a:lnTo>
                  <a:lnTo>
                    <a:pt x="2347631" y="503541"/>
                  </a:lnTo>
                  <a:lnTo>
                    <a:pt x="2341364" y="503541"/>
                  </a:lnTo>
                  <a:lnTo>
                    <a:pt x="2337220" y="495449"/>
                  </a:lnTo>
                  <a:lnTo>
                    <a:pt x="2337220" y="492242"/>
                  </a:lnTo>
                  <a:lnTo>
                    <a:pt x="2341364" y="492242"/>
                  </a:lnTo>
                  <a:lnTo>
                    <a:pt x="2347631" y="490614"/>
                  </a:lnTo>
                  <a:lnTo>
                    <a:pt x="2349703" y="487406"/>
                  </a:lnTo>
                  <a:lnTo>
                    <a:pt x="2343486" y="487406"/>
                  </a:lnTo>
                  <a:lnTo>
                    <a:pt x="2343486" y="484199"/>
                  </a:lnTo>
                  <a:lnTo>
                    <a:pt x="2345558" y="482571"/>
                  </a:lnTo>
                  <a:lnTo>
                    <a:pt x="2351775" y="484199"/>
                  </a:lnTo>
                  <a:lnTo>
                    <a:pt x="2355969" y="484199"/>
                  </a:lnTo>
                  <a:lnTo>
                    <a:pt x="2358041" y="480943"/>
                  </a:lnTo>
                  <a:lnTo>
                    <a:pt x="2351775" y="480943"/>
                  </a:lnTo>
                  <a:lnTo>
                    <a:pt x="2347631" y="477736"/>
                  </a:lnTo>
                  <a:lnTo>
                    <a:pt x="2345558" y="480943"/>
                  </a:lnTo>
                  <a:lnTo>
                    <a:pt x="2339342" y="480943"/>
                  </a:lnTo>
                  <a:lnTo>
                    <a:pt x="2337269" y="476009"/>
                  </a:lnTo>
                  <a:lnTo>
                    <a:pt x="2339342" y="472802"/>
                  </a:lnTo>
                  <a:lnTo>
                    <a:pt x="2345608" y="471173"/>
                  </a:lnTo>
                  <a:lnTo>
                    <a:pt x="2349752" y="467966"/>
                  </a:lnTo>
                  <a:lnTo>
                    <a:pt x="2356019" y="469545"/>
                  </a:lnTo>
                  <a:lnTo>
                    <a:pt x="2364357" y="471173"/>
                  </a:lnTo>
                  <a:lnTo>
                    <a:pt x="2368502" y="467966"/>
                  </a:lnTo>
                  <a:lnTo>
                    <a:pt x="2360163" y="467966"/>
                  </a:lnTo>
                  <a:lnTo>
                    <a:pt x="2360163" y="464710"/>
                  </a:lnTo>
                  <a:lnTo>
                    <a:pt x="2366429" y="459776"/>
                  </a:lnTo>
                  <a:lnTo>
                    <a:pt x="2370574" y="459776"/>
                  </a:lnTo>
                  <a:lnTo>
                    <a:pt x="2372646" y="456569"/>
                  </a:lnTo>
                  <a:lnTo>
                    <a:pt x="2368502" y="456569"/>
                  </a:lnTo>
                  <a:lnTo>
                    <a:pt x="2368502" y="453312"/>
                  </a:lnTo>
                  <a:lnTo>
                    <a:pt x="2372646" y="448378"/>
                  </a:lnTo>
                  <a:lnTo>
                    <a:pt x="2378912" y="446750"/>
                  </a:lnTo>
                  <a:lnTo>
                    <a:pt x="2374768" y="441816"/>
                  </a:lnTo>
                  <a:lnTo>
                    <a:pt x="2385179" y="430517"/>
                  </a:lnTo>
                  <a:lnTo>
                    <a:pt x="2391396" y="427310"/>
                  </a:lnTo>
                  <a:lnTo>
                    <a:pt x="2391396" y="424300"/>
                  </a:lnTo>
                  <a:lnTo>
                    <a:pt x="2385179" y="424300"/>
                  </a:lnTo>
                  <a:lnTo>
                    <a:pt x="2376840" y="435550"/>
                  </a:lnTo>
                  <a:lnTo>
                    <a:pt x="2368502" y="448477"/>
                  </a:lnTo>
                  <a:lnTo>
                    <a:pt x="2358091" y="454940"/>
                  </a:lnTo>
                  <a:lnTo>
                    <a:pt x="2349703" y="463180"/>
                  </a:lnTo>
                  <a:lnTo>
                    <a:pt x="2343486" y="461601"/>
                  </a:lnTo>
                  <a:lnTo>
                    <a:pt x="2333075" y="461601"/>
                  </a:lnTo>
                  <a:lnTo>
                    <a:pt x="2333075" y="456667"/>
                  </a:lnTo>
                  <a:lnTo>
                    <a:pt x="2337220" y="450204"/>
                  </a:lnTo>
                  <a:lnTo>
                    <a:pt x="2345558" y="448576"/>
                  </a:lnTo>
                  <a:lnTo>
                    <a:pt x="2345558" y="442112"/>
                  </a:lnTo>
                  <a:lnTo>
                    <a:pt x="2335098" y="448576"/>
                  </a:lnTo>
                  <a:lnTo>
                    <a:pt x="2324687" y="446947"/>
                  </a:lnTo>
                  <a:lnTo>
                    <a:pt x="2324687" y="451881"/>
                  </a:lnTo>
                  <a:lnTo>
                    <a:pt x="2318470" y="455088"/>
                  </a:lnTo>
                  <a:lnTo>
                    <a:pt x="2310231" y="455088"/>
                  </a:lnTo>
                  <a:lnTo>
                    <a:pt x="2301892" y="448625"/>
                  </a:lnTo>
                  <a:lnTo>
                    <a:pt x="2306037" y="445418"/>
                  </a:lnTo>
                  <a:lnTo>
                    <a:pt x="2312352" y="443790"/>
                  </a:lnTo>
                  <a:lnTo>
                    <a:pt x="2310231" y="440582"/>
                  </a:lnTo>
                  <a:lnTo>
                    <a:pt x="2306037" y="440582"/>
                  </a:lnTo>
                  <a:lnTo>
                    <a:pt x="2306037" y="434168"/>
                  </a:lnTo>
                  <a:lnTo>
                    <a:pt x="2314375" y="427705"/>
                  </a:lnTo>
                  <a:lnTo>
                    <a:pt x="2316448" y="422771"/>
                  </a:lnTo>
                  <a:lnTo>
                    <a:pt x="2324786" y="421142"/>
                  </a:lnTo>
                  <a:lnTo>
                    <a:pt x="2331052" y="416208"/>
                  </a:lnTo>
                  <a:lnTo>
                    <a:pt x="2337318" y="416208"/>
                  </a:lnTo>
                  <a:lnTo>
                    <a:pt x="2339391" y="408166"/>
                  </a:lnTo>
                  <a:lnTo>
                    <a:pt x="2343585" y="400074"/>
                  </a:lnTo>
                  <a:lnTo>
                    <a:pt x="2353996" y="390206"/>
                  </a:lnTo>
                  <a:lnTo>
                    <a:pt x="2358140" y="391785"/>
                  </a:lnTo>
                  <a:lnTo>
                    <a:pt x="2372695" y="388578"/>
                  </a:lnTo>
                  <a:lnTo>
                    <a:pt x="2383106" y="391785"/>
                  </a:lnTo>
                  <a:lnTo>
                    <a:pt x="2389372" y="388578"/>
                  </a:lnTo>
                  <a:lnTo>
                    <a:pt x="2395639" y="388578"/>
                  </a:lnTo>
                  <a:lnTo>
                    <a:pt x="2401905" y="383644"/>
                  </a:lnTo>
                  <a:lnTo>
                    <a:pt x="2408122" y="383644"/>
                  </a:lnTo>
                  <a:lnTo>
                    <a:pt x="2408122" y="385272"/>
                  </a:lnTo>
                  <a:lnTo>
                    <a:pt x="2416461" y="393314"/>
                  </a:lnTo>
                  <a:lnTo>
                    <a:pt x="2422727" y="394943"/>
                  </a:lnTo>
                  <a:lnTo>
                    <a:pt x="2437529" y="402985"/>
                  </a:lnTo>
                  <a:lnTo>
                    <a:pt x="2441723" y="407919"/>
                  </a:lnTo>
                  <a:lnTo>
                    <a:pt x="2445867" y="412853"/>
                  </a:lnTo>
                  <a:lnTo>
                    <a:pt x="2450012" y="412853"/>
                  </a:lnTo>
                  <a:lnTo>
                    <a:pt x="2458351" y="425731"/>
                  </a:lnTo>
                  <a:lnTo>
                    <a:pt x="2458351" y="417689"/>
                  </a:lnTo>
                  <a:lnTo>
                    <a:pt x="2464617" y="416060"/>
                  </a:lnTo>
                  <a:lnTo>
                    <a:pt x="2464617" y="412853"/>
                  </a:lnTo>
                  <a:lnTo>
                    <a:pt x="2456278" y="411225"/>
                  </a:lnTo>
                  <a:lnTo>
                    <a:pt x="2452134" y="411225"/>
                  </a:lnTo>
                  <a:lnTo>
                    <a:pt x="2452134" y="406291"/>
                  </a:lnTo>
                  <a:lnTo>
                    <a:pt x="2458351" y="403034"/>
                  </a:lnTo>
                  <a:lnTo>
                    <a:pt x="2473153" y="403034"/>
                  </a:lnTo>
                  <a:lnTo>
                    <a:pt x="2481442" y="406291"/>
                  </a:lnTo>
                  <a:lnTo>
                    <a:pt x="2483563" y="404663"/>
                  </a:lnTo>
                  <a:lnTo>
                    <a:pt x="2483563" y="396620"/>
                  </a:lnTo>
                  <a:lnTo>
                    <a:pt x="2487708" y="390157"/>
                  </a:lnTo>
                  <a:lnTo>
                    <a:pt x="2487708" y="386900"/>
                  </a:lnTo>
                  <a:lnTo>
                    <a:pt x="2483563" y="388528"/>
                  </a:lnTo>
                  <a:lnTo>
                    <a:pt x="2481442" y="393462"/>
                  </a:lnTo>
                  <a:lnTo>
                    <a:pt x="2475225" y="396719"/>
                  </a:lnTo>
                  <a:lnTo>
                    <a:pt x="2469008" y="401653"/>
                  </a:lnTo>
                  <a:lnTo>
                    <a:pt x="2456476" y="396719"/>
                  </a:lnTo>
                  <a:lnTo>
                    <a:pt x="2446065" y="396719"/>
                  </a:lnTo>
                  <a:lnTo>
                    <a:pt x="2439798" y="391785"/>
                  </a:lnTo>
                  <a:lnTo>
                    <a:pt x="2435654" y="390206"/>
                  </a:lnTo>
                  <a:lnTo>
                    <a:pt x="2424700" y="390206"/>
                  </a:lnTo>
                  <a:lnTo>
                    <a:pt x="2416411" y="377279"/>
                  </a:lnTo>
                  <a:lnTo>
                    <a:pt x="2414290" y="365980"/>
                  </a:lnTo>
                  <a:lnTo>
                    <a:pt x="2418483" y="362773"/>
                  </a:lnTo>
                  <a:lnTo>
                    <a:pt x="2426822" y="367707"/>
                  </a:lnTo>
                  <a:lnTo>
                    <a:pt x="2428894" y="372641"/>
                  </a:lnTo>
                  <a:lnTo>
                    <a:pt x="2431016" y="377575"/>
                  </a:lnTo>
                  <a:lnTo>
                    <a:pt x="2435160" y="369532"/>
                  </a:lnTo>
                  <a:lnTo>
                    <a:pt x="2439305" y="361441"/>
                  </a:lnTo>
                  <a:lnTo>
                    <a:pt x="2433088" y="363069"/>
                  </a:lnTo>
                  <a:lnTo>
                    <a:pt x="2431016" y="361441"/>
                  </a:lnTo>
                  <a:lnTo>
                    <a:pt x="2431016" y="355224"/>
                  </a:lnTo>
                  <a:lnTo>
                    <a:pt x="2437233" y="345356"/>
                  </a:lnTo>
                  <a:lnTo>
                    <a:pt x="2435160" y="337313"/>
                  </a:lnTo>
                  <a:lnTo>
                    <a:pt x="2441427" y="327445"/>
                  </a:lnTo>
                  <a:lnTo>
                    <a:pt x="2439305" y="311311"/>
                  </a:lnTo>
                  <a:lnTo>
                    <a:pt x="2435160" y="301443"/>
                  </a:lnTo>
                  <a:lnTo>
                    <a:pt x="2431016" y="299814"/>
                  </a:lnTo>
                  <a:lnTo>
                    <a:pt x="2428894" y="293400"/>
                  </a:lnTo>
                  <a:lnTo>
                    <a:pt x="2428894" y="288466"/>
                  </a:lnTo>
                  <a:lnTo>
                    <a:pt x="2435160" y="286838"/>
                  </a:lnTo>
                  <a:lnTo>
                    <a:pt x="2437233" y="285210"/>
                  </a:lnTo>
                  <a:lnTo>
                    <a:pt x="2441427" y="288466"/>
                  </a:lnTo>
                  <a:lnTo>
                    <a:pt x="2447643" y="290045"/>
                  </a:lnTo>
                  <a:lnTo>
                    <a:pt x="2451838" y="296509"/>
                  </a:lnTo>
                  <a:lnTo>
                    <a:pt x="2453910" y="296509"/>
                  </a:lnTo>
                  <a:lnTo>
                    <a:pt x="2453910" y="291575"/>
                  </a:lnTo>
                  <a:lnTo>
                    <a:pt x="2449716" y="283483"/>
                  </a:lnTo>
                  <a:lnTo>
                    <a:pt x="2443450" y="282496"/>
                  </a:lnTo>
                  <a:lnTo>
                    <a:pt x="2439256" y="279239"/>
                  </a:lnTo>
                  <a:lnTo>
                    <a:pt x="2437183" y="272776"/>
                  </a:lnTo>
                  <a:lnTo>
                    <a:pt x="2441377" y="266362"/>
                  </a:lnTo>
                  <a:lnTo>
                    <a:pt x="2462199" y="245392"/>
                  </a:lnTo>
                  <a:lnTo>
                    <a:pt x="2472610" y="243764"/>
                  </a:lnTo>
                  <a:lnTo>
                    <a:pt x="2478876" y="245392"/>
                  </a:lnTo>
                  <a:lnTo>
                    <a:pt x="2482922" y="251609"/>
                  </a:lnTo>
                  <a:lnTo>
                    <a:pt x="2491260" y="256543"/>
                  </a:lnTo>
                  <a:lnTo>
                    <a:pt x="2497724" y="256543"/>
                  </a:lnTo>
                  <a:lnTo>
                    <a:pt x="2512526" y="266411"/>
                  </a:lnTo>
                  <a:lnTo>
                    <a:pt x="2512526" y="272825"/>
                  </a:lnTo>
                  <a:lnTo>
                    <a:pt x="2520865" y="280917"/>
                  </a:lnTo>
                  <a:lnTo>
                    <a:pt x="2525058" y="295423"/>
                  </a:lnTo>
                  <a:lnTo>
                    <a:pt x="2525058" y="318021"/>
                  </a:lnTo>
                  <a:lnTo>
                    <a:pt x="2531275" y="322955"/>
                  </a:lnTo>
                  <a:lnTo>
                    <a:pt x="2533348" y="319748"/>
                  </a:lnTo>
                  <a:lnTo>
                    <a:pt x="2535469" y="319748"/>
                  </a:lnTo>
                  <a:lnTo>
                    <a:pt x="2543759" y="324682"/>
                  </a:lnTo>
                  <a:lnTo>
                    <a:pt x="2543759" y="331146"/>
                  </a:lnTo>
                  <a:lnTo>
                    <a:pt x="2545880" y="326212"/>
                  </a:lnTo>
                  <a:lnTo>
                    <a:pt x="2550025" y="324583"/>
                  </a:lnTo>
                  <a:lnTo>
                    <a:pt x="2558363" y="324583"/>
                  </a:lnTo>
                  <a:lnTo>
                    <a:pt x="2551998" y="321228"/>
                  </a:lnTo>
                  <a:lnTo>
                    <a:pt x="2543660" y="321228"/>
                  </a:lnTo>
                  <a:lnTo>
                    <a:pt x="2539515" y="314765"/>
                  </a:lnTo>
                  <a:lnTo>
                    <a:pt x="2533249" y="311508"/>
                  </a:lnTo>
                  <a:lnTo>
                    <a:pt x="2533249" y="308301"/>
                  </a:lnTo>
                  <a:lnTo>
                    <a:pt x="2541588" y="301837"/>
                  </a:lnTo>
                  <a:lnTo>
                    <a:pt x="2539515" y="298630"/>
                  </a:lnTo>
                  <a:lnTo>
                    <a:pt x="2539515" y="276279"/>
                  </a:lnTo>
                  <a:lnTo>
                    <a:pt x="2537196" y="269569"/>
                  </a:lnTo>
                  <a:lnTo>
                    <a:pt x="2539318" y="263105"/>
                  </a:lnTo>
                  <a:lnTo>
                    <a:pt x="2551998" y="263105"/>
                  </a:lnTo>
                  <a:lnTo>
                    <a:pt x="2558265" y="264733"/>
                  </a:lnTo>
                  <a:lnTo>
                    <a:pt x="2566603" y="267941"/>
                  </a:lnTo>
                  <a:lnTo>
                    <a:pt x="2576669" y="267941"/>
                  </a:lnTo>
                  <a:lnTo>
                    <a:pt x="2589152" y="271197"/>
                  </a:lnTo>
                  <a:lnTo>
                    <a:pt x="2601635" y="271197"/>
                  </a:lnTo>
                  <a:lnTo>
                    <a:pt x="2614167" y="266263"/>
                  </a:lnTo>
                  <a:lnTo>
                    <a:pt x="2620384" y="267842"/>
                  </a:lnTo>
                  <a:lnTo>
                    <a:pt x="2626601" y="272776"/>
                  </a:lnTo>
                  <a:lnTo>
                    <a:pt x="2641403" y="274404"/>
                  </a:lnTo>
                  <a:lnTo>
                    <a:pt x="2647669" y="277661"/>
                  </a:lnTo>
                  <a:lnTo>
                    <a:pt x="2656008" y="276032"/>
                  </a:lnTo>
                  <a:lnTo>
                    <a:pt x="2656008" y="272776"/>
                  </a:lnTo>
                  <a:lnTo>
                    <a:pt x="2649742" y="269569"/>
                  </a:lnTo>
                  <a:lnTo>
                    <a:pt x="2639331" y="269569"/>
                  </a:lnTo>
                  <a:lnTo>
                    <a:pt x="2628871" y="266411"/>
                  </a:lnTo>
                  <a:lnTo>
                    <a:pt x="2624726" y="263155"/>
                  </a:lnTo>
                  <a:lnTo>
                    <a:pt x="2626749" y="261576"/>
                  </a:lnTo>
                  <a:lnTo>
                    <a:pt x="2630943" y="261576"/>
                  </a:lnTo>
                  <a:lnTo>
                    <a:pt x="2641354" y="258319"/>
                  </a:lnTo>
                  <a:lnTo>
                    <a:pt x="2666369" y="255112"/>
                  </a:lnTo>
                  <a:lnTo>
                    <a:pt x="2682997" y="255112"/>
                  </a:lnTo>
                  <a:lnTo>
                    <a:pt x="2697799" y="258319"/>
                  </a:lnTo>
                  <a:lnTo>
                    <a:pt x="2706138" y="264783"/>
                  </a:lnTo>
                  <a:lnTo>
                    <a:pt x="2709888" y="261477"/>
                  </a:lnTo>
                  <a:lnTo>
                    <a:pt x="2720298" y="259849"/>
                  </a:lnTo>
                  <a:lnTo>
                    <a:pt x="2716154" y="256642"/>
                  </a:lnTo>
                  <a:lnTo>
                    <a:pt x="2712009" y="256642"/>
                  </a:lnTo>
                  <a:lnTo>
                    <a:pt x="2705743" y="253385"/>
                  </a:lnTo>
                  <a:lnTo>
                    <a:pt x="2705743" y="250178"/>
                  </a:lnTo>
                  <a:lnTo>
                    <a:pt x="2697404" y="246922"/>
                  </a:lnTo>
                  <a:lnTo>
                    <a:pt x="2689066" y="246922"/>
                  </a:lnTo>
                  <a:lnTo>
                    <a:pt x="2684921" y="243714"/>
                  </a:lnTo>
                  <a:lnTo>
                    <a:pt x="2666172" y="245343"/>
                  </a:lnTo>
                  <a:lnTo>
                    <a:pt x="2666172" y="243714"/>
                  </a:lnTo>
                  <a:lnTo>
                    <a:pt x="2670366" y="240458"/>
                  </a:lnTo>
                  <a:lnTo>
                    <a:pt x="2674511" y="232415"/>
                  </a:lnTo>
                  <a:lnTo>
                    <a:pt x="2682800" y="230787"/>
                  </a:lnTo>
                  <a:lnTo>
                    <a:pt x="2689066" y="225853"/>
                  </a:lnTo>
                  <a:lnTo>
                    <a:pt x="2693210" y="217811"/>
                  </a:lnTo>
                  <a:lnTo>
                    <a:pt x="2712009" y="207943"/>
                  </a:lnTo>
                  <a:lnTo>
                    <a:pt x="2722420" y="206364"/>
                  </a:lnTo>
                  <a:lnTo>
                    <a:pt x="2739492" y="200196"/>
                  </a:lnTo>
                  <a:lnTo>
                    <a:pt x="2741564" y="196940"/>
                  </a:lnTo>
                  <a:lnTo>
                    <a:pt x="2720742" y="203403"/>
                  </a:lnTo>
                  <a:lnTo>
                    <a:pt x="2706187" y="205032"/>
                  </a:lnTo>
                  <a:lnTo>
                    <a:pt x="2687438" y="216331"/>
                  </a:lnTo>
                  <a:lnTo>
                    <a:pt x="2687438" y="222794"/>
                  </a:lnTo>
                  <a:lnTo>
                    <a:pt x="2683244" y="222794"/>
                  </a:lnTo>
                  <a:lnTo>
                    <a:pt x="2681221" y="216331"/>
                  </a:lnTo>
                  <a:lnTo>
                    <a:pt x="2677027" y="216331"/>
                  </a:lnTo>
                  <a:lnTo>
                    <a:pt x="2672833" y="222794"/>
                  </a:lnTo>
                  <a:lnTo>
                    <a:pt x="2666616" y="222794"/>
                  </a:lnTo>
                  <a:lnTo>
                    <a:pt x="2658277" y="232662"/>
                  </a:lnTo>
                  <a:lnTo>
                    <a:pt x="2660350" y="232662"/>
                  </a:lnTo>
                  <a:lnTo>
                    <a:pt x="2662422" y="235869"/>
                  </a:lnTo>
                  <a:lnTo>
                    <a:pt x="2649939" y="243961"/>
                  </a:lnTo>
                  <a:lnTo>
                    <a:pt x="2641600" y="245589"/>
                  </a:lnTo>
                  <a:lnTo>
                    <a:pt x="2616585" y="255457"/>
                  </a:lnTo>
                  <a:lnTo>
                    <a:pt x="2581208" y="255457"/>
                  </a:lnTo>
                  <a:lnTo>
                    <a:pt x="2570797" y="247366"/>
                  </a:lnTo>
                  <a:lnTo>
                    <a:pt x="2560386" y="248994"/>
                  </a:lnTo>
                  <a:lnTo>
                    <a:pt x="2556242" y="247366"/>
                  </a:lnTo>
                  <a:lnTo>
                    <a:pt x="2554120" y="242432"/>
                  </a:lnTo>
                  <a:lnTo>
                    <a:pt x="2564531" y="234389"/>
                  </a:lnTo>
                  <a:lnTo>
                    <a:pt x="2572869" y="234389"/>
                  </a:lnTo>
                  <a:lnTo>
                    <a:pt x="2579136" y="232761"/>
                  </a:lnTo>
                  <a:lnTo>
                    <a:pt x="2593691" y="231133"/>
                  </a:lnTo>
                  <a:lnTo>
                    <a:pt x="2599957" y="226199"/>
                  </a:lnTo>
                  <a:lnTo>
                    <a:pt x="2593691" y="224570"/>
                  </a:lnTo>
                  <a:lnTo>
                    <a:pt x="2585353" y="227827"/>
                  </a:lnTo>
                  <a:lnTo>
                    <a:pt x="2576669" y="227827"/>
                  </a:lnTo>
                  <a:lnTo>
                    <a:pt x="2566258" y="231034"/>
                  </a:lnTo>
                  <a:lnTo>
                    <a:pt x="2559992" y="229455"/>
                  </a:lnTo>
                  <a:lnTo>
                    <a:pt x="2559992" y="224521"/>
                  </a:lnTo>
                  <a:lnTo>
                    <a:pt x="2568330" y="219587"/>
                  </a:lnTo>
                  <a:lnTo>
                    <a:pt x="2562064" y="219587"/>
                  </a:lnTo>
                  <a:lnTo>
                    <a:pt x="2551653" y="221215"/>
                  </a:lnTo>
                  <a:lnTo>
                    <a:pt x="2549581" y="231083"/>
                  </a:lnTo>
                  <a:lnTo>
                    <a:pt x="2539170" y="240951"/>
                  </a:lnTo>
                  <a:lnTo>
                    <a:pt x="2528710" y="240951"/>
                  </a:lnTo>
                  <a:lnTo>
                    <a:pt x="2512082" y="236017"/>
                  </a:lnTo>
                  <a:lnTo>
                    <a:pt x="2499599" y="236017"/>
                  </a:lnTo>
                  <a:lnTo>
                    <a:pt x="2493333" y="229603"/>
                  </a:lnTo>
                  <a:lnTo>
                    <a:pt x="2493333" y="226347"/>
                  </a:lnTo>
                  <a:lnTo>
                    <a:pt x="2484994" y="226347"/>
                  </a:lnTo>
                  <a:lnTo>
                    <a:pt x="2476656" y="219883"/>
                  </a:lnTo>
                  <a:lnTo>
                    <a:pt x="2476656" y="216676"/>
                  </a:lnTo>
                  <a:lnTo>
                    <a:pt x="2482922" y="213123"/>
                  </a:lnTo>
                  <a:lnTo>
                    <a:pt x="2489188" y="205032"/>
                  </a:lnTo>
                  <a:lnTo>
                    <a:pt x="2499599" y="200098"/>
                  </a:lnTo>
                  <a:lnTo>
                    <a:pt x="2505816" y="192006"/>
                  </a:lnTo>
                  <a:lnTo>
                    <a:pt x="2516227" y="187072"/>
                  </a:lnTo>
                  <a:lnTo>
                    <a:pt x="2520420" y="183865"/>
                  </a:lnTo>
                  <a:lnTo>
                    <a:pt x="2526637" y="185493"/>
                  </a:lnTo>
                  <a:lnTo>
                    <a:pt x="2541439" y="185493"/>
                  </a:lnTo>
                  <a:lnTo>
                    <a:pt x="2545634" y="183865"/>
                  </a:lnTo>
                  <a:lnTo>
                    <a:pt x="2553923" y="185493"/>
                  </a:lnTo>
                  <a:lnTo>
                    <a:pt x="2566455" y="191907"/>
                  </a:lnTo>
                  <a:lnTo>
                    <a:pt x="2578938" y="191907"/>
                  </a:lnTo>
                  <a:lnTo>
                    <a:pt x="2585155" y="193535"/>
                  </a:lnTo>
                  <a:lnTo>
                    <a:pt x="2597688" y="191907"/>
                  </a:lnTo>
                  <a:lnTo>
                    <a:pt x="2599760" y="190328"/>
                  </a:lnTo>
                  <a:lnTo>
                    <a:pt x="2593444" y="187466"/>
                  </a:lnTo>
                  <a:lnTo>
                    <a:pt x="2578889" y="189095"/>
                  </a:lnTo>
                  <a:lnTo>
                    <a:pt x="2564087" y="185888"/>
                  </a:lnTo>
                  <a:lnTo>
                    <a:pt x="2555798" y="180954"/>
                  </a:lnTo>
                  <a:lnTo>
                    <a:pt x="2545584" y="180954"/>
                  </a:lnTo>
                  <a:lnTo>
                    <a:pt x="2533052" y="182532"/>
                  </a:lnTo>
                  <a:lnTo>
                    <a:pt x="2516375" y="179325"/>
                  </a:lnTo>
                  <a:lnTo>
                    <a:pt x="2512230" y="179325"/>
                  </a:lnTo>
                  <a:lnTo>
                    <a:pt x="2508036" y="182532"/>
                  </a:lnTo>
                  <a:lnTo>
                    <a:pt x="2501819" y="190624"/>
                  </a:lnTo>
                  <a:lnTo>
                    <a:pt x="2489336" y="197038"/>
                  </a:lnTo>
                  <a:lnTo>
                    <a:pt x="2474534" y="201972"/>
                  </a:lnTo>
                  <a:lnTo>
                    <a:pt x="2466195" y="211841"/>
                  </a:lnTo>
                  <a:lnTo>
                    <a:pt x="2464123" y="213469"/>
                  </a:lnTo>
                  <a:lnTo>
                    <a:pt x="2458252" y="209867"/>
                  </a:lnTo>
                  <a:lnTo>
                    <a:pt x="2449913" y="199999"/>
                  </a:lnTo>
                  <a:lnTo>
                    <a:pt x="2445768" y="198371"/>
                  </a:lnTo>
                  <a:lnTo>
                    <a:pt x="2441624" y="195164"/>
                  </a:lnTo>
                  <a:lnTo>
                    <a:pt x="2437233" y="187466"/>
                  </a:lnTo>
                  <a:lnTo>
                    <a:pt x="2437233" y="179227"/>
                  </a:lnTo>
                  <a:lnTo>
                    <a:pt x="2433088" y="174293"/>
                  </a:lnTo>
                  <a:lnTo>
                    <a:pt x="2433088" y="166299"/>
                  </a:lnTo>
                  <a:lnTo>
                    <a:pt x="2435160" y="164671"/>
                  </a:lnTo>
                  <a:lnTo>
                    <a:pt x="2443499" y="166299"/>
                  </a:lnTo>
                  <a:lnTo>
                    <a:pt x="2449716" y="164671"/>
                  </a:lnTo>
                  <a:lnTo>
                    <a:pt x="2453910" y="166299"/>
                  </a:lnTo>
                  <a:lnTo>
                    <a:pt x="2474732" y="166299"/>
                  </a:lnTo>
                  <a:lnTo>
                    <a:pt x="2487214" y="172664"/>
                  </a:lnTo>
                  <a:lnTo>
                    <a:pt x="2493481" y="172664"/>
                  </a:lnTo>
                  <a:lnTo>
                    <a:pt x="2497625" y="175871"/>
                  </a:lnTo>
                  <a:lnTo>
                    <a:pt x="2503892" y="175871"/>
                  </a:lnTo>
                  <a:lnTo>
                    <a:pt x="2512230" y="170937"/>
                  </a:lnTo>
                  <a:lnTo>
                    <a:pt x="2520569" y="174194"/>
                  </a:lnTo>
                  <a:lnTo>
                    <a:pt x="2522641" y="172566"/>
                  </a:lnTo>
                  <a:lnTo>
                    <a:pt x="2528858" y="170937"/>
                  </a:lnTo>
                  <a:lnTo>
                    <a:pt x="2533052" y="167730"/>
                  </a:lnTo>
                  <a:lnTo>
                    <a:pt x="2547854" y="166102"/>
                  </a:lnTo>
                  <a:lnTo>
                    <a:pt x="2562656" y="162895"/>
                  </a:lnTo>
                  <a:lnTo>
                    <a:pt x="2564728" y="159638"/>
                  </a:lnTo>
                  <a:lnTo>
                    <a:pt x="2564728" y="156431"/>
                  </a:lnTo>
                  <a:lnTo>
                    <a:pt x="2558511" y="158060"/>
                  </a:lnTo>
                  <a:lnTo>
                    <a:pt x="2556439" y="158060"/>
                  </a:lnTo>
                  <a:lnTo>
                    <a:pt x="2550173" y="161267"/>
                  </a:lnTo>
                  <a:lnTo>
                    <a:pt x="2541834" y="162895"/>
                  </a:lnTo>
                  <a:lnTo>
                    <a:pt x="2527032" y="161267"/>
                  </a:lnTo>
                  <a:lnTo>
                    <a:pt x="2516375" y="167730"/>
                  </a:lnTo>
                  <a:lnTo>
                    <a:pt x="2501819" y="167730"/>
                  </a:lnTo>
                  <a:lnTo>
                    <a:pt x="2497625" y="169359"/>
                  </a:lnTo>
                  <a:lnTo>
                    <a:pt x="2491408" y="169359"/>
                  </a:lnTo>
                  <a:lnTo>
                    <a:pt x="2482922" y="163092"/>
                  </a:lnTo>
                  <a:lnTo>
                    <a:pt x="2476656" y="163092"/>
                  </a:lnTo>
                  <a:lnTo>
                    <a:pt x="2474583" y="159836"/>
                  </a:lnTo>
                  <a:lnTo>
                    <a:pt x="2466245" y="161464"/>
                  </a:lnTo>
                  <a:lnTo>
                    <a:pt x="2453762" y="155000"/>
                  </a:lnTo>
                  <a:lnTo>
                    <a:pt x="2445423" y="158257"/>
                  </a:lnTo>
                  <a:lnTo>
                    <a:pt x="2439157" y="155000"/>
                  </a:lnTo>
                  <a:lnTo>
                    <a:pt x="2437085" y="150066"/>
                  </a:lnTo>
                  <a:lnTo>
                    <a:pt x="2441279" y="146859"/>
                  </a:lnTo>
                  <a:lnTo>
                    <a:pt x="2439157" y="140396"/>
                  </a:lnTo>
                  <a:lnTo>
                    <a:pt x="2445423" y="137189"/>
                  </a:lnTo>
                  <a:lnTo>
                    <a:pt x="2449568" y="137189"/>
                  </a:lnTo>
                  <a:lnTo>
                    <a:pt x="2453762" y="142123"/>
                  </a:lnTo>
                  <a:lnTo>
                    <a:pt x="2464173" y="142123"/>
                  </a:lnTo>
                  <a:lnTo>
                    <a:pt x="2470390" y="140494"/>
                  </a:lnTo>
                  <a:lnTo>
                    <a:pt x="2464173" y="135560"/>
                  </a:lnTo>
                  <a:lnTo>
                    <a:pt x="2458252" y="135560"/>
                  </a:lnTo>
                  <a:lnTo>
                    <a:pt x="2452035" y="130626"/>
                  </a:lnTo>
                  <a:lnTo>
                    <a:pt x="2454107" y="127370"/>
                  </a:lnTo>
                  <a:lnTo>
                    <a:pt x="2464518" y="127370"/>
                  </a:lnTo>
                  <a:lnTo>
                    <a:pt x="2472857" y="120906"/>
                  </a:lnTo>
                  <a:lnTo>
                    <a:pt x="2485340" y="120906"/>
                  </a:lnTo>
                  <a:lnTo>
                    <a:pt x="2491606" y="115972"/>
                  </a:lnTo>
                  <a:lnTo>
                    <a:pt x="2497724" y="115972"/>
                  </a:lnTo>
                  <a:lnTo>
                    <a:pt x="2501918" y="119229"/>
                  </a:lnTo>
                  <a:lnTo>
                    <a:pt x="2508135" y="117600"/>
                  </a:lnTo>
                  <a:lnTo>
                    <a:pt x="2508135" y="114393"/>
                  </a:lnTo>
                  <a:lnTo>
                    <a:pt x="2503990" y="111137"/>
                  </a:lnTo>
                  <a:lnTo>
                    <a:pt x="2489188" y="112765"/>
                  </a:lnTo>
                  <a:lnTo>
                    <a:pt x="2476656" y="114393"/>
                  </a:lnTo>
                  <a:lnTo>
                    <a:pt x="2468366" y="117600"/>
                  </a:lnTo>
                  <a:lnTo>
                    <a:pt x="2459979" y="117600"/>
                  </a:lnTo>
                  <a:lnTo>
                    <a:pt x="2455834" y="122535"/>
                  </a:lnTo>
                  <a:lnTo>
                    <a:pt x="2449568" y="122535"/>
                  </a:lnTo>
                  <a:lnTo>
                    <a:pt x="2449568" y="111433"/>
                  </a:lnTo>
                  <a:lnTo>
                    <a:pt x="2457906" y="108226"/>
                  </a:lnTo>
                  <a:lnTo>
                    <a:pt x="2468366" y="101762"/>
                  </a:lnTo>
                  <a:lnTo>
                    <a:pt x="2478777" y="101762"/>
                  </a:lnTo>
                  <a:lnTo>
                    <a:pt x="2484994" y="98555"/>
                  </a:lnTo>
                  <a:lnTo>
                    <a:pt x="2476656" y="98555"/>
                  </a:lnTo>
                  <a:lnTo>
                    <a:pt x="2472511" y="95299"/>
                  </a:lnTo>
                  <a:lnTo>
                    <a:pt x="2474583" y="87256"/>
                  </a:lnTo>
                  <a:lnTo>
                    <a:pt x="2470390" y="88835"/>
                  </a:lnTo>
                  <a:lnTo>
                    <a:pt x="2470390" y="93769"/>
                  </a:lnTo>
                  <a:lnTo>
                    <a:pt x="2466245" y="96976"/>
                  </a:lnTo>
                  <a:lnTo>
                    <a:pt x="2464173" y="90513"/>
                  </a:lnTo>
                  <a:lnTo>
                    <a:pt x="2459979" y="90513"/>
                  </a:lnTo>
                  <a:lnTo>
                    <a:pt x="2455834" y="93769"/>
                  </a:lnTo>
                  <a:lnTo>
                    <a:pt x="2449568" y="95348"/>
                  </a:lnTo>
                  <a:lnTo>
                    <a:pt x="2449568" y="100282"/>
                  </a:lnTo>
                  <a:lnTo>
                    <a:pt x="2445423" y="103539"/>
                  </a:lnTo>
                  <a:lnTo>
                    <a:pt x="2437085" y="106746"/>
                  </a:lnTo>
                  <a:lnTo>
                    <a:pt x="2437085" y="93720"/>
                  </a:lnTo>
                  <a:lnTo>
                    <a:pt x="2435012" y="93720"/>
                  </a:lnTo>
                  <a:lnTo>
                    <a:pt x="2432940" y="87256"/>
                  </a:lnTo>
                  <a:lnTo>
                    <a:pt x="2435012" y="85628"/>
                  </a:lnTo>
                  <a:lnTo>
                    <a:pt x="2439157" y="87256"/>
                  </a:lnTo>
                  <a:lnTo>
                    <a:pt x="2441279" y="80793"/>
                  </a:lnTo>
                  <a:lnTo>
                    <a:pt x="2447496" y="77585"/>
                  </a:lnTo>
                  <a:lnTo>
                    <a:pt x="2455834" y="79164"/>
                  </a:lnTo>
                  <a:lnTo>
                    <a:pt x="2457906" y="72701"/>
                  </a:lnTo>
                  <a:lnTo>
                    <a:pt x="2466245" y="69494"/>
                  </a:lnTo>
                  <a:lnTo>
                    <a:pt x="2472511" y="69494"/>
                  </a:lnTo>
                  <a:lnTo>
                    <a:pt x="2482922" y="64560"/>
                  </a:lnTo>
                  <a:lnTo>
                    <a:pt x="2499599" y="64560"/>
                  </a:lnTo>
                  <a:lnTo>
                    <a:pt x="2501671" y="61352"/>
                  </a:lnTo>
                  <a:lnTo>
                    <a:pt x="2507888" y="62931"/>
                  </a:lnTo>
                  <a:lnTo>
                    <a:pt x="2507888" y="67865"/>
                  </a:lnTo>
                  <a:lnTo>
                    <a:pt x="2505816" y="71122"/>
                  </a:lnTo>
                  <a:lnTo>
                    <a:pt x="2505816" y="85628"/>
                  </a:lnTo>
                  <a:lnTo>
                    <a:pt x="2510010" y="84000"/>
                  </a:lnTo>
                  <a:lnTo>
                    <a:pt x="2514154" y="74132"/>
                  </a:lnTo>
                  <a:lnTo>
                    <a:pt x="2518299" y="70925"/>
                  </a:lnTo>
                  <a:lnTo>
                    <a:pt x="2520420" y="74132"/>
                  </a:lnTo>
                  <a:lnTo>
                    <a:pt x="2518299" y="77388"/>
                  </a:lnTo>
                  <a:lnTo>
                    <a:pt x="2520420" y="80595"/>
                  </a:lnTo>
                  <a:lnTo>
                    <a:pt x="2524615" y="78967"/>
                  </a:lnTo>
                  <a:lnTo>
                    <a:pt x="2524615" y="74033"/>
                  </a:lnTo>
                  <a:lnTo>
                    <a:pt x="2526637" y="70826"/>
                  </a:lnTo>
                  <a:lnTo>
                    <a:pt x="2524615" y="65892"/>
                  </a:lnTo>
                  <a:lnTo>
                    <a:pt x="2526637" y="59428"/>
                  </a:lnTo>
                  <a:lnTo>
                    <a:pt x="2530831" y="57800"/>
                  </a:lnTo>
                  <a:lnTo>
                    <a:pt x="2539170" y="51336"/>
                  </a:lnTo>
                  <a:lnTo>
                    <a:pt x="2543314" y="51336"/>
                  </a:lnTo>
                  <a:lnTo>
                    <a:pt x="2545436" y="57800"/>
                  </a:lnTo>
                  <a:lnTo>
                    <a:pt x="2545436" y="64264"/>
                  </a:lnTo>
                  <a:lnTo>
                    <a:pt x="2551653" y="67471"/>
                  </a:lnTo>
                  <a:lnTo>
                    <a:pt x="2551653" y="75957"/>
                  </a:lnTo>
                  <a:lnTo>
                    <a:pt x="2549581" y="80891"/>
                  </a:lnTo>
                  <a:lnTo>
                    <a:pt x="2553725" y="85825"/>
                  </a:lnTo>
                  <a:lnTo>
                    <a:pt x="2551653" y="90759"/>
                  </a:lnTo>
                  <a:lnTo>
                    <a:pt x="2557919" y="94016"/>
                  </a:lnTo>
                  <a:lnTo>
                    <a:pt x="2559992" y="92388"/>
                  </a:lnTo>
                  <a:lnTo>
                    <a:pt x="2557919" y="87454"/>
                  </a:lnTo>
                  <a:lnTo>
                    <a:pt x="2555847" y="79362"/>
                  </a:lnTo>
                  <a:lnTo>
                    <a:pt x="2559992" y="77783"/>
                  </a:lnTo>
                  <a:lnTo>
                    <a:pt x="2568330" y="67915"/>
                  </a:lnTo>
                  <a:lnTo>
                    <a:pt x="2572475" y="67915"/>
                  </a:lnTo>
                  <a:lnTo>
                    <a:pt x="2578741" y="76007"/>
                  </a:lnTo>
                  <a:lnTo>
                    <a:pt x="2578741" y="83852"/>
                  </a:lnTo>
                  <a:lnTo>
                    <a:pt x="2576669" y="90463"/>
                  </a:lnTo>
                  <a:lnTo>
                    <a:pt x="2580813" y="93720"/>
                  </a:lnTo>
                  <a:lnTo>
                    <a:pt x="2582885" y="98654"/>
                  </a:lnTo>
                  <a:lnTo>
                    <a:pt x="2584958" y="93720"/>
                  </a:lnTo>
                  <a:lnTo>
                    <a:pt x="2584958" y="85628"/>
                  </a:lnTo>
                  <a:lnTo>
                    <a:pt x="2589152" y="85628"/>
                  </a:lnTo>
                  <a:lnTo>
                    <a:pt x="2593296" y="82421"/>
                  </a:lnTo>
                  <a:lnTo>
                    <a:pt x="2595368" y="85628"/>
                  </a:lnTo>
                  <a:lnTo>
                    <a:pt x="2593296" y="88835"/>
                  </a:lnTo>
                  <a:lnTo>
                    <a:pt x="2593296" y="93769"/>
                  </a:lnTo>
                  <a:lnTo>
                    <a:pt x="2597490" y="96976"/>
                  </a:lnTo>
                  <a:lnTo>
                    <a:pt x="2601635" y="92042"/>
                  </a:lnTo>
                  <a:lnTo>
                    <a:pt x="2605779" y="92042"/>
                  </a:lnTo>
                  <a:lnTo>
                    <a:pt x="2603855" y="98654"/>
                  </a:lnTo>
                  <a:lnTo>
                    <a:pt x="2608049" y="95397"/>
                  </a:lnTo>
                  <a:lnTo>
                    <a:pt x="2608049" y="87256"/>
                  </a:lnTo>
                  <a:lnTo>
                    <a:pt x="2601783" y="79164"/>
                  </a:lnTo>
                  <a:lnTo>
                    <a:pt x="2599710" y="79164"/>
                  </a:lnTo>
                  <a:lnTo>
                    <a:pt x="2595517" y="74230"/>
                  </a:lnTo>
                  <a:lnTo>
                    <a:pt x="2595517" y="67865"/>
                  </a:lnTo>
                  <a:lnTo>
                    <a:pt x="2591372" y="62931"/>
                  </a:lnTo>
                  <a:lnTo>
                    <a:pt x="2587227" y="57997"/>
                  </a:lnTo>
                  <a:lnTo>
                    <a:pt x="2583033" y="54790"/>
                  </a:lnTo>
                  <a:lnTo>
                    <a:pt x="2585106" y="48327"/>
                  </a:lnTo>
                  <a:lnTo>
                    <a:pt x="2593444" y="48327"/>
                  </a:lnTo>
                  <a:lnTo>
                    <a:pt x="2597638" y="51534"/>
                  </a:lnTo>
                  <a:lnTo>
                    <a:pt x="2605927" y="49955"/>
                  </a:lnTo>
                  <a:lnTo>
                    <a:pt x="2610121" y="51534"/>
                  </a:lnTo>
                  <a:lnTo>
                    <a:pt x="2614315" y="48327"/>
                  </a:lnTo>
                  <a:lnTo>
                    <a:pt x="2614315" y="37225"/>
                  </a:lnTo>
                  <a:lnTo>
                    <a:pt x="2610121" y="32291"/>
                  </a:lnTo>
                  <a:lnTo>
                    <a:pt x="2612194" y="27357"/>
                  </a:lnTo>
                  <a:lnTo>
                    <a:pt x="2620532" y="25729"/>
                  </a:lnTo>
                  <a:lnTo>
                    <a:pt x="2622604" y="27357"/>
                  </a:lnTo>
                  <a:lnTo>
                    <a:pt x="2635137" y="28936"/>
                  </a:lnTo>
                  <a:lnTo>
                    <a:pt x="2641354" y="32192"/>
                  </a:lnTo>
                  <a:lnTo>
                    <a:pt x="2641354" y="37126"/>
                  </a:lnTo>
                  <a:lnTo>
                    <a:pt x="2635137" y="40334"/>
                  </a:lnTo>
                  <a:lnTo>
                    <a:pt x="2637160" y="43590"/>
                  </a:lnTo>
                  <a:lnTo>
                    <a:pt x="2651962" y="48524"/>
                  </a:lnTo>
                  <a:lnTo>
                    <a:pt x="2651962" y="51731"/>
                  </a:lnTo>
                  <a:lnTo>
                    <a:pt x="2649890" y="61599"/>
                  </a:lnTo>
                  <a:lnTo>
                    <a:pt x="2649890" y="74477"/>
                  </a:lnTo>
                  <a:lnTo>
                    <a:pt x="2656156" y="72849"/>
                  </a:lnTo>
                  <a:lnTo>
                    <a:pt x="2660301" y="64806"/>
                  </a:lnTo>
                  <a:lnTo>
                    <a:pt x="2662373" y="64806"/>
                  </a:lnTo>
                  <a:lnTo>
                    <a:pt x="2664494" y="71270"/>
                  </a:lnTo>
                  <a:lnTo>
                    <a:pt x="2666567" y="74477"/>
                  </a:lnTo>
                  <a:lnTo>
                    <a:pt x="2672783" y="71270"/>
                  </a:lnTo>
                  <a:lnTo>
                    <a:pt x="2674905" y="66336"/>
                  </a:lnTo>
                  <a:lnTo>
                    <a:pt x="2683195" y="63079"/>
                  </a:lnTo>
                  <a:lnTo>
                    <a:pt x="2685316" y="59872"/>
                  </a:lnTo>
                  <a:lnTo>
                    <a:pt x="2681171" y="48573"/>
                  </a:lnTo>
                  <a:lnTo>
                    <a:pt x="2685316" y="43639"/>
                  </a:lnTo>
                  <a:lnTo>
                    <a:pt x="2689461" y="43639"/>
                  </a:lnTo>
                  <a:lnTo>
                    <a:pt x="2693605" y="46846"/>
                  </a:lnTo>
                  <a:lnTo>
                    <a:pt x="2704065" y="46846"/>
                  </a:lnTo>
                  <a:lnTo>
                    <a:pt x="2704065" y="41912"/>
                  </a:lnTo>
                  <a:lnTo>
                    <a:pt x="2693605" y="35449"/>
                  </a:lnTo>
                  <a:lnTo>
                    <a:pt x="2691582" y="27406"/>
                  </a:lnTo>
                  <a:lnTo>
                    <a:pt x="2693605" y="24150"/>
                  </a:lnTo>
                  <a:lnTo>
                    <a:pt x="2695727" y="19216"/>
                  </a:lnTo>
                  <a:lnTo>
                    <a:pt x="2699871" y="17637"/>
                  </a:lnTo>
                  <a:lnTo>
                    <a:pt x="2714673" y="24051"/>
                  </a:lnTo>
                  <a:lnTo>
                    <a:pt x="2714673" y="33919"/>
                  </a:lnTo>
                  <a:lnTo>
                    <a:pt x="2716746" y="40334"/>
                  </a:lnTo>
                  <a:lnTo>
                    <a:pt x="2716746" y="46797"/>
                  </a:lnTo>
                  <a:lnTo>
                    <a:pt x="2718818" y="51731"/>
                  </a:lnTo>
                  <a:lnTo>
                    <a:pt x="2720890" y="59823"/>
                  </a:lnTo>
                  <a:lnTo>
                    <a:pt x="2725084" y="66287"/>
                  </a:lnTo>
                  <a:lnTo>
                    <a:pt x="2727157" y="63030"/>
                  </a:lnTo>
                  <a:lnTo>
                    <a:pt x="2729229" y="56566"/>
                  </a:lnTo>
                  <a:lnTo>
                    <a:pt x="2727157" y="51632"/>
                  </a:lnTo>
                  <a:lnTo>
                    <a:pt x="2727157" y="43689"/>
                  </a:lnTo>
                  <a:lnTo>
                    <a:pt x="2723012" y="33821"/>
                  </a:lnTo>
                  <a:lnTo>
                    <a:pt x="2723012" y="12999"/>
                  </a:lnTo>
                  <a:lnTo>
                    <a:pt x="2725084" y="6585"/>
                  </a:lnTo>
                  <a:lnTo>
                    <a:pt x="2729229" y="6585"/>
                  </a:lnTo>
                  <a:lnTo>
                    <a:pt x="2737617" y="11519"/>
                  </a:lnTo>
                  <a:lnTo>
                    <a:pt x="2741712" y="11519"/>
                  </a:lnTo>
                  <a:lnTo>
                    <a:pt x="2743834" y="13098"/>
                  </a:lnTo>
                  <a:lnTo>
                    <a:pt x="2743834" y="22966"/>
                  </a:lnTo>
                  <a:lnTo>
                    <a:pt x="2748027" y="29380"/>
                  </a:lnTo>
                  <a:lnTo>
                    <a:pt x="2748027" y="45514"/>
                  </a:lnTo>
                  <a:lnTo>
                    <a:pt x="2752172" y="47142"/>
                  </a:lnTo>
                  <a:lnTo>
                    <a:pt x="2752172" y="42208"/>
                  </a:lnTo>
                  <a:lnTo>
                    <a:pt x="2754244" y="37274"/>
                  </a:lnTo>
                  <a:lnTo>
                    <a:pt x="2756317" y="37274"/>
                  </a:lnTo>
                  <a:lnTo>
                    <a:pt x="2768849" y="50202"/>
                  </a:lnTo>
                  <a:lnTo>
                    <a:pt x="2770921" y="48573"/>
                  </a:lnTo>
                  <a:lnTo>
                    <a:pt x="2777138" y="46945"/>
                  </a:lnTo>
                  <a:lnTo>
                    <a:pt x="2777138" y="43738"/>
                  </a:lnTo>
                  <a:lnTo>
                    <a:pt x="2770921" y="42110"/>
                  </a:lnTo>
                  <a:lnTo>
                    <a:pt x="2766728" y="35646"/>
                  </a:lnTo>
                  <a:lnTo>
                    <a:pt x="2768849" y="34067"/>
                  </a:lnTo>
                  <a:lnTo>
                    <a:pt x="2768849" y="29133"/>
                  </a:lnTo>
                  <a:lnTo>
                    <a:pt x="2760511" y="24199"/>
                  </a:lnTo>
                  <a:lnTo>
                    <a:pt x="2758439" y="19265"/>
                  </a:lnTo>
                  <a:lnTo>
                    <a:pt x="2760511" y="16058"/>
                  </a:lnTo>
                  <a:lnTo>
                    <a:pt x="2768849" y="16058"/>
                  </a:lnTo>
                  <a:lnTo>
                    <a:pt x="2764655" y="12802"/>
                  </a:lnTo>
                  <a:lnTo>
                    <a:pt x="2758439" y="12802"/>
                  </a:lnTo>
                  <a:lnTo>
                    <a:pt x="2754244" y="7868"/>
                  </a:lnTo>
                  <a:lnTo>
                    <a:pt x="2758439" y="6289"/>
                  </a:lnTo>
                  <a:lnTo>
                    <a:pt x="2764162" y="6289"/>
                  </a:lnTo>
                  <a:lnTo>
                    <a:pt x="2772599" y="-27"/>
                  </a:lnTo>
                  <a:lnTo>
                    <a:pt x="2787154" y="1552"/>
                  </a:lnTo>
                  <a:lnTo>
                    <a:pt x="2791348" y="4808"/>
                  </a:lnTo>
                  <a:lnTo>
                    <a:pt x="2789276" y="12851"/>
                  </a:lnTo>
                  <a:lnTo>
                    <a:pt x="2785082" y="17785"/>
                  </a:lnTo>
                  <a:lnTo>
                    <a:pt x="2787154" y="20992"/>
                  </a:lnTo>
                  <a:lnTo>
                    <a:pt x="2793421" y="20992"/>
                  </a:lnTo>
                  <a:lnTo>
                    <a:pt x="2797565" y="12900"/>
                  </a:lnTo>
                  <a:lnTo>
                    <a:pt x="2801759" y="9693"/>
                  </a:lnTo>
                  <a:lnTo>
                    <a:pt x="2803831" y="14627"/>
                  </a:lnTo>
                  <a:lnTo>
                    <a:pt x="2799687" y="22719"/>
                  </a:lnTo>
                  <a:lnTo>
                    <a:pt x="2803831" y="24298"/>
                  </a:lnTo>
                  <a:lnTo>
                    <a:pt x="2807976" y="24298"/>
                  </a:lnTo>
                  <a:lnTo>
                    <a:pt x="2810098" y="21091"/>
                  </a:lnTo>
                  <a:lnTo>
                    <a:pt x="2818436" y="14775"/>
                  </a:lnTo>
                  <a:lnTo>
                    <a:pt x="2822630" y="16403"/>
                  </a:lnTo>
                  <a:lnTo>
                    <a:pt x="2820558" y="24446"/>
                  </a:lnTo>
                  <a:lnTo>
                    <a:pt x="2818436" y="29380"/>
                  </a:lnTo>
                  <a:lnTo>
                    <a:pt x="2820558" y="39248"/>
                  </a:lnTo>
                  <a:lnTo>
                    <a:pt x="2816364" y="44182"/>
                  </a:lnTo>
                  <a:lnTo>
                    <a:pt x="2818436" y="47389"/>
                  </a:lnTo>
                  <a:lnTo>
                    <a:pt x="2826824" y="45761"/>
                  </a:lnTo>
                  <a:lnTo>
                    <a:pt x="2833041" y="47389"/>
                  </a:lnTo>
                  <a:lnTo>
                    <a:pt x="2835113" y="44182"/>
                  </a:lnTo>
                  <a:lnTo>
                    <a:pt x="2835113" y="35597"/>
                  </a:lnTo>
                  <a:lnTo>
                    <a:pt x="2839258" y="24298"/>
                  </a:lnTo>
                  <a:lnTo>
                    <a:pt x="2835113" y="11420"/>
                  </a:lnTo>
                  <a:lnTo>
                    <a:pt x="2835113" y="1552"/>
                  </a:lnTo>
                  <a:lnTo>
                    <a:pt x="2841380" y="-27"/>
                  </a:lnTo>
                  <a:lnTo>
                    <a:pt x="2845573" y="3180"/>
                  </a:lnTo>
                  <a:lnTo>
                    <a:pt x="2849718" y="3180"/>
                  </a:lnTo>
                  <a:lnTo>
                    <a:pt x="2857909" y="4907"/>
                  </a:lnTo>
                  <a:lnTo>
                    <a:pt x="2866247" y="1651"/>
                  </a:lnTo>
                  <a:lnTo>
                    <a:pt x="2874536" y="4907"/>
                  </a:lnTo>
                  <a:lnTo>
                    <a:pt x="2876658" y="9841"/>
                  </a:lnTo>
                  <a:lnTo>
                    <a:pt x="2887069" y="11469"/>
                  </a:lnTo>
                  <a:lnTo>
                    <a:pt x="2895358" y="9841"/>
                  </a:lnTo>
                  <a:lnTo>
                    <a:pt x="2903746" y="14775"/>
                  </a:lnTo>
                  <a:lnTo>
                    <a:pt x="2905769" y="19709"/>
                  </a:lnTo>
                  <a:lnTo>
                    <a:pt x="2907890" y="22966"/>
                  </a:lnTo>
                  <a:lnTo>
                    <a:pt x="2909963" y="31008"/>
                  </a:lnTo>
                  <a:lnTo>
                    <a:pt x="2905769" y="37472"/>
                  </a:lnTo>
                  <a:lnTo>
                    <a:pt x="2907890" y="40679"/>
                  </a:lnTo>
                  <a:lnTo>
                    <a:pt x="2912035" y="39100"/>
                  </a:lnTo>
                  <a:lnTo>
                    <a:pt x="2920373" y="32636"/>
                  </a:lnTo>
                  <a:lnTo>
                    <a:pt x="2930784" y="24545"/>
                  </a:lnTo>
                  <a:lnTo>
                    <a:pt x="2937050" y="19611"/>
                  </a:lnTo>
                  <a:lnTo>
                    <a:pt x="2943267" y="19611"/>
                  </a:lnTo>
                  <a:lnTo>
                    <a:pt x="2951606" y="24545"/>
                  </a:lnTo>
                  <a:lnTo>
                    <a:pt x="2962017" y="24545"/>
                  </a:lnTo>
                  <a:lnTo>
                    <a:pt x="2959994" y="27801"/>
                  </a:lnTo>
                  <a:lnTo>
                    <a:pt x="2951655" y="35597"/>
                  </a:lnTo>
                  <a:lnTo>
                    <a:pt x="2955849" y="40531"/>
                  </a:lnTo>
                  <a:lnTo>
                    <a:pt x="2960043" y="38952"/>
                  </a:lnTo>
                  <a:lnTo>
                    <a:pt x="2962066" y="34018"/>
                  </a:lnTo>
                  <a:lnTo>
                    <a:pt x="2970454" y="27554"/>
                  </a:lnTo>
                  <a:lnTo>
                    <a:pt x="2976671" y="25926"/>
                  </a:lnTo>
                  <a:lnTo>
                    <a:pt x="2987082" y="30860"/>
                  </a:lnTo>
                  <a:lnTo>
                    <a:pt x="3001884" y="32488"/>
                  </a:lnTo>
                  <a:lnTo>
                    <a:pt x="3006028" y="37422"/>
                  </a:lnTo>
                  <a:lnTo>
                    <a:pt x="3001884" y="40630"/>
                  </a:lnTo>
                  <a:lnTo>
                    <a:pt x="2997690" y="40630"/>
                  </a:lnTo>
                  <a:lnTo>
                    <a:pt x="2999762" y="45564"/>
                  </a:lnTo>
                  <a:lnTo>
                    <a:pt x="2995617" y="48820"/>
                  </a:lnTo>
                  <a:lnTo>
                    <a:pt x="2999762" y="53754"/>
                  </a:lnTo>
                  <a:lnTo>
                    <a:pt x="3003956" y="50547"/>
                  </a:lnTo>
                  <a:lnTo>
                    <a:pt x="3010173" y="47290"/>
                  </a:lnTo>
                  <a:lnTo>
                    <a:pt x="3012294" y="53754"/>
                  </a:lnTo>
                  <a:lnTo>
                    <a:pt x="3016439" y="55382"/>
                  </a:lnTo>
                  <a:lnTo>
                    <a:pt x="3020584" y="50448"/>
                  </a:lnTo>
                  <a:lnTo>
                    <a:pt x="3030995" y="48820"/>
                  </a:lnTo>
                  <a:lnTo>
                    <a:pt x="3030995" y="53754"/>
                  </a:lnTo>
                  <a:lnTo>
                    <a:pt x="3026850" y="58688"/>
                  </a:lnTo>
                  <a:lnTo>
                    <a:pt x="3028971" y="61945"/>
                  </a:lnTo>
                  <a:lnTo>
                    <a:pt x="3033116" y="63523"/>
                  </a:lnTo>
                  <a:lnTo>
                    <a:pt x="3037261" y="60316"/>
                  </a:lnTo>
                  <a:lnTo>
                    <a:pt x="3043527" y="57060"/>
                  </a:lnTo>
                  <a:lnTo>
                    <a:pt x="3045599" y="57060"/>
                  </a:lnTo>
                  <a:lnTo>
                    <a:pt x="3049793" y="61994"/>
                  </a:lnTo>
                  <a:lnTo>
                    <a:pt x="3062276" y="68408"/>
                  </a:lnTo>
                  <a:lnTo>
                    <a:pt x="3068543" y="68408"/>
                  </a:lnTo>
                  <a:lnTo>
                    <a:pt x="3070615" y="71665"/>
                  </a:lnTo>
                  <a:lnTo>
                    <a:pt x="3066421" y="74872"/>
                  </a:lnTo>
                  <a:lnTo>
                    <a:pt x="3053938" y="79806"/>
                  </a:lnTo>
                  <a:lnTo>
                    <a:pt x="3045402" y="87256"/>
                  </a:lnTo>
                  <a:lnTo>
                    <a:pt x="3037063" y="88835"/>
                  </a:lnTo>
                  <a:lnTo>
                    <a:pt x="3028774" y="92092"/>
                  </a:lnTo>
                  <a:lnTo>
                    <a:pt x="3022508" y="92092"/>
                  </a:lnTo>
                  <a:lnTo>
                    <a:pt x="3016242" y="90463"/>
                  </a:lnTo>
                  <a:lnTo>
                    <a:pt x="3014169" y="93720"/>
                  </a:lnTo>
                  <a:lnTo>
                    <a:pt x="3003759" y="96927"/>
                  </a:lnTo>
                  <a:lnTo>
                    <a:pt x="3018314" y="96927"/>
                  </a:lnTo>
                  <a:lnTo>
                    <a:pt x="3033116" y="98555"/>
                  </a:lnTo>
                  <a:lnTo>
                    <a:pt x="3037261" y="100134"/>
                  </a:lnTo>
                  <a:lnTo>
                    <a:pt x="3043527" y="100134"/>
                  </a:lnTo>
                  <a:lnTo>
                    <a:pt x="3047672" y="95200"/>
                  </a:lnTo>
                  <a:lnTo>
                    <a:pt x="3049793" y="91993"/>
                  </a:lnTo>
                  <a:lnTo>
                    <a:pt x="3058132" y="93621"/>
                  </a:lnTo>
                  <a:lnTo>
                    <a:pt x="3062276" y="87157"/>
                  </a:lnTo>
                  <a:lnTo>
                    <a:pt x="3072687" y="82223"/>
                  </a:lnTo>
                  <a:lnTo>
                    <a:pt x="3081025" y="82223"/>
                  </a:lnTo>
                  <a:lnTo>
                    <a:pt x="3081025" y="87157"/>
                  </a:lnTo>
                  <a:lnTo>
                    <a:pt x="3078953" y="93621"/>
                  </a:lnTo>
                  <a:lnTo>
                    <a:pt x="3081025" y="96828"/>
                  </a:lnTo>
                  <a:lnTo>
                    <a:pt x="3085170" y="95200"/>
                  </a:lnTo>
                  <a:lnTo>
                    <a:pt x="3087242" y="88736"/>
                  </a:lnTo>
                  <a:lnTo>
                    <a:pt x="3095630" y="83802"/>
                  </a:lnTo>
                  <a:lnTo>
                    <a:pt x="3097653" y="85431"/>
                  </a:lnTo>
                  <a:lnTo>
                    <a:pt x="3095630" y="91894"/>
                  </a:lnTo>
                  <a:lnTo>
                    <a:pt x="3095630" y="95101"/>
                  </a:lnTo>
                  <a:lnTo>
                    <a:pt x="3091436" y="98358"/>
                  </a:lnTo>
                  <a:lnTo>
                    <a:pt x="3093509" y="101565"/>
                  </a:lnTo>
                  <a:lnTo>
                    <a:pt x="3099775" y="99937"/>
                  </a:lnTo>
                  <a:lnTo>
                    <a:pt x="3103919" y="96730"/>
                  </a:lnTo>
                  <a:lnTo>
                    <a:pt x="3103919" y="91795"/>
                  </a:lnTo>
                  <a:lnTo>
                    <a:pt x="3112258" y="90167"/>
                  </a:lnTo>
                  <a:lnTo>
                    <a:pt x="3118524" y="91795"/>
                  </a:lnTo>
                  <a:lnTo>
                    <a:pt x="3114330" y="104673"/>
                  </a:lnTo>
                  <a:lnTo>
                    <a:pt x="3110186" y="106302"/>
                  </a:lnTo>
                  <a:lnTo>
                    <a:pt x="3112258" y="107930"/>
                  </a:lnTo>
                  <a:lnTo>
                    <a:pt x="3114330" y="115972"/>
                  </a:lnTo>
                  <a:lnTo>
                    <a:pt x="3114330" y="124064"/>
                  </a:lnTo>
                  <a:lnTo>
                    <a:pt x="3108064" y="127271"/>
                  </a:lnTo>
                  <a:lnTo>
                    <a:pt x="3106041" y="132205"/>
                  </a:lnTo>
                  <a:lnTo>
                    <a:pt x="3097653" y="142073"/>
                  </a:lnTo>
                  <a:lnTo>
                    <a:pt x="3099775" y="143652"/>
                  </a:lnTo>
                  <a:lnTo>
                    <a:pt x="3106041" y="142073"/>
                  </a:lnTo>
                  <a:lnTo>
                    <a:pt x="3110186" y="135610"/>
                  </a:lnTo>
                  <a:lnTo>
                    <a:pt x="3116452" y="135610"/>
                  </a:lnTo>
                  <a:lnTo>
                    <a:pt x="3118524" y="133981"/>
                  </a:lnTo>
                  <a:lnTo>
                    <a:pt x="3122669" y="133981"/>
                  </a:lnTo>
                  <a:lnTo>
                    <a:pt x="3131007" y="138916"/>
                  </a:lnTo>
                  <a:lnTo>
                    <a:pt x="3135152" y="147007"/>
                  </a:lnTo>
                  <a:lnTo>
                    <a:pt x="3135152" y="155050"/>
                  </a:lnTo>
                  <a:lnTo>
                    <a:pt x="3133080" y="169605"/>
                  </a:lnTo>
                  <a:lnTo>
                    <a:pt x="3124741" y="184111"/>
                  </a:lnTo>
                  <a:lnTo>
                    <a:pt x="3112258" y="190575"/>
                  </a:lnTo>
                  <a:lnTo>
                    <a:pt x="3108064" y="193782"/>
                  </a:lnTo>
                  <a:lnTo>
                    <a:pt x="3101847" y="192154"/>
                  </a:lnTo>
                  <a:lnTo>
                    <a:pt x="3093509" y="193782"/>
                  </a:lnTo>
                  <a:lnTo>
                    <a:pt x="3095630" y="196989"/>
                  </a:lnTo>
                  <a:lnTo>
                    <a:pt x="3089364" y="200246"/>
                  </a:lnTo>
                  <a:lnTo>
                    <a:pt x="3068543" y="210114"/>
                  </a:lnTo>
                  <a:lnTo>
                    <a:pt x="3060204" y="215048"/>
                  </a:lnTo>
                  <a:lnTo>
                    <a:pt x="3053938" y="216676"/>
                  </a:lnTo>
                  <a:lnTo>
                    <a:pt x="3043527" y="219883"/>
                  </a:lnTo>
                  <a:lnTo>
                    <a:pt x="3033116" y="219883"/>
                  </a:lnTo>
                  <a:lnTo>
                    <a:pt x="3026850" y="214949"/>
                  </a:lnTo>
                  <a:lnTo>
                    <a:pt x="3024778" y="221413"/>
                  </a:lnTo>
                  <a:lnTo>
                    <a:pt x="3020584" y="223041"/>
                  </a:lnTo>
                  <a:lnTo>
                    <a:pt x="3012294" y="218107"/>
                  </a:lnTo>
                  <a:lnTo>
                    <a:pt x="3003956" y="214850"/>
                  </a:lnTo>
                  <a:lnTo>
                    <a:pt x="2993545" y="213271"/>
                  </a:lnTo>
                  <a:lnTo>
                    <a:pt x="2993545" y="218205"/>
                  </a:lnTo>
                  <a:lnTo>
                    <a:pt x="3001884" y="218205"/>
                  </a:lnTo>
                  <a:lnTo>
                    <a:pt x="3006028" y="221413"/>
                  </a:lnTo>
                  <a:lnTo>
                    <a:pt x="3001884" y="223041"/>
                  </a:lnTo>
                  <a:lnTo>
                    <a:pt x="2991127" y="221166"/>
                  </a:lnTo>
                  <a:lnTo>
                    <a:pt x="2986934" y="222794"/>
                  </a:lnTo>
                  <a:lnTo>
                    <a:pt x="2980717" y="219538"/>
                  </a:lnTo>
                  <a:lnTo>
                    <a:pt x="2968184" y="217959"/>
                  </a:lnTo>
                  <a:lnTo>
                    <a:pt x="2964040" y="214702"/>
                  </a:lnTo>
                  <a:lnTo>
                    <a:pt x="2959895" y="216331"/>
                  </a:lnTo>
                  <a:lnTo>
                    <a:pt x="2955701" y="216331"/>
                  </a:lnTo>
                  <a:lnTo>
                    <a:pt x="2945290" y="206462"/>
                  </a:lnTo>
                  <a:lnTo>
                    <a:pt x="2939073" y="199999"/>
                  </a:lnTo>
                  <a:lnTo>
                    <a:pt x="2939073" y="206462"/>
                  </a:lnTo>
                  <a:lnTo>
                    <a:pt x="2947363" y="212926"/>
                  </a:lnTo>
                  <a:lnTo>
                    <a:pt x="2949484" y="216133"/>
                  </a:lnTo>
                  <a:lnTo>
                    <a:pt x="2943169" y="216133"/>
                  </a:lnTo>
                  <a:lnTo>
                    <a:pt x="2932758" y="212926"/>
                  </a:lnTo>
                  <a:lnTo>
                    <a:pt x="2936952" y="219340"/>
                  </a:lnTo>
                  <a:lnTo>
                    <a:pt x="2959895" y="220969"/>
                  </a:lnTo>
                  <a:lnTo>
                    <a:pt x="2974450" y="224176"/>
                  </a:lnTo>
                  <a:lnTo>
                    <a:pt x="2978595" y="227432"/>
                  </a:lnTo>
                  <a:lnTo>
                    <a:pt x="2972378" y="232366"/>
                  </a:lnTo>
                  <a:lnTo>
                    <a:pt x="2941096" y="242234"/>
                  </a:lnTo>
                  <a:lnTo>
                    <a:pt x="2920275" y="245491"/>
                  </a:lnTo>
                  <a:lnTo>
                    <a:pt x="2914058" y="245491"/>
                  </a:lnTo>
                  <a:lnTo>
                    <a:pt x="2901526" y="247070"/>
                  </a:lnTo>
                  <a:lnTo>
                    <a:pt x="2893434" y="247070"/>
                  </a:lnTo>
                  <a:lnTo>
                    <a:pt x="2891312" y="242136"/>
                  </a:lnTo>
                  <a:lnTo>
                    <a:pt x="2885046" y="245392"/>
                  </a:lnTo>
                  <a:lnTo>
                    <a:pt x="2878829" y="243764"/>
                  </a:lnTo>
                  <a:lnTo>
                    <a:pt x="2872562" y="245392"/>
                  </a:lnTo>
                  <a:lnTo>
                    <a:pt x="2868418" y="250326"/>
                  </a:lnTo>
                  <a:lnTo>
                    <a:pt x="2874635" y="250326"/>
                  </a:lnTo>
                  <a:lnTo>
                    <a:pt x="2876757" y="255260"/>
                  </a:lnTo>
                  <a:lnTo>
                    <a:pt x="2887167" y="250326"/>
                  </a:lnTo>
                  <a:lnTo>
                    <a:pt x="2907989" y="250326"/>
                  </a:lnTo>
                  <a:lnTo>
                    <a:pt x="2916328" y="251905"/>
                  </a:lnTo>
                  <a:lnTo>
                    <a:pt x="2943366" y="250326"/>
                  </a:lnTo>
                  <a:lnTo>
                    <a:pt x="2962115" y="247070"/>
                  </a:lnTo>
                  <a:lnTo>
                    <a:pt x="2972575" y="237202"/>
                  </a:lnTo>
                  <a:lnTo>
                    <a:pt x="2980914" y="237202"/>
                  </a:lnTo>
                  <a:lnTo>
                    <a:pt x="2987131" y="238830"/>
                  </a:lnTo>
                  <a:lnTo>
                    <a:pt x="3005930" y="238830"/>
                  </a:lnTo>
                  <a:lnTo>
                    <a:pt x="3001785" y="246872"/>
                  </a:lnTo>
                  <a:lnTo>
                    <a:pt x="2995519" y="254964"/>
                  </a:lnTo>
                  <a:lnTo>
                    <a:pt x="2985059" y="261477"/>
                  </a:lnTo>
                  <a:lnTo>
                    <a:pt x="2980914" y="263056"/>
                  </a:lnTo>
                  <a:lnTo>
                    <a:pt x="2966457" y="266411"/>
                  </a:lnTo>
                  <a:lnTo>
                    <a:pt x="2960240" y="272825"/>
                  </a:lnTo>
                  <a:lnTo>
                    <a:pt x="2956047" y="272825"/>
                  </a:lnTo>
                  <a:lnTo>
                    <a:pt x="2947708" y="279289"/>
                  </a:lnTo>
                  <a:lnTo>
                    <a:pt x="2937297" y="284223"/>
                  </a:lnTo>
                  <a:lnTo>
                    <a:pt x="2928959" y="284223"/>
                  </a:lnTo>
                  <a:lnTo>
                    <a:pt x="2924814" y="287479"/>
                  </a:lnTo>
                  <a:lnTo>
                    <a:pt x="2916476" y="285851"/>
                  </a:lnTo>
                  <a:lnTo>
                    <a:pt x="2910209" y="290785"/>
                  </a:lnTo>
                  <a:lnTo>
                    <a:pt x="2895407" y="294042"/>
                  </a:lnTo>
                  <a:lnTo>
                    <a:pt x="2891263" y="300456"/>
                  </a:lnTo>
                  <a:lnTo>
                    <a:pt x="2876707" y="302084"/>
                  </a:lnTo>
                  <a:lnTo>
                    <a:pt x="2870441" y="305341"/>
                  </a:lnTo>
                  <a:lnTo>
                    <a:pt x="2866296" y="303712"/>
                  </a:lnTo>
                  <a:lnTo>
                    <a:pt x="2860030" y="308646"/>
                  </a:lnTo>
                  <a:lnTo>
                    <a:pt x="2853764" y="308646"/>
                  </a:lnTo>
                  <a:lnTo>
                    <a:pt x="2851692" y="310275"/>
                  </a:lnTo>
                  <a:lnTo>
                    <a:pt x="2851692" y="318317"/>
                  </a:lnTo>
                  <a:lnTo>
                    <a:pt x="2843353" y="323251"/>
                  </a:lnTo>
                  <a:lnTo>
                    <a:pt x="2839159" y="328185"/>
                  </a:lnTo>
                  <a:lnTo>
                    <a:pt x="2822532" y="328185"/>
                  </a:lnTo>
                  <a:lnTo>
                    <a:pt x="2818337" y="331442"/>
                  </a:lnTo>
                  <a:lnTo>
                    <a:pt x="2812121" y="329813"/>
                  </a:lnTo>
                  <a:lnTo>
                    <a:pt x="2812121" y="326606"/>
                  </a:lnTo>
                  <a:lnTo>
                    <a:pt x="2814193" y="321672"/>
                  </a:lnTo>
                  <a:lnTo>
                    <a:pt x="2814193" y="316738"/>
                  </a:lnTo>
                  <a:lnTo>
                    <a:pt x="2810048" y="313531"/>
                  </a:lnTo>
                  <a:lnTo>
                    <a:pt x="2810048" y="321623"/>
                  </a:lnTo>
                  <a:lnTo>
                    <a:pt x="2807927" y="324830"/>
                  </a:lnTo>
                  <a:lnTo>
                    <a:pt x="2805855" y="329764"/>
                  </a:lnTo>
                  <a:lnTo>
                    <a:pt x="2814193" y="334698"/>
                  </a:lnTo>
                  <a:lnTo>
                    <a:pt x="2814193" y="339632"/>
                  </a:lnTo>
                  <a:lnTo>
                    <a:pt x="2807976" y="345356"/>
                  </a:lnTo>
                  <a:lnTo>
                    <a:pt x="2803634" y="345356"/>
                  </a:lnTo>
                  <a:lnTo>
                    <a:pt x="2797368" y="340422"/>
                  </a:lnTo>
                  <a:lnTo>
                    <a:pt x="2793223" y="343629"/>
                  </a:lnTo>
                  <a:lnTo>
                    <a:pt x="2780740" y="338695"/>
                  </a:lnTo>
                  <a:lnTo>
                    <a:pt x="2776546" y="341951"/>
                  </a:lnTo>
                  <a:lnTo>
                    <a:pt x="2770329" y="341951"/>
                  </a:lnTo>
                  <a:lnTo>
                    <a:pt x="2770329" y="337017"/>
                  </a:lnTo>
                  <a:lnTo>
                    <a:pt x="2768257" y="335389"/>
                  </a:lnTo>
                  <a:lnTo>
                    <a:pt x="2764162" y="340422"/>
                  </a:lnTo>
                  <a:lnTo>
                    <a:pt x="2757945" y="340422"/>
                  </a:lnTo>
                  <a:lnTo>
                    <a:pt x="2757945" y="343629"/>
                  </a:lnTo>
                  <a:lnTo>
                    <a:pt x="2770428" y="346885"/>
                  </a:lnTo>
                  <a:lnTo>
                    <a:pt x="2789177" y="346885"/>
                  </a:lnTo>
                  <a:lnTo>
                    <a:pt x="2793322" y="351819"/>
                  </a:lnTo>
                  <a:lnTo>
                    <a:pt x="2793322" y="356753"/>
                  </a:lnTo>
                  <a:lnTo>
                    <a:pt x="2784983" y="361687"/>
                  </a:lnTo>
                  <a:lnTo>
                    <a:pt x="2776645" y="360059"/>
                  </a:lnTo>
                  <a:lnTo>
                    <a:pt x="2766234" y="361687"/>
                  </a:lnTo>
                  <a:lnTo>
                    <a:pt x="2764162" y="364944"/>
                  </a:lnTo>
                  <a:lnTo>
                    <a:pt x="2768356" y="366523"/>
                  </a:lnTo>
                  <a:lnTo>
                    <a:pt x="2770428" y="364944"/>
                  </a:lnTo>
                  <a:lnTo>
                    <a:pt x="2776645" y="368151"/>
                  </a:lnTo>
                  <a:lnTo>
                    <a:pt x="2774573" y="373085"/>
                  </a:lnTo>
                  <a:lnTo>
                    <a:pt x="2764162" y="382953"/>
                  </a:lnTo>
                  <a:lnTo>
                    <a:pt x="2753751" y="381374"/>
                  </a:lnTo>
                  <a:lnTo>
                    <a:pt x="2735002" y="381374"/>
                  </a:lnTo>
                  <a:lnTo>
                    <a:pt x="2732929" y="378118"/>
                  </a:lnTo>
                  <a:lnTo>
                    <a:pt x="2724690" y="378118"/>
                  </a:lnTo>
                  <a:lnTo>
                    <a:pt x="2722617" y="374910"/>
                  </a:lnTo>
                  <a:lnTo>
                    <a:pt x="2722617" y="363611"/>
                  </a:lnTo>
                  <a:lnTo>
                    <a:pt x="2712206" y="361983"/>
                  </a:lnTo>
                  <a:lnTo>
                    <a:pt x="2709888" y="360158"/>
                  </a:lnTo>
                  <a:lnTo>
                    <a:pt x="2709888" y="353743"/>
                  </a:lnTo>
                  <a:lnTo>
                    <a:pt x="2705940" y="350290"/>
                  </a:lnTo>
                  <a:lnTo>
                    <a:pt x="2701796" y="351918"/>
                  </a:lnTo>
                  <a:lnTo>
                    <a:pt x="2695530" y="350290"/>
                  </a:lnTo>
                  <a:lnTo>
                    <a:pt x="2685119" y="351918"/>
                  </a:lnTo>
                  <a:lnTo>
                    <a:pt x="2682997" y="355125"/>
                  </a:lnTo>
                  <a:lnTo>
                    <a:pt x="2689263" y="356753"/>
                  </a:lnTo>
                  <a:lnTo>
                    <a:pt x="2691385" y="355125"/>
                  </a:lnTo>
                  <a:lnTo>
                    <a:pt x="2697602" y="355125"/>
                  </a:lnTo>
                  <a:lnTo>
                    <a:pt x="2712404" y="369927"/>
                  </a:lnTo>
                  <a:lnTo>
                    <a:pt x="2712404" y="386061"/>
                  </a:lnTo>
                  <a:lnTo>
                    <a:pt x="2710282" y="389268"/>
                  </a:lnTo>
                  <a:lnTo>
                    <a:pt x="2701993" y="389268"/>
                  </a:lnTo>
                  <a:lnTo>
                    <a:pt x="2695727" y="382805"/>
                  </a:lnTo>
                  <a:lnTo>
                    <a:pt x="2691582" y="384433"/>
                  </a:lnTo>
                  <a:lnTo>
                    <a:pt x="2691582" y="389367"/>
                  </a:lnTo>
                  <a:lnTo>
                    <a:pt x="2687388" y="390995"/>
                  </a:lnTo>
                  <a:lnTo>
                    <a:pt x="2681171" y="384532"/>
                  </a:lnTo>
                  <a:lnTo>
                    <a:pt x="2674905" y="384532"/>
                  </a:lnTo>
                  <a:lnTo>
                    <a:pt x="2670761" y="389466"/>
                  </a:lnTo>
                  <a:lnTo>
                    <a:pt x="2666567" y="389466"/>
                  </a:lnTo>
                  <a:lnTo>
                    <a:pt x="2664494" y="386259"/>
                  </a:lnTo>
                  <a:lnTo>
                    <a:pt x="2656156" y="384630"/>
                  </a:lnTo>
                  <a:lnTo>
                    <a:pt x="2651962" y="378167"/>
                  </a:lnTo>
                  <a:lnTo>
                    <a:pt x="2647817" y="379795"/>
                  </a:lnTo>
                  <a:lnTo>
                    <a:pt x="2645745" y="373332"/>
                  </a:lnTo>
                  <a:lnTo>
                    <a:pt x="2643673" y="371703"/>
                  </a:lnTo>
                  <a:lnTo>
                    <a:pt x="2631140" y="370124"/>
                  </a:lnTo>
                  <a:lnTo>
                    <a:pt x="2626946" y="365190"/>
                  </a:lnTo>
                  <a:lnTo>
                    <a:pt x="2624924" y="366769"/>
                  </a:lnTo>
                  <a:lnTo>
                    <a:pt x="2626946" y="371703"/>
                  </a:lnTo>
                  <a:lnTo>
                    <a:pt x="2633262" y="374960"/>
                  </a:lnTo>
                  <a:lnTo>
                    <a:pt x="2641551" y="378167"/>
                  </a:lnTo>
                  <a:lnTo>
                    <a:pt x="2649890" y="389466"/>
                  </a:lnTo>
                  <a:lnTo>
                    <a:pt x="2647817" y="392673"/>
                  </a:lnTo>
                  <a:lnTo>
                    <a:pt x="2626946" y="387739"/>
                  </a:lnTo>
                  <a:lnTo>
                    <a:pt x="2622802" y="384532"/>
                  </a:lnTo>
                  <a:lnTo>
                    <a:pt x="2620729" y="378068"/>
                  </a:lnTo>
                  <a:lnTo>
                    <a:pt x="2616536" y="373134"/>
                  </a:lnTo>
                  <a:lnTo>
                    <a:pt x="2614513" y="376391"/>
                  </a:lnTo>
                  <a:lnTo>
                    <a:pt x="2616536" y="379598"/>
                  </a:lnTo>
                  <a:lnTo>
                    <a:pt x="2614513" y="384532"/>
                  </a:lnTo>
                  <a:lnTo>
                    <a:pt x="2606125" y="382904"/>
                  </a:lnTo>
                  <a:lnTo>
                    <a:pt x="2604052" y="377970"/>
                  </a:lnTo>
                  <a:lnTo>
                    <a:pt x="2597835" y="379598"/>
                  </a:lnTo>
                  <a:lnTo>
                    <a:pt x="2597835" y="384532"/>
                  </a:lnTo>
                  <a:lnTo>
                    <a:pt x="2608247" y="387739"/>
                  </a:lnTo>
                  <a:lnTo>
                    <a:pt x="2606125" y="392673"/>
                  </a:lnTo>
                  <a:lnTo>
                    <a:pt x="2610319" y="392673"/>
                  </a:lnTo>
                  <a:lnTo>
                    <a:pt x="2614513" y="391094"/>
                  </a:lnTo>
                  <a:lnTo>
                    <a:pt x="2618657" y="391094"/>
                  </a:lnTo>
                  <a:lnTo>
                    <a:pt x="2624924" y="396028"/>
                  </a:lnTo>
                  <a:lnTo>
                    <a:pt x="2633262" y="397656"/>
                  </a:lnTo>
                  <a:lnTo>
                    <a:pt x="2639479" y="402590"/>
                  </a:lnTo>
                  <a:lnTo>
                    <a:pt x="2643673" y="402590"/>
                  </a:lnTo>
                  <a:lnTo>
                    <a:pt x="2649890" y="400962"/>
                  </a:lnTo>
                  <a:lnTo>
                    <a:pt x="2668639" y="405896"/>
                  </a:lnTo>
                  <a:lnTo>
                    <a:pt x="2672783" y="409153"/>
                  </a:lnTo>
                  <a:lnTo>
                    <a:pt x="2666567" y="414087"/>
                  </a:lnTo>
                  <a:lnTo>
                    <a:pt x="2668639" y="417294"/>
                  </a:lnTo>
                  <a:lnTo>
                    <a:pt x="2668639" y="428593"/>
                  </a:lnTo>
                  <a:lnTo>
                    <a:pt x="2664494" y="431800"/>
                  </a:lnTo>
                  <a:lnTo>
                    <a:pt x="2662373" y="431800"/>
                  </a:lnTo>
                  <a:lnTo>
                    <a:pt x="2656156" y="426866"/>
                  </a:lnTo>
                  <a:lnTo>
                    <a:pt x="2647817" y="425287"/>
                  </a:lnTo>
                  <a:lnTo>
                    <a:pt x="2637357" y="418823"/>
                  </a:lnTo>
                  <a:lnTo>
                    <a:pt x="2635334" y="415567"/>
                  </a:lnTo>
                  <a:lnTo>
                    <a:pt x="2637357" y="407524"/>
                  </a:lnTo>
                  <a:lnTo>
                    <a:pt x="2633262" y="401061"/>
                  </a:lnTo>
                  <a:lnTo>
                    <a:pt x="2622802" y="401061"/>
                  </a:lnTo>
                  <a:lnTo>
                    <a:pt x="2606125" y="399433"/>
                  </a:lnTo>
                  <a:lnTo>
                    <a:pt x="2599908" y="396225"/>
                  </a:lnTo>
                  <a:lnTo>
                    <a:pt x="2593444" y="396225"/>
                  </a:lnTo>
                  <a:lnTo>
                    <a:pt x="2591372" y="399433"/>
                  </a:lnTo>
                  <a:lnTo>
                    <a:pt x="2601783" y="402689"/>
                  </a:lnTo>
                  <a:lnTo>
                    <a:pt x="2614315" y="402689"/>
                  </a:lnTo>
                  <a:lnTo>
                    <a:pt x="2630943" y="407623"/>
                  </a:lnTo>
                  <a:lnTo>
                    <a:pt x="2628871" y="414087"/>
                  </a:lnTo>
                  <a:lnTo>
                    <a:pt x="2626749" y="415666"/>
                  </a:lnTo>
                  <a:lnTo>
                    <a:pt x="2618460" y="410732"/>
                  </a:lnTo>
                  <a:lnTo>
                    <a:pt x="2605927" y="410732"/>
                  </a:lnTo>
                  <a:lnTo>
                    <a:pt x="2595517" y="412360"/>
                  </a:lnTo>
                  <a:lnTo>
                    <a:pt x="2595517" y="409153"/>
                  </a:lnTo>
                  <a:lnTo>
                    <a:pt x="2591372" y="405896"/>
                  </a:lnTo>
                  <a:lnTo>
                    <a:pt x="2578889" y="404268"/>
                  </a:lnTo>
                  <a:lnTo>
                    <a:pt x="2574695" y="401061"/>
                  </a:lnTo>
                  <a:lnTo>
                    <a:pt x="2574695" y="404268"/>
                  </a:lnTo>
                  <a:lnTo>
                    <a:pt x="2589497" y="410732"/>
                  </a:lnTo>
                  <a:lnTo>
                    <a:pt x="2587425" y="412360"/>
                  </a:lnTo>
                  <a:lnTo>
                    <a:pt x="2587425" y="417294"/>
                  </a:lnTo>
                  <a:lnTo>
                    <a:pt x="2593642" y="417294"/>
                  </a:lnTo>
                  <a:lnTo>
                    <a:pt x="2597835" y="418922"/>
                  </a:lnTo>
                  <a:lnTo>
                    <a:pt x="2601980" y="415666"/>
                  </a:lnTo>
                  <a:lnTo>
                    <a:pt x="2604052" y="414087"/>
                  </a:lnTo>
                  <a:lnTo>
                    <a:pt x="2608247" y="415666"/>
                  </a:lnTo>
                  <a:lnTo>
                    <a:pt x="2614513" y="415666"/>
                  </a:lnTo>
                  <a:lnTo>
                    <a:pt x="2620729" y="417294"/>
                  </a:lnTo>
                  <a:lnTo>
                    <a:pt x="2630943" y="424300"/>
                  </a:lnTo>
                  <a:lnTo>
                    <a:pt x="2628871" y="427507"/>
                  </a:lnTo>
                  <a:lnTo>
                    <a:pt x="2620532" y="427507"/>
                  </a:lnTo>
                  <a:lnTo>
                    <a:pt x="2614315" y="430714"/>
                  </a:lnTo>
                  <a:lnTo>
                    <a:pt x="2612194" y="433971"/>
                  </a:lnTo>
                  <a:lnTo>
                    <a:pt x="2618460" y="432343"/>
                  </a:lnTo>
                  <a:lnTo>
                    <a:pt x="2624726" y="432343"/>
                  </a:lnTo>
                  <a:lnTo>
                    <a:pt x="2630943" y="430714"/>
                  </a:lnTo>
                  <a:lnTo>
                    <a:pt x="2637160" y="437178"/>
                  </a:lnTo>
                  <a:lnTo>
                    <a:pt x="2645548" y="440434"/>
                  </a:lnTo>
                  <a:lnTo>
                    <a:pt x="2645548" y="445368"/>
                  </a:lnTo>
                  <a:lnTo>
                    <a:pt x="2637160" y="456667"/>
                  </a:lnTo>
                  <a:lnTo>
                    <a:pt x="2633065" y="466535"/>
                  </a:lnTo>
                  <a:lnTo>
                    <a:pt x="2630943" y="468164"/>
                  </a:lnTo>
                  <a:lnTo>
                    <a:pt x="2620532" y="474578"/>
                  </a:lnTo>
                  <a:lnTo>
                    <a:pt x="2616338" y="471371"/>
                  </a:lnTo>
                  <a:lnTo>
                    <a:pt x="2610121" y="471371"/>
                  </a:lnTo>
                  <a:lnTo>
                    <a:pt x="2603855" y="469743"/>
                  </a:lnTo>
                  <a:lnTo>
                    <a:pt x="2603855" y="466535"/>
                  </a:lnTo>
                  <a:lnTo>
                    <a:pt x="2597638" y="463279"/>
                  </a:lnTo>
                  <a:lnTo>
                    <a:pt x="2589300" y="463279"/>
                  </a:lnTo>
                  <a:lnTo>
                    <a:pt x="2589300" y="466535"/>
                  </a:lnTo>
                  <a:lnTo>
                    <a:pt x="2597638" y="469743"/>
                  </a:lnTo>
                  <a:lnTo>
                    <a:pt x="2599710" y="472999"/>
                  </a:lnTo>
                  <a:lnTo>
                    <a:pt x="2603855" y="472999"/>
                  </a:lnTo>
                  <a:lnTo>
                    <a:pt x="2612194" y="477933"/>
                  </a:lnTo>
                  <a:lnTo>
                    <a:pt x="2614315" y="485976"/>
                  </a:lnTo>
                  <a:lnTo>
                    <a:pt x="2612194" y="489232"/>
                  </a:lnTo>
                  <a:lnTo>
                    <a:pt x="2605927" y="490811"/>
                  </a:lnTo>
                  <a:lnTo>
                    <a:pt x="2597638" y="497274"/>
                  </a:lnTo>
                  <a:lnTo>
                    <a:pt x="2593444" y="497274"/>
                  </a:lnTo>
                  <a:lnTo>
                    <a:pt x="2583033" y="489232"/>
                  </a:lnTo>
                  <a:lnTo>
                    <a:pt x="2576817" y="490811"/>
                  </a:lnTo>
                  <a:lnTo>
                    <a:pt x="2572623" y="487604"/>
                  </a:lnTo>
                  <a:lnTo>
                    <a:pt x="2564284" y="487604"/>
                  </a:lnTo>
                  <a:lnTo>
                    <a:pt x="2560140" y="489232"/>
                  </a:lnTo>
                  <a:lnTo>
                    <a:pt x="2562212" y="494166"/>
                  </a:lnTo>
                  <a:lnTo>
                    <a:pt x="2583033" y="504034"/>
                  </a:lnTo>
                  <a:lnTo>
                    <a:pt x="2591471" y="504034"/>
                  </a:lnTo>
                  <a:lnTo>
                    <a:pt x="2591471" y="508968"/>
                  </a:lnTo>
                  <a:lnTo>
                    <a:pt x="2585204" y="510596"/>
                  </a:lnTo>
                  <a:lnTo>
                    <a:pt x="2581060" y="517060"/>
                  </a:lnTo>
                  <a:lnTo>
                    <a:pt x="2574794" y="518639"/>
                  </a:lnTo>
                  <a:lnTo>
                    <a:pt x="2568577" y="512175"/>
                  </a:lnTo>
                  <a:lnTo>
                    <a:pt x="2562311" y="512175"/>
                  </a:lnTo>
                  <a:lnTo>
                    <a:pt x="2556094" y="517109"/>
                  </a:lnTo>
                  <a:lnTo>
                    <a:pt x="2545584" y="517109"/>
                  </a:lnTo>
                  <a:lnTo>
                    <a:pt x="2541390" y="512175"/>
                  </a:lnTo>
                  <a:lnTo>
                    <a:pt x="2526588" y="508968"/>
                  </a:lnTo>
                  <a:lnTo>
                    <a:pt x="2516177" y="510596"/>
                  </a:lnTo>
                  <a:lnTo>
                    <a:pt x="2514105" y="521895"/>
                  </a:lnTo>
                  <a:lnTo>
                    <a:pt x="2508036" y="527915"/>
                  </a:lnTo>
                  <a:lnTo>
                    <a:pt x="2514302" y="527915"/>
                  </a:lnTo>
                  <a:lnTo>
                    <a:pt x="2516375" y="529494"/>
                  </a:lnTo>
                  <a:lnTo>
                    <a:pt x="2516375" y="535957"/>
                  </a:lnTo>
                  <a:lnTo>
                    <a:pt x="2505964" y="540891"/>
                  </a:lnTo>
                  <a:lnTo>
                    <a:pt x="2505964" y="547355"/>
                  </a:lnTo>
                  <a:lnTo>
                    <a:pt x="2497625" y="550562"/>
                  </a:lnTo>
                  <a:lnTo>
                    <a:pt x="2495553" y="548983"/>
                  </a:lnTo>
                  <a:lnTo>
                    <a:pt x="2493481" y="550562"/>
                  </a:lnTo>
                  <a:lnTo>
                    <a:pt x="2491408" y="553819"/>
                  </a:lnTo>
                  <a:lnTo>
                    <a:pt x="2485142" y="557026"/>
                  </a:lnTo>
                  <a:lnTo>
                    <a:pt x="2478925" y="555397"/>
                  </a:lnTo>
                  <a:lnTo>
                    <a:pt x="2483070" y="552190"/>
                  </a:lnTo>
                  <a:lnTo>
                    <a:pt x="2478925" y="552190"/>
                  </a:lnTo>
                  <a:lnTo>
                    <a:pt x="2474732" y="555397"/>
                  </a:lnTo>
                  <a:lnTo>
                    <a:pt x="2470537" y="563489"/>
                  </a:lnTo>
                  <a:lnTo>
                    <a:pt x="2466393" y="566696"/>
                  </a:lnTo>
                  <a:lnTo>
                    <a:pt x="2449716" y="558654"/>
                  </a:lnTo>
                  <a:lnTo>
                    <a:pt x="2439305" y="558654"/>
                  </a:lnTo>
                  <a:lnTo>
                    <a:pt x="2439305" y="560282"/>
                  </a:lnTo>
                  <a:lnTo>
                    <a:pt x="2428894" y="558654"/>
                  </a:lnTo>
                  <a:lnTo>
                    <a:pt x="2414092" y="544148"/>
                  </a:lnTo>
                  <a:lnTo>
                    <a:pt x="2412069" y="529346"/>
                  </a:lnTo>
                  <a:lnTo>
                    <a:pt x="2416214" y="527767"/>
                  </a:lnTo>
                  <a:lnTo>
                    <a:pt x="2416214" y="522833"/>
                  </a:lnTo>
                  <a:lnTo>
                    <a:pt x="2414092" y="517899"/>
                  </a:lnTo>
                  <a:lnTo>
                    <a:pt x="2414092" y="514692"/>
                  </a:lnTo>
                  <a:lnTo>
                    <a:pt x="2407875" y="521155"/>
                  </a:lnTo>
                  <a:lnTo>
                    <a:pt x="2407875" y="526089"/>
                  </a:lnTo>
                  <a:lnTo>
                    <a:pt x="2405803" y="534132"/>
                  </a:lnTo>
                  <a:lnTo>
                    <a:pt x="2401658" y="539066"/>
                  </a:lnTo>
                  <a:lnTo>
                    <a:pt x="2407875" y="545529"/>
                  </a:lnTo>
                  <a:lnTo>
                    <a:pt x="2405803" y="548786"/>
                  </a:lnTo>
                  <a:lnTo>
                    <a:pt x="2384981" y="548786"/>
                  </a:lnTo>
                  <a:lnTo>
                    <a:pt x="2391198" y="553720"/>
                  </a:lnTo>
                  <a:lnTo>
                    <a:pt x="2387054" y="563588"/>
                  </a:lnTo>
                  <a:lnTo>
                    <a:pt x="2393271" y="563588"/>
                  </a:lnTo>
                  <a:lnTo>
                    <a:pt x="2399537" y="555496"/>
                  </a:lnTo>
                  <a:lnTo>
                    <a:pt x="2403977" y="555496"/>
                  </a:lnTo>
                  <a:lnTo>
                    <a:pt x="2408171" y="553917"/>
                  </a:lnTo>
                  <a:lnTo>
                    <a:pt x="2412365" y="552289"/>
                  </a:lnTo>
                  <a:lnTo>
                    <a:pt x="2420704" y="557223"/>
                  </a:lnTo>
                  <a:lnTo>
                    <a:pt x="2426921" y="563687"/>
                  </a:lnTo>
                  <a:lnTo>
                    <a:pt x="2422776" y="570150"/>
                  </a:lnTo>
                  <a:lnTo>
                    <a:pt x="2431115" y="565216"/>
                  </a:lnTo>
                  <a:lnTo>
                    <a:pt x="2443598" y="561960"/>
                  </a:lnTo>
                  <a:lnTo>
                    <a:pt x="2454009" y="565216"/>
                  </a:lnTo>
                  <a:lnTo>
                    <a:pt x="2454009" y="571630"/>
                  </a:lnTo>
                  <a:lnTo>
                    <a:pt x="2451936" y="574887"/>
                  </a:lnTo>
                  <a:lnTo>
                    <a:pt x="2447742" y="584755"/>
                  </a:lnTo>
                  <a:lnTo>
                    <a:pt x="2443598" y="586383"/>
                  </a:lnTo>
                  <a:lnTo>
                    <a:pt x="2441525" y="589590"/>
                  </a:lnTo>
                  <a:lnTo>
                    <a:pt x="2443598" y="592847"/>
                  </a:lnTo>
                  <a:lnTo>
                    <a:pt x="2449814" y="591219"/>
                  </a:lnTo>
                  <a:lnTo>
                    <a:pt x="2447742" y="596153"/>
                  </a:lnTo>
                  <a:lnTo>
                    <a:pt x="2441525" y="601087"/>
                  </a:lnTo>
                  <a:lnTo>
                    <a:pt x="2449814" y="601087"/>
                  </a:lnTo>
                  <a:lnTo>
                    <a:pt x="2451936" y="597879"/>
                  </a:lnTo>
                  <a:lnTo>
                    <a:pt x="2460225" y="592945"/>
                  </a:lnTo>
                  <a:lnTo>
                    <a:pt x="2466491" y="592945"/>
                  </a:lnTo>
                  <a:lnTo>
                    <a:pt x="2468613" y="591317"/>
                  </a:lnTo>
                  <a:lnTo>
                    <a:pt x="2472758" y="592945"/>
                  </a:lnTo>
                  <a:lnTo>
                    <a:pt x="2470636" y="599360"/>
                  </a:lnTo>
                  <a:lnTo>
                    <a:pt x="2472758" y="602616"/>
                  </a:lnTo>
                  <a:lnTo>
                    <a:pt x="2470636" y="613915"/>
                  </a:lnTo>
                  <a:lnTo>
                    <a:pt x="2462347" y="625214"/>
                  </a:lnTo>
                  <a:lnTo>
                    <a:pt x="2456081" y="625214"/>
                  </a:lnTo>
                  <a:lnTo>
                    <a:pt x="2449814" y="630148"/>
                  </a:lnTo>
                  <a:lnTo>
                    <a:pt x="2443450" y="635872"/>
                  </a:lnTo>
                  <a:lnTo>
                    <a:pt x="2437183" y="639079"/>
                  </a:lnTo>
                  <a:lnTo>
                    <a:pt x="2435111" y="637450"/>
                  </a:lnTo>
                  <a:lnTo>
                    <a:pt x="2437183" y="630987"/>
                  </a:lnTo>
                  <a:lnTo>
                    <a:pt x="2439256" y="622944"/>
                  </a:lnTo>
                  <a:lnTo>
                    <a:pt x="2437183" y="621316"/>
                  </a:lnTo>
                  <a:lnTo>
                    <a:pt x="2430966" y="624573"/>
                  </a:lnTo>
                  <a:lnTo>
                    <a:pt x="2426773" y="632615"/>
                  </a:lnTo>
                  <a:lnTo>
                    <a:pt x="2420556" y="634243"/>
                  </a:lnTo>
                  <a:lnTo>
                    <a:pt x="2410095" y="642286"/>
                  </a:lnTo>
                  <a:lnTo>
                    <a:pt x="2408023" y="640707"/>
                  </a:lnTo>
                  <a:lnTo>
                    <a:pt x="2401806" y="640707"/>
                  </a:lnTo>
                  <a:lnTo>
                    <a:pt x="2389175" y="648749"/>
                  </a:lnTo>
                  <a:lnTo>
                    <a:pt x="2387103" y="647121"/>
                  </a:lnTo>
                  <a:lnTo>
                    <a:pt x="2380837" y="648749"/>
                  </a:lnTo>
                  <a:lnTo>
                    <a:pt x="2372498" y="648749"/>
                  </a:lnTo>
                  <a:lnTo>
                    <a:pt x="2370426" y="643815"/>
                  </a:lnTo>
                  <a:lnTo>
                    <a:pt x="2368354" y="642187"/>
                  </a:lnTo>
                  <a:lnTo>
                    <a:pt x="2374620" y="637253"/>
                  </a:lnTo>
                  <a:lnTo>
                    <a:pt x="2378764" y="632319"/>
                  </a:lnTo>
                  <a:lnTo>
                    <a:pt x="2378764" y="627385"/>
                  </a:lnTo>
                  <a:lnTo>
                    <a:pt x="2370426" y="617517"/>
                  </a:lnTo>
                  <a:lnTo>
                    <a:pt x="2366281" y="622451"/>
                  </a:lnTo>
                  <a:lnTo>
                    <a:pt x="2355871" y="619244"/>
                  </a:lnTo>
                  <a:lnTo>
                    <a:pt x="2355871" y="614310"/>
                  </a:lnTo>
                  <a:lnTo>
                    <a:pt x="2357943" y="607896"/>
                  </a:lnTo>
                  <a:lnTo>
                    <a:pt x="2364505" y="606859"/>
                  </a:lnTo>
                  <a:lnTo>
                    <a:pt x="2360311" y="605231"/>
                  </a:lnTo>
                  <a:lnTo>
                    <a:pt x="2356167" y="603652"/>
                  </a:lnTo>
                  <a:lnTo>
                    <a:pt x="2351973" y="595560"/>
                  </a:lnTo>
                  <a:lnTo>
                    <a:pt x="2354094" y="590626"/>
                  </a:lnTo>
                  <a:lnTo>
                    <a:pt x="2354094" y="584163"/>
                  </a:lnTo>
                  <a:lnTo>
                    <a:pt x="2349900" y="579229"/>
                  </a:lnTo>
                  <a:lnTo>
                    <a:pt x="2349900" y="585692"/>
                  </a:lnTo>
                  <a:lnTo>
                    <a:pt x="2345756" y="595560"/>
                  </a:lnTo>
                  <a:lnTo>
                    <a:pt x="2351973" y="605429"/>
                  </a:lnTo>
                  <a:lnTo>
                    <a:pt x="2351973" y="610363"/>
                  </a:lnTo>
                  <a:lnTo>
                    <a:pt x="2347828" y="613619"/>
                  </a:lnTo>
                  <a:lnTo>
                    <a:pt x="2347828" y="620083"/>
                  </a:lnTo>
                  <a:lnTo>
                    <a:pt x="2343684" y="623290"/>
                  </a:lnTo>
                  <a:lnTo>
                    <a:pt x="2337417" y="620083"/>
                  </a:lnTo>
                  <a:lnTo>
                    <a:pt x="2331151" y="621662"/>
                  </a:lnTo>
                  <a:lnTo>
                    <a:pt x="2327007" y="618454"/>
                  </a:lnTo>
                  <a:lnTo>
                    <a:pt x="2324885" y="613520"/>
                  </a:lnTo>
                  <a:lnTo>
                    <a:pt x="2331151" y="602221"/>
                  </a:lnTo>
                  <a:lnTo>
                    <a:pt x="2329079" y="597287"/>
                  </a:lnTo>
                  <a:lnTo>
                    <a:pt x="2329079" y="590824"/>
                  </a:lnTo>
                  <a:lnTo>
                    <a:pt x="2335296" y="585890"/>
                  </a:lnTo>
                  <a:lnTo>
                    <a:pt x="2329079" y="585890"/>
                  </a:lnTo>
                  <a:lnTo>
                    <a:pt x="2322862" y="590824"/>
                  </a:lnTo>
                  <a:lnTo>
                    <a:pt x="2322862" y="598866"/>
                  </a:lnTo>
                  <a:lnTo>
                    <a:pt x="2324885" y="605330"/>
                  </a:lnTo>
                  <a:lnTo>
                    <a:pt x="2318668" y="613422"/>
                  </a:lnTo>
                  <a:lnTo>
                    <a:pt x="2312451" y="615001"/>
                  </a:lnTo>
                  <a:lnTo>
                    <a:pt x="2306135" y="611793"/>
                  </a:lnTo>
                  <a:lnTo>
                    <a:pt x="2306135" y="606859"/>
                  </a:lnTo>
                  <a:lnTo>
                    <a:pt x="2304063" y="605231"/>
                  </a:lnTo>
                  <a:lnTo>
                    <a:pt x="2304063" y="600297"/>
                  </a:lnTo>
                  <a:lnTo>
                    <a:pt x="2308257" y="595363"/>
                  </a:lnTo>
                  <a:lnTo>
                    <a:pt x="2308257" y="585495"/>
                  </a:lnTo>
                  <a:lnTo>
                    <a:pt x="2304063" y="585495"/>
                  </a:lnTo>
                  <a:lnTo>
                    <a:pt x="2304063" y="587123"/>
                  </a:lnTo>
                  <a:lnTo>
                    <a:pt x="2301991" y="593538"/>
                  </a:lnTo>
                  <a:lnTo>
                    <a:pt x="2297846" y="596794"/>
                  </a:lnTo>
                  <a:lnTo>
                    <a:pt x="2297846" y="601728"/>
                  </a:lnTo>
                  <a:lnTo>
                    <a:pt x="2295725" y="604935"/>
                  </a:lnTo>
                  <a:lnTo>
                    <a:pt x="2289508" y="604935"/>
                  </a:lnTo>
                  <a:lnTo>
                    <a:pt x="2289508" y="606859"/>
                  </a:lnTo>
                  <a:close/>
                  <a:moveTo>
                    <a:pt x="2478925" y="1525034"/>
                  </a:moveTo>
                  <a:lnTo>
                    <a:pt x="2476804" y="1536382"/>
                  </a:lnTo>
                  <a:lnTo>
                    <a:pt x="2474732" y="1542796"/>
                  </a:lnTo>
                  <a:lnTo>
                    <a:pt x="2478925" y="1547731"/>
                  </a:lnTo>
                  <a:lnTo>
                    <a:pt x="2480948" y="1544474"/>
                  </a:lnTo>
                  <a:lnTo>
                    <a:pt x="2478925" y="1541267"/>
                  </a:lnTo>
                  <a:lnTo>
                    <a:pt x="2480948" y="1533175"/>
                  </a:lnTo>
                  <a:lnTo>
                    <a:pt x="2480948" y="1528241"/>
                  </a:lnTo>
                  <a:close/>
                  <a:moveTo>
                    <a:pt x="2472659" y="1492815"/>
                  </a:moveTo>
                  <a:lnTo>
                    <a:pt x="2470537" y="1489558"/>
                  </a:lnTo>
                  <a:lnTo>
                    <a:pt x="2472659" y="1487979"/>
                  </a:lnTo>
                  <a:lnTo>
                    <a:pt x="2474732" y="1489558"/>
                  </a:lnTo>
                  <a:lnTo>
                    <a:pt x="2474732" y="1492815"/>
                  </a:lnTo>
                  <a:close/>
                  <a:moveTo>
                    <a:pt x="2460127" y="1473424"/>
                  </a:moveTo>
                  <a:lnTo>
                    <a:pt x="2466393" y="1467010"/>
                  </a:lnTo>
                  <a:lnTo>
                    <a:pt x="2470537" y="1463753"/>
                  </a:lnTo>
                  <a:lnTo>
                    <a:pt x="2472659" y="1468687"/>
                  </a:lnTo>
                  <a:lnTo>
                    <a:pt x="2466393" y="1471894"/>
                  </a:lnTo>
                  <a:lnTo>
                    <a:pt x="2464320" y="1473523"/>
                  </a:lnTo>
                  <a:close/>
                  <a:moveTo>
                    <a:pt x="2403977" y="1011796"/>
                  </a:moveTo>
                  <a:lnTo>
                    <a:pt x="2403977" y="1006862"/>
                  </a:lnTo>
                  <a:lnTo>
                    <a:pt x="2406099" y="1003654"/>
                  </a:lnTo>
                  <a:lnTo>
                    <a:pt x="2406099" y="1010118"/>
                  </a:lnTo>
                  <a:close/>
                  <a:moveTo>
                    <a:pt x="2414388" y="1016730"/>
                  </a:moveTo>
                  <a:lnTo>
                    <a:pt x="2412365" y="1013523"/>
                  </a:lnTo>
                  <a:lnTo>
                    <a:pt x="2412365" y="1008588"/>
                  </a:lnTo>
                  <a:lnTo>
                    <a:pt x="2416510" y="1006960"/>
                  </a:lnTo>
                  <a:lnTo>
                    <a:pt x="2418582" y="1010217"/>
                  </a:lnTo>
                  <a:lnTo>
                    <a:pt x="2416510" y="1015151"/>
                  </a:lnTo>
                  <a:close/>
                  <a:moveTo>
                    <a:pt x="2401955" y="1032864"/>
                  </a:moveTo>
                  <a:lnTo>
                    <a:pt x="2399833" y="1027930"/>
                  </a:lnTo>
                  <a:lnTo>
                    <a:pt x="2399833" y="1018062"/>
                  </a:lnTo>
                  <a:lnTo>
                    <a:pt x="2403977" y="1016434"/>
                  </a:lnTo>
                  <a:lnTo>
                    <a:pt x="2406099" y="1021368"/>
                  </a:lnTo>
                  <a:lnTo>
                    <a:pt x="2408171" y="1019739"/>
                  </a:lnTo>
                  <a:lnTo>
                    <a:pt x="2412365" y="1022947"/>
                  </a:lnTo>
                  <a:lnTo>
                    <a:pt x="2406099" y="1026203"/>
                  </a:lnTo>
                  <a:lnTo>
                    <a:pt x="2403977" y="1031137"/>
                  </a:lnTo>
                  <a:close/>
                  <a:moveTo>
                    <a:pt x="2510256" y="1170030"/>
                  </a:moveTo>
                  <a:lnTo>
                    <a:pt x="2514401" y="1166823"/>
                  </a:lnTo>
                  <a:lnTo>
                    <a:pt x="2520667" y="1168402"/>
                  </a:lnTo>
                  <a:lnTo>
                    <a:pt x="2516473" y="1171658"/>
                  </a:lnTo>
                  <a:lnTo>
                    <a:pt x="2512329" y="1171658"/>
                  </a:lnTo>
                  <a:close/>
                  <a:moveTo>
                    <a:pt x="2497724" y="1168402"/>
                  </a:moveTo>
                  <a:lnTo>
                    <a:pt x="2497724" y="1163468"/>
                  </a:lnTo>
                  <a:lnTo>
                    <a:pt x="2503990" y="1163468"/>
                  </a:lnTo>
                  <a:lnTo>
                    <a:pt x="2508135" y="1161889"/>
                  </a:lnTo>
                  <a:lnTo>
                    <a:pt x="2510256" y="1163468"/>
                  </a:lnTo>
                  <a:lnTo>
                    <a:pt x="2503990" y="1169931"/>
                  </a:lnTo>
                  <a:lnTo>
                    <a:pt x="2499846" y="1169931"/>
                  </a:lnTo>
                  <a:close/>
                  <a:moveTo>
                    <a:pt x="2476903" y="1231360"/>
                  </a:moveTo>
                  <a:lnTo>
                    <a:pt x="2481047" y="1234567"/>
                  </a:lnTo>
                  <a:lnTo>
                    <a:pt x="2485241" y="1232939"/>
                  </a:lnTo>
                  <a:lnTo>
                    <a:pt x="2481047" y="1231360"/>
                  </a:lnTo>
                  <a:close/>
                  <a:moveTo>
                    <a:pt x="2506063" y="1260422"/>
                  </a:moveTo>
                  <a:lnTo>
                    <a:pt x="2512329" y="1263629"/>
                  </a:lnTo>
                  <a:lnTo>
                    <a:pt x="2514401" y="1262001"/>
                  </a:lnTo>
                  <a:lnTo>
                    <a:pt x="2514401" y="1258793"/>
                  </a:lnTo>
                  <a:lnTo>
                    <a:pt x="2510256" y="1258793"/>
                  </a:lnTo>
                  <a:close/>
                  <a:moveTo>
                    <a:pt x="2562311" y="1307196"/>
                  </a:moveTo>
                  <a:lnTo>
                    <a:pt x="2560238" y="1300733"/>
                  </a:lnTo>
                  <a:lnTo>
                    <a:pt x="2564383" y="1295799"/>
                  </a:lnTo>
                  <a:lnTo>
                    <a:pt x="2568577" y="1299006"/>
                  </a:lnTo>
                  <a:lnTo>
                    <a:pt x="2568577" y="1305469"/>
                  </a:lnTo>
                  <a:lnTo>
                    <a:pt x="2564383" y="1307098"/>
                  </a:lnTo>
                  <a:close/>
                  <a:moveTo>
                    <a:pt x="2589398" y="1336258"/>
                  </a:moveTo>
                  <a:lnTo>
                    <a:pt x="2589398" y="1331324"/>
                  </a:lnTo>
                  <a:lnTo>
                    <a:pt x="2595615" y="1328117"/>
                  </a:lnTo>
                  <a:lnTo>
                    <a:pt x="2597737" y="1326488"/>
                  </a:lnTo>
                  <a:lnTo>
                    <a:pt x="2601881" y="1328117"/>
                  </a:lnTo>
                  <a:lnTo>
                    <a:pt x="2597737" y="1334531"/>
                  </a:lnTo>
                  <a:lnTo>
                    <a:pt x="2593543" y="1334531"/>
                  </a:lnTo>
                  <a:close/>
                  <a:moveTo>
                    <a:pt x="2389175" y="676183"/>
                  </a:moveTo>
                  <a:lnTo>
                    <a:pt x="2389175" y="669719"/>
                  </a:lnTo>
                  <a:lnTo>
                    <a:pt x="2393320" y="666512"/>
                  </a:lnTo>
                  <a:lnTo>
                    <a:pt x="2397514" y="661578"/>
                  </a:lnTo>
                  <a:lnTo>
                    <a:pt x="2414141" y="651710"/>
                  </a:lnTo>
                  <a:lnTo>
                    <a:pt x="2420457" y="651710"/>
                  </a:lnTo>
                  <a:lnTo>
                    <a:pt x="2416263" y="658124"/>
                  </a:lnTo>
                  <a:lnTo>
                    <a:pt x="2405852" y="664588"/>
                  </a:lnTo>
                  <a:lnTo>
                    <a:pt x="2403731" y="669522"/>
                  </a:lnTo>
                  <a:lnTo>
                    <a:pt x="2405852" y="672778"/>
                  </a:lnTo>
                  <a:lnTo>
                    <a:pt x="2405852" y="675985"/>
                  </a:lnTo>
                  <a:lnTo>
                    <a:pt x="2401708" y="675985"/>
                  </a:lnTo>
                  <a:lnTo>
                    <a:pt x="2399586" y="671051"/>
                  </a:lnTo>
                  <a:lnTo>
                    <a:pt x="2395442" y="672679"/>
                  </a:lnTo>
                  <a:lnTo>
                    <a:pt x="2393320" y="675887"/>
                  </a:lnTo>
                  <a:close/>
                  <a:moveTo>
                    <a:pt x="2353798" y="647121"/>
                  </a:moveTo>
                  <a:lnTo>
                    <a:pt x="2357943" y="650378"/>
                  </a:lnTo>
                  <a:lnTo>
                    <a:pt x="2362087" y="650378"/>
                  </a:lnTo>
                  <a:lnTo>
                    <a:pt x="2364209" y="647121"/>
                  </a:lnTo>
                  <a:lnTo>
                    <a:pt x="2362087" y="643914"/>
                  </a:lnTo>
                  <a:close/>
                  <a:moveTo>
                    <a:pt x="2160039" y="573111"/>
                  </a:moveTo>
                  <a:lnTo>
                    <a:pt x="2151750" y="569903"/>
                  </a:lnTo>
                  <a:lnTo>
                    <a:pt x="2151750" y="552141"/>
                  </a:lnTo>
                  <a:lnTo>
                    <a:pt x="2149628" y="550513"/>
                  </a:lnTo>
                  <a:lnTo>
                    <a:pt x="2149628" y="542470"/>
                  </a:lnTo>
                  <a:lnTo>
                    <a:pt x="2147556" y="540842"/>
                  </a:lnTo>
                  <a:lnTo>
                    <a:pt x="2155894" y="539214"/>
                  </a:lnTo>
                  <a:lnTo>
                    <a:pt x="2166305" y="542470"/>
                  </a:lnTo>
                  <a:lnTo>
                    <a:pt x="2166305" y="550513"/>
                  </a:lnTo>
                  <a:lnTo>
                    <a:pt x="2162160" y="561812"/>
                  </a:lnTo>
                  <a:lnTo>
                    <a:pt x="2160039" y="565068"/>
                  </a:lnTo>
                  <a:lnTo>
                    <a:pt x="2162160" y="568275"/>
                  </a:lnTo>
                  <a:lnTo>
                    <a:pt x="2164232" y="573209"/>
                  </a:lnTo>
                  <a:close/>
                  <a:moveTo>
                    <a:pt x="2157966" y="231034"/>
                  </a:moveTo>
                  <a:lnTo>
                    <a:pt x="2166305" y="224570"/>
                  </a:lnTo>
                  <a:lnTo>
                    <a:pt x="2170449" y="216528"/>
                  </a:lnTo>
                  <a:lnTo>
                    <a:pt x="2170449" y="211594"/>
                  </a:lnTo>
                  <a:lnTo>
                    <a:pt x="2180860" y="205130"/>
                  </a:lnTo>
                  <a:lnTo>
                    <a:pt x="2185054" y="197038"/>
                  </a:lnTo>
                  <a:lnTo>
                    <a:pt x="2182982" y="193831"/>
                  </a:lnTo>
                  <a:lnTo>
                    <a:pt x="2174644" y="192203"/>
                  </a:lnTo>
                  <a:lnTo>
                    <a:pt x="2168377" y="190624"/>
                  </a:lnTo>
                  <a:lnTo>
                    <a:pt x="2172571" y="184161"/>
                  </a:lnTo>
                  <a:lnTo>
                    <a:pt x="2168377" y="185789"/>
                  </a:lnTo>
                  <a:lnTo>
                    <a:pt x="2160039" y="192203"/>
                  </a:lnTo>
                  <a:lnTo>
                    <a:pt x="2149628" y="193831"/>
                  </a:lnTo>
                  <a:lnTo>
                    <a:pt x="2147556" y="198765"/>
                  </a:lnTo>
                  <a:lnTo>
                    <a:pt x="2143411" y="202022"/>
                  </a:lnTo>
                  <a:lnTo>
                    <a:pt x="2143411" y="206956"/>
                  </a:lnTo>
                  <a:lnTo>
                    <a:pt x="2151750" y="210163"/>
                  </a:lnTo>
                  <a:lnTo>
                    <a:pt x="2160039" y="208535"/>
                  </a:lnTo>
                  <a:lnTo>
                    <a:pt x="2160039" y="213469"/>
                  </a:lnTo>
                  <a:lnTo>
                    <a:pt x="2151750" y="218403"/>
                  </a:lnTo>
                  <a:lnTo>
                    <a:pt x="2151750" y="223337"/>
                  </a:lnTo>
                  <a:lnTo>
                    <a:pt x="2155894" y="226544"/>
                  </a:lnTo>
                  <a:close/>
                  <a:moveTo>
                    <a:pt x="2064220" y="416603"/>
                  </a:moveTo>
                  <a:lnTo>
                    <a:pt x="2064220" y="410139"/>
                  </a:lnTo>
                  <a:lnTo>
                    <a:pt x="2068364" y="405205"/>
                  </a:lnTo>
                  <a:lnTo>
                    <a:pt x="2064220" y="401998"/>
                  </a:lnTo>
                  <a:lnTo>
                    <a:pt x="2064220" y="393906"/>
                  </a:lnTo>
                  <a:lnTo>
                    <a:pt x="2057953" y="390699"/>
                  </a:lnTo>
                  <a:lnTo>
                    <a:pt x="2060026" y="387443"/>
                  </a:lnTo>
                  <a:lnTo>
                    <a:pt x="2062098" y="382509"/>
                  </a:lnTo>
                  <a:lnTo>
                    <a:pt x="2070437" y="382509"/>
                  </a:lnTo>
                  <a:lnTo>
                    <a:pt x="2078775" y="388972"/>
                  </a:lnTo>
                  <a:lnTo>
                    <a:pt x="2080847" y="388972"/>
                  </a:lnTo>
                  <a:lnTo>
                    <a:pt x="2082920" y="384038"/>
                  </a:lnTo>
                  <a:lnTo>
                    <a:pt x="2074630" y="374170"/>
                  </a:lnTo>
                  <a:lnTo>
                    <a:pt x="2068364" y="370914"/>
                  </a:lnTo>
                  <a:lnTo>
                    <a:pt x="2066243" y="365980"/>
                  </a:lnTo>
                  <a:lnTo>
                    <a:pt x="2072509" y="365980"/>
                  </a:lnTo>
                  <a:lnTo>
                    <a:pt x="2068364" y="361046"/>
                  </a:lnTo>
                  <a:lnTo>
                    <a:pt x="2074828" y="355224"/>
                  </a:lnTo>
                  <a:lnTo>
                    <a:pt x="2074828" y="345356"/>
                  </a:lnTo>
                  <a:lnTo>
                    <a:pt x="2078972" y="337313"/>
                  </a:lnTo>
                  <a:lnTo>
                    <a:pt x="2083265" y="337313"/>
                  </a:lnTo>
                  <a:lnTo>
                    <a:pt x="2087459" y="334057"/>
                  </a:lnTo>
                  <a:lnTo>
                    <a:pt x="2089531" y="326014"/>
                  </a:lnTo>
                  <a:lnTo>
                    <a:pt x="2093676" y="321080"/>
                  </a:lnTo>
                  <a:lnTo>
                    <a:pt x="2102014" y="314616"/>
                  </a:lnTo>
                  <a:lnTo>
                    <a:pt x="2110402" y="314616"/>
                  </a:lnTo>
                  <a:lnTo>
                    <a:pt x="2118691" y="324485"/>
                  </a:lnTo>
                  <a:lnTo>
                    <a:pt x="2120813" y="332576"/>
                  </a:lnTo>
                  <a:lnTo>
                    <a:pt x="2120813" y="335784"/>
                  </a:lnTo>
                  <a:lnTo>
                    <a:pt x="2122836" y="340718"/>
                  </a:lnTo>
                  <a:lnTo>
                    <a:pt x="2127030" y="342346"/>
                  </a:lnTo>
                  <a:lnTo>
                    <a:pt x="2127030" y="348809"/>
                  </a:lnTo>
                  <a:lnTo>
                    <a:pt x="2131224" y="350388"/>
                  </a:lnTo>
                  <a:lnTo>
                    <a:pt x="2133296" y="353645"/>
                  </a:lnTo>
                  <a:lnTo>
                    <a:pt x="2135368" y="360059"/>
                  </a:lnTo>
                  <a:lnTo>
                    <a:pt x="2143707" y="361687"/>
                  </a:lnTo>
                  <a:lnTo>
                    <a:pt x="2143707" y="364944"/>
                  </a:lnTo>
                  <a:lnTo>
                    <a:pt x="2145779" y="369878"/>
                  </a:lnTo>
                  <a:lnTo>
                    <a:pt x="2149924" y="381177"/>
                  </a:lnTo>
                  <a:lnTo>
                    <a:pt x="2141635" y="386111"/>
                  </a:lnTo>
                  <a:lnTo>
                    <a:pt x="2137441" y="389318"/>
                  </a:lnTo>
                  <a:lnTo>
                    <a:pt x="2131224" y="389318"/>
                  </a:lnTo>
                  <a:lnTo>
                    <a:pt x="2127030" y="390946"/>
                  </a:lnTo>
                  <a:lnTo>
                    <a:pt x="2129102" y="394153"/>
                  </a:lnTo>
                  <a:lnTo>
                    <a:pt x="2133296" y="394153"/>
                  </a:lnTo>
                  <a:lnTo>
                    <a:pt x="2135368" y="404021"/>
                  </a:lnTo>
                  <a:lnTo>
                    <a:pt x="2135368" y="410485"/>
                  </a:lnTo>
                  <a:lnTo>
                    <a:pt x="2122737" y="416406"/>
                  </a:lnTo>
                  <a:lnTo>
                    <a:pt x="2118593" y="419613"/>
                  </a:lnTo>
                  <a:lnTo>
                    <a:pt x="2114448" y="419613"/>
                  </a:lnTo>
                  <a:lnTo>
                    <a:pt x="2112327" y="414679"/>
                  </a:lnTo>
                  <a:lnTo>
                    <a:pt x="2110303" y="411472"/>
                  </a:lnTo>
                  <a:lnTo>
                    <a:pt x="2101916" y="416406"/>
                  </a:lnTo>
                  <a:lnTo>
                    <a:pt x="2095699" y="414777"/>
                  </a:lnTo>
                  <a:lnTo>
                    <a:pt x="2085288" y="418034"/>
                  </a:lnTo>
                  <a:lnTo>
                    <a:pt x="2081094" y="416406"/>
                  </a:lnTo>
                  <a:lnTo>
                    <a:pt x="2079022" y="409942"/>
                  </a:lnTo>
                  <a:lnTo>
                    <a:pt x="2072756" y="409942"/>
                  </a:lnTo>
                  <a:lnTo>
                    <a:pt x="2072756" y="413199"/>
                  </a:lnTo>
                  <a:close/>
                  <a:moveTo>
                    <a:pt x="2147506" y="406735"/>
                  </a:moveTo>
                  <a:lnTo>
                    <a:pt x="2149579" y="406735"/>
                  </a:lnTo>
                  <a:lnTo>
                    <a:pt x="2151700" y="401801"/>
                  </a:lnTo>
                  <a:lnTo>
                    <a:pt x="2151700" y="390502"/>
                  </a:lnTo>
                  <a:lnTo>
                    <a:pt x="2147506" y="390502"/>
                  </a:lnTo>
                  <a:lnTo>
                    <a:pt x="2145434" y="393709"/>
                  </a:lnTo>
                  <a:lnTo>
                    <a:pt x="2145434" y="401801"/>
                  </a:lnTo>
                  <a:close/>
                  <a:moveTo>
                    <a:pt x="2174594" y="500482"/>
                  </a:moveTo>
                  <a:lnTo>
                    <a:pt x="2174594" y="505416"/>
                  </a:lnTo>
                  <a:lnTo>
                    <a:pt x="2178739" y="510350"/>
                  </a:lnTo>
                  <a:lnTo>
                    <a:pt x="2187077" y="510350"/>
                  </a:lnTo>
                  <a:lnTo>
                    <a:pt x="2195416" y="507093"/>
                  </a:lnTo>
                  <a:lnTo>
                    <a:pt x="2203754" y="497225"/>
                  </a:lnTo>
                  <a:lnTo>
                    <a:pt x="2203754" y="492291"/>
                  </a:lnTo>
                  <a:lnTo>
                    <a:pt x="2199610" y="490663"/>
                  </a:lnTo>
                  <a:lnTo>
                    <a:pt x="2201633" y="487456"/>
                  </a:lnTo>
                  <a:lnTo>
                    <a:pt x="2197488" y="484249"/>
                  </a:lnTo>
                  <a:lnTo>
                    <a:pt x="2193343" y="482620"/>
                  </a:lnTo>
                  <a:lnTo>
                    <a:pt x="2189150" y="476157"/>
                  </a:lnTo>
                  <a:lnTo>
                    <a:pt x="2182933" y="476157"/>
                  </a:lnTo>
                  <a:lnTo>
                    <a:pt x="2176666" y="481091"/>
                  </a:lnTo>
                  <a:lnTo>
                    <a:pt x="2174594" y="487554"/>
                  </a:lnTo>
                  <a:lnTo>
                    <a:pt x="2172522" y="494018"/>
                  </a:lnTo>
                  <a:close/>
                  <a:moveTo>
                    <a:pt x="2164183" y="503689"/>
                  </a:moveTo>
                  <a:lnTo>
                    <a:pt x="2164183" y="506896"/>
                  </a:lnTo>
                  <a:lnTo>
                    <a:pt x="2166256" y="511830"/>
                  </a:lnTo>
                  <a:lnTo>
                    <a:pt x="2168328" y="513458"/>
                  </a:lnTo>
                  <a:lnTo>
                    <a:pt x="2172522" y="511830"/>
                  </a:lnTo>
                  <a:lnTo>
                    <a:pt x="2170400" y="508623"/>
                  </a:lnTo>
                  <a:lnTo>
                    <a:pt x="2168328" y="506994"/>
                  </a:lnTo>
                  <a:lnTo>
                    <a:pt x="2166256" y="502060"/>
                  </a:lnTo>
                  <a:close/>
                  <a:moveTo>
                    <a:pt x="2057953" y="455286"/>
                  </a:moveTo>
                  <a:lnTo>
                    <a:pt x="2057953" y="445418"/>
                  </a:lnTo>
                  <a:lnTo>
                    <a:pt x="2062098" y="435550"/>
                  </a:lnTo>
                  <a:lnTo>
                    <a:pt x="2066243" y="430616"/>
                  </a:lnTo>
                  <a:lnTo>
                    <a:pt x="2078775" y="430616"/>
                  </a:lnTo>
                  <a:lnTo>
                    <a:pt x="2085041" y="432244"/>
                  </a:lnTo>
                  <a:lnTo>
                    <a:pt x="2091258" y="430616"/>
                  </a:lnTo>
                  <a:lnTo>
                    <a:pt x="2093330" y="432244"/>
                  </a:lnTo>
                  <a:lnTo>
                    <a:pt x="2095452" y="435451"/>
                  </a:lnTo>
                  <a:lnTo>
                    <a:pt x="2101669" y="435451"/>
                  </a:lnTo>
                  <a:lnTo>
                    <a:pt x="2103741" y="433872"/>
                  </a:lnTo>
                  <a:lnTo>
                    <a:pt x="2110057" y="437079"/>
                  </a:lnTo>
                  <a:lnTo>
                    <a:pt x="2114202" y="437079"/>
                  </a:lnTo>
                  <a:lnTo>
                    <a:pt x="2122491" y="445171"/>
                  </a:lnTo>
                  <a:lnTo>
                    <a:pt x="2126685" y="446750"/>
                  </a:lnTo>
                  <a:lnTo>
                    <a:pt x="2124612" y="450006"/>
                  </a:lnTo>
                  <a:lnTo>
                    <a:pt x="2126685" y="453214"/>
                  </a:lnTo>
                  <a:lnTo>
                    <a:pt x="2130879" y="453214"/>
                  </a:lnTo>
                  <a:lnTo>
                    <a:pt x="2137095" y="450006"/>
                  </a:lnTo>
                  <a:lnTo>
                    <a:pt x="2141289" y="454940"/>
                  </a:lnTo>
                  <a:lnTo>
                    <a:pt x="2145434" y="458148"/>
                  </a:lnTo>
                  <a:lnTo>
                    <a:pt x="2145434" y="464611"/>
                  </a:lnTo>
                  <a:lnTo>
                    <a:pt x="2143362" y="467868"/>
                  </a:lnTo>
                  <a:lnTo>
                    <a:pt x="2135023" y="466239"/>
                  </a:lnTo>
                  <a:lnTo>
                    <a:pt x="2126685" y="472703"/>
                  </a:lnTo>
                  <a:lnTo>
                    <a:pt x="2120468" y="474282"/>
                  </a:lnTo>
                  <a:lnTo>
                    <a:pt x="2112080" y="469348"/>
                  </a:lnTo>
                  <a:lnTo>
                    <a:pt x="2099597" y="469348"/>
                  </a:lnTo>
                  <a:lnTo>
                    <a:pt x="2091258" y="462884"/>
                  </a:lnTo>
                  <a:lnTo>
                    <a:pt x="2083265" y="462884"/>
                  </a:lnTo>
                  <a:lnTo>
                    <a:pt x="2074976" y="459677"/>
                  </a:lnTo>
                  <a:lnTo>
                    <a:pt x="2070782" y="454743"/>
                  </a:lnTo>
                  <a:lnTo>
                    <a:pt x="2058299" y="454743"/>
                  </a:lnTo>
                  <a:close/>
                  <a:moveTo>
                    <a:pt x="1970670" y="351868"/>
                  </a:moveTo>
                  <a:lnTo>
                    <a:pt x="1972743" y="350240"/>
                  </a:lnTo>
                  <a:lnTo>
                    <a:pt x="1976887" y="347033"/>
                  </a:lnTo>
                  <a:lnTo>
                    <a:pt x="1978959" y="348661"/>
                  </a:lnTo>
                  <a:lnTo>
                    <a:pt x="1976887" y="353595"/>
                  </a:lnTo>
                  <a:lnTo>
                    <a:pt x="1972743" y="353595"/>
                  </a:lnTo>
                  <a:close/>
                  <a:moveTo>
                    <a:pt x="1976887" y="387344"/>
                  </a:moveTo>
                  <a:lnTo>
                    <a:pt x="1981081" y="397212"/>
                  </a:lnTo>
                  <a:lnTo>
                    <a:pt x="1985226" y="402146"/>
                  </a:lnTo>
                  <a:lnTo>
                    <a:pt x="1995686" y="402146"/>
                  </a:lnTo>
                  <a:lnTo>
                    <a:pt x="1997758" y="403725"/>
                  </a:lnTo>
                  <a:lnTo>
                    <a:pt x="2003975" y="403725"/>
                  </a:lnTo>
                  <a:lnTo>
                    <a:pt x="2014386" y="398791"/>
                  </a:lnTo>
                  <a:lnTo>
                    <a:pt x="2014386" y="393857"/>
                  </a:lnTo>
                  <a:lnTo>
                    <a:pt x="2018580" y="392229"/>
                  </a:lnTo>
                  <a:lnTo>
                    <a:pt x="2024797" y="384186"/>
                  </a:lnTo>
                  <a:lnTo>
                    <a:pt x="2026918" y="377723"/>
                  </a:lnTo>
                  <a:lnTo>
                    <a:pt x="2028991" y="367855"/>
                  </a:lnTo>
                  <a:lnTo>
                    <a:pt x="2033135" y="359763"/>
                  </a:lnTo>
                  <a:lnTo>
                    <a:pt x="2031063" y="356556"/>
                  </a:lnTo>
                  <a:lnTo>
                    <a:pt x="2031063" y="353349"/>
                  </a:lnTo>
                  <a:lnTo>
                    <a:pt x="2035208" y="350092"/>
                  </a:lnTo>
                  <a:lnTo>
                    <a:pt x="2039401" y="342050"/>
                  </a:lnTo>
                  <a:lnTo>
                    <a:pt x="2043793" y="342050"/>
                  </a:lnTo>
                  <a:lnTo>
                    <a:pt x="2050010" y="337116"/>
                  </a:lnTo>
                  <a:lnTo>
                    <a:pt x="2058348" y="332182"/>
                  </a:lnTo>
                  <a:lnTo>
                    <a:pt x="2060420" y="324090"/>
                  </a:lnTo>
                  <a:lnTo>
                    <a:pt x="2058348" y="319156"/>
                  </a:lnTo>
                  <a:lnTo>
                    <a:pt x="2064614" y="314222"/>
                  </a:lnTo>
                  <a:lnTo>
                    <a:pt x="2066637" y="310965"/>
                  </a:lnTo>
                  <a:lnTo>
                    <a:pt x="2062493" y="304551"/>
                  </a:lnTo>
                  <a:lnTo>
                    <a:pt x="2062493" y="298630"/>
                  </a:lnTo>
                  <a:lnTo>
                    <a:pt x="2058348" y="298630"/>
                  </a:lnTo>
                  <a:lnTo>
                    <a:pt x="2050010" y="295374"/>
                  </a:lnTo>
                  <a:lnTo>
                    <a:pt x="2043793" y="295374"/>
                  </a:lnTo>
                  <a:lnTo>
                    <a:pt x="2041671" y="292167"/>
                  </a:lnTo>
                  <a:lnTo>
                    <a:pt x="2043793" y="287233"/>
                  </a:lnTo>
                  <a:lnTo>
                    <a:pt x="2054203" y="282299"/>
                  </a:lnTo>
                  <a:lnTo>
                    <a:pt x="2054203" y="279239"/>
                  </a:lnTo>
                  <a:lnTo>
                    <a:pt x="2050010" y="274305"/>
                  </a:lnTo>
                  <a:lnTo>
                    <a:pt x="2050010" y="267941"/>
                  </a:lnTo>
                  <a:lnTo>
                    <a:pt x="2052082" y="263006"/>
                  </a:lnTo>
                  <a:lnTo>
                    <a:pt x="2045618" y="256543"/>
                  </a:lnTo>
                  <a:lnTo>
                    <a:pt x="2041474" y="256543"/>
                  </a:lnTo>
                  <a:lnTo>
                    <a:pt x="2033135" y="261477"/>
                  </a:lnTo>
                  <a:lnTo>
                    <a:pt x="2022724" y="263056"/>
                  </a:lnTo>
                  <a:lnTo>
                    <a:pt x="2020652" y="267990"/>
                  </a:lnTo>
                  <a:lnTo>
                    <a:pt x="2014386" y="272924"/>
                  </a:lnTo>
                  <a:lnTo>
                    <a:pt x="2010192" y="272924"/>
                  </a:lnTo>
                  <a:lnTo>
                    <a:pt x="2008169" y="266510"/>
                  </a:lnTo>
                  <a:lnTo>
                    <a:pt x="2016507" y="263253"/>
                  </a:lnTo>
                  <a:lnTo>
                    <a:pt x="2020652" y="258319"/>
                  </a:lnTo>
                  <a:lnTo>
                    <a:pt x="2020652" y="250227"/>
                  </a:lnTo>
                  <a:lnTo>
                    <a:pt x="2022724" y="240359"/>
                  </a:lnTo>
                  <a:lnTo>
                    <a:pt x="2020652" y="233945"/>
                  </a:lnTo>
                  <a:lnTo>
                    <a:pt x="2016507" y="229011"/>
                  </a:lnTo>
                  <a:lnTo>
                    <a:pt x="2014386" y="224077"/>
                  </a:lnTo>
                  <a:lnTo>
                    <a:pt x="2006097" y="219143"/>
                  </a:lnTo>
                  <a:lnTo>
                    <a:pt x="1999781" y="222399"/>
                  </a:lnTo>
                  <a:lnTo>
                    <a:pt x="1991492" y="219143"/>
                  </a:lnTo>
                  <a:lnTo>
                    <a:pt x="1981081" y="227235"/>
                  </a:lnTo>
                  <a:lnTo>
                    <a:pt x="1976887" y="225607"/>
                  </a:lnTo>
                  <a:lnTo>
                    <a:pt x="1974815" y="215738"/>
                  </a:lnTo>
                  <a:lnTo>
                    <a:pt x="1974815" y="214110"/>
                  </a:lnTo>
                  <a:lnTo>
                    <a:pt x="1968549" y="217367"/>
                  </a:lnTo>
                  <a:lnTo>
                    <a:pt x="1966477" y="222301"/>
                  </a:lnTo>
                  <a:lnTo>
                    <a:pt x="1958138" y="227235"/>
                  </a:lnTo>
                  <a:lnTo>
                    <a:pt x="1956065" y="233698"/>
                  </a:lnTo>
                  <a:lnTo>
                    <a:pt x="1947727" y="241741"/>
                  </a:lnTo>
                  <a:lnTo>
                    <a:pt x="1949849" y="246675"/>
                  </a:lnTo>
                  <a:lnTo>
                    <a:pt x="1953993" y="249931"/>
                  </a:lnTo>
                  <a:lnTo>
                    <a:pt x="1958138" y="246675"/>
                  </a:lnTo>
                  <a:lnTo>
                    <a:pt x="1966477" y="245096"/>
                  </a:lnTo>
                  <a:lnTo>
                    <a:pt x="1968549" y="248303"/>
                  </a:lnTo>
                  <a:lnTo>
                    <a:pt x="1960260" y="254767"/>
                  </a:lnTo>
                  <a:lnTo>
                    <a:pt x="1949849" y="257974"/>
                  </a:lnTo>
                  <a:lnTo>
                    <a:pt x="1943583" y="267842"/>
                  </a:lnTo>
                  <a:lnTo>
                    <a:pt x="1945655" y="271098"/>
                  </a:lnTo>
                  <a:lnTo>
                    <a:pt x="1956065" y="266164"/>
                  </a:lnTo>
                  <a:lnTo>
                    <a:pt x="1964404" y="259701"/>
                  </a:lnTo>
                  <a:lnTo>
                    <a:pt x="1968549" y="259701"/>
                  </a:lnTo>
                  <a:lnTo>
                    <a:pt x="1974716" y="256543"/>
                  </a:lnTo>
                  <a:lnTo>
                    <a:pt x="1978861" y="261477"/>
                  </a:lnTo>
                  <a:lnTo>
                    <a:pt x="1974716" y="267891"/>
                  </a:lnTo>
                  <a:lnTo>
                    <a:pt x="1970572" y="267891"/>
                  </a:lnTo>
                  <a:lnTo>
                    <a:pt x="1962233" y="274355"/>
                  </a:lnTo>
                  <a:lnTo>
                    <a:pt x="1960161" y="279289"/>
                  </a:lnTo>
                  <a:lnTo>
                    <a:pt x="1962233" y="284223"/>
                  </a:lnTo>
                  <a:lnTo>
                    <a:pt x="1972644" y="282644"/>
                  </a:lnTo>
                  <a:lnTo>
                    <a:pt x="1978861" y="284223"/>
                  </a:lnTo>
                  <a:lnTo>
                    <a:pt x="1970572" y="289157"/>
                  </a:lnTo>
                  <a:lnTo>
                    <a:pt x="1960161" y="292364"/>
                  </a:lnTo>
                  <a:lnTo>
                    <a:pt x="1955967" y="290736"/>
                  </a:lnTo>
                  <a:lnTo>
                    <a:pt x="1953895" y="295670"/>
                  </a:lnTo>
                  <a:lnTo>
                    <a:pt x="1962233" y="297298"/>
                  </a:lnTo>
                  <a:lnTo>
                    <a:pt x="1962233" y="300505"/>
                  </a:lnTo>
                  <a:lnTo>
                    <a:pt x="1951822" y="310373"/>
                  </a:lnTo>
                  <a:lnTo>
                    <a:pt x="1947628" y="310373"/>
                  </a:lnTo>
                  <a:lnTo>
                    <a:pt x="1943484" y="302281"/>
                  </a:lnTo>
                  <a:lnTo>
                    <a:pt x="1937218" y="299074"/>
                  </a:lnTo>
                  <a:lnTo>
                    <a:pt x="1933073" y="292611"/>
                  </a:lnTo>
                  <a:lnTo>
                    <a:pt x="1918271" y="297545"/>
                  </a:lnTo>
                  <a:lnTo>
                    <a:pt x="1918271" y="300752"/>
                  </a:lnTo>
                  <a:lnTo>
                    <a:pt x="1909883" y="312051"/>
                  </a:lnTo>
                  <a:lnTo>
                    <a:pt x="1916149" y="320143"/>
                  </a:lnTo>
                  <a:lnTo>
                    <a:pt x="1916149" y="325077"/>
                  </a:lnTo>
                  <a:lnTo>
                    <a:pt x="1922416" y="328284"/>
                  </a:lnTo>
                  <a:lnTo>
                    <a:pt x="1926560" y="323350"/>
                  </a:lnTo>
                  <a:lnTo>
                    <a:pt x="1932826" y="323350"/>
                  </a:lnTo>
                  <a:lnTo>
                    <a:pt x="1945309" y="326606"/>
                  </a:lnTo>
                  <a:lnTo>
                    <a:pt x="1955720" y="326606"/>
                  </a:lnTo>
                  <a:lnTo>
                    <a:pt x="1957793" y="328185"/>
                  </a:lnTo>
                  <a:lnTo>
                    <a:pt x="1968203" y="326606"/>
                  </a:lnTo>
                  <a:lnTo>
                    <a:pt x="1968203" y="329813"/>
                  </a:lnTo>
                  <a:lnTo>
                    <a:pt x="1961986" y="331442"/>
                  </a:lnTo>
                  <a:lnTo>
                    <a:pt x="1959914" y="334649"/>
                  </a:lnTo>
                  <a:lnTo>
                    <a:pt x="1961986" y="341112"/>
                  </a:lnTo>
                  <a:lnTo>
                    <a:pt x="1972397" y="341112"/>
                  </a:lnTo>
                  <a:lnTo>
                    <a:pt x="1978614" y="346046"/>
                  </a:lnTo>
                  <a:lnTo>
                    <a:pt x="1982808" y="355914"/>
                  </a:lnTo>
                  <a:lnTo>
                    <a:pt x="1989518" y="355914"/>
                  </a:lnTo>
                  <a:lnTo>
                    <a:pt x="1991640" y="359171"/>
                  </a:lnTo>
                  <a:lnTo>
                    <a:pt x="1989518" y="362378"/>
                  </a:lnTo>
                  <a:lnTo>
                    <a:pt x="1989518" y="368842"/>
                  </a:lnTo>
                  <a:close/>
                  <a:moveTo>
                    <a:pt x="1939438" y="342198"/>
                  </a:moveTo>
                  <a:lnTo>
                    <a:pt x="1941510" y="335734"/>
                  </a:lnTo>
                  <a:lnTo>
                    <a:pt x="1950046" y="332527"/>
                  </a:lnTo>
                  <a:lnTo>
                    <a:pt x="1956263" y="332527"/>
                  </a:lnTo>
                  <a:lnTo>
                    <a:pt x="1952118" y="335734"/>
                  </a:lnTo>
                  <a:lnTo>
                    <a:pt x="1950046" y="338941"/>
                  </a:lnTo>
                  <a:lnTo>
                    <a:pt x="1943780" y="343875"/>
                  </a:lnTo>
                  <a:close/>
                  <a:moveTo>
                    <a:pt x="1924636" y="376095"/>
                  </a:moveTo>
                  <a:lnTo>
                    <a:pt x="1926708" y="369631"/>
                  </a:lnTo>
                  <a:lnTo>
                    <a:pt x="1939241" y="369631"/>
                  </a:lnTo>
                  <a:lnTo>
                    <a:pt x="1949651" y="371210"/>
                  </a:lnTo>
                  <a:lnTo>
                    <a:pt x="1960062" y="382509"/>
                  </a:lnTo>
                  <a:lnTo>
                    <a:pt x="1960062" y="398643"/>
                  </a:lnTo>
                  <a:lnTo>
                    <a:pt x="1955868" y="398643"/>
                  </a:lnTo>
                  <a:lnTo>
                    <a:pt x="1947530" y="395436"/>
                  </a:lnTo>
                  <a:lnTo>
                    <a:pt x="1941313" y="397064"/>
                  </a:lnTo>
                  <a:lnTo>
                    <a:pt x="1937119" y="397064"/>
                  </a:lnTo>
                  <a:lnTo>
                    <a:pt x="1930902" y="390601"/>
                  </a:lnTo>
                  <a:lnTo>
                    <a:pt x="1922563" y="384137"/>
                  </a:lnTo>
                  <a:close/>
                  <a:moveTo>
                    <a:pt x="1832962" y="427705"/>
                  </a:moveTo>
                  <a:lnTo>
                    <a:pt x="1837155" y="424497"/>
                  </a:lnTo>
                  <a:lnTo>
                    <a:pt x="1847566" y="424497"/>
                  </a:lnTo>
                  <a:lnTo>
                    <a:pt x="1845494" y="429431"/>
                  </a:lnTo>
                  <a:lnTo>
                    <a:pt x="1837155" y="431010"/>
                  </a:lnTo>
                  <a:close/>
                  <a:moveTo>
                    <a:pt x="1828817" y="419613"/>
                  </a:moveTo>
                  <a:lnTo>
                    <a:pt x="1824672" y="411570"/>
                  </a:lnTo>
                  <a:lnTo>
                    <a:pt x="1826745" y="406636"/>
                  </a:lnTo>
                  <a:lnTo>
                    <a:pt x="1828817" y="398544"/>
                  </a:lnTo>
                  <a:lnTo>
                    <a:pt x="1828817" y="392081"/>
                  </a:lnTo>
                  <a:lnTo>
                    <a:pt x="1837155" y="387147"/>
                  </a:lnTo>
                  <a:lnTo>
                    <a:pt x="1837155" y="382213"/>
                  </a:lnTo>
                  <a:lnTo>
                    <a:pt x="1839228" y="380634"/>
                  </a:lnTo>
                  <a:lnTo>
                    <a:pt x="1839228" y="377377"/>
                  </a:lnTo>
                  <a:lnTo>
                    <a:pt x="1843372" y="367509"/>
                  </a:lnTo>
                  <a:lnTo>
                    <a:pt x="1843372" y="361046"/>
                  </a:lnTo>
                  <a:lnTo>
                    <a:pt x="1847566" y="359418"/>
                  </a:lnTo>
                  <a:lnTo>
                    <a:pt x="1853783" y="362674"/>
                  </a:lnTo>
                  <a:lnTo>
                    <a:pt x="1853783" y="370716"/>
                  </a:lnTo>
                  <a:lnTo>
                    <a:pt x="1855905" y="373973"/>
                  </a:lnTo>
                  <a:lnTo>
                    <a:pt x="1851760" y="386851"/>
                  </a:lnTo>
                  <a:lnTo>
                    <a:pt x="1851760" y="391785"/>
                  </a:lnTo>
                  <a:lnTo>
                    <a:pt x="1847566" y="398248"/>
                  </a:lnTo>
                  <a:lnTo>
                    <a:pt x="1851760" y="401505"/>
                  </a:lnTo>
                  <a:lnTo>
                    <a:pt x="1845494" y="417639"/>
                  </a:lnTo>
                  <a:lnTo>
                    <a:pt x="1837155" y="420846"/>
                  </a:lnTo>
                  <a:close/>
                  <a:moveTo>
                    <a:pt x="1745678" y="279239"/>
                  </a:moveTo>
                  <a:lnTo>
                    <a:pt x="1741534" y="272776"/>
                  </a:lnTo>
                  <a:lnTo>
                    <a:pt x="1739462" y="266362"/>
                  </a:lnTo>
                  <a:lnTo>
                    <a:pt x="1743606" y="263105"/>
                  </a:lnTo>
                  <a:lnTo>
                    <a:pt x="1737389" y="258171"/>
                  </a:lnTo>
                  <a:lnTo>
                    <a:pt x="1731123" y="259799"/>
                  </a:lnTo>
                  <a:lnTo>
                    <a:pt x="1726978" y="258171"/>
                  </a:lnTo>
                  <a:lnTo>
                    <a:pt x="1722784" y="259799"/>
                  </a:lnTo>
                  <a:lnTo>
                    <a:pt x="1714446" y="259799"/>
                  </a:lnTo>
                  <a:lnTo>
                    <a:pt x="1708278" y="261477"/>
                  </a:lnTo>
                  <a:lnTo>
                    <a:pt x="1708278" y="255063"/>
                  </a:lnTo>
                  <a:lnTo>
                    <a:pt x="1714545" y="250129"/>
                  </a:lnTo>
                  <a:lnTo>
                    <a:pt x="1714545" y="245195"/>
                  </a:lnTo>
                  <a:lnTo>
                    <a:pt x="1731222" y="245195"/>
                  </a:lnTo>
                  <a:lnTo>
                    <a:pt x="1752043" y="240261"/>
                  </a:lnTo>
                  <a:lnTo>
                    <a:pt x="1758310" y="240261"/>
                  </a:lnTo>
                  <a:lnTo>
                    <a:pt x="1764526" y="245195"/>
                  </a:lnTo>
                  <a:lnTo>
                    <a:pt x="1768720" y="243566"/>
                  </a:lnTo>
                  <a:lnTo>
                    <a:pt x="1777009" y="243566"/>
                  </a:lnTo>
                  <a:lnTo>
                    <a:pt x="1785397" y="238632"/>
                  </a:lnTo>
                  <a:lnTo>
                    <a:pt x="1802025" y="238632"/>
                  </a:lnTo>
                  <a:lnTo>
                    <a:pt x="1804147" y="235376"/>
                  </a:lnTo>
                  <a:lnTo>
                    <a:pt x="1810364" y="237004"/>
                  </a:lnTo>
                  <a:lnTo>
                    <a:pt x="1810364" y="241938"/>
                  </a:lnTo>
                  <a:lnTo>
                    <a:pt x="1814557" y="248402"/>
                  </a:lnTo>
                  <a:lnTo>
                    <a:pt x="1814557" y="253336"/>
                  </a:lnTo>
                  <a:lnTo>
                    <a:pt x="1808193" y="261477"/>
                  </a:lnTo>
                  <a:lnTo>
                    <a:pt x="1812337" y="271345"/>
                  </a:lnTo>
                  <a:lnTo>
                    <a:pt x="1806120" y="282644"/>
                  </a:lnTo>
                  <a:lnTo>
                    <a:pt x="1797732" y="285851"/>
                  </a:lnTo>
                  <a:lnTo>
                    <a:pt x="1791516" y="292315"/>
                  </a:lnTo>
                  <a:lnTo>
                    <a:pt x="1785299" y="290686"/>
                  </a:lnTo>
                  <a:lnTo>
                    <a:pt x="1779033" y="292315"/>
                  </a:lnTo>
                  <a:lnTo>
                    <a:pt x="1776911" y="287381"/>
                  </a:lnTo>
                  <a:lnTo>
                    <a:pt x="1768622" y="289009"/>
                  </a:lnTo>
                  <a:lnTo>
                    <a:pt x="1760283" y="280917"/>
                  </a:lnTo>
                  <a:lnTo>
                    <a:pt x="1760283" y="272776"/>
                  </a:lnTo>
                  <a:lnTo>
                    <a:pt x="1756089" y="266362"/>
                  </a:lnTo>
                  <a:lnTo>
                    <a:pt x="1751944" y="269569"/>
                  </a:lnTo>
                  <a:lnTo>
                    <a:pt x="1751944" y="274503"/>
                  </a:lnTo>
                  <a:close/>
                  <a:moveTo>
                    <a:pt x="1645715" y="326063"/>
                  </a:moveTo>
                  <a:lnTo>
                    <a:pt x="1651932" y="321129"/>
                  </a:lnTo>
                  <a:lnTo>
                    <a:pt x="1651932" y="316195"/>
                  </a:lnTo>
                  <a:lnTo>
                    <a:pt x="1660320" y="309781"/>
                  </a:lnTo>
                  <a:lnTo>
                    <a:pt x="1660320" y="303466"/>
                  </a:lnTo>
                  <a:lnTo>
                    <a:pt x="1668609" y="300209"/>
                  </a:lnTo>
                  <a:lnTo>
                    <a:pt x="1674875" y="295275"/>
                  </a:lnTo>
                  <a:lnTo>
                    <a:pt x="1681141" y="295275"/>
                  </a:lnTo>
                  <a:lnTo>
                    <a:pt x="1697769" y="292068"/>
                  </a:lnTo>
                  <a:lnTo>
                    <a:pt x="1701963" y="295275"/>
                  </a:lnTo>
                  <a:lnTo>
                    <a:pt x="1708278" y="295275"/>
                  </a:lnTo>
                  <a:lnTo>
                    <a:pt x="1712472" y="296903"/>
                  </a:lnTo>
                  <a:lnTo>
                    <a:pt x="1724955" y="296903"/>
                  </a:lnTo>
                  <a:lnTo>
                    <a:pt x="1735366" y="298532"/>
                  </a:lnTo>
                  <a:lnTo>
                    <a:pt x="1737488" y="300110"/>
                  </a:lnTo>
                  <a:lnTo>
                    <a:pt x="1747751" y="300110"/>
                  </a:lnTo>
                  <a:lnTo>
                    <a:pt x="1756040" y="301739"/>
                  </a:lnTo>
                  <a:lnTo>
                    <a:pt x="1758161" y="304995"/>
                  </a:lnTo>
                  <a:lnTo>
                    <a:pt x="1766451" y="304995"/>
                  </a:lnTo>
                  <a:lnTo>
                    <a:pt x="1768572" y="308202"/>
                  </a:lnTo>
                  <a:lnTo>
                    <a:pt x="1762306" y="318070"/>
                  </a:lnTo>
                  <a:lnTo>
                    <a:pt x="1756040" y="318070"/>
                  </a:lnTo>
                  <a:lnTo>
                    <a:pt x="1737340" y="323004"/>
                  </a:lnTo>
                  <a:lnTo>
                    <a:pt x="1731074" y="323004"/>
                  </a:lnTo>
                  <a:lnTo>
                    <a:pt x="1722735" y="329468"/>
                  </a:lnTo>
                  <a:lnTo>
                    <a:pt x="1722735" y="332724"/>
                  </a:lnTo>
                  <a:lnTo>
                    <a:pt x="1731074" y="334303"/>
                  </a:lnTo>
                  <a:lnTo>
                    <a:pt x="1733146" y="332724"/>
                  </a:lnTo>
                  <a:lnTo>
                    <a:pt x="1735218" y="337658"/>
                  </a:lnTo>
                  <a:lnTo>
                    <a:pt x="1726978" y="345356"/>
                  </a:lnTo>
                  <a:lnTo>
                    <a:pt x="1722784" y="350290"/>
                  </a:lnTo>
                  <a:lnTo>
                    <a:pt x="1716568" y="351918"/>
                  </a:lnTo>
                  <a:lnTo>
                    <a:pt x="1718640" y="355125"/>
                  </a:lnTo>
                  <a:lnTo>
                    <a:pt x="1712374" y="360059"/>
                  </a:lnTo>
                  <a:lnTo>
                    <a:pt x="1706157" y="360059"/>
                  </a:lnTo>
                  <a:lnTo>
                    <a:pt x="1697769" y="363315"/>
                  </a:lnTo>
                  <a:lnTo>
                    <a:pt x="1689480" y="363315"/>
                  </a:lnTo>
                  <a:lnTo>
                    <a:pt x="1683213" y="358381"/>
                  </a:lnTo>
                  <a:lnTo>
                    <a:pt x="1679020" y="359960"/>
                  </a:lnTo>
                  <a:lnTo>
                    <a:pt x="1664217" y="359960"/>
                  </a:lnTo>
                  <a:lnTo>
                    <a:pt x="1662145" y="356753"/>
                  </a:lnTo>
                  <a:lnTo>
                    <a:pt x="1666290" y="353546"/>
                  </a:lnTo>
                  <a:lnTo>
                    <a:pt x="1660320" y="345356"/>
                  </a:lnTo>
                  <a:lnTo>
                    <a:pt x="1654004" y="342198"/>
                  </a:lnTo>
                  <a:lnTo>
                    <a:pt x="1649859" y="340570"/>
                  </a:lnTo>
                  <a:lnTo>
                    <a:pt x="1647738" y="332527"/>
                  </a:lnTo>
                  <a:close/>
                  <a:moveTo>
                    <a:pt x="1637376" y="305094"/>
                  </a:moveTo>
                  <a:lnTo>
                    <a:pt x="1641521" y="306673"/>
                  </a:lnTo>
                  <a:lnTo>
                    <a:pt x="1651932" y="305094"/>
                  </a:lnTo>
                  <a:lnTo>
                    <a:pt x="1658198" y="297002"/>
                  </a:lnTo>
                  <a:lnTo>
                    <a:pt x="1658198" y="280868"/>
                  </a:lnTo>
                  <a:lnTo>
                    <a:pt x="1660320" y="272776"/>
                  </a:lnTo>
                  <a:lnTo>
                    <a:pt x="1654053" y="274404"/>
                  </a:lnTo>
                  <a:lnTo>
                    <a:pt x="1649909" y="276032"/>
                  </a:lnTo>
                  <a:lnTo>
                    <a:pt x="1645715" y="272776"/>
                  </a:lnTo>
                  <a:lnTo>
                    <a:pt x="1639498" y="276032"/>
                  </a:lnTo>
                  <a:lnTo>
                    <a:pt x="1635304" y="276032"/>
                  </a:lnTo>
                  <a:lnTo>
                    <a:pt x="1633232" y="282496"/>
                  </a:lnTo>
                  <a:lnTo>
                    <a:pt x="1633232" y="288960"/>
                  </a:lnTo>
                  <a:lnTo>
                    <a:pt x="1631110" y="295374"/>
                  </a:lnTo>
                  <a:close/>
                  <a:moveTo>
                    <a:pt x="2245595" y="760111"/>
                  </a:moveTo>
                  <a:lnTo>
                    <a:pt x="2253933" y="763318"/>
                  </a:lnTo>
                  <a:lnTo>
                    <a:pt x="2260199" y="760111"/>
                  </a:lnTo>
                  <a:lnTo>
                    <a:pt x="2262272" y="766525"/>
                  </a:lnTo>
                  <a:lnTo>
                    <a:pt x="2268489" y="766525"/>
                  </a:lnTo>
                  <a:lnTo>
                    <a:pt x="2268489" y="768153"/>
                  </a:lnTo>
                  <a:lnTo>
                    <a:pt x="2276877" y="769781"/>
                  </a:lnTo>
                  <a:lnTo>
                    <a:pt x="2289360" y="761689"/>
                  </a:lnTo>
                  <a:lnTo>
                    <a:pt x="2295429" y="761689"/>
                  </a:lnTo>
                  <a:lnTo>
                    <a:pt x="2305839" y="766623"/>
                  </a:lnTo>
                  <a:lnTo>
                    <a:pt x="2312155" y="765045"/>
                  </a:lnTo>
                  <a:lnTo>
                    <a:pt x="2316250" y="766623"/>
                  </a:lnTo>
                  <a:lnTo>
                    <a:pt x="2320444" y="763416"/>
                  </a:lnTo>
                  <a:lnTo>
                    <a:pt x="2320444" y="760209"/>
                  </a:lnTo>
                  <a:lnTo>
                    <a:pt x="2324589" y="753746"/>
                  </a:lnTo>
                  <a:lnTo>
                    <a:pt x="2328783" y="752117"/>
                  </a:lnTo>
                  <a:lnTo>
                    <a:pt x="2328783" y="748910"/>
                  </a:lnTo>
                  <a:lnTo>
                    <a:pt x="2324589" y="742447"/>
                  </a:lnTo>
                  <a:lnTo>
                    <a:pt x="2324589" y="735983"/>
                  </a:lnTo>
                  <a:lnTo>
                    <a:pt x="2328783" y="739240"/>
                  </a:lnTo>
                  <a:lnTo>
                    <a:pt x="2328783" y="744174"/>
                  </a:lnTo>
                  <a:lnTo>
                    <a:pt x="2335000" y="750588"/>
                  </a:lnTo>
                  <a:lnTo>
                    <a:pt x="2339193" y="745654"/>
                  </a:lnTo>
                  <a:lnTo>
                    <a:pt x="2343387" y="747282"/>
                  </a:lnTo>
                  <a:lnTo>
                    <a:pt x="2347532" y="745654"/>
                  </a:lnTo>
                  <a:lnTo>
                    <a:pt x="2351677" y="747282"/>
                  </a:lnTo>
                  <a:lnTo>
                    <a:pt x="2351677" y="744075"/>
                  </a:lnTo>
                  <a:lnTo>
                    <a:pt x="2349604" y="737611"/>
                  </a:lnTo>
                  <a:lnTo>
                    <a:pt x="2351677" y="734355"/>
                  </a:lnTo>
                  <a:lnTo>
                    <a:pt x="2347532" y="731148"/>
                  </a:lnTo>
                  <a:lnTo>
                    <a:pt x="2339193" y="732776"/>
                  </a:lnTo>
                  <a:lnTo>
                    <a:pt x="2330855" y="732776"/>
                  </a:lnTo>
                  <a:lnTo>
                    <a:pt x="2328783" y="727842"/>
                  </a:lnTo>
                  <a:lnTo>
                    <a:pt x="2332977" y="726214"/>
                  </a:lnTo>
                  <a:lnTo>
                    <a:pt x="2337121" y="727842"/>
                  </a:lnTo>
                  <a:lnTo>
                    <a:pt x="2343387" y="726214"/>
                  </a:lnTo>
                  <a:lnTo>
                    <a:pt x="2347532" y="719750"/>
                  </a:lnTo>
                  <a:lnTo>
                    <a:pt x="2351677" y="722957"/>
                  </a:lnTo>
                  <a:lnTo>
                    <a:pt x="2355871" y="722957"/>
                  </a:lnTo>
                  <a:lnTo>
                    <a:pt x="2360015" y="716543"/>
                  </a:lnTo>
                  <a:lnTo>
                    <a:pt x="2360015" y="713287"/>
                  </a:lnTo>
                  <a:lnTo>
                    <a:pt x="2362087" y="706872"/>
                  </a:lnTo>
                  <a:lnTo>
                    <a:pt x="2362087" y="703616"/>
                  </a:lnTo>
                  <a:lnTo>
                    <a:pt x="2366281" y="703616"/>
                  </a:lnTo>
                  <a:lnTo>
                    <a:pt x="2366281" y="700606"/>
                  </a:lnTo>
                  <a:lnTo>
                    <a:pt x="2357943" y="697350"/>
                  </a:lnTo>
                  <a:lnTo>
                    <a:pt x="2351677" y="698978"/>
                  </a:lnTo>
                  <a:lnTo>
                    <a:pt x="2353798" y="694044"/>
                  </a:lnTo>
                  <a:lnTo>
                    <a:pt x="2357943" y="692416"/>
                  </a:lnTo>
                  <a:lnTo>
                    <a:pt x="2357943" y="687482"/>
                  </a:lnTo>
                  <a:lnTo>
                    <a:pt x="2351677" y="684274"/>
                  </a:lnTo>
                  <a:lnTo>
                    <a:pt x="2339342" y="684274"/>
                  </a:lnTo>
                  <a:lnTo>
                    <a:pt x="2335147" y="679340"/>
                  </a:lnTo>
                  <a:lnTo>
                    <a:pt x="2337269" y="676084"/>
                  </a:lnTo>
                  <a:lnTo>
                    <a:pt x="2339342" y="674456"/>
                  </a:lnTo>
                  <a:lnTo>
                    <a:pt x="2337269" y="669522"/>
                  </a:lnTo>
                  <a:lnTo>
                    <a:pt x="2326858" y="661479"/>
                  </a:lnTo>
                  <a:lnTo>
                    <a:pt x="2320592" y="661479"/>
                  </a:lnTo>
                  <a:lnTo>
                    <a:pt x="2314326" y="664686"/>
                  </a:lnTo>
                  <a:lnTo>
                    <a:pt x="2305987" y="664686"/>
                  </a:lnTo>
                  <a:lnTo>
                    <a:pt x="2295577" y="666315"/>
                  </a:lnTo>
                  <a:lnTo>
                    <a:pt x="2283093" y="659851"/>
                  </a:lnTo>
                  <a:lnTo>
                    <a:pt x="2281021" y="654917"/>
                  </a:lnTo>
                  <a:lnTo>
                    <a:pt x="2276877" y="653289"/>
                  </a:lnTo>
                  <a:lnTo>
                    <a:pt x="2270610" y="656545"/>
                  </a:lnTo>
                  <a:lnTo>
                    <a:pt x="2266466" y="656545"/>
                  </a:lnTo>
                  <a:lnTo>
                    <a:pt x="2262272" y="658124"/>
                  </a:lnTo>
                  <a:lnTo>
                    <a:pt x="2253933" y="658124"/>
                  </a:lnTo>
                  <a:lnTo>
                    <a:pt x="2249789" y="663058"/>
                  </a:lnTo>
                  <a:lnTo>
                    <a:pt x="2247667" y="659802"/>
                  </a:lnTo>
                  <a:lnTo>
                    <a:pt x="2241450" y="656594"/>
                  </a:lnTo>
                  <a:lnTo>
                    <a:pt x="2235184" y="659802"/>
                  </a:lnTo>
                  <a:lnTo>
                    <a:pt x="2226845" y="659802"/>
                  </a:lnTo>
                  <a:lnTo>
                    <a:pt x="2226845" y="664736"/>
                  </a:lnTo>
                  <a:lnTo>
                    <a:pt x="2222701" y="666364"/>
                  </a:lnTo>
                  <a:lnTo>
                    <a:pt x="2222701" y="663157"/>
                  </a:lnTo>
                  <a:lnTo>
                    <a:pt x="2220629" y="659900"/>
                  </a:lnTo>
                  <a:lnTo>
                    <a:pt x="2214362" y="661529"/>
                  </a:lnTo>
                  <a:lnTo>
                    <a:pt x="2197685" y="659900"/>
                  </a:lnTo>
                  <a:lnTo>
                    <a:pt x="2195613" y="661529"/>
                  </a:lnTo>
                  <a:lnTo>
                    <a:pt x="2201830" y="664736"/>
                  </a:lnTo>
                  <a:lnTo>
                    <a:pt x="2199807" y="669670"/>
                  </a:lnTo>
                  <a:lnTo>
                    <a:pt x="2206024" y="674604"/>
                  </a:lnTo>
                  <a:lnTo>
                    <a:pt x="2199807" y="673025"/>
                  </a:lnTo>
                  <a:lnTo>
                    <a:pt x="2195613" y="669768"/>
                  </a:lnTo>
                  <a:lnTo>
                    <a:pt x="2191419" y="668189"/>
                  </a:lnTo>
                  <a:lnTo>
                    <a:pt x="2181008" y="669768"/>
                  </a:lnTo>
                  <a:lnTo>
                    <a:pt x="2176864" y="668189"/>
                  </a:lnTo>
                  <a:lnTo>
                    <a:pt x="2185202" y="664933"/>
                  </a:lnTo>
                  <a:lnTo>
                    <a:pt x="2185202" y="661726"/>
                  </a:lnTo>
                  <a:lnTo>
                    <a:pt x="2177012" y="653585"/>
                  </a:lnTo>
                  <a:lnTo>
                    <a:pt x="2179084" y="650378"/>
                  </a:lnTo>
                  <a:lnTo>
                    <a:pt x="2177012" y="647121"/>
                  </a:lnTo>
                  <a:lnTo>
                    <a:pt x="2168673" y="650378"/>
                  </a:lnTo>
                  <a:lnTo>
                    <a:pt x="2168673" y="655312"/>
                  </a:lnTo>
                  <a:lnTo>
                    <a:pt x="2166601" y="658519"/>
                  </a:lnTo>
                  <a:lnTo>
                    <a:pt x="2162456" y="656940"/>
                  </a:lnTo>
                  <a:lnTo>
                    <a:pt x="2164528" y="653683"/>
                  </a:lnTo>
                  <a:lnTo>
                    <a:pt x="2162456" y="648749"/>
                  </a:lnTo>
                  <a:lnTo>
                    <a:pt x="2156190" y="647121"/>
                  </a:lnTo>
                  <a:lnTo>
                    <a:pt x="2152046" y="650378"/>
                  </a:lnTo>
                  <a:lnTo>
                    <a:pt x="2147852" y="650378"/>
                  </a:lnTo>
                  <a:lnTo>
                    <a:pt x="2149924" y="643914"/>
                  </a:lnTo>
                  <a:lnTo>
                    <a:pt x="2147852" y="642286"/>
                  </a:lnTo>
                  <a:lnTo>
                    <a:pt x="2147852" y="635872"/>
                  </a:lnTo>
                  <a:lnTo>
                    <a:pt x="2141635" y="637450"/>
                  </a:lnTo>
                  <a:lnTo>
                    <a:pt x="2133296" y="643914"/>
                  </a:lnTo>
                  <a:lnTo>
                    <a:pt x="2133296" y="652006"/>
                  </a:lnTo>
                  <a:lnTo>
                    <a:pt x="2129102" y="652006"/>
                  </a:lnTo>
                  <a:lnTo>
                    <a:pt x="2127030" y="645542"/>
                  </a:lnTo>
                  <a:lnTo>
                    <a:pt x="2129102" y="640608"/>
                  </a:lnTo>
                  <a:lnTo>
                    <a:pt x="2129102" y="637352"/>
                  </a:lnTo>
                  <a:lnTo>
                    <a:pt x="2133296" y="627484"/>
                  </a:lnTo>
                  <a:lnTo>
                    <a:pt x="2129102" y="622550"/>
                  </a:lnTo>
                  <a:lnTo>
                    <a:pt x="2120813" y="625757"/>
                  </a:lnTo>
                  <a:lnTo>
                    <a:pt x="2120813" y="622550"/>
                  </a:lnTo>
                  <a:lnTo>
                    <a:pt x="2127030" y="620921"/>
                  </a:lnTo>
                  <a:lnTo>
                    <a:pt x="2129102" y="614458"/>
                  </a:lnTo>
                  <a:lnTo>
                    <a:pt x="2129102" y="609524"/>
                  </a:lnTo>
                  <a:lnTo>
                    <a:pt x="2124958" y="611152"/>
                  </a:lnTo>
                  <a:lnTo>
                    <a:pt x="2118691" y="609524"/>
                  </a:lnTo>
                  <a:lnTo>
                    <a:pt x="2114547" y="611152"/>
                  </a:lnTo>
                  <a:lnTo>
                    <a:pt x="2107935" y="611152"/>
                  </a:lnTo>
                  <a:lnTo>
                    <a:pt x="2112080" y="607945"/>
                  </a:lnTo>
                  <a:lnTo>
                    <a:pt x="2112080" y="606859"/>
                  </a:lnTo>
                  <a:lnTo>
                    <a:pt x="2105863" y="606859"/>
                  </a:lnTo>
                  <a:lnTo>
                    <a:pt x="2101669" y="610066"/>
                  </a:lnTo>
                  <a:lnTo>
                    <a:pt x="2093330" y="611695"/>
                  </a:lnTo>
                  <a:lnTo>
                    <a:pt x="2093330" y="608488"/>
                  </a:lnTo>
                  <a:lnTo>
                    <a:pt x="2097525" y="606859"/>
                  </a:lnTo>
                  <a:lnTo>
                    <a:pt x="2099597" y="601925"/>
                  </a:lnTo>
                  <a:lnTo>
                    <a:pt x="2101669" y="596991"/>
                  </a:lnTo>
                  <a:lnTo>
                    <a:pt x="2105863" y="596991"/>
                  </a:lnTo>
                  <a:lnTo>
                    <a:pt x="2112080" y="601925"/>
                  </a:lnTo>
                  <a:lnTo>
                    <a:pt x="2122737" y="601925"/>
                  </a:lnTo>
                  <a:lnTo>
                    <a:pt x="2122737" y="598669"/>
                  </a:lnTo>
                  <a:lnTo>
                    <a:pt x="2116520" y="592255"/>
                  </a:lnTo>
                  <a:lnTo>
                    <a:pt x="2107935" y="592255"/>
                  </a:lnTo>
                  <a:lnTo>
                    <a:pt x="2112080" y="588998"/>
                  </a:lnTo>
                  <a:lnTo>
                    <a:pt x="2103741" y="582535"/>
                  </a:lnTo>
                  <a:lnTo>
                    <a:pt x="2097525" y="579327"/>
                  </a:lnTo>
                  <a:lnTo>
                    <a:pt x="2101669" y="577699"/>
                  </a:lnTo>
                  <a:lnTo>
                    <a:pt x="2101669" y="574492"/>
                  </a:lnTo>
                  <a:lnTo>
                    <a:pt x="2105863" y="574492"/>
                  </a:lnTo>
                  <a:lnTo>
                    <a:pt x="2107935" y="579426"/>
                  </a:lnTo>
                  <a:lnTo>
                    <a:pt x="2116274" y="585890"/>
                  </a:lnTo>
                  <a:lnTo>
                    <a:pt x="2124612" y="589097"/>
                  </a:lnTo>
                  <a:lnTo>
                    <a:pt x="2130879" y="594031"/>
                  </a:lnTo>
                  <a:lnTo>
                    <a:pt x="2132951" y="589097"/>
                  </a:lnTo>
                  <a:lnTo>
                    <a:pt x="2137095" y="594031"/>
                  </a:lnTo>
                  <a:lnTo>
                    <a:pt x="2149579" y="595659"/>
                  </a:lnTo>
                  <a:lnTo>
                    <a:pt x="2155845" y="595659"/>
                  </a:lnTo>
                  <a:lnTo>
                    <a:pt x="2159989" y="590725"/>
                  </a:lnTo>
                  <a:lnTo>
                    <a:pt x="2155845" y="584262"/>
                  </a:lnTo>
                  <a:lnTo>
                    <a:pt x="2141043" y="574393"/>
                  </a:lnTo>
                  <a:lnTo>
                    <a:pt x="2134776" y="569459"/>
                  </a:lnTo>
                  <a:lnTo>
                    <a:pt x="2130632" y="569459"/>
                  </a:lnTo>
                  <a:lnTo>
                    <a:pt x="2130632" y="564525"/>
                  </a:lnTo>
                  <a:lnTo>
                    <a:pt x="2124366" y="558062"/>
                  </a:lnTo>
                  <a:lnTo>
                    <a:pt x="2120221" y="558062"/>
                  </a:lnTo>
                  <a:lnTo>
                    <a:pt x="2116027" y="554805"/>
                  </a:lnTo>
                  <a:lnTo>
                    <a:pt x="2120221" y="551598"/>
                  </a:lnTo>
                  <a:lnTo>
                    <a:pt x="2124366" y="553226"/>
                  </a:lnTo>
                  <a:lnTo>
                    <a:pt x="2128510" y="558160"/>
                  </a:lnTo>
                  <a:lnTo>
                    <a:pt x="2134776" y="558160"/>
                  </a:lnTo>
                  <a:lnTo>
                    <a:pt x="2134776" y="563095"/>
                  </a:lnTo>
                  <a:lnTo>
                    <a:pt x="2138921" y="564723"/>
                  </a:lnTo>
                  <a:lnTo>
                    <a:pt x="2143115" y="559789"/>
                  </a:lnTo>
                  <a:lnTo>
                    <a:pt x="2138921" y="549921"/>
                  </a:lnTo>
                  <a:lnTo>
                    <a:pt x="2130632" y="540053"/>
                  </a:lnTo>
                  <a:lnTo>
                    <a:pt x="2126438" y="541681"/>
                  </a:lnTo>
                  <a:lnTo>
                    <a:pt x="2124366" y="540053"/>
                  </a:lnTo>
                  <a:lnTo>
                    <a:pt x="2116027" y="540053"/>
                  </a:lnTo>
                  <a:lnTo>
                    <a:pt x="2107689" y="543309"/>
                  </a:lnTo>
                  <a:lnTo>
                    <a:pt x="2101422" y="543309"/>
                  </a:lnTo>
                  <a:lnTo>
                    <a:pt x="2095205" y="540053"/>
                  </a:lnTo>
                  <a:lnTo>
                    <a:pt x="2091011" y="541681"/>
                  </a:lnTo>
                  <a:lnTo>
                    <a:pt x="2086867" y="535217"/>
                  </a:lnTo>
                  <a:lnTo>
                    <a:pt x="2078528" y="545085"/>
                  </a:lnTo>
                  <a:lnTo>
                    <a:pt x="2070190" y="550019"/>
                  </a:lnTo>
                  <a:lnTo>
                    <a:pt x="2068117" y="554953"/>
                  </a:lnTo>
                  <a:lnTo>
                    <a:pt x="2061851" y="558210"/>
                  </a:lnTo>
                  <a:lnTo>
                    <a:pt x="2061851" y="553276"/>
                  </a:lnTo>
                  <a:lnTo>
                    <a:pt x="2065996" y="548342"/>
                  </a:lnTo>
                  <a:lnTo>
                    <a:pt x="2070190" y="546714"/>
                  </a:lnTo>
                  <a:lnTo>
                    <a:pt x="2084992" y="533786"/>
                  </a:lnTo>
                  <a:lnTo>
                    <a:pt x="2087064" y="530579"/>
                  </a:lnTo>
                  <a:lnTo>
                    <a:pt x="2082870" y="524116"/>
                  </a:lnTo>
                  <a:lnTo>
                    <a:pt x="2084992" y="511188"/>
                  </a:lnTo>
                  <a:lnTo>
                    <a:pt x="2087064" y="509610"/>
                  </a:lnTo>
                  <a:lnTo>
                    <a:pt x="2080798" y="503146"/>
                  </a:lnTo>
                  <a:lnTo>
                    <a:pt x="2078726" y="506353"/>
                  </a:lnTo>
                  <a:lnTo>
                    <a:pt x="2070387" y="506353"/>
                  </a:lnTo>
                  <a:lnTo>
                    <a:pt x="2066193" y="503146"/>
                  </a:lnTo>
                  <a:lnTo>
                    <a:pt x="2066193" y="498212"/>
                  </a:lnTo>
                  <a:lnTo>
                    <a:pt x="2064170" y="493278"/>
                  </a:lnTo>
                  <a:lnTo>
                    <a:pt x="2053760" y="490021"/>
                  </a:lnTo>
                  <a:lnTo>
                    <a:pt x="2047493" y="485087"/>
                  </a:lnTo>
                  <a:lnTo>
                    <a:pt x="2041227" y="485087"/>
                  </a:lnTo>
                  <a:lnTo>
                    <a:pt x="2032888" y="481880"/>
                  </a:lnTo>
                  <a:lnTo>
                    <a:pt x="2028744" y="483509"/>
                  </a:lnTo>
                  <a:lnTo>
                    <a:pt x="2016261" y="485087"/>
                  </a:lnTo>
                  <a:lnTo>
                    <a:pt x="2014139" y="488344"/>
                  </a:lnTo>
                  <a:lnTo>
                    <a:pt x="2012067" y="488344"/>
                  </a:lnTo>
                  <a:lnTo>
                    <a:pt x="2007922" y="493278"/>
                  </a:lnTo>
                  <a:lnTo>
                    <a:pt x="2012067" y="499741"/>
                  </a:lnTo>
                  <a:lnTo>
                    <a:pt x="2016261" y="504675"/>
                  </a:lnTo>
                  <a:lnTo>
                    <a:pt x="2012067" y="504675"/>
                  </a:lnTo>
                  <a:lnTo>
                    <a:pt x="2003728" y="494807"/>
                  </a:lnTo>
                  <a:lnTo>
                    <a:pt x="2001656" y="501271"/>
                  </a:lnTo>
                  <a:lnTo>
                    <a:pt x="2003728" y="507735"/>
                  </a:lnTo>
                  <a:lnTo>
                    <a:pt x="2012067" y="509363"/>
                  </a:lnTo>
                  <a:lnTo>
                    <a:pt x="2018333" y="520662"/>
                  </a:lnTo>
                  <a:lnTo>
                    <a:pt x="2024550" y="520662"/>
                  </a:lnTo>
                  <a:lnTo>
                    <a:pt x="2020405" y="523869"/>
                  </a:lnTo>
                  <a:lnTo>
                    <a:pt x="2014189" y="523869"/>
                  </a:lnTo>
                  <a:lnTo>
                    <a:pt x="2012116" y="528803"/>
                  </a:lnTo>
                  <a:lnTo>
                    <a:pt x="2022527" y="540102"/>
                  </a:lnTo>
                  <a:lnTo>
                    <a:pt x="2028793" y="541730"/>
                  </a:lnTo>
                  <a:lnTo>
                    <a:pt x="2028793" y="546664"/>
                  </a:lnTo>
                  <a:lnTo>
                    <a:pt x="2026721" y="543457"/>
                  </a:lnTo>
                  <a:lnTo>
                    <a:pt x="2014189" y="543457"/>
                  </a:lnTo>
                  <a:lnTo>
                    <a:pt x="2014189" y="546664"/>
                  </a:lnTo>
                  <a:lnTo>
                    <a:pt x="2009995" y="548292"/>
                  </a:lnTo>
                  <a:lnTo>
                    <a:pt x="2007972" y="553226"/>
                  </a:lnTo>
                  <a:lnTo>
                    <a:pt x="2018382" y="549970"/>
                  </a:lnTo>
                  <a:lnTo>
                    <a:pt x="2022527" y="553226"/>
                  </a:lnTo>
                  <a:lnTo>
                    <a:pt x="2035010" y="549970"/>
                  </a:lnTo>
                  <a:lnTo>
                    <a:pt x="2035010" y="554904"/>
                  </a:lnTo>
                  <a:lnTo>
                    <a:pt x="2043793" y="554904"/>
                  </a:lnTo>
                  <a:lnTo>
                    <a:pt x="2045816" y="559838"/>
                  </a:lnTo>
                  <a:lnTo>
                    <a:pt x="2054203" y="566252"/>
                  </a:lnTo>
                  <a:lnTo>
                    <a:pt x="2058348" y="566252"/>
                  </a:lnTo>
                  <a:lnTo>
                    <a:pt x="2058348" y="561318"/>
                  </a:lnTo>
                  <a:lnTo>
                    <a:pt x="2062493" y="564575"/>
                  </a:lnTo>
                  <a:lnTo>
                    <a:pt x="2068759" y="561318"/>
                  </a:lnTo>
                  <a:lnTo>
                    <a:pt x="2072904" y="561318"/>
                  </a:lnTo>
                  <a:lnTo>
                    <a:pt x="2075025" y="566252"/>
                  </a:lnTo>
                  <a:lnTo>
                    <a:pt x="2072904" y="571186"/>
                  </a:lnTo>
                  <a:lnTo>
                    <a:pt x="2072904" y="582485"/>
                  </a:lnTo>
                  <a:lnTo>
                    <a:pt x="2068759" y="590577"/>
                  </a:lnTo>
                  <a:lnTo>
                    <a:pt x="2068759" y="595511"/>
                  </a:lnTo>
                  <a:lnTo>
                    <a:pt x="2072904" y="601975"/>
                  </a:lnTo>
                  <a:lnTo>
                    <a:pt x="2070831" y="608438"/>
                  </a:lnTo>
                  <a:lnTo>
                    <a:pt x="2070831" y="613372"/>
                  </a:lnTo>
                  <a:lnTo>
                    <a:pt x="2068759" y="619836"/>
                  </a:lnTo>
                  <a:lnTo>
                    <a:pt x="2058348" y="626250"/>
                  </a:lnTo>
                  <a:lnTo>
                    <a:pt x="2050010" y="627878"/>
                  </a:lnTo>
                  <a:lnTo>
                    <a:pt x="2047937" y="632812"/>
                  </a:lnTo>
                  <a:lnTo>
                    <a:pt x="2041671" y="640904"/>
                  </a:lnTo>
                  <a:lnTo>
                    <a:pt x="2041671" y="645838"/>
                  </a:lnTo>
                  <a:lnTo>
                    <a:pt x="2035405" y="649045"/>
                  </a:lnTo>
                  <a:lnTo>
                    <a:pt x="2031260" y="653979"/>
                  </a:lnTo>
                  <a:lnTo>
                    <a:pt x="2031260" y="660443"/>
                  </a:lnTo>
                  <a:lnTo>
                    <a:pt x="2037526" y="662071"/>
                  </a:lnTo>
                  <a:lnTo>
                    <a:pt x="2037526" y="667005"/>
                  </a:lnTo>
                  <a:lnTo>
                    <a:pt x="2029188" y="668634"/>
                  </a:lnTo>
                  <a:lnTo>
                    <a:pt x="2029188" y="673568"/>
                  </a:lnTo>
                  <a:lnTo>
                    <a:pt x="2031260" y="676775"/>
                  </a:lnTo>
                  <a:lnTo>
                    <a:pt x="2027116" y="681709"/>
                  </a:lnTo>
                  <a:lnTo>
                    <a:pt x="2024994" y="688172"/>
                  </a:lnTo>
                  <a:lnTo>
                    <a:pt x="2029188" y="694636"/>
                  </a:lnTo>
                  <a:lnTo>
                    <a:pt x="2033333" y="696264"/>
                  </a:lnTo>
                  <a:lnTo>
                    <a:pt x="2033333" y="699471"/>
                  </a:lnTo>
                  <a:lnTo>
                    <a:pt x="2037526" y="704405"/>
                  </a:lnTo>
                  <a:lnTo>
                    <a:pt x="2041671" y="702777"/>
                  </a:lnTo>
                  <a:lnTo>
                    <a:pt x="2043793" y="697843"/>
                  </a:lnTo>
                  <a:lnTo>
                    <a:pt x="2045816" y="694636"/>
                  </a:lnTo>
                  <a:lnTo>
                    <a:pt x="2047937" y="696264"/>
                  </a:lnTo>
                  <a:lnTo>
                    <a:pt x="2052082" y="696264"/>
                  </a:lnTo>
                  <a:lnTo>
                    <a:pt x="2058348" y="689801"/>
                  </a:lnTo>
                  <a:lnTo>
                    <a:pt x="2060420" y="691379"/>
                  </a:lnTo>
                  <a:lnTo>
                    <a:pt x="2056227" y="699471"/>
                  </a:lnTo>
                  <a:lnTo>
                    <a:pt x="2050010" y="701099"/>
                  </a:lnTo>
                  <a:lnTo>
                    <a:pt x="2050010" y="704307"/>
                  </a:lnTo>
                  <a:lnTo>
                    <a:pt x="2052082" y="707563"/>
                  </a:lnTo>
                  <a:lnTo>
                    <a:pt x="2054203" y="710770"/>
                  </a:lnTo>
                  <a:lnTo>
                    <a:pt x="2060420" y="717234"/>
                  </a:lnTo>
                  <a:lnTo>
                    <a:pt x="2066637" y="715605"/>
                  </a:lnTo>
                  <a:lnTo>
                    <a:pt x="2068759" y="717234"/>
                  </a:lnTo>
                  <a:lnTo>
                    <a:pt x="2077097" y="718813"/>
                  </a:lnTo>
                  <a:lnTo>
                    <a:pt x="2081242" y="715605"/>
                  </a:lnTo>
                  <a:lnTo>
                    <a:pt x="2089581" y="712398"/>
                  </a:lnTo>
                  <a:lnTo>
                    <a:pt x="2089581" y="705935"/>
                  </a:lnTo>
                  <a:lnTo>
                    <a:pt x="2093725" y="705935"/>
                  </a:lnTo>
                  <a:lnTo>
                    <a:pt x="2095847" y="702678"/>
                  </a:lnTo>
                  <a:lnTo>
                    <a:pt x="2097919" y="705935"/>
                  </a:lnTo>
                  <a:lnTo>
                    <a:pt x="2095847" y="709142"/>
                  </a:lnTo>
                  <a:lnTo>
                    <a:pt x="2097919" y="714076"/>
                  </a:lnTo>
                  <a:lnTo>
                    <a:pt x="2099992" y="712497"/>
                  </a:lnTo>
                  <a:lnTo>
                    <a:pt x="2104136" y="702629"/>
                  </a:lnTo>
                  <a:lnTo>
                    <a:pt x="2107935" y="700606"/>
                  </a:lnTo>
                  <a:lnTo>
                    <a:pt x="2110057" y="703813"/>
                  </a:lnTo>
                  <a:lnTo>
                    <a:pt x="2107935" y="710277"/>
                  </a:lnTo>
                  <a:lnTo>
                    <a:pt x="2099597" y="721576"/>
                  </a:lnTo>
                  <a:lnTo>
                    <a:pt x="2095452" y="724783"/>
                  </a:lnTo>
                  <a:lnTo>
                    <a:pt x="2095452" y="729717"/>
                  </a:lnTo>
                  <a:lnTo>
                    <a:pt x="2103741" y="731345"/>
                  </a:lnTo>
                  <a:lnTo>
                    <a:pt x="2107935" y="736279"/>
                  </a:lnTo>
                  <a:lnTo>
                    <a:pt x="2114202" y="736279"/>
                  </a:lnTo>
                  <a:lnTo>
                    <a:pt x="2116274" y="737907"/>
                  </a:lnTo>
                  <a:lnTo>
                    <a:pt x="2124612" y="737907"/>
                  </a:lnTo>
                  <a:lnTo>
                    <a:pt x="2126685" y="734651"/>
                  </a:lnTo>
                  <a:lnTo>
                    <a:pt x="2132951" y="734651"/>
                  </a:lnTo>
                  <a:lnTo>
                    <a:pt x="2130879" y="737907"/>
                  </a:lnTo>
                  <a:lnTo>
                    <a:pt x="2132951" y="741115"/>
                  </a:lnTo>
                  <a:lnTo>
                    <a:pt x="2137095" y="742743"/>
                  </a:lnTo>
                  <a:lnTo>
                    <a:pt x="2143362" y="744371"/>
                  </a:lnTo>
                  <a:lnTo>
                    <a:pt x="2147506" y="742743"/>
                  </a:lnTo>
                  <a:lnTo>
                    <a:pt x="2145434" y="739536"/>
                  </a:lnTo>
                  <a:lnTo>
                    <a:pt x="2145434" y="734602"/>
                  </a:lnTo>
                  <a:lnTo>
                    <a:pt x="2149579" y="728187"/>
                  </a:lnTo>
                  <a:lnTo>
                    <a:pt x="2151700" y="733121"/>
                  </a:lnTo>
                  <a:lnTo>
                    <a:pt x="2149579" y="738055"/>
                  </a:lnTo>
                  <a:lnTo>
                    <a:pt x="2151700" y="744519"/>
                  </a:lnTo>
                  <a:lnTo>
                    <a:pt x="2155845" y="744519"/>
                  </a:lnTo>
                  <a:lnTo>
                    <a:pt x="2157917" y="739585"/>
                  </a:lnTo>
                  <a:lnTo>
                    <a:pt x="2159989" y="736328"/>
                  </a:lnTo>
                  <a:lnTo>
                    <a:pt x="2166256" y="734700"/>
                  </a:lnTo>
                  <a:lnTo>
                    <a:pt x="2164183" y="737957"/>
                  </a:lnTo>
                  <a:lnTo>
                    <a:pt x="2162111" y="741164"/>
                  </a:lnTo>
                  <a:lnTo>
                    <a:pt x="2162111" y="746098"/>
                  </a:lnTo>
                  <a:lnTo>
                    <a:pt x="2170400" y="746098"/>
                  </a:lnTo>
                  <a:lnTo>
                    <a:pt x="2176666" y="742891"/>
                  </a:lnTo>
                  <a:lnTo>
                    <a:pt x="2180811" y="733023"/>
                  </a:lnTo>
                  <a:lnTo>
                    <a:pt x="2182933" y="737957"/>
                  </a:lnTo>
                  <a:lnTo>
                    <a:pt x="2178739" y="742891"/>
                  </a:lnTo>
                  <a:lnTo>
                    <a:pt x="2178739" y="746098"/>
                  </a:lnTo>
                  <a:lnTo>
                    <a:pt x="2187077" y="744519"/>
                  </a:lnTo>
                  <a:lnTo>
                    <a:pt x="2191222" y="736427"/>
                  </a:lnTo>
                  <a:lnTo>
                    <a:pt x="2193343" y="733220"/>
                  </a:lnTo>
                  <a:lnTo>
                    <a:pt x="2191222" y="746098"/>
                  </a:lnTo>
                  <a:lnTo>
                    <a:pt x="2193343" y="751032"/>
                  </a:lnTo>
                  <a:lnTo>
                    <a:pt x="2199610" y="751032"/>
                  </a:lnTo>
                  <a:lnTo>
                    <a:pt x="2210020" y="755966"/>
                  </a:lnTo>
                  <a:lnTo>
                    <a:pt x="2216237" y="752709"/>
                  </a:lnTo>
                  <a:lnTo>
                    <a:pt x="2220431" y="752709"/>
                  </a:lnTo>
                  <a:lnTo>
                    <a:pt x="2222503" y="755966"/>
                  </a:lnTo>
                  <a:lnTo>
                    <a:pt x="2230842" y="754338"/>
                  </a:lnTo>
                  <a:lnTo>
                    <a:pt x="2234987" y="751081"/>
                  </a:lnTo>
                  <a:lnTo>
                    <a:pt x="2234987" y="744667"/>
                  </a:lnTo>
                  <a:lnTo>
                    <a:pt x="2243325" y="739733"/>
                  </a:lnTo>
                  <a:lnTo>
                    <a:pt x="2245397" y="734799"/>
                  </a:lnTo>
                  <a:lnTo>
                    <a:pt x="2241253" y="729865"/>
                  </a:lnTo>
                  <a:lnTo>
                    <a:pt x="2245397" y="723401"/>
                  </a:lnTo>
                  <a:lnTo>
                    <a:pt x="2247470" y="725030"/>
                  </a:lnTo>
                  <a:lnTo>
                    <a:pt x="2247470" y="731493"/>
                  </a:lnTo>
                  <a:lnTo>
                    <a:pt x="2251664" y="733121"/>
                  </a:lnTo>
                  <a:lnTo>
                    <a:pt x="2253736" y="736328"/>
                  </a:lnTo>
                  <a:lnTo>
                    <a:pt x="2247470" y="739585"/>
                  </a:lnTo>
                  <a:lnTo>
                    <a:pt x="2243325" y="747627"/>
                  </a:lnTo>
                  <a:close/>
                  <a:moveTo>
                    <a:pt x="1997758" y="480943"/>
                  </a:moveTo>
                  <a:lnTo>
                    <a:pt x="2003975" y="479315"/>
                  </a:lnTo>
                  <a:lnTo>
                    <a:pt x="2003975" y="477736"/>
                  </a:lnTo>
                  <a:lnTo>
                    <a:pt x="1999781" y="476107"/>
                  </a:lnTo>
                  <a:lnTo>
                    <a:pt x="1995686" y="477736"/>
                  </a:lnTo>
                  <a:close/>
                  <a:moveTo>
                    <a:pt x="1985226" y="518047"/>
                  </a:moveTo>
                  <a:lnTo>
                    <a:pt x="1989370" y="514840"/>
                  </a:lnTo>
                  <a:lnTo>
                    <a:pt x="1991492" y="509906"/>
                  </a:lnTo>
                  <a:lnTo>
                    <a:pt x="1991492" y="514840"/>
                  </a:lnTo>
                  <a:lnTo>
                    <a:pt x="1989518" y="518047"/>
                  </a:lnTo>
                  <a:close/>
                  <a:moveTo>
                    <a:pt x="1812535" y="571285"/>
                  </a:moveTo>
                  <a:lnTo>
                    <a:pt x="1810462" y="574541"/>
                  </a:lnTo>
                  <a:lnTo>
                    <a:pt x="1812535" y="577749"/>
                  </a:lnTo>
                  <a:lnTo>
                    <a:pt x="1814656" y="574541"/>
                  </a:lnTo>
                  <a:close/>
                  <a:moveTo>
                    <a:pt x="1925030" y="477538"/>
                  </a:moveTo>
                  <a:lnTo>
                    <a:pt x="1925030" y="480745"/>
                  </a:lnTo>
                  <a:lnTo>
                    <a:pt x="1929225" y="485680"/>
                  </a:lnTo>
                  <a:lnTo>
                    <a:pt x="1931297" y="488936"/>
                  </a:lnTo>
                  <a:lnTo>
                    <a:pt x="1933369" y="487308"/>
                  </a:lnTo>
                  <a:lnTo>
                    <a:pt x="1933369" y="482374"/>
                  </a:lnTo>
                  <a:lnTo>
                    <a:pt x="1927103" y="479117"/>
                  </a:lnTo>
                  <a:close/>
                  <a:moveTo>
                    <a:pt x="1870756" y="480745"/>
                  </a:moveTo>
                  <a:lnTo>
                    <a:pt x="1870756" y="484002"/>
                  </a:lnTo>
                  <a:lnTo>
                    <a:pt x="1874950" y="487209"/>
                  </a:lnTo>
                  <a:lnTo>
                    <a:pt x="1879095" y="484002"/>
                  </a:lnTo>
                  <a:lnTo>
                    <a:pt x="1885361" y="482374"/>
                  </a:lnTo>
                  <a:lnTo>
                    <a:pt x="1891578" y="484002"/>
                  </a:lnTo>
                  <a:lnTo>
                    <a:pt x="1902038" y="479068"/>
                  </a:lnTo>
                  <a:lnTo>
                    <a:pt x="1908304" y="477489"/>
                  </a:lnTo>
                  <a:lnTo>
                    <a:pt x="1914521" y="475861"/>
                  </a:lnTo>
                  <a:lnTo>
                    <a:pt x="1912449" y="474233"/>
                  </a:lnTo>
                  <a:lnTo>
                    <a:pt x="1899916" y="472654"/>
                  </a:lnTo>
                  <a:lnTo>
                    <a:pt x="1893699" y="474233"/>
                  </a:lnTo>
                  <a:lnTo>
                    <a:pt x="1887433" y="477489"/>
                  </a:lnTo>
                  <a:cubicBezTo>
                    <a:pt x="1885282" y="477213"/>
                    <a:pt x="1883180" y="476670"/>
                    <a:pt x="1881167" y="475861"/>
                  </a:cubicBezTo>
                  <a:lnTo>
                    <a:pt x="1874950" y="477489"/>
                  </a:lnTo>
                  <a:close/>
                  <a:moveTo>
                    <a:pt x="1814557" y="496880"/>
                  </a:moveTo>
                  <a:lnTo>
                    <a:pt x="1812436" y="493673"/>
                  </a:lnTo>
                  <a:lnTo>
                    <a:pt x="1802025" y="492044"/>
                  </a:lnTo>
                  <a:lnTo>
                    <a:pt x="1793736" y="490416"/>
                  </a:lnTo>
                  <a:lnTo>
                    <a:pt x="1791614" y="482374"/>
                  </a:lnTo>
                  <a:lnTo>
                    <a:pt x="1797831" y="477440"/>
                  </a:lnTo>
                  <a:lnTo>
                    <a:pt x="1797831" y="464512"/>
                  </a:lnTo>
                  <a:lnTo>
                    <a:pt x="1802025" y="461305"/>
                  </a:lnTo>
                  <a:lnTo>
                    <a:pt x="1812436" y="461305"/>
                  </a:lnTo>
                  <a:lnTo>
                    <a:pt x="1814557" y="462884"/>
                  </a:lnTo>
                  <a:lnTo>
                    <a:pt x="1816630" y="464512"/>
                  </a:lnTo>
                  <a:lnTo>
                    <a:pt x="1818702" y="467769"/>
                  </a:lnTo>
                  <a:lnTo>
                    <a:pt x="1814557" y="469348"/>
                  </a:lnTo>
                  <a:lnTo>
                    <a:pt x="1812436" y="472604"/>
                  </a:lnTo>
                  <a:lnTo>
                    <a:pt x="1816630" y="474183"/>
                  </a:lnTo>
                  <a:lnTo>
                    <a:pt x="1822847" y="472604"/>
                  </a:lnTo>
                  <a:lnTo>
                    <a:pt x="1822847" y="475811"/>
                  </a:lnTo>
                  <a:lnTo>
                    <a:pt x="1818702" y="479019"/>
                  </a:lnTo>
                  <a:lnTo>
                    <a:pt x="1822847" y="483953"/>
                  </a:lnTo>
                  <a:lnTo>
                    <a:pt x="1822847" y="490367"/>
                  </a:lnTo>
                  <a:lnTo>
                    <a:pt x="1820774" y="495301"/>
                  </a:lnTo>
                  <a:close/>
                  <a:moveTo>
                    <a:pt x="1806219" y="519478"/>
                  </a:moveTo>
                  <a:lnTo>
                    <a:pt x="1818702" y="521106"/>
                  </a:lnTo>
                  <a:lnTo>
                    <a:pt x="1824968" y="516172"/>
                  </a:lnTo>
                  <a:lnTo>
                    <a:pt x="1829113" y="508080"/>
                  </a:lnTo>
                  <a:lnTo>
                    <a:pt x="1824968" y="501616"/>
                  </a:lnTo>
                  <a:lnTo>
                    <a:pt x="1818702" y="503245"/>
                  </a:lnTo>
                  <a:lnTo>
                    <a:pt x="1810364" y="500038"/>
                  </a:lnTo>
                  <a:lnTo>
                    <a:pt x="1799953" y="500038"/>
                  </a:lnTo>
                  <a:lnTo>
                    <a:pt x="1793736" y="498409"/>
                  </a:lnTo>
                  <a:lnTo>
                    <a:pt x="1789542" y="498409"/>
                  </a:lnTo>
                  <a:lnTo>
                    <a:pt x="1785397" y="501616"/>
                  </a:lnTo>
                  <a:lnTo>
                    <a:pt x="1781204" y="503245"/>
                  </a:lnTo>
                  <a:lnTo>
                    <a:pt x="1779131" y="508179"/>
                  </a:lnTo>
                  <a:lnTo>
                    <a:pt x="1781204" y="509807"/>
                  </a:lnTo>
                  <a:lnTo>
                    <a:pt x="1783325" y="511386"/>
                  </a:lnTo>
                  <a:lnTo>
                    <a:pt x="1785397" y="514642"/>
                  </a:lnTo>
                  <a:lnTo>
                    <a:pt x="1791614" y="516271"/>
                  </a:lnTo>
                  <a:lnTo>
                    <a:pt x="1797831" y="517849"/>
                  </a:lnTo>
                  <a:close/>
                  <a:moveTo>
                    <a:pt x="1779033" y="527915"/>
                  </a:moveTo>
                  <a:lnTo>
                    <a:pt x="1795709" y="532849"/>
                  </a:lnTo>
                  <a:lnTo>
                    <a:pt x="1801926" y="529592"/>
                  </a:lnTo>
                  <a:lnTo>
                    <a:pt x="1808193" y="529592"/>
                  </a:lnTo>
                  <a:lnTo>
                    <a:pt x="1812337" y="531221"/>
                  </a:lnTo>
                  <a:lnTo>
                    <a:pt x="1816531" y="529592"/>
                  </a:lnTo>
                  <a:lnTo>
                    <a:pt x="1822748" y="529592"/>
                  </a:lnTo>
                  <a:lnTo>
                    <a:pt x="1822748" y="524658"/>
                  </a:lnTo>
                  <a:lnTo>
                    <a:pt x="1818603" y="523030"/>
                  </a:lnTo>
                  <a:lnTo>
                    <a:pt x="1801926" y="524658"/>
                  </a:lnTo>
                  <a:lnTo>
                    <a:pt x="1795709" y="526287"/>
                  </a:lnTo>
                  <a:lnTo>
                    <a:pt x="1791516" y="524658"/>
                  </a:lnTo>
                  <a:lnTo>
                    <a:pt x="1783226" y="523030"/>
                  </a:lnTo>
                  <a:lnTo>
                    <a:pt x="1779033" y="524658"/>
                  </a:lnTo>
                  <a:close/>
                  <a:moveTo>
                    <a:pt x="1776911" y="544049"/>
                  </a:moveTo>
                  <a:lnTo>
                    <a:pt x="1781105" y="542421"/>
                  </a:lnTo>
                  <a:lnTo>
                    <a:pt x="1787223" y="542421"/>
                  </a:lnTo>
                  <a:lnTo>
                    <a:pt x="1795611" y="537487"/>
                  </a:lnTo>
                  <a:lnTo>
                    <a:pt x="1810166" y="534230"/>
                  </a:lnTo>
                  <a:lnTo>
                    <a:pt x="1814360" y="535859"/>
                  </a:lnTo>
                  <a:lnTo>
                    <a:pt x="1818505" y="534230"/>
                  </a:lnTo>
                  <a:lnTo>
                    <a:pt x="1822649" y="534230"/>
                  </a:lnTo>
                  <a:lnTo>
                    <a:pt x="1822649" y="537487"/>
                  </a:lnTo>
                  <a:lnTo>
                    <a:pt x="1818505" y="540694"/>
                  </a:lnTo>
                  <a:lnTo>
                    <a:pt x="1812239" y="542322"/>
                  </a:lnTo>
                  <a:lnTo>
                    <a:pt x="1803949" y="542322"/>
                  </a:lnTo>
                  <a:lnTo>
                    <a:pt x="1801828" y="545529"/>
                  </a:lnTo>
                  <a:lnTo>
                    <a:pt x="1795611" y="550463"/>
                  </a:lnTo>
                  <a:lnTo>
                    <a:pt x="1787223" y="547256"/>
                  </a:lnTo>
                  <a:lnTo>
                    <a:pt x="1781006" y="545628"/>
                  </a:lnTo>
                  <a:lnTo>
                    <a:pt x="1778934" y="548884"/>
                  </a:lnTo>
                  <a:lnTo>
                    <a:pt x="1776812" y="547256"/>
                  </a:lnTo>
                  <a:close/>
                  <a:moveTo>
                    <a:pt x="1608216" y="358332"/>
                  </a:moveTo>
                  <a:lnTo>
                    <a:pt x="1604072" y="356704"/>
                  </a:lnTo>
                  <a:lnTo>
                    <a:pt x="1606144" y="351770"/>
                  </a:lnTo>
                  <a:lnTo>
                    <a:pt x="1614532" y="351770"/>
                  </a:lnTo>
                  <a:lnTo>
                    <a:pt x="1612460" y="356704"/>
                  </a:lnTo>
                  <a:close/>
                  <a:moveTo>
                    <a:pt x="1558235" y="376095"/>
                  </a:moveTo>
                  <a:lnTo>
                    <a:pt x="1564501" y="374466"/>
                  </a:lnTo>
                  <a:lnTo>
                    <a:pt x="1568645" y="372838"/>
                  </a:lnTo>
                  <a:lnTo>
                    <a:pt x="1579056" y="377772"/>
                  </a:lnTo>
                  <a:lnTo>
                    <a:pt x="1583250" y="376193"/>
                  </a:lnTo>
                  <a:lnTo>
                    <a:pt x="1589467" y="377772"/>
                  </a:lnTo>
                  <a:lnTo>
                    <a:pt x="1589467" y="382706"/>
                  </a:lnTo>
                  <a:lnTo>
                    <a:pt x="1593661" y="385963"/>
                  </a:lnTo>
                  <a:lnTo>
                    <a:pt x="1589467" y="389170"/>
                  </a:lnTo>
                  <a:lnTo>
                    <a:pt x="1581178" y="392377"/>
                  </a:lnTo>
                  <a:lnTo>
                    <a:pt x="1576984" y="390798"/>
                  </a:lnTo>
                  <a:lnTo>
                    <a:pt x="1570717" y="390798"/>
                  </a:lnTo>
                  <a:lnTo>
                    <a:pt x="1568645" y="384334"/>
                  </a:lnTo>
                  <a:lnTo>
                    <a:pt x="1564501" y="379400"/>
                  </a:lnTo>
                  <a:lnTo>
                    <a:pt x="1560307" y="377772"/>
                  </a:lnTo>
                  <a:close/>
                  <a:moveTo>
                    <a:pt x="1306204" y="388972"/>
                  </a:moveTo>
                  <a:lnTo>
                    <a:pt x="1297865" y="385765"/>
                  </a:lnTo>
                  <a:lnTo>
                    <a:pt x="1297865" y="382509"/>
                  </a:lnTo>
                  <a:lnTo>
                    <a:pt x="1299938" y="380930"/>
                  </a:lnTo>
                  <a:lnTo>
                    <a:pt x="1306204" y="382509"/>
                  </a:lnTo>
                  <a:lnTo>
                    <a:pt x="1308276" y="387443"/>
                  </a:lnTo>
                  <a:close/>
                  <a:moveTo>
                    <a:pt x="1331170" y="418034"/>
                  </a:moveTo>
                  <a:lnTo>
                    <a:pt x="1339509" y="413100"/>
                  </a:lnTo>
                  <a:lnTo>
                    <a:pt x="1339509" y="416307"/>
                  </a:lnTo>
                  <a:lnTo>
                    <a:pt x="1331170" y="421241"/>
                  </a:lnTo>
                  <a:close/>
                  <a:moveTo>
                    <a:pt x="1345972" y="409942"/>
                  </a:moveTo>
                  <a:lnTo>
                    <a:pt x="1348044" y="406735"/>
                  </a:lnTo>
                  <a:lnTo>
                    <a:pt x="1348044" y="400271"/>
                  </a:lnTo>
                  <a:lnTo>
                    <a:pt x="1350117" y="400271"/>
                  </a:lnTo>
                  <a:lnTo>
                    <a:pt x="1354311" y="392180"/>
                  </a:lnTo>
                  <a:lnTo>
                    <a:pt x="1358455" y="390601"/>
                  </a:lnTo>
                  <a:lnTo>
                    <a:pt x="1366794" y="387344"/>
                  </a:lnTo>
                  <a:lnTo>
                    <a:pt x="1368866" y="388972"/>
                  </a:lnTo>
                  <a:lnTo>
                    <a:pt x="1368866" y="393906"/>
                  </a:lnTo>
                  <a:lnTo>
                    <a:pt x="1362649" y="397163"/>
                  </a:lnTo>
                  <a:lnTo>
                    <a:pt x="1358455" y="405205"/>
                  </a:lnTo>
                  <a:lnTo>
                    <a:pt x="1360528" y="410139"/>
                  </a:lnTo>
                  <a:lnTo>
                    <a:pt x="1356383" y="413396"/>
                  </a:lnTo>
                  <a:lnTo>
                    <a:pt x="1354311" y="418330"/>
                  </a:lnTo>
                  <a:lnTo>
                    <a:pt x="1358455" y="423264"/>
                  </a:lnTo>
                  <a:lnTo>
                    <a:pt x="1360528" y="418330"/>
                  </a:lnTo>
                  <a:lnTo>
                    <a:pt x="1364722" y="419909"/>
                  </a:lnTo>
                  <a:lnTo>
                    <a:pt x="1366794" y="424843"/>
                  </a:lnTo>
                  <a:lnTo>
                    <a:pt x="1368866" y="424843"/>
                  </a:lnTo>
                  <a:lnTo>
                    <a:pt x="1381399" y="418379"/>
                  </a:lnTo>
                  <a:lnTo>
                    <a:pt x="1385543" y="413445"/>
                  </a:lnTo>
                  <a:lnTo>
                    <a:pt x="1389737" y="413445"/>
                  </a:lnTo>
                  <a:lnTo>
                    <a:pt x="1393882" y="408511"/>
                  </a:lnTo>
                  <a:lnTo>
                    <a:pt x="1393882" y="400419"/>
                  </a:lnTo>
                  <a:lnTo>
                    <a:pt x="1398026" y="400419"/>
                  </a:lnTo>
                  <a:lnTo>
                    <a:pt x="1402220" y="395485"/>
                  </a:lnTo>
                  <a:lnTo>
                    <a:pt x="1402220" y="389022"/>
                  </a:lnTo>
                  <a:lnTo>
                    <a:pt x="1406365" y="385815"/>
                  </a:lnTo>
                  <a:lnTo>
                    <a:pt x="1408437" y="387394"/>
                  </a:lnTo>
                  <a:lnTo>
                    <a:pt x="1406365" y="393857"/>
                  </a:lnTo>
                  <a:lnTo>
                    <a:pt x="1408437" y="397114"/>
                  </a:lnTo>
                  <a:lnTo>
                    <a:pt x="1406365" y="405156"/>
                  </a:lnTo>
                  <a:lnTo>
                    <a:pt x="1408437" y="410090"/>
                  </a:lnTo>
                  <a:lnTo>
                    <a:pt x="1412236" y="410090"/>
                  </a:lnTo>
                  <a:lnTo>
                    <a:pt x="1418503" y="403626"/>
                  </a:lnTo>
                  <a:lnTo>
                    <a:pt x="1418503" y="397212"/>
                  </a:lnTo>
                  <a:lnTo>
                    <a:pt x="1420575" y="393956"/>
                  </a:lnTo>
                  <a:lnTo>
                    <a:pt x="1424720" y="393956"/>
                  </a:lnTo>
                  <a:lnTo>
                    <a:pt x="1433058" y="384088"/>
                  </a:lnTo>
                  <a:lnTo>
                    <a:pt x="1435130" y="377624"/>
                  </a:lnTo>
                  <a:lnTo>
                    <a:pt x="1433058" y="371161"/>
                  </a:lnTo>
                  <a:lnTo>
                    <a:pt x="1437202" y="366227"/>
                  </a:lnTo>
                  <a:lnTo>
                    <a:pt x="1441396" y="372690"/>
                  </a:lnTo>
                  <a:lnTo>
                    <a:pt x="1453880" y="366227"/>
                  </a:lnTo>
                  <a:lnTo>
                    <a:pt x="1458073" y="358184"/>
                  </a:lnTo>
                  <a:lnTo>
                    <a:pt x="1458073" y="351868"/>
                  </a:lnTo>
                  <a:lnTo>
                    <a:pt x="1464290" y="351868"/>
                  </a:lnTo>
                  <a:lnTo>
                    <a:pt x="1468484" y="348661"/>
                  </a:lnTo>
                  <a:lnTo>
                    <a:pt x="1472629" y="351868"/>
                  </a:lnTo>
                  <a:lnTo>
                    <a:pt x="1478895" y="346934"/>
                  </a:lnTo>
                  <a:lnTo>
                    <a:pt x="1483040" y="348563"/>
                  </a:lnTo>
                  <a:lnTo>
                    <a:pt x="1478895" y="359812"/>
                  </a:lnTo>
                  <a:lnTo>
                    <a:pt x="1470557" y="367904"/>
                  </a:lnTo>
                  <a:lnTo>
                    <a:pt x="1468484" y="374368"/>
                  </a:lnTo>
                  <a:lnTo>
                    <a:pt x="1464290" y="379302"/>
                  </a:lnTo>
                  <a:lnTo>
                    <a:pt x="1462218" y="382509"/>
                  </a:lnTo>
                  <a:lnTo>
                    <a:pt x="1458073" y="385765"/>
                  </a:lnTo>
                  <a:lnTo>
                    <a:pt x="1447663" y="397064"/>
                  </a:lnTo>
                  <a:lnTo>
                    <a:pt x="1447663" y="400271"/>
                  </a:lnTo>
                  <a:lnTo>
                    <a:pt x="1451807" y="405205"/>
                  </a:lnTo>
                  <a:lnTo>
                    <a:pt x="1449735" y="410139"/>
                  </a:lnTo>
                  <a:lnTo>
                    <a:pt x="1455952" y="411768"/>
                  </a:lnTo>
                  <a:lnTo>
                    <a:pt x="1462218" y="414975"/>
                  </a:lnTo>
                  <a:lnTo>
                    <a:pt x="1466363" y="411768"/>
                  </a:lnTo>
                  <a:lnTo>
                    <a:pt x="1472629" y="408561"/>
                  </a:lnTo>
                  <a:lnTo>
                    <a:pt x="1474701" y="403626"/>
                  </a:lnTo>
                  <a:lnTo>
                    <a:pt x="1474701" y="397212"/>
                  </a:lnTo>
                  <a:lnTo>
                    <a:pt x="1478895" y="392278"/>
                  </a:lnTo>
                  <a:lnTo>
                    <a:pt x="1483040" y="387344"/>
                  </a:lnTo>
                  <a:lnTo>
                    <a:pt x="1489306" y="387344"/>
                  </a:lnTo>
                  <a:lnTo>
                    <a:pt x="1491378" y="385765"/>
                  </a:lnTo>
                  <a:lnTo>
                    <a:pt x="1495572" y="388972"/>
                  </a:lnTo>
                  <a:lnTo>
                    <a:pt x="1501789" y="388972"/>
                  </a:lnTo>
                  <a:lnTo>
                    <a:pt x="1505983" y="385765"/>
                  </a:lnTo>
                  <a:lnTo>
                    <a:pt x="1518466" y="385765"/>
                  </a:lnTo>
                  <a:lnTo>
                    <a:pt x="1522611" y="379302"/>
                  </a:lnTo>
                  <a:lnTo>
                    <a:pt x="1524732" y="369434"/>
                  </a:lnTo>
                  <a:lnTo>
                    <a:pt x="1530949" y="359566"/>
                  </a:lnTo>
                  <a:lnTo>
                    <a:pt x="1530949" y="355224"/>
                  </a:lnTo>
                  <a:lnTo>
                    <a:pt x="1533021" y="352016"/>
                  </a:lnTo>
                  <a:lnTo>
                    <a:pt x="1539288" y="358480"/>
                  </a:lnTo>
                  <a:lnTo>
                    <a:pt x="1545554" y="360059"/>
                  </a:lnTo>
                  <a:lnTo>
                    <a:pt x="1547626" y="358480"/>
                  </a:lnTo>
                  <a:lnTo>
                    <a:pt x="1547626" y="353546"/>
                  </a:lnTo>
                  <a:lnTo>
                    <a:pt x="1539288" y="343678"/>
                  </a:lnTo>
                  <a:lnTo>
                    <a:pt x="1539288" y="340422"/>
                  </a:lnTo>
                  <a:lnTo>
                    <a:pt x="1547626" y="333958"/>
                  </a:lnTo>
                  <a:lnTo>
                    <a:pt x="1553893" y="333958"/>
                  </a:lnTo>
                  <a:lnTo>
                    <a:pt x="1562182" y="330751"/>
                  </a:lnTo>
                  <a:lnTo>
                    <a:pt x="1566375" y="332379"/>
                  </a:lnTo>
                  <a:lnTo>
                    <a:pt x="1570520" y="332379"/>
                  </a:lnTo>
                  <a:lnTo>
                    <a:pt x="1576786" y="325915"/>
                  </a:lnTo>
                  <a:lnTo>
                    <a:pt x="1576786" y="320981"/>
                  </a:lnTo>
                  <a:lnTo>
                    <a:pt x="1575059" y="308301"/>
                  </a:lnTo>
                  <a:lnTo>
                    <a:pt x="1577181" y="305094"/>
                  </a:lnTo>
                  <a:lnTo>
                    <a:pt x="1575059" y="301837"/>
                  </a:lnTo>
                  <a:lnTo>
                    <a:pt x="1575059" y="295374"/>
                  </a:lnTo>
                  <a:lnTo>
                    <a:pt x="1570915" y="293795"/>
                  </a:lnTo>
                  <a:lnTo>
                    <a:pt x="1564698" y="295374"/>
                  </a:lnTo>
                  <a:lnTo>
                    <a:pt x="1556360" y="298630"/>
                  </a:lnTo>
                  <a:lnTo>
                    <a:pt x="1556360" y="314765"/>
                  </a:lnTo>
                  <a:lnTo>
                    <a:pt x="1550093" y="316343"/>
                  </a:lnTo>
                  <a:lnTo>
                    <a:pt x="1548021" y="309929"/>
                  </a:lnTo>
                  <a:lnTo>
                    <a:pt x="1545949" y="309929"/>
                  </a:lnTo>
                  <a:lnTo>
                    <a:pt x="1545949" y="314863"/>
                  </a:lnTo>
                  <a:lnTo>
                    <a:pt x="1543876" y="316442"/>
                  </a:lnTo>
                  <a:lnTo>
                    <a:pt x="1539682" y="311508"/>
                  </a:lnTo>
                  <a:lnTo>
                    <a:pt x="1537610" y="303466"/>
                  </a:lnTo>
                  <a:lnTo>
                    <a:pt x="1531146" y="297002"/>
                  </a:lnTo>
                  <a:lnTo>
                    <a:pt x="1527002" y="297002"/>
                  </a:lnTo>
                  <a:lnTo>
                    <a:pt x="1524930" y="300209"/>
                  </a:lnTo>
                  <a:lnTo>
                    <a:pt x="1516591" y="300209"/>
                  </a:lnTo>
                  <a:lnTo>
                    <a:pt x="1510325" y="297002"/>
                  </a:lnTo>
                  <a:lnTo>
                    <a:pt x="1504059" y="298630"/>
                  </a:lnTo>
                  <a:lnTo>
                    <a:pt x="1489256" y="297002"/>
                  </a:lnTo>
                  <a:lnTo>
                    <a:pt x="1480918" y="300209"/>
                  </a:lnTo>
                  <a:lnTo>
                    <a:pt x="1478846" y="305143"/>
                  </a:lnTo>
                  <a:lnTo>
                    <a:pt x="1474652" y="310077"/>
                  </a:lnTo>
                  <a:lnTo>
                    <a:pt x="1472579" y="308449"/>
                  </a:lnTo>
                  <a:lnTo>
                    <a:pt x="1468435" y="308449"/>
                  </a:lnTo>
                  <a:lnTo>
                    <a:pt x="1451758" y="319748"/>
                  </a:lnTo>
                  <a:lnTo>
                    <a:pt x="1445492" y="324682"/>
                  </a:lnTo>
                  <a:lnTo>
                    <a:pt x="1439275" y="324682"/>
                  </a:lnTo>
                  <a:lnTo>
                    <a:pt x="1430936" y="329616"/>
                  </a:lnTo>
                  <a:lnTo>
                    <a:pt x="1424670" y="331244"/>
                  </a:lnTo>
                  <a:lnTo>
                    <a:pt x="1418453" y="334451"/>
                  </a:lnTo>
                  <a:lnTo>
                    <a:pt x="1418453" y="339385"/>
                  </a:lnTo>
                  <a:lnTo>
                    <a:pt x="1405921" y="339385"/>
                  </a:lnTo>
                  <a:lnTo>
                    <a:pt x="1401776" y="341014"/>
                  </a:lnTo>
                  <a:lnTo>
                    <a:pt x="1395510" y="341014"/>
                  </a:lnTo>
                  <a:lnTo>
                    <a:pt x="1391365" y="342642"/>
                  </a:lnTo>
                  <a:lnTo>
                    <a:pt x="1387566" y="342642"/>
                  </a:lnTo>
                  <a:lnTo>
                    <a:pt x="1374935" y="350290"/>
                  </a:lnTo>
                  <a:lnTo>
                    <a:pt x="1366596" y="355224"/>
                  </a:lnTo>
                  <a:lnTo>
                    <a:pt x="1358258" y="352016"/>
                  </a:lnTo>
                  <a:lnTo>
                    <a:pt x="1352041" y="355224"/>
                  </a:lnTo>
                  <a:lnTo>
                    <a:pt x="1335364" y="358480"/>
                  </a:lnTo>
                  <a:lnTo>
                    <a:pt x="1329098" y="366523"/>
                  </a:lnTo>
                  <a:lnTo>
                    <a:pt x="1322881" y="366523"/>
                  </a:lnTo>
                  <a:lnTo>
                    <a:pt x="1312470" y="369779"/>
                  </a:lnTo>
                  <a:lnTo>
                    <a:pt x="1308276" y="376243"/>
                  </a:lnTo>
                  <a:lnTo>
                    <a:pt x="1316615" y="376243"/>
                  </a:lnTo>
                  <a:lnTo>
                    <a:pt x="1318687" y="377822"/>
                  </a:lnTo>
                  <a:lnTo>
                    <a:pt x="1312470" y="379450"/>
                  </a:lnTo>
                  <a:lnTo>
                    <a:pt x="1310348" y="381078"/>
                  </a:lnTo>
                  <a:lnTo>
                    <a:pt x="1316615" y="386012"/>
                  </a:lnTo>
                  <a:lnTo>
                    <a:pt x="1314542" y="389219"/>
                  </a:lnTo>
                  <a:lnTo>
                    <a:pt x="1304132" y="392426"/>
                  </a:lnTo>
                  <a:lnTo>
                    <a:pt x="1304132" y="395683"/>
                  </a:lnTo>
                  <a:lnTo>
                    <a:pt x="1310348" y="397311"/>
                  </a:lnTo>
                  <a:lnTo>
                    <a:pt x="1318687" y="395683"/>
                  </a:lnTo>
                  <a:lnTo>
                    <a:pt x="1320759" y="390749"/>
                  </a:lnTo>
                  <a:lnTo>
                    <a:pt x="1327025" y="389120"/>
                  </a:lnTo>
                  <a:lnTo>
                    <a:pt x="1333292" y="392328"/>
                  </a:lnTo>
                  <a:lnTo>
                    <a:pt x="1337436" y="400419"/>
                  </a:lnTo>
                  <a:lnTo>
                    <a:pt x="1339509" y="406883"/>
                  </a:lnTo>
                  <a:close/>
                  <a:moveTo>
                    <a:pt x="2033333" y="755324"/>
                  </a:moveTo>
                  <a:lnTo>
                    <a:pt x="2035405" y="753696"/>
                  </a:lnTo>
                  <a:lnTo>
                    <a:pt x="2043793" y="755324"/>
                  </a:lnTo>
                  <a:lnTo>
                    <a:pt x="2045816" y="758532"/>
                  </a:lnTo>
                  <a:lnTo>
                    <a:pt x="2041671" y="761739"/>
                  </a:lnTo>
                  <a:lnTo>
                    <a:pt x="2037526" y="760160"/>
                  </a:lnTo>
                  <a:close/>
                  <a:moveTo>
                    <a:pt x="1954388" y="621365"/>
                  </a:moveTo>
                  <a:lnTo>
                    <a:pt x="1948122" y="616431"/>
                  </a:lnTo>
                  <a:lnTo>
                    <a:pt x="1941905" y="616431"/>
                  </a:lnTo>
                  <a:lnTo>
                    <a:pt x="1939833" y="619688"/>
                  </a:lnTo>
                  <a:lnTo>
                    <a:pt x="1946050" y="619688"/>
                  </a:lnTo>
                  <a:lnTo>
                    <a:pt x="1948122" y="622895"/>
                  </a:lnTo>
                  <a:lnTo>
                    <a:pt x="1948122" y="624523"/>
                  </a:lnTo>
                  <a:lnTo>
                    <a:pt x="1937711" y="626102"/>
                  </a:lnTo>
                  <a:lnTo>
                    <a:pt x="1935639" y="627730"/>
                  </a:lnTo>
                  <a:lnTo>
                    <a:pt x="1937711" y="634194"/>
                  </a:lnTo>
                  <a:lnTo>
                    <a:pt x="1939833" y="634194"/>
                  </a:lnTo>
                  <a:lnTo>
                    <a:pt x="1939833" y="635822"/>
                  </a:lnTo>
                  <a:lnTo>
                    <a:pt x="1931494" y="634194"/>
                  </a:lnTo>
                  <a:lnTo>
                    <a:pt x="1923156" y="635822"/>
                  </a:lnTo>
                  <a:lnTo>
                    <a:pt x="1919011" y="640756"/>
                  </a:lnTo>
                  <a:lnTo>
                    <a:pt x="1914817" y="645690"/>
                  </a:lnTo>
                  <a:lnTo>
                    <a:pt x="1912745" y="648897"/>
                  </a:lnTo>
                  <a:lnTo>
                    <a:pt x="1914817" y="650526"/>
                  </a:lnTo>
                  <a:lnTo>
                    <a:pt x="1916890" y="650526"/>
                  </a:lnTo>
                  <a:lnTo>
                    <a:pt x="1916890" y="653733"/>
                  </a:lnTo>
                  <a:lnTo>
                    <a:pt x="1914817" y="656989"/>
                  </a:lnTo>
                  <a:lnTo>
                    <a:pt x="1916890" y="656989"/>
                  </a:lnTo>
                  <a:lnTo>
                    <a:pt x="1923156" y="653733"/>
                  </a:lnTo>
                  <a:lnTo>
                    <a:pt x="1923156" y="653733"/>
                  </a:lnTo>
                  <a:lnTo>
                    <a:pt x="1921034" y="660196"/>
                  </a:lnTo>
                  <a:lnTo>
                    <a:pt x="1921034" y="663453"/>
                  </a:lnTo>
                  <a:lnTo>
                    <a:pt x="1927300" y="666660"/>
                  </a:lnTo>
                  <a:lnTo>
                    <a:pt x="1929422" y="665032"/>
                  </a:lnTo>
                  <a:lnTo>
                    <a:pt x="1931494" y="666660"/>
                  </a:lnTo>
                  <a:lnTo>
                    <a:pt x="1933566" y="671594"/>
                  </a:lnTo>
                  <a:lnTo>
                    <a:pt x="1935244" y="671594"/>
                  </a:lnTo>
                  <a:lnTo>
                    <a:pt x="1937316" y="668387"/>
                  </a:lnTo>
                  <a:lnTo>
                    <a:pt x="1941510" y="668387"/>
                  </a:lnTo>
                  <a:lnTo>
                    <a:pt x="1941510" y="676429"/>
                  </a:lnTo>
                  <a:lnTo>
                    <a:pt x="1943583" y="679686"/>
                  </a:lnTo>
                  <a:lnTo>
                    <a:pt x="1949849" y="678057"/>
                  </a:lnTo>
                  <a:lnTo>
                    <a:pt x="1951921" y="684521"/>
                  </a:lnTo>
                  <a:lnTo>
                    <a:pt x="1958138" y="684521"/>
                  </a:lnTo>
                  <a:lnTo>
                    <a:pt x="1966477" y="689455"/>
                  </a:lnTo>
                  <a:lnTo>
                    <a:pt x="1972743" y="689455"/>
                  </a:lnTo>
                  <a:lnTo>
                    <a:pt x="1974815" y="691034"/>
                  </a:lnTo>
                  <a:lnTo>
                    <a:pt x="1976887" y="689455"/>
                  </a:lnTo>
                  <a:lnTo>
                    <a:pt x="1974815" y="684521"/>
                  </a:lnTo>
                  <a:lnTo>
                    <a:pt x="1981081" y="682893"/>
                  </a:lnTo>
                  <a:lnTo>
                    <a:pt x="1985226" y="674801"/>
                  </a:lnTo>
                  <a:lnTo>
                    <a:pt x="1983154" y="668387"/>
                  </a:lnTo>
                  <a:lnTo>
                    <a:pt x="1989370" y="660295"/>
                  </a:lnTo>
                  <a:lnTo>
                    <a:pt x="1991492" y="657088"/>
                  </a:lnTo>
                  <a:lnTo>
                    <a:pt x="1995686" y="647220"/>
                  </a:lnTo>
                  <a:lnTo>
                    <a:pt x="1995686" y="639177"/>
                  </a:lnTo>
                  <a:lnTo>
                    <a:pt x="1997758" y="637549"/>
                  </a:lnTo>
                  <a:lnTo>
                    <a:pt x="1995686" y="631086"/>
                  </a:lnTo>
                  <a:lnTo>
                    <a:pt x="1989370" y="626151"/>
                  </a:lnTo>
                  <a:lnTo>
                    <a:pt x="1989370" y="621217"/>
                  </a:lnTo>
                  <a:lnTo>
                    <a:pt x="1987347" y="618010"/>
                  </a:lnTo>
                  <a:lnTo>
                    <a:pt x="1985226" y="611547"/>
                  </a:lnTo>
                  <a:lnTo>
                    <a:pt x="1974815" y="608340"/>
                  </a:lnTo>
                  <a:lnTo>
                    <a:pt x="1968549" y="611547"/>
                  </a:lnTo>
                  <a:lnTo>
                    <a:pt x="1962332" y="609918"/>
                  </a:lnTo>
                  <a:lnTo>
                    <a:pt x="1953993" y="609918"/>
                  </a:lnTo>
                  <a:lnTo>
                    <a:pt x="1951921" y="613175"/>
                  </a:lnTo>
                  <a:lnTo>
                    <a:pt x="1956065" y="618109"/>
                  </a:lnTo>
                  <a:lnTo>
                    <a:pt x="1956065" y="621316"/>
                  </a:lnTo>
                  <a:close/>
                  <a:moveTo>
                    <a:pt x="2000176" y="571334"/>
                  </a:moveTo>
                  <a:lnTo>
                    <a:pt x="1996081" y="569755"/>
                  </a:lnTo>
                  <a:lnTo>
                    <a:pt x="1996081" y="566499"/>
                  </a:lnTo>
                  <a:lnTo>
                    <a:pt x="2002298" y="566499"/>
                  </a:lnTo>
                  <a:close/>
                  <a:moveTo>
                    <a:pt x="1991887" y="603652"/>
                  </a:moveTo>
                  <a:lnTo>
                    <a:pt x="1989765" y="598718"/>
                  </a:lnTo>
                  <a:lnTo>
                    <a:pt x="1987742" y="597139"/>
                  </a:lnTo>
                  <a:lnTo>
                    <a:pt x="1987742" y="593883"/>
                  </a:lnTo>
                  <a:lnTo>
                    <a:pt x="1989765" y="592304"/>
                  </a:lnTo>
                  <a:lnTo>
                    <a:pt x="1989765" y="585840"/>
                  </a:lnTo>
                  <a:lnTo>
                    <a:pt x="1991887" y="582584"/>
                  </a:lnTo>
                  <a:lnTo>
                    <a:pt x="2002298" y="582584"/>
                  </a:lnTo>
                  <a:lnTo>
                    <a:pt x="1998153" y="595511"/>
                  </a:lnTo>
                  <a:lnTo>
                    <a:pt x="1993959" y="601975"/>
                  </a:lnTo>
                  <a:close/>
                  <a:moveTo>
                    <a:pt x="1941905" y="590725"/>
                  </a:moveTo>
                  <a:lnTo>
                    <a:pt x="1939833" y="587518"/>
                  </a:lnTo>
                  <a:lnTo>
                    <a:pt x="1941905" y="584262"/>
                  </a:lnTo>
                  <a:lnTo>
                    <a:pt x="1950243" y="582633"/>
                  </a:lnTo>
                  <a:lnTo>
                    <a:pt x="1950243" y="584262"/>
                  </a:lnTo>
                  <a:lnTo>
                    <a:pt x="1946050" y="585890"/>
                  </a:lnTo>
                  <a:lnTo>
                    <a:pt x="1946050" y="589097"/>
                  </a:lnTo>
                  <a:close/>
                  <a:moveTo>
                    <a:pt x="1929027" y="596991"/>
                  </a:moveTo>
                  <a:lnTo>
                    <a:pt x="1926905" y="595363"/>
                  </a:lnTo>
                  <a:lnTo>
                    <a:pt x="1931099" y="592156"/>
                  </a:lnTo>
                  <a:lnTo>
                    <a:pt x="1935244" y="592156"/>
                  </a:lnTo>
                  <a:lnTo>
                    <a:pt x="1931099" y="597090"/>
                  </a:lnTo>
                  <a:close/>
                  <a:moveTo>
                    <a:pt x="1937316" y="611497"/>
                  </a:moveTo>
                  <a:lnTo>
                    <a:pt x="1939438" y="606563"/>
                  </a:lnTo>
                  <a:lnTo>
                    <a:pt x="1937316" y="604935"/>
                  </a:lnTo>
                  <a:lnTo>
                    <a:pt x="1939438" y="600001"/>
                  </a:lnTo>
                  <a:lnTo>
                    <a:pt x="1941510" y="600001"/>
                  </a:lnTo>
                  <a:lnTo>
                    <a:pt x="1943583" y="601629"/>
                  </a:lnTo>
                  <a:lnTo>
                    <a:pt x="1947727" y="606563"/>
                  </a:lnTo>
                  <a:lnTo>
                    <a:pt x="1941510" y="611497"/>
                  </a:lnTo>
                  <a:close/>
                  <a:moveTo>
                    <a:pt x="1924833" y="616431"/>
                  </a:moveTo>
                  <a:lnTo>
                    <a:pt x="1920639" y="614803"/>
                  </a:lnTo>
                  <a:lnTo>
                    <a:pt x="1918616" y="606761"/>
                  </a:lnTo>
                  <a:lnTo>
                    <a:pt x="1920639" y="605132"/>
                  </a:lnTo>
                  <a:lnTo>
                    <a:pt x="1924833" y="601925"/>
                  </a:lnTo>
                  <a:lnTo>
                    <a:pt x="1929027" y="601925"/>
                  </a:lnTo>
                  <a:lnTo>
                    <a:pt x="1933172" y="603554"/>
                  </a:lnTo>
                  <a:lnTo>
                    <a:pt x="1935244" y="606761"/>
                  </a:lnTo>
                  <a:lnTo>
                    <a:pt x="1933172" y="608389"/>
                  </a:lnTo>
                  <a:lnTo>
                    <a:pt x="1933172" y="613323"/>
                  </a:lnTo>
                  <a:lnTo>
                    <a:pt x="1929027" y="613323"/>
                  </a:lnTo>
                  <a:lnTo>
                    <a:pt x="1926905" y="616530"/>
                  </a:lnTo>
                  <a:close/>
                  <a:moveTo>
                    <a:pt x="1906084" y="619688"/>
                  </a:moveTo>
                  <a:lnTo>
                    <a:pt x="1904011" y="614754"/>
                  </a:lnTo>
                  <a:lnTo>
                    <a:pt x="1908206" y="614754"/>
                  </a:lnTo>
                  <a:lnTo>
                    <a:pt x="1908206" y="619688"/>
                  </a:lnTo>
                  <a:close/>
                  <a:moveTo>
                    <a:pt x="1831087" y="627730"/>
                  </a:moveTo>
                  <a:lnTo>
                    <a:pt x="1826942" y="624523"/>
                  </a:lnTo>
                  <a:lnTo>
                    <a:pt x="1820676" y="626102"/>
                  </a:lnTo>
                  <a:lnTo>
                    <a:pt x="1816531" y="621168"/>
                  </a:lnTo>
                  <a:lnTo>
                    <a:pt x="1816531" y="616234"/>
                  </a:lnTo>
                  <a:lnTo>
                    <a:pt x="1818603" y="613027"/>
                  </a:lnTo>
                  <a:lnTo>
                    <a:pt x="1818603" y="609770"/>
                  </a:lnTo>
                  <a:lnTo>
                    <a:pt x="1820676" y="604836"/>
                  </a:lnTo>
                  <a:lnTo>
                    <a:pt x="1822748" y="604836"/>
                  </a:lnTo>
                  <a:lnTo>
                    <a:pt x="1826942" y="608093"/>
                  </a:lnTo>
                  <a:lnTo>
                    <a:pt x="1831087" y="608093"/>
                  </a:lnTo>
                  <a:lnTo>
                    <a:pt x="1826942" y="603159"/>
                  </a:lnTo>
                  <a:lnTo>
                    <a:pt x="1829014" y="599902"/>
                  </a:lnTo>
                  <a:lnTo>
                    <a:pt x="1822748" y="599902"/>
                  </a:lnTo>
                  <a:lnTo>
                    <a:pt x="1818603" y="596695"/>
                  </a:lnTo>
                  <a:lnTo>
                    <a:pt x="1818603" y="590232"/>
                  </a:lnTo>
                  <a:lnTo>
                    <a:pt x="1820676" y="590232"/>
                  </a:lnTo>
                  <a:lnTo>
                    <a:pt x="1824870" y="593439"/>
                  </a:lnTo>
                  <a:lnTo>
                    <a:pt x="1826942" y="591860"/>
                  </a:lnTo>
                  <a:lnTo>
                    <a:pt x="1824870" y="588603"/>
                  </a:lnTo>
                  <a:lnTo>
                    <a:pt x="1829014" y="587025"/>
                  </a:lnTo>
                  <a:lnTo>
                    <a:pt x="1835280" y="588603"/>
                  </a:lnTo>
                  <a:lnTo>
                    <a:pt x="1845691" y="590232"/>
                  </a:lnTo>
                  <a:lnTo>
                    <a:pt x="1849836" y="588603"/>
                  </a:lnTo>
                  <a:lnTo>
                    <a:pt x="1845691" y="585396"/>
                  </a:lnTo>
                  <a:lnTo>
                    <a:pt x="1843570" y="585396"/>
                  </a:lnTo>
                  <a:lnTo>
                    <a:pt x="1853981" y="583768"/>
                  </a:lnTo>
                  <a:lnTo>
                    <a:pt x="1862368" y="580561"/>
                  </a:lnTo>
                  <a:lnTo>
                    <a:pt x="1878996" y="580561"/>
                  </a:lnTo>
                  <a:lnTo>
                    <a:pt x="1883190" y="577305"/>
                  </a:lnTo>
                  <a:lnTo>
                    <a:pt x="1878996" y="575726"/>
                  </a:lnTo>
                  <a:lnTo>
                    <a:pt x="1849836" y="570792"/>
                  </a:lnTo>
                  <a:lnTo>
                    <a:pt x="1843570" y="570792"/>
                  </a:lnTo>
                  <a:lnTo>
                    <a:pt x="1837353" y="569213"/>
                  </a:lnTo>
                  <a:lnTo>
                    <a:pt x="1826942" y="569213"/>
                  </a:lnTo>
                  <a:lnTo>
                    <a:pt x="1820676" y="565956"/>
                  </a:lnTo>
                  <a:lnTo>
                    <a:pt x="1816531" y="567584"/>
                  </a:lnTo>
                  <a:lnTo>
                    <a:pt x="1812337" y="565956"/>
                  </a:lnTo>
                  <a:lnTo>
                    <a:pt x="1804048" y="565956"/>
                  </a:lnTo>
                  <a:lnTo>
                    <a:pt x="1801926" y="567584"/>
                  </a:lnTo>
                  <a:lnTo>
                    <a:pt x="1797732" y="565956"/>
                  </a:lnTo>
                  <a:lnTo>
                    <a:pt x="1793637" y="565956"/>
                  </a:lnTo>
                  <a:lnTo>
                    <a:pt x="1791516" y="564377"/>
                  </a:lnTo>
                  <a:lnTo>
                    <a:pt x="1791516" y="557914"/>
                  </a:lnTo>
                  <a:lnTo>
                    <a:pt x="1795709" y="557914"/>
                  </a:lnTo>
                  <a:lnTo>
                    <a:pt x="1799854" y="554657"/>
                  </a:lnTo>
                  <a:lnTo>
                    <a:pt x="1804048" y="556286"/>
                  </a:lnTo>
                  <a:lnTo>
                    <a:pt x="1808193" y="556286"/>
                  </a:lnTo>
                  <a:lnTo>
                    <a:pt x="1806120" y="553078"/>
                  </a:lnTo>
                  <a:lnTo>
                    <a:pt x="1808193" y="548144"/>
                  </a:lnTo>
                  <a:lnTo>
                    <a:pt x="1812337" y="544888"/>
                  </a:lnTo>
                  <a:lnTo>
                    <a:pt x="1818603" y="544888"/>
                  </a:lnTo>
                  <a:lnTo>
                    <a:pt x="1822748" y="543309"/>
                  </a:lnTo>
                  <a:lnTo>
                    <a:pt x="1822748" y="549723"/>
                  </a:lnTo>
                  <a:lnTo>
                    <a:pt x="1826942" y="551352"/>
                  </a:lnTo>
                  <a:lnTo>
                    <a:pt x="1826942" y="559443"/>
                  </a:lnTo>
                  <a:lnTo>
                    <a:pt x="1829014" y="561022"/>
                  </a:lnTo>
                  <a:lnTo>
                    <a:pt x="1833159" y="557815"/>
                  </a:lnTo>
                  <a:lnTo>
                    <a:pt x="1831087" y="551352"/>
                  </a:lnTo>
                  <a:lnTo>
                    <a:pt x="1829014" y="546417"/>
                  </a:lnTo>
                  <a:lnTo>
                    <a:pt x="1831087" y="541483"/>
                  </a:lnTo>
                  <a:lnTo>
                    <a:pt x="1837353" y="539855"/>
                  </a:lnTo>
                  <a:lnTo>
                    <a:pt x="1839425" y="536648"/>
                  </a:lnTo>
                  <a:lnTo>
                    <a:pt x="1833159" y="535020"/>
                  </a:lnTo>
                  <a:lnTo>
                    <a:pt x="1835280" y="526977"/>
                  </a:lnTo>
                  <a:lnTo>
                    <a:pt x="1841547" y="523721"/>
                  </a:lnTo>
                  <a:lnTo>
                    <a:pt x="1843570" y="520514"/>
                  </a:lnTo>
                  <a:lnTo>
                    <a:pt x="1849836" y="518886"/>
                  </a:lnTo>
                  <a:lnTo>
                    <a:pt x="1845691" y="513951"/>
                  </a:lnTo>
                  <a:lnTo>
                    <a:pt x="1843570" y="513951"/>
                  </a:lnTo>
                  <a:lnTo>
                    <a:pt x="1839425" y="512323"/>
                  </a:lnTo>
                  <a:lnTo>
                    <a:pt x="1839425" y="509116"/>
                  </a:lnTo>
                  <a:lnTo>
                    <a:pt x="1847764" y="504182"/>
                  </a:lnTo>
                  <a:lnTo>
                    <a:pt x="1847764" y="502554"/>
                  </a:lnTo>
                  <a:lnTo>
                    <a:pt x="1856102" y="499347"/>
                  </a:lnTo>
                  <a:lnTo>
                    <a:pt x="1860247" y="500926"/>
                  </a:lnTo>
                  <a:lnTo>
                    <a:pt x="1860247" y="508179"/>
                  </a:lnTo>
                  <a:lnTo>
                    <a:pt x="1864441" y="511386"/>
                  </a:lnTo>
                  <a:lnTo>
                    <a:pt x="1864441" y="516320"/>
                  </a:lnTo>
                  <a:lnTo>
                    <a:pt x="1862368" y="517899"/>
                  </a:lnTo>
                  <a:lnTo>
                    <a:pt x="1864441" y="522833"/>
                  </a:lnTo>
                  <a:lnTo>
                    <a:pt x="1868585" y="526089"/>
                  </a:lnTo>
                  <a:lnTo>
                    <a:pt x="1870657" y="543852"/>
                  </a:lnTo>
                  <a:lnTo>
                    <a:pt x="1868585" y="548786"/>
                  </a:lnTo>
                  <a:lnTo>
                    <a:pt x="1868585" y="551993"/>
                  </a:lnTo>
                  <a:lnTo>
                    <a:pt x="1874851" y="555200"/>
                  </a:lnTo>
                  <a:lnTo>
                    <a:pt x="1883190" y="550266"/>
                  </a:lnTo>
                  <a:lnTo>
                    <a:pt x="1878996" y="547059"/>
                  </a:lnTo>
                  <a:lnTo>
                    <a:pt x="1881068" y="537191"/>
                  </a:lnTo>
                  <a:lnTo>
                    <a:pt x="1887334" y="535563"/>
                  </a:lnTo>
                  <a:lnTo>
                    <a:pt x="1887334" y="530629"/>
                  </a:lnTo>
                  <a:lnTo>
                    <a:pt x="1876924" y="524165"/>
                  </a:lnTo>
                  <a:lnTo>
                    <a:pt x="1876924" y="522981"/>
                  </a:lnTo>
                  <a:lnTo>
                    <a:pt x="1883190" y="522981"/>
                  </a:lnTo>
                  <a:lnTo>
                    <a:pt x="1889407" y="526237"/>
                  </a:lnTo>
                  <a:lnTo>
                    <a:pt x="1889407" y="521303"/>
                  </a:lnTo>
                  <a:lnTo>
                    <a:pt x="1880970" y="514840"/>
                  </a:lnTo>
                  <a:lnTo>
                    <a:pt x="1878897" y="506748"/>
                  </a:lnTo>
                  <a:lnTo>
                    <a:pt x="1880970" y="503541"/>
                  </a:lnTo>
                  <a:lnTo>
                    <a:pt x="1883091" y="495449"/>
                  </a:lnTo>
                  <a:lnTo>
                    <a:pt x="1887236" y="493870"/>
                  </a:lnTo>
                  <a:lnTo>
                    <a:pt x="1891380" y="492242"/>
                  </a:lnTo>
                  <a:lnTo>
                    <a:pt x="1895574" y="489035"/>
                  </a:lnTo>
                  <a:lnTo>
                    <a:pt x="1901840" y="490614"/>
                  </a:lnTo>
                  <a:lnTo>
                    <a:pt x="1908107" y="485680"/>
                  </a:lnTo>
                  <a:cubicBezTo>
                    <a:pt x="1910238" y="485961"/>
                    <a:pt x="1912330" y="486503"/>
                    <a:pt x="1914324" y="487308"/>
                  </a:cubicBezTo>
                  <a:lnTo>
                    <a:pt x="1916396" y="490515"/>
                  </a:lnTo>
                  <a:lnTo>
                    <a:pt x="1920541" y="493771"/>
                  </a:lnTo>
                  <a:lnTo>
                    <a:pt x="1924734" y="492143"/>
                  </a:lnTo>
                  <a:lnTo>
                    <a:pt x="1928928" y="495350"/>
                  </a:lnTo>
                  <a:lnTo>
                    <a:pt x="1926807" y="508277"/>
                  </a:lnTo>
                  <a:lnTo>
                    <a:pt x="1922662" y="513211"/>
                  </a:lnTo>
                  <a:lnTo>
                    <a:pt x="1922662" y="516468"/>
                  </a:lnTo>
                  <a:lnTo>
                    <a:pt x="1926807" y="516468"/>
                  </a:lnTo>
                  <a:lnTo>
                    <a:pt x="1928928" y="513211"/>
                  </a:lnTo>
                  <a:lnTo>
                    <a:pt x="1933073" y="514840"/>
                  </a:lnTo>
                  <a:lnTo>
                    <a:pt x="1937218" y="511583"/>
                  </a:lnTo>
                  <a:lnTo>
                    <a:pt x="1937218" y="501715"/>
                  </a:lnTo>
                  <a:lnTo>
                    <a:pt x="1941412" y="498508"/>
                  </a:lnTo>
                  <a:lnTo>
                    <a:pt x="1947628" y="501715"/>
                  </a:lnTo>
                  <a:lnTo>
                    <a:pt x="1953895" y="500136"/>
                  </a:lnTo>
                  <a:lnTo>
                    <a:pt x="1951822" y="495202"/>
                  </a:lnTo>
                  <a:lnTo>
                    <a:pt x="1951822" y="491995"/>
                  </a:lnTo>
                  <a:lnTo>
                    <a:pt x="1955967" y="491995"/>
                  </a:lnTo>
                  <a:lnTo>
                    <a:pt x="1958039" y="496929"/>
                  </a:lnTo>
                  <a:lnTo>
                    <a:pt x="1958039" y="503393"/>
                  </a:lnTo>
                  <a:lnTo>
                    <a:pt x="1955967" y="506600"/>
                  </a:lnTo>
                  <a:lnTo>
                    <a:pt x="1953895" y="506600"/>
                  </a:lnTo>
                  <a:lnTo>
                    <a:pt x="1955967" y="511534"/>
                  </a:lnTo>
                  <a:lnTo>
                    <a:pt x="1962233" y="514790"/>
                  </a:lnTo>
                  <a:lnTo>
                    <a:pt x="1966378" y="519724"/>
                  </a:lnTo>
                  <a:lnTo>
                    <a:pt x="1964306" y="526188"/>
                  </a:lnTo>
                  <a:lnTo>
                    <a:pt x="1958039" y="529395"/>
                  </a:lnTo>
                  <a:lnTo>
                    <a:pt x="1951822" y="539263"/>
                  </a:lnTo>
                  <a:lnTo>
                    <a:pt x="1951822" y="545727"/>
                  </a:lnTo>
                  <a:lnTo>
                    <a:pt x="1949750" y="550661"/>
                  </a:lnTo>
                  <a:lnTo>
                    <a:pt x="1943484" y="552289"/>
                  </a:lnTo>
                  <a:lnTo>
                    <a:pt x="1935244" y="560035"/>
                  </a:lnTo>
                  <a:lnTo>
                    <a:pt x="1933172" y="563243"/>
                  </a:lnTo>
                  <a:lnTo>
                    <a:pt x="1926905" y="569706"/>
                  </a:lnTo>
                  <a:lnTo>
                    <a:pt x="1926905" y="572913"/>
                  </a:lnTo>
                  <a:lnTo>
                    <a:pt x="1924833" y="579377"/>
                  </a:lnTo>
                  <a:lnTo>
                    <a:pt x="1920442" y="579377"/>
                  </a:lnTo>
                  <a:lnTo>
                    <a:pt x="1916297" y="577749"/>
                  </a:lnTo>
                  <a:lnTo>
                    <a:pt x="1912153" y="581005"/>
                  </a:lnTo>
                  <a:lnTo>
                    <a:pt x="1912153" y="582584"/>
                  </a:lnTo>
                  <a:lnTo>
                    <a:pt x="1920442" y="587518"/>
                  </a:lnTo>
                  <a:lnTo>
                    <a:pt x="1920442" y="590725"/>
                  </a:lnTo>
                  <a:lnTo>
                    <a:pt x="1912153" y="600593"/>
                  </a:lnTo>
                  <a:lnTo>
                    <a:pt x="1910031" y="603850"/>
                  </a:lnTo>
                  <a:lnTo>
                    <a:pt x="1908008" y="600593"/>
                  </a:lnTo>
                  <a:lnTo>
                    <a:pt x="1908008" y="595659"/>
                  </a:lnTo>
                  <a:lnTo>
                    <a:pt x="1903814" y="595659"/>
                  </a:lnTo>
                  <a:lnTo>
                    <a:pt x="1899620" y="597287"/>
                  </a:lnTo>
                  <a:lnTo>
                    <a:pt x="1899620" y="600495"/>
                  </a:lnTo>
                  <a:lnTo>
                    <a:pt x="1895772" y="601925"/>
                  </a:lnTo>
                  <a:lnTo>
                    <a:pt x="1891578" y="606859"/>
                  </a:lnTo>
                  <a:lnTo>
                    <a:pt x="1885361" y="608488"/>
                  </a:lnTo>
                  <a:lnTo>
                    <a:pt x="1883288" y="613422"/>
                  </a:lnTo>
                  <a:lnTo>
                    <a:pt x="1887433" y="615001"/>
                  </a:lnTo>
                  <a:lnTo>
                    <a:pt x="1893699" y="613422"/>
                  </a:lnTo>
                  <a:lnTo>
                    <a:pt x="1891578" y="618356"/>
                  </a:lnTo>
                  <a:lnTo>
                    <a:pt x="1889505" y="621563"/>
                  </a:lnTo>
                  <a:lnTo>
                    <a:pt x="1889505" y="629655"/>
                  </a:lnTo>
                  <a:lnTo>
                    <a:pt x="1887433" y="631234"/>
                  </a:lnTo>
                  <a:lnTo>
                    <a:pt x="1883288" y="626300"/>
                  </a:lnTo>
                  <a:lnTo>
                    <a:pt x="1881167" y="619885"/>
                  </a:lnTo>
                  <a:lnTo>
                    <a:pt x="1881167" y="616727"/>
                  </a:lnTo>
                  <a:lnTo>
                    <a:pt x="1877022" y="619984"/>
                  </a:lnTo>
                  <a:lnTo>
                    <a:pt x="1877022" y="624918"/>
                  </a:lnTo>
                  <a:lnTo>
                    <a:pt x="1879095" y="628125"/>
                  </a:lnTo>
                  <a:lnTo>
                    <a:pt x="1872878" y="634589"/>
                  </a:lnTo>
                  <a:lnTo>
                    <a:pt x="1854079" y="632960"/>
                  </a:lnTo>
                  <a:lnTo>
                    <a:pt x="1854079" y="628026"/>
                  </a:lnTo>
                  <a:lnTo>
                    <a:pt x="1852056" y="624819"/>
                  </a:lnTo>
                  <a:lnTo>
                    <a:pt x="1845790" y="629753"/>
                  </a:lnTo>
                  <a:lnTo>
                    <a:pt x="1841497" y="629753"/>
                  </a:lnTo>
                  <a:lnTo>
                    <a:pt x="1839376" y="626497"/>
                  </a:lnTo>
                  <a:lnTo>
                    <a:pt x="1845642" y="620083"/>
                  </a:lnTo>
                  <a:lnTo>
                    <a:pt x="1837304" y="623290"/>
                  </a:lnTo>
                  <a:lnTo>
                    <a:pt x="1833109" y="628224"/>
                  </a:lnTo>
                  <a:close/>
                  <a:moveTo>
                    <a:pt x="1362353" y="458296"/>
                  </a:moveTo>
                  <a:lnTo>
                    <a:pt x="1358159" y="456717"/>
                  </a:lnTo>
                  <a:lnTo>
                    <a:pt x="1362353" y="450253"/>
                  </a:lnTo>
                  <a:lnTo>
                    <a:pt x="1377155" y="438954"/>
                  </a:lnTo>
                  <a:lnTo>
                    <a:pt x="1387566" y="437326"/>
                  </a:lnTo>
                  <a:lnTo>
                    <a:pt x="1393832" y="432392"/>
                  </a:lnTo>
                  <a:lnTo>
                    <a:pt x="1397977" y="432392"/>
                  </a:lnTo>
                  <a:lnTo>
                    <a:pt x="1406315" y="425928"/>
                  </a:lnTo>
                  <a:lnTo>
                    <a:pt x="1416726" y="424349"/>
                  </a:lnTo>
                  <a:lnTo>
                    <a:pt x="1422992" y="422721"/>
                  </a:lnTo>
                  <a:lnTo>
                    <a:pt x="1427038" y="422721"/>
                  </a:lnTo>
                  <a:lnTo>
                    <a:pt x="1439571" y="419465"/>
                  </a:lnTo>
                  <a:lnTo>
                    <a:pt x="1441643" y="421093"/>
                  </a:lnTo>
                  <a:lnTo>
                    <a:pt x="1439571" y="426027"/>
                  </a:lnTo>
                  <a:lnTo>
                    <a:pt x="1429160" y="432491"/>
                  </a:lnTo>
                  <a:lnTo>
                    <a:pt x="1418700" y="439102"/>
                  </a:lnTo>
                  <a:lnTo>
                    <a:pt x="1395756" y="452029"/>
                  </a:lnTo>
                  <a:lnTo>
                    <a:pt x="1389540" y="460072"/>
                  </a:lnTo>
                  <a:lnTo>
                    <a:pt x="1383274" y="461700"/>
                  </a:lnTo>
                  <a:lnTo>
                    <a:pt x="1379080" y="461700"/>
                  </a:lnTo>
                  <a:lnTo>
                    <a:pt x="1377007" y="466634"/>
                  </a:lnTo>
                  <a:lnTo>
                    <a:pt x="1372764" y="466634"/>
                  </a:lnTo>
                  <a:lnTo>
                    <a:pt x="1370692" y="460171"/>
                  </a:lnTo>
                  <a:lnTo>
                    <a:pt x="1366498" y="458542"/>
                  </a:lnTo>
                  <a:close/>
                  <a:moveTo>
                    <a:pt x="1710203" y="585791"/>
                  </a:moveTo>
                  <a:lnTo>
                    <a:pt x="1708081" y="582535"/>
                  </a:lnTo>
                  <a:lnTo>
                    <a:pt x="1710203" y="580956"/>
                  </a:lnTo>
                  <a:lnTo>
                    <a:pt x="1716469" y="579327"/>
                  </a:lnTo>
                  <a:lnTo>
                    <a:pt x="1720613" y="574393"/>
                  </a:lnTo>
                  <a:lnTo>
                    <a:pt x="1720613" y="571137"/>
                  </a:lnTo>
                  <a:lnTo>
                    <a:pt x="1731024" y="566203"/>
                  </a:lnTo>
                  <a:lnTo>
                    <a:pt x="1733097" y="562996"/>
                  </a:lnTo>
                  <a:lnTo>
                    <a:pt x="1739363" y="562996"/>
                  </a:lnTo>
                  <a:lnTo>
                    <a:pt x="1739363" y="585594"/>
                  </a:lnTo>
                  <a:lnTo>
                    <a:pt x="1733097" y="590528"/>
                  </a:lnTo>
                  <a:lnTo>
                    <a:pt x="1724758" y="590528"/>
                  </a:lnTo>
                  <a:lnTo>
                    <a:pt x="1722686" y="592156"/>
                  </a:lnTo>
                  <a:lnTo>
                    <a:pt x="1716469" y="592156"/>
                  </a:lnTo>
                  <a:lnTo>
                    <a:pt x="1714347" y="588900"/>
                  </a:lnTo>
                  <a:close/>
                  <a:moveTo>
                    <a:pt x="1431084" y="575923"/>
                  </a:moveTo>
                  <a:lnTo>
                    <a:pt x="1433157" y="569459"/>
                  </a:lnTo>
                  <a:lnTo>
                    <a:pt x="1433157" y="554904"/>
                  </a:lnTo>
                  <a:lnTo>
                    <a:pt x="1443567" y="553325"/>
                  </a:lnTo>
                  <a:lnTo>
                    <a:pt x="1456051" y="556532"/>
                  </a:lnTo>
                  <a:lnTo>
                    <a:pt x="1460244" y="553325"/>
                  </a:lnTo>
                  <a:lnTo>
                    <a:pt x="1468583" y="554904"/>
                  </a:lnTo>
                  <a:lnTo>
                    <a:pt x="1474800" y="553325"/>
                  </a:lnTo>
                  <a:lnTo>
                    <a:pt x="1485211" y="548391"/>
                  </a:lnTo>
                  <a:lnTo>
                    <a:pt x="1495671" y="548391"/>
                  </a:lnTo>
                  <a:lnTo>
                    <a:pt x="1508154" y="553325"/>
                  </a:lnTo>
                  <a:lnTo>
                    <a:pt x="1516492" y="553325"/>
                  </a:lnTo>
                  <a:lnTo>
                    <a:pt x="1520637" y="554904"/>
                  </a:lnTo>
                  <a:lnTo>
                    <a:pt x="1526903" y="549970"/>
                  </a:lnTo>
                  <a:lnTo>
                    <a:pt x="1543580" y="549970"/>
                  </a:lnTo>
                  <a:lnTo>
                    <a:pt x="1545652" y="545036"/>
                  </a:lnTo>
                  <a:lnTo>
                    <a:pt x="1549797" y="541829"/>
                  </a:lnTo>
                  <a:lnTo>
                    <a:pt x="1547725" y="538572"/>
                  </a:lnTo>
                  <a:lnTo>
                    <a:pt x="1543580" y="543506"/>
                  </a:lnTo>
                  <a:lnTo>
                    <a:pt x="1533120" y="543506"/>
                  </a:lnTo>
                  <a:lnTo>
                    <a:pt x="1533120" y="540250"/>
                  </a:lnTo>
                  <a:lnTo>
                    <a:pt x="1522709" y="543506"/>
                  </a:lnTo>
                  <a:lnTo>
                    <a:pt x="1512397" y="543506"/>
                  </a:lnTo>
                  <a:lnTo>
                    <a:pt x="1512397" y="538572"/>
                  </a:lnTo>
                  <a:lnTo>
                    <a:pt x="1508253" y="535365"/>
                  </a:lnTo>
                  <a:lnTo>
                    <a:pt x="1504059" y="540299"/>
                  </a:lnTo>
                  <a:lnTo>
                    <a:pt x="1495769" y="540299"/>
                  </a:lnTo>
                  <a:lnTo>
                    <a:pt x="1489503" y="541927"/>
                  </a:lnTo>
                  <a:lnTo>
                    <a:pt x="1485309" y="540299"/>
                  </a:lnTo>
                  <a:lnTo>
                    <a:pt x="1479092" y="540299"/>
                  </a:lnTo>
                  <a:lnTo>
                    <a:pt x="1470754" y="538671"/>
                  </a:lnTo>
                  <a:lnTo>
                    <a:pt x="1470754" y="533737"/>
                  </a:lnTo>
                  <a:lnTo>
                    <a:pt x="1479092" y="528803"/>
                  </a:lnTo>
                  <a:lnTo>
                    <a:pt x="1487431" y="522339"/>
                  </a:lnTo>
                  <a:lnTo>
                    <a:pt x="1481313" y="522339"/>
                  </a:lnTo>
                  <a:lnTo>
                    <a:pt x="1475046" y="523968"/>
                  </a:lnTo>
                  <a:lnTo>
                    <a:pt x="1468830" y="528902"/>
                  </a:lnTo>
                  <a:lnTo>
                    <a:pt x="1466511" y="522981"/>
                  </a:lnTo>
                  <a:lnTo>
                    <a:pt x="1462366" y="526237"/>
                  </a:lnTo>
                  <a:lnTo>
                    <a:pt x="1462366" y="531171"/>
                  </a:lnTo>
                  <a:lnTo>
                    <a:pt x="1449883" y="536105"/>
                  </a:lnTo>
                  <a:lnTo>
                    <a:pt x="1447811" y="541039"/>
                  </a:lnTo>
                  <a:lnTo>
                    <a:pt x="1441544" y="542668"/>
                  </a:lnTo>
                  <a:lnTo>
                    <a:pt x="1433206" y="537734"/>
                  </a:lnTo>
                  <a:lnTo>
                    <a:pt x="1433206" y="532800"/>
                  </a:lnTo>
                  <a:lnTo>
                    <a:pt x="1437351" y="527866"/>
                  </a:lnTo>
                  <a:lnTo>
                    <a:pt x="1431134" y="527866"/>
                  </a:lnTo>
                  <a:lnTo>
                    <a:pt x="1429061" y="526237"/>
                  </a:lnTo>
                  <a:lnTo>
                    <a:pt x="1426940" y="534280"/>
                  </a:lnTo>
                  <a:lnTo>
                    <a:pt x="1422795" y="537536"/>
                  </a:lnTo>
                  <a:lnTo>
                    <a:pt x="1416529" y="534280"/>
                  </a:lnTo>
                  <a:lnTo>
                    <a:pt x="1416529" y="527915"/>
                  </a:lnTo>
                  <a:lnTo>
                    <a:pt x="1408190" y="522981"/>
                  </a:lnTo>
                  <a:lnTo>
                    <a:pt x="1410312" y="518047"/>
                  </a:lnTo>
                  <a:lnTo>
                    <a:pt x="1406118" y="516468"/>
                  </a:lnTo>
                  <a:lnTo>
                    <a:pt x="1406118" y="522981"/>
                  </a:lnTo>
                  <a:lnTo>
                    <a:pt x="1401973" y="521402"/>
                  </a:lnTo>
                  <a:lnTo>
                    <a:pt x="1393684" y="513113"/>
                  </a:lnTo>
                  <a:lnTo>
                    <a:pt x="1381201" y="506649"/>
                  </a:lnTo>
                  <a:lnTo>
                    <a:pt x="1381201" y="503442"/>
                  </a:lnTo>
                  <a:lnTo>
                    <a:pt x="1389540" y="503442"/>
                  </a:lnTo>
                  <a:lnTo>
                    <a:pt x="1389540" y="496978"/>
                  </a:lnTo>
                  <a:lnTo>
                    <a:pt x="1387418" y="493771"/>
                  </a:lnTo>
                  <a:lnTo>
                    <a:pt x="1399951" y="485680"/>
                  </a:lnTo>
                  <a:lnTo>
                    <a:pt x="1408240" y="484101"/>
                  </a:lnTo>
                  <a:lnTo>
                    <a:pt x="1412434" y="485680"/>
                  </a:lnTo>
                  <a:lnTo>
                    <a:pt x="1424917" y="484101"/>
                  </a:lnTo>
                  <a:lnTo>
                    <a:pt x="1433255" y="489035"/>
                  </a:lnTo>
                  <a:lnTo>
                    <a:pt x="1443666" y="490614"/>
                  </a:lnTo>
                  <a:lnTo>
                    <a:pt x="1447860" y="487406"/>
                  </a:lnTo>
                  <a:lnTo>
                    <a:pt x="1456149" y="485778"/>
                  </a:lnTo>
                  <a:lnTo>
                    <a:pt x="1464488" y="480844"/>
                  </a:lnTo>
                  <a:lnTo>
                    <a:pt x="1460343" y="477637"/>
                  </a:lnTo>
                  <a:lnTo>
                    <a:pt x="1456149" y="476009"/>
                  </a:lnTo>
                  <a:lnTo>
                    <a:pt x="1447860" y="476009"/>
                  </a:lnTo>
                  <a:lnTo>
                    <a:pt x="1441594" y="477637"/>
                  </a:lnTo>
                  <a:lnTo>
                    <a:pt x="1429111" y="472703"/>
                  </a:lnTo>
                  <a:lnTo>
                    <a:pt x="1420772" y="472703"/>
                  </a:lnTo>
                  <a:lnTo>
                    <a:pt x="1418700" y="471075"/>
                  </a:lnTo>
                  <a:lnTo>
                    <a:pt x="1429111" y="462983"/>
                  </a:lnTo>
                  <a:lnTo>
                    <a:pt x="1437400" y="454940"/>
                  </a:lnTo>
                  <a:lnTo>
                    <a:pt x="1445738" y="453312"/>
                  </a:lnTo>
                  <a:lnTo>
                    <a:pt x="1449932" y="454940"/>
                  </a:lnTo>
                  <a:lnTo>
                    <a:pt x="1464734" y="451733"/>
                  </a:lnTo>
                  <a:lnTo>
                    <a:pt x="1479537" y="453312"/>
                  </a:lnTo>
                  <a:lnTo>
                    <a:pt x="1487875" y="456569"/>
                  </a:lnTo>
                  <a:lnTo>
                    <a:pt x="1492020" y="454940"/>
                  </a:lnTo>
                  <a:lnTo>
                    <a:pt x="1489947" y="451733"/>
                  </a:lnTo>
                  <a:lnTo>
                    <a:pt x="1485754" y="451733"/>
                  </a:lnTo>
                  <a:lnTo>
                    <a:pt x="1479537" y="448477"/>
                  </a:lnTo>
                  <a:lnTo>
                    <a:pt x="1471198" y="448477"/>
                  </a:lnTo>
                  <a:lnTo>
                    <a:pt x="1456396" y="443543"/>
                  </a:lnTo>
                  <a:lnTo>
                    <a:pt x="1452251" y="438609"/>
                  </a:lnTo>
                  <a:lnTo>
                    <a:pt x="1460590" y="433675"/>
                  </a:lnTo>
                  <a:lnTo>
                    <a:pt x="1464734" y="427211"/>
                  </a:lnTo>
                  <a:lnTo>
                    <a:pt x="1468928" y="425583"/>
                  </a:lnTo>
                  <a:lnTo>
                    <a:pt x="1473073" y="425583"/>
                  </a:lnTo>
                  <a:lnTo>
                    <a:pt x="1481412" y="420649"/>
                  </a:lnTo>
                  <a:lnTo>
                    <a:pt x="1487678" y="420649"/>
                  </a:lnTo>
                  <a:lnTo>
                    <a:pt x="1491822" y="423905"/>
                  </a:lnTo>
                  <a:lnTo>
                    <a:pt x="1498089" y="423905"/>
                  </a:lnTo>
                  <a:lnTo>
                    <a:pt x="1504305" y="430320"/>
                  </a:lnTo>
                  <a:lnTo>
                    <a:pt x="1510572" y="431948"/>
                  </a:lnTo>
                  <a:lnTo>
                    <a:pt x="1506427" y="425484"/>
                  </a:lnTo>
                  <a:lnTo>
                    <a:pt x="1498089" y="420550"/>
                  </a:lnTo>
                  <a:lnTo>
                    <a:pt x="1498089" y="415616"/>
                  </a:lnTo>
                  <a:lnTo>
                    <a:pt x="1493895" y="413988"/>
                  </a:lnTo>
                  <a:lnTo>
                    <a:pt x="1498089" y="409054"/>
                  </a:lnTo>
                  <a:lnTo>
                    <a:pt x="1518910" y="405847"/>
                  </a:lnTo>
                  <a:lnTo>
                    <a:pt x="1525176" y="407475"/>
                  </a:lnTo>
                  <a:lnTo>
                    <a:pt x="1535587" y="407475"/>
                  </a:lnTo>
                  <a:lnTo>
                    <a:pt x="1543926" y="412409"/>
                  </a:lnTo>
                  <a:lnTo>
                    <a:pt x="1545998" y="422277"/>
                  </a:lnTo>
                  <a:lnTo>
                    <a:pt x="1539732" y="425484"/>
                  </a:lnTo>
                  <a:lnTo>
                    <a:pt x="1535587" y="431948"/>
                  </a:lnTo>
                  <a:lnTo>
                    <a:pt x="1537659" y="438411"/>
                  </a:lnTo>
                  <a:lnTo>
                    <a:pt x="1550143" y="436783"/>
                  </a:lnTo>
                  <a:lnTo>
                    <a:pt x="1554336" y="435155"/>
                  </a:lnTo>
                  <a:lnTo>
                    <a:pt x="1558481" y="436783"/>
                  </a:lnTo>
                  <a:lnTo>
                    <a:pt x="1564747" y="436783"/>
                  </a:lnTo>
                  <a:lnTo>
                    <a:pt x="1566820" y="441717"/>
                  </a:lnTo>
                  <a:lnTo>
                    <a:pt x="1566820" y="444974"/>
                  </a:lnTo>
                  <a:lnTo>
                    <a:pt x="1570964" y="448181"/>
                  </a:lnTo>
                  <a:lnTo>
                    <a:pt x="1570964" y="453115"/>
                  </a:lnTo>
                  <a:lnTo>
                    <a:pt x="1566820" y="454743"/>
                  </a:lnTo>
                  <a:lnTo>
                    <a:pt x="1564747" y="459677"/>
                  </a:lnTo>
                  <a:lnTo>
                    <a:pt x="1570964" y="466141"/>
                  </a:lnTo>
                  <a:lnTo>
                    <a:pt x="1570964" y="479019"/>
                  </a:lnTo>
                  <a:lnTo>
                    <a:pt x="1568892" y="482275"/>
                  </a:lnTo>
                  <a:lnTo>
                    <a:pt x="1560553" y="480647"/>
                  </a:lnTo>
                  <a:lnTo>
                    <a:pt x="1554336" y="482275"/>
                  </a:lnTo>
                  <a:lnTo>
                    <a:pt x="1556409" y="487209"/>
                  </a:lnTo>
                  <a:lnTo>
                    <a:pt x="1562626" y="485581"/>
                  </a:lnTo>
                  <a:lnTo>
                    <a:pt x="1570964" y="488837"/>
                  </a:lnTo>
                  <a:lnTo>
                    <a:pt x="1575059" y="488837"/>
                  </a:lnTo>
                  <a:lnTo>
                    <a:pt x="1570915" y="501715"/>
                  </a:lnTo>
                  <a:lnTo>
                    <a:pt x="1564698" y="504972"/>
                  </a:lnTo>
                  <a:lnTo>
                    <a:pt x="1564698" y="516271"/>
                  </a:lnTo>
                  <a:lnTo>
                    <a:pt x="1568843" y="517849"/>
                  </a:lnTo>
                  <a:lnTo>
                    <a:pt x="1577181" y="516271"/>
                  </a:lnTo>
                  <a:lnTo>
                    <a:pt x="1581375" y="513014"/>
                  </a:lnTo>
                  <a:lnTo>
                    <a:pt x="1583447" y="514642"/>
                  </a:lnTo>
                  <a:lnTo>
                    <a:pt x="1585470" y="519576"/>
                  </a:lnTo>
                  <a:lnTo>
                    <a:pt x="1598003" y="519576"/>
                  </a:lnTo>
                  <a:lnTo>
                    <a:pt x="1610486" y="522783"/>
                  </a:lnTo>
                  <a:lnTo>
                    <a:pt x="1616752" y="529247"/>
                  </a:lnTo>
                  <a:lnTo>
                    <a:pt x="1620897" y="527668"/>
                  </a:lnTo>
                  <a:lnTo>
                    <a:pt x="1620897" y="524412"/>
                  </a:lnTo>
                  <a:lnTo>
                    <a:pt x="1616752" y="522783"/>
                  </a:lnTo>
                  <a:lnTo>
                    <a:pt x="1629284" y="517849"/>
                  </a:lnTo>
                  <a:lnTo>
                    <a:pt x="1625091" y="506550"/>
                  </a:lnTo>
                  <a:lnTo>
                    <a:pt x="1618824" y="500136"/>
                  </a:lnTo>
                  <a:lnTo>
                    <a:pt x="1618824" y="496880"/>
                  </a:lnTo>
                  <a:lnTo>
                    <a:pt x="1614680" y="491946"/>
                  </a:lnTo>
                  <a:lnTo>
                    <a:pt x="1618824" y="488739"/>
                  </a:lnTo>
                  <a:lnTo>
                    <a:pt x="1623018" y="488739"/>
                  </a:lnTo>
                  <a:lnTo>
                    <a:pt x="1633429" y="483805"/>
                  </a:lnTo>
                  <a:lnTo>
                    <a:pt x="1641718" y="485383"/>
                  </a:lnTo>
                  <a:lnTo>
                    <a:pt x="1645912" y="475515"/>
                  </a:lnTo>
                  <a:lnTo>
                    <a:pt x="1639695" y="467473"/>
                  </a:lnTo>
                  <a:lnTo>
                    <a:pt x="1637574" y="464216"/>
                  </a:lnTo>
                  <a:lnTo>
                    <a:pt x="1637574" y="458345"/>
                  </a:lnTo>
                  <a:lnTo>
                    <a:pt x="1633429" y="450302"/>
                  </a:lnTo>
                  <a:lnTo>
                    <a:pt x="1639695" y="442211"/>
                  </a:lnTo>
                  <a:lnTo>
                    <a:pt x="1645912" y="439004"/>
                  </a:lnTo>
                  <a:lnTo>
                    <a:pt x="1650106" y="440632"/>
                  </a:lnTo>
                  <a:lnTo>
                    <a:pt x="1656323" y="440632"/>
                  </a:lnTo>
                  <a:lnTo>
                    <a:pt x="1656323" y="437375"/>
                  </a:lnTo>
                  <a:lnTo>
                    <a:pt x="1658395" y="432441"/>
                  </a:lnTo>
                  <a:lnTo>
                    <a:pt x="1666734" y="429234"/>
                  </a:lnTo>
                  <a:lnTo>
                    <a:pt x="1683411" y="416307"/>
                  </a:lnTo>
                  <a:lnTo>
                    <a:pt x="1687555" y="416307"/>
                  </a:lnTo>
                  <a:lnTo>
                    <a:pt x="1697966" y="421241"/>
                  </a:lnTo>
                  <a:lnTo>
                    <a:pt x="1695943" y="424497"/>
                  </a:lnTo>
                  <a:lnTo>
                    <a:pt x="1697966" y="429431"/>
                  </a:lnTo>
                  <a:lnTo>
                    <a:pt x="1695943" y="434366"/>
                  </a:lnTo>
                  <a:lnTo>
                    <a:pt x="1689677" y="434366"/>
                  </a:lnTo>
                  <a:lnTo>
                    <a:pt x="1685533" y="437573"/>
                  </a:lnTo>
                  <a:lnTo>
                    <a:pt x="1685533" y="442507"/>
                  </a:lnTo>
                  <a:lnTo>
                    <a:pt x="1683411" y="448970"/>
                  </a:lnTo>
                  <a:lnTo>
                    <a:pt x="1683411" y="455434"/>
                  </a:lnTo>
                  <a:lnTo>
                    <a:pt x="1685533" y="458641"/>
                  </a:lnTo>
                  <a:lnTo>
                    <a:pt x="1685533" y="473196"/>
                  </a:lnTo>
                  <a:lnTo>
                    <a:pt x="1683411" y="476403"/>
                  </a:lnTo>
                  <a:lnTo>
                    <a:pt x="1679217" y="476403"/>
                  </a:lnTo>
                  <a:lnTo>
                    <a:pt x="1668806" y="482571"/>
                  </a:lnTo>
                  <a:lnTo>
                    <a:pt x="1662589" y="487505"/>
                  </a:lnTo>
                  <a:lnTo>
                    <a:pt x="1662589" y="489133"/>
                  </a:lnTo>
                  <a:lnTo>
                    <a:pt x="1666734" y="489133"/>
                  </a:lnTo>
                  <a:lnTo>
                    <a:pt x="1673000" y="487505"/>
                  </a:lnTo>
                  <a:lnTo>
                    <a:pt x="1683411" y="487505"/>
                  </a:lnTo>
                  <a:lnTo>
                    <a:pt x="1685533" y="490712"/>
                  </a:lnTo>
                  <a:lnTo>
                    <a:pt x="1679217" y="498804"/>
                  </a:lnTo>
                  <a:lnTo>
                    <a:pt x="1668806" y="503738"/>
                  </a:lnTo>
                  <a:lnTo>
                    <a:pt x="1658395" y="511781"/>
                  </a:lnTo>
                  <a:lnTo>
                    <a:pt x="1656323" y="516715"/>
                  </a:lnTo>
                  <a:lnTo>
                    <a:pt x="1660517" y="519922"/>
                  </a:lnTo>
                  <a:lnTo>
                    <a:pt x="1662589" y="514988"/>
                  </a:lnTo>
                  <a:lnTo>
                    <a:pt x="1675072" y="510054"/>
                  </a:lnTo>
                  <a:lnTo>
                    <a:pt x="1679217" y="505120"/>
                  </a:lnTo>
                  <a:lnTo>
                    <a:pt x="1683411" y="503491"/>
                  </a:lnTo>
                  <a:lnTo>
                    <a:pt x="1693822" y="508425"/>
                  </a:lnTo>
                  <a:lnTo>
                    <a:pt x="1693822" y="514889"/>
                  </a:lnTo>
                  <a:lnTo>
                    <a:pt x="1687555" y="524757"/>
                  </a:lnTo>
                  <a:lnTo>
                    <a:pt x="1689677" y="528014"/>
                  </a:lnTo>
                  <a:lnTo>
                    <a:pt x="1695943" y="521550"/>
                  </a:lnTo>
                  <a:lnTo>
                    <a:pt x="1702160" y="523129"/>
                  </a:lnTo>
                  <a:lnTo>
                    <a:pt x="1702160" y="516715"/>
                  </a:lnTo>
                  <a:lnTo>
                    <a:pt x="1706354" y="511781"/>
                  </a:lnTo>
                  <a:lnTo>
                    <a:pt x="1706354" y="505366"/>
                  </a:lnTo>
                  <a:lnTo>
                    <a:pt x="1716765" y="498903"/>
                  </a:lnTo>
                  <a:lnTo>
                    <a:pt x="1722982" y="498903"/>
                  </a:lnTo>
                  <a:lnTo>
                    <a:pt x="1731320" y="503837"/>
                  </a:lnTo>
                  <a:lnTo>
                    <a:pt x="1735465" y="513705"/>
                  </a:lnTo>
                  <a:lnTo>
                    <a:pt x="1737587" y="518639"/>
                  </a:lnTo>
                  <a:lnTo>
                    <a:pt x="1735465" y="526731"/>
                  </a:lnTo>
                  <a:lnTo>
                    <a:pt x="1727176" y="541237"/>
                  </a:lnTo>
                  <a:lnTo>
                    <a:pt x="1718837" y="547700"/>
                  </a:lnTo>
                  <a:lnTo>
                    <a:pt x="1712571" y="549329"/>
                  </a:lnTo>
                  <a:lnTo>
                    <a:pt x="1706354" y="550907"/>
                  </a:lnTo>
                  <a:lnTo>
                    <a:pt x="1704232" y="552536"/>
                  </a:lnTo>
                  <a:lnTo>
                    <a:pt x="1706354" y="557470"/>
                  </a:lnTo>
                  <a:lnTo>
                    <a:pt x="1697966" y="567338"/>
                  </a:lnTo>
                  <a:lnTo>
                    <a:pt x="1693476" y="567338"/>
                  </a:lnTo>
                  <a:lnTo>
                    <a:pt x="1685187" y="572272"/>
                  </a:lnTo>
                  <a:lnTo>
                    <a:pt x="1685187" y="577206"/>
                  </a:lnTo>
                  <a:lnTo>
                    <a:pt x="1683066" y="580413"/>
                  </a:lnTo>
                  <a:lnTo>
                    <a:pt x="1678871" y="580413"/>
                  </a:lnTo>
                  <a:lnTo>
                    <a:pt x="1676799" y="582041"/>
                  </a:lnTo>
                  <a:lnTo>
                    <a:pt x="1676799" y="585248"/>
                  </a:lnTo>
                  <a:lnTo>
                    <a:pt x="1672655" y="586877"/>
                  </a:lnTo>
                  <a:lnTo>
                    <a:pt x="1668461" y="583620"/>
                  </a:lnTo>
                  <a:lnTo>
                    <a:pt x="1662244" y="585248"/>
                  </a:lnTo>
                  <a:lnTo>
                    <a:pt x="1655978" y="585248"/>
                  </a:lnTo>
                  <a:lnTo>
                    <a:pt x="1645567" y="590182"/>
                  </a:lnTo>
                  <a:lnTo>
                    <a:pt x="1635156" y="590182"/>
                  </a:lnTo>
                  <a:lnTo>
                    <a:pt x="1624745" y="588603"/>
                  </a:lnTo>
                  <a:lnTo>
                    <a:pt x="1622673" y="583669"/>
                  </a:lnTo>
                  <a:lnTo>
                    <a:pt x="1628939" y="578735"/>
                  </a:lnTo>
                  <a:lnTo>
                    <a:pt x="1626817" y="575528"/>
                  </a:lnTo>
                  <a:lnTo>
                    <a:pt x="1624745" y="573900"/>
                  </a:lnTo>
                  <a:lnTo>
                    <a:pt x="1616407" y="577156"/>
                  </a:lnTo>
                  <a:lnTo>
                    <a:pt x="1616407" y="582091"/>
                  </a:lnTo>
                  <a:lnTo>
                    <a:pt x="1610140" y="583669"/>
                  </a:lnTo>
                  <a:lnTo>
                    <a:pt x="1601851" y="580462"/>
                  </a:lnTo>
                  <a:lnTo>
                    <a:pt x="1601851" y="577255"/>
                  </a:lnTo>
                  <a:lnTo>
                    <a:pt x="1603923" y="573999"/>
                  </a:lnTo>
                  <a:lnTo>
                    <a:pt x="1601851" y="569065"/>
                  </a:lnTo>
                  <a:lnTo>
                    <a:pt x="1597657" y="567436"/>
                  </a:lnTo>
                  <a:lnTo>
                    <a:pt x="1597657" y="570693"/>
                  </a:lnTo>
                  <a:lnTo>
                    <a:pt x="1593513" y="573900"/>
                  </a:lnTo>
                  <a:lnTo>
                    <a:pt x="1587395" y="573900"/>
                  </a:lnTo>
                  <a:lnTo>
                    <a:pt x="1576984" y="578834"/>
                  </a:lnTo>
                  <a:lnTo>
                    <a:pt x="1572839" y="580462"/>
                  </a:lnTo>
                  <a:lnTo>
                    <a:pt x="1564501" y="580462"/>
                  </a:lnTo>
                  <a:lnTo>
                    <a:pt x="1562379" y="578834"/>
                  </a:lnTo>
                  <a:lnTo>
                    <a:pt x="1554090" y="578834"/>
                  </a:lnTo>
                  <a:lnTo>
                    <a:pt x="1547823" y="577255"/>
                  </a:lnTo>
                  <a:lnTo>
                    <a:pt x="1545751" y="580462"/>
                  </a:lnTo>
                  <a:lnTo>
                    <a:pt x="1541557" y="580462"/>
                  </a:lnTo>
                  <a:lnTo>
                    <a:pt x="1535341" y="582091"/>
                  </a:lnTo>
                  <a:lnTo>
                    <a:pt x="1535341" y="587025"/>
                  </a:lnTo>
                  <a:lnTo>
                    <a:pt x="1531146" y="590232"/>
                  </a:lnTo>
                  <a:lnTo>
                    <a:pt x="1522808" y="590232"/>
                  </a:lnTo>
                  <a:lnTo>
                    <a:pt x="1520736" y="593488"/>
                  </a:lnTo>
                  <a:lnTo>
                    <a:pt x="1512397" y="595067"/>
                  </a:lnTo>
                  <a:lnTo>
                    <a:pt x="1510325" y="593488"/>
                  </a:lnTo>
                  <a:lnTo>
                    <a:pt x="1504059" y="596695"/>
                  </a:lnTo>
                  <a:lnTo>
                    <a:pt x="1495769" y="596695"/>
                  </a:lnTo>
                  <a:lnTo>
                    <a:pt x="1493648" y="593488"/>
                  </a:lnTo>
                  <a:lnTo>
                    <a:pt x="1483237" y="593488"/>
                  </a:lnTo>
                  <a:lnTo>
                    <a:pt x="1472826" y="596695"/>
                  </a:lnTo>
                  <a:lnTo>
                    <a:pt x="1462415" y="596695"/>
                  </a:lnTo>
                  <a:lnTo>
                    <a:pt x="1452005" y="591761"/>
                  </a:lnTo>
                  <a:lnTo>
                    <a:pt x="1443666" y="590133"/>
                  </a:lnTo>
                  <a:lnTo>
                    <a:pt x="1437400" y="583669"/>
                  </a:lnTo>
                  <a:close/>
                  <a:moveTo>
                    <a:pt x="1001823" y="769535"/>
                  </a:moveTo>
                  <a:lnTo>
                    <a:pt x="1001823" y="758236"/>
                  </a:lnTo>
                  <a:lnTo>
                    <a:pt x="1008090" y="748367"/>
                  </a:lnTo>
                  <a:lnTo>
                    <a:pt x="1003945" y="740276"/>
                  </a:lnTo>
                  <a:lnTo>
                    <a:pt x="1008090" y="732233"/>
                  </a:lnTo>
                  <a:lnTo>
                    <a:pt x="1008090" y="724141"/>
                  </a:lnTo>
                  <a:lnTo>
                    <a:pt x="1003945" y="720934"/>
                  </a:lnTo>
                  <a:lnTo>
                    <a:pt x="997777" y="705244"/>
                  </a:lnTo>
                  <a:lnTo>
                    <a:pt x="1006116" y="706872"/>
                  </a:lnTo>
                  <a:lnTo>
                    <a:pt x="1006116" y="701938"/>
                  </a:lnTo>
                  <a:lnTo>
                    <a:pt x="993633" y="701938"/>
                  </a:lnTo>
                  <a:lnTo>
                    <a:pt x="981100" y="698731"/>
                  </a:lnTo>
                  <a:lnTo>
                    <a:pt x="981100" y="693797"/>
                  </a:lnTo>
                  <a:lnTo>
                    <a:pt x="987367" y="695425"/>
                  </a:lnTo>
                  <a:lnTo>
                    <a:pt x="993633" y="690491"/>
                  </a:lnTo>
                  <a:lnTo>
                    <a:pt x="1004044" y="685557"/>
                  </a:lnTo>
                  <a:lnTo>
                    <a:pt x="1004044" y="680623"/>
                  </a:lnTo>
                  <a:lnTo>
                    <a:pt x="1008188" y="680623"/>
                  </a:lnTo>
                  <a:lnTo>
                    <a:pt x="1014454" y="674160"/>
                  </a:lnTo>
                  <a:lnTo>
                    <a:pt x="1020671" y="674160"/>
                  </a:lnTo>
                  <a:lnTo>
                    <a:pt x="1024865" y="664292"/>
                  </a:lnTo>
                  <a:lnTo>
                    <a:pt x="1037348" y="662713"/>
                  </a:lnTo>
                  <a:lnTo>
                    <a:pt x="1039421" y="659456"/>
                  </a:lnTo>
                  <a:lnTo>
                    <a:pt x="1043614" y="657828"/>
                  </a:lnTo>
                  <a:lnTo>
                    <a:pt x="1049831" y="649785"/>
                  </a:lnTo>
                  <a:lnTo>
                    <a:pt x="1051953" y="639917"/>
                  </a:lnTo>
                  <a:lnTo>
                    <a:pt x="1054025" y="643125"/>
                  </a:lnTo>
                  <a:lnTo>
                    <a:pt x="1072775" y="644753"/>
                  </a:lnTo>
                  <a:lnTo>
                    <a:pt x="1072775" y="637450"/>
                  </a:lnTo>
                  <a:lnTo>
                    <a:pt x="1068581" y="627582"/>
                  </a:lnTo>
                  <a:lnTo>
                    <a:pt x="1070703" y="624375"/>
                  </a:lnTo>
                  <a:lnTo>
                    <a:pt x="1076919" y="621119"/>
                  </a:lnTo>
                  <a:lnTo>
                    <a:pt x="1093596" y="611251"/>
                  </a:lnTo>
                  <a:lnTo>
                    <a:pt x="1099863" y="603208"/>
                  </a:lnTo>
                  <a:lnTo>
                    <a:pt x="1114418" y="598274"/>
                  </a:lnTo>
                  <a:lnTo>
                    <a:pt x="1118562" y="591860"/>
                  </a:lnTo>
                  <a:lnTo>
                    <a:pt x="1126901" y="583768"/>
                  </a:lnTo>
                  <a:lnTo>
                    <a:pt x="1135240" y="583768"/>
                  </a:lnTo>
                  <a:lnTo>
                    <a:pt x="1139434" y="578834"/>
                  </a:lnTo>
                  <a:lnTo>
                    <a:pt x="1135240" y="573900"/>
                  </a:lnTo>
                  <a:lnTo>
                    <a:pt x="1137312" y="560973"/>
                  </a:lnTo>
                  <a:lnTo>
                    <a:pt x="1137312" y="553572"/>
                  </a:lnTo>
                  <a:lnTo>
                    <a:pt x="1141506" y="547108"/>
                  </a:lnTo>
                  <a:lnTo>
                    <a:pt x="1137312" y="543901"/>
                  </a:lnTo>
                  <a:lnTo>
                    <a:pt x="1139434" y="538967"/>
                  </a:lnTo>
                  <a:lnTo>
                    <a:pt x="1151917" y="535760"/>
                  </a:lnTo>
                  <a:lnTo>
                    <a:pt x="1156061" y="537388"/>
                  </a:lnTo>
                  <a:lnTo>
                    <a:pt x="1179004" y="535760"/>
                  </a:lnTo>
                  <a:lnTo>
                    <a:pt x="1183149" y="538967"/>
                  </a:lnTo>
                  <a:lnTo>
                    <a:pt x="1208165" y="538967"/>
                  </a:lnTo>
                  <a:lnTo>
                    <a:pt x="1224743" y="532849"/>
                  </a:lnTo>
                  <a:lnTo>
                    <a:pt x="1243492" y="537783"/>
                  </a:lnTo>
                  <a:lnTo>
                    <a:pt x="1241420" y="544246"/>
                  </a:lnTo>
                  <a:lnTo>
                    <a:pt x="1247686" y="547454"/>
                  </a:lnTo>
                  <a:lnTo>
                    <a:pt x="1251831" y="555496"/>
                  </a:lnTo>
                  <a:lnTo>
                    <a:pt x="1270580" y="563588"/>
                  </a:lnTo>
                  <a:lnTo>
                    <a:pt x="1270580" y="568522"/>
                  </a:lnTo>
                  <a:lnTo>
                    <a:pt x="1266436" y="573456"/>
                  </a:lnTo>
                  <a:lnTo>
                    <a:pt x="1272653" y="571828"/>
                  </a:lnTo>
                  <a:lnTo>
                    <a:pt x="1278919" y="568621"/>
                  </a:lnTo>
                  <a:lnTo>
                    <a:pt x="1285185" y="573555"/>
                  </a:lnTo>
                  <a:lnTo>
                    <a:pt x="1283113" y="581646"/>
                  </a:lnTo>
                  <a:lnTo>
                    <a:pt x="1272653" y="589689"/>
                  </a:lnTo>
                  <a:lnTo>
                    <a:pt x="1274774" y="592945"/>
                  </a:lnTo>
                  <a:lnTo>
                    <a:pt x="1287257" y="584854"/>
                  </a:lnTo>
                  <a:lnTo>
                    <a:pt x="1287257" y="577749"/>
                  </a:lnTo>
                  <a:lnTo>
                    <a:pt x="1293523" y="572815"/>
                  </a:lnTo>
                  <a:lnTo>
                    <a:pt x="1303934" y="574443"/>
                  </a:lnTo>
                  <a:lnTo>
                    <a:pt x="1312273" y="571186"/>
                  </a:lnTo>
                  <a:lnTo>
                    <a:pt x="1316417" y="572815"/>
                  </a:lnTo>
                  <a:lnTo>
                    <a:pt x="1318490" y="579278"/>
                  </a:lnTo>
                  <a:lnTo>
                    <a:pt x="1333292" y="590577"/>
                  </a:lnTo>
                  <a:lnTo>
                    <a:pt x="1333292" y="606859"/>
                  </a:lnTo>
                  <a:lnTo>
                    <a:pt x="1331170" y="611793"/>
                  </a:lnTo>
                  <a:lnTo>
                    <a:pt x="1335364" y="623092"/>
                  </a:lnTo>
                  <a:lnTo>
                    <a:pt x="1335364" y="631135"/>
                  </a:lnTo>
                  <a:lnTo>
                    <a:pt x="1333292" y="634391"/>
                  </a:lnTo>
                  <a:lnTo>
                    <a:pt x="1337436" y="637598"/>
                  </a:lnTo>
                  <a:lnTo>
                    <a:pt x="1337436" y="650526"/>
                  </a:lnTo>
                  <a:lnTo>
                    <a:pt x="1331170" y="656989"/>
                  </a:lnTo>
                  <a:lnTo>
                    <a:pt x="1318687" y="660196"/>
                  </a:lnTo>
                  <a:lnTo>
                    <a:pt x="1312470" y="663453"/>
                  </a:lnTo>
                  <a:lnTo>
                    <a:pt x="1297668" y="665032"/>
                  </a:lnTo>
                  <a:lnTo>
                    <a:pt x="1287257" y="663453"/>
                  </a:lnTo>
                  <a:lnTo>
                    <a:pt x="1266436" y="671495"/>
                  </a:lnTo>
                  <a:lnTo>
                    <a:pt x="1253903" y="673123"/>
                  </a:lnTo>
                  <a:lnTo>
                    <a:pt x="1239101" y="679587"/>
                  </a:lnTo>
                  <a:lnTo>
                    <a:pt x="1232835" y="679587"/>
                  </a:lnTo>
                  <a:lnTo>
                    <a:pt x="1224496" y="682794"/>
                  </a:lnTo>
                  <a:lnTo>
                    <a:pt x="1212013" y="684422"/>
                  </a:lnTo>
                  <a:lnTo>
                    <a:pt x="1207869" y="687630"/>
                  </a:lnTo>
                  <a:lnTo>
                    <a:pt x="1203675" y="682695"/>
                  </a:lnTo>
                  <a:lnTo>
                    <a:pt x="1200073" y="685804"/>
                  </a:lnTo>
                  <a:lnTo>
                    <a:pt x="1187590" y="687432"/>
                  </a:lnTo>
                  <a:lnTo>
                    <a:pt x="1183297" y="695672"/>
                  </a:lnTo>
                  <a:lnTo>
                    <a:pt x="1177080" y="702086"/>
                  </a:lnTo>
                  <a:lnTo>
                    <a:pt x="1172886" y="702086"/>
                  </a:lnTo>
                  <a:lnTo>
                    <a:pt x="1170814" y="710178"/>
                  </a:lnTo>
                  <a:lnTo>
                    <a:pt x="1160403" y="711806"/>
                  </a:lnTo>
                  <a:lnTo>
                    <a:pt x="1154137" y="718221"/>
                  </a:lnTo>
                  <a:lnTo>
                    <a:pt x="1143726" y="718221"/>
                  </a:lnTo>
                  <a:lnTo>
                    <a:pt x="1137460" y="710178"/>
                  </a:lnTo>
                  <a:lnTo>
                    <a:pt x="1133315" y="718221"/>
                  </a:lnTo>
                  <a:lnTo>
                    <a:pt x="1131243" y="723155"/>
                  </a:lnTo>
                  <a:lnTo>
                    <a:pt x="1122904" y="726411"/>
                  </a:lnTo>
                  <a:lnTo>
                    <a:pt x="1114566" y="734454"/>
                  </a:lnTo>
                  <a:lnTo>
                    <a:pt x="1112494" y="739388"/>
                  </a:lnTo>
                  <a:lnTo>
                    <a:pt x="1104155" y="747430"/>
                  </a:lnTo>
                  <a:lnTo>
                    <a:pt x="1106227" y="750637"/>
                  </a:lnTo>
                  <a:lnTo>
                    <a:pt x="1095817" y="760505"/>
                  </a:lnTo>
                  <a:lnTo>
                    <a:pt x="1089550" y="766919"/>
                  </a:lnTo>
                  <a:lnTo>
                    <a:pt x="1079140" y="765341"/>
                  </a:lnTo>
                  <a:lnTo>
                    <a:pt x="1068729" y="770275"/>
                  </a:lnTo>
                  <a:lnTo>
                    <a:pt x="1062512" y="770275"/>
                  </a:lnTo>
                  <a:lnTo>
                    <a:pt x="1058318" y="763811"/>
                  </a:lnTo>
                  <a:lnTo>
                    <a:pt x="1064584" y="760604"/>
                  </a:lnTo>
                  <a:lnTo>
                    <a:pt x="1064584" y="752512"/>
                  </a:lnTo>
                  <a:lnTo>
                    <a:pt x="1060390" y="749305"/>
                  </a:lnTo>
                  <a:lnTo>
                    <a:pt x="1054173" y="754239"/>
                  </a:lnTo>
                  <a:lnTo>
                    <a:pt x="1054173" y="757446"/>
                  </a:lnTo>
                  <a:lnTo>
                    <a:pt x="1049980" y="759074"/>
                  </a:lnTo>
                  <a:lnTo>
                    <a:pt x="1039568" y="767117"/>
                  </a:lnTo>
                  <a:lnTo>
                    <a:pt x="1029158" y="768745"/>
                  </a:lnTo>
                  <a:lnTo>
                    <a:pt x="1022941" y="768745"/>
                  </a:lnTo>
                  <a:lnTo>
                    <a:pt x="1016675" y="770373"/>
                  </a:lnTo>
                  <a:lnTo>
                    <a:pt x="1010408" y="775307"/>
                  </a:lnTo>
                  <a:lnTo>
                    <a:pt x="1006264" y="773679"/>
                  </a:lnTo>
                  <a:lnTo>
                    <a:pt x="1002070" y="773679"/>
                  </a:lnTo>
                  <a:close/>
                  <a:moveTo>
                    <a:pt x="1920442" y="677811"/>
                  </a:moveTo>
                  <a:lnTo>
                    <a:pt x="1922563" y="679439"/>
                  </a:lnTo>
                  <a:lnTo>
                    <a:pt x="1924636" y="682646"/>
                  </a:lnTo>
                  <a:lnTo>
                    <a:pt x="1922563" y="689110"/>
                  </a:lnTo>
                  <a:lnTo>
                    <a:pt x="1920442" y="690738"/>
                  </a:lnTo>
                  <a:lnTo>
                    <a:pt x="1918419" y="687531"/>
                  </a:lnTo>
                  <a:lnTo>
                    <a:pt x="1916495" y="680870"/>
                  </a:lnTo>
                  <a:close/>
                  <a:moveTo>
                    <a:pt x="1849639" y="677811"/>
                  </a:moveTo>
                  <a:lnTo>
                    <a:pt x="1853783" y="671347"/>
                  </a:lnTo>
                  <a:lnTo>
                    <a:pt x="1862171" y="668140"/>
                  </a:lnTo>
                  <a:lnTo>
                    <a:pt x="1866316" y="671347"/>
                  </a:lnTo>
                  <a:lnTo>
                    <a:pt x="1864243" y="676281"/>
                  </a:lnTo>
                  <a:lnTo>
                    <a:pt x="1860049" y="676281"/>
                  </a:lnTo>
                  <a:lnTo>
                    <a:pt x="1853783" y="679538"/>
                  </a:lnTo>
                  <a:close/>
                  <a:moveTo>
                    <a:pt x="1780907" y="711708"/>
                  </a:moveTo>
                  <a:lnTo>
                    <a:pt x="1783029" y="716642"/>
                  </a:lnTo>
                  <a:lnTo>
                    <a:pt x="1791318" y="718221"/>
                  </a:lnTo>
                  <a:lnTo>
                    <a:pt x="1801729" y="724684"/>
                  </a:lnTo>
                  <a:lnTo>
                    <a:pt x="1803851" y="721477"/>
                  </a:lnTo>
                  <a:lnTo>
                    <a:pt x="1810068" y="723056"/>
                  </a:lnTo>
                  <a:lnTo>
                    <a:pt x="1820478" y="719849"/>
                  </a:lnTo>
                  <a:lnTo>
                    <a:pt x="1824672" y="721477"/>
                  </a:lnTo>
                  <a:lnTo>
                    <a:pt x="1830889" y="719849"/>
                  </a:lnTo>
                  <a:lnTo>
                    <a:pt x="1835083" y="714915"/>
                  </a:lnTo>
                  <a:lnTo>
                    <a:pt x="1843372" y="716543"/>
                  </a:lnTo>
                  <a:lnTo>
                    <a:pt x="1843372" y="711609"/>
                  </a:lnTo>
                  <a:lnTo>
                    <a:pt x="1832962" y="705145"/>
                  </a:lnTo>
                  <a:lnTo>
                    <a:pt x="1826745" y="708353"/>
                  </a:lnTo>
                  <a:lnTo>
                    <a:pt x="1818406" y="709981"/>
                  </a:lnTo>
                  <a:lnTo>
                    <a:pt x="1814261" y="708353"/>
                  </a:lnTo>
                  <a:lnTo>
                    <a:pt x="1807995" y="711609"/>
                  </a:lnTo>
                  <a:lnTo>
                    <a:pt x="1797535" y="706675"/>
                  </a:lnTo>
                  <a:lnTo>
                    <a:pt x="1791318" y="711609"/>
                  </a:lnTo>
                  <a:lnTo>
                    <a:pt x="1780907" y="711609"/>
                  </a:lnTo>
                  <a:close/>
                  <a:moveTo>
                    <a:pt x="1739264" y="927917"/>
                  </a:moveTo>
                  <a:lnTo>
                    <a:pt x="1737192" y="926289"/>
                  </a:lnTo>
                  <a:lnTo>
                    <a:pt x="1739264" y="921355"/>
                  </a:lnTo>
                  <a:lnTo>
                    <a:pt x="1741336" y="921355"/>
                  </a:lnTo>
                  <a:lnTo>
                    <a:pt x="1741336" y="926289"/>
                  </a:lnTo>
                  <a:close/>
                  <a:moveTo>
                    <a:pt x="1697572" y="921453"/>
                  </a:moveTo>
                  <a:lnTo>
                    <a:pt x="1693427" y="918197"/>
                  </a:lnTo>
                  <a:lnTo>
                    <a:pt x="1691355" y="911783"/>
                  </a:lnTo>
                  <a:lnTo>
                    <a:pt x="1689282" y="908526"/>
                  </a:lnTo>
                  <a:lnTo>
                    <a:pt x="1685138" y="911783"/>
                  </a:lnTo>
                  <a:lnTo>
                    <a:pt x="1683016" y="908526"/>
                  </a:lnTo>
                  <a:lnTo>
                    <a:pt x="1685138" y="903592"/>
                  </a:lnTo>
                  <a:lnTo>
                    <a:pt x="1683016" y="897129"/>
                  </a:lnTo>
                  <a:lnTo>
                    <a:pt x="1678822" y="892195"/>
                  </a:lnTo>
                  <a:lnTo>
                    <a:pt x="1683016" y="885731"/>
                  </a:lnTo>
                  <a:lnTo>
                    <a:pt x="1680944" y="875863"/>
                  </a:lnTo>
                  <a:lnTo>
                    <a:pt x="1683016" y="872656"/>
                  </a:lnTo>
                  <a:lnTo>
                    <a:pt x="1678822" y="869399"/>
                  </a:lnTo>
                  <a:lnTo>
                    <a:pt x="1674678" y="864465"/>
                  </a:lnTo>
                  <a:lnTo>
                    <a:pt x="1674678" y="859531"/>
                  </a:lnTo>
                  <a:lnTo>
                    <a:pt x="1668806" y="853561"/>
                  </a:lnTo>
                  <a:lnTo>
                    <a:pt x="1670928" y="843693"/>
                  </a:lnTo>
                  <a:lnTo>
                    <a:pt x="1664661" y="835651"/>
                  </a:lnTo>
                  <a:lnTo>
                    <a:pt x="1662589" y="835651"/>
                  </a:lnTo>
                  <a:lnTo>
                    <a:pt x="1660517" y="834022"/>
                  </a:lnTo>
                  <a:lnTo>
                    <a:pt x="1660517" y="825931"/>
                  </a:lnTo>
                  <a:lnTo>
                    <a:pt x="1656323" y="824352"/>
                  </a:lnTo>
                  <a:lnTo>
                    <a:pt x="1650106" y="827559"/>
                  </a:lnTo>
                  <a:lnTo>
                    <a:pt x="1647985" y="825931"/>
                  </a:lnTo>
                  <a:lnTo>
                    <a:pt x="1641718" y="825931"/>
                  </a:lnTo>
                  <a:lnTo>
                    <a:pt x="1639695" y="822723"/>
                  </a:lnTo>
                  <a:lnTo>
                    <a:pt x="1639695" y="816556"/>
                  </a:lnTo>
                  <a:lnTo>
                    <a:pt x="1645912" y="813349"/>
                  </a:lnTo>
                  <a:lnTo>
                    <a:pt x="1647985" y="805257"/>
                  </a:lnTo>
                  <a:lnTo>
                    <a:pt x="1643840" y="800323"/>
                  </a:lnTo>
                  <a:lnTo>
                    <a:pt x="1645912" y="797116"/>
                  </a:lnTo>
                  <a:lnTo>
                    <a:pt x="1645912" y="785817"/>
                  </a:lnTo>
                  <a:lnTo>
                    <a:pt x="1643840" y="782610"/>
                  </a:lnTo>
                  <a:lnTo>
                    <a:pt x="1652129" y="772742"/>
                  </a:lnTo>
                  <a:lnTo>
                    <a:pt x="1658395" y="771163"/>
                  </a:lnTo>
                  <a:lnTo>
                    <a:pt x="1662589" y="766229"/>
                  </a:lnTo>
                  <a:lnTo>
                    <a:pt x="1664661" y="766229"/>
                  </a:lnTo>
                  <a:lnTo>
                    <a:pt x="1666734" y="767857"/>
                  </a:lnTo>
                  <a:lnTo>
                    <a:pt x="1677145" y="766229"/>
                  </a:lnTo>
                  <a:lnTo>
                    <a:pt x="1683411" y="767857"/>
                  </a:lnTo>
                  <a:lnTo>
                    <a:pt x="1687555" y="771113"/>
                  </a:lnTo>
                  <a:lnTo>
                    <a:pt x="1685533" y="774321"/>
                  </a:lnTo>
                  <a:lnTo>
                    <a:pt x="1681338" y="774321"/>
                  </a:lnTo>
                  <a:lnTo>
                    <a:pt x="1681338" y="777528"/>
                  </a:lnTo>
                  <a:lnTo>
                    <a:pt x="1687555" y="779156"/>
                  </a:lnTo>
                  <a:lnTo>
                    <a:pt x="1687555" y="787248"/>
                  </a:lnTo>
                  <a:lnTo>
                    <a:pt x="1695943" y="795290"/>
                  </a:lnTo>
                  <a:lnTo>
                    <a:pt x="1695943" y="801754"/>
                  </a:lnTo>
                  <a:lnTo>
                    <a:pt x="1700088" y="806688"/>
                  </a:lnTo>
                  <a:lnTo>
                    <a:pt x="1708278" y="806688"/>
                  </a:lnTo>
                  <a:lnTo>
                    <a:pt x="1710400" y="805060"/>
                  </a:lnTo>
                  <a:lnTo>
                    <a:pt x="1710400" y="800126"/>
                  </a:lnTo>
                  <a:lnTo>
                    <a:pt x="1712472" y="796918"/>
                  </a:lnTo>
                  <a:lnTo>
                    <a:pt x="1718739" y="790455"/>
                  </a:lnTo>
                  <a:lnTo>
                    <a:pt x="1716666" y="787248"/>
                  </a:lnTo>
                  <a:lnTo>
                    <a:pt x="1720811" y="782314"/>
                  </a:lnTo>
                  <a:lnTo>
                    <a:pt x="1722883" y="777380"/>
                  </a:lnTo>
                  <a:lnTo>
                    <a:pt x="1720811" y="772446"/>
                  </a:lnTo>
                  <a:lnTo>
                    <a:pt x="1722883" y="769238"/>
                  </a:lnTo>
                  <a:lnTo>
                    <a:pt x="1729149" y="769238"/>
                  </a:lnTo>
                  <a:lnTo>
                    <a:pt x="1733294" y="770867"/>
                  </a:lnTo>
                  <a:lnTo>
                    <a:pt x="1737488" y="775801"/>
                  </a:lnTo>
                  <a:lnTo>
                    <a:pt x="1741632" y="775801"/>
                  </a:lnTo>
                  <a:lnTo>
                    <a:pt x="1741632" y="772544"/>
                  </a:lnTo>
                  <a:lnTo>
                    <a:pt x="1735366" y="766081"/>
                  </a:lnTo>
                  <a:lnTo>
                    <a:pt x="1735366" y="759666"/>
                  </a:lnTo>
                  <a:lnTo>
                    <a:pt x="1733294" y="759666"/>
                  </a:lnTo>
                  <a:lnTo>
                    <a:pt x="1729149" y="764600"/>
                  </a:lnTo>
                  <a:lnTo>
                    <a:pt x="1720811" y="766179"/>
                  </a:lnTo>
                  <a:lnTo>
                    <a:pt x="1714545" y="758137"/>
                  </a:lnTo>
                  <a:lnTo>
                    <a:pt x="1714545" y="754930"/>
                  </a:lnTo>
                  <a:lnTo>
                    <a:pt x="1708278" y="748812"/>
                  </a:lnTo>
                  <a:lnTo>
                    <a:pt x="1708278" y="740720"/>
                  </a:lnTo>
                  <a:lnTo>
                    <a:pt x="1712472" y="737513"/>
                  </a:lnTo>
                  <a:lnTo>
                    <a:pt x="1718739" y="737513"/>
                  </a:lnTo>
                  <a:lnTo>
                    <a:pt x="1720811" y="732579"/>
                  </a:lnTo>
                  <a:lnTo>
                    <a:pt x="1724955" y="735786"/>
                  </a:lnTo>
                  <a:lnTo>
                    <a:pt x="1729149" y="740720"/>
                  </a:lnTo>
                  <a:lnTo>
                    <a:pt x="1731222" y="753647"/>
                  </a:lnTo>
                  <a:lnTo>
                    <a:pt x="1733294" y="753647"/>
                  </a:lnTo>
                  <a:lnTo>
                    <a:pt x="1735366" y="747183"/>
                  </a:lnTo>
                  <a:lnTo>
                    <a:pt x="1737488" y="743976"/>
                  </a:lnTo>
                  <a:lnTo>
                    <a:pt x="1737488" y="737513"/>
                  </a:lnTo>
                  <a:lnTo>
                    <a:pt x="1731222" y="735884"/>
                  </a:lnTo>
                  <a:lnTo>
                    <a:pt x="1731222" y="729421"/>
                  </a:lnTo>
                  <a:lnTo>
                    <a:pt x="1729149" y="722957"/>
                  </a:lnTo>
                  <a:lnTo>
                    <a:pt x="1733294" y="721378"/>
                  </a:lnTo>
                  <a:lnTo>
                    <a:pt x="1735366" y="714915"/>
                  </a:lnTo>
                  <a:lnTo>
                    <a:pt x="1741632" y="713287"/>
                  </a:lnTo>
                  <a:lnTo>
                    <a:pt x="1745777" y="714915"/>
                  </a:lnTo>
                  <a:lnTo>
                    <a:pt x="1747899" y="713287"/>
                  </a:lnTo>
                  <a:lnTo>
                    <a:pt x="1754115" y="721378"/>
                  </a:lnTo>
                  <a:lnTo>
                    <a:pt x="1762454" y="722957"/>
                  </a:lnTo>
                  <a:lnTo>
                    <a:pt x="1764526" y="716543"/>
                  </a:lnTo>
                  <a:lnTo>
                    <a:pt x="1758310" y="716543"/>
                  </a:lnTo>
                  <a:lnTo>
                    <a:pt x="1756188" y="714915"/>
                  </a:lnTo>
                  <a:lnTo>
                    <a:pt x="1758310" y="711708"/>
                  </a:lnTo>
                  <a:lnTo>
                    <a:pt x="1764526" y="710079"/>
                  </a:lnTo>
                  <a:lnTo>
                    <a:pt x="1772865" y="710079"/>
                  </a:lnTo>
                  <a:lnTo>
                    <a:pt x="1774987" y="713287"/>
                  </a:lnTo>
                  <a:lnTo>
                    <a:pt x="1772865" y="714915"/>
                  </a:lnTo>
                  <a:lnTo>
                    <a:pt x="1772865" y="719849"/>
                  </a:lnTo>
                  <a:lnTo>
                    <a:pt x="1777009" y="721477"/>
                  </a:lnTo>
                  <a:lnTo>
                    <a:pt x="1783325" y="727941"/>
                  </a:lnTo>
                  <a:lnTo>
                    <a:pt x="1789542" y="726312"/>
                  </a:lnTo>
                  <a:lnTo>
                    <a:pt x="1795808" y="729520"/>
                  </a:lnTo>
                  <a:lnTo>
                    <a:pt x="1804147" y="729520"/>
                  </a:lnTo>
                  <a:lnTo>
                    <a:pt x="1808291" y="726312"/>
                  </a:lnTo>
                  <a:lnTo>
                    <a:pt x="1812436" y="727941"/>
                  </a:lnTo>
                  <a:lnTo>
                    <a:pt x="1831185" y="727941"/>
                  </a:lnTo>
                  <a:lnTo>
                    <a:pt x="1835379" y="732875"/>
                  </a:lnTo>
                  <a:lnTo>
                    <a:pt x="1839524" y="732875"/>
                  </a:lnTo>
                  <a:lnTo>
                    <a:pt x="1841645" y="736082"/>
                  </a:lnTo>
                  <a:lnTo>
                    <a:pt x="1841645" y="744174"/>
                  </a:lnTo>
                  <a:lnTo>
                    <a:pt x="1839524" y="749108"/>
                  </a:lnTo>
                  <a:lnTo>
                    <a:pt x="1829113" y="754042"/>
                  </a:lnTo>
                  <a:lnTo>
                    <a:pt x="1824968" y="750785"/>
                  </a:lnTo>
                  <a:lnTo>
                    <a:pt x="1822847" y="749206"/>
                  </a:lnTo>
                  <a:lnTo>
                    <a:pt x="1818702" y="752413"/>
                  </a:lnTo>
                  <a:lnTo>
                    <a:pt x="1814557" y="752413"/>
                  </a:lnTo>
                  <a:lnTo>
                    <a:pt x="1816630" y="755670"/>
                  </a:lnTo>
                  <a:lnTo>
                    <a:pt x="1824968" y="760604"/>
                  </a:lnTo>
                  <a:lnTo>
                    <a:pt x="1822847" y="763811"/>
                  </a:lnTo>
                  <a:lnTo>
                    <a:pt x="1820774" y="771903"/>
                  </a:lnTo>
                  <a:lnTo>
                    <a:pt x="1816630" y="773482"/>
                  </a:lnTo>
                  <a:lnTo>
                    <a:pt x="1814557" y="771903"/>
                  </a:lnTo>
                  <a:lnTo>
                    <a:pt x="1808291" y="771903"/>
                  </a:lnTo>
                  <a:lnTo>
                    <a:pt x="1802025" y="773482"/>
                  </a:lnTo>
                  <a:lnTo>
                    <a:pt x="1799953" y="776738"/>
                  </a:lnTo>
                  <a:lnTo>
                    <a:pt x="1785397" y="779945"/>
                  </a:lnTo>
                  <a:lnTo>
                    <a:pt x="1777009" y="784879"/>
                  </a:lnTo>
                  <a:lnTo>
                    <a:pt x="1772865" y="786508"/>
                  </a:lnTo>
                  <a:lnTo>
                    <a:pt x="1766599" y="792971"/>
                  </a:lnTo>
                  <a:lnTo>
                    <a:pt x="1766599" y="797905"/>
                  </a:lnTo>
                  <a:lnTo>
                    <a:pt x="1772865" y="796277"/>
                  </a:lnTo>
                  <a:lnTo>
                    <a:pt x="1774987" y="794649"/>
                  </a:lnTo>
                  <a:lnTo>
                    <a:pt x="1785397" y="791442"/>
                  </a:lnTo>
                  <a:lnTo>
                    <a:pt x="1789542" y="791442"/>
                  </a:lnTo>
                  <a:lnTo>
                    <a:pt x="1799953" y="796376"/>
                  </a:lnTo>
                  <a:lnTo>
                    <a:pt x="1802025" y="802839"/>
                  </a:lnTo>
                  <a:lnTo>
                    <a:pt x="1797831" y="804468"/>
                  </a:lnTo>
                  <a:lnTo>
                    <a:pt x="1793736" y="806046"/>
                  </a:lnTo>
                  <a:lnTo>
                    <a:pt x="1797831" y="807675"/>
                  </a:lnTo>
                  <a:lnTo>
                    <a:pt x="1799953" y="812609"/>
                  </a:lnTo>
                  <a:lnTo>
                    <a:pt x="1799953" y="817543"/>
                  </a:lnTo>
                  <a:lnTo>
                    <a:pt x="1793736" y="820799"/>
                  </a:lnTo>
                  <a:lnTo>
                    <a:pt x="1793736" y="827213"/>
                  </a:lnTo>
                  <a:lnTo>
                    <a:pt x="1795808" y="830470"/>
                  </a:lnTo>
                  <a:lnTo>
                    <a:pt x="1799953" y="824006"/>
                  </a:lnTo>
                  <a:lnTo>
                    <a:pt x="1808291" y="820799"/>
                  </a:lnTo>
                  <a:lnTo>
                    <a:pt x="1810364" y="817543"/>
                  </a:lnTo>
                  <a:lnTo>
                    <a:pt x="1814557" y="819171"/>
                  </a:lnTo>
                  <a:lnTo>
                    <a:pt x="1810364" y="822378"/>
                  </a:lnTo>
                  <a:lnTo>
                    <a:pt x="1812436" y="832246"/>
                  </a:lnTo>
                  <a:lnTo>
                    <a:pt x="1808291" y="840289"/>
                  </a:lnTo>
                  <a:lnTo>
                    <a:pt x="1808291" y="846752"/>
                  </a:lnTo>
                  <a:lnTo>
                    <a:pt x="1795808" y="853216"/>
                  </a:lnTo>
                  <a:lnTo>
                    <a:pt x="1789542" y="853216"/>
                  </a:lnTo>
                  <a:lnTo>
                    <a:pt x="1787420" y="856423"/>
                  </a:lnTo>
                  <a:lnTo>
                    <a:pt x="1789542" y="859679"/>
                  </a:lnTo>
                  <a:lnTo>
                    <a:pt x="1787420" y="867722"/>
                  </a:lnTo>
                  <a:lnTo>
                    <a:pt x="1783325" y="867722"/>
                  </a:lnTo>
                  <a:lnTo>
                    <a:pt x="1781204" y="866094"/>
                  </a:lnTo>
                  <a:lnTo>
                    <a:pt x="1777009" y="867722"/>
                  </a:lnTo>
                  <a:lnTo>
                    <a:pt x="1777009" y="870929"/>
                  </a:lnTo>
                  <a:lnTo>
                    <a:pt x="1785397" y="874185"/>
                  </a:lnTo>
                  <a:lnTo>
                    <a:pt x="1783325" y="877393"/>
                  </a:lnTo>
                  <a:lnTo>
                    <a:pt x="1777009" y="877393"/>
                  </a:lnTo>
                  <a:lnTo>
                    <a:pt x="1781204" y="883856"/>
                  </a:lnTo>
                  <a:lnTo>
                    <a:pt x="1772865" y="890320"/>
                  </a:lnTo>
                  <a:lnTo>
                    <a:pt x="1770793" y="887063"/>
                  </a:lnTo>
                  <a:lnTo>
                    <a:pt x="1766599" y="890320"/>
                  </a:lnTo>
                  <a:lnTo>
                    <a:pt x="1758310" y="890320"/>
                  </a:lnTo>
                  <a:lnTo>
                    <a:pt x="1749971" y="893527"/>
                  </a:lnTo>
                  <a:lnTo>
                    <a:pt x="1749971" y="898461"/>
                  </a:lnTo>
                  <a:lnTo>
                    <a:pt x="1741632" y="900089"/>
                  </a:lnTo>
                  <a:lnTo>
                    <a:pt x="1733294" y="895155"/>
                  </a:lnTo>
                  <a:lnTo>
                    <a:pt x="1724955" y="898362"/>
                  </a:lnTo>
                  <a:lnTo>
                    <a:pt x="1720811" y="898362"/>
                  </a:lnTo>
                  <a:lnTo>
                    <a:pt x="1718739" y="885484"/>
                  </a:lnTo>
                  <a:lnTo>
                    <a:pt x="1724955" y="877393"/>
                  </a:lnTo>
                  <a:lnTo>
                    <a:pt x="1724955" y="873297"/>
                  </a:lnTo>
                  <a:lnTo>
                    <a:pt x="1712472" y="883165"/>
                  </a:lnTo>
                  <a:lnTo>
                    <a:pt x="1712472" y="888099"/>
                  </a:lnTo>
                  <a:lnTo>
                    <a:pt x="1716666" y="901027"/>
                  </a:lnTo>
                  <a:lnTo>
                    <a:pt x="1720811" y="904234"/>
                  </a:lnTo>
                  <a:lnTo>
                    <a:pt x="1718739" y="909168"/>
                  </a:lnTo>
                  <a:lnTo>
                    <a:pt x="1710400" y="914102"/>
                  </a:lnTo>
                  <a:lnTo>
                    <a:pt x="1706256" y="920565"/>
                  </a:lnTo>
                  <a:close/>
                  <a:moveTo>
                    <a:pt x="1818406" y="777824"/>
                  </a:moveTo>
                  <a:lnTo>
                    <a:pt x="1816334" y="781080"/>
                  </a:lnTo>
                  <a:lnTo>
                    <a:pt x="1820478" y="781080"/>
                  </a:lnTo>
                  <a:lnTo>
                    <a:pt x="1822550" y="777824"/>
                  </a:lnTo>
                  <a:close/>
                  <a:moveTo>
                    <a:pt x="1812140" y="803678"/>
                  </a:moveTo>
                  <a:lnTo>
                    <a:pt x="1816334" y="802050"/>
                  </a:lnTo>
                  <a:lnTo>
                    <a:pt x="1822550" y="795586"/>
                  </a:lnTo>
                  <a:lnTo>
                    <a:pt x="1822550" y="792379"/>
                  </a:lnTo>
                  <a:lnTo>
                    <a:pt x="1820478" y="789123"/>
                  </a:lnTo>
                  <a:lnTo>
                    <a:pt x="1818406" y="784189"/>
                  </a:lnTo>
                  <a:lnTo>
                    <a:pt x="1814261" y="785817"/>
                  </a:lnTo>
                  <a:lnTo>
                    <a:pt x="1812140" y="790751"/>
                  </a:lnTo>
                  <a:lnTo>
                    <a:pt x="1807995" y="792379"/>
                  </a:lnTo>
                  <a:lnTo>
                    <a:pt x="1810068" y="800422"/>
                  </a:lnTo>
                  <a:close/>
                  <a:moveTo>
                    <a:pt x="1807995" y="816556"/>
                  </a:moveTo>
                  <a:lnTo>
                    <a:pt x="1812140" y="814977"/>
                  </a:lnTo>
                  <a:lnTo>
                    <a:pt x="1814261" y="806885"/>
                  </a:lnTo>
                  <a:lnTo>
                    <a:pt x="1810068" y="806885"/>
                  </a:lnTo>
                  <a:lnTo>
                    <a:pt x="1803851" y="810092"/>
                  </a:lnTo>
                  <a:lnTo>
                    <a:pt x="1803851" y="815026"/>
                  </a:lnTo>
                  <a:close/>
                  <a:moveTo>
                    <a:pt x="1533021" y="684274"/>
                  </a:moveTo>
                  <a:lnTo>
                    <a:pt x="1533021" y="687482"/>
                  </a:lnTo>
                  <a:lnTo>
                    <a:pt x="1535143" y="689110"/>
                  </a:lnTo>
                  <a:lnTo>
                    <a:pt x="1539288" y="687482"/>
                  </a:lnTo>
                  <a:lnTo>
                    <a:pt x="1545554" y="690689"/>
                  </a:lnTo>
                  <a:lnTo>
                    <a:pt x="1547626" y="687482"/>
                  </a:lnTo>
                  <a:lnTo>
                    <a:pt x="1543481" y="684274"/>
                  </a:lnTo>
                  <a:lnTo>
                    <a:pt x="1535143" y="682646"/>
                  </a:lnTo>
                  <a:close/>
                  <a:moveTo>
                    <a:pt x="1578859" y="761689"/>
                  </a:moveTo>
                  <a:lnTo>
                    <a:pt x="1574665" y="755275"/>
                  </a:lnTo>
                  <a:lnTo>
                    <a:pt x="1572642" y="742348"/>
                  </a:lnTo>
                  <a:lnTo>
                    <a:pt x="1568448" y="737414"/>
                  </a:lnTo>
                  <a:lnTo>
                    <a:pt x="1568448" y="732480"/>
                  </a:lnTo>
                  <a:lnTo>
                    <a:pt x="1570520" y="727546"/>
                  </a:lnTo>
                  <a:lnTo>
                    <a:pt x="1568448" y="721082"/>
                  </a:lnTo>
                  <a:lnTo>
                    <a:pt x="1568448" y="714915"/>
                  </a:lnTo>
                  <a:lnTo>
                    <a:pt x="1562182" y="706872"/>
                  </a:lnTo>
                  <a:lnTo>
                    <a:pt x="1555965" y="701938"/>
                  </a:lnTo>
                  <a:lnTo>
                    <a:pt x="1555965" y="698731"/>
                  </a:lnTo>
                  <a:lnTo>
                    <a:pt x="1568448" y="692268"/>
                  </a:lnTo>
                  <a:lnTo>
                    <a:pt x="1572642" y="689060"/>
                  </a:lnTo>
                  <a:lnTo>
                    <a:pt x="1580980" y="684126"/>
                  </a:lnTo>
                  <a:lnTo>
                    <a:pt x="1589269" y="682498"/>
                  </a:lnTo>
                  <a:lnTo>
                    <a:pt x="1595536" y="687432"/>
                  </a:lnTo>
                  <a:lnTo>
                    <a:pt x="1599730" y="687432"/>
                  </a:lnTo>
                  <a:lnTo>
                    <a:pt x="1605996" y="690639"/>
                  </a:lnTo>
                  <a:lnTo>
                    <a:pt x="1610140" y="689060"/>
                  </a:lnTo>
                  <a:lnTo>
                    <a:pt x="1618479" y="692268"/>
                  </a:lnTo>
                  <a:lnTo>
                    <a:pt x="1622673" y="690639"/>
                  </a:lnTo>
                  <a:lnTo>
                    <a:pt x="1626817" y="690639"/>
                  </a:lnTo>
                  <a:lnTo>
                    <a:pt x="1633084" y="698731"/>
                  </a:lnTo>
                  <a:lnTo>
                    <a:pt x="1633084" y="703665"/>
                  </a:lnTo>
                  <a:lnTo>
                    <a:pt x="1630962" y="706922"/>
                  </a:lnTo>
                  <a:lnTo>
                    <a:pt x="1635156" y="713336"/>
                  </a:lnTo>
                  <a:lnTo>
                    <a:pt x="1635156" y="716592"/>
                  </a:lnTo>
                  <a:lnTo>
                    <a:pt x="1633084" y="718171"/>
                  </a:lnTo>
                  <a:lnTo>
                    <a:pt x="1633084" y="723105"/>
                  </a:lnTo>
                  <a:lnTo>
                    <a:pt x="1624745" y="731197"/>
                  </a:lnTo>
                  <a:lnTo>
                    <a:pt x="1620551" y="731197"/>
                  </a:lnTo>
                  <a:lnTo>
                    <a:pt x="1610140" y="739289"/>
                  </a:lnTo>
                  <a:lnTo>
                    <a:pt x="1601851" y="744223"/>
                  </a:lnTo>
                  <a:lnTo>
                    <a:pt x="1593513" y="752265"/>
                  </a:lnTo>
                  <a:lnTo>
                    <a:pt x="1585125" y="752265"/>
                  </a:lnTo>
                  <a:lnTo>
                    <a:pt x="1581030" y="755522"/>
                  </a:lnTo>
                  <a:lnTo>
                    <a:pt x="1581030" y="760456"/>
                  </a:lnTo>
                  <a:close/>
                  <a:moveTo>
                    <a:pt x="1839228" y="887557"/>
                  </a:moveTo>
                  <a:lnTo>
                    <a:pt x="1826745" y="879514"/>
                  </a:lnTo>
                  <a:lnTo>
                    <a:pt x="1822550" y="882721"/>
                  </a:lnTo>
                  <a:lnTo>
                    <a:pt x="1810068" y="881093"/>
                  </a:lnTo>
                  <a:lnTo>
                    <a:pt x="1814261" y="874679"/>
                  </a:lnTo>
                  <a:lnTo>
                    <a:pt x="1820478" y="871422"/>
                  </a:lnTo>
                  <a:lnTo>
                    <a:pt x="1824672" y="873051"/>
                  </a:lnTo>
                  <a:lnTo>
                    <a:pt x="1826745" y="871422"/>
                  </a:lnTo>
                  <a:lnTo>
                    <a:pt x="1824672" y="868215"/>
                  </a:lnTo>
                  <a:lnTo>
                    <a:pt x="1818406" y="869794"/>
                  </a:lnTo>
                  <a:lnTo>
                    <a:pt x="1818406" y="866587"/>
                  </a:lnTo>
                  <a:lnTo>
                    <a:pt x="1826745" y="856719"/>
                  </a:lnTo>
                  <a:lnTo>
                    <a:pt x="1830889" y="845420"/>
                  </a:lnTo>
                  <a:lnTo>
                    <a:pt x="1830889" y="840486"/>
                  </a:lnTo>
                  <a:lnTo>
                    <a:pt x="1832962" y="838858"/>
                  </a:lnTo>
                  <a:lnTo>
                    <a:pt x="1832962" y="835651"/>
                  </a:lnTo>
                  <a:lnTo>
                    <a:pt x="1828817" y="830717"/>
                  </a:lnTo>
                  <a:lnTo>
                    <a:pt x="1830889" y="827460"/>
                  </a:lnTo>
                  <a:lnTo>
                    <a:pt x="1830889" y="819418"/>
                  </a:lnTo>
                  <a:lnTo>
                    <a:pt x="1839228" y="808119"/>
                  </a:lnTo>
                  <a:lnTo>
                    <a:pt x="1843372" y="804862"/>
                  </a:lnTo>
                  <a:lnTo>
                    <a:pt x="1843372" y="798448"/>
                  </a:lnTo>
                  <a:lnTo>
                    <a:pt x="1849639" y="795191"/>
                  </a:lnTo>
                  <a:lnTo>
                    <a:pt x="1851760" y="788728"/>
                  </a:lnTo>
                  <a:lnTo>
                    <a:pt x="1855905" y="783794"/>
                  </a:lnTo>
                  <a:lnTo>
                    <a:pt x="1855905" y="777330"/>
                  </a:lnTo>
                  <a:lnTo>
                    <a:pt x="1864243" y="769288"/>
                  </a:lnTo>
                  <a:lnTo>
                    <a:pt x="1866316" y="761196"/>
                  </a:lnTo>
                  <a:lnTo>
                    <a:pt x="1872582" y="759617"/>
                  </a:lnTo>
                  <a:lnTo>
                    <a:pt x="1874654" y="756361"/>
                  </a:lnTo>
                  <a:lnTo>
                    <a:pt x="1872582" y="753153"/>
                  </a:lnTo>
                  <a:lnTo>
                    <a:pt x="1876726" y="746690"/>
                  </a:lnTo>
                  <a:lnTo>
                    <a:pt x="1880970" y="746690"/>
                  </a:lnTo>
                  <a:lnTo>
                    <a:pt x="1887236" y="754782"/>
                  </a:lnTo>
                  <a:lnTo>
                    <a:pt x="1889308" y="761196"/>
                  </a:lnTo>
                  <a:lnTo>
                    <a:pt x="1897696" y="761196"/>
                  </a:lnTo>
                  <a:lnTo>
                    <a:pt x="1895574" y="754782"/>
                  </a:lnTo>
                  <a:lnTo>
                    <a:pt x="1889308" y="748318"/>
                  </a:lnTo>
                  <a:lnTo>
                    <a:pt x="1891380" y="746690"/>
                  </a:lnTo>
                  <a:lnTo>
                    <a:pt x="1895574" y="745062"/>
                  </a:lnTo>
                  <a:lnTo>
                    <a:pt x="1891380" y="738647"/>
                  </a:lnTo>
                  <a:lnTo>
                    <a:pt x="1897696" y="730556"/>
                  </a:lnTo>
                  <a:lnTo>
                    <a:pt x="1912498" y="727349"/>
                  </a:lnTo>
                  <a:lnTo>
                    <a:pt x="1922909" y="727349"/>
                  </a:lnTo>
                  <a:lnTo>
                    <a:pt x="1929175" y="725720"/>
                  </a:lnTo>
                  <a:lnTo>
                    <a:pt x="1933320" y="727349"/>
                  </a:lnTo>
                  <a:lnTo>
                    <a:pt x="1939586" y="727349"/>
                  </a:lnTo>
                  <a:lnTo>
                    <a:pt x="1941658" y="732283"/>
                  </a:lnTo>
                  <a:lnTo>
                    <a:pt x="1945803" y="729026"/>
                  </a:lnTo>
                  <a:lnTo>
                    <a:pt x="1956214" y="729026"/>
                  </a:lnTo>
                  <a:lnTo>
                    <a:pt x="1960407" y="735490"/>
                  </a:lnTo>
                  <a:lnTo>
                    <a:pt x="1966624" y="737118"/>
                  </a:lnTo>
                  <a:lnTo>
                    <a:pt x="1968697" y="738746"/>
                  </a:lnTo>
                  <a:lnTo>
                    <a:pt x="1972891" y="738746"/>
                  </a:lnTo>
                  <a:lnTo>
                    <a:pt x="1974963" y="745160"/>
                  </a:lnTo>
                  <a:lnTo>
                    <a:pt x="1974963" y="750094"/>
                  </a:lnTo>
                  <a:lnTo>
                    <a:pt x="1977035" y="751723"/>
                  </a:lnTo>
                  <a:lnTo>
                    <a:pt x="1983301" y="750094"/>
                  </a:lnTo>
                  <a:lnTo>
                    <a:pt x="1993712" y="750094"/>
                  </a:lnTo>
                  <a:lnTo>
                    <a:pt x="2010340" y="751723"/>
                  </a:lnTo>
                  <a:lnTo>
                    <a:pt x="2018728" y="756657"/>
                  </a:lnTo>
                  <a:lnTo>
                    <a:pt x="2018728" y="763120"/>
                  </a:lnTo>
                  <a:lnTo>
                    <a:pt x="2022872" y="764749"/>
                  </a:lnTo>
                  <a:lnTo>
                    <a:pt x="2024945" y="769683"/>
                  </a:lnTo>
                  <a:lnTo>
                    <a:pt x="2022872" y="768054"/>
                  </a:lnTo>
                  <a:lnTo>
                    <a:pt x="2018728" y="769683"/>
                  </a:lnTo>
                  <a:lnTo>
                    <a:pt x="2016656" y="776146"/>
                  </a:lnTo>
                  <a:lnTo>
                    <a:pt x="2006097" y="784485"/>
                  </a:lnTo>
                  <a:lnTo>
                    <a:pt x="1999781" y="790948"/>
                  </a:lnTo>
                  <a:lnTo>
                    <a:pt x="1993564" y="792576"/>
                  </a:lnTo>
                  <a:lnTo>
                    <a:pt x="1993564" y="795784"/>
                  </a:lnTo>
                  <a:lnTo>
                    <a:pt x="1978762" y="805652"/>
                  </a:lnTo>
                  <a:lnTo>
                    <a:pt x="1970473" y="813743"/>
                  </a:lnTo>
                  <a:lnTo>
                    <a:pt x="1964207" y="813743"/>
                  </a:lnTo>
                  <a:lnTo>
                    <a:pt x="1962135" y="816951"/>
                  </a:lnTo>
                  <a:lnTo>
                    <a:pt x="1964207" y="818579"/>
                  </a:lnTo>
                  <a:lnTo>
                    <a:pt x="1962135" y="823513"/>
                  </a:lnTo>
                  <a:lnTo>
                    <a:pt x="1950046" y="829483"/>
                  </a:lnTo>
                  <a:lnTo>
                    <a:pt x="1941708" y="837526"/>
                  </a:lnTo>
                  <a:lnTo>
                    <a:pt x="1929225" y="845617"/>
                  </a:lnTo>
                  <a:lnTo>
                    <a:pt x="1920442" y="848627"/>
                  </a:lnTo>
                  <a:lnTo>
                    <a:pt x="1916297" y="847048"/>
                  </a:lnTo>
                  <a:lnTo>
                    <a:pt x="1914225" y="843792"/>
                  </a:lnTo>
                  <a:lnTo>
                    <a:pt x="1910031" y="843792"/>
                  </a:lnTo>
                  <a:lnTo>
                    <a:pt x="1899620" y="837328"/>
                  </a:lnTo>
                  <a:lnTo>
                    <a:pt x="1899620" y="832394"/>
                  </a:lnTo>
                  <a:lnTo>
                    <a:pt x="1893403" y="830815"/>
                  </a:lnTo>
                  <a:lnTo>
                    <a:pt x="1889209" y="832394"/>
                  </a:lnTo>
                  <a:lnTo>
                    <a:pt x="1882992" y="830815"/>
                  </a:lnTo>
                  <a:lnTo>
                    <a:pt x="1876726" y="830815"/>
                  </a:lnTo>
                  <a:lnTo>
                    <a:pt x="1870460" y="829187"/>
                  </a:lnTo>
                  <a:lnTo>
                    <a:pt x="1866316" y="829187"/>
                  </a:lnTo>
                  <a:lnTo>
                    <a:pt x="1864243" y="832394"/>
                  </a:lnTo>
                  <a:lnTo>
                    <a:pt x="1868388" y="835651"/>
                  </a:lnTo>
                  <a:lnTo>
                    <a:pt x="1880970" y="835651"/>
                  </a:lnTo>
                  <a:lnTo>
                    <a:pt x="1878897" y="840585"/>
                  </a:lnTo>
                  <a:lnTo>
                    <a:pt x="1874753" y="845519"/>
                  </a:lnTo>
                  <a:lnTo>
                    <a:pt x="1878897" y="848726"/>
                  </a:lnTo>
                  <a:lnTo>
                    <a:pt x="1878897" y="855189"/>
                  </a:lnTo>
                  <a:lnTo>
                    <a:pt x="1874753" y="860123"/>
                  </a:lnTo>
                  <a:lnTo>
                    <a:pt x="1870559" y="863380"/>
                  </a:lnTo>
                  <a:lnTo>
                    <a:pt x="1866414" y="866587"/>
                  </a:lnTo>
                  <a:lnTo>
                    <a:pt x="1860247" y="866587"/>
                  </a:lnTo>
                  <a:lnTo>
                    <a:pt x="1853981" y="869794"/>
                  </a:lnTo>
                  <a:lnTo>
                    <a:pt x="1851957" y="876258"/>
                  </a:lnTo>
                  <a:lnTo>
                    <a:pt x="1845691" y="881192"/>
                  </a:lnTo>
                  <a:lnTo>
                    <a:pt x="1841497" y="881192"/>
                  </a:lnTo>
                  <a:lnTo>
                    <a:pt x="1841497" y="886126"/>
                  </a:lnTo>
                  <a:cubicBezTo>
                    <a:pt x="1841497" y="886126"/>
                    <a:pt x="1837353" y="887557"/>
                    <a:pt x="1839425" y="887557"/>
                  </a:cubicBezTo>
                  <a:close/>
                  <a:moveTo>
                    <a:pt x="2282896" y="913362"/>
                  </a:moveTo>
                  <a:lnTo>
                    <a:pt x="2272485" y="910155"/>
                  </a:lnTo>
                  <a:lnTo>
                    <a:pt x="2264147" y="908526"/>
                  </a:lnTo>
                  <a:lnTo>
                    <a:pt x="2262074" y="900484"/>
                  </a:lnTo>
                  <a:lnTo>
                    <a:pt x="2257881" y="898856"/>
                  </a:lnTo>
                  <a:lnTo>
                    <a:pt x="2253736" y="892392"/>
                  </a:lnTo>
                  <a:lnTo>
                    <a:pt x="2255858" y="884350"/>
                  </a:lnTo>
                  <a:lnTo>
                    <a:pt x="2264147" y="881093"/>
                  </a:lnTo>
                  <a:lnTo>
                    <a:pt x="2262074" y="876159"/>
                  </a:lnTo>
                  <a:lnTo>
                    <a:pt x="2266269" y="872952"/>
                  </a:lnTo>
                  <a:lnTo>
                    <a:pt x="2266269" y="868018"/>
                  </a:lnTo>
                  <a:lnTo>
                    <a:pt x="2260002" y="866390"/>
                  </a:lnTo>
                  <a:lnTo>
                    <a:pt x="2253736" y="861456"/>
                  </a:lnTo>
                  <a:lnTo>
                    <a:pt x="2260002" y="848528"/>
                  </a:lnTo>
                  <a:lnTo>
                    <a:pt x="2264147" y="850157"/>
                  </a:lnTo>
                  <a:lnTo>
                    <a:pt x="2266269" y="845223"/>
                  </a:lnTo>
                  <a:lnTo>
                    <a:pt x="2264147" y="840289"/>
                  </a:lnTo>
                  <a:lnTo>
                    <a:pt x="2268291" y="835355"/>
                  </a:lnTo>
                  <a:lnTo>
                    <a:pt x="2270413" y="827263"/>
                  </a:lnTo>
                  <a:lnTo>
                    <a:pt x="2276679" y="824056"/>
                  </a:lnTo>
                  <a:lnTo>
                    <a:pt x="2282896" y="828990"/>
                  </a:lnTo>
                  <a:lnTo>
                    <a:pt x="2282896" y="833924"/>
                  </a:lnTo>
                  <a:lnTo>
                    <a:pt x="2297698" y="837131"/>
                  </a:lnTo>
                  <a:lnTo>
                    <a:pt x="2303915" y="842065"/>
                  </a:lnTo>
                  <a:lnTo>
                    <a:pt x="2310181" y="843693"/>
                  </a:lnTo>
                  <a:lnTo>
                    <a:pt x="2314326" y="842065"/>
                  </a:lnTo>
                  <a:lnTo>
                    <a:pt x="2326858" y="845321"/>
                  </a:lnTo>
                  <a:lnTo>
                    <a:pt x="2337269" y="845321"/>
                  </a:lnTo>
                  <a:lnTo>
                    <a:pt x="2341414" y="848528"/>
                  </a:lnTo>
                  <a:lnTo>
                    <a:pt x="2343535" y="853462"/>
                  </a:lnTo>
                  <a:lnTo>
                    <a:pt x="2353946" y="859926"/>
                  </a:lnTo>
                  <a:lnTo>
                    <a:pt x="2358091" y="866390"/>
                  </a:lnTo>
                  <a:lnTo>
                    <a:pt x="2353946" y="872853"/>
                  </a:lnTo>
                  <a:lnTo>
                    <a:pt x="2353946" y="876060"/>
                  </a:lnTo>
                  <a:lnTo>
                    <a:pt x="2360163" y="879317"/>
                  </a:lnTo>
                  <a:lnTo>
                    <a:pt x="2360163" y="892195"/>
                  </a:lnTo>
                  <a:lnTo>
                    <a:pt x="2364357" y="898658"/>
                  </a:lnTo>
                  <a:lnTo>
                    <a:pt x="2362235" y="903592"/>
                  </a:lnTo>
                  <a:lnTo>
                    <a:pt x="2360163" y="908526"/>
                  </a:lnTo>
                  <a:lnTo>
                    <a:pt x="2368502" y="910155"/>
                  </a:lnTo>
                  <a:lnTo>
                    <a:pt x="2368502" y="913362"/>
                  </a:lnTo>
                  <a:lnTo>
                    <a:pt x="2364357" y="916618"/>
                  </a:lnTo>
                  <a:lnTo>
                    <a:pt x="2362235" y="919825"/>
                  </a:lnTo>
                  <a:lnTo>
                    <a:pt x="2347680" y="918197"/>
                  </a:lnTo>
                  <a:lnTo>
                    <a:pt x="2345608" y="914990"/>
                  </a:lnTo>
                  <a:lnTo>
                    <a:pt x="2333125" y="911783"/>
                  </a:lnTo>
                  <a:lnTo>
                    <a:pt x="2328931" y="910155"/>
                  </a:lnTo>
                  <a:lnTo>
                    <a:pt x="2318520" y="908526"/>
                  </a:lnTo>
                  <a:lnTo>
                    <a:pt x="2314326" y="908526"/>
                  </a:lnTo>
                  <a:lnTo>
                    <a:pt x="2310181" y="905319"/>
                  </a:lnTo>
                  <a:lnTo>
                    <a:pt x="2299771" y="906947"/>
                  </a:lnTo>
                  <a:lnTo>
                    <a:pt x="2293504" y="908526"/>
                  </a:lnTo>
                  <a:lnTo>
                    <a:pt x="2285166" y="913460"/>
                  </a:lnTo>
                  <a:close/>
                  <a:moveTo>
                    <a:pt x="2241253" y="924661"/>
                  </a:moveTo>
                  <a:lnTo>
                    <a:pt x="2239180" y="918197"/>
                  </a:lnTo>
                  <a:lnTo>
                    <a:pt x="2243325" y="914990"/>
                  </a:lnTo>
                  <a:lnTo>
                    <a:pt x="2245397" y="916618"/>
                  </a:lnTo>
                  <a:lnTo>
                    <a:pt x="2245397" y="921552"/>
                  </a:lnTo>
                  <a:close/>
                  <a:moveTo>
                    <a:pt x="2251664" y="929595"/>
                  </a:moveTo>
                  <a:lnTo>
                    <a:pt x="2249592" y="924661"/>
                  </a:lnTo>
                  <a:lnTo>
                    <a:pt x="2251664" y="923082"/>
                  </a:lnTo>
                  <a:lnTo>
                    <a:pt x="2253736" y="923082"/>
                  </a:lnTo>
                  <a:lnTo>
                    <a:pt x="2255858" y="928016"/>
                  </a:lnTo>
                  <a:close/>
                  <a:moveTo>
                    <a:pt x="2270413" y="929595"/>
                  </a:moveTo>
                  <a:lnTo>
                    <a:pt x="2266269" y="928016"/>
                  </a:lnTo>
                  <a:lnTo>
                    <a:pt x="2264147" y="924759"/>
                  </a:lnTo>
                  <a:lnTo>
                    <a:pt x="2268291" y="924759"/>
                  </a:lnTo>
                  <a:lnTo>
                    <a:pt x="2272485" y="928016"/>
                  </a:lnTo>
                  <a:close/>
                  <a:moveTo>
                    <a:pt x="1822748" y="1060199"/>
                  </a:moveTo>
                  <a:lnTo>
                    <a:pt x="1820676" y="1056991"/>
                  </a:lnTo>
                  <a:lnTo>
                    <a:pt x="1824870" y="1055363"/>
                  </a:lnTo>
                  <a:lnTo>
                    <a:pt x="1829014" y="1055363"/>
                  </a:lnTo>
                  <a:lnTo>
                    <a:pt x="1831087" y="1056991"/>
                  </a:lnTo>
                  <a:lnTo>
                    <a:pt x="1829014" y="1058620"/>
                  </a:lnTo>
                  <a:lnTo>
                    <a:pt x="1826942" y="1058620"/>
                  </a:lnTo>
                  <a:close/>
                  <a:moveTo>
                    <a:pt x="1843570" y="1090888"/>
                  </a:moveTo>
                  <a:lnTo>
                    <a:pt x="1845691" y="1098931"/>
                  </a:lnTo>
                  <a:lnTo>
                    <a:pt x="1849836" y="1095724"/>
                  </a:lnTo>
                  <a:lnTo>
                    <a:pt x="1849836" y="1095724"/>
                  </a:lnTo>
                  <a:lnTo>
                    <a:pt x="1851957" y="1090790"/>
                  </a:lnTo>
                  <a:lnTo>
                    <a:pt x="1847764" y="1089161"/>
                  </a:lnTo>
                  <a:close/>
                  <a:moveTo>
                    <a:pt x="1837353" y="1092467"/>
                  </a:moveTo>
                  <a:lnTo>
                    <a:pt x="1835280" y="1095724"/>
                  </a:lnTo>
                  <a:lnTo>
                    <a:pt x="1839425" y="1098931"/>
                  </a:lnTo>
                  <a:lnTo>
                    <a:pt x="1839425" y="1103865"/>
                  </a:lnTo>
                  <a:lnTo>
                    <a:pt x="1841547" y="1100658"/>
                  </a:lnTo>
                  <a:lnTo>
                    <a:pt x="1841547" y="1092566"/>
                  </a:lnTo>
                  <a:lnTo>
                    <a:pt x="1839425" y="1090987"/>
                  </a:lnTo>
                  <a:close/>
                  <a:moveTo>
                    <a:pt x="1976887" y="1069919"/>
                  </a:moveTo>
                  <a:lnTo>
                    <a:pt x="1974815" y="1068290"/>
                  </a:lnTo>
                  <a:lnTo>
                    <a:pt x="1968549" y="1068290"/>
                  </a:lnTo>
                  <a:lnTo>
                    <a:pt x="1964404" y="1063356"/>
                  </a:lnTo>
                  <a:lnTo>
                    <a:pt x="1964404" y="1066563"/>
                  </a:lnTo>
                  <a:lnTo>
                    <a:pt x="1960260" y="1064935"/>
                  </a:lnTo>
                  <a:lnTo>
                    <a:pt x="1960260" y="1060001"/>
                  </a:lnTo>
                  <a:lnTo>
                    <a:pt x="1956065" y="1058422"/>
                  </a:lnTo>
                  <a:lnTo>
                    <a:pt x="1964404" y="1056794"/>
                  </a:lnTo>
                  <a:lnTo>
                    <a:pt x="1964404" y="1055166"/>
                  </a:lnTo>
                  <a:lnTo>
                    <a:pt x="1970670" y="1055166"/>
                  </a:lnTo>
                  <a:lnTo>
                    <a:pt x="1974815" y="1060100"/>
                  </a:lnTo>
                  <a:lnTo>
                    <a:pt x="1981081" y="1061728"/>
                  </a:lnTo>
                  <a:lnTo>
                    <a:pt x="1983154" y="1066662"/>
                  </a:lnTo>
                  <a:lnTo>
                    <a:pt x="1981081" y="1069919"/>
                  </a:lnTo>
                  <a:close/>
                  <a:moveTo>
                    <a:pt x="2055832" y="1097352"/>
                  </a:moveTo>
                  <a:lnTo>
                    <a:pt x="2049615" y="1097352"/>
                  </a:lnTo>
                  <a:lnTo>
                    <a:pt x="2047543" y="1090888"/>
                  </a:lnTo>
                  <a:lnTo>
                    <a:pt x="2051687" y="1092467"/>
                  </a:lnTo>
                  <a:lnTo>
                    <a:pt x="2055832" y="1092467"/>
                  </a:lnTo>
                  <a:lnTo>
                    <a:pt x="2057953" y="1095724"/>
                  </a:lnTo>
                  <a:close/>
                  <a:moveTo>
                    <a:pt x="2064220" y="1098931"/>
                  </a:moveTo>
                  <a:lnTo>
                    <a:pt x="2068364" y="1100559"/>
                  </a:lnTo>
                  <a:lnTo>
                    <a:pt x="2066243" y="1097352"/>
                  </a:lnTo>
                  <a:close/>
                  <a:moveTo>
                    <a:pt x="2074630" y="1102187"/>
                  </a:moveTo>
                  <a:lnTo>
                    <a:pt x="2078775" y="1102187"/>
                  </a:lnTo>
                  <a:lnTo>
                    <a:pt x="2082920" y="1103766"/>
                  </a:lnTo>
                  <a:lnTo>
                    <a:pt x="2087114" y="1103766"/>
                  </a:lnTo>
                  <a:lnTo>
                    <a:pt x="2087114" y="1100559"/>
                  </a:lnTo>
                  <a:lnTo>
                    <a:pt x="2080847" y="1098931"/>
                  </a:lnTo>
                  <a:lnTo>
                    <a:pt x="2080847" y="1097352"/>
                  </a:lnTo>
                  <a:lnTo>
                    <a:pt x="2074630" y="1097352"/>
                  </a:lnTo>
                  <a:lnTo>
                    <a:pt x="2072509" y="1100559"/>
                  </a:lnTo>
                  <a:close/>
                  <a:moveTo>
                    <a:pt x="2157917" y="1197365"/>
                  </a:moveTo>
                  <a:lnTo>
                    <a:pt x="2157917" y="1195736"/>
                  </a:lnTo>
                  <a:lnTo>
                    <a:pt x="2159989" y="1192529"/>
                  </a:lnTo>
                  <a:lnTo>
                    <a:pt x="2159989" y="1186066"/>
                  </a:lnTo>
                  <a:lnTo>
                    <a:pt x="2162111" y="1187694"/>
                  </a:lnTo>
                  <a:lnTo>
                    <a:pt x="2166256" y="1189322"/>
                  </a:lnTo>
                  <a:lnTo>
                    <a:pt x="2164183" y="1194256"/>
                  </a:lnTo>
                  <a:lnTo>
                    <a:pt x="2164183" y="1197463"/>
                  </a:lnTo>
                  <a:close/>
                  <a:moveTo>
                    <a:pt x="2151700" y="1216706"/>
                  </a:moveTo>
                  <a:lnTo>
                    <a:pt x="2149579" y="1210292"/>
                  </a:lnTo>
                  <a:lnTo>
                    <a:pt x="2151700" y="1205358"/>
                  </a:lnTo>
                  <a:lnTo>
                    <a:pt x="2153772" y="1205358"/>
                  </a:lnTo>
                  <a:lnTo>
                    <a:pt x="2159989" y="1206937"/>
                  </a:lnTo>
                  <a:lnTo>
                    <a:pt x="2159989" y="1210193"/>
                  </a:lnTo>
                  <a:lnTo>
                    <a:pt x="2153772" y="1211772"/>
                  </a:lnTo>
                  <a:lnTo>
                    <a:pt x="2153772" y="1215029"/>
                  </a:lnTo>
                  <a:close/>
                  <a:moveTo>
                    <a:pt x="2101669" y="1122959"/>
                  </a:moveTo>
                  <a:lnTo>
                    <a:pt x="2099597" y="1119703"/>
                  </a:lnTo>
                  <a:lnTo>
                    <a:pt x="2101669" y="1121331"/>
                  </a:lnTo>
                  <a:close/>
                  <a:moveTo>
                    <a:pt x="2091258" y="1124538"/>
                  </a:moveTo>
                  <a:lnTo>
                    <a:pt x="2087114" y="1118124"/>
                  </a:lnTo>
                  <a:lnTo>
                    <a:pt x="2091258" y="1119703"/>
                  </a:lnTo>
                  <a:lnTo>
                    <a:pt x="2093330" y="1122959"/>
                  </a:lnTo>
                  <a:close/>
                  <a:moveTo>
                    <a:pt x="2093330" y="1127795"/>
                  </a:moveTo>
                  <a:lnTo>
                    <a:pt x="2095452" y="1131002"/>
                  </a:lnTo>
                  <a:lnTo>
                    <a:pt x="2099597" y="1131002"/>
                  </a:lnTo>
                  <a:lnTo>
                    <a:pt x="2103741" y="1132630"/>
                  </a:lnTo>
                  <a:lnTo>
                    <a:pt x="2103741" y="1129867"/>
                  </a:lnTo>
                  <a:lnTo>
                    <a:pt x="2101669" y="1126611"/>
                  </a:lnTo>
                  <a:lnTo>
                    <a:pt x="2095452" y="1126611"/>
                  </a:lnTo>
                  <a:close/>
                  <a:moveTo>
                    <a:pt x="2139168" y="1111661"/>
                  </a:moveTo>
                  <a:lnTo>
                    <a:pt x="2145434" y="1113289"/>
                  </a:lnTo>
                  <a:lnTo>
                    <a:pt x="2147506" y="1116496"/>
                  </a:lnTo>
                  <a:lnTo>
                    <a:pt x="2149579" y="1118124"/>
                  </a:lnTo>
                  <a:lnTo>
                    <a:pt x="2147506" y="1121331"/>
                  </a:lnTo>
                  <a:lnTo>
                    <a:pt x="2149579" y="1124538"/>
                  </a:lnTo>
                  <a:lnTo>
                    <a:pt x="2153772" y="1122959"/>
                  </a:lnTo>
                  <a:lnTo>
                    <a:pt x="2153772" y="1118025"/>
                  </a:lnTo>
                  <a:lnTo>
                    <a:pt x="2157917" y="1119604"/>
                  </a:lnTo>
                  <a:lnTo>
                    <a:pt x="2166256" y="1119604"/>
                  </a:lnTo>
                  <a:lnTo>
                    <a:pt x="2170400" y="1116397"/>
                  </a:lnTo>
                  <a:lnTo>
                    <a:pt x="2166256" y="1111463"/>
                  </a:lnTo>
                  <a:lnTo>
                    <a:pt x="2157917" y="1109835"/>
                  </a:lnTo>
                  <a:lnTo>
                    <a:pt x="2153772" y="1106628"/>
                  </a:lnTo>
                  <a:lnTo>
                    <a:pt x="2145434" y="1105000"/>
                  </a:lnTo>
                  <a:lnTo>
                    <a:pt x="2145434" y="1108207"/>
                  </a:lnTo>
                  <a:close/>
                  <a:moveTo>
                    <a:pt x="2220431" y="1106726"/>
                  </a:moveTo>
                  <a:lnTo>
                    <a:pt x="2222503" y="1103470"/>
                  </a:lnTo>
                  <a:lnTo>
                    <a:pt x="2226648" y="1101891"/>
                  </a:lnTo>
                  <a:lnTo>
                    <a:pt x="2224576" y="1106825"/>
                  </a:lnTo>
                  <a:close/>
                  <a:moveTo>
                    <a:pt x="2193343" y="1135739"/>
                  </a:moveTo>
                  <a:lnTo>
                    <a:pt x="2197488" y="1132532"/>
                  </a:lnTo>
                  <a:lnTo>
                    <a:pt x="2201633" y="1126068"/>
                  </a:lnTo>
                  <a:lnTo>
                    <a:pt x="2205827" y="1126068"/>
                  </a:lnTo>
                  <a:lnTo>
                    <a:pt x="2210020" y="1122861"/>
                  </a:lnTo>
                  <a:lnTo>
                    <a:pt x="2212043" y="1122861"/>
                  </a:lnTo>
                  <a:lnTo>
                    <a:pt x="2214165" y="1126068"/>
                  </a:lnTo>
                  <a:lnTo>
                    <a:pt x="2214165" y="1127696"/>
                  </a:lnTo>
                  <a:lnTo>
                    <a:pt x="2207948" y="1130903"/>
                  </a:lnTo>
                  <a:lnTo>
                    <a:pt x="2201633" y="1134160"/>
                  </a:lnTo>
                  <a:lnTo>
                    <a:pt x="2197488" y="1135739"/>
                  </a:lnTo>
                  <a:close/>
                  <a:moveTo>
                    <a:pt x="2166256" y="1172892"/>
                  </a:moveTo>
                  <a:lnTo>
                    <a:pt x="2180811" y="1164800"/>
                  </a:lnTo>
                  <a:lnTo>
                    <a:pt x="2182933" y="1159866"/>
                  </a:lnTo>
                  <a:lnTo>
                    <a:pt x="2187077" y="1159866"/>
                  </a:lnTo>
                  <a:lnTo>
                    <a:pt x="2193343" y="1154932"/>
                  </a:lnTo>
                  <a:lnTo>
                    <a:pt x="2199610" y="1149998"/>
                  </a:lnTo>
                  <a:lnTo>
                    <a:pt x="2197488" y="1143534"/>
                  </a:lnTo>
                  <a:lnTo>
                    <a:pt x="2195416" y="1141906"/>
                  </a:lnTo>
                  <a:lnTo>
                    <a:pt x="2189150" y="1143534"/>
                  </a:lnTo>
                  <a:lnTo>
                    <a:pt x="2187077" y="1148468"/>
                  </a:lnTo>
                  <a:lnTo>
                    <a:pt x="2185005" y="1148468"/>
                  </a:lnTo>
                  <a:lnTo>
                    <a:pt x="2178739" y="1154932"/>
                  </a:lnTo>
                  <a:lnTo>
                    <a:pt x="2172522" y="1156511"/>
                  </a:lnTo>
                  <a:lnTo>
                    <a:pt x="2164183" y="1156511"/>
                  </a:lnTo>
                  <a:lnTo>
                    <a:pt x="2157917" y="1158139"/>
                  </a:lnTo>
                  <a:lnTo>
                    <a:pt x="2155845" y="1164603"/>
                  </a:lnTo>
                  <a:lnTo>
                    <a:pt x="2149579" y="1166231"/>
                  </a:lnTo>
                  <a:lnTo>
                    <a:pt x="2151700" y="1174273"/>
                  </a:lnTo>
                  <a:lnTo>
                    <a:pt x="2155845" y="1172694"/>
                  </a:lnTo>
                  <a:lnTo>
                    <a:pt x="2166256" y="1172694"/>
                  </a:lnTo>
                  <a:close/>
                  <a:moveTo>
                    <a:pt x="2224576" y="1167958"/>
                  </a:moveTo>
                  <a:lnTo>
                    <a:pt x="2222503" y="1158090"/>
                  </a:lnTo>
                  <a:lnTo>
                    <a:pt x="2224576" y="1156462"/>
                  </a:lnTo>
                  <a:lnTo>
                    <a:pt x="2228770" y="1150047"/>
                  </a:lnTo>
                  <a:lnTo>
                    <a:pt x="2232914" y="1150047"/>
                  </a:lnTo>
                  <a:lnTo>
                    <a:pt x="2241253" y="1151626"/>
                  </a:lnTo>
                  <a:lnTo>
                    <a:pt x="2241253" y="1158090"/>
                  </a:lnTo>
                  <a:lnTo>
                    <a:pt x="2239180" y="1163024"/>
                  </a:lnTo>
                  <a:lnTo>
                    <a:pt x="2234987" y="1163024"/>
                  </a:lnTo>
                  <a:lnTo>
                    <a:pt x="2230842" y="1167958"/>
                  </a:lnTo>
                  <a:close/>
                  <a:moveTo>
                    <a:pt x="2272485" y="1217989"/>
                  </a:moveTo>
                  <a:lnTo>
                    <a:pt x="2270758" y="1210292"/>
                  </a:lnTo>
                  <a:lnTo>
                    <a:pt x="2272831" y="1202200"/>
                  </a:lnTo>
                  <a:lnTo>
                    <a:pt x="2268637" y="1197266"/>
                  </a:lnTo>
                  <a:lnTo>
                    <a:pt x="2264492" y="1197266"/>
                  </a:lnTo>
                  <a:lnTo>
                    <a:pt x="2264492" y="1202200"/>
                  </a:lnTo>
                  <a:lnTo>
                    <a:pt x="2260348" y="1208664"/>
                  </a:lnTo>
                  <a:lnTo>
                    <a:pt x="2262420" y="1215127"/>
                  </a:lnTo>
                  <a:lnTo>
                    <a:pt x="2264492" y="1218334"/>
                  </a:lnTo>
                  <a:lnTo>
                    <a:pt x="2264492" y="1221591"/>
                  </a:lnTo>
                  <a:lnTo>
                    <a:pt x="2268637" y="1219963"/>
                  </a:lnTo>
                  <a:close/>
                  <a:moveTo>
                    <a:pt x="2276679" y="1213055"/>
                  </a:moveTo>
                  <a:lnTo>
                    <a:pt x="2274558" y="1208121"/>
                  </a:lnTo>
                  <a:lnTo>
                    <a:pt x="2276679" y="1201657"/>
                  </a:lnTo>
                  <a:lnTo>
                    <a:pt x="2278702" y="1208121"/>
                  </a:lnTo>
                  <a:lnTo>
                    <a:pt x="2282896" y="1211328"/>
                  </a:lnTo>
                  <a:lnTo>
                    <a:pt x="2278702" y="1214585"/>
                  </a:lnTo>
                  <a:close/>
                  <a:moveTo>
                    <a:pt x="2287090" y="1225982"/>
                  </a:moveTo>
                  <a:lnTo>
                    <a:pt x="2284968" y="1222726"/>
                  </a:lnTo>
                  <a:lnTo>
                    <a:pt x="2287090" y="1219519"/>
                  </a:lnTo>
                  <a:lnTo>
                    <a:pt x="2289162" y="1219519"/>
                  </a:lnTo>
                  <a:lnTo>
                    <a:pt x="2289162" y="1224453"/>
                  </a:lnTo>
                  <a:close/>
                  <a:moveTo>
                    <a:pt x="2264147" y="1238860"/>
                  </a:moveTo>
                  <a:lnTo>
                    <a:pt x="2262074" y="1242116"/>
                  </a:lnTo>
                  <a:lnTo>
                    <a:pt x="2264147" y="1247050"/>
                  </a:lnTo>
                  <a:lnTo>
                    <a:pt x="2266269" y="1255093"/>
                  </a:lnTo>
                  <a:lnTo>
                    <a:pt x="2268291" y="1256721"/>
                  </a:lnTo>
                  <a:lnTo>
                    <a:pt x="2272485" y="1255093"/>
                  </a:lnTo>
                  <a:lnTo>
                    <a:pt x="2278702" y="1256721"/>
                  </a:lnTo>
                  <a:lnTo>
                    <a:pt x="2282896" y="1258349"/>
                  </a:lnTo>
                  <a:lnTo>
                    <a:pt x="2289162" y="1256721"/>
                  </a:lnTo>
                  <a:lnTo>
                    <a:pt x="2295379" y="1258349"/>
                  </a:lnTo>
                  <a:lnTo>
                    <a:pt x="2297501" y="1255093"/>
                  </a:lnTo>
                  <a:lnTo>
                    <a:pt x="2295379" y="1251886"/>
                  </a:lnTo>
                  <a:lnTo>
                    <a:pt x="2295379" y="1245422"/>
                  </a:lnTo>
                  <a:lnTo>
                    <a:pt x="2289162" y="1243794"/>
                  </a:lnTo>
                  <a:lnTo>
                    <a:pt x="2284968" y="1240587"/>
                  </a:lnTo>
                  <a:lnTo>
                    <a:pt x="2278702" y="1238959"/>
                  </a:lnTo>
                  <a:lnTo>
                    <a:pt x="2276679" y="1240587"/>
                  </a:lnTo>
                  <a:lnTo>
                    <a:pt x="2276679" y="1234469"/>
                  </a:lnTo>
                  <a:lnTo>
                    <a:pt x="2274558" y="1236097"/>
                  </a:lnTo>
                  <a:lnTo>
                    <a:pt x="2270413" y="1239304"/>
                  </a:lnTo>
                  <a:lnTo>
                    <a:pt x="2264344" y="1239304"/>
                  </a:lnTo>
                  <a:close/>
                  <a:moveTo>
                    <a:pt x="2074828" y="1466862"/>
                  </a:moveTo>
                  <a:lnTo>
                    <a:pt x="2083265" y="1466862"/>
                  </a:lnTo>
                  <a:lnTo>
                    <a:pt x="2085387" y="1465233"/>
                  </a:lnTo>
                  <a:lnTo>
                    <a:pt x="2081193" y="1461977"/>
                  </a:lnTo>
                  <a:lnTo>
                    <a:pt x="2077048" y="1463605"/>
                  </a:lnTo>
                  <a:close/>
                  <a:moveTo>
                    <a:pt x="1968549" y="1316768"/>
                  </a:moveTo>
                  <a:lnTo>
                    <a:pt x="1974815" y="1319975"/>
                  </a:lnTo>
                  <a:lnTo>
                    <a:pt x="1976887" y="1319975"/>
                  </a:lnTo>
                  <a:lnTo>
                    <a:pt x="1978959" y="1318397"/>
                  </a:lnTo>
                  <a:lnTo>
                    <a:pt x="1974815" y="1315189"/>
                  </a:lnTo>
                  <a:lnTo>
                    <a:pt x="1970670" y="1315189"/>
                  </a:lnTo>
                  <a:close/>
                  <a:moveTo>
                    <a:pt x="1945655" y="1350665"/>
                  </a:moveTo>
                  <a:lnTo>
                    <a:pt x="1945655" y="1345731"/>
                  </a:lnTo>
                  <a:lnTo>
                    <a:pt x="1941510" y="1342524"/>
                  </a:lnTo>
                  <a:lnTo>
                    <a:pt x="1935244" y="1339268"/>
                  </a:lnTo>
                  <a:lnTo>
                    <a:pt x="1935244" y="1336060"/>
                  </a:lnTo>
                  <a:lnTo>
                    <a:pt x="1933172" y="1329597"/>
                  </a:lnTo>
                  <a:lnTo>
                    <a:pt x="1929027" y="1326340"/>
                  </a:lnTo>
                  <a:lnTo>
                    <a:pt x="1929027" y="1318298"/>
                  </a:lnTo>
                  <a:lnTo>
                    <a:pt x="1931099" y="1316670"/>
                  </a:lnTo>
                  <a:lnTo>
                    <a:pt x="1933172" y="1323133"/>
                  </a:lnTo>
                  <a:lnTo>
                    <a:pt x="1939438" y="1324761"/>
                  </a:lnTo>
                  <a:lnTo>
                    <a:pt x="1941510" y="1329696"/>
                  </a:lnTo>
                  <a:lnTo>
                    <a:pt x="1945655" y="1332903"/>
                  </a:lnTo>
                  <a:lnTo>
                    <a:pt x="1945655" y="1340945"/>
                  </a:lnTo>
                  <a:lnTo>
                    <a:pt x="1953993" y="1344202"/>
                  </a:lnTo>
                  <a:lnTo>
                    <a:pt x="1958138" y="1344202"/>
                  </a:lnTo>
                  <a:lnTo>
                    <a:pt x="1958138" y="1350665"/>
                  </a:lnTo>
                  <a:lnTo>
                    <a:pt x="1949849" y="1349037"/>
                  </a:lnTo>
                  <a:close/>
                  <a:moveTo>
                    <a:pt x="1904011" y="1349037"/>
                  </a:moveTo>
                  <a:lnTo>
                    <a:pt x="1904011" y="1342623"/>
                  </a:lnTo>
                  <a:lnTo>
                    <a:pt x="1901939" y="1339366"/>
                  </a:lnTo>
                  <a:lnTo>
                    <a:pt x="1904011" y="1336159"/>
                  </a:lnTo>
                  <a:lnTo>
                    <a:pt x="1904011" y="1326291"/>
                  </a:lnTo>
                  <a:lnTo>
                    <a:pt x="1906084" y="1321357"/>
                  </a:lnTo>
                  <a:lnTo>
                    <a:pt x="1910228" y="1321357"/>
                  </a:lnTo>
                  <a:lnTo>
                    <a:pt x="1912350" y="1327821"/>
                  </a:lnTo>
                  <a:lnTo>
                    <a:pt x="1908206" y="1329449"/>
                  </a:lnTo>
                  <a:lnTo>
                    <a:pt x="1910228" y="1332656"/>
                  </a:lnTo>
                  <a:lnTo>
                    <a:pt x="1912350" y="1337590"/>
                  </a:lnTo>
                  <a:lnTo>
                    <a:pt x="1908206" y="1347458"/>
                  </a:lnTo>
                  <a:close/>
                  <a:moveTo>
                    <a:pt x="1899818" y="1202200"/>
                  </a:moveTo>
                  <a:lnTo>
                    <a:pt x="1899818" y="1207134"/>
                  </a:lnTo>
                  <a:lnTo>
                    <a:pt x="1901939" y="1208762"/>
                  </a:lnTo>
                  <a:lnTo>
                    <a:pt x="1910228" y="1208762"/>
                  </a:lnTo>
                  <a:lnTo>
                    <a:pt x="1914422" y="1205555"/>
                  </a:lnTo>
                  <a:lnTo>
                    <a:pt x="1912350" y="1202299"/>
                  </a:lnTo>
                  <a:lnTo>
                    <a:pt x="1899818" y="1202299"/>
                  </a:lnTo>
                  <a:close/>
                  <a:moveTo>
                    <a:pt x="1901939" y="1198993"/>
                  </a:moveTo>
                  <a:lnTo>
                    <a:pt x="1906084" y="1194059"/>
                  </a:lnTo>
                  <a:lnTo>
                    <a:pt x="1906084" y="1187595"/>
                  </a:lnTo>
                  <a:lnTo>
                    <a:pt x="1912350" y="1181132"/>
                  </a:lnTo>
                  <a:lnTo>
                    <a:pt x="1918616" y="1177925"/>
                  </a:lnTo>
                  <a:lnTo>
                    <a:pt x="1918616" y="1198944"/>
                  </a:lnTo>
                  <a:lnTo>
                    <a:pt x="1912350" y="1200523"/>
                  </a:lnTo>
                  <a:close/>
                  <a:moveTo>
                    <a:pt x="1556162" y="1137663"/>
                  </a:moveTo>
                  <a:lnTo>
                    <a:pt x="1560307" y="1136035"/>
                  </a:lnTo>
                  <a:lnTo>
                    <a:pt x="1560307" y="1131101"/>
                  </a:lnTo>
                  <a:lnTo>
                    <a:pt x="1551968" y="1131101"/>
                  </a:lnTo>
                  <a:lnTo>
                    <a:pt x="1554090" y="1136035"/>
                  </a:lnTo>
                  <a:close/>
                  <a:moveTo>
                    <a:pt x="1260367" y="1066662"/>
                  </a:moveTo>
                  <a:lnTo>
                    <a:pt x="1264561" y="1063455"/>
                  </a:lnTo>
                  <a:lnTo>
                    <a:pt x="1268705" y="1063455"/>
                  </a:lnTo>
                  <a:lnTo>
                    <a:pt x="1264561" y="1066662"/>
                  </a:lnTo>
                  <a:close/>
                  <a:moveTo>
                    <a:pt x="1235400" y="1076530"/>
                  </a:moveTo>
                  <a:lnTo>
                    <a:pt x="1243690" y="1076530"/>
                  </a:lnTo>
                  <a:lnTo>
                    <a:pt x="1243690" y="1073323"/>
                  </a:lnTo>
                  <a:lnTo>
                    <a:pt x="1239545" y="1073323"/>
                  </a:lnTo>
                  <a:close/>
                  <a:moveTo>
                    <a:pt x="1247884" y="1099128"/>
                  </a:moveTo>
                  <a:lnTo>
                    <a:pt x="1245811" y="1094194"/>
                  </a:lnTo>
                  <a:lnTo>
                    <a:pt x="1247884" y="1094194"/>
                  </a:lnTo>
                  <a:lnTo>
                    <a:pt x="1249956" y="1099128"/>
                  </a:lnTo>
                  <a:close/>
                  <a:moveTo>
                    <a:pt x="1247884" y="1100756"/>
                  </a:moveTo>
                  <a:lnTo>
                    <a:pt x="1241617" y="1092665"/>
                  </a:lnTo>
                  <a:lnTo>
                    <a:pt x="1241617" y="1095921"/>
                  </a:lnTo>
                  <a:lnTo>
                    <a:pt x="1243690" y="1099128"/>
                  </a:lnTo>
                  <a:close/>
                  <a:moveTo>
                    <a:pt x="1258294" y="1115065"/>
                  </a:moveTo>
                  <a:lnTo>
                    <a:pt x="1262439" y="1123157"/>
                  </a:lnTo>
                  <a:lnTo>
                    <a:pt x="1264561" y="1123157"/>
                  </a:lnTo>
                  <a:lnTo>
                    <a:pt x="1268705" y="1118223"/>
                  </a:lnTo>
                  <a:lnTo>
                    <a:pt x="1266633" y="1116595"/>
                  </a:lnTo>
                  <a:lnTo>
                    <a:pt x="1270778" y="1113387"/>
                  </a:lnTo>
                  <a:lnTo>
                    <a:pt x="1266633" y="1113387"/>
                  </a:lnTo>
                  <a:lnTo>
                    <a:pt x="1264561" y="1116595"/>
                  </a:lnTo>
                  <a:lnTo>
                    <a:pt x="1262439" y="1113387"/>
                  </a:lnTo>
                  <a:close/>
                  <a:moveTo>
                    <a:pt x="1247884" y="1152169"/>
                  </a:moveTo>
                  <a:lnTo>
                    <a:pt x="1245811" y="1142301"/>
                  </a:lnTo>
                  <a:lnTo>
                    <a:pt x="1249956" y="1139094"/>
                  </a:lnTo>
                  <a:lnTo>
                    <a:pt x="1249956" y="1134160"/>
                  </a:lnTo>
                  <a:lnTo>
                    <a:pt x="1254101" y="1127696"/>
                  </a:lnTo>
                  <a:lnTo>
                    <a:pt x="1256222" y="1130903"/>
                  </a:lnTo>
                  <a:lnTo>
                    <a:pt x="1256222" y="1134160"/>
                  </a:lnTo>
                  <a:lnTo>
                    <a:pt x="1258294" y="1137367"/>
                  </a:lnTo>
                  <a:lnTo>
                    <a:pt x="1256222" y="1140574"/>
                  </a:lnTo>
                  <a:lnTo>
                    <a:pt x="1258294" y="1143830"/>
                  </a:lnTo>
                  <a:lnTo>
                    <a:pt x="1254101" y="1147038"/>
                  </a:lnTo>
                  <a:lnTo>
                    <a:pt x="1252028" y="1150294"/>
                  </a:lnTo>
                  <a:close/>
                  <a:moveTo>
                    <a:pt x="1516591" y="1011796"/>
                  </a:moveTo>
                  <a:lnTo>
                    <a:pt x="1516591" y="1008588"/>
                  </a:lnTo>
                  <a:lnTo>
                    <a:pt x="1518663" y="1006960"/>
                  </a:lnTo>
                  <a:lnTo>
                    <a:pt x="1520736" y="1008588"/>
                  </a:lnTo>
                  <a:lnTo>
                    <a:pt x="1518663" y="1011796"/>
                  </a:lnTo>
                  <a:close/>
                  <a:moveTo>
                    <a:pt x="1606144" y="965021"/>
                  </a:moveTo>
                  <a:lnTo>
                    <a:pt x="1604072" y="956929"/>
                  </a:lnTo>
                  <a:lnTo>
                    <a:pt x="1601999" y="955350"/>
                  </a:lnTo>
                  <a:lnTo>
                    <a:pt x="1604072" y="947258"/>
                  </a:lnTo>
                  <a:lnTo>
                    <a:pt x="1608216" y="945630"/>
                  </a:lnTo>
                  <a:lnTo>
                    <a:pt x="1610289" y="948887"/>
                  </a:lnTo>
                  <a:lnTo>
                    <a:pt x="1610289" y="952242"/>
                  </a:lnTo>
                  <a:lnTo>
                    <a:pt x="1612410" y="955498"/>
                  </a:lnTo>
                  <a:lnTo>
                    <a:pt x="1610289" y="958705"/>
                  </a:lnTo>
                  <a:lnTo>
                    <a:pt x="1608216" y="965169"/>
                  </a:lnTo>
                  <a:close/>
                  <a:moveTo>
                    <a:pt x="1506180" y="1058768"/>
                  </a:moveTo>
                  <a:lnTo>
                    <a:pt x="1506180" y="1055511"/>
                  </a:lnTo>
                  <a:lnTo>
                    <a:pt x="1504059" y="1052304"/>
                  </a:lnTo>
                  <a:lnTo>
                    <a:pt x="1510325" y="1047370"/>
                  </a:lnTo>
                  <a:lnTo>
                    <a:pt x="1510325" y="1045742"/>
                  </a:lnTo>
                  <a:lnTo>
                    <a:pt x="1512397" y="1042535"/>
                  </a:lnTo>
                  <a:lnTo>
                    <a:pt x="1512397" y="1037601"/>
                  </a:lnTo>
                  <a:lnTo>
                    <a:pt x="1505983" y="1037601"/>
                  </a:lnTo>
                  <a:lnTo>
                    <a:pt x="1505983" y="1032667"/>
                  </a:lnTo>
                  <a:lnTo>
                    <a:pt x="1508055" y="1027733"/>
                  </a:lnTo>
                  <a:lnTo>
                    <a:pt x="1514321" y="1027733"/>
                  </a:lnTo>
                  <a:lnTo>
                    <a:pt x="1514321" y="1021318"/>
                  </a:lnTo>
                  <a:lnTo>
                    <a:pt x="1505983" y="1018062"/>
                  </a:lnTo>
                  <a:lnTo>
                    <a:pt x="1501789" y="1019690"/>
                  </a:lnTo>
                  <a:lnTo>
                    <a:pt x="1501789" y="1022897"/>
                  </a:lnTo>
                  <a:lnTo>
                    <a:pt x="1499717" y="1026154"/>
                  </a:lnTo>
                  <a:lnTo>
                    <a:pt x="1495572" y="1022897"/>
                  </a:lnTo>
                  <a:lnTo>
                    <a:pt x="1485112" y="1022897"/>
                  </a:lnTo>
                  <a:lnTo>
                    <a:pt x="1477020" y="1031186"/>
                  </a:lnTo>
                  <a:lnTo>
                    <a:pt x="1470754" y="1034393"/>
                  </a:lnTo>
                  <a:lnTo>
                    <a:pt x="1470754" y="1032765"/>
                  </a:lnTo>
                  <a:lnTo>
                    <a:pt x="1479092" y="1027831"/>
                  </a:lnTo>
                  <a:lnTo>
                    <a:pt x="1483237" y="1022897"/>
                  </a:lnTo>
                  <a:lnTo>
                    <a:pt x="1483237" y="1016434"/>
                  </a:lnTo>
                  <a:lnTo>
                    <a:pt x="1479092" y="1021368"/>
                  </a:lnTo>
                  <a:lnTo>
                    <a:pt x="1477020" y="1019739"/>
                  </a:lnTo>
                  <a:lnTo>
                    <a:pt x="1477020" y="1014805"/>
                  </a:lnTo>
                  <a:lnTo>
                    <a:pt x="1481165" y="1009871"/>
                  </a:lnTo>
                  <a:lnTo>
                    <a:pt x="1477020" y="1003408"/>
                  </a:lnTo>
                  <a:lnTo>
                    <a:pt x="1481165" y="998474"/>
                  </a:lnTo>
                  <a:lnTo>
                    <a:pt x="1487431" y="998474"/>
                  </a:lnTo>
                  <a:lnTo>
                    <a:pt x="1485309" y="1001681"/>
                  </a:lnTo>
                  <a:lnTo>
                    <a:pt x="1489503" y="1009773"/>
                  </a:lnTo>
                  <a:lnTo>
                    <a:pt x="1493648" y="1014707"/>
                  </a:lnTo>
                  <a:lnTo>
                    <a:pt x="1495769" y="1013078"/>
                  </a:lnTo>
                  <a:lnTo>
                    <a:pt x="1504059" y="1013078"/>
                  </a:lnTo>
                  <a:lnTo>
                    <a:pt x="1508253" y="1004987"/>
                  </a:lnTo>
                  <a:lnTo>
                    <a:pt x="1504059" y="1003408"/>
                  </a:lnTo>
                  <a:lnTo>
                    <a:pt x="1504059" y="1000151"/>
                  </a:lnTo>
                  <a:lnTo>
                    <a:pt x="1508253" y="1000151"/>
                  </a:lnTo>
                  <a:lnTo>
                    <a:pt x="1510325" y="1001779"/>
                  </a:lnTo>
                  <a:lnTo>
                    <a:pt x="1514519" y="1001779"/>
                  </a:lnTo>
                  <a:lnTo>
                    <a:pt x="1520736" y="996845"/>
                  </a:lnTo>
                  <a:lnTo>
                    <a:pt x="1522808" y="990382"/>
                  </a:lnTo>
                  <a:lnTo>
                    <a:pt x="1524930" y="995316"/>
                  </a:lnTo>
                  <a:lnTo>
                    <a:pt x="1527002" y="995316"/>
                  </a:lnTo>
                  <a:lnTo>
                    <a:pt x="1533219" y="990382"/>
                  </a:lnTo>
                  <a:lnTo>
                    <a:pt x="1527002" y="1001681"/>
                  </a:lnTo>
                  <a:lnTo>
                    <a:pt x="1527002" y="1008144"/>
                  </a:lnTo>
                  <a:lnTo>
                    <a:pt x="1531146" y="1008144"/>
                  </a:lnTo>
                  <a:lnTo>
                    <a:pt x="1533219" y="1009773"/>
                  </a:lnTo>
                  <a:lnTo>
                    <a:pt x="1531146" y="1014707"/>
                  </a:lnTo>
                  <a:lnTo>
                    <a:pt x="1535587" y="1014707"/>
                  </a:lnTo>
                  <a:lnTo>
                    <a:pt x="1537659" y="1006615"/>
                  </a:lnTo>
                  <a:lnTo>
                    <a:pt x="1541804" y="1004987"/>
                  </a:lnTo>
                  <a:lnTo>
                    <a:pt x="1548070" y="995119"/>
                  </a:lnTo>
                  <a:lnTo>
                    <a:pt x="1552215" y="993540"/>
                  </a:lnTo>
                  <a:lnTo>
                    <a:pt x="1550143" y="999954"/>
                  </a:lnTo>
                  <a:lnTo>
                    <a:pt x="1543926" y="1006418"/>
                  </a:lnTo>
                  <a:lnTo>
                    <a:pt x="1545998" y="1016286"/>
                  </a:lnTo>
                  <a:lnTo>
                    <a:pt x="1552215" y="1016286"/>
                  </a:lnTo>
                  <a:lnTo>
                    <a:pt x="1556409" y="1019542"/>
                  </a:lnTo>
                  <a:lnTo>
                    <a:pt x="1558481" y="1014608"/>
                  </a:lnTo>
                  <a:lnTo>
                    <a:pt x="1566820" y="1008144"/>
                  </a:lnTo>
                  <a:lnTo>
                    <a:pt x="1568892" y="1000053"/>
                  </a:lnTo>
                  <a:lnTo>
                    <a:pt x="1573086" y="993638"/>
                  </a:lnTo>
                  <a:lnTo>
                    <a:pt x="1570964" y="987175"/>
                  </a:lnTo>
                  <a:lnTo>
                    <a:pt x="1573086" y="983918"/>
                  </a:lnTo>
                  <a:lnTo>
                    <a:pt x="1573086" y="980711"/>
                  </a:lnTo>
                  <a:lnTo>
                    <a:pt x="1568892" y="980711"/>
                  </a:lnTo>
                  <a:lnTo>
                    <a:pt x="1564747" y="979083"/>
                  </a:lnTo>
                  <a:lnTo>
                    <a:pt x="1560553" y="982339"/>
                  </a:lnTo>
                  <a:lnTo>
                    <a:pt x="1560553" y="975876"/>
                  </a:lnTo>
                  <a:lnTo>
                    <a:pt x="1564747" y="974248"/>
                  </a:lnTo>
                  <a:lnTo>
                    <a:pt x="1562626" y="971040"/>
                  </a:lnTo>
                  <a:lnTo>
                    <a:pt x="1554336" y="971040"/>
                  </a:lnTo>
                  <a:lnTo>
                    <a:pt x="1554336" y="969412"/>
                  </a:lnTo>
                  <a:lnTo>
                    <a:pt x="1548070" y="964478"/>
                  </a:lnTo>
                  <a:lnTo>
                    <a:pt x="1548070" y="959544"/>
                  </a:lnTo>
                  <a:lnTo>
                    <a:pt x="1541804" y="949676"/>
                  </a:lnTo>
                  <a:lnTo>
                    <a:pt x="1541804" y="942374"/>
                  </a:lnTo>
                  <a:lnTo>
                    <a:pt x="1543926" y="935910"/>
                  </a:lnTo>
                  <a:lnTo>
                    <a:pt x="1541804" y="927868"/>
                  </a:lnTo>
                  <a:lnTo>
                    <a:pt x="1537659" y="934331"/>
                  </a:lnTo>
                  <a:lnTo>
                    <a:pt x="1537659" y="940746"/>
                  </a:lnTo>
                  <a:lnTo>
                    <a:pt x="1531393" y="934331"/>
                  </a:lnTo>
                  <a:lnTo>
                    <a:pt x="1525176" y="931075"/>
                  </a:lnTo>
                  <a:lnTo>
                    <a:pt x="1523055" y="918148"/>
                  </a:lnTo>
                  <a:lnTo>
                    <a:pt x="1518910" y="914941"/>
                  </a:lnTo>
                  <a:lnTo>
                    <a:pt x="1516838" y="905072"/>
                  </a:lnTo>
                  <a:lnTo>
                    <a:pt x="1512644" y="900138"/>
                  </a:lnTo>
                  <a:lnTo>
                    <a:pt x="1512644" y="894020"/>
                  </a:lnTo>
                  <a:lnTo>
                    <a:pt x="1508499" y="889086"/>
                  </a:lnTo>
                  <a:lnTo>
                    <a:pt x="1508499" y="885830"/>
                  </a:lnTo>
                  <a:lnTo>
                    <a:pt x="1516838" y="884251"/>
                  </a:lnTo>
                  <a:lnTo>
                    <a:pt x="1518910" y="877787"/>
                  </a:lnTo>
                  <a:lnTo>
                    <a:pt x="1523055" y="877787"/>
                  </a:lnTo>
                  <a:lnTo>
                    <a:pt x="1525176" y="880994"/>
                  </a:lnTo>
                  <a:lnTo>
                    <a:pt x="1529321" y="877787"/>
                  </a:lnTo>
                  <a:lnTo>
                    <a:pt x="1529321" y="872853"/>
                  </a:lnTo>
                  <a:lnTo>
                    <a:pt x="1535587" y="859926"/>
                  </a:lnTo>
                  <a:lnTo>
                    <a:pt x="1535587" y="852081"/>
                  </a:lnTo>
                  <a:lnTo>
                    <a:pt x="1537659" y="848824"/>
                  </a:lnTo>
                  <a:lnTo>
                    <a:pt x="1533466" y="838956"/>
                  </a:lnTo>
                  <a:lnTo>
                    <a:pt x="1535587" y="830914"/>
                  </a:lnTo>
                  <a:lnTo>
                    <a:pt x="1539732" y="830914"/>
                  </a:lnTo>
                  <a:lnTo>
                    <a:pt x="1539732" y="822822"/>
                  </a:lnTo>
                  <a:lnTo>
                    <a:pt x="1548070" y="812954"/>
                  </a:lnTo>
                  <a:lnTo>
                    <a:pt x="1548070" y="808020"/>
                  </a:lnTo>
                  <a:lnTo>
                    <a:pt x="1552215" y="804764"/>
                  </a:lnTo>
                  <a:lnTo>
                    <a:pt x="1552215" y="792379"/>
                  </a:lnTo>
                  <a:lnTo>
                    <a:pt x="1556409" y="790751"/>
                  </a:lnTo>
                  <a:lnTo>
                    <a:pt x="1556409" y="785817"/>
                  </a:lnTo>
                  <a:lnTo>
                    <a:pt x="1564747" y="777725"/>
                  </a:lnTo>
                  <a:lnTo>
                    <a:pt x="1562626" y="771311"/>
                  </a:lnTo>
                  <a:lnTo>
                    <a:pt x="1564747" y="766377"/>
                  </a:lnTo>
                  <a:lnTo>
                    <a:pt x="1568892" y="766377"/>
                  </a:lnTo>
                  <a:lnTo>
                    <a:pt x="1568892" y="759962"/>
                  </a:lnTo>
                  <a:lnTo>
                    <a:pt x="1566820" y="753499"/>
                  </a:lnTo>
                  <a:lnTo>
                    <a:pt x="1566820" y="745407"/>
                  </a:lnTo>
                  <a:lnTo>
                    <a:pt x="1560553" y="742200"/>
                  </a:lnTo>
                  <a:lnTo>
                    <a:pt x="1558481" y="732332"/>
                  </a:lnTo>
                  <a:lnTo>
                    <a:pt x="1560553" y="729075"/>
                  </a:lnTo>
                  <a:lnTo>
                    <a:pt x="1554336" y="719207"/>
                  </a:lnTo>
                  <a:lnTo>
                    <a:pt x="1548070" y="717579"/>
                  </a:lnTo>
                  <a:lnTo>
                    <a:pt x="1545998" y="716000"/>
                  </a:lnTo>
                  <a:lnTo>
                    <a:pt x="1541804" y="716000"/>
                  </a:lnTo>
                  <a:lnTo>
                    <a:pt x="1541804" y="724043"/>
                  </a:lnTo>
                  <a:lnTo>
                    <a:pt x="1537659" y="724043"/>
                  </a:lnTo>
                  <a:lnTo>
                    <a:pt x="1531393" y="711165"/>
                  </a:lnTo>
                  <a:lnTo>
                    <a:pt x="1525176" y="711165"/>
                  </a:lnTo>
                  <a:lnTo>
                    <a:pt x="1520982" y="706231"/>
                  </a:lnTo>
                  <a:lnTo>
                    <a:pt x="1516838" y="707810"/>
                  </a:lnTo>
                  <a:lnTo>
                    <a:pt x="1516838" y="715902"/>
                  </a:lnTo>
                  <a:lnTo>
                    <a:pt x="1514766" y="717480"/>
                  </a:lnTo>
                  <a:lnTo>
                    <a:pt x="1510572" y="715902"/>
                  </a:lnTo>
                  <a:lnTo>
                    <a:pt x="1506427" y="723944"/>
                  </a:lnTo>
                  <a:lnTo>
                    <a:pt x="1506427" y="727201"/>
                  </a:lnTo>
                  <a:lnTo>
                    <a:pt x="1502233" y="730408"/>
                  </a:lnTo>
                  <a:lnTo>
                    <a:pt x="1496016" y="744914"/>
                  </a:lnTo>
                  <a:lnTo>
                    <a:pt x="1496016" y="751377"/>
                  </a:lnTo>
                  <a:lnTo>
                    <a:pt x="1491822" y="756311"/>
                  </a:lnTo>
                  <a:lnTo>
                    <a:pt x="1491822" y="762775"/>
                  </a:lnTo>
                  <a:lnTo>
                    <a:pt x="1489750" y="765982"/>
                  </a:lnTo>
                  <a:lnTo>
                    <a:pt x="1489750" y="770916"/>
                  </a:lnTo>
                  <a:lnTo>
                    <a:pt x="1483484" y="774123"/>
                  </a:lnTo>
                  <a:lnTo>
                    <a:pt x="1483484" y="785422"/>
                  </a:lnTo>
                  <a:lnTo>
                    <a:pt x="1477267" y="788629"/>
                  </a:lnTo>
                  <a:lnTo>
                    <a:pt x="1475145" y="787050"/>
                  </a:lnTo>
                  <a:lnTo>
                    <a:pt x="1468928" y="798349"/>
                  </a:lnTo>
                  <a:lnTo>
                    <a:pt x="1471001" y="801556"/>
                  </a:lnTo>
                  <a:lnTo>
                    <a:pt x="1468928" y="808020"/>
                  </a:lnTo>
                  <a:lnTo>
                    <a:pt x="1468928" y="812954"/>
                  </a:lnTo>
                  <a:lnTo>
                    <a:pt x="1464734" y="819418"/>
                  </a:lnTo>
                  <a:lnTo>
                    <a:pt x="1466807" y="824352"/>
                  </a:lnTo>
                  <a:lnTo>
                    <a:pt x="1466807" y="829286"/>
                  </a:lnTo>
                  <a:lnTo>
                    <a:pt x="1458518" y="829286"/>
                  </a:lnTo>
                  <a:lnTo>
                    <a:pt x="1462662" y="830914"/>
                  </a:lnTo>
                  <a:lnTo>
                    <a:pt x="1468928" y="834121"/>
                  </a:lnTo>
                  <a:lnTo>
                    <a:pt x="1468928" y="839055"/>
                  </a:lnTo>
                  <a:lnTo>
                    <a:pt x="1462662" y="837427"/>
                  </a:lnTo>
                  <a:lnTo>
                    <a:pt x="1458518" y="839055"/>
                  </a:lnTo>
                  <a:lnTo>
                    <a:pt x="1452251" y="842262"/>
                  </a:lnTo>
                  <a:lnTo>
                    <a:pt x="1448107" y="840683"/>
                  </a:lnTo>
                  <a:lnTo>
                    <a:pt x="1445985" y="843890"/>
                  </a:lnTo>
                  <a:lnTo>
                    <a:pt x="1445985" y="848824"/>
                  </a:lnTo>
                  <a:lnTo>
                    <a:pt x="1443913" y="852081"/>
                  </a:lnTo>
                  <a:lnTo>
                    <a:pt x="1437647" y="850453"/>
                  </a:lnTo>
                  <a:lnTo>
                    <a:pt x="1437647" y="843989"/>
                  </a:lnTo>
                  <a:lnTo>
                    <a:pt x="1439768" y="839055"/>
                  </a:lnTo>
                  <a:lnTo>
                    <a:pt x="1435574" y="834121"/>
                  </a:lnTo>
                  <a:lnTo>
                    <a:pt x="1435574" y="826029"/>
                  </a:lnTo>
                  <a:lnTo>
                    <a:pt x="1439768" y="816161"/>
                  </a:lnTo>
                  <a:lnTo>
                    <a:pt x="1441840" y="808119"/>
                  </a:lnTo>
                  <a:lnTo>
                    <a:pt x="1445985" y="804862"/>
                  </a:lnTo>
                  <a:lnTo>
                    <a:pt x="1448107" y="799928"/>
                  </a:lnTo>
                  <a:lnTo>
                    <a:pt x="1448107" y="794994"/>
                  </a:lnTo>
                  <a:lnTo>
                    <a:pt x="1452251" y="782116"/>
                  </a:lnTo>
                  <a:lnTo>
                    <a:pt x="1460590" y="777182"/>
                  </a:lnTo>
                  <a:lnTo>
                    <a:pt x="1462662" y="770768"/>
                  </a:lnTo>
                  <a:lnTo>
                    <a:pt x="1454324" y="770768"/>
                  </a:lnTo>
                  <a:lnTo>
                    <a:pt x="1454324" y="765834"/>
                  </a:lnTo>
                  <a:lnTo>
                    <a:pt x="1458518" y="760900"/>
                  </a:lnTo>
                  <a:lnTo>
                    <a:pt x="1460590" y="749601"/>
                  </a:lnTo>
                  <a:lnTo>
                    <a:pt x="1456396" y="746394"/>
                  </a:lnTo>
                  <a:lnTo>
                    <a:pt x="1452251" y="739930"/>
                  </a:lnTo>
                  <a:lnTo>
                    <a:pt x="1456396" y="736723"/>
                  </a:lnTo>
                  <a:lnTo>
                    <a:pt x="1456396" y="730260"/>
                  </a:lnTo>
                  <a:lnTo>
                    <a:pt x="1452251" y="728631"/>
                  </a:lnTo>
                  <a:lnTo>
                    <a:pt x="1445985" y="722168"/>
                  </a:lnTo>
                  <a:lnTo>
                    <a:pt x="1435574" y="725424"/>
                  </a:lnTo>
                  <a:lnTo>
                    <a:pt x="1433502" y="731888"/>
                  </a:lnTo>
                  <a:lnTo>
                    <a:pt x="1439768" y="735095"/>
                  </a:lnTo>
                  <a:lnTo>
                    <a:pt x="1439768" y="741559"/>
                  </a:lnTo>
                  <a:lnTo>
                    <a:pt x="1441840" y="744766"/>
                  </a:lnTo>
                  <a:lnTo>
                    <a:pt x="1441840" y="749700"/>
                  </a:lnTo>
                  <a:lnTo>
                    <a:pt x="1437647" y="749700"/>
                  </a:lnTo>
                  <a:lnTo>
                    <a:pt x="1435574" y="743285"/>
                  </a:lnTo>
                  <a:lnTo>
                    <a:pt x="1431430" y="743285"/>
                  </a:lnTo>
                  <a:lnTo>
                    <a:pt x="1427236" y="751328"/>
                  </a:lnTo>
                  <a:lnTo>
                    <a:pt x="1431430" y="752956"/>
                  </a:lnTo>
                  <a:lnTo>
                    <a:pt x="1433502" y="757890"/>
                  </a:lnTo>
                  <a:lnTo>
                    <a:pt x="1435574" y="764354"/>
                  </a:lnTo>
                  <a:lnTo>
                    <a:pt x="1431430" y="767561"/>
                  </a:lnTo>
                  <a:lnTo>
                    <a:pt x="1431430" y="764749"/>
                  </a:lnTo>
                  <a:lnTo>
                    <a:pt x="1427236" y="763120"/>
                  </a:lnTo>
                  <a:lnTo>
                    <a:pt x="1425163" y="769584"/>
                  </a:lnTo>
                  <a:lnTo>
                    <a:pt x="1421019" y="766327"/>
                  </a:lnTo>
                  <a:lnTo>
                    <a:pt x="1421019" y="759913"/>
                  </a:lnTo>
                  <a:lnTo>
                    <a:pt x="1414753" y="761492"/>
                  </a:lnTo>
                  <a:lnTo>
                    <a:pt x="1412680" y="767956"/>
                  </a:lnTo>
                  <a:lnTo>
                    <a:pt x="1408486" y="766327"/>
                  </a:lnTo>
                  <a:lnTo>
                    <a:pt x="1408486" y="759913"/>
                  </a:lnTo>
                  <a:lnTo>
                    <a:pt x="1412680" y="754979"/>
                  </a:lnTo>
                  <a:lnTo>
                    <a:pt x="1410608" y="754979"/>
                  </a:lnTo>
                  <a:lnTo>
                    <a:pt x="1402269" y="758186"/>
                  </a:lnTo>
                  <a:lnTo>
                    <a:pt x="1393684" y="764749"/>
                  </a:lnTo>
                  <a:lnTo>
                    <a:pt x="1389540" y="756657"/>
                  </a:lnTo>
                  <a:lnTo>
                    <a:pt x="1383274" y="756657"/>
                  </a:lnTo>
                  <a:lnTo>
                    <a:pt x="1379080" y="761591"/>
                  </a:lnTo>
                  <a:lnTo>
                    <a:pt x="1370790" y="761591"/>
                  </a:lnTo>
                  <a:lnTo>
                    <a:pt x="1370790" y="758384"/>
                  </a:lnTo>
                  <a:lnTo>
                    <a:pt x="1362452" y="760012"/>
                  </a:lnTo>
                  <a:lnTo>
                    <a:pt x="1358258" y="756755"/>
                  </a:lnTo>
                  <a:lnTo>
                    <a:pt x="1364524" y="751821"/>
                  </a:lnTo>
                  <a:lnTo>
                    <a:pt x="1377007" y="751821"/>
                  </a:lnTo>
                  <a:lnTo>
                    <a:pt x="1385346" y="750193"/>
                  </a:lnTo>
                  <a:lnTo>
                    <a:pt x="1385346" y="746986"/>
                  </a:lnTo>
                  <a:lnTo>
                    <a:pt x="1391612" y="745358"/>
                  </a:lnTo>
                  <a:lnTo>
                    <a:pt x="1395756" y="746986"/>
                  </a:lnTo>
                  <a:lnTo>
                    <a:pt x="1404095" y="742052"/>
                  </a:lnTo>
                  <a:lnTo>
                    <a:pt x="1404095" y="732184"/>
                  </a:lnTo>
                  <a:lnTo>
                    <a:pt x="1399951" y="728927"/>
                  </a:lnTo>
                  <a:lnTo>
                    <a:pt x="1393684" y="719059"/>
                  </a:lnTo>
                  <a:lnTo>
                    <a:pt x="1385346" y="715852"/>
                  </a:lnTo>
                  <a:lnTo>
                    <a:pt x="1385346" y="712596"/>
                  </a:lnTo>
                  <a:lnTo>
                    <a:pt x="1372863" y="702728"/>
                  </a:lnTo>
                  <a:lnTo>
                    <a:pt x="1372863" y="700606"/>
                  </a:lnTo>
                  <a:lnTo>
                    <a:pt x="1366596" y="700606"/>
                  </a:lnTo>
                  <a:lnTo>
                    <a:pt x="1358258" y="705540"/>
                  </a:lnTo>
                  <a:lnTo>
                    <a:pt x="1354113" y="707168"/>
                  </a:lnTo>
                  <a:lnTo>
                    <a:pt x="1341630" y="717036"/>
                  </a:lnTo>
                  <a:lnTo>
                    <a:pt x="1345775" y="718615"/>
                  </a:lnTo>
                  <a:lnTo>
                    <a:pt x="1345775" y="723549"/>
                  </a:lnTo>
                  <a:lnTo>
                    <a:pt x="1339509" y="723549"/>
                  </a:lnTo>
                  <a:lnTo>
                    <a:pt x="1335364" y="726806"/>
                  </a:lnTo>
                  <a:lnTo>
                    <a:pt x="1335364" y="723549"/>
                  </a:lnTo>
                  <a:lnTo>
                    <a:pt x="1329098" y="725178"/>
                  </a:lnTo>
                  <a:lnTo>
                    <a:pt x="1324953" y="721970"/>
                  </a:lnTo>
                  <a:lnTo>
                    <a:pt x="1318490" y="721970"/>
                  </a:lnTo>
                  <a:lnTo>
                    <a:pt x="1314345" y="723549"/>
                  </a:lnTo>
                  <a:lnTo>
                    <a:pt x="1308079" y="723549"/>
                  </a:lnTo>
                  <a:lnTo>
                    <a:pt x="1303934" y="721970"/>
                  </a:lnTo>
                  <a:lnTo>
                    <a:pt x="1306006" y="720342"/>
                  </a:lnTo>
                  <a:lnTo>
                    <a:pt x="1316417" y="717135"/>
                  </a:lnTo>
                  <a:lnTo>
                    <a:pt x="1320562" y="712201"/>
                  </a:lnTo>
                  <a:lnTo>
                    <a:pt x="1324756" y="710573"/>
                  </a:lnTo>
                  <a:lnTo>
                    <a:pt x="1330973" y="710573"/>
                  </a:lnTo>
                  <a:lnTo>
                    <a:pt x="1335167" y="705639"/>
                  </a:lnTo>
                  <a:lnTo>
                    <a:pt x="1335167" y="697152"/>
                  </a:lnTo>
                  <a:lnTo>
                    <a:pt x="1339311" y="693945"/>
                  </a:lnTo>
                  <a:lnTo>
                    <a:pt x="1343505" y="693945"/>
                  </a:lnTo>
                  <a:lnTo>
                    <a:pt x="1349722" y="685853"/>
                  </a:lnTo>
                  <a:lnTo>
                    <a:pt x="1349722" y="671347"/>
                  </a:lnTo>
                  <a:lnTo>
                    <a:pt x="1347650" y="666413"/>
                  </a:lnTo>
                  <a:lnTo>
                    <a:pt x="1343505" y="664785"/>
                  </a:lnTo>
                  <a:lnTo>
                    <a:pt x="1330973" y="668041"/>
                  </a:lnTo>
                  <a:lnTo>
                    <a:pt x="1318490" y="671249"/>
                  </a:lnTo>
                  <a:lnTo>
                    <a:pt x="1303934" y="676183"/>
                  </a:lnTo>
                  <a:lnTo>
                    <a:pt x="1278919" y="679439"/>
                  </a:lnTo>
                  <a:lnTo>
                    <a:pt x="1245614" y="689307"/>
                  </a:lnTo>
                  <a:lnTo>
                    <a:pt x="1237473" y="695672"/>
                  </a:lnTo>
                  <a:lnTo>
                    <a:pt x="1218724" y="700606"/>
                  </a:lnTo>
                  <a:lnTo>
                    <a:pt x="1191635" y="710474"/>
                  </a:lnTo>
                  <a:lnTo>
                    <a:pt x="1183297" y="718517"/>
                  </a:lnTo>
                  <a:lnTo>
                    <a:pt x="1181225" y="723451"/>
                  </a:lnTo>
                  <a:lnTo>
                    <a:pt x="1187491" y="723451"/>
                  </a:lnTo>
                  <a:lnTo>
                    <a:pt x="1191635" y="725079"/>
                  </a:lnTo>
                  <a:lnTo>
                    <a:pt x="1185369" y="730013"/>
                  </a:lnTo>
                  <a:lnTo>
                    <a:pt x="1177080" y="730013"/>
                  </a:lnTo>
                  <a:lnTo>
                    <a:pt x="1166620" y="739881"/>
                  </a:lnTo>
                  <a:lnTo>
                    <a:pt x="1156209" y="739881"/>
                  </a:lnTo>
                  <a:lnTo>
                    <a:pt x="1152065" y="743088"/>
                  </a:lnTo>
                  <a:lnTo>
                    <a:pt x="1149992" y="749552"/>
                  </a:lnTo>
                  <a:lnTo>
                    <a:pt x="1139581" y="754486"/>
                  </a:lnTo>
                  <a:lnTo>
                    <a:pt x="1135388" y="759420"/>
                  </a:lnTo>
                  <a:lnTo>
                    <a:pt x="1135388" y="767462"/>
                  </a:lnTo>
                  <a:lnTo>
                    <a:pt x="1141654" y="765883"/>
                  </a:lnTo>
                  <a:lnTo>
                    <a:pt x="1145798" y="769090"/>
                  </a:lnTo>
                  <a:lnTo>
                    <a:pt x="1143726" y="772347"/>
                  </a:lnTo>
                  <a:lnTo>
                    <a:pt x="1145798" y="773926"/>
                  </a:lnTo>
                  <a:lnTo>
                    <a:pt x="1149992" y="773926"/>
                  </a:lnTo>
                  <a:lnTo>
                    <a:pt x="1156209" y="770719"/>
                  </a:lnTo>
                  <a:lnTo>
                    <a:pt x="1162475" y="770719"/>
                  </a:lnTo>
                  <a:lnTo>
                    <a:pt x="1166620" y="773926"/>
                  </a:lnTo>
                  <a:lnTo>
                    <a:pt x="1164548" y="778860"/>
                  </a:lnTo>
                  <a:lnTo>
                    <a:pt x="1156209" y="782116"/>
                  </a:lnTo>
                  <a:lnTo>
                    <a:pt x="1149992" y="778860"/>
                  </a:lnTo>
                  <a:lnTo>
                    <a:pt x="1143726" y="780488"/>
                  </a:lnTo>
                  <a:lnTo>
                    <a:pt x="1145798" y="786952"/>
                  </a:lnTo>
                  <a:lnTo>
                    <a:pt x="1158331" y="791886"/>
                  </a:lnTo>
                  <a:lnTo>
                    <a:pt x="1162475" y="790257"/>
                  </a:lnTo>
                  <a:lnTo>
                    <a:pt x="1162475" y="785323"/>
                  </a:lnTo>
                  <a:lnTo>
                    <a:pt x="1166620" y="785323"/>
                  </a:lnTo>
                  <a:lnTo>
                    <a:pt x="1170814" y="788580"/>
                  </a:lnTo>
                  <a:lnTo>
                    <a:pt x="1166620" y="791787"/>
                  </a:lnTo>
                  <a:lnTo>
                    <a:pt x="1172886" y="791787"/>
                  </a:lnTo>
                  <a:lnTo>
                    <a:pt x="1185369" y="793415"/>
                  </a:lnTo>
                  <a:lnTo>
                    <a:pt x="1195780" y="790159"/>
                  </a:lnTo>
                  <a:lnTo>
                    <a:pt x="1202047" y="790159"/>
                  </a:lnTo>
                  <a:lnTo>
                    <a:pt x="1212457" y="795093"/>
                  </a:lnTo>
                  <a:lnTo>
                    <a:pt x="1220796" y="793514"/>
                  </a:lnTo>
                  <a:lnTo>
                    <a:pt x="1227062" y="796721"/>
                  </a:lnTo>
                  <a:lnTo>
                    <a:pt x="1231207" y="801655"/>
                  </a:lnTo>
                  <a:lnTo>
                    <a:pt x="1237473" y="801655"/>
                  </a:lnTo>
                  <a:lnTo>
                    <a:pt x="1235400" y="804912"/>
                  </a:lnTo>
                  <a:lnTo>
                    <a:pt x="1229134" y="804912"/>
                  </a:lnTo>
                  <a:lnTo>
                    <a:pt x="1220796" y="799978"/>
                  </a:lnTo>
                  <a:lnTo>
                    <a:pt x="1205994" y="798349"/>
                  </a:lnTo>
                  <a:lnTo>
                    <a:pt x="1203872" y="801556"/>
                  </a:lnTo>
                  <a:lnTo>
                    <a:pt x="1212211" y="803185"/>
                  </a:lnTo>
                  <a:lnTo>
                    <a:pt x="1214283" y="808119"/>
                  </a:lnTo>
                  <a:lnTo>
                    <a:pt x="1202047" y="808119"/>
                  </a:lnTo>
                  <a:lnTo>
                    <a:pt x="1197902" y="803185"/>
                  </a:lnTo>
                  <a:lnTo>
                    <a:pt x="1181225" y="804813"/>
                  </a:lnTo>
                  <a:lnTo>
                    <a:pt x="1177080" y="808020"/>
                  </a:lnTo>
                  <a:lnTo>
                    <a:pt x="1172886" y="806392"/>
                  </a:lnTo>
                  <a:lnTo>
                    <a:pt x="1168742" y="806392"/>
                  </a:lnTo>
                  <a:lnTo>
                    <a:pt x="1162475" y="808020"/>
                  </a:lnTo>
                  <a:lnTo>
                    <a:pt x="1158331" y="806392"/>
                  </a:lnTo>
                  <a:lnTo>
                    <a:pt x="1141654" y="808020"/>
                  </a:lnTo>
                  <a:lnTo>
                    <a:pt x="1137460" y="809648"/>
                  </a:lnTo>
                  <a:lnTo>
                    <a:pt x="1124977" y="811227"/>
                  </a:lnTo>
                  <a:lnTo>
                    <a:pt x="1122904" y="817691"/>
                  </a:lnTo>
                  <a:lnTo>
                    <a:pt x="1124977" y="835453"/>
                  </a:lnTo>
                  <a:lnTo>
                    <a:pt x="1124977" y="845321"/>
                  </a:lnTo>
                  <a:lnTo>
                    <a:pt x="1122904" y="846950"/>
                  </a:lnTo>
                  <a:lnTo>
                    <a:pt x="1122904" y="851884"/>
                  </a:lnTo>
                  <a:lnTo>
                    <a:pt x="1127049" y="853512"/>
                  </a:lnTo>
                  <a:lnTo>
                    <a:pt x="1137460" y="853512"/>
                  </a:lnTo>
                  <a:lnTo>
                    <a:pt x="1141654" y="855091"/>
                  </a:lnTo>
                  <a:lnTo>
                    <a:pt x="1147871" y="855091"/>
                  </a:lnTo>
                  <a:lnTo>
                    <a:pt x="1149992" y="853512"/>
                  </a:lnTo>
                  <a:lnTo>
                    <a:pt x="1149992" y="853512"/>
                  </a:lnTo>
                  <a:lnTo>
                    <a:pt x="1156209" y="855091"/>
                  </a:lnTo>
                  <a:lnTo>
                    <a:pt x="1158331" y="856719"/>
                  </a:lnTo>
                  <a:lnTo>
                    <a:pt x="1162475" y="855091"/>
                  </a:lnTo>
                  <a:lnTo>
                    <a:pt x="1166620" y="858347"/>
                  </a:lnTo>
                  <a:lnTo>
                    <a:pt x="1166620" y="863281"/>
                  </a:lnTo>
                  <a:lnTo>
                    <a:pt x="1170814" y="863281"/>
                  </a:lnTo>
                  <a:lnTo>
                    <a:pt x="1177080" y="861653"/>
                  </a:lnTo>
                  <a:lnTo>
                    <a:pt x="1181225" y="863281"/>
                  </a:lnTo>
                  <a:lnTo>
                    <a:pt x="1183297" y="864909"/>
                  </a:lnTo>
                  <a:lnTo>
                    <a:pt x="1195780" y="864909"/>
                  </a:lnTo>
                  <a:lnTo>
                    <a:pt x="1202047" y="866488"/>
                  </a:lnTo>
                  <a:lnTo>
                    <a:pt x="1208313" y="864909"/>
                  </a:lnTo>
                  <a:lnTo>
                    <a:pt x="1212457" y="866488"/>
                  </a:lnTo>
                  <a:lnTo>
                    <a:pt x="1220796" y="866488"/>
                  </a:lnTo>
                  <a:lnTo>
                    <a:pt x="1229134" y="864909"/>
                  </a:lnTo>
                  <a:lnTo>
                    <a:pt x="1235400" y="866488"/>
                  </a:lnTo>
                  <a:lnTo>
                    <a:pt x="1237473" y="871422"/>
                  </a:lnTo>
                  <a:lnTo>
                    <a:pt x="1241617" y="869843"/>
                  </a:lnTo>
                  <a:lnTo>
                    <a:pt x="1241617" y="874777"/>
                  </a:lnTo>
                  <a:lnTo>
                    <a:pt x="1247884" y="877985"/>
                  </a:lnTo>
                  <a:lnTo>
                    <a:pt x="1247884" y="881241"/>
                  </a:lnTo>
                  <a:lnTo>
                    <a:pt x="1252028" y="884448"/>
                  </a:lnTo>
                  <a:lnTo>
                    <a:pt x="1258294" y="884448"/>
                  </a:lnTo>
                  <a:lnTo>
                    <a:pt x="1262439" y="886076"/>
                  </a:lnTo>
                  <a:lnTo>
                    <a:pt x="1264561" y="889284"/>
                  </a:lnTo>
                  <a:lnTo>
                    <a:pt x="1266633" y="890912"/>
                  </a:lnTo>
                  <a:lnTo>
                    <a:pt x="1270778" y="894119"/>
                  </a:lnTo>
                  <a:lnTo>
                    <a:pt x="1270778" y="900582"/>
                  </a:lnTo>
                  <a:lnTo>
                    <a:pt x="1277044" y="907046"/>
                  </a:lnTo>
                  <a:lnTo>
                    <a:pt x="1285382" y="911980"/>
                  </a:lnTo>
                  <a:lnTo>
                    <a:pt x="1285382" y="915187"/>
                  </a:lnTo>
                  <a:lnTo>
                    <a:pt x="1283310" y="916815"/>
                  </a:lnTo>
                  <a:lnTo>
                    <a:pt x="1285382" y="920023"/>
                  </a:lnTo>
                  <a:lnTo>
                    <a:pt x="1283310" y="918444"/>
                  </a:lnTo>
                  <a:lnTo>
                    <a:pt x="1270778" y="916815"/>
                  </a:lnTo>
                  <a:lnTo>
                    <a:pt x="1260367" y="913608"/>
                  </a:lnTo>
                  <a:lnTo>
                    <a:pt x="1254101" y="915187"/>
                  </a:lnTo>
                  <a:lnTo>
                    <a:pt x="1247884" y="913608"/>
                  </a:lnTo>
                  <a:lnTo>
                    <a:pt x="1247884" y="915187"/>
                  </a:lnTo>
                  <a:lnTo>
                    <a:pt x="1241617" y="915187"/>
                  </a:lnTo>
                  <a:lnTo>
                    <a:pt x="1237473" y="910253"/>
                  </a:lnTo>
                  <a:lnTo>
                    <a:pt x="1233279" y="910253"/>
                  </a:lnTo>
                  <a:lnTo>
                    <a:pt x="1229134" y="905319"/>
                  </a:lnTo>
                  <a:lnTo>
                    <a:pt x="1224940" y="903740"/>
                  </a:lnTo>
                  <a:lnTo>
                    <a:pt x="1212457" y="903740"/>
                  </a:lnTo>
                  <a:lnTo>
                    <a:pt x="1210385" y="900484"/>
                  </a:lnTo>
                  <a:lnTo>
                    <a:pt x="1202047" y="898856"/>
                  </a:lnTo>
                  <a:lnTo>
                    <a:pt x="1199974" y="893921"/>
                  </a:lnTo>
                  <a:lnTo>
                    <a:pt x="1197902" y="893921"/>
                  </a:lnTo>
                  <a:lnTo>
                    <a:pt x="1193708" y="892343"/>
                  </a:lnTo>
                  <a:lnTo>
                    <a:pt x="1187491" y="892343"/>
                  </a:lnTo>
                  <a:lnTo>
                    <a:pt x="1183297" y="890714"/>
                  </a:lnTo>
                  <a:lnTo>
                    <a:pt x="1158331" y="890714"/>
                  </a:lnTo>
                  <a:lnTo>
                    <a:pt x="1149992" y="889086"/>
                  </a:lnTo>
                  <a:lnTo>
                    <a:pt x="1122904" y="889086"/>
                  </a:lnTo>
                  <a:lnTo>
                    <a:pt x="1118711" y="890714"/>
                  </a:lnTo>
                  <a:lnTo>
                    <a:pt x="1110421" y="892343"/>
                  </a:lnTo>
                  <a:lnTo>
                    <a:pt x="1106227" y="897277"/>
                  </a:lnTo>
                  <a:lnTo>
                    <a:pt x="1104155" y="907145"/>
                  </a:lnTo>
                  <a:lnTo>
                    <a:pt x="1097889" y="915187"/>
                  </a:lnTo>
                  <a:lnTo>
                    <a:pt x="1100010" y="925055"/>
                  </a:lnTo>
                  <a:lnTo>
                    <a:pt x="1097889" y="928262"/>
                  </a:lnTo>
                  <a:lnTo>
                    <a:pt x="1100010" y="931470"/>
                  </a:lnTo>
                  <a:lnTo>
                    <a:pt x="1104155" y="933098"/>
                  </a:lnTo>
                  <a:lnTo>
                    <a:pt x="1104155" y="936354"/>
                  </a:lnTo>
                  <a:lnTo>
                    <a:pt x="1100010" y="937933"/>
                  </a:lnTo>
                  <a:lnTo>
                    <a:pt x="1106227" y="950860"/>
                  </a:lnTo>
                  <a:lnTo>
                    <a:pt x="1110421" y="954067"/>
                  </a:lnTo>
                  <a:lnTo>
                    <a:pt x="1112494" y="957324"/>
                  </a:lnTo>
                  <a:lnTo>
                    <a:pt x="1122904" y="962258"/>
                  </a:lnTo>
                  <a:lnTo>
                    <a:pt x="1127049" y="965465"/>
                  </a:lnTo>
                  <a:lnTo>
                    <a:pt x="1131243" y="963837"/>
                  </a:lnTo>
                  <a:lnTo>
                    <a:pt x="1135388" y="968771"/>
                  </a:lnTo>
                  <a:lnTo>
                    <a:pt x="1139581" y="968771"/>
                  </a:lnTo>
                  <a:lnTo>
                    <a:pt x="1147871" y="965514"/>
                  </a:lnTo>
                  <a:lnTo>
                    <a:pt x="1152065" y="967143"/>
                  </a:lnTo>
                  <a:lnTo>
                    <a:pt x="1158331" y="970350"/>
                  </a:lnTo>
                  <a:lnTo>
                    <a:pt x="1164548" y="970350"/>
                  </a:lnTo>
                  <a:lnTo>
                    <a:pt x="1170814" y="978442"/>
                  </a:lnTo>
                  <a:lnTo>
                    <a:pt x="1174958" y="980070"/>
                  </a:lnTo>
                  <a:lnTo>
                    <a:pt x="1174958" y="983277"/>
                  </a:lnTo>
                  <a:lnTo>
                    <a:pt x="1168742" y="984905"/>
                  </a:lnTo>
                  <a:lnTo>
                    <a:pt x="1168742" y="988112"/>
                  </a:lnTo>
                  <a:lnTo>
                    <a:pt x="1164548" y="991319"/>
                  </a:lnTo>
                  <a:lnTo>
                    <a:pt x="1166620" y="994576"/>
                  </a:lnTo>
                  <a:lnTo>
                    <a:pt x="1162475" y="997783"/>
                  </a:lnTo>
                  <a:lnTo>
                    <a:pt x="1154137" y="1002717"/>
                  </a:lnTo>
                  <a:lnTo>
                    <a:pt x="1154137" y="1005973"/>
                  </a:lnTo>
                  <a:lnTo>
                    <a:pt x="1152065" y="1009181"/>
                  </a:lnTo>
                  <a:lnTo>
                    <a:pt x="1156209" y="1012437"/>
                  </a:lnTo>
                  <a:lnTo>
                    <a:pt x="1156209" y="1020480"/>
                  </a:lnTo>
                  <a:lnTo>
                    <a:pt x="1160403" y="1026943"/>
                  </a:lnTo>
                  <a:lnTo>
                    <a:pt x="1160403" y="1030150"/>
                  </a:lnTo>
                  <a:lnTo>
                    <a:pt x="1152065" y="1031778"/>
                  </a:lnTo>
                  <a:lnTo>
                    <a:pt x="1154137" y="1034986"/>
                  </a:lnTo>
                  <a:lnTo>
                    <a:pt x="1166620" y="1036614"/>
                  </a:lnTo>
                  <a:lnTo>
                    <a:pt x="1174958" y="1036614"/>
                  </a:lnTo>
                  <a:lnTo>
                    <a:pt x="1177080" y="1038242"/>
                  </a:lnTo>
                  <a:lnTo>
                    <a:pt x="1179153" y="1034986"/>
                  </a:lnTo>
                  <a:lnTo>
                    <a:pt x="1183297" y="1034986"/>
                  </a:lnTo>
                  <a:lnTo>
                    <a:pt x="1187491" y="1036614"/>
                  </a:lnTo>
                  <a:lnTo>
                    <a:pt x="1195780" y="1036614"/>
                  </a:lnTo>
                  <a:lnTo>
                    <a:pt x="1206240" y="1039821"/>
                  </a:lnTo>
                  <a:lnTo>
                    <a:pt x="1212457" y="1036614"/>
                  </a:lnTo>
                  <a:lnTo>
                    <a:pt x="1220796" y="1036614"/>
                  </a:lnTo>
                  <a:lnTo>
                    <a:pt x="1222868" y="1039821"/>
                  </a:lnTo>
                  <a:lnTo>
                    <a:pt x="1224743" y="1039821"/>
                  </a:lnTo>
                  <a:lnTo>
                    <a:pt x="1226865" y="1038242"/>
                  </a:lnTo>
                  <a:lnTo>
                    <a:pt x="1233081" y="1036614"/>
                  </a:lnTo>
                  <a:lnTo>
                    <a:pt x="1235203" y="1038242"/>
                  </a:lnTo>
                  <a:lnTo>
                    <a:pt x="1237275" y="1041449"/>
                  </a:lnTo>
                  <a:lnTo>
                    <a:pt x="1241420" y="1041449"/>
                  </a:lnTo>
                  <a:lnTo>
                    <a:pt x="1243492" y="1039821"/>
                  </a:lnTo>
                  <a:lnTo>
                    <a:pt x="1245614" y="1041449"/>
                  </a:lnTo>
                  <a:lnTo>
                    <a:pt x="1247686" y="1046383"/>
                  </a:lnTo>
                  <a:lnTo>
                    <a:pt x="1251831" y="1046383"/>
                  </a:lnTo>
                  <a:lnTo>
                    <a:pt x="1254347" y="1041054"/>
                  </a:lnTo>
                  <a:lnTo>
                    <a:pt x="1262686" y="1041054"/>
                  </a:lnTo>
                  <a:lnTo>
                    <a:pt x="1266880" y="1036120"/>
                  </a:lnTo>
                  <a:lnTo>
                    <a:pt x="1273096" y="1034492"/>
                  </a:lnTo>
                  <a:lnTo>
                    <a:pt x="1279017" y="1034492"/>
                  </a:lnTo>
                  <a:lnTo>
                    <a:pt x="1285284" y="1029558"/>
                  </a:lnTo>
                  <a:lnTo>
                    <a:pt x="1293819" y="1026252"/>
                  </a:lnTo>
                  <a:lnTo>
                    <a:pt x="1300036" y="1024624"/>
                  </a:lnTo>
                  <a:lnTo>
                    <a:pt x="1302109" y="1021417"/>
                  </a:lnTo>
                  <a:lnTo>
                    <a:pt x="1306303" y="1021417"/>
                  </a:lnTo>
                  <a:lnTo>
                    <a:pt x="1314641" y="1022996"/>
                  </a:lnTo>
                  <a:lnTo>
                    <a:pt x="1318490" y="1022996"/>
                  </a:lnTo>
                  <a:lnTo>
                    <a:pt x="1324756" y="1024624"/>
                  </a:lnTo>
                  <a:lnTo>
                    <a:pt x="1337239" y="1024624"/>
                  </a:lnTo>
                  <a:lnTo>
                    <a:pt x="1352041" y="1016532"/>
                  </a:lnTo>
                  <a:lnTo>
                    <a:pt x="1354113" y="1013325"/>
                  </a:lnTo>
                  <a:lnTo>
                    <a:pt x="1356186" y="1011697"/>
                  </a:lnTo>
                  <a:lnTo>
                    <a:pt x="1358258" y="1014953"/>
                  </a:lnTo>
                  <a:lnTo>
                    <a:pt x="1360330" y="1011697"/>
                  </a:lnTo>
                  <a:lnTo>
                    <a:pt x="1366596" y="1008490"/>
                  </a:lnTo>
                  <a:lnTo>
                    <a:pt x="1366596" y="1005233"/>
                  </a:lnTo>
                  <a:lnTo>
                    <a:pt x="1368669" y="1002026"/>
                  </a:lnTo>
                  <a:lnTo>
                    <a:pt x="1370790" y="1003654"/>
                  </a:lnTo>
                  <a:lnTo>
                    <a:pt x="1374935" y="1002026"/>
                  </a:lnTo>
                  <a:lnTo>
                    <a:pt x="1379080" y="998819"/>
                  </a:lnTo>
                  <a:lnTo>
                    <a:pt x="1377007" y="997191"/>
                  </a:lnTo>
                  <a:lnTo>
                    <a:pt x="1383274" y="997191"/>
                  </a:lnTo>
                  <a:lnTo>
                    <a:pt x="1387418" y="1000398"/>
                  </a:lnTo>
                  <a:lnTo>
                    <a:pt x="1387418" y="1003654"/>
                  </a:lnTo>
                  <a:lnTo>
                    <a:pt x="1389540" y="1006862"/>
                  </a:lnTo>
                  <a:lnTo>
                    <a:pt x="1383274" y="1010118"/>
                  </a:lnTo>
                  <a:lnTo>
                    <a:pt x="1383274" y="1013325"/>
                  </a:lnTo>
                  <a:lnTo>
                    <a:pt x="1381201" y="1016532"/>
                  </a:lnTo>
                  <a:lnTo>
                    <a:pt x="1377007" y="1019789"/>
                  </a:lnTo>
                  <a:lnTo>
                    <a:pt x="1377007" y="1021318"/>
                  </a:lnTo>
                  <a:lnTo>
                    <a:pt x="1383274" y="1021318"/>
                  </a:lnTo>
                  <a:lnTo>
                    <a:pt x="1387418" y="1026252"/>
                  </a:lnTo>
                  <a:lnTo>
                    <a:pt x="1389540" y="1024624"/>
                  </a:lnTo>
                  <a:lnTo>
                    <a:pt x="1393684" y="1024624"/>
                  </a:lnTo>
                  <a:lnTo>
                    <a:pt x="1399951" y="1026252"/>
                  </a:lnTo>
                  <a:lnTo>
                    <a:pt x="1402023" y="1031186"/>
                  </a:lnTo>
                  <a:lnTo>
                    <a:pt x="1406168" y="1034393"/>
                  </a:lnTo>
                  <a:lnTo>
                    <a:pt x="1406168" y="1031186"/>
                  </a:lnTo>
                  <a:lnTo>
                    <a:pt x="1408240" y="1029558"/>
                  </a:lnTo>
                  <a:lnTo>
                    <a:pt x="1412434" y="1031186"/>
                  </a:lnTo>
                  <a:lnTo>
                    <a:pt x="1412434" y="1036120"/>
                  </a:lnTo>
                  <a:lnTo>
                    <a:pt x="1408240" y="1039328"/>
                  </a:lnTo>
                  <a:lnTo>
                    <a:pt x="1402023" y="1039328"/>
                  </a:lnTo>
                  <a:lnTo>
                    <a:pt x="1397829" y="1044262"/>
                  </a:lnTo>
                  <a:lnTo>
                    <a:pt x="1399951" y="1045890"/>
                  </a:lnTo>
                  <a:lnTo>
                    <a:pt x="1404095" y="1045890"/>
                  </a:lnTo>
                  <a:lnTo>
                    <a:pt x="1408240" y="1047518"/>
                  </a:lnTo>
                  <a:lnTo>
                    <a:pt x="1412434" y="1050725"/>
                  </a:lnTo>
                  <a:lnTo>
                    <a:pt x="1418700" y="1050725"/>
                  </a:lnTo>
                  <a:lnTo>
                    <a:pt x="1422845" y="1044262"/>
                  </a:lnTo>
                  <a:lnTo>
                    <a:pt x="1424917" y="1044262"/>
                  </a:lnTo>
                  <a:lnTo>
                    <a:pt x="1424917" y="1049196"/>
                  </a:lnTo>
                  <a:lnTo>
                    <a:pt x="1429111" y="1055659"/>
                  </a:lnTo>
                  <a:lnTo>
                    <a:pt x="1433255" y="1055659"/>
                  </a:lnTo>
                  <a:lnTo>
                    <a:pt x="1437400" y="1054080"/>
                  </a:lnTo>
                  <a:lnTo>
                    <a:pt x="1443666" y="1055659"/>
                  </a:lnTo>
                  <a:lnTo>
                    <a:pt x="1445738" y="1058916"/>
                  </a:lnTo>
                  <a:lnTo>
                    <a:pt x="1449932" y="1058916"/>
                  </a:lnTo>
                  <a:lnTo>
                    <a:pt x="1454077" y="1062123"/>
                  </a:lnTo>
                  <a:lnTo>
                    <a:pt x="1456149" y="1062123"/>
                  </a:lnTo>
                  <a:lnTo>
                    <a:pt x="1456149" y="1057189"/>
                  </a:lnTo>
                  <a:lnTo>
                    <a:pt x="1460343" y="1057189"/>
                  </a:lnTo>
                  <a:lnTo>
                    <a:pt x="1464488" y="1055561"/>
                  </a:lnTo>
                  <a:lnTo>
                    <a:pt x="1466560" y="1057189"/>
                  </a:lnTo>
                  <a:lnTo>
                    <a:pt x="1466560" y="1062123"/>
                  </a:lnTo>
                  <a:lnTo>
                    <a:pt x="1468682" y="1063751"/>
                  </a:lnTo>
                  <a:lnTo>
                    <a:pt x="1474899" y="1062123"/>
                  </a:lnTo>
                  <a:lnTo>
                    <a:pt x="1479092" y="1057189"/>
                  </a:lnTo>
                  <a:lnTo>
                    <a:pt x="1481165" y="1058817"/>
                  </a:lnTo>
                  <a:lnTo>
                    <a:pt x="1483237" y="1062024"/>
                  </a:lnTo>
                  <a:lnTo>
                    <a:pt x="1485309" y="1062024"/>
                  </a:lnTo>
                  <a:lnTo>
                    <a:pt x="1487431" y="1060396"/>
                  </a:lnTo>
                  <a:lnTo>
                    <a:pt x="1489503" y="1058817"/>
                  </a:lnTo>
                  <a:lnTo>
                    <a:pt x="1493648" y="1055561"/>
                  </a:lnTo>
                  <a:lnTo>
                    <a:pt x="1497842" y="1055561"/>
                  </a:lnTo>
                  <a:lnTo>
                    <a:pt x="1499914" y="1058817"/>
                  </a:lnTo>
                  <a:lnTo>
                    <a:pt x="1505983" y="1058817"/>
                  </a:lnTo>
                  <a:close/>
                  <a:moveTo>
                    <a:pt x="2178936" y="1276605"/>
                  </a:moveTo>
                  <a:lnTo>
                    <a:pt x="2181008" y="1268514"/>
                  </a:lnTo>
                  <a:lnTo>
                    <a:pt x="2178936" y="1266885"/>
                  </a:lnTo>
                  <a:lnTo>
                    <a:pt x="2181008" y="1260471"/>
                  </a:lnTo>
                  <a:lnTo>
                    <a:pt x="2181008" y="1252231"/>
                  </a:lnTo>
                  <a:lnTo>
                    <a:pt x="2189347" y="1244139"/>
                  </a:lnTo>
                  <a:lnTo>
                    <a:pt x="2193541" y="1237676"/>
                  </a:lnTo>
                  <a:lnTo>
                    <a:pt x="2199807" y="1234469"/>
                  </a:lnTo>
                  <a:lnTo>
                    <a:pt x="2210218" y="1221591"/>
                  </a:lnTo>
                  <a:lnTo>
                    <a:pt x="2216435" y="1218334"/>
                  </a:lnTo>
                  <a:lnTo>
                    <a:pt x="2220629" y="1218334"/>
                  </a:lnTo>
                  <a:lnTo>
                    <a:pt x="2222701" y="1215127"/>
                  </a:lnTo>
                  <a:lnTo>
                    <a:pt x="2226845" y="1216706"/>
                  </a:lnTo>
                  <a:lnTo>
                    <a:pt x="2235184" y="1213499"/>
                  </a:lnTo>
                  <a:lnTo>
                    <a:pt x="2241450" y="1216706"/>
                  </a:lnTo>
                  <a:lnTo>
                    <a:pt x="2245595" y="1219963"/>
                  </a:lnTo>
                  <a:lnTo>
                    <a:pt x="2249789" y="1219963"/>
                  </a:lnTo>
                  <a:lnTo>
                    <a:pt x="2253933" y="1224897"/>
                  </a:lnTo>
                  <a:lnTo>
                    <a:pt x="2256055" y="1231360"/>
                  </a:lnTo>
                  <a:lnTo>
                    <a:pt x="2256055" y="1236294"/>
                  </a:lnTo>
                  <a:lnTo>
                    <a:pt x="2249789" y="1239501"/>
                  </a:lnTo>
                  <a:lnTo>
                    <a:pt x="2247667" y="1245965"/>
                  </a:lnTo>
                  <a:lnTo>
                    <a:pt x="2245595" y="1252429"/>
                  </a:lnTo>
                  <a:lnTo>
                    <a:pt x="2237256" y="1265306"/>
                  </a:lnTo>
                  <a:lnTo>
                    <a:pt x="2233112" y="1270240"/>
                  </a:lnTo>
                  <a:lnTo>
                    <a:pt x="2228967" y="1271819"/>
                  </a:lnTo>
                  <a:lnTo>
                    <a:pt x="2220629" y="1275076"/>
                  </a:lnTo>
                  <a:lnTo>
                    <a:pt x="2218556" y="1276704"/>
                  </a:lnTo>
                  <a:lnTo>
                    <a:pt x="2212241" y="1278283"/>
                  </a:lnTo>
                  <a:lnTo>
                    <a:pt x="2203952" y="1279911"/>
                  </a:lnTo>
                  <a:lnTo>
                    <a:pt x="2199807" y="1278283"/>
                  </a:lnTo>
                  <a:lnTo>
                    <a:pt x="2189347" y="1279911"/>
                  </a:lnTo>
                  <a:lnTo>
                    <a:pt x="2185202" y="1278283"/>
                  </a:lnTo>
                  <a:lnTo>
                    <a:pt x="2181008" y="1278283"/>
                  </a:lnTo>
                  <a:close/>
                  <a:moveTo>
                    <a:pt x="1539485" y="1039377"/>
                  </a:moveTo>
                  <a:lnTo>
                    <a:pt x="1537413" y="1036170"/>
                  </a:lnTo>
                  <a:lnTo>
                    <a:pt x="1539485" y="1031236"/>
                  </a:lnTo>
                  <a:lnTo>
                    <a:pt x="1543679" y="1031236"/>
                  </a:lnTo>
                  <a:lnTo>
                    <a:pt x="1541557" y="1026302"/>
                  </a:lnTo>
                  <a:lnTo>
                    <a:pt x="1543679" y="1023045"/>
                  </a:lnTo>
                  <a:lnTo>
                    <a:pt x="1545751" y="1021466"/>
                  </a:lnTo>
                  <a:lnTo>
                    <a:pt x="1545751" y="1026400"/>
                  </a:lnTo>
                  <a:lnTo>
                    <a:pt x="1549896" y="1029607"/>
                  </a:lnTo>
                  <a:lnTo>
                    <a:pt x="1549896" y="1032815"/>
                  </a:lnTo>
                  <a:lnTo>
                    <a:pt x="1547823" y="1036071"/>
                  </a:lnTo>
                  <a:lnTo>
                    <a:pt x="1543679" y="1036071"/>
                  </a:lnTo>
                  <a:lnTo>
                    <a:pt x="1541557" y="1039278"/>
                  </a:lnTo>
                  <a:close/>
                  <a:moveTo>
                    <a:pt x="1479092" y="1086201"/>
                  </a:moveTo>
                  <a:lnTo>
                    <a:pt x="1483237" y="1084573"/>
                  </a:lnTo>
                  <a:lnTo>
                    <a:pt x="1485309" y="1079639"/>
                  </a:lnTo>
                  <a:lnTo>
                    <a:pt x="1485309" y="1071547"/>
                  </a:lnTo>
                  <a:lnTo>
                    <a:pt x="1479092" y="1074803"/>
                  </a:lnTo>
                  <a:lnTo>
                    <a:pt x="1479092" y="1076382"/>
                  </a:lnTo>
                  <a:lnTo>
                    <a:pt x="1470754" y="1076382"/>
                  </a:lnTo>
                  <a:lnTo>
                    <a:pt x="1470754" y="1079639"/>
                  </a:lnTo>
                  <a:lnTo>
                    <a:pt x="1474899" y="1084573"/>
                  </a:lnTo>
                  <a:close/>
                  <a:moveTo>
                    <a:pt x="1549896" y="1074902"/>
                  </a:moveTo>
                  <a:lnTo>
                    <a:pt x="1543679" y="1079836"/>
                  </a:lnTo>
                  <a:lnTo>
                    <a:pt x="1541557" y="1083043"/>
                  </a:lnTo>
                  <a:lnTo>
                    <a:pt x="1539485" y="1086300"/>
                  </a:lnTo>
                  <a:lnTo>
                    <a:pt x="1535341" y="1079836"/>
                  </a:lnTo>
                  <a:lnTo>
                    <a:pt x="1535341" y="1076580"/>
                  </a:lnTo>
                  <a:lnTo>
                    <a:pt x="1541557" y="1068537"/>
                  </a:lnTo>
                  <a:lnTo>
                    <a:pt x="1541557" y="1063603"/>
                  </a:lnTo>
                  <a:lnTo>
                    <a:pt x="1545751" y="1060347"/>
                  </a:lnTo>
                  <a:lnTo>
                    <a:pt x="1549896" y="1060347"/>
                  </a:lnTo>
                  <a:lnTo>
                    <a:pt x="1549896" y="1065281"/>
                  </a:lnTo>
                  <a:lnTo>
                    <a:pt x="1554090" y="1070215"/>
                  </a:lnTo>
                  <a:close/>
                  <a:moveTo>
                    <a:pt x="1558235" y="1068438"/>
                  </a:moveTo>
                  <a:lnTo>
                    <a:pt x="1558235" y="1063504"/>
                  </a:lnTo>
                  <a:lnTo>
                    <a:pt x="1556162" y="1061876"/>
                  </a:lnTo>
                  <a:lnTo>
                    <a:pt x="1560307" y="1053834"/>
                  </a:lnTo>
                  <a:lnTo>
                    <a:pt x="1562379" y="1052205"/>
                  </a:lnTo>
                  <a:lnTo>
                    <a:pt x="1566573" y="1058669"/>
                  </a:lnTo>
                  <a:lnTo>
                    <a:pt x="1564501" y="1061876"/>
                  </a:lnTo>
                  <a:lnTo>
                    <a:pt x="1562379" y="1066810"/>
                  </a:lnTo>
                  <a:close/>
                  <a:moveTo>
                    <a:pt x="1691453" y="1070067"/>
                  </a:moveTo>
                  <a:lnTo>
                    <a:pt x="1695647" y="1058768"/>
                  </a:lnTo>
                  <a:lnTo>
                    <a:pt x="1701864" y="1053834"/>
                  </a:lnTo>
                  <a:lnTo>
                    <a:pt x="1712275" y="1055413"/>
                  </a:lnTo>
                  <a:lnTo>
                    <a:pt x="1712275" y="1061876"/>
                  </a:lnTo>
                  <a:lnTo>
                    <a:pt x="1703936" y="1071744"/>
                  </a:lnTo>
                  <a:lnTo>
                    <a:pt x="1699792" y="1073372"/>
                  </a:lnTo>
                  <a:lnTo>
                    <a:pt x="1699792" y="1063504"/>
                  </a:lnTo>
                  <a:lnTo>
                    <a:pt x="1697670" y="1066711"/>
                  </a:lnTo>
                  <a:lnTo>
                    <a:pt x="1695647" y="1069968"/>
                  </a:lnTo>
                  <a:close/>
                  <a:moveTo>
                    <a:pt x="1687259" y="1061975"/>
                  </a:moveTo>
                  <a:lnTo>
                    <a:pt x="1689381" y="1063603"/>
                  </a:lnTo>
                  <a:lnTo>
                    <a:pt x="1693526" y="1057139"/>
                  </a:lnTo>
                  <a:lnTo>
                    <a:pt x="1689381" y="1049048"/>
                  </a:lnTo>
                  <a:lnTo>
                    <a:pt x="1685237" y="1053982"/>
                  </a:lnTo>
                  <a:close/>
                  <a:moveTo>
                    <a:pt x="1681141" y="1115065"/>
                  </a:moveTo>
                  <a:lnTo>
                    <a:pt x="1685335" y="1111858"/>
                  </a:lnTo>
                  <a:lnTo>
                    <a:pt x="1695746" y="1106924"/>
                  </a:lnTo>
                  <a:lnTo>
                    <a:pt x="1695746" y="1101990"/>
                  </a:lnTo>
                  <a:lnTo>
                    <a:pt x="1687358" y="1103569"/>
                  </a:lnTo>
                  <a:lnTo>
                    <a:pt x="1683213" y="1100362"/>
                  </a:lnTo>
                  <a:lnTo>
                    <a:pt x="1691552" y="1087434"/>
                  </a:lnTo>
                  <a:lnTo>
                    <a:pt x="1693624" y="1080971"/>
                  </a:lnTo>
                  <a:lnTo>
                    <a:pt x="1685335" y="1084227"/>
                  </a:lnTo>
                  <a:lnTo>
                    <a:pt x="1679020" y="1094095"/>
                  </a:lnTo>
                  <a:lnTo>
                    <a:pt x="1679020" y="1087632"/>
                  </a:lnTo>
                  <a:lnTo>
                    <a:pt x="1685335" y="1074754"/>
                  </a:lnTo>
                  <a:lnTo>
                    <a:pt x="1681141" y="1053784"/>
                  </a:lnTo>
                  <a:lnTo>
                    <a:pt x="1670730" y="1047321"/>
                  </a:lnTo>
                  <a:lnTo>
                    <a:pt x="1670730" y="1041054"/>
                  </a:lnTo>
                  <a:lnTo>
                    <a:pt x="1664464" y="1041054"/>
                  </a:lnTo>
                  <a:lnTo>
                    <a:pt x="1660320" y="1047518"/>
                  </a:lnTo>
                  <a:lnTo>
                    <a:pt x="1660320" y="1039426"/>
                  </a:lnTo>
                  <a:lnTo>
                    <a:pt x="1664464" y="1036219"/>
                  </a:lnTo>
                  <a:lnTo>
                    <a:pt x="1662392" y="1029756"/>
                  </a:lnTo>
                  <a:lnTo>
                    <a:pt x="1662392" y="1018457"/>
                  </a:lnTo>
                  <a:lnTo>
                    <a:pt x="1651932" y="1021713"/>
                  </a:lnTo>
                  <a:lnTo>
                    <a:pt x="1641521" y="1028127"/>
                  </a:lnTo>
                  <a:lnTo>
                    <a:pt x="1637376" y="1039426"/>
                  </a:lnTo>
                  <a:lnTo>
                    <a:pt x="1639498" y="1049294"/>
                  </a:lnTo>
                  <a:lnTo>
                    <a:pt x="1635304" y="1047715"/>
                  </a:lnTo>
                  <a:lnTo>
                    <a:pt x="1631110" y="1039624"/>
                  </a:lnTo>
                  <a:lnTo>
                    <a:pt x="1629087" y="1037995"/>
                  </a:lnTo>
                  <a:lnTo>
                    <a:pt x="1626966" y="1046087"/>
                  </a:lnTo>
                  <a:lnTo>
                    <a:pt x="1622821" y="1046087"/>
                  </a:lnTo>
                  <a:lnTo>
                    <a:pt x="1626966" y="1052551"/>
                  </a:lnTo>
                  <a:lnTo>
                    <a:pt x="1622821" y="1057485"/>
                  </a:lnTo>
                  <a:lnTo>
                    <a:pt x="1616555" y="1057485"/>
                  </a:lnTo>
                  <a:lnTo>
                    <a:pt x="1612410" y="1062419"/>
                  </a:lnTo>
                  <a:lnTo>
                    <a:pt x="1599730" y="1062419"/>
                  </a:lnTo>
                  <a:lnTo>
                    <a:pt x="1595585" y="1064047"/>
                  </a:lnTo>
                  <a:lnTo>
                    <a:pt x="1591440" y="1062419"/>
                  </a:lnTo>
                  <a:lnTo>
                    <a:pt x="1574714" y="1072287"/>
                  </a:lnTo>
                  <a:lnTo>
                    <a:pt x="1576836" y="1077221"/>
                  </a:lnTo>
                  <a:lnTo>
                    <a:pt x="1583102" y="1085313"/>
                  </a:lnTo>
                  <a:lnTo>
                    <a:pt x="1589319" y="1082056"/>
                  </a:lnTo>
                  <a:lnTo>
                    <a:pt x="1589319" y="1078849"/>
                  </a:lnTo>
                  <a:lnTo>
                    <a:pt x="1591440" y="1075642"/>
                  </a:lnTo>
                  <a:lnTo>
                    <a:pt x="1597657" y="1080576"/>
                  </a:lnTo>
                  <a:lnTo>
                    <a:pt x="1595585" y="1088619"/>
                  </a:lnTo>
                  <a:lnTo>
                    <a:pt x="1601851" y="1093553"/>
                  </a:lnTo>
                  <a:lnTo>
                    <a:pt x="1605996" y="1087138"/>
                  </a:lnTo>
                  <a:lnTo>
                    <a:pt x="1610140" y="1092072"/>
                  </a:lnTo>
                  <a:lnTo>
                    <a:pt x="1605996" y="1097006"/>
                  </a:lnTo>
                  <a:lnTo>
                    <a:pt x="1614334" y="1105049"/>
                  </a:lnTo>
                  <a:lnTo>
                    <a:pt x="1622673" y="1106677"/>
                  </a:lnTo>
                  <a:lnTo>
                    <a:pt x="1624745" y="1114769"/>
                  </a:lnTo>
                  <a:lnTo>
                    <a:pt x="1630962" y="1119703"/>
                  </a:lnTo>
                  <a:lnTo>
                    <a:pt x="1635156" y="1111611"/>
                  </a:lnTo>
                  <a:lnTo>
                    <a:pt x="1637228" y="1118075"/>
                  </a:lnTo>
                  <a:lnTo>
                    <a:pt x="1645567" y="1124538"/>
                  </a:lnTo>
                  <a:lnTo>
                    <a:pt x="1658050" y="1124538"/>
                  </a:lnTo>
                  <a:lnTo>
                    <a:pt x="1664316" y="1118075"/>
                  </a:lnTo>
                  <a:lnTo>
                    <a:pt x="1670582" y="1118075"/>
                  </a:lnTo>
                  <a:lnTo>
                    <a:pt x="1678871" y="1111611"/>
                  </a:lnTo>
                  <a:close/>
                  <a:moveTo>
                    <a:pt x="2418483" y="1073126"/>
                  </a:moveTo>
                  <a:lnTo>
                    <a:pt x="2418483" y="1068192"/>
                  </a:lnTo>
                  <a:lnTo>
                    <a:pt x="2416411" y="1064935"/>
                  </a:lnTo>
                  <a:lnTo>
                    <a:pt x="2420605" y="1060001"/>
                  </a:lnTo>
                  <a:lnTo>
                    <a:pt x="2426822" y="1056794"/>
                  </a:lnTo>
                  <a:lnTo>
                    <a:pt x="2431016" y="1058422"/>
                  </a:lnTo>
                  <a:lnTo>
                    <a:pt x="2433088" y="1061629"/>
                  </a:lnTo>
                  <a:lnTo>
                    <a:pt x="2437233" y="1061629"/>
                  </a:lnTo>
                  <a:lnTo>
                    <a:pt x="2441427" y="1064837"/>
                  </a:lnTo>
                  <a:lnTo>
                    <a:pt x="2437233" y="1069771"/>
                  </a:lnTo>
                  <a:lnTo>
                    <a:pt x="2431016" y="1071349"/>
                  </a:lnTo>
                  <a:lnTo>
                    <a:pt x="2428894" y="1069771"/>
                  </a:lnTo>
                  <a:lnTo>
                    <a:pt x="2422677" y="1071349"/>
                  </a:lnTo>
                  <a:lnTo>
                    <a:pt x="2420605" y="1074606"/>
                  </a:lnTo>
                  <a:close/>
                  <a:moveTo>
                    <a:pt x="2403681" y="1615277"/>
                  </a:moveTo>
                  <a:lnTo>
                    <a:pt x="2395589" y="1615277"/>
                  </a:lnTo>
                  <a:lnTo>
                    <a:pt x="2389323" y="1612070"/>
                  </a:lnTo>
                  <a:lnTo>
                    <a:pt x="2378912" y="1608863"/>
                  </a:lnTo>
                  <a:lnTo>
                    <a:pt x="2374768" y="1605607"/>
                  </a:lnTo>
                  <a:lnTo>
                    <a:pt x="2368502" y="1603978"/>
                  </a:lnTo>
                  <a:lnTo>
                    <a:pt x="2360163" y="1597515"/>
                  </a:lnTo>
                  <a:lnTo>
                    <a:pt x="2358091" y="1592581"/>
                  </a:lnTo>
                  <a:lnTo>
                    <a:pt x="2351825" y="1590953"/>
                  </a:lnTo>
                  <a:lnTo>
                    <a:pt x="2347680" y="1590953"/>
                  </a:lnTo>
                  <a:lnTo>
                    <a:pt x="2343535" y="1589374"/>
                  </a:lnTo>
                  <a:lnTo>
                    <a:pt x="2341414" y="1592581"/>
                  </a:lnTo>
                  <a:lnTo>
                    <a:pt x="2331003" y="1587647"/>
                  </a:lnTo>
                  <a:lnTo>
                    <a:pt x="2328931" y="1584440"/>
                  </a:lnTo>
                  <a:lnTo>
                    <a:pt x="2324737" y="1581233"/>
                  </a:lnTo>
                  <a:lnTo>
                    <a:pt x="2320592" y="1581233"/>
                  </a:lnTo>
                  <a:lnTo>
                    <a:pt x="2312303" y="1574769"/>
                  </a:lnTo>
                  <a:lnTo>
                    <a:pt x="2312303" y="1569835"/>
                  </a:lnTo>
                  <a:lnTo>
                    <a:pt x="2310231" y="1569835"/>
                  </a:lnTo>
                  <a:lnTo>
                    <a:pt x="2306037" y="1568256"/>
                  </a:lnTo>
                  <a:lnTo>
                    <a:pt x="2301892" y="1561793"/>
                  </a:lnTo>
                  <a:lnTo>
                    <a:pt x="2306037" y="1560164"/>
                  </a:lnTo>
                  <a:lnTo>
                    <a:pt x="2308158" y="1558536"/>
                  </a:lnTo>
                  <a:lnTo>
                    <a:pt x="2301892" y="1555329"/>
                  </a:lnTo>
                  <a:lnTo>
                    <a:pt x="2299820" y="1556957"/>
                  </a:lnTo>
                  <a:lnTo>
                    <a:pt x="2297747" y="1558536"/>
                  </a:lnTo>
                  <a:lnTo>
                    <a:pt x="2293554" y="1556957"/>
                  </a:lnTo>
                  <a:lnTo>
                    <a:pt x="2295626" y="1555329"/>
                  </a:lnTo>
                  <a:lnTo>
                    <a:pt x="2289409" y="1555329"/>
                  </a:lnTo>
                  <a:lnTo>
                    <a:pt x="2276877" y="1549260"/>
                  </a:lnTo>
                  <a:lnTo>
                    <a:pt x="2272683" y="1549260"/>
                  </a:lnTo>
                  <a:lnTo>
                    <a:pt x="2268489" y="1546053"/>
                  </a:lnTo>
                  <a:lnTo>
                    <a:pt x="2262272" y="1541119"/>
                  </a:lnTo>
                  <a:lnTo>
                    <a:pt x="2264344" y="1537862"/>
                  </a:lnTo>
                  <a:lnTo>
                    <a:pt x="2258078" y="1536284"/>
                  </a:lnTo>
                  <a:lnTo>
                    <a:pt x="2253933" y="1533027"/>
                  </a:lnTo>
                  <a:lnTo>
                    <a:pt x="2249789" y="1528093"/>
                  </a:lnTo>
                  <a:lnTo>
                    <a:pt x="2249789" y="1520051"/>
                  </a:lnTo>
                  <a:lnTo>
                    <a:pt x="2243522" y="1516794"/>
                  </a:lnTo>
                  <a:lnTo>
                    <a:pt x="2245595" y="1515215"/>
                  </a:lnTo>
                  <a:lnTo>
                    <a:pt x="2253933" y="1515215"/>
                  </a:lnTo>
                  <a:lnTo>
                    <a:pt x="2268489" y="1507123"/>
                  </a:lnTo>
                  <a:lnTo>
                    <a:pt x="2270610" y="1503867"/>
                  </a:lnTo>
                  <a:lnTo>
                    <a:pt x="2260199" y="1505495"/>
                  </a:lnTo>
                  <a:lnTo>
                    <a:pt x="2256055" y="1499032"/>
                  </a:lnTo>
                  <a:lnTo>
                    <a:pt x="2251861" y="1492617"/>
                  </a:lnTo>
                  <a:lnTo>
                    <a:pt x="2253933" y="1489361"/>
                  </a:lnTo>
                  <a:lnTo>
                    <a:pt x="2249789" y="1490989"/>
                  </a:lnTo>
                  <a:lnTo>
                    <a:pt x="2247667" y="1497453"/>
                  </a:lnTo>
                  <a:lnTo>
                    <a:pt x="2245595" y="1502387"/>
                  </a:lnTo>
                  <a:lnTo>
                    <a:pt x="2239378" y="1495923"/>
                  </a:lnTo>
                  <a:lnTo>
                    <a:pt x="2243522" y="1492716"/>
                  </a:lnTo>
                  <a:lnTo>
                    <a:pt x="2245595" y="1482848"/>
                  </a:lnTo>
                  <a:lnTo>
                    <a:pt x="2241450" y="1489312"/>
                  </a:lnTo>
                  <a:lnTo>
                    <a:pt x="2237256" y="1486104"/>
                  </a:lnTo>
                  <a:lnTo>
                    <a:pt x="2237256" y="1479641"/>
                  </a:lnTo>
                  <a:lnTo>
                    <a:pt x="2233112" y="1481269"/>
                  </a:lnTo>
                  <a:lnTo>
                    <a:pt x="2231039" y="1474805"/>
                  </a:lnTo>
                  <a:lnTo>
                    <a:pt x="2231039" y="1469871"/>
                  </a:lnTo>
                  <a:lnTo>
                    <a:pt x="2228967" y="1461780"/>
                  </a:lnTo>
                  <a:lnTo>
                    <a:pt x="2222701" y="1458572"/>
                  </a:lnTo>
                  <a:lnTo>
                    <a:pt x="2222701" y="1455513"/>
                  </a:lnTo>
                  <a:lnTo>
                    <a:pt x="2231039" y="1449099"/>
                  </a:lnTo>
                  <a:lnTo>
                    <a:pt x="2228967" y="1445843"/>
                  </a:lnTo>
                  <a:lnTo>
                    <a:pt x="2216484" y="1453934"/>
                  </a:lnTo>
                  <a:lnTo>
                    <a:pt x="2216484" y="1460447"/>
                  </a:lnTo>
                  <a:lnTo>
                    <a:pt x="2214412" y="1455513"/>
                  </a:lnTo>
                  <a:lnTo>
                    <a:pt x="2218606" y="1449099"/>
                  </a:lnTo>
                  <a:lnTo>
                    <a:pt x="2212290" y="1447471"/>
                  </a:lnTo>
                  <a:lnTo>
                    <a:pt x="2210267" y="1449099"/>
                  </a:lnTo>
                  <a:lnTo>
                    <a:pt x="2208195" y="1447471"/>
                  </a:lnTo>
                  <a:lnTo>
                    <a:pt x="2204001" y="1457339"/>
                  </a:lnTo>
                  <a:lnTo>
                    <a:pt x="2197735" y="1460595"/>
                  </a:lnTo>
                  <a:lnTo>
                    <a:pt x="2197735" y="1454132"/>
                  </a:lnTo>
                  <a:lnTo>
                    <a:pt x="2201879" y="1449198"/>
                  </a:lnTo>
                  <a:lnTo>
                    <a:pt x="2201879" y="1439330"/>
                  </a:lnTo>
                  <a:lnTo>
                    <a:pt x="2197735" y="1440909"/>
                  </a:lnTo>
                  <a:lnTo>
                    <a:pt x="2191468" y="1445843"/>
                  </a:lnTo>
                  <a:lnTo>
                    <a:pt x="2187324" y="1445843"/>
                  </a:lnTo>
                  <a:lnTo>
                    <a:pt x="2183179" y="1450777"/>
                  </a:lnTo>
                  <a:lnTo>
                    <a:pt x="2181058" y="1454033"/>
                  </a:lnTo>
                  <a:lnTo>
                    <a:pt x="2172769" y="1452405"/>
                  </a:lnTo>
                  <a:lnTo>
                    <a:pt x="2168574" y="1447471"/>
                  </a:lnTo>
                  <a:lnTo>
                    <a:pt x="2162210" y="1447471"/>
                  </a:lnTo>
                  <a:lnTo>
                    <a:pt x="2155943" y="1437603"/>
                  </a:lnTo>
                  <a:lnTo>
                    <a:pt x="2153871" y="1437603"/>
                  </a:lnTo>
                  <a:lnTo>
                    <a:pt x="2151799" y="1442537"/>
                  </a:lnTo>
                  <a:lnTo>
                    <a:pt x="2151799" y="1449000"/>
                  </a:lnTo>
                  <a:lnTo>
                    <a:pt x="2147605" y="1450579"/>
                  </a:lnTo>
                  <a:lnTo>
                    <a:pt x="2141388" y="1449000"/>
                  </a:lnTo>
                  <a:lnTo>
                    <a:pt x="2137539" y="1450579"/>
                  </a:lnTo>
                  <a:lnTo>
                    <a:pt x="2131323" y="1450579"/>
                  </a:lnTo>
                  <a:lnTo>
                    <a:pt x="2127129" y="1453836"/>
                  </a:lnTo>
                  <a:lnTo>
                    <a:pt x="2120912" y="1453836"/>
                  </a:lnTo>
                  <a:lnTo>
                    <a:pt x="2116718" y="1457043"/>
                  </a:lnTo>
                  <a:lnTo>
                    <a:pt x="2110501" y="1455415"/>
                  </a:lnTo>
                  <a:lnTo>
                    <a:pt x="2100041" y="1453836"/>
                  </a:lnTo>
                  <a:lnTo>
                    <a:pt x="2102113" y="1450579"/>
                  </a:lnTo>
                  <a:lnTo>
                    <a:pt x="2093775" y="1442537"/>
                  </a:lnTo>
                  <a:lnTo>
                    <a:pt x="2091702" y="1445744"/>
                  </a:lnTo>
                  <a:lnTo>
                    <a:pt x="2085485" y="1440810"/>
                  </a:lnTo>
                  <a:lnTo>
                    <a:pt x="2079219" y="1427883"/>
                  </a:lnTo>
                  <a:lnTo>
                    <a:pt x="2083364" y="1421469"/>
                  </a:lnTo>
                  <a:lnTo>
                    <a:pt x="2087558" y="1418261"/>
                  </a:lnTo>
                  <a:lnTo>
                    <a:pt x="2087558" y="1411798"/>
                  </a:lnTo>
                  <a:lnTo>
                    <a:pt x="2093775" y="1406864"/>
                  </a:lnTo>
                  <a:lnTo>
                    <a:pt x="2102113" y="1406864"/>
                  </a:lnTo>
                  <a:lnTo>
                    <a:pt x="2106307" y="1403657"/>
                  </a:lnTo>
                  <a:lnTo>
                    <a:pt x="2112524" y="1402028"/>
                  </a:lnTo>
                  <a:lnTo>
                    <a:pt x="2114645" y="1402028"/>
                  </a:lnTo>
                  <a:lnTo>
                    <a:pt x="2116718" y="1397094"/>
                  </a:lnTo>
                  <a:lnTo>
                    <a:pt x="2112524" y="1393887"/>
                  </a:lnTo>
                  <a:lnTo>
                    <a:pt x="2112524" y="1388953"/>
                  </a:lnTo>
                  <a:lnTo>
                    <a:pt x="2118790" y="1388953"/>
                  </a:lnTo>
                  <a:lnTo>
                    <a:pt x="2118790" y="1382490"/>
                  </a:lnTo>
                  <a:lnTo>
                    <a:pt x="2120912" y="1380911"/>
                  </a:lnTo>
                  <a:lnTo>
                    <a:pt x="2129201" y="1390779"/>
                  </a:lnTo>
                  <a:lnTo>
                    <a:pt x="2135467" y="1390779"/>
                  </a:lnTo>
                  <a:lnTo>
                    <a:pt x="2143806" y="1395713"/>
                  </a:lnTo>
                  <a:lnTo>
                    <a:pt x="2150023" y="1400647"/>
                  </a:lnTo>
                  <a:lnTo>
                    <a:pt x="2152144" y="1402226"/>
                  </a:lnTo>
                  <a:lnTo>
                    <a:pt x="2160433" y="1405482"/>
                  </a:lnTo>
                  <a:lnTo>
                    <a:pt x="2164627" y="1402226"/>
                  </a:lnTo>
                  <a:lnTo>
                    <a:pt x="2170844" y="1402226"/>
                  </a:lnTo>
                  <a:lnTo>
                    <a:pt x="2172966" y="1405482"/>
                  </a:lnTo>
                  <a:lnTo>
                    <a:pt x="2177012" y="1405482"/>
                  </a:lnTo>
                  <a:lnTo>
                    <a:pt x="2185350" y="1407061"/>
                  </a:lnTo>
                  <a:lnTo>
                    <a:pt x="2191567" y="1402127"/>
                  </a:lnTo>
                  <a:lnTo>
                    <a:pt x="2193689" y="1395664"/>
                  </a:lnTo>
                  <a:lnTo>
                    <a:pt x="2204100" y="1395664"/>
                  </a:lnTo>
                  <a:lnTo>
                    <a:pt x="2204100" y="1398920"/>
                  </a:lnTo>
                  <a:lnTo>
                    <a:pt x="2201978" y="1400548"/>
                  </a:lnTo>
                  <a:lnTo>
                    <a:pt x="2206172" y="1403755"/>
                  </a:lnTo>
                  <a:lnTo>
                    <a:pt x="2212389" y="1398821"/>
                  </a:lnTo>
                  <a:lnTo>
                    <a:pt x="2216583" y="1393887"/>
                  </a:lnTo>
                  <a:lnTo>
                    <a:pt x="2222849" y="1388953"/>
                  </a:lnTo>
                  <a:lnTo>
                    <a:pt x="2224921" y="1393887"/>
                  </a:lnTo>
                  <a:lnTo>
                    <a:pt x="2224921" y="1401930"/>
                  </a:lnTo>
                  <a:lnTo>
                    <a:pt x="2226994" y="1406864"/>
                  </a:lnTo>
                  <a:lnTo>
                    <a:pt x="2229115" y="1400450"/>
                  </a:lnTo>
                  <a:lnTo>
                    <a:pt x="2233260" y="1397193"/>
                  </a:lnTo>
                  <a:lnTo>
                    <a:pt x="2235332" y="1398821"/>
                  </a:lnTo>
                  <a:lnTo>
                    <a:pt x="2239526" y="1397193"/>
                  </a:lnTo>
                  <a:lnTo>
                    <a:pt x="2237404" y="1381059"/>
                  </a:lnTo>
                  <a:lnTo>
                    <a:pt x="2231286" y="1373263"/>
                  </a:lnTo>
                  <a:lnTo>
                    <a:pt x="2231286" y="1368329"/>
                  </a:lnTo>
                  <a:lnTo>
                    <a:pt x="2227092" y="1363395"/>
                  </a:lnTo>
                  <a:lnTo>
                    <a:pt x="2229214" y="1355303"/>
                  </a:lnTo>
                  <a:lnTo>
                    <a:pt x="2231286" y="1353675"/>
                  </a:lnTo>
                  <a:lnTo>
                    <a:pt x="2235431" y="1352047"/>
                  </a:lnTo>
                  <a:lnTo>
                    <a:pt x="2245842" y="1345632"/>
                  </a:lnTo>
                  <a:lnTo>
                    <a:pt x="2258325" y="1339169"/>
                  </a:lnTo>
                  <a:lnTo>
                    <a:pt x="2262519" y="1335962"/>
                  </a:lnTo>
                  <a:lnTo>
                    <a:pt x="2272929" y="1329498"/>
                  </a:lnTo>
                  <a:lnTo>
                    <a:pt x="2275002" y="1329498"/>
                  </a:lnTo>
                  <a:lnTo>
                    <a:pt x="2279146" y="1331077"/>
                  </a:lnTo>
                  <a:lnTo>
                    <a:pt x="2285412" y="1331077"/>
                  </a:lnTo>
                  <a:lnTo>
                    <a:pt x="2289606" y="1329498"/>
                  </a:lnTo>
                  <a:lnTo>
                    <a:pt x="2279146" y="1326242"/>
                  </a:lnTo>
                  <a:lnTo>
                    <a:pt x="2279146" y="1321308"/>
                  </a:lnTo>
                  <a:lnTo>
                    <a:pt x="2291679" y="1311440"/>
                  </a:lnTo>
                  <a:lnTo>
                    <a:pt x="2293751" y="1306505"/>
                  </a:lnTo>
                  <a:lnTo>
                    <a:pt x="2297945" y="1304877"/>
                  </a:lnTo>
                  <a:lnTo>
                    <a:pt x="2308356" y="1306505"/>
                  </a:lnTo>
                  <a:lnTo>
                    <a:pt x="2318766" y="1303249"/>
                  </a:lnTo>
                  <a:lnTo>
                    <a:pt x="2320839" y="1300042"/>
                  </a:lnTo>
                  <a:lnTo>
                    <a:pt x="2316645" y="1293578"/>
                  </a:lnTo>
                  <a:lnTo>
                    <a:pt x="2318766" y="1290371"/>
                  </a:lnTo>
                  <a:lnTo>
                    <a:pt x="2320839" y="1279072"/>
                  </a:lnTo>
                  <a:lnTo>
                    <a:pt x="2320839" y="1269204"/>
                  </a:lnTo>
                  <a:lnTo>
                    <a:pt x="2324983" y="1264270"/>
                  </a:lnTo>
                  <a:lnTo>
                    <a:pt x="2324983" y="1257856"/>
                  </a:lnTo>
                  <a:lnTo>
                    <a:pt x="2318766" y="1256228"/>
                  </a:lnTo>
                  <a:lnTo>
                    <a:pt x="2318766" y="1254599"/>
                  </a:lnTo>
                  <a:lnTo>
                    <a:pt x="2322961" y="1246557"/>
                  </a:lnTo>
                  <a:lnTo>
                    <a:pt x="2327105" y="1244929"/>
                  </a:lnTo>
                  <a:lnTo>
                    <a:pt x="2327105" y="1239995"/>
                  </a:lnTo>
                  <a:lnTo>
                    <a:pt x="2331250" y="1235061"/>
                  </a:lnTo>
                  <a:lnTo>
                    <a:pt x="2331250" y="1231804"/>
                  </a:lnTo>
                  <a:lnTo>
                    <a:pt x="2327105" y="1231804"/>
                  </a:lnTo>
                  <a:lnTo>
                    <a:pt x="2322961" y="1236738"/>
                  </a:lnTo>
                  <a:lnTo>
                    <a:pt x="2322961" y="1239995"/>
                  </a:lnTo>
                  <a:lnTo>
                    <a:pt x="2320839" y="1239995"/>
                  </a:lnTo>
                  <a:lnTo>
                    <a:pt x="2318766" y="1236738"/>
                  </a:lnTo>
                  <a:lnTo>
                    <a:pt x="2320839" y="1231804"/>
                  </a:lnTo>
                  <a:lnTo>
                    <a:pt x="2316645" y="1230225"/>
                  </a:lnTo>
                  <a:lnTo>
                    <a:pt x="2304162" y="1228597"/>
                  </a:lnTo>
                  <a:lnTo>
                    <a:pt x="2297945" y="1225390"/>
                  </a:lnTo>
                  <a:lnTo>
                    <a:pt x="2300017" y="1222134"/>
                  </a:lnTo>
                  <a:lnTo>
                    <a:pt x="2310428" y="1218926"/>
                  </a:lnTo>
                  <a:lnTo>
                    <a:pt x="2308356" y="1215670"/>
                  </a:lnTo>
                  <a:lnTo>
                    <a:pt x="2304162" y="1214091"/>
                  </a:lnTo>
                  <a:lnTo>
                    <a:pt x="2308356" y="1207628"/>
                  </a:lnTo>
                  <a:lnTo>
                    <a:pt x="2308356" y="1204420"/>
                  </a:lnTo>
                  <a:lnTo>
                    <a:pt x="2300017" y="1199486"/>
                  </a:lnTo>
                  <a:lnTo>
                    <a:pt x="2297945" y="1199486"/>
                  </a:lnTo>
                  <a:lnTo>
                    <a:pt x="2295823" y="1204420"/>
                  </a:lnTo>
                  <a:lnTo>
                    <a:pt x="2297945" y="1207628"/>
                  </a:lnTo>
                  <a:lnTo>
                    <a:pt x="2295823" y="1210835"/>
                  </a:lnTo>
                  <a:lnTo>
                    <a:pt x="2287534" y="1212463"/>
                  </a:lnTo>
                  <a:lnTo>
                    <a:pt x="2285412" y="1207529"/>
                  </a:lnTo>
                  <a:lnTo>
                    <a:pt x="2283340" y="1205901"/>
                  </a:lnTo>
                  <a:lnTo>
                    <a:pt x="2281268" y="1199437"/>
                  </a:lnTo>
                  <a:lnTo>
                    <a:pt x="2287534" y="1194503"/>
                  </a:lnTo>
                  <a:lnTo>
                    <a:pt x="2285412" y="1189569"/>
                  </a:lnTo>
                  <a:lnTo>
                    <a:pt x="2275002" y="1191197"/>
                  </a:lnTo>
                  <a:lnTo>
                    <a:pt x="2277123" y="1189569"/>
                  </a:lnTo>
                  <a:lnTo>
                    <a:pt x="2283340" y="1186362"/>
                  </a:lnTo>
                  <a:lnTo>
                    <a:pt x="2285412" y="1184734"/>
                  </a:lnTo>
                  <a:lnTo>
                    <a:pt x="2281268" y="1183105"/>
                  </a:lnTo>
                  <a:lnTo>
                    <a:pt x="2285412" y="1179898"/>
                  </a:lnTo>
                  <a:lnTo>
                    <a:pt x="2289606" y="1178270"/>
                  </a:lnTo>
                  <a:lnTo>
                    <a:pt x="2289606" y="1175063"/>
                  </a:lnTo>
                  <a:lnTo>
                    <a:pt x="2285412" y="1173435"/>
                  </a:lnTo>
                  <a:lnTo>
                    <a:pt x="2279146" y="1176691"/>
                  </a:lnTo>
                  <a:lnTo>
                    <a:pt x="2275002" y="1183105"/>
                  </a:lnTo>
                  <a:lnTo>
                    <a:pt x="2270857" y="1186362"/>
                  </a:lnTo>
                  <a:lnTo>
                    <a:pt x="2268736" y="1184734"/>
                  </a:lnTo>
                  <a:lnTo>
                    <a:pt x="2266712" y="1178270"/>
                  </a:lnTo>
                  <a:lnTo>
                    <a:pt x="2262519" y="1179898"/>
                  </a:lnTo>
                  <a:lnTo>
                    <a:pt x="2260446" y="1184832"/>
                  </a:lnTo>
                  <a:lnTo>
                    <a:pt x="2254180" y="1184832"/>
                  </a:lnTo>
                  <a:lnTo>
                    <a:pt x="2250035" y="1188089"/>
                  </a:lnTo>
                  <a:lnTo>
                    <a:pt x="2243769" y="1188089"/>
                  </a:lnTo>
                  <a:lnTo>
                    <a:pt x="2239625" y="1189668"/>
                  </a:lnTo>
                  <a:lnTo>
                    <a:pt x="2237503" y="1191296"/>
                  </a:lnTo>
                  <a:lnTo>
                    <a:pt x="2235431" y="1191296"/>
                  </a:lnTo>
                  <a:lnTo>
                    <a:pt x="2233358" y="1188089"/>
                  </a:lnTo>
                  <a:lnTo>
                    <a:pt x="2237503" y="1183155"/>
                  </a:lnTo>
                  <a:lnTo>
                    <a:pt x="2237503" y="1181576"/>
                  </a:lnTo>
                  <a:lnTo>
                    <a:pt x="2233358" y="1179948"/>
                  </a:lnTo>
                  <a:lnTo>
                    <a:pt x="2239625" y="1173484"/>
                  </a:lnTo>
                  <a:lnTo>
                    <a:pt x="2241697" y="1171905"/>
                  </a:lnTo>
                  <a:lnTo>
                    <a:pt x="2245842" y="1173484"/>
                  </a:lnTo>
                  <a:lnTo>
                    <a:pt x="2250035" y="1176740"/>
                  </a:lnTo>
                  <a:lnTo>
                    <a:pt x="2254180" y="1175112"/>
                  </a:lnTo>
                  <a:lnTo>
                    <a:pt x="2258325" y="1173484"/>
                  </a:lnTo>
                  <a:lnTo>
                    <a:pt x="2264591" y="1170277"/>
                  </a:lnTo>
                  <a:lnTo>
                    <a:pt x="2266712" y="1163813"/>
                  </a:lnTo>
                  <a:lnTo>
                    <a:pt x="2264591" y="1160606"/>
                  </a:lnTo>
                  <a:lnTo>
                    <a:pt x="2260446" y="1157350"/>
                  </a:lnTo>
                  <a:lnTo>
                    <a:pt x="2252108" y="1155721"/>
                  </a:lnTo>
                  <a:lnTo>
                    <a:pt x="2250035" y="1150787"/>
                  </a:lnTo>
                  <a:lnTo>
                    <a:pt x="2250035" y="1147580"/>
                  </a:lnTo>
                  <a:lnTo>
                    <a:pt x="2247914" y="1144373"/>
                  </a:lnTo>
                  <a:lnTo>
                    <a:pt x="2247914" y="1139439"/>
                  </a:lnTo>
                  <a:lnTo>
                    <a:pt x="2239625" y="1139439"/>
                  </a:lnTo>
                  <a:lnTo>
                    <a:pt x="2239625" y="1137860"/>
                  </a:lnTo>
                  <a:lnTo>
                    <a:pt x="2235431" y="1136232"/>
                  </a:lnTo>
                  <a:lnTo>
                    <a:pt x="2233358" y="1131298"/>
                  </a:lnTo>
                  <a:lnTo>
                    <a:pt x="2239625" y="1129670"/>
                  </a:lnTo>
                  <a:lnTo>
                    <a:pt x="2241697" y="1132926"/>
                  </a:lnTo>
                  <a:lnTo>
                    <a:pt x="2245842" y="1131298"/>
                  </a:lnTo>
                  <a:lnTo>
                    <a:pt x="2245842" y="1129867"/>
                  </a:lnTo>
                  <a:lnTo>
                    <a:pt x="2252108" y="1126611"/>
                  </a:lnTo>
                  <a:lnTo>
                    <a:pt x="2243769" y="1124982"/>
                  </a:lnTo>
                  <a:lnTo>
                    <a:pt x="2239625" y="1121775"/>
                  </a:lnTo>
                  <a:lnTo>
                    <a:pt x="2235431" y="1121775"/>
                  </a:lnTo>
                  <a:lnTo>
                    <a:pt x="2233358" y="1120147"/>
                  </a:lnTo>
                  <a:lnTo>
                    <a:pt x="2229214" y="1118568"/>
                  </a:lnTo>
                  <a:lnTo>
                    <a:pt x="2225020" y="1123502"/>
                  </a:lnTo>
                  <a:lnTo>
                    <a:pt x="2222948" y="1123502"/>
                  </a:lnTo>
                  <a:lnTo>
                    <a:pt x="2222948" y="1119999"/>
                  </a:lnTo>
                  <a:lnTo>
                    <a:pt x="2229214" y="1110131"/>
                  </a:lnTo>
                  <a:lnTo>
                    <a:pt x="2233358" y="1102088"/>
                  </a:lnTo>
                  <a:lnTo>
                    <a:pt x="2235431" y="1100460"/>
                  </a:lnTo>
                  <a:lnTo>
                    <a:pt x="2239625" y="1092368"/>
                  </a:lnTo>
                  <a:lnTo>
                    <a:pt x="2239625" y="1085954"/>
                  </a:lnTo>
                  <a:lnTo>
                    <a:pt x="2241697" y="1082698"/>
                  </a:lnTo>
                  <a:lnTo>
                    <a:pt x="2239625" y="1079491"/>
                  </a:lnTo>
                  <a:lnTo>
                    <a:pt x="2231286" y="1082698"/>
                  </a:lnTo>
                  <a:lnTo>
                    <a:pt x="2229214" y="1079491"/>
                  </a:lnTo>
                  <a:lnTo>
                    <a:pt x="2225020" y="1081070"/>
                  </a:lnTo>
                  <a:lnTo>
                    <a:pt x="2225020" y="1084326"/>
                  </a:lnTo>
                  <a:lnTo>
                    <a:pt x="2220875" y="1084326"/>
                  </a:lnTo>
                  <a:lnTo>
                    <a:pt x="2212487" y="1076234"/>
                  </a:lnTo>
                  <a:lnTo>
                    <a:pt x="2212487" y="1071300"/>
                  </a:lnTo>
                  <a:lnTo>
                    <a:pt x="2208392" y="1068093"/>
                  </a:lnTo>
                  <a:lnTo>
                    <a:pt x="2206271" y="1066465"/>
                  </a:lnTo>
                  <a:lnTo>
                    <a:pt x="2206271" y="1060001"/>
                  </a:lnTo>
                  <a:lnTo>
                    <a:pt x="2214609" y="1056794"/>
                  </a:lnTo>
                  <a:lnTo>
                    <a:pt x="2214609" y="1055166"/>
                  </a:lnTo>
                  <a:lnTo>
                    <a:pt x="2212487" y="1050232"/>
                  </a:lnTo>
                  <a:lnTo>
                    <a:pt x="2212487" y="1045298"/>
                  </a:lnTo>
                  <a:lnTo>
                    <a:pt x="2208392" y="1045298"/>
                  </a:lnTo>
                  <a:lnTo>
                    <a:pt x="2204198" y="1048505"/>
                  </a:lnTo>
                  <a:lnTo>
                    <a:pt x="2204198" y="1058373"/>
                  </a:lnTo>
                  <a:lnTo>
                    <a:pt x="2200054" y="1063307"/>
                  </a:lnTo>
                  <a:lnTo>
                    <a:pt x="2197932" y="1056843"/>
                  </a:lnTo>
                  <a:lnTo>
                    <a:pt x="2195860" y="1055215"/>
                  </a:lnTo>
                  <a:lnTo>
                    <a:pt x="2193788" y="1056843"/>
                  </a:lnTo>
                  <a:lnTo>
                    <a:pt x="2193788" y="1060051"/>
                  </a:lnTo>
                  <a:lnTo>
                    <a:pt x="2189593" y="1061679"/>
                  </a:lnTo>
                  <a:lnTo>
                    <a:pt x="2187521" y="1068142"/>
                  </a:lnTo>
                  <a:lnTo>
                    <a:pt x="2193788" y="1074606"/>
                  </a:lnTo>
                  <a:lnTo>
                    <a:pt x="2197932" y="1074606"/>
                  </a:lnTo>
                  <a:lnTo>
                    <a:pt x="2204198" y="1084474"/>
                  </a:lnTo>
                  <a:lnTo>
                    <a:pt x="2206271" y="1087681"/>
                  </a:lnTo>
                  <a:lnTo>
                    <a:pt x="2204198" y="1094145"/>
                  </a:lnTo>
                  <a:lnTo>
                    <a:pt x="2204198" y="1099079"/>
                  </a:lnTo>
                  <a:lnTo>
                    <a:pt x="2200054" y="1105542"/>
                  </a:lnTo>
                  <a:lnTo>
                    <a:pt x="2193788" y="1108749"/>
                  </a:lnTo>
                  <a:lnTo>
                    <a:pt x="2178985" y="1108749"/>
                  </a:lnTo>
                  <a:lnTo>
                    <a:pt x="2176913" y="1107171"/>
                  </a:lnTo>
                  <a:lnTo>
                    <a:pt x="2170598" y="1107171"/>
                  </a:lnTo>
                  <a:lnTo>
                    <a:pt x="2162308" y="1103914"/>
                  </a:lnTo>
                  <a:lnTo>
                    <a:pt x="2164381" y="1100707"/>
                  </a:lnTo>
                  <a:lnTo>
                    <a:pt x="2164381" y="1095773"/>
                  </a:lnTo>
                  <a:lnTo>
                    <a:pt x="2153970" y="1095773"/>
                  </a:lnTo>
                  <a:lnTo>
                    <a:pt x="2141487" y="1090839"/>
                  </a:lnTo>
                  <a:lnTo>
                    <a:pt x="2131076" y="1089211"/>
                  </a:lnTo>
                  <a:lnTo>
                    <a:pt x="2137293" y="1100510"/>
                  </a:lnTo>
                  <a:lnTo>
                    <a:pt x="2139365" y="1106973"/>
                  </a:lnTo>
                  <a:lnTo>
                    <a:pt x="2139365" y="1108552"/>
                  </a:lnTo>
                  <a:lnTo>
                    <a:pt x="2133148" y="1108552"/>
                  </a:lnTo>
                  <a:lnTo>
                    <a:pt x="2128954" y="1102138"/>
                  </a:lnTo>
                  <a:lnTo>
                    <a:pt x="2122688" y="1097204"/>
                  </a:lnTo>
                  <a:lnTo>
                    <a:pt x="2120665" y="1095576"/>
                  </a:lnTo>
                  <a:lnTo>
                    <a:pt x="2118544" y="1090642"/>
                  </a:lnTo>
                  <a:lnTo>
                    <a:pt x="2112277" y="1085708"/>
                  </a:lnTo>
                  <a:lnTo>
                    <a:pt x="2106060" y="1079244"/>
                  </a:lnTo>
                  <a:lnTo>
                    <a:pt x="2106060" y="1075987"/>
                  </a:lnTo>
                  <a:lnTo>
                    <a:pt x="2101866" y="1075987"/>
                  </a:lnTo>
                  <a:lnTo>
                    <a:pt x="2095649" y="1069573"/>
                  </a:lnTo>
                  <a:lnTo>
                    <a:pt x="2091455" y="1067945"/>
                  </a:lnTo>
                  <a:lnTo>
                    <a:pt x="2089383" y="1064688"/>
                  </a:lnTo>
                  <a:lnTo>
                    <a:pt x="2083117" y="1063110"/>
                  </a:lnTo>
                  <a:lnTo>
                    <a:pt x="2085239" y="1066317"/>
                  </a:lnTo>
                  <a:lnTo>
                    <a:pt x="2097722" y="1076185"/>
                  </a:lnTo>
                  <a:lnTo>
                    <a:pt x="2101866" y="1081119"/>
                  </a:lnTo>
                  <a:lnTo>
                    <a:pt x="2106060" y="1086053"/>
                  </a:lnTo>
                  <a:lnTo>
                    <a:pt x="2112277" y="1089260"/>
                  </a:lnTo>
                  <a:lnTo>
                    <a:pt x="2114399" y="1094194"/>
                  </a:lnTo>
                  <a:lnTo>
                    <a:pt x="2110254" y="1099128"/>
                  </a:lnTo>
                  <a:lnTo>
                    <a:pt x="2108133" y="1095921"/>
                  </a:lnTo>
                  <a:lnTo>
                    <a:pt x="2103939" y="1099128"/>
                  </a:lnTo>
                  <a:lnTo>
                    <a:pt x="2093528" y="1094194"/>
                  </a:lnTo>
                  <a:lnTo>
                    <a:pt x="2089383" y="1094194"/>
                  </a:lnTo>
                  <a:lnTo>
                    <a:pt x="2085239" y="1089260"/>
                  </a:lnTo>
                  <a:lnTo>
                    <a:pt x="2078972" y="1087632"/>
                  </a:lnTo>
                  <a:lnTo>
                    <a:pt x="2076900" y="1082698"/>
                  </a:lnTo>
                  <a:lnTo>
                    <a:pt x="2066440" y="1084326"/>
                  </a:lnTo>
                  <a:lnTo>
                    <a:pt x="2060223" y="1087533"/>
                  </a:lnTo>
                  <a:lnTo>
                    <a:pt x="2054006" y="1082599"/>
                  </a:lnTo>
                  <a:lnTo>
                    <a:pt x="2045618" y="1080971"/>
                  </a:lnTo>
                  <a:lnTo>
                    <a:pt x="2039401" y="1082599"/>
                  </a:lnTo>
                  <a:lnTo>
                    <a:pt x="2037329" y="1077665"/>
                  </a:lnTo>
                  <a:lnTo>
                    <a:pt x="2028991" y="1072731"/>
                  </a:lnTo>
                  <a:lnTo>
                    <a:pt x="2026918" y="1069524"/>
                  </a:lnTo>
                  <a:lnTo>
                    <a:pt x="2037329" y="1061432"/>
                  </a:lnTo>
                  <a:lnTo>
                    <a:pt x="2041474" y="1059804"/>
                  </a:lnTo>
                  <a:lnTo>
                    <a:pt x="2041474" y="1056597"/>
                  </a:lnTo>
                  <a:lnTo>
                    <a:pt x="2037329" y="1056597"/>
                  </a:lnTo>
                  <a:lnTo>
                    <a:pt x="2031063" y="1063060"/>
                  </a:lnTo>
                  <a:lnTo>
                    <a:pt x="2026918" y="1067994"/>
                  </a:lnTo>
                  <a:lnTo>
                    <a:pt x="2022724" y="1069623"/>
                  </a:lnTo>
                  <a:lnTo>
                    <a:pt x="2016507" y="1064688"/>
                  </a:lnTo>
                  <a:lnTo>
                    <a:pt x="2010192" y="1063110"/>
                  </a:lnTo>
                  <a:lnTo>
                    <a:pt x="2006097" y="1064688"/>
                  </a:lnTo>
                  <a:lnTo>
                    <a:pt x="2012314" y="1067945"/>
                  </a:lnTo>
                  <a:lnTo>
                    <a:pt x="2010192" y="1071152"/>
                  </a:lnTo>
                  <a:lnTo>
                    <a:pt x="1999781" y="1069573"/>
                  </a:lnTo>
                  <a:lnTo>
                    <a:pt x="1991492" y="1063110"/>
                  </a:lnTo>
                  <a:lnTo>
                    <a:pt x="1989518" y="1055363"/>
                  </a:lnTo>
                  <a:lnTo>
                    <a:pt x="1983301" y="1052156"/>
                  </a:lnTo>
                  <a:lnTo>
                    <a:pt x="1985374" y="1045692"/>
                  </a:lnTo>
                  <a:lnTo>
                    <a:pt x="1997906" y="1040758"/>
                  </a:lnTo>
                  <a:lnTo>
                    <a:pt x="1999929" y="1037502"/>
                  </a:lnTo>
                  <a:lnTo>
                    <a:pt x="1997906" y="1035923"/>
                  </a:lnTo>
                  <a:lnTo>
                    <a:pt x="1991640" y="1039130"/>
                  </a:lnTo>
                  <a:lnTo>
                    <a:pt x="1983301" y="1040758"/>
                  </a:lnTo>
                  <a:lnTo>
                    <a:pt x="1981229" y="1047222"/>
                  </a:lnTo>
                  <a:lnTo>
                    <a:pt x="1977035" y="1047222"/>
                  </a:lnTo>
                  <a:lnTo>
                    <a:pt x="1974963" y="1042288"/>
                  </a:lnTo>
                  <a:lnTo>
                    <a:pt x="1977035" y="1037354"/>
                  </a:lnTo>
                  <a:lnTo>
                    <a:pt x="1974716" y="1036120"/>
                  </a:lnTo>
                  <a:lnTo>
                    <a:pt x="1970572" y="1036120"/>
                  </a:lnTo>
                  <a:lnTo>
                    <a:pt x="1968450" y="1041054"/>
                  </a:lnTo>
                  <a:lnTo>
                    <a:pt x="1970572" y="1044262"/>
                  </a:lnTo>
                  <a:lnTo>
                    <a:pt x="1968450" y="1047518"/>
                  </a:lnTo>
                  <a:lnTo>
                    <a:pt x="1964306" y="1045890"/>
                  </a:lnTo>
                  <a:lnTo>
                    <a:pt x="1960161" y="1040956"/>
                  </a:lnTo>
                  <a:lnTo>
                    <a:pt x="1947628" y="1040956"/>
                  </a:lnTo>
                  <a:lnTo>
                    <a:pt x="1947628" y="1045890"/>
                  </a:lnTo>
                  <a:lnTo>
                    <a:pt x="1943484" y="1045890"/>
                  </a:lnTo>
                  <a:lnTo>
                    <a:pt x="1939339" y="1040956"/>
                  </a:lnTo>
                  <a:lnTo>
                    <a:pt x="1937218" y="1036022"/>
                  </a:lnTo>
                  <a:lnTo>
                    <a:pt x="1939339" y="1036022"/>
                  </a:lnTo>
                  <a:lnTo>
                    <a:pt x="1943484" y="1037601"/>
                  </a:lnTo>
                  <a:lnTo>
                    <a:pt x="1943484" y="1036120"/>
                  </a:lnTo>
                  <a:lnTo>
                    <a:pt x="1937218" y="1031186"/>
                  </a:lnTo>
                  <a:lnTo>
                    <a:pt x="1926807" y="1026252"/>
                  </a:lnTo>
                  <a:lnTo>
                    <a:pt x="1926807" y="1021318"/>
                  </a:lnTo>
                  <a:lnTo>
                    <a:pt x="1928928" y="1014855"/>
                  </a:lnTo>
                  <a:lnTo>
                    <a:pt x="1926807" y="1006763"/>
                  </a:lnTo>
                  <a:lnTo>
                    <a:pt x="1924734" y="996895"/>
                  </a:lnTo>
                  <a:lnTo>
                    <a:pt x="1926807" y="991961"/>
                  </a:lnTo>
                  <a:lnTo>
                    <a:pt x="1931001" y="991961"/>
                  </a:lnTo>
                  <a:lnTo>
                    <a:pt x="1931001" y="988704"/>
                  </a:lnTo>
                  <a:lnTo>
                    <a:pt x="1926807" y="982290"/>
                  </a:lnTo>
                  <a:lnTo>
                    <a:pt x="1928928" y="979034"/>
                  </a:lnTo>
                  <a:lnTo>
                    <a:pt x="1935145" y="980662"/>
                  </a:lnTo>
                  <a:lnTo>
                    <a:pt x="1937218" y="983869"/>
                  </a:lnTo>
                  <a:lnTo>
                    <a:pt x="1949750" y="985497"/>
                  </a:lnTo>
                  <a:lnTo>
                    <a:pt x="1955967" y="988704"/>
                  </a:lnTo>
                  <a:lnTo>
                    <a:pt x="1958039" y="995168"/>
                  </a:lnTo>
                  <a:lnTo>
                    <a:pt x="1970572" y="998424"/>
                  </a:lnTo>
                  <a:lnTo>
                    <a:pt x="1983055" y="998424"/>
                  </a:lnTo>
                  <a:lnTo>
                    <a:pt x="1985127" y="996796"/>
                  </a:lnTo>
                  <a:lnTo>
                    <a:pt x="1995587" y="996796"/>
                  </a:lnTo>
                  <a:lnTo>
                    <a:pt x="1991393" y="993589"/>
                  </a:lnTo>
                  <a:lnTo>
                    <a:pt x="1989272" y="990333"/>
                  </a:lnTo>
                  <a:lnTo>
                    <a:pt x="1980983" y="985399"/>
                  </a:lnTo>
                  <a:lnTo>
                    <a:pt x="1978861" y="977356"/>
                  </a:lnTo>
                  <a:lnTo>
                    <a:pt x="1970572" y="977356"/>
                  </a:lnTo>
                  <a:lnTo>
                    <a:pt x="1962233" y="972422"/>
                  </a:lnTo>
                  <a:lnTo>
                    <a:pt x="1955967" y="972422"/>
                  </a:lnTo>
                  <a:lnTo>
                    <a:pt x="1947628" y="967488"/>
                  </a:lnTo>
                  <a:lnTo>
                    <a:pt x="1941412" y="967488"/>
                  </a:lnTo>
                  <a:lnTo>
                    <a:pt x="1928928" y="961024"/>
                  </a:lnTo>
                  <a:lnTo>
                    <a:pt x="1924734" y="956090"/>
                  </a:lnTo>
                  <a:lnTo>
                    <a:pt x="1928928" y="946222"/>
                  </a:lnTo>
                  <a:lnTo>
                    <a:pt x="1935145" y="943015"/>
                  </a:lnTo>
                  <a:lnTo>
                    <a:pt x="1933073" y="938081"/>
                  </a:lnTo>
                  <a:lnTo>
                    <a:pt x="1935145" y="931618"/>
                  </a:lnTo>
                  <a:lnTo>
                    <a:pt x="1941412" y="931618"/>
                  </a:lnTo>
                  <a:lnTo>
                    <a:pt x="1945556" y="925154"/>
                  </a:lnTo>
                  <a:lnTo>
                    <a:pt x="1945556" y="913855"/>
                  </a:lnTo>
                  <a:lnTo>
                    <a:pt x="1947628" y="908921"/>
                  </a:lnTo>
                  <a:lnTo>
                    <a:pt x="1951822" y="908921"/>
                  </a:lnTo>
                  <a:lnTo>
                    <a:pt x="1953895" y="902457"/>
                  </a:lnTo>
                  <a:lnTo>
                    <a:pt x="1964306" y="897523"/>
                  </a:lnTo>
                  <a:lnTo>
                    <a:pt x="1970572" y="897523"/>
                  </a:lnTo>
                  <a:lnTo>
                    <a:pt x="1970572" y="894316"/>
                  </a:lnTo>
                  <a:lnTo>
                    <a:pt x="1966378" y="894316"/>
                  </a:lnTo>
                  <a:lnTo>
                    <a:pt x="1964306" y="889382"/>
                  </a:lnTo>
                  <a:lnTo>
                    <a:pt x="1972644" y="881290"/>
                  </a:lnTo>
                  <a:lnTo>
                    <a:pt x="1976788" y="871422"/>
                  </a:lnTo>
                  <a:lnTo>
                    <a:pt x="1980983" y="869794"/>
                  </a:lnTo>
                  <a:lnTo>
                    <a:pt x="1985127" y="863330"/>
                  </a:lnTo>
                  <a:lnTo>
                    <a:pt x="1993466" y="863330"/>
                  </a:lnTo>
                  <a:lnTo>
                    <a:pt x="1997660" y="853462"/>
                  </a:lnTo>
                  <a:lnTo>
                    <a:pt x="1999682" y="855091"/>
                  </a:lnTo>
                  <a:lnTo>
                    <a:pt x="2001804" y="860025"/>
                  </a:lnTo>
                  <a:lnTo>
                    <a:pt x="2005998" y="855091"/>
                  </a:lnTo>
                  <a:lnTo>
                    <a:pt x="2003876" y="850157"/>
                  </a:lnTo>
                  <a:lnTo>
                    <a:pt x="2012215" y="840289"/>
                  </a:lnTo>
                  <a:lnTo>
                    <a:pt x="2018481" y="840289"/>
                  </a:lnTo>
                  <a:lnTo>
                    <a:pt x="2016409" y="833874"/>
                  </a:lnTo>
                  <a:lnTo>
                    <a:pt x="2022626" y="827411"/>
                  </a:lnTo>
                  <a:lnTo>
                    <a:pt x="2030964" y="827411"/>
                  </a:lnTo>
                  <a:lnTo>
                    <a:pt x="2035109" y="820947"/>
                  </a:lnTo>
                  <a:lnTo>
                    <a:pt x="2041375" y="820947"/>
                  </a:lnTo>
                  <a:lnTo>
                    <a:pt x="2045520" y="824154"/>
                  </a:lnTo>
                  <a:lnTo>
                    <a:pt x="2043497" y="817740"/>
                  </a:lnTo>
                  <a:lnTo>
                    <a:pt x="2045520" y="812806"/>
                  </a:lnTo>
                  <a:lnTo>
                    <a:pt x="2058052" y="807872"/>
                  </a:lnTo>
                  <a:lnTo>
                    <a:pt x="2070535" y="798004"/>
                  </a:lnTo>
                  <a:lnTo>
                    <a:pt x="2089284" y="793070"/>
                  </a:lnTo>
                  <a:lnTo>
                    <a:pt x="2101768" y="791442"/>
                  </a:lnTo>
                  <a:lnTo>
                    <a:pt x="2108034" y="789863"/>
                  </a:lnTo>
                  <a:lnTo>
                    <a:pt x="2116373" y="791442"/>
                  </a:lnTo>
                  <a:lnTo>
                    <a:pt x="2122589" y="789863"/>
                  </a:lnTo>
                  <a:lnTo>
                    <a:pt x="2126783" y="791442"/>
                  </a:lnTo>
                  <a:lnTo>
                    <a:pt x="2137539" y="791442"/>
                  </a:lnTo>
                  <a:lnTo>
                    <a:pt x="2145878" y="796376"/>
                  </a:lnTo>
                  <a:lnTo>
                    <a:pt x="2160680" y="802790"/>
                  </a:lnTo>
                  <a:lnTo>
                    <a:pt x="2162802" y="806046"/>
                  </a:lnTo>
                  <a:lnTo>
                    <a:pt x="2160680" y="810980"/>
                  </a:lnTo>
                  <a:lnTo>
                    <a:pt x="2150269" y="814188"/>
                  </a:lnTo>
                  <a:lnTo>
                    <a:pt x="2139858" y="819122"/>
                  </a:lnTo>
                  <a:lnTo>
                    <a:pt x="2131569" y="817543"/>
                  </a:lnTo>
                  <a:lnTo>
                    <a:pt x="2129448" y="822477"/>
                  </a:lnTo>
                  <a:lnTo>
                    <a:pt x="2122737" y="831111"/>
                  </a:lnTo>
                  <a:lnTo>
                    <a:pt x="2114448" y="832690"/>
                  </a:lnTo>
                  <a:lnTo>
                    <a:pt x="2101916" y="843989"/>
                  </a:lnTo>
                  <a:lnTo>
                    <a:pt x="2089383" y="858495"/>
                  </a:lnTo>
                  <a:lnTo>
                    <a:pt x="2078972" y="863429"/>
                  </a:lnTo>
                  <a:lnTo>
                    <a:pt x="2074828" y="865008"/>
                  </a:lnTo>
                  <a:lnTo>
                    <a:pt x="2066440" y="877935"/>
                  </a:lnTo>
                  <a:lnTo>
                    <a:pt x="2066440" y="884399"/>
                  </a:lnTo>
                  <a:lnTo>
                    <a:pt x="2068562" y="890862"/>
                  </a:lnTo>
                  <a:lnTo>
                    <a:pt x="2072706" y="895796"/>
                  </a:lnTo>
                  <a:lnTo>
                    <a:pt x="2072706" y="900730"/>
                  </a:lnTo>
                  <a:lnTo>
                    <a:pt x="2066440" y="903938"/>
                  </a:lnTo>
                  <a:lnTo>
                    <a:pt x="2062295" y="908872"/>
                  </a:lnTo>
                  <a:lnTo>
                    <a:pt x="2056029" y="915335"/>
                  </a:lnTo>
                  <a:lnTo>
                    <a:pt x="2054006" y="921799"/>
                  </a:lnTo>
                  <a:lnTo>
                    <a:pt x="2049812" y="929841"/>
                  </a:lnTo>
                  <a:lnTo>
                    <a:pt x="2045618" y="931470"/>
                  </a:lnTo>
                  <a:lnTo>
                    <a:pt x="2045618" y="936404"/>
                  </a:lnTo>
                  <a:lnTo>
                    <a:pt x="2049812" y="941338"/>
                  </a:lnTo>
                  <a:lnTo>
                    <a:pt x="2051885" y="951206"/>
                  </a:lnTo>
                  <a:lnTo>
                    <a:pt x="2054006" y="954413"/>
                  </a:lnTo>
                  <a:lnTo>
                    <a:pt x="2054006" y="962455"/>
                  </a:lnTo>
                  <a:lnTo>
                    <a:pt x="2060223" y="970547"/>
                  </a:lnTo>
                  <a:lnTo>
                    <a:pt x="2060223" y="973754"/>
                  </a:lnTo>
                  <a:lnTo>
                    <a:pt x="2068562" y="977011"/>
                  </a:lnTo>
                  <a:lnTo>
                    <a:pt x="2068562" y="983474"/>
                  </a:lnTo>
                  <a:lnTo>
                    <a:pt x="2064417" y="988408"/>
                  </a:lnTo>
                  <a:lnTo>
                    <a:pt x="2062295" y="983474"/>
                  </a:lnTo>
                  <a:lnTo>
                    <a:pt x="2058151" y="983474"/>
                  </a:lnTo>
                  <a:lnTo>
                    <a:pt x="2058151" y="986681"/>
                  </a:lnTo>
                  <a:lnTo>
                    <a:pt x="2054006" y="986681"/>
                  </a:lnTo>
                  <a:lnTo>
                    <a:pt x="2049812" y="988310"/>
                  </a:lnTo>
                  <a:lnTo>
                    <a:pt x="2045618" y="989889"/>
                  </a:lnTo>
                  <a:lnTo>
                    <a:pt x="2047740" y="991517"/>
                  </a:lnTo>
                  <a:lnTo>
                    <a:pt x="2054006" y="996451"/>
                  </a:lnTo>
                  <a:lnTo>
                    <a:pt x="2058151" y="994872"/>
                  </a:lnTo>
                  <a:lnTo>
                    <a:pt x="2060223" y="993244"/>
                  </a:lnTo>
                  <a:lnTo>
                    <a:pt x="2062295" y="996451"/>
                  </a:lnTo>
                  <a:lnTo>
                    <a:pt x="2056029" y="1001385"/>
                  </a:lnTo>
                  <a:lnTo>
                    <a:pt x="2054006" y="1009477"/>
                  </a:lnTo>
                  <a:lnTo>
                    <a:pt x="2054006" y="1015940"/>
                  </a:lnTo>
                  <a:lnTo>
                    <a:pt x="2051885" y="1019147"/>
                  </a:lnTo>
                  <a:lnTo>
                    <a:pt x="2060223" y="1011105"/>
                  </a:lnTo>
                  <a:lnTo>
                    <a:pt x="2060223" y="1007848"/>
                  </a:lnTo>
                  <a:lnTo>
                    <a:pt x="2068463" y="995661"/>
                  </a:lnTo>
                  <a:lnTo>
                    <a:pt x="2070535" y="992454"/>
                  </a:lnTo>
                  <a:lnTo>
                    <a:pt x="2072608" y="981155"/>
                  </a:lnTo>
                  <a:lnTo>
                    <a:pt x="2076801" y="977948"/>
                  </a:lnTo>
                  <a:lnTo>
                    <a:pt x="2083018" y="973014"/>
                  </a:lnTo>
                  <a:lnTo>
                    <a:pt x="2083018" y="968080"/>
                  </a:lnTo>
                  <a:lnTo>
                    <a:pt x="2080946" y="963146"/>
                  </a:lnTo>
                  <a:lnTo>
                    <a:pt x="2083018" y="959939"/>
                  </a:lnTo>
                  <a:lnTo>
                    <a:pt x="2076801" y="956682"/>
                  </a:lnTo>
                  <a:lnTo>
                    <a:pt x="2072608" y="956682"/>
                  </a:lnTo>
                  <a:lnTo>
                    <a:pt x="2072608" y="948640"/>
                  </a:lnTo>
                  <a:lnTo>
                    <a:pt x="2070535" y="947012"/>
                  </a:lnTo>
                  <a:lnTo>
                    <a:pt x="2070535" y="938969"/>
                  </a:lnTo>
                  <a:lnTo>
                    <a:pt x="2066341" y="932506"/>
                  </a:lnTo>
                  <a:lnTo>
                    <a:pt x="2066341" y="926042"/>
                  </a:lnTo>
                  <a:lnTo>
                    <a:pt x="2068463" y="924414"/>
                  </a:lnTo>
                  <a:lnTo>
                    <a:pt x="2070535" y="929348"/>
                  </a:lnTo>
                  <a:lnTo>
                    <a:pt x="2074729" y="927769"/>
                  </a:lnTo>
                  <a:lnTo>
                    <a:pt x="2083018" y="924513"/>
                  </a:lnTo>
                  <a:lnTo>
                    <a:pt x="2085140" y="921305"/>
                  </a:lnTo>
                  <a:lnTo>
                    <a:pt x="2085140" y="916371"/>
                  </a:lnTo>
                  <a:lnTo>
                    <a:pt x="2089284" y="911437"/>
                  </a:lnTo>
                  <a:lnTo>
                    <a:pt x="2093429" y="913016"/>
                  </a:lnTo>
                  <a:lnTo>
                    <a:pt x="2097623" y="921108"/>
                  </a:lnTo>
                  <a:lnTo>
                    <a:pt x="2095551" y="924315"/>
                  </a:lnTo>
                  <a:lnTo>
                    <a:pt x="2099696" y="927572"/>
                  </a:lnTo>
                  <a:lnTo>
                    <a:pt x="2103840" y="922638"/>
                  </a:lnTo>
                  <a:lnTo>
                    <a:pt x="2103840" y="916174"/>
                  </a:lnTo>
                  <a:lnTo>
                    <a:pt x="2110156" y="911240"/>
                  </a:lnTo>
                  <a:lnTo>
                    <a:pt x="2114300" y="911240"/>
                  </a:lnTo>
                  <a:lnTo>
                    <a:pt x="2112178" y="907984"/>
                  </a:lnTo>
                  <a:lnTo>
                    <a:pt x="2116373" y="906405"/>
                  </a:lnTo>
                  <a:lnTo>
                    <a:pt x="2122589" y="904776"/>
                  </a:lnTo>
                  <a:lnTo>
                    <a:pt x="2120566" y="901569"/>
                  </a:lnTo>
                  <a:lnTo>
                    <a:pt x="2114300" y="899941"/>
                  </a:lnTo>
                  <a:lnTo>
                    <a:pt x="2103840" y="907984"/>
                  </a:lnTo>
                  <a:lnTo>
                    <a:pt x="2099696" y="906405"/>
                  </a:lnTo>
                  <a:lnTo>
                    <a:pt x="2097623" y="901471"/>
                  </a:lnTo>
                  <a:lnTo>
                    <a:pt x="2093429" y="898214"/>
                  </a:lnTo>
                  <a:lnTo>
                    <a:pt x="2093429" y="893280"/>
                  </a:lnTo>
                  <a:lnTo>
                    <a:pt x="2101768" y="891652"/>
                  </a:lnTo>
                  <a:lnTo>
                    <a:pt x="2095551" y="886718"/>
                  </a:lnTo>
                  <a:lnTo>
                    <a:pt x="2099696" y="878675"/>
                  </a:lnTo>
                  <a:lnTo>
                    <a:pt x="2103840" y="870584"/>
                  </a:lnTo>
                  <a:lnTo>
                    <a:pt x="2105962" y="865650"/>
                  </a:lnTo>
                  <a:lnTo>
                    <a:pt x="2110156" y="860715"/>
                  </a:lnTo>
                  <a:lnTo>
                    <a:pt x="2118445" y="860715"/>
                  </a:lnTo>
                  <a:lnTo>
                    <a:pt x="2124711" y="867179"/>
                  </a:lnTo>
                  <a:lnTo>
                    <a:pt x="2124711" y="870386"/>
                  </a:lnTo>
                  <a:lnTo>
                    <a:pt x="2135122" y="875320"/>
                  </a:lnTo>
                  <a:lnTo>
                    <a:pt x="2139266" y="880254"/>
                  </a:lnTo>
                  <a:lnTo>
                    <a:pt x="2145533" y="881883"/>
                  </a:lnTo>
                  <a:lnTo>
                    <a:pt x="2141388" y="876948"/>
                  </a:lnTo>
                  <a:lnTo>
                    <a:pt x="2139266" y="872014"/>
                  </a:lnTo>
                  <a:lnTo>
                    <a:pt x="2128856" y="867080"/>
                  </a:lnTo>
                  <a:lnTo>
                    <a:pt x="2126783" y="860617"/>
                  </a:lnTo>
                  <a:lnTo>
                    <a:pt x="2126783" y="858495"/>
                  </a:lnTo>
                  <a:lnTo>
                    <a:pt x="2118445" y="858495"/>
                  </a:lnTo>
                  <a:lnTo>
                    <a:pt x="2114300" y="855239"/>
                  </a:lnTo>
                  <a:lnTo>
                    <a:pt x="2118445" y="855239"/>
                  </a:lnTo>
                  <a:lnTo>
                    <a:pt x="2128856" y="853610"/>
                  </a:lnTo>
                  <a:lnTo>
                    <a:pt x="2130977" y="850403"/>
                  </a:lnTo>
                  <a:lnTo>
                    <a:pt x="2135122" y="850403"/>
                  </a:lnTo>
                  <a:lnTo>
                    <a:pt x="2145533" y="861702"/>
                  </a:lnTo>
                  <a:lnTo>
                    <a:pt x="2155943" y="866636"/>
                  </a:lnTo>
                  <a:lnTo>
                    <a:pt x="2160088" y="866636"/>
                  </a:lnTo>
                  <a:lnTo>
                    <a:pt x="2149677" y="861702"/>
                  </a:lnTo>
                  <a:lnTo>
                    <a:pt x="2143460" y="851834"/>
                  </a:lnTo>
                  <a:lnTo>
                    <a:pt x="2135122" y="846900"/>
                  </a:lnTo>
                  <a:lnTo>
                    <a:pt x="2135122" y="843644"/>
                  </a:lnTo>
                  <a:lnTo>
                    <a:pt x="2139266" y="837180"/>
                  </a:lnTo>
                  <a:lnTo>
                    <a:pt x="2149677" y="835601"/>
                  </a:lnTo>
                  <a:lnTo>
                    <a:pt x="2151799" y="837180"/>
                  </a:lnTo>
                  <a:lnTo>
                    <a:pt x="2151799" y="847048"/>
                  </a:lnTo>
                  <a:lnTo>
                    <a:pt x="2155943" y="843792"/>
                  </a:lnTo>
                  <a:lnTo>
                    <a:pt x="2155943" y="840585"/>
                  </a:lnTo>
                  <a:lnTo>
                    <a:pt x="2160088" y="835651"/>
                  </a:lnTo>
                  <a:lnTo>
                    <a:pt x="2168427" y="835651"/>
                  </a:lnTo>
                  <a:lnTo>
                    <a:pt x="2170499" y="842065"/>
                  </a:lnTo>
                  <a:lnTo>
                    <a:pt x="2174693" y="843693"/>
                  </a:lnTo>
                  <a:lnTo>
                    <a:pt x="2176765" y="851785"/>
                  </a:lnTo>
                  <a:lnTo>
                    <a:pt x="2180910" y="848528"/>
                  </a:lnTo>
                  <a:lnTo>
                    <a:pt x="2180910" y="843594"/>
                  </a:lnTo>
                  <a:lnTo>
                    <a:pt x="2174693" y="837131"/>
                  </a:lnTo>
                  <a:lnTo>
                    <a:pt x="2176765" y="833924"/>
                  </a:lnTo>
                  <a:lnTo>
                    <a:pt x="2193442" y="830717"/>
                  </a:lnTo>
                  <a:lnTo>
                    <a:pt x="2203853" y="825782"/>
                  </a:lnTo>
                  <a:lnTo>
                    <a:pt x="2212142" y="825782"/>
                  </a:lnTo>
                  <a:lnTo>
                    <a:pt x="2220530" y="820848"/>
                  </a:lnTo>
                  <a:lnTo>
                    <a:pt x="2230941" y="824105"/>
                  </a:lnTo>
                  <a:lnTo>
                    <a:pt x="2243424" y="824105"/>
                  </a:lnTo>
                  <a:lnTo>
                    <a:pt x="2253835" y="825684"/>
                  </a:lnTo>
                  <a:lnTo>
                    <a:pt x="2253835" y="832147"/>
                  </a:lnTo>
                  <a:lnTo>
                    <a:pt x="2251762" y="845075"/>
                  </a:lnTo>
                  <a:lnTo>
                    <a:pt x="2249690" y="850009"/>
                  </a:lnTo>
                  <a:lnTo>
                    <a:pt x="2245496" y="853216"/>
                  </a:lnTo>
                  <a:lnTo>
                    <a:pt x="2239279" y="861308"/>
                  </a:lnTo>
                  <a:lnTo>
                    <a:pt x="2241351" y="864515"/>
                  </a:lnTo>
                  <a:lnTo>
                    <a:pt x="2247568" y="867771"/>
                  </a:lnTo>
                  <a:lnTo>
                    <a:pt x="2251762" y="872705"/>
                  </a:lnTo>
                  <a:lnTo>
                    <a:pt x="2249690" y="875912"/>
                  </a:lnTo>
                  <a:lnTo>
                    <a:pt x="2239279" y="885780"/>
                  </a:lnTo>
                  <a:lnTo>
                    <a:pt x="2237158" y="889037"/>
                  </a:lnTo>
                  <a:lnTo>
                    <a:pt x="2237158" y="895500"/>
                  </a:lnTo>
                  <a:lnTo>
                    <a:pt x="2243424" y="900434"/>
                  </a:lnTo>
                  <a:lnTo>
                    <a:pt x="2243424" y="902063"/>
                  </a:lnTo>
                  <a:lnTo>
                    <a:pt x="2237158" y="908477"/>
                  </a:lnTo>
                  <a:lnTo>
                    <a:pt x="2233013" y="910105"/>
                  </a:lnTo>
                  <a:lnTo>
                    <a:pt x="2226747" y="915039"/>
                  </a:lnTo>
                  <a:lnTo>
                    <a:pt x="2220530" y="916667"/>
                  </a:lnTo>
                  <a:lnTo>
                    <a:pt x="2216336" y="919875"/>
                  </a:lnTo>
                  <a:lnTo>
                    <a:pt x="2212142" y="924809"/>
                  </a:lnTo>
                  <a:lnTo>
                    <a:pt x="2208047" y="929743"/>
                  </a:lnTo>
                  <a:lnTo>
                    <a:pt x="2212142" y="929743"/>
                  </a:lnTo>
                  <a:lnTo>
                    <a:pt x="2220530" y="923328"/>
                  </a:lnTo>
                  <a:lnTo>
                    <a:pt x="2228868" y="916865"/>
                  </a:lnTo>
                  <a:lnTo>
                    <a:pt x="2233013" y="918444"/>
                  </a:lnTo>
                  <a:lnTo>
                    <a:pt x="2235085" y="916865"/>
                  </a:lnTo>
                  <a:lnTo>
                    <a:pt x="2230941" y="921799"/>
                  </a:lnTo>
                  <a:lnTo>
                    <a:pt x="2228868" y="926733"/>
                  </a:lnTo>
                  <a:lnTo>
                    <a:pt x="2218458" y="934825"/>
                  </a:lnTo>
                  <a:lnTo>
                    <a:pt x="2212142" y="938032"/>
                  </a:lnTo>
                  <a:lnTo>
                    <a:pt x="2212142" y="946074"/>
                  </a:lnTo>
                  <a:lnTo>
                    <a:pt x="2208047" y="944495"/>
                  </a:lnTo>
                  <a:lnTo>
                    <a:pt x="2203853" y="944495"/>
                  </a:lnTo>
                  <a:lnTo>
                    <a:pt x="2203853" y="947308"/>
                  </a:lnTo>
                  <a:lnTo>
                    <a:pt x="2205925" y="947308"/>
                  </a:lnTo>
                  <a:lnTo>
                    <a:pt x="2210119" y="950564"/>
                  </a:lnTo>
                  <a:lnTo>
                    <a:pt x="2208047" y="955498"/>
                  </a:lnTo>
                  <a:lnTo>
                    <a:pt x="2203853" y="958705"/>
                  </a:lnTo>
                  <a:lnTo>
                    <a:pt x="2210119" y="958705"/>
                  </a:lnTo>
                  <a:lnTo>
                    <a:pt x="2212142" y="955498"/>
                  </a:lnTo>
                  <a:lnTo>
                    <a:pt x="2216336" y="953870"/>
                  </a:lnTo>
                  <a:lnTo>
                    <a:pt x="2222602" y="947406"/>
                  </a:lnTo>
                  <a:lnTo>
                    <a:pt x="2222602" y="942472"/>
                  </a:lnTo>
                  <a:lnTo>
                    <a:pt x="2228868" y="940844"/>
                  </a:lnTo>
                  <a:lnTo>
                    <a:pt x="2230941" y="935910"/>
                  </a:lnTo>
                  <a:lnTo>
                    <a:pt x="2233013" y="937538"/>
                  </a:lnTo>
                  <a:lnTo>
                    <a:pt x="2233013" y="945581"/>
                  </a:lnTo>
                  <a:lnTo>
                    <a:pt x="2237158" y="947209"/>
                  </a:lnTo>
                  <a:lnTo>
                    <a:pt x="2237158" y="940746"/>
                  </a:lnTo>
                  <a:lnTo>
                    <a:pt x="2235085" y="934331"/>
                  </a:lnTo>
                  <a:lnTo>
                    <a:pt x="2237158" y="929397"/>
                  </a:lnTo>
                  <a:lnTo>
                    <a:pt x="2239279" y="927818"/>
                  </a:lnTo>
                  <a:lnTo>
                    <a:pt x="2247568" y="929397"/>
                  </a:lnTo>
                  <a:lnTo>
                    <a:pt x="2245496" y="935861"/>
                  </a:lnTo>
                  <a:lnTo>
                    <a:pt x="2247568" y="939117"/>
                  </a:lnTo>
                  <a:lnTo>
                    <a:pt x="2251762" y="935861"/>
                  </a:lnTo>
                  <a:lnTo>
                    <a:pt x="2260101" y="929397"/>
                  </a:lnTo>
                  <a:lnTo>
                    <a:pt x="2262173" y="934331"/>
                  </a:lnTo>
                  <a:lnTo>
                    <a:pt x="2266367" y="939265"/>
                  </a:lnTo>
                  <a:lnTo>
                    <a:pt x="2264245" y="944199"/>
                  </a:lnTo>
                  <a:lnTo>
                    <a:pt x="2255956" y="955350"/>
                  </a:lnTo>
                  <a:lnTo>
                    <a:pt x="2247568" y="960284"/>
                  </a:lnTo>
                  <a:lnTo>
                    <a:pt x="2245496" y="963491"/>
                  </a:lnTo>
                  <a:lnTo>
                    <a:pt x="2251762" y="965120"/>
                  </a:lnTo>
                  <a:lnTo>
                    <a:pt x="2257979" y="968327"/>
                  </a:lnTo>
                  <a:lnTo>
                    <a:pt x="2262173" y="965120"/>
                  </a:lnTo>
                  <a:lnTo>
                    <a:pt x="2257979" y="961863"/>
                  </a:lnTo>
                  <a:lnTo>
                    <a:pt x="2262173" y="955449"/>
                  </a:lnTo>
                  <a:lnTo>
                    <a:pt x="2266367" y="948985"/>
                  </a:lnTo>
                  <a:lnTo>
                    <a:pt x="2272584" y="957028"/>
                  </a:lnTo>
                  <a:lnTo>
                    <a:pt x="2272584" y="963491"/>
                  </a:lnTo>
                  <a:lnTo>
                    <a:pt x="2274656" y="958557"/>
                  </a:lnTo>
                  <a:lnTo>
                    <a:pt x="2272584" y="952094"/>
                  </a:lnTo>
                  <a:lnTo>
                    <a:pt x="2270512" y="945630"/>
                  </a:lnTo>
                  <a:lnTo>
                    <a:pt x="2268390" y="934381"/>
                  </a:lnTo>
                  <a:lnTo>
                    <a:pt x="2272584" y="932752"/>
                  </a:lnTo>
                  <a:lnTo>
                    <a:pt x="2278801" y="935959"/>
                  </a:lnTo>
                  <a:lnTo>
                    <a:pt x="2278801" y="940894"/>
                  </a:lnTo>
                  <a:lnTo>
                    <a:pt x="2276778" y="945828"/>
                  </a:lnTo>
                  <a:lnTo>
                    <a:pt x="2278801" y="944249"/>
                  </a:lnTo>
                  <a:lnTo>
                    <a:pt x="2285067" y="944249"/>
                  </a:lnTo>
                  <a:lnTo>
                    <a:pt x="2297600" y="954117"/>
                  </a:lnTo>
                  <a:lnTo>
                    <a:pt x="2297600" y="957176"/>
                  </a:lnTo>
                  <a:lnTo>
                    <a:pt x="2305889" y="957176"/>
                  </a:lnTo>
                  <a:lnTo>
                    <a:pt x="2310083" y="960432"/>
                  </a:lnTo>
                  <a:lnTo>
                    <a:pt x="2314227" y="960432"/>
                  </a:lnTo>
                  <a:lnTo>
                    <a:pt x="2310231" y="953722"/>
                  </a:lnTo>
                  <a:lnTo>
                    <a:pt x="2306037" y="952094"/>
                  </a:lnTo>
                  <a:lnTo>
                    <a:pt x="2303964" y="950515"/>
                  </a:lnTo>
                  <a:lnTo>
                    <a:pt x="2291481" y="940647"/>
                  </a:lnTo>
                  <a:lnTo>
                    <a:pt x="2285215" y="939068"/>
                  </a:lnTo>
                  <a:lnTo>
                    <a:pt x="2283143" y="935811"/>
                  </a:lnTo>
                  <a:lnTo>
                    <a:pt x="2291481" y="925943"/>
                  </a:lnTo>
                  <a:lnTo>
                    <a:pt x="2297747" y="925943"/>
                  </a:lnTo>
                  <a:lnTo>
                    <a:pt x="2306037" y="921009"/>
                  </a:lnTo>
                  <a:lnTo>
                    <a:pt x="2316448" y="919381"/>
                  </a:lnTo>
                  <a:lnTo>
                    <a:pt x="2324786" y="919381"/>
                  </a:lnTo>
                  <a:lnTo>
                    <a:pt x="2328980" y="922638"/>
                  </a:lnTo>
                  <a:lnTo>
                    <a:pt x="2331052" y="922638"/>
                  </a:lnTo>
                  <a:lnTo>
                    <a:pt x="2341463" y="925845"/>
                  </a:lnTo>
                  <a:lnTo>
                    <a:pt x="2341463" y="930779"/>
                  </a:lnTo>
                  <a:lnTo>
                    <a:pt x="2347729" y="934035"/>
                  </a:lnTo>
                  <a:lnTo>
                    <a:pt x="2351874" y="935614"/>
                  </a:lnTo>
                  <a:lnTo>
                    <a:pt x="2351874" y="940548"/>
                  </a:lnTo>
                  <a:lnTo>
                    <a:pt x="2356068" y="940548"/>
                  </a:lnTo>
                  <a:lnTo>
                    <a:pt x="2358140" y="937341"/>
                  </a:lnTo>
                  <a:lnTo>
                    <a:pt x="2364406" y="938969"/>
                  </a:lnTo>
                  <a:lnTo>
                    <a:pt x="2366479" y="943903"/>
                  </a:lnTo>
                  <a:lnTo>
                    <a:pt x="2374817" y="947110"/>
                  </a:lnTo>
                  <a:lnTo>
                    <a:pt x="2374817" y="958409"/>
                  </a:lnTo>
                  <a:lnTo>
                    <a:pt x="2376890" y="963343"/>
                  </a:lnTo>
                  <a:lnTo>
                    <a:pt x="2370623" y="968277"/>
                  </a:lnTo>
                  <a:lnTo>
                    <a:pt x="2364505" y="968277"/>
                  </a:lnTo>
                  <a:lnTo>
                    <a:pt x="2358239" y="966699"/>
                  </a:lnTo>
                  <a:lnTo>
                    <a:pt x="2347828" y="968277"/>
                  </a:lnTo>
                  <a:lnTo>
                    <a:pt x="2337417" y="978146"/>
                  </a:lnTo>
                  <a:lnTo>
                    <a:pt x="2349703" y="971485"/>
                  </a:lnTo>
                  <a:lnTo>
                    <a:pt x="2360114" y="969856"/>
                  </a:lnTo>
                  <a:lnTo>
                    <a:pt x="2362186" y="973063"/>
                  </a:lnTo>
                  <a:lnTo>
                    <a:pt x="2358041" y="977997"/>
                  </a:lnTo>
                  <a:lnTo>
                    <a:pt x="2349703" y="981205"/>
                  </a:lnTo>
                  <a:lnTo>
                    <a:pt x="2341364" y="992504"/>
                  </a:lnTo>
                  <a:lnTo>
                    <a:pt x="2337220" y="995711"/>
                  </a:lnTo>
                  <a:lnTo>
                    <a:pt x="2333075" y="995711"/>
                  </a:lnTo>
                  <a:lnTo>
                    <a:pt x="2330954" y="1000645"/>
                  </a:lnTo>
                  <a:lnTo>
                    <a:pt x="2335098" y="1000645"/>
                  </a:lnTo>
                  <a:lnTo>
                    <a:pt x="2347631" y="989346"/>
                  </a:lnTo>
                  <a:lnTo>
                    <a:pt x="2353897" y="982932"/>
                  </a:lnTo>
                  <a:lnTo>
                    <a:pt x="2362186" y="979675"/>
                  </a:lnTo>
                  <a:lnTo>
                    <a:pt x="2370524" y="973211"/>
                  </a:lnTo>
                  <a:lnTo>
                    <a:pt x="2378863" y="974840"/>
                  </a:lnTo>
                  <a:lnTo>
                    <a:pt x="2380935" y="978096"/>
                  </a:lnTo>
                  <a:lnTo>
                    <a:pt x="2385129" y="978096"/>
                  </a:lnTo>
                  <a:lnTo>
                    <a:pt x="2385129" y="983030"/>
                  </a:lnTo>
                  <a:lnTo>
                    <a:pt x="2383008" y="987964"/>
                  </a:lnTo>
                  <a:lnTo>
                    <a:pt x="2383008" y="992898"/>
                  </a:lnTo>
                  <a:lnTo>
                    <a:pt x="2376791" y="994527"/>
                  </a:lnTo>
                  <a:lnTo>
                    <a:pt x="2372597" y="1000941"/>
                  </a:lnTo>
                  <a:lnTo>
                    <a:pt x="2364505" y="1000941"/>
                  </a:lnTo>
                  <a:lnTo>
                    <a:pt x="2362383" y="999362"/>
                  </a:lnTo>
                  <a:lnTo>
                    <a:pt x="2354094" y="999362"/>
                  </a:lnTo>
                  <a:lnTo>
                    <a:pt x="2351973" y="1004296"/>
                  </a:lnTo>
                  <a:lnTo>
                    <a:pt x="2358239" y="1004296"/>
                  </a:lnTo>
                  <a:lnTo>
                    <a:pt x="2360311" y="1007503"/>
                  </a:lnTo>
                  <a:lnTo>
                    <a:pt x="2347828" y="1012437"/>
                  </a:lnTo>
                  <a:lnTo>
                    <a:pt x="2351973" y="1014065"/>
                  </a:lnTo>
                  <a:lnTo>
                    <a:pt x="2356167" y="1010858"/>
                  </a:lnTo>
                  <a:lnTo>
                    <a:pt x="2364505" y="1007602"/>
                  </a:lnTo>
                  <a:lnTo>
                    <a:pt x="2368650" y="1005973"/>
                  </a:lnTo>
                  <a:lnTo>
                    <a:pt x="2368650" y="1009230"/>
                  </a:lnTo>
                  <a:lnTo>
                    <a:pt x="2366577" y="1012437"/>
                  </a:lnTo>
                  <a:lnTo>
                    <a:pt x="2358239" y="1014065"/>
                  </a:lnTo>
                  <a:lnTo>
                    <a:pt x="2351973" y="1018999"/>
                  </a:lnTo>
                  <a:lnTo>
                    <a:pt x="2358239" y="1017371"/>
                  </a:lnTo>
                  <a:lnTo>
                    <a:pt x="2360311" y="1018999"/>
                  </a:lnTo>
                  <a:lnTo>
                    <a:pt x="2356167" y="1023933"/>
                  </a:lnTo>
                  <a:lnTo>
                    <a:pt x="2347828" y="1030397"/>
                  </a:lnTo>
                  <a:lnTo>
                    <a:pt x="2343684" y="1033604"/>
                  </a:lnTo>
                  <a:lnTo>
                    <a:pt x="2347828" y="1035232"/>
                  </a:lnTo>
                  <a:lnTo>
                    <a:pt x="2356167" y="1030298"/>
                  </a:lnTo>
                  <a:lnTo>
                    <a:pt x="2362383" y="1020430"/>
                  </a:lnTo>
                  <a:lnTo>
                    <a:pt x="2366577" y="1015496"/>
                  </a:lnTo>
                  <a:lnTo>
                    <a:pt x="2376988" y="1007404"/>
                  </a:lnTo>
                  <a:lnTo>
                    <a:pt x="2379061" y="1010661"/>
                  </a:lnTo>
                  <a:lnTo>
                    <a:pt x="2379061" y="1013868"/>
                  </a:lnTo>
                  <a:lnTo>
                    <a:pt x="2385327" y="1010661"/>
                  </a:lnTo>
                  <a:lnTo>
                    <a:pt x="2385327" y="1007404"/>
                  </a:lnTo>
                  <a:lnTo>
                    <a:pt x="2395738" y="1002470"/>
                  </a:lnTo>
                  <a:lnTo>
                    <a:pt x="2399882" y="1002470"/>
                  </a:lnTo>
                  <a:lnTo>
                    <a:pt x="2399882" y="1005677"/>
                  </a:lnTo>
                  <a:lnTo>
                    <a:pt x="2387399" y="1013769"/>
                  </a:lnTo>
                  <a:lnTo>
                    <a:pt x="2376988" y="1020233"/>
                  </a:lnTo>
                  <a:lnTo>
                    <a:pt x="2370722" y="1021861"/>
                  </a:lnTo>
                  <a:lnTo>
                    <a:pt x="2370722" y="1025068"/>
                  </a:lnTo>
                  <a:lnTo>
                    <a:pt x="2374916" y="1026696"/>
                  </a:lnTo>
                  <a:lnTo>
                    <a:pt x="2370722" y="1031630"/>
                  </a:lnTo>
                  <a:lnTo>
                    <a:pt x="2368650" y="1038045"/>
                  </a:lnTo>
                  <a:lnTo>
                    <a:pt x="2370722" y="1038045"/>
                  </a:lnTo>
                  <a:lnTo>
                    <a:pt x="2374916" y="1033111"/>
                  </a:lnTo>
                  <a:lnTo>
                    <a:pt x="2376988" y="1028177"/>
                  </a:lnTo>
                  <a:lnTo>
                    <a:pt x="2387399" y="1020134"/>
                  </a:lnTo>
                  <a:lnTo>
                    <a:pt x="2393616" y="1016878"/>
                  </a:lnTo>
                  <a:lnTo>
                    <a:pt x="2393616" y="1020134"/>
                  </a:lnTo>
                  <a:lnTo>
                    <a:pt x="2395738" y="1023341"/>
                  </a:lnTo>
                  <a:lnTo>
                    <a:pt x="2391543" y="1028275"/>
                  </a:lnTo>
                  <a:lnTo>
                    <a:pt x="2383205" y="1034739"/>
                  </a:lnTo>
                  <a:lnTo>
                    <a:pt x="2381133" y="1039673"/>
                  </a:lnTo>
                  <a:lnTo>
                    <a:pt x="2376988" y="1047765"/>
                  </a:lnTo>
                  <a:lnTo>
                    <a:pt x="2372794" y="1049344"/>
                  </a:lnTo>
                  <a:lnTo>
                    <a:pt x="2372794" y="1050972"/>
                  </a:lnTo>
                  <a:lnTo>
                    <a:pt x="2379061" y="1049344"/>
                  </a:lnTo>
                  <a:lnTo>
                    <a:pt x="2381133" y="1046136"/>
                  </a:lnTo>
                  <a:lnTo>
                    <a:pt x="2391543" y="1034838"/>
                  </a:lnTo>
                  <a:lnTo>
                    <a:pt x="2395738" y="1033209"/>
                  </a:lnTo>
                  <a:lnTo>
                    <a:pt x="2399882" y="1036466"/>
                  </a:lnTo>
                  <a:lnTo>
                    <a:pt x="2402004" y="1038045"/>
                  </a:lnTo>
                  <a:lnTo>
                    <a:pt x="2399882" y="1041301"/>
                  </a:lnTo>
                  <a:lnTo>
                    <a:pt x="2395738" y="1042929"/>
                  </a:lnTo>
                  <a:lnTo>
                    <a:pt x="2389175" y="1050528"/>
                  </a:lnTo>
                  <a:lnTo>
                    <a:pt x="2387103" y="1058620"/>
                  </a:lnTo>
                  <a:lnTo>
                    <a:pt x="2391247" y="1058620"/>
                  </a:lnTo>
                  <a:lnTo>
                    <a:pt x="2393320" y="1055363"/>
                  </a:lnTo>
                  <a:lnTo>
                    <a:pt x="2395442" y="1050429"/>
                  </a:lnTo>
                  <a:lnTo>
                    <a:pt x="2399586" y="1043966"/>
                  </a:lnTo>
                  <a:lnTo>
                    <a:pt x="2405852" y="1040758"/>
                  </a:lnTo>
                  <a:lnTo>
                    <a:pt x="2405852" y="1035824"/>
                  </a:lnTo>
                  <a:lnTo>
                    <a:pt x="2409997" y="1030890"/>
                  </a:lnTo>
                  <a:lnTo>
                    <a:pt x="2414141" y="1027634"/>
                  </a:lnTo>
                  <a:lnTo>
                    <a:pt x="2416263" y="1022700"/>
                  </a:lnTo>
                  <a:lnTo>
                    <a:pt x="2418335" y="1019493"/>
                  </a:lnTo>
                  <a:lnTo>
                    <a:pt x="2420457" y="1019493"/>
                  </a:lnTo>
                  <a:lnTo>
                    <a:pt x="2424552" y="1014559"/>
                  </a:lnTo>
                  <a:lnTo>
                    <a:pt x="2424552" y="1009625"/>
                  </a:lnTo>
                  <a:lnTo>
                    <a:pt x="2426674" y="1009625"/>
                  </a:lnTo>
                  <a:lnTo>
                    <a:pt x="2432940" y="1017667"/>
                  </a:lnTo>
                  <a:lnTo>
                    <a:pt x="2437085" y="1020924"/>
                  </a:lnTo>
                  <a:lnTo>
                    <a:pt x="2443351" y="1027338"/>
                  </a:lnTo>
                  <a:lnTo>
                    <a:pt x="2445423" y="1032272"/>
                  </a:lnTo>
                  <a:lnTo>
                    <a:pt x="2447496" y="1038735"/>
                  </a:lnTo>
                  <a:lnTo>
                    <a:pt x="2453762" y="1045199"/>
                  </a:lnTo>
                  <a:lnTo>
                    <a:pt x="2453762" y="1046827"/>
                  </a:lnTo>
                  <a:lnTo>
                    <a:pt x="2449568" y="1051761"/>
                  </a:lnTo>
                  <a:lnTo>
                    <a:pt x="2443450" y="1058620"/>
                  </a:lnTo>
                  <a:lnTo>
                    <a:pt x="2439256" y="1058620"/>
                  </a:lnTo>
                  <a:lnTo>
                    <a:pt x="2433039" y="1055363"/>
                  </a:lnTo>
                  <a:lnTo>
                    <a:pt x="2428845" y="1052156"/>
                  </a:lnTo>
                  <a:lnTo>
                    <a:pt x="2424651" y="1052156"/>
                  </a:lnTo>
                  <a:lnTo>
                    <a:pt x="2420556" y="1053784"/>
                  </a:lnTo>
                  <a:lnTo>
                    <a:pt x="2416362" y="1055363"/>
                  </a:lnTo>
                  <a:lnTo>
                    <a:pt x="2414240" y="1060297"/>
                  </a:lnTo>
                  <a:lnTo>
                    <a:pt x="2408023" y="1063554"/>
                  </a:lnTo>
                  <a:lnTo>
                    <a:pt x="2403977" y="1063554"/>
                  </a:lnTo>
                  <a:lnTo>
                    <a:pt x="2399833" y="1066761"/>
                  </a:lnTo>
                  <a:lnTo>
                    <a:pt x="2412365" y="1066761"/>
                  </a:lnTo>
                  <a:lnTo>
                    <a:pt x="2414388" y="1070017"/>
                  </a:lnTo>
                  <a:lnTo>
                    <a:pt x="2408171" y="1074951"/>
                  </a:lnTo>
                  <a:lnTo>
                    <a:pt x="2401955" y="1078158"/>
                  </a:lnTo>
                  <a:lnTo>
                    <a:pt x="2395688" y="1081366"/>
                  </a:lnTo>
                  <a:lnTo>
                    <a:pt x="2403977" y="1081366"/>
                  </a:lnTo>
                  <a:lnTo>
                    <a:pt x="2410244" y="1078158"/>
                  </a:lnTo>
                  <a:lnTo>
                    <a:pt x="2418582" y="1076530"/>
                  </a:lnTo>
                  <a:lnTo>
                    <a:pt x="2424799" y="1078158"/>
                  </a:lnTo>
                  <a:lnTo>
                    <a:pt x="2431115" y="1073224"/>
                  </a:lnTo>
                  <a:lnTo>
                    <a:pt x="2437331" y="1073224"/>
                  </a:lnTo>
                  <a:lnTo>
                    <a:pt x="2441525" y="1076432"/>
                  </a:lnTo>
                  <a:lnTo>
                    <a:pt x="2441525" y="1079688"/>
                  </a:lnTo>
                  <a:lnTo>
                    <a:pt x="2439404" y="1081267"/>
                  </a:lnTo>
                  <a:lnTo>
                    <a:pt x="2443598" y="1079688"/>
                  </a:lnTo>
                  <a:lnTo>
                    <a:pt x="2445670" y="1073224"/>
                  </a:lnTo>
                  <a:lnTo>
                    <a:pt x="2443598" y="1068290"/>
                  </a:lnTo>
                  <a:lnTo>
                    <a:pt x="2447742" y="1063356"/>
                  </a:lnTo>
                  <a:lnTo>
                    <a:pt x="2458153" y="1058422"/>
                  </a:lnTo>
                  <a:lnTo>
                    <a:pt x="2460225" y="1060001"/>
                  </a:lnTo>
                  <a:lnTo>
                    <a:pt x="2460225" y="1064935"/>
                  </a:lnTo>
                  <a:lnTo>
                    <a:pt x="2462347" y="1069869"/>
                  </a:lnTo>
                  <a:lnTo>
                    <a:pt x="2458153" y="1074803"/>
                  </a:lnTo>
                  <a:lnTo>
                    <a:pt x="2451936" y="1082846"/>
                  </a:lnTo>
                  <a:lnTo>
                    <a:pt x="2445670" y="1084474"/>
                  </a:lnTo>
                  <a:lnTo>
                    <a:pt x="2439404" y="1087681"/>
                  </a:lnTo>
                  <a:lnTo>
                    <a:pt x="2439404" y="1090938"/>
                  </a:lnTo>
                  <a:lnTo>
                    <a:pt x="2431115" y="1090938"/>
                  </a:lnTo>
                  <a:lnTo>
                    <a:pt x="2428993" y="1089309"/>
                  </a:lnTo>
                  <a:lnTo>
                    <a:pt x="2424799" y="1089309"/>
                  </a:lnTo>
                  <a:lnTo>
                    <a:pt x="2420704" y="1092516"/>
                  </a:lnTo>
                  <a:lnTo>
                    <a:pt x="2418582" y="1097450"/>
                  </a:lnTo>
                  <a:lnTo>
                    <a:pt x="2412365" y="1102384"/>
                  </a:lnTo>
                  <a:lnTo>
                    <a:pt x="2412365" y="1107319"/>
                  </a:lnTo>
                  <a:lnTo>
                    <a:pt x="2410244" y="1110526"/>
                  </a:lnTo>
                  <a:lnTo>
                    <a:pt x="2412365" y="1108897"/>
                  </a:lnTo>
                  <a:lnTo>
                    <a:pt x="2420704" y="1102483"/>
                  </a:lnTo>
                  <a:lnTo>
                    <a:pt x="2426921" y="1094391"/>
                  </a:lnTo>
                  <a:lnTo>
                    <a:pt x="2431115" y="1092763"/>
                  </a:lnTo>
                  <a:lnTo>
                    <a:pt x="2433187" y="1094391"/>
                  </a:lnTo>
                  <a:lnTo>
                    <a:pt x="2435259" y="1094391"/>
                  </a:lnTo>
                  <a:lnTo>
                    <a:pt x="2435259" y="1097648"/>
                  </a:lnTo>
                  <a:lnTo>
                    <a:pt x="2433187" y="1100855"/>
                  </a:lnTo>
                  <a:lnTo>
                    <a:pt x="2428993" y="1107319"/>
                  </a:lnTo>
                  <a:lnTo>
                    <a:pt x="2418483" y="1115065"/>
                  </a:lnTo>
                  <a:lnTo>
                    <a:pt x="2414290" y="1118321"/>
                  </a:lnTo>
                  <a:lnTo>
                    <a:pt x="2414290" y="1119999"/>
                  </a:lnTo>
                  <a:lnTo>
                    <a:pt x="2424700" y="1115065"/>
                  </a:lnTo>
                  <a:lnTo>
                    <a:pt x="2437233" y="1103766"/>
                  </a:lnTo>
                  <a:lnTo>
                    <a:pt x="2441427" y="1093898"/>
                  </a:lnTo>
                  <a:lnTo>
                    <a:pt x="2443499" y="1090691"/>
                  </a:lnTo>
                  <a:lnTo>
                    <a:pt x="2445571" y="1087434"/>
                  </a:lnTo>
                  <a:lnTo>
                    <a:pt x="2449716" y="1087434"/>
                  </a:lnTo>
                  <a:lnTo>
                    <a:pt x="2460127" y="1080971"/>
                  </a:lnTo>
                  <a:lnTo>
                    <a:pt x="2470537" y="1077764"/>
                  </a:lnTo>
                  <a:lnTo>
                    <a:pt x="2474732" y="1076135"/>
                  </a:lnTo>
                  <a:lnTo>
                    <a:pt x="2474732" y="1077764"/>
                  </a:lnTo>
                  <a:lnTo>
                    <a:pt x="2472659" y="1082698"/>
                  </a:lnTo>
                  <a:lnTo>
                    <a:pt x="2464320" y="1089161"/>
                  </a:lnTo>
                  <a:lnTo>
                    <a:pt x="2458252" y="1089161"/>
                  </a:lnTo>
                  <a:lnTo>
                    <a:pt x="2454107" y="1092368"/>
                  </a:lnTo>
                  <a:lnTo>
                    <a:pt x="2454107" y="1097302"/>
                  </a:lnTo>
                  <a:lnTo>
                    <a:pt x="2454107" y="1097302"/>
                  </a:lnTo>
                  <a:lnTo>
                    <a:pt x="2460324" y="1094046"/>
                  </a:lnTo>
                  <a:lnTo>
                    <a:pt x="2466590" y="1094046"/>
                  </a:lnTo>
                  <a:lnTo>
                    <a:pt x="2472857" y="1089112"/>
                  </a:lnTo>
                  <a:lnTo>
                    <a:pt x="2479123" y="1087484"/>
                  </a:lnTo>
                  <a:lnTo>
                    <a:pt x="2481146" y="1084277"/>
                  </a:lnTo>
                  <a:lnTo>
                    <a:pt x="2487412" y="1081020"/>
                  </a:lnTo>
                  <a:lnTo>
                    <a:pt x="2491606" y="1082648"/>
                  </a:lnTo>
                  <a:lnTo>
                    <a:pt x="2495750" y="1087582"/>
                  </a:lnTo>
                  <a:lnTo>
                    <a:pt x="2502017" y="1095674"/>
                  </a:lnTo>
                  <a:lnTo>
                    <a:pt x="2506161" y="1100608"/>
                  </a:lnTo>
                  <a:lnTo>
                    <a:pt x="2512427" y="1103815"/>
                  </a:lnTo>
                  <a:lnTo>
                    <a:pt x="2512427" y="1111907"/>
                  </a:lnTo>
                  <a:lnTo>
                    <a:pt x="2506161" y="1116841"/>
                  </a:lnTo>
                  <a:lnTo>
                    <a:pt x="2502017" y="1116841"/>
                  </a:lnTo>
                  <a:lnTo>
                    <a:pt x="2504089" y="1110378"/>
                  </a:lnTo>
                  <a:lnTo>
                    <a:pt x="2497724" y="1110378"/>
                  </a:lnTo>
                  <a:lnTo>
                    <a:pt x="2497724" y="1113634"/>
                  </a:lnTo>
                  <a:lnTo>
                    <a:pt x="2493579" y="1116841"/>
                  </a:lnTo>
                  <a:lnTo>
                    <a:pt x="2489435" y="1121775"/>
                  </a:lnTo>
                  <a:lnTo>
                    <a:pt x="2479024" y="1121775"/>
                  </a:lnTo>
                  <a:lnTo>
                    <a:pt x="2472758" y="1123404"/>
                  </a:lnTo>
                  <a:lnTo>
                    <a:pt x="2466491" y="1123404"/>
                  </a:lnTo>
                  <a:lnTo>
                    <a:pt x="2456081" y="1128338"/>
                  </a:lnTo>
                  <a:lnTo>
                    <a:pt x="2449814" y="1129966"/>
                  </a:lnTo>
                  <a:lnTo>
                    <a:pt x="2439404" y="1134900"/>
                  </a:lnTo>
                  <a:lnTo>
                    <a:pt x="2445670" y="1133272"/>
                  </a:lnTo>
                  <a:lnTo>
                    <a:pt x="2449814" y="1134900"/>
                  </a:lnTo>
                  <a:lnTo>
                    <a:pt x="2447742" y="1139834"/>
                  </a:lnTo>
                  <a:lnTo>
                    <a:pt x="2439404" y="1141413"/>
                  </a:lnTo>
                  <a:lnTo>
                    <a:pt x="2437331" y="1144669"/>
                  </a:lnTo>
                  <a:lnTo>
                    <a:pt x="2447742" y="1143041"/>
                  </a:lnTo>
                  <a:lnTo>
                    <a:pt x="2456081" y="1136577"/>
                  </a:lnTo>
                  <a:lnTo>
                    <a:pt x="2466491" y="1128535"/>
                  </a:lnTo>
                  <a:lnTo>
                    <a:pt x="2479024" y="1128535"/>
                  </a:lnTo>
                  <a:lnTo>
                    <a:pt x="2483169" y="1126907"/>
                  </a:lnTo>
                  <a:lnTo>
                    <a:pt x="2489435" y="1126907"/>
                  </a:lnTo>
                  <a:lnTo>
                    <a:pt x="2489435" y="1129867"/>
                  </a:lnTo>
                  <a:lnTo>
                    <a:pt x="2487313" y="1136281"/>
                  </a:lnTo>
                  <a:lnTo>
                    <a:pt x="2483169" y="1137910"/>
                  </a:lnTo>
                  <a:lnTo>
                    <a:pt x="2476903" y="1142844"/>
                  </a:lnTo>
                  <a:lnTo>
                    <a:pt x="2472758" y="1141215"/>
                  </a:lnTo>
                  <a:lnTo>
                    <a:pt x="2468613" y="1144472"/>
                  </a:lnTo>
                  <a:lnTo>
                    <a:pt x="2464419" y="1149406"/>
                  </a:lnTo>
                  <a:lnTo>
                    <a:pt x="2458153" y="1151034"/>
                  </a:lnTo>
                  <a:lnTo>
                    <a:pt x="2451936" y="1149406"/>
                  </a:lnTo>
                  <a:lnTo>
                    <a:pt x="2447742" y="1151034"/>
                  </a:lnTo>
                  <a:lnTo>
                    <a:pt x="2443598" y="1155968"/>
                  </a:lnTo>
                  <a:lnTo>
                    <a:pt x="2445670" y="1154340"/>
                  </a:lnTo>
                  <a:lnTo>
                    <a:pt x="2451936" y="1152712"/>
                  </a:lnTo>
                  <a:lnTo>
                    <a:pt x="2458153" y="1154340"/>
                  </a:lnTo>
                  <a:lnTo>
                    <a:pt x="2460225" y="1155968"/>
                  </a:lnTo>
                  <a:lnTo>
                    <a:pt x="2468613" y="1151034"/>
                  </a:lnTo>
                  <a:lnTo>
                    <a:pt x="2472758" y="1144571"/>
                  </a:lnTo>
                  <a:lnTo>
                    <a:pt x="2479024" y="1142942"/>
                  </a:lnTo>
                  <a:lnTo>
                    <a:pt x="2483169" y="1144571"/>
                  </a:lnTo>
                  <a:lnTo>
                    <a:pt x="2489435" y="1146199"/>
                  </a:lnTo>
                  <a:lnTo>
                    <a:pt x="2493579" y="1141265"/>
                  </a:lnTo>
                  <a:lnTo>
                    <a:pt x="2501918" y="1138058"/>
                  </a:lnTo>
                  <a:lnTo>
                    <a:pt x="2503990" y="1136429"/>
                  </a:lnTo>
                  <a:lnTo>
                    <a:pt x="2503990" y="1133222"/>
                  </a:lnTo>
                  <a:lnTo>
                    <a:pt x="2501918" y="1131594"/>
                  </a:lnTo>
                  <a:lnTo>
                    <a:pt x="2506063" y="1126660"/>
                  </a:lnTo>
                  <a:lnTo>
                    <a:pt x="2506063" y="1123453"/>
                  </a:lnTo>
                  <a:lnTo>
                    <a:pt x="2510256" y="1121825"/>
                  </a:lnTo>
                  <a:lnTo>
                    <a:pt x="2512329" y="1123453"/>
                  </a:lnTo>
                  <a:lnTo>
                    <a:pt x="2514401" y="1121825"/>
                  </a:lnTo>
                  <a:lnTo>
                    <a:pt x="2516473" y="1128288"/>
                  </a:lnTo>
                  <a:lnTo>
                    <a:pt x="2522740" y="1141166"/>
                  </a:lnTo>
                  <a:lnTo>
                    <a:pt x="2524861" y="1149258"/>
                  </a:lnTo>
                  <a:lnTo>
                    <a:pt x="2528957" y="1152465"/>
                  </a:lnTo>
                  <a:lnTo>
                    <a:pt x="2526884" y="1157399"/>
                  </a:lnTo>
                  <a:lnTo>
                    <a:pt x="2524861" y="1162333"/>
                  </a:lnTo>
                  <a:lnTo>
                    <a:pt x="2516473" y="1162333"/>
                  </a:lnTo>
                  <a:lnTo>
                    <a:pt x="2512329" y="1159077"/>
                  </a:lnTo>
                  <a:lnTo>
                    <a:pt x="2501918" y="1157448"/>
                  </a:lnTo>
                  <a:lnTo>
                    <a:pt x="2497724" y="1160705"/>
                  </a:lnTo>
                  <a:lnTo>
                    <a:pt x="2491507" y="1163912"/>
                  </a:lnTo>
                  <a:lnTo>
                    <a:pt x="2487313" y="1163912"/>
                  </a:lnTo>
                  <a:lnTo>
                    <a:pt x="2485241" y="1162333"/>
                  </a:lnTo>
                  <a:lnTo>
                    <a:pt x="2479024" y="1162333"/>
                  </a:lnTo>
                  <a:lnTo>
                    <a:pt x="2474830" y="1165540"/>
                  </a:lnTo>
                  <a:lnTo>
                    <a:pt x="2464419" y="1167168"/>
                  </a:lnTo>
                  <a:lnTo>
                    <a:pt x="2468613" y="1168747"/>
                  </a:lnTo>
                  <a:lnTo>
                    <a:pt x="2481047" y="1167168"/>
                  </a:lnTo>
                  <a:lnTo>
                    <a:pt x="2487313" y="1168747"/>
                  </a:lnTo>
                  <a:lnTo>
                    <a:pt x="2497724" y="1176839"/>
                  </a:lnTo>
                  <a:lnTo>
                    <a:pt x="2501918" y="1180046"/>
                  </a:lnTo>
                  <a:lnTo>
                    <a:pt x="2506063" y="1178467"/>
                  </a:lnTo>
                  <a:lnTo>
                    <a:pt x="2510256" y="1176839"/>
                  </a:lnTo>
                  <a:lnTo>
                    <a:pt x="2514401" y="1178467"/>
                  </a:lnTo>
                  <a:lnTo>
                    <a:pt x="2518545" y="1181674"/>
                  </a:lnTo>
                  <a:lnTo>
                    <a:pt x="2526884" y="1184882"/>
                  </a:lnTo>
                  <a:lnTo>
                    <a:pt x="2526884" y="1188138"/>
                  </a:lnTo>
                  <a:lnTo>
                    <a:pt x="2531078" y="1193072"/>
                  </a:lnTo>
                  <a:lnTo>
                    <a:pt x="2531078" y="1198944"/>
                  </a:lnTo>
                  <a:lnTo>
                    <a:pt x="2528957" y="1202151"/>
                  </a:lnTo>
                  <a:lnTo>
                    <a:pt x="2522740" y="1202151"/>
                  </a:lnTo>
                  <a:lnTo>
                    <a:pt x="2520667" y="1197217"/>
                  </a:lnTo>
                  <a:lnTo>
                    <a:pt x="2516473" y="1197217"/>
                  </a:lnTo>
                  <a:lnTo>
                    <a:pt x="2514401" y="1200424"/>
                  </a:lnTo>
                  <a:lnTo>
                    <a:pt x="2510256" y="1198845"/>
                  </a:lnTo>
                  <a:lnTo>
                    <a:pt x="2508135" y="1195588"/>
                  </a:lnTo>
                  <a:lnTo>
                    <a:pt x="2503990" y="1197217"/>
                  </a:lnTo>
                  <a:lnTo>
                    <a:pt x="2499846" y="1195588"/>
                  </a:lnTo>
                  <a:lnTo>
                    <a:pt x="2491507" y="1187546"/>
                  </a:lnTo>
                  <a:lnTo>
                    <a:pt x="2482922" y="1187546"/>
                  </a:lnTo>
                  <a:lnTo>
                    <a:pt x="2478777" y="1189174"/>
                  </a:lnTo>
                  <a:lnTo>
                    <a:pt x="2472511" y="1185918"/>
                  </a:lnTo>
                  <a:lnTo>
                    <a:pt x="2474583" y="1189174"/>
                  </a:lnTo>
                  <a:lnTo>
                    <a:pt x="2480800" y="1190753"/>
                  </a:lnTo>
                  <a:lnTo>
                    <a:pt x="2487067" y="1192381"/>
                  </a:lnTo>
                  <a:lnTo>
                    <a:pt x="2484994" y="1194010"/>
                  </a:lnTo>
                  <a:lnTo>
                    <a:pt x="2476656" y="1195588"/>
                  </a:lnTo>
                  <a:lnTo>
                    <a:pt x="2472511" y="1197217"/>
                  </a:lnTo>
                  <a:lnTo>
                    <a:pt x="2466245" y="1197217"/>
                  </a:lnTo>
                  <a:lnTo>
                    <a:pt x="2459979" y="1198845"/>
                  </a:lnTo>
                  <a:lnTo>
                    <a:pt x="2459979" y="1203779"/>
                  </a:lnTo>
                  <a:lnTo>
                    <a:pt x="2464173" y="1203779"/>
                  </a:lnTo>
                  <a:lnTo>
                    <a:pt x="2466245" y="1200523"/>
                  </a:lnTo>
                  <a:lnTo>
                    <a:pt x="2474583" y="1200523"/>
                  </a:lnTo>
                  <a:lnTo>
                    <a:pt x="2480800" y="1197315"/>
                  </a:lnTo>
                  <a:lnTo>
                    <a:pt x="2484994" y="1197315"/>
                  </a:lnTo>
                  <a:lnTo>
                    <a:pt x="2489188" y="1202249"/>
                  </a:lnTo>
                  <a:lnTo>
                    <a:pt x="2489188" y="1203878"/>
                  </a:lnTo>
                  <a:lnTo>
                    <a:pt x="2493333" y="1205506"/>
                  </a:lnTo>
                  <a:lnTo>
                    <a:pt x="2493333" y="1208812"/>
                  </a:lnTo>
                  <a:lnTo>
                    <a:pt x="2484994" y="1208812"/>
                  </a:lnTo>
                  <a:lnTo>
                    <a:pt x="2482922" y="1210440"/>
                  </a:lnTo>
                  <a:lnTo>
                    <a:pt x="2478777" y="1208812"/>
                  </a:lnTo>
                  <a:lnTo>
                    <a:pt x="2478777" y="1207183"/>
                  </a:lnTo>
                  <a:lnTo>
                    <a:pt x="2474583" y="1207183"/>
                  </a:lnTo>
                  <a:lnTo>
                    <a:pt x="2472511" y="1208812"/>
                  </a:lnTo>
                  <a:lnTo>
                    <a:pt x="2476656" y="1212019"/>
                  </a:lnTo>
                  <a:lnTo>
                    <a:pt x="2482922" y="1213746"/>
                  </a:lnTo>
                  <a:lnTo>
                    <a:pt x="2484994" y="1215374"/>
                  </a:lnTo>
                  <a:lnTo>
                    <a:pt x="2484994" y="1220308"/>
                  </a:lnTo>
                  <a:lnTo>
                    <a:pt x="2487067" y="1221936"/>
                  </a:lnTo>
                  <a:lnTo>
                    <a:pt x="2482922" y="1223515"/>
                  </a:lnTo>
                  <a:lnTo>
                    <a:pt x="2470390" y="1220308"/>
                  </a:lnTo>
                  <a:lnTo>
                    <a:pt x="2462100" y="1220308"/>
                  </a:lnTo>
                  <a:lnTo>
                    <a:pt x="2447298" y="1215374"/>
                  </a:lnTo>
                  <a:lnTo>
                    <a:pt x="2443450" y="1215374"/>
                  </a:lnTo>
                  <a:lnTo>
                    <a:pt x="2443450" y="1218581"/>
                  </a:lnTo>
                  <a:lnTo>
                    <a:pt x="2451788" y="1220209"/>
                  </a:lnTo>
                  <a:lnTo>
                    <a:pt x="2470488" y="1228252"/>
                  </a:lnTo>
                  <a:lnTo>
                    <a:pt x="2472610" y="1229880"/>
                  </a:lnTo>
                  <a:lnTo>
                    <a:pt x="2468465" y="1231508"/>
                  </a:lnTo>
                  <a:lnTo>
                    <a:pt x="2458005" y="1226574"/>
                  </a:lnTo>
                  <a:lnTo>
                    <a:pt x="2455933" y="1226574"/>
                  </a:lnTo>
                  <a:lnTo>
                    <a:pt x="2449667" y="1231508"/>
                  </a:lnTo>
                  <a:lnTo>
                    <a:pt x="2455933" y="1231508"/>
                  </a:lnTo>
                  <a:lnTo>
                    <a:pt x="2458005" y="1233087"/>
                  </a:lnTo>
                  <a:lnTo>
                    <a:pt x="2462199" y="1234715"/>
                  </a:lnTo>
                  <a:lnTo>
                    <a:pt x="2464271" y="1234715"/>
                  </a:lnTo>
                  <a:lnTo>
                    <a:pt x="2468465" y="1236344"/>
                  </a:lnTo>
                  <a:lnTo>
                    <a:pt x="2468465" y="1239551"/>
                  </a:lnTo>
                  <a:lnTo>
                    <a:pt x="2470488" y="1242807"/>
                  </a:lnTo>
                  <a:lnTo>
                    <a:pt x="2472610" y="1241179"/>
                  </a:lnTo>
                  <a:lnTo>
                    <a:pt x="2474682" y="1237922"/>
                  </a:lnTo>
                  <a:lnTo>
                    <a:pt x="2478876" y="1237922"/>
                  </a:lnTo>
                  <a:lnTo>
                    <a:pt x="2478876" y="1241179"/>
                  </a:lnTo>
                  <a:lnTo>
                    <a:pt x="2476754" y="1244386"/>
                  </a:lnTo>
                  <a:lnTo>
                    <a:pt x="2476754" y="1246014"/>
                  </a:lnTo>
                  <a:lnTo>
                    <a:pt x="2480899" y="1246014"/>
                  </a:lnTo>
                  <a:lnTo>
                    <a:pt x="2480899" y="1241080"/>
                  </a:lnTo>
                  <a:lnTo>
                    <a:pt x="2485093" y="1241080"/>
                  </a:lnTo>
                  <a:lnTo>
                    <a:pt x="2493431" y="1242708"/>
                  </a:lnTo>
                  <a:lnTo>
                    <a:pt x="2499698" y="1245916"/>
                  </a:lnTo>
                  <a:lnTo>
                    <a:pt x="2505914" y="1244287"/>
                  </a:lnTo>
                  <a:lnTo>
                    <a:pt x="2501770" y="1249221"/>
                  </a:lnTo>
                  <a:lnTo>
                    <a:pt x="2501770" y="1252429"/>
                  </a:lnTo>
                  <a:lnTo>
                    <a:pt x="2495504" y="1250800"/>
                  </a:lnTo>
                  <a:lnTo>
                    <a:pt x="2491359" y="1249221"/>
                  </a:lnTo>
                  <a:lnTo>
                    <a:pt x="2482922" y="1249221"/>
                  </a:lnTo>
                  <a:lnTo>
                    <a:pt x="2472511" y="1254155"/>
                  </a:lnTo>
                  <a:lnTo>
                    <a:pt x="2472511" y="1259089"/>
                  </a:lnTo>
                  <a:lnTo>
                    <a:pt x="2476656" y="1254155"/>
                  </a:lnTo>
                  <a:lnTo>
                    <a:pt x="2484994" y="1254155"/>
                  </a:lnTo>
                  <a:lnTo>
                    <a:pt x="2491260" y="1255734"/>
                  </a:lnTo>
                  <a:lnTo>
                    <a:pt x="2484994" y="1257363"/>
                  </a:lnTo>
                  <a:lnTo>
                    <a:pt x="2482922" y="1260619"/>
                  </a:lnTo>
                  <a:lnTo>
                    <a:pt x="2489188" y="1258991"/>
                  </a:lnTo>
                  <a:lnTo>
                    <a:pt x="2497724" y="1258991"/>
                  </a:lnTo>
                  <a:lnTo>
                    <a:pt x="2499846" y="1262198"/>
                  </a:lnTo>
                  <a:lnTo>
                    <a:pt x="2497724" y="1263826"/>
                  </a:lnTo>
                  <a:lnTo>
                    <a:pt x="2503990" y="1265405"/>
                  </a:lnTo>
                  <a:lnTo>
                    <a:pt x="2508135" y="1268662"/>
                  </a:lnTo>
                  <a:lnTo>
                    <a:pt x="2506063" y="1273596"/>
                  </a:lnTo>
                  <a:lnTo>
                    <a:pt x="2501918" y="1280059"/>
                  </a:lnTo>
                  <a:lnTo>
                    <a:pt x="2501918" y="1282822"/>
                  </a:lnTo>
                  <a:lnTo>
                    <a:pt x="2503990" y="1281243"/>
                  </a:lnTo>
                  <a:lnTo>
                    <a:pt x="2506063" y="1276309"/>
                  </a:lnTo>
                  <a:lnTo>
                    <a:pt x="2510256" y="1273053"/>
                  </a:lnTo>
                  <a:lnTo>
                    <a:pt x="2514401" y="1273053"/>
                  </a:lnTo>
                  <a:lnTo>
                    <a:pt x="2516473" y="1276309"/>
                  </a:lnTo>
                  <a:lnTo>
                    <a:pt x="2514401" y="1281243"/>
                  </a:lnTo>
                  <a:lnTo>
                    <a:pt x="2506063" y="1291111"/>
                  </a:lnTo>
                  <a:lnTo>
                    <a:pt x="2503990" y="1296045"/>
                  </a:lnTo>
                  <a:lnTo>
                    <a:pt x="2503990" y="1300979"/>
                  </a:lnTo>
                  <a:lnTo>
                    <a:pt x="2508135" y="1299351"/>
                  </a:lnTo>
                  <a:lnTo>
                    <a:pt x="2512329" y="1291309"/>
                  </a:lnTo>
                  <a:lnTo>
                    <a:pt x="2512329" y="1287756"/>
                  </a:lnTo>
                  <a:lnTo>
                    <a:pt x="2516473" y="1282822"/>
                  </a:lnTo>
                  <a:lnTo>
                    <a:pt x="2522740" y="1281243"/>
                  </a:lnTo>
                  <a:lnTo>
                    <a:pt x="2522740" y="1279615"/>
                  </a:lnTo>
                  <a:lnTo>
                    <a:pt x="2524861" y="1274681"/>
                  </a:lnTo>
                  <a:lnTo>
                    <a:pt x="2528957" y="1271425"/>
                  </a:lnTo>
                  <a:lnTo>
                    <a:pt x="2531078" y="1273053"/>
                  </a:lnTo>
                  <a:lnTo>
                    <a:pt x="2528957" y="1277987"/>
                  </a:lnTo>
                  <a:lnTo>
                    <a:pt x="2522740" y="1284450"/>
                  </a:lnTo>
                  <a:lnTo>
                    <a:pt x="2520667" y="1289384"/>
                  </a:lnTo>
                  <a:lnTo>
                    <a:pt x="2518545" y="1295848"/>
                  </a:lnTo>
                  <a:lnTo>
                    <a:pt x="2520667" y="1300782"/>
                  </a:lnTo>
                  <a:lnTo>
                    <a:pt x="2522740" y="1299154"/>
                  </a:lnTo>
                  <a:lnTo>
                    <a:pt x="2522740" y="1289286"/>
                  </a:lnTo>
                  <a:lnTo>
                    <a:pt x="2528957" y="1286029"/>
                  </a:lnTo>
                  <a:lnTo>
                    <a:pt x="2531078" y="1281095"/>
                  </a:lnTo>
                  <a:lnTo>
                    <a:pt x="2539417" y="1276161"/>
                  </a:lnTo>
                  <a:lnTo>
                    <a:pt x="2545683" y="1271227"/>
                  </a:lnTo>
                  <a:lnTo>
                    <a:pt x="2547706" y="1274484"/>
                  </a:lnTo>
                  <a:lnTo>
                    <a:pt x="2547706" y="1280947"/>
                  </a:lnTo>
                  <a:lnTo>
                    <a:pt x="2543561" y="1284154"/>
                  </a:lnTo>
                  <a:lnTo>
                    <a:pt x="2535272" y="1285733"/>
                  </a:lnTo>
                  <a:lnTo>
                    <a:pt x="2535272" y="1290667"/>
                  </a:lnTo>
                  <a:lnTo>
                    <a:pt x="2533150" y="1295601"/>
                  </a:lnTo>
                  <a:lnTo>
                    <a:pt x="2535272" y="1297230"/>
                  </a:lnTo>
                  <a:lnTo>
                    <a:pt x="2537295" y="1293973"/>
                  </a:lnTo>
                  <a:lnTo>
                    <a:pt x="2539417" y="1297230"/>
                  </a:lnTo>
                  <a:lnTo>
                    <a:pt x="2543561" y="1293973"/>
                  </a:lnTo>
                  <a:lnTo>
                    <a:pt x="2551998" y="1292690"/>
                  </a:lnTo>
                  <a:lnTo>
                    <a:pt x="2554071" y="1295947"/>
                  </a:lnTo>
                  <a:lnTo>
                    <a:pt x="2556192" y="1302410"/>
                  </a:lnTo>
                  <a:lnTo>
                    <a:pt x="2556192" y="1305617"/>
                  </a:lnTo>
                  <a:lnTo>
                    <a:pt x="2549926" y="1308874"/>
                  </a:lnTo>
                  <a:lnTo>
                    <a:pt x="2549926" y="1310453"/>
                  </a:lnTo>
                  <a:lnTo>
                    <a:pt x="2554071" y="1310453"/>
                  </a:lnTo>
                  <a:lnTo>
                    <a:pt x="2558265" y="1315387"/>
                  </a:lnTo>
                  <a:lnTo>
                    <a:pt x="2551998" y="1316966"/>
                  </a:lnTo>
                  <a:lnTo>
                    <a:pt x="2547805" y="1316966"/>
                  </a:lnTo>
                  <a:lnTo>
                    <a:pt x="2551998" y="1318594"/>
                  </a:lnTo>
                  <a:lnTo>
                    <a:pt x="2558265" y="1321801"/>
                  </a:lnTo>
                  <a:lnTo>
                    <a:pt x="2543463" y="1323429"/>
                  </a:lnTo>
                  <a:lnTo>
                    <a:pt x="2537196" y="1323429"/>
                  </a:lnTo>
                  <a:lnTo>
                    <a:pt x="2541390" y="1326636"/>
                  </a:lnTo>
                  <a:lnTo>
                    <a:pt x="2547607" y="1326636"/>
                  </a:lnTo>
                  <a:lnTo>
                    <a:pt x="2558067" y="1328265"/>
                  </a:lnTo>
                  <a:lnTo>
                    <a:pt x="2560140" y="1325058"/>
                  </a:lnTo>
                  <a:lnTo>
                    <a:pt x="2566406" y="1323429"/>
                  </a:lnTo>
                  <a:lnTo>
                    <a:pt x="2568478" y="1325058"/>
                  </a:lnTo>
                  <a:lnTo>
                    <a:pt x="2562212" y="1329992"/>
                  </a:lnTo>
                  <a:lnTo>
                    <a:pt x="2560140" y="1336455"/>
                  </a:lnTo>
                  <a:lnTo>
                    <a:pt x="2566406" y="1331521"/>
                  </a:lnTo>
                  <a:lnTo>
                    <a:pt x="2572623" y="1329942"/>
                  </a:lnTo>
                  <a:lnTo>
                    <a:pt x="2576817" y="1325008"/>
                  </a:lnTo>
                  <a:lnTo>
                    <a:pt x="2583033" y="1321752"/>
                  </a:lnTo>
                  <a:lnTo>
                    <a:pt x="2587227" y="1323380"/>
                  </a:lnTo>
                  <a:lnTo>
                    <a:pt x="2587227" y="1325008"/>
                  </a:lnTo>
                  <a:lnTo>
                    <a:pt x="2583033" y="1329942"/>
                  </a:lnTo>
                  <a:lnTo>
                    <a:pt x="2578889" y="1329942"/>
                  </a:lnTo>
                  <a:lnTo>
                    <a:pt x="2576817" y="1334876"/>
                  </a:lnTo>
                  <a:lnTo>
                    <a:pt x="2572623" y="1341340"/>
                  </a:lnTo>
                  <a:lnTo>
                    <a:pt x="2564284" y="1343017"/>
                  </a:lnTo>
                  <a:lnTo>
                    <a:pt x="2562212" y="1349432"/>
                  </a:lnTo>
                  <a:lnTo>
                    <a:pt x="2562212" y="1352639"/>
                  </a:lnTo>
                  <a:lnTo>
                    <a:pt x="2566406" y="1352639"/>
                  </a:lnTo>
                  <a:lnTo>
                    <a:pt x="2570550" y="1349432"/>
                  </a:lnTo>
                  <a:lnTo>
                    <a:pt x="2570550" y="1346225"/>
                  </a:lnTo>
                  <a:lnTo>
                    <a:pt x="2578889" y="1338133"/>
                  </a:lnTo>
                  <a:lnTo>
                    <a:pt x="2585106" y="1336554"/>
                  </a:lnTo>
                  <a:lnTo>
                    <a:pt x="2585106" y="1341488"/>
                  </a:lnTo>
                  <a:lnTo>
                    <a:pt x="2578889" y="1347951"/>
                  </a:lnTo>
                  <a:lnTo>
                    <a:pt x="2578889" y="1354415"/>
                  </a:lnTo>
                  <a:lnTo>
                    <a:pt x="2576817" y="1357672"/>
                  </a:lnTo>
                  <a:lnTo>
                    <a:pt x="2580961" y="1356043"/>
                  </a:lnTo>
                  <a:lnTo>
                    <a:pt x="2585106" y="1347951"/>
                  </a:lnTo>
                  <a:lnTo>
                    <a:pt x="2585106" y="1344744"/>
                  </a:lnTo>
                  <a:lnTo>
                    <a:pt x="2589300" y="1343165"/>
                  </a:lnTo>
                  <a:lnTo>
                    <a:pt x="2591372" y="1344744"/>
                  </a:lnTo>
                  <a:lnTo>
                    <a:pt x="2591372" y="1352787"/>
                  </a:lnTo>
                  <a:lnTo>
                    <a:pt x="2595517" y="1356043"/>
                  </a:lnTo>
                  <a:lnTo>
                    <a:pt x="2597638" y="1356043"/>
                  </a:lnTo>
                  <a:lnTo>
                    <a:pt x="2595517" y="1349580"/>
                  </a:lnTo>
                  <a:lnTo>
                    <a:pt x="2599710" y="1344646"/>
                  </a:lnTo>
                  <a:lnTo>
                    <a:pt x="2608049" y="1341389"/>
                  </a:lnTo>
                  <a:lnTo>
                    <a:pt x="2610121" y="1343067"/>
                  </a:lnTo>
                  <a:lnTo>
                    <a:pt x="2605927" y="1346274"/>
                  </a:lnTo>
                  <a:lnTo>
                    <a:pt x="2608049" y="1347853"/>
                  </a:lnTo>
                  <a:lnTo>
                    <a:pt x="2614315" y="1347853"/>
                  </a:lnTo>
                  <a:lnTo>
                    <a:pt x="2618460" y="1351109"/>
                  </a:lnTo>
                  <a:lnTo>
                    <a:pt x="2614315" y="1357573"/>
                  </a:lnTo>
                  <a:lnTo>
                    <a:pt x="2620532" y="1355945"/>
                  </a:lnTo>
                  <a:lnTo>
                    <a:pt x="2622604" y="1359152"/>
                  </a:lnTo>
                  <a:lnTo>
                    <a:pt x="2624726" y="1364086"/>
                  </a:lnTo>
                  <a:lnTo>
                    <a:pt x="2628871" y="1367293"/>
                  </a:lnTo>
                  <a:lnTo>
                    <a:pt x="2628871" y="1370549"/>
                  </a:lnTo>
                  <a:lnTo>
                    <a:pt x="2626749" y="1372128"/>
                  </a:lnTo>
                  <a:lnTo>
                    <a:pt x="2624726" y="1373756"/>
                  </a:lnTo>
                  <a:lnTo>
                    <a:pt x="2616141" y="1373756"/>
                  </a:lnTo>
                  <a:lnTo>
                    <a:pt x="2616141" y="1370549"/>
                  </a:lnTo>
                  <a:lnTo>
                    <a:pt x="2614118" y="1365615"/>
                  </a:lnTo>
                  <a:lnTo>
                    <a:pt x="2609924" y="1365615"/>
                  </a:lnTo>
                  <a:lnTo>
                    <a:pt x="2607852" y="1362359"/>
                  </a:lnTo>
                  <a:lnTo>
                    <a:pt x="2603658" y="1365615"/>
                  </a:lnTo>
                  <a:lnTo>
                    <a:pt x="2601585" y="1370549"/>
                  </a:lnTo>
                  <a:lnTo>
                    <a:pt x="2605730" y="1367293"/>
                  </a:lnTo>
                  <a:lnTo>
                    <a:pt x="2609924" y="1368872"/>
                  </a:lnTo>
                  <a:lnTo>
                    <a:pt x="2611996" y="1372128"/>
                  </a:lnTo>
                  <a:lnTo>
                    <a:pt x="2609924" y="1372128"/>
                  </a:lnTo>
                  <a:lnTo>
                    <a:pt x="2611996" y="1373756"/>
                  </a:lnTo>
                  <a:lnTo>
                    <a:pt x="2614118" y="1376963"/>
                  </a:lnTo>
                  <a:lnTo>
                    <a:pt x="2609924" y="1378592"/>
                  </a:lnTo>
                  <a:lnTo>
                    <a:pt x="2605730" y="1376963"/>
                  </a:lnTo>
                  <a:lnTo>
                    <a:pt x="2601585" y="1380171"/>
                  </a:lnTo>
                  <a:lnTo>
                    <a:pt x="2603658" y="1381799"/>
                  </a:lnTo>
                  <a:lnTo>
                    <a:pt x="2616141" y="1381799"/>
                  </a:lnTo>
                  <a:lnTo>
                    <a:pt x="2616141" y="1383378"/>
                  </a:lnTo>
                  <a:lnTo>
                    <a:pt x="2614118" y="1386634"/>
                  </a:lnTo>
                  <a:lnTo>
                    <a:pt x="2607852" y="1386634"/>
                  </a:lnTo>
                  <a:lnTo>
                    <a:pt x="2603658" y="1388262"/>
                  </a:lnTo>
                  <a:lnTo>
                    <a:pt x="2595319" y="1386634"/>
                  </a:lnTo>
                  <a:lnTo>
                    <a:pt x="2591471" y="1386634"/>
                  </a:lnTo>
                  <a:lnTo>
                    <a:pt x="2591471" y="1378592"/>
                  </a:lnTo>
                  <a:lnTo>
                    <a:pt x="2587326" y="1376963"/>
                  </a:lnTo>
                  <a:lnTo>
                    <a:pt x="2585204" y="1375335"/>
                  </a:lnTo>
                  <a:lnTo>
                    <a:pt x="2581060" y="1375335"/>
                  </a:lnTo>
                  <a:lnTo>
                    <a:pt x="2583132" y="1378592"/>
                  </a:lnTo>
                  <a:lnTo>
                    <a:pt x="2585204" y="1380171"/>
                  </a:lnTo>
                  <a:lnTo>
                    <a:pt x="2587326" y="1385105"/>
                  </a:lnTo>
                  <a:lnTo>
                    <a:pt x="2585204" y="1388312"/>
                  </a:lnTo>
                  <a:lnTo>
                    <a:pt x="2581060" y="1388312"/>
                  </a:lnTo>
                  <a:lnTo>
                    <a:pt x="2576915" y="1385105"/>
                  </a:lnTo>
                  <a:lnTo>
                    <a:pt x="2574794" y="1381848"/>
                  </a:lnTo>
                  <a:lnTo>
                    <a:pt x="2574794" y="1388312"/>
                  </a:lnTo>
                  <a:lnTo>
                    <a:pt x="2576915" y="1391568"/>
                  </a:lnTo>
                  <a:lnTo>
                    <a:pt x="2585204" y="1391568"/>
                  </a:lnTo>
                  <a:lnTo>
                    <a:pt x="2589398" y="1394775"/>
                  </a:lnTo>
                  <a:lnTo>
                    <a:pt x="2593543" y="1394775"/>
                  </a:lnTo>
                  <a:lnTo>
                    <a:pt x="2593543" y="1397983"/>
                  </a:lnTo>
                  <a:lnTo>
                    <a:pt x="2591471" y="1402917"/>
                  </a:lnTo>
                  <a:lnTo>
                    <a:pt x="2581060" y="1402917"/>
                  </a:lnTo>
                  <a:lnTo>
                    <a:pt x="2578987" y="1399709"/>
                  </a:lnTo>
                  <a:lnTo>
                    <a:pt x="2572721" y="1394775"/>
                  </a:lnTo>
                  <a:lnTo>
                    <a:pt x="2568577" y="1393147"/>
                  </a:lnTo>
                  <a:lnTo>
                    <a:pt x="2568577" y="1393147"/>
                  </a:lnTo>
                  <a:lnTo>
                    <a:pt x="2568577" y="1394775"/>
                  </a:lnTo>
                  <a:lnTo>
                    <a:pt x="2576915" y="1399709"/>
                  </a:lnTo>
                  <a:lnTo>
                    <a:pt x="2578987" y="1404644"/>
                  </a:lnTo>
                  <a:lnTo>
                    <a:pt x="2578987" y="1411058"/>
                  </a:lnTo>
                  <a:lnTo>
                    <a:pt x="2576915" y="1414314"/>
                  </a:lnTo>
                  <a:lnTo>
                    <a:pt x="2572721" y="1414314"/>
                  </a:lnTo>
                  <a:lnTo>
                    <a:pt x="2570649" y="1411058"/>
                  </a:lnTo>
                  <a:lnTo>
                    <a:pt x="2566504" y="1407851"/>
                  </a:lnTo>
                  <a:lnTo>
                    <a:pt x="2562311" y="1406272"/>
                  </a:lnTo>
                  <a:lnTo>
                    <a:pt x="2564383" y="1407851"/>
                  </a:lnTo>
                  <a:lnTo>
                    <a:pt x="2566504" y="1409479"/>
                  </a:lnTo>
                  <a:lnTo>
                    <a:pt x="2566504" y="1422406"/>
                  </a:lnTo>
                  <a:lnTo>
                    <a:pt x="2564383" y="1423985"/>
                  </a:lnTo>
                  <a:lnTo>
                    <a:pt x="2560238" y="1423985"/>
                  </a:lnTo>
                  <a:lnTo>
                    <a:pt x="2558166" y="1420778"/>
                  </a:lnTo>
                  <a:lnTo>
                    <a:pt x="2558166" y="1415844"/>
                  </a:lnTo>
                  <a:lnTo>
                    <a:pt x="2556094" y="1417423"/>
                  </a:lnTo>
                  <a:lnTo>
                    <a:pt x="2553972" y="1420679"/>
                  </a:lnTo>
                  <a:lnTo>
                    <a:pt x="2549827" y="1420679"/>
                  </a:lnTo>
                  <a:lnTo>
                    <a:pt x="2545683" y="1419100"/>
                  </a:lnTo>
                  <a:lnTo>
                    <a:pt x="2547706" y="1415844"/>
                  </a:lnTo>
                  <a:lnTo>
                    <a:pt x="2545683" y="1410910"/>
                  </a:lnTo>
                  <a:lnTo>
                    <a:pt x="2545683" y="1405976"/>
                  </a:lnTo>
                  <a:lnTo>
                    <a:pt x="2543561" y="1404347"/>
                  </a:lnTo>
                  <a:lnTo>
                    <a:pt x="2541489" y="1407555"/>
                  </a:lnTo>
                  <a:lnTo>
                    <a:pt x="2541489" y="1415646"/>
                  </a:lnTo>
                  <a:lnTo>
                    <a:pt x="2539417" y="1417225"/>
                  </a:lnTo>
                  <a:lnTo>
                    <a:pt x="2535272" y="1418903"/>
                  </a:lnTo>
                  <a:lnTo>
                    <a:pt x="2535272" y="1420482"/>
                  </a:lnTo>
                  <a:lnTo>
                    <a:pt x="2539417" y="1420482"/>
                  </a:lnTo>
                  <a:lnTo>
                    <a:pt x="2541489" y="1422110"/>
                  </a:lnTo>
                  <a:lnTo>
                    <a:pt x="2537295" y="1425317"/>
                  </a:lnTo>
                  <a:lnTo>
                    <a:pt x="2533150" y="1425317"/>
                  </a:lnTo>
                  <a:lnTo>
                    <a:pt x="2531078" y="1423689"/>
                  </a:lnTo>
                  <a:lnTo>
                    <a:pt x="2531078" y="1425317"/>
                  </a:lnTo>
                  <a:lnTo>
                    <a:pt x="2535272" y="1428524"/>
                  </a:lnTo>
                  <a:lnTo>
                    <a:pt x="2539417" y="1428524"/>
                  </a:lnTo>
                  <a:lnTo>
                    <a:pt x="2539417" y="1434988"/>
                  </a:lnTo>
                  <a:lnTo>
                    <a:pt x="2535272" y="1436616"/>
                  </a:lnTo>
                  <a:lnTo>
                    <a:pt x="2535272" y="1438195"/>
                  </a:lnTo>
                  <a:lnTo>
                    <a:pt x="2537295" y="1443129"/>
                  </a:lnTo>
                  <a:lnTo>
                    <a:pt x="2537295" y="1445645"/>
                  </a:lnTo>
                  <a:lnTo>
                    <a:pt x="2535272" y="1445645"/>
                  </a:lnTo>
                  <a:lnTo>
                    <a:pt x="2531078" y="1444017"/>
                  </a:lnTo>
                  <a:lnTo>
                    <a:pt x="2531078" y="1444017"/>
                  </a:lnTo>
                  <a:lnTo>
                    <a:pt x="2535272" y="1448951"/>
                  </a:lnTo>
                  <a:lnTo>
                    <a:pt x="2535272" y="1456994"/>
                  </a:lnTo>
                  <a:lnTo>
                    <a:pt x="2526884" y="1458622"/>
                  </a:lnTo>
                  <a:lnTo>
                    <a:pt x="2526884" y="1461829"/>
                  </a:lnTo>
                  <a:lnTo>
                    <a:pt x="2522740" y="1460250"/>
                  </a:lnTo>
                  <a:lnTo>
                    <a:pt x="2522740" y="1456994"/>
                  </a:lnTo>
                  <a:lnTo>
                    <a:pt x="2520667" y="1456994"/>
                  </a:lnTo>
                  <a:lnTo>
                    <a:pt x="2520667" y="1453786"/>
                  </a:lnTo>
                  <a:lnTo>
                    <a:pt x="2518545" y="1452158"/>
                  </a:lnTo>
                  <a:lnTo>
                    <a:pt x="2516473" y="1450530"/>
                  </a:lnTo>
                  <a:lnTo>
                    <a:pt x="2518545" y="1447323"/>
                  </a:lnTo>
                  <a:lnTo>
                    <a:pt x="2518545" y="1444066"/>
                  </a:lnTo>
                  <a:lnTo>
                    <a:pt x="2516473" y="1445695"/>
                  </a:lnTo>
                  <a:lnTo>
                    <a:pt x="2512329" y="1447323"/>
                  </a:lnTo>
                  <a:lnTo>
                    <a:pt x="2510256" y="1450530"/>
                  </a:lnTo>
                  <a:lnTo>
                    <a:pt x="2508135" y="1450530"/>
                  </a:lnTo>
                  <a:lnTo>
                    <a:pt x="2506063" y="1445596"/>
                  </a:lnTo>
                  <a:lnTo>
                    <a:pt x="2508135" y="1443968"/>
                  </a:lnTo>
                  <a:lnTo>
                    <a:pt x="2506063" y="1440761"/>
                  </a:lnTo>
                  <a:lnTo>
                    <a:pt x="2503990" y="1439182"/>
                  </a:lnTo>
                  <a:lnTo>
                    <a:pt x="2508135" y="1437504"/>
                  </a:lnTo>
                  <a:lnTo>
                    <a:pt x="2508135" y="1431090"/>
                  </a:lnTo>
                  <a:lnTo>
                    <a:pt x="2508135" y="1431090"/>
                  </a:lnTo>
                  <a:lnTo>
                    <a:pt x="2503990" y="1434297"/>
                  </a:lnTo>
                  <a:lnTo>
                    <a:pt x="2501918" y="1440761"/>
                  </a:lnTo>
                  <a:lnTo>
                    <a:pt x="2497724" y="1443968"/>
                  </a:lnTo>
                  <a:lnTo>
                    <a:pt x="2495652" y="1442389"/>
                  </a:lnTo>
                  <a:lnTo>
                    <a:pt x="2495652" y="1439182"/>
                  </a:lnTo>
                  <a:lnTo>
                    <a:pt x="2493579" y="1435925"/>
                  </a:lnTo>
                  <a:lnTo>
                    <a:pt x="2491507" y="1430991"/>
                  </a:lnTo>
                  <a:lnTo>
                    <a:pt x="2493579" y="1429363"/>
                  </a:lnTo>
                  <a:lnTo>
                    <a:pt x="2499846" y="1427735"/>
                  </a:lnTo>
                  <a:lnTo>
                    <a:pt x="2499846" y="1426156"/>
                  </a:lnTo>
                  <a:lnTo>
                    <a:pt x="2503990" y="1424528"/>
                  </a:lnTo>
                  <a:lnTo>
                    <a:pt x="2501918" y="1422899"/>
                  </a:lnTo>
                  <a:lnTo>
                    <a:pt x="2489336" y="1422899"/>
                  </a:lnTo>
                  <a:lnTo>
                    <a:pt x="2487214" y="1421321"/>
                  </a:lnTo>
                  <a:lnTo>
                    <a:pt x="2489336" y="1418113"/>
                  </a:lnTo>
                  <a:lnTo>
                    <a:pt x="2493481" y="1416436"/>
                  </a:lnTo>
                  <a:lnTo>
                    <a:pt x="2499747" y="1411502"/>
                  </a:lnTo>
                  <a:lnTo>
                    <a:pt x="2495553" y="1411502"/>
                  </a:lnTo>
                  <a:lnTo>
                    <a:pt x="2491408" y="1413081"/>
                  </a:lnTo>
                  <a:lnTo>
                    <a:pt x="2489336" y="1413081"/>
                  </a:lnTo>
                  <a:lnTo>
                    <a:pt x="2487214" y="1409824"/>
                  </a:lnTo>
                  <a:lnTo>
                    <a:pt x="2491408" y="1408245"/>
                  </a:lnTo>
                  <a:lnTo>
                    <a:pt x="2495553" y="1406617"/>
                  </a:lnTo>
                  <a:lnTo>
                    <a:pt x="2501819" y="1405038"/>
                  </a:lnTo>
                  <a:lnTo>
                    <a:pt x="2497625" y="1403410"/>
                  </a:lnTo>
                  <a:lnTo>
                    <a:pt x="2491408" y="1403410"/>
                  </a:lnTo>
                  <a:lnTo>
                    <a:pt x="2487214" y="1406617"/>
                  </a:lnTo>
                  <a:lnTo>
                    <a:pt x="2485142" y="1405038"/>
                  </a:lnTo>
                  <a:lnTo>
                    <a:pt x="2487214" y="1401782"/>
                  </a:lnTo>
                  <a:lnTo>
                    <a:pt x="2491408" y="1395318"/>
                  </a:lnTo>
                  <a:lnTo>
                    <a:pt x="2495553" y="1393739"/>
                  </a:lnTo>
                  <a:lnTo>
                    <a:pt x="2501819" y="1393739"/>
                  </a:lnTo>
                  <a:lnTo>
                    <a:pt x="2508036" y="1388805"/>
                  </a:lnTo>
                  <a:lnTo>
                    <a:pt x="2512230" y="1387226"/>
                  </a:lnTo>
                  <a:lnTo>
                    <a:pt x="2516375" y="1380763"/>
                  </a:lnTo>
                  <a:lnTo>
                    <a:pt x="2520569" y="1375829"/>
                  </a:lnTo>
                  <a:lnTo>
                    <a:pt x="2524762" y="1374200"/>
                  </a:lnTo>
                  <a:lnTo>
                    <a:pt x="2522641" y="1372622"/>
                  </a:lnTo>
                  <a:lnTo>
                    <a:pt x="2520569" y="1372622"/>
                  </a:lnTo>
                  <a:lnTo>
                    <a:pt x="2514302" y="1377556"/>
                  </a:lnTo>
                  <a:lnTo>
                    <a:pt x="2510158" y="1379134"/>
                  </a:lnTo>
                  <a:lnTo>
                    <a:pt x="2505964" y="1384069"/>
                  </a:lnTo>
                  <a:lnTo>
                    <a:pt x="2497625" y="1387276"/>
                  </a:lnTo>
                  <a:lnTo>
                    <a:pt x="2493481" y="1387276"/>
                  </a:lnTo>
                  <a:lnTo>
                    <a:pt x="2485142" y="1393739"/>
                  </a:lnTo>
                  <a:lnTo>
                    <a:pt x="2478925" y="1393739"/>
                  </a:lnTo>
                  <a:lnTo>
                    <a:pt x="2472659" y="1392111"/>
                  </a:lnTo>
                  <a:lnTo>
                    <a:pt x="2474732" y="1390532"/>
                  </a:lnTo>
                  <a:lnTo>
                    <a:pt x="2483070" y="1380664"/>
                  </a:lnTo>
                  <a:lnTo>
                    <a:pt x="2491408" y="1377457"/>
                  </a:lnTo>
                  <a:lnTo>
                    <a:pt x="2493481" y="1374200"/>
                  </a:lnTo>
                  <a:lnTo>
                    <a:pt x="2495553" y="1372622"/>
                  </a:lnTo>
                  <a:lnTo>
                    <a:pt x="2495553" y="1367688"/>
                  </a:lnTo>
                  <a:lnTo>
                    <a:pt x="2489336" y="1374151"/>
                  </a:lnTo>
                  <a:lnTo>
                    <a:pt x="2476804" y="1382194"/>
                  </a:lnTo>
                  <a:lnTo>
                    <a:pt x="2470537" y="1383871"/>
                  </a:lnTo>
                  <a:lnTo>
                    <a:pt x="2468515" y="1382194"/>
                  </a:lnTo>
                  <a:lnTo>
                    <a:pt x="2466393" y="1380615"/>
                  </a:lnTo>
                  <a:lnTo>
                    <a:pt x="2468515" y="1375681"/>
                  </a:lnTo>
                  <a:lnTo>
                    <a:pt x="2466393" y="1374052"/>
                  </a:lnTo>
                  <a:lnTo>
                    <a:pt x="2462248" y="1375681"/>
                  </a:lnTo>
                  <a:lnTo>
                    <a:pt x="2458054" y="1372474"/>
                  </a:lnTo>
                  <a:lnTo>
                    <a:pt x="2460127" y="1370845"/>
                  </a:lnTo>
                  <a:lnTo>
                    <a:pt x="2464320" y="1369266"/>
                  </a:lnTo>
                  <a:lnTo>
                    <a:pt x="2464320" y="1367589"/>
                  </a:lnTo>
                  <a:lnTo>
                    <a:pt x="2460127" y="1366010"/>
                  </a:lnTo>
                  <a:lnTo>
                    <a:pt x="2458252" y="1366010"/>
                  </a:lnTo>
                  <a:lnTo>
                    <a:pt x="2456180" y="1364382"/>
                  </a:lnTo>
                  <a:lnTo>
                    <a:pt x="2458252" y="1357918"/>
                  </a:lnTo>
                  <a:lnTo>
                    <a:pt x="2460324" y="1356339"/>
                  </a:lnTo>
                  <a:lnTo>
                    <a:pt x="2460324" y="1353083"/>
                  </a:lnTo>
                  <a:lnTo>
                    <a:pt x="2456180" y="1351455"/>
                  </a:lnTo>
                  <a:lnTo>
                    <a:pt x="2454107" y="1348248"/>
                  </a:lnTo>
                  <a:lnTo>
                    <a:pt x="2452035" y="1348248"/>
                  </a:lnTo>
                  <a:lnTo>
                    <a:pt x="2452035" y="1353182"/>
                  </a:lnTo>
                  <a:lnTo>
                    <a:pt x="2454107" y="1356438"/>
                  </a:lnTo>
                  <a:lnTo>
                    <a:pt x="2447841" y="1358017"/>
                  </a:lnTo>
                  <a:lnTo>
                    <a:pt x="2445768" y="1354810"/>
                  </a:lnTo>
                  <a:lnTo>
                    <a:pt x="2441624" y="1353182"/>
                  </a:lnTo>
                  <a:lnTo>
                    <a:pt x="2435358" y="1353182"/>
                  </a:lnTo>
                  <a:lnTo>
                    <a:pt x="2441624" y="1356438"/>
                  </a:lnTo>
                  <a:lnTo>
                    <a:pt x="2445768" y="1361372"/>
                  </a:lnTo>
                  <a:lnTo>
                    <a:pt x="2445768" y="1367836"/>
                  </a:lnTo>
                  <a:lnTo>
                    <a:pt x="2441624" y="1366257"/>
                  </a:lnTo>
                  <a:lnTo>
                    <a:pt x="2441624" y="1369513"/>
                  </a:lnTo>
                  <a:lnTo>
                    <a:pt x="2437430" y="1369513"/>
                  </a:lnTo>
                  <a:lnTo>
                    <a:pt x="2433286" y="1366257"/>
                  </a:lnTo>
                  <a:lnTo>
                    <a:pt x="2431213" y="1361323"/>
                  </a:lnTo>
                  <a:lnTo>
                    <a:pt x="2429092" y="1358116"/>
                  </a:lnTo>
                  <a:lnTo>
                    <a:pt x="2427019" y="1359744"/>
                  </a:lnTo>
                  <a:lnTo>
                    <a:pt x="2431213" y="1364678"/>
                  </a:lnTo>
                  <a:lnTo>
                    <a:pt x="2431213" y="1367885"/>
                  </a:lnTo>
                  <a:lnTo>
                    <a:pt x="2429092" y="1372819"/>
                  </a:lnTo>
                  <a:lnTo>
                    <a:pt x="2433286" y="1372819"/>
                  </a:lnTo>
                  <a:lnTo>
                    <a:pt x="2437430" y="1377753"/>
                  </a:lnTo>
                  <a:lnTo>
                    <a:pt x="2439502" y="1382687"/>
                  </a:lnTo>
                  <a:lnTo>
                    <a:pt x="2439502" y="1387621"/>
                  </a:lnTo>
                  <a:lnTo>
                    <a:pt x="2441624" y="1387621"/>
                  </a:lnTo>
                  <a:lnTo>
                    <a:pt x="2441624" y="1390878"/>
                  </a:lnTo>
                  <a:lnTo>
                    <a:pt x="2437430" y="1392456"/>
                  </a:lnTo>
                  <a:lnTo>
                    <a:pt x="2431213" y="1390878"/>
                  </a:lnTo>
                  <a:lnTo>
                    <a:pt x="2427019" y="1387621"/>
                  </a:lnTo>
                  <a:lnTo>
                    <a:pt x="2424898" y="1392555"/>
                  </a:lnTo>
                  <a:lnTo>
                    <a:pt x="2422875" y="1392555"/>
                  </a:lnTo>
                  <a:lnTo>
                    <a:pt x="2416608" y="1386091"/>
                  </a:lnTo>
                  <a:lnTo>
                    <a:pt x="2414487" y="1382835"/>
                  </a:lnTo>
                  <a:lnTo>
                    <a:pt x="2418681" y="1379628"/>
                  </a:lnTo>
                  <a:lnTo>
                    <a:pt x="2416608" y="1374694"/>
                  </a:lnTo>
                  <a:lnTo>
                    <a:pt x="2410342" y="1371487"/>
                  </a:lnTo>
                  <a:lnTo>
                    <a:pt x="2406198" y="1371487"/>
                  </a:lnTo>
                  <a:lnTo>
                    <a:pt x="2404076" y="1368230"/>
                  </a:lnTo>
                  <a:lnTo>
                    <a:pt x="2402053" y="1365023"/>
                  </a:lnTo>
                  <a:lnTo>
                    <a:pt x="2397859" y="1366651"/>
                  </a:lnTo>
                  <a:lnTo>
                    <a:pt x="2391593" y="1368230"/>
                  </a:lnTo>
                  <a:lnTo>
                    <a:pt x="2383254" y="1368230"/>
                  </a:lnTo>
                  <a:lnTo>
                    <a:pt x="2387448" y="1371487"/>
                  </a:lnTo>
                  <a:lnTo>
                    <a:pt x="2395787" y="1371487"/>
                  </a:lnTo>
                  <a:lnTo>
                    <a:pt x="2399931" y="1373115"/>
                  </a:lnTo>
                  <a:lnTo>
                    <a:pt x="2408270" y="1376322"/>
                  </a:lnTo>
                  <a:lnTo>
                    <a:pt x="2408270" y="1381256"/>
                  </a:lnTo>
                  <a:lnTo>
                    <a:pt x="2404076" y="1386190"/>
                  </a:lnTo>
                  <a:lnTo>
                    <a:pt x="2404076" y="1389397"/>
                  </a:lnTo>
                  <a:lnTo>
                    <a:pt x="2408270" y="1389397"/>
                  </a:lnTo>
                  <a:lnTo>
                    <a:pt x="2410342" y="1391075"/>
                  </a:lnTo>
                  <a:lnTo>
                    <a:pt x="2408270" y="1394282"/>
                  </a:lnTo>
                  <a:lnTo>
                    <a:pt x="2410342" y="1395861"/>
                  </a:lnTo>
                  <a:lnTo>
                    <a:pt x="2416608" y="1395861"/>
                  </a:lnTo>
                  <a:lnTo>
                    <a:pt x="2416608" y="1399117"/>
                  </a:lnTo>
                  <a:lnTo>
                    <a:pt x="2412464" y="1404051"/>
                  </a:lnTo>
                  <a:lnTo>
                    <a:pt x="2404076" y="1412143"/>
                  </a:lnTo>
                  <a:lnTo>
                    <a:pt x="2397859" y="1415350"/>
                  </a:lnTo>
                  <a:lnTo>
                    <a:pt x="2410342" y="1413722"/>
                  </a:lnTo>
                  <a:lnTo>
                    <a:pt x="2414487" y="1408788"/>
                  </a:lnTo>
                  <a:lnTo>
                    <a:pt x="2416608" y="1405581"/>
                  </a:lnTo>
                  <a:lnTo>
                    <a:pt x="2424898" y="1405581"/>
                  </a:lnTo>
                  <a:lnTo>
                    <a:pt x="2429092" y="1408788"/>
                  </a:lnTo>
                  <a:lnTo>
                    <a:pt x="2429092" y="1410367"/>
                  </a:lnTo>
                  <a:lnTo>
                    <a:pt x="2422875" y="1413623"/>
                  </a:lnTo>
                  <a:lnTo>
                    <a:pt x="2418681" y="1418558"/>
                  </a:lnTo>
                  <a:lnTo>
                    <a:pt x="2422875" y="1420136"/>
                  </a:lnTo>
                  <a:lnTo>
                    <a:pt x="2429092" y="1420136"/>
                  </a:lnTo>
                  <a:lnTo>
                    <a:pt x="2431213" y="1423344"/>
                  </a:lnTo>
                  <a:lnTo>
                    <a:pt x="2429092" y="1424972"/>
                  </a:lnTo>
                  <a:lnTo>
                    <a:pt x="2422875" y="1426600"/>
                  </a:lnTo>
                  <a:lnTo>
                    <a:pt x="2420802" y="1428179"/>
                  </a:lnTo>
                  <a:lnTo>
                    <a:pt x="2424898" y="1429807"/>
                  </a:lnTo>
                  <a:lnTo>
                    <a:pt x="2424898" y="1436271"/>
                  </a:lnTo>
                  <a:lnTo>
                    <a:pt x="2427019" y="1436271"/>
                  </a:lnTo>
                  <a:lnTo>
                    <a:pt x="2427019" y="1441205"/>
                  </a:lnTo>
                  <a:lnTo>
                    <a:pt x="2429092" y="1441205"/>
                  </a:lnTo>
                  <a:lnTo>
                    <a:pt x="2431213" y="1446139"/>
                  </a:lnTo>
                  <a:lnTo>
                    <a:pt x="2431213" y="1452602"/>
                  </a:lnTo>
                  <a:lnTo>
                    <a:pt x="2433286" y="1454230"/>
                  </a:lnTo>
                  <a:lnTo>
                    <a:pt x="2435358" y="1450974"/>
                  </a:lnTo>
                  <a:lnTo>
                    <a:pt x="2435358" y="1444510"/>
                  </a:lnTo>
                  <a:lnTo>
                    <a:pt x="2439502" y="1442932"/>
                  </a:lnTo>
                  <a:lnTo>
                    <a:pt x="2443696" y="1446139"/>
                  </a:lnTo>
                  <a:lnTo>
                    <a:pt x="2443696" y="1452602"/>
                  </a:lnTo>
                  <a:lnTo>
                    <a:pt x="2445768" y="1455809"/>
                  </a:lnTo>
                  <a:lnTo>
                    <a:pt x="2445768" y="1457438"/>
                  </a:lnTo>
                  <a:lnTo>
                    <a:pt x="2439502" y="1460694"/>
                  </a:lnTo>
                  <a:lnTo>
                    <a:pt x="2441624" y="1462273"/>
                  </a:lnTo>
                  <a:lnTo>
                    <a:pt x="2449913" y="1462273"/>
                  </a:lnTo>
                  <a:lnTo>
                    <a:pt x="2452035" y="1460694"/>
                  </a:lnTo>
                  <a:lnTo>
                    <a:pt x="2452035" y="1463901"/>
                  </a:lnTo>
                  <a:lnTo>
                    <a:pt x="2456180" y="1460694"/>
                  </a:lnTo>
                  <a:lnTo>
                    <a:pt x="2456180" y="1457438"/>
                  </a:lnTo>
                  <a:lnTo>
                    <a:pt x="2460324" y="1457438"/>
                  </a:lnTo>
                  <a:lnTo>
                    <a:pt x="2462446" y="1462372"/>
                  </a:lnTo>
                  <a:lnTo>
                    <a:pt x="2460324" y="1467306"/>
                  </a:lnTo>
                  <a:lnTo>
                    <a:pt x="2456180" y="1470513"/>
                  </a:lnTo>
                  <a:lnTo>
                    <a:pt x="2456180" y="1475447"/>
                  </a:lnTo>
                  <a:lnTo>
                    <a:pt x="2454107" y="1477026"/>
                  </a:lnTo>
                  <a:lnTo>
                    <a:pt x="2458252" y="1478654"/>
                  </a:lnTo>
                  <a:lnTo>
                    <a:pt x="2466590" y="1478654"/>
                  </a:lnTo>
                  <a:lnTo>
                    <a:pt x="2470735" y="1477026"/>
                  </a:lnTo>
                  <a:lnTo>
                    <a:pt x="2472857" y="1478654"/>
                  </a:lnTo>
                  <a:lnTo>
                    <a:pt x="2468712" y="1483588"/>
                  </a:lnTo>
                  <a:lnTo>
                    <a:pt x="2466590" y="1485216"/>
                  </a:lnTo>
                  <a:lnTo>
                    <a:pt x="2458252" y="1486845"/>
                  </a:lnTo>
                  <a:lnTo>
                    <a:pt x="2462446" y="1490052"/>
                  </a:lnTo>
                  <a:lnTo>
                    <a:pt x="2466590" y="1496515"/>
                  </a:lnTo>
                  <a:lnTo>
                    <a:pt x="2464518" y="1501449"/>
                  </a:lnTo>
                  <a:lnTo>
                    <a:pt x="2468712" y="1501449"/>
                  </a:lnTo>
                  <a:lnTo>
                    <a:pt x="2470735" y="1509541"/>
                  </a:lnTo>
                  <a:lnTo>
                    <a:pt x="2477001" y="1520840"/>
                  </a:lnTo>
                  <a:lnTo>
                    <a:pt x="2481146" y="1522419"/>
                  </a:lnTo>
                  <a:lnTo>
                    <a:pt x="2474929" y="1524047"/>
                  </a:lnTo>
                  <a:lnTo>
                    <a:pt x="2474929" y="1532090"/>
                  </a:lnTo>
                  <a:lnTo>
                    <a:pt x="2470735" y="1538553"/>
                  </a:lnTo>
                  <a:lnTo>
                    <a:pt x="2472857" y="1545017"/>
                  </a:lnTo>
                  <a:lnTo>
                    <a:pt x="2470735" y="1548273"/>
                  </a:lnTo>
                  <a:lnTo>
                    <a:pt x="2462446" y="1538405"/>
                  </a:lnTo>
                  <a:lnTo>
                    <a:pt x="2460324" y="1531942"/>
                  </a:lnTo>
                  <a:lnTo>
                    <a:pt x="2460324" y="1525478"/>
                  </a:lnTo>
                  <a:lnTo>
                    <a:pt x="2458252" y="1517435"/>
                  </a:lnTo>
                  <a:lnTo>
                    <a:pt x="2458252" y="1523899"/>
                  </a:lnTo>
                  <a:lnTo>
                    <a:pt x="2456180" y="1533767"/>
                  </a:lnTo>
                  <a:lnTo>
                    <a:pt x="2460324" y="1543635"/>
                  </a:lnTo>
                  <a:lnTo>
                    <a:pt x="2460324" y="1553503"/>
                  </a:lnTo>
                  <a:lnTo>
                    <a:pt x="2458252" y="1558437"/>
                  </a:lnTo>
                  <a:lnTo>
                    <a:pt x="2462446" y="1564901"/>
                  </a:lnTo>
                  <a:lnTo>
                    <a:pt x="2460324" y="1566480"/>
                  </a:lnTo>
                  <a:lnTo>
                    <a:pt x="2454107" y="1564901"/>
                  </a:lnTo>
                  <a:lnTo>
                    <a:pt x="2449913" y="1559967"/>
                  </a:lnTo>
                  <a:lnTo>
                    <a:pt x="2443450" y="1559967"/>
                  </a:lnTo>
                  <a:lnTo>
                    <a:pt x="2447594" y="1571266"/>
                  </a:lnTo>
                  <a:lnTo>
                    <a:pt x="2447594" y="1579358"/>
                  </a:lnTo>
                  <a:lnTo>
                    <a:pt x="2449667" y="1580937"/>
                  </a:lnTo>
                  <a:lnTo>
                    <a:pt x="2449667" y="1585871"/>
                  </a:lnTo>
                  <a:lnTo>
                    <a:pt x="2443450" y="1584242"/>
                  </a:lnTo>
                  <a:lnTo>
                    <a:pt x="2439256" y="1580986"/>
                  </a:lnTo>
                  <a:lnTo>
                    <a:pt x="2437183" y="1571118"/>
                  </a:lnTo>
                  <a:lnTo>
                    <a:pt x="2439256" y="1567911"/>
                  </a:lnTo>
                  <a:lnTo>
                    <a:pt x="2439256" y="1561447"/>
                  </a:lnTo>
                  <a:lnTo>
                    <a:pt x="2435111" y="1564704"/>
                  </a:lnTo>
                  <a:lnTo>
                    <a:pt x="2430966" y="1566283"/>
                  </a:lnTo>
                  <a:lnTo>
                    <a:pt x="2428845" y="1563075"/>
                  </a:lnTo>
                  <a:lnTo>
                    <a:pt x="2428845" y="1553207"/>
                  </a:lnTo>
                  <a:lnTo>
                    <a:pt x="2424651" y="1554885"/>
                  </a:lnTo>
                  <a:lnTo>
                    <a:pt x="2422628" y="1559819"/>
                  </a:lnTo>
                  <a:lnTo>
                    <a:pt x="2422628" y="1554885"/>
                  </a:lnTo>
                  <a:lnTo>
                    <a:pt x="2420556" y="1548421"/>
                  </a:lnTo>
                  <a:lnTo>
                    <a:pt x="2416362" y="1548421"/>
                  </a:lnTo>
                  <a:lnTo>
                    <a:pt x="2416362" y="1549260"/>
                  </a:lnTo>
                  <a:lnTo>
                    <a:pt x="2418434" y="1552467"/>
                  </a:lnTo>
                  <a:lnTo>
                    <a:pt x="2416362" y="1555724"/>
                  </a:lnTo>
                  <a:lnTo>
                    <a:pt x="2412217" y="1552467"/>
                  </a:lnTo>
                  <a:lnTo>
                    <a:pt x="2408023" y="1552467"/>
                  </a:lnTo>
                  <a:lnTo>
                    <a:pt x="2408023" y="1542599"/>
                  </a:lnTo>
                  <a:lnTo>
                    <a:pt x="2403829" y="1532731"/>
                  </a:lnTo>
                  <a:lnTo>
                    <a:pt x="2403829" y="1527797"/>
                  </a:lnTo>
                  <a:lnTo>
                    <a:pt x="2401806" y="1534261"/>
                  </a:lnTo>
                  <a:lnTo>
                    <a:pt x="2403829" y="1542303"/>
                  </a:lnTo>
                  <a:lnTo>
                    <a:pt x="2403829" y="1549260"/>
                  </a:lnTo>
                  <a:lnTo>
                    <a:pt x="2401806" y="1552467"/>
                  </a:lnTo>
                  <a:lnTo>
                    <a:pt x="2395540" y="1542599"/>
                  </a:lnTo>
                  <a:lnTo>
                    <a:pt x="2391346" y="1537665"/>
                  </a:lnTo>
                  <a:lnTo>
                    <a:pt x="2391346" y="1536086"/>
                  </a:lnTo>
                  <a:lnTo>
                    <a:pt x="2385129" y="1534458"/>
                  </a:lnTo>
                  <a:lnTo>
                    <a:pt x="2383008" y="1524590"/>
                  </a:lnTo>
                  <a:lnTo>
                    <a:pt x="2378863" y="1523011"/>
                  </a:lnTo>
                  <a:lnTo>
                    <a:pt x="2378863" y="1519804"/>
                  </a:lnTo>
                  <a:lnTo>
                    <a:pt x="2376791" y="1514870"/>
                  </a:lnTo>
                  <a:lnTo>
                    <a:pt x="2372597" y="1516449"/>
                  </a:lnTo>
                  <a:lnTo>
                    <a:pt x="2372597" y="1519705"/>
                  </a:lnTo>
                  <a:lnTo>
                    <a:pt x="2374719" y="1526119"/>
                  </a:lnTo>
                  <a:lnTo>
                    <a:pt x="2376791" y="1531053"/>
                  </a:lnTo>
                  <a:lnTo>
                    <a:pt x="2372597" y="1527846"/>
                  </a:lnTo>
                  <a:lnTo>
                    <a:pt x="2372597" y="1524590"/>
                  </a:lnTo>
                  <a:lnTo>
                    <a:pt x="2368452" y="1521383"/>
                  </a:lnTo>
                  <a:lnTo>
                    <a:pt x="2360114" y="1518176"/>
                  </a:lnTo>
                  <a:lnTo>
                    <a:pt x="2355969" y="1510084"/>
                  </a:lnTo>
                  <a:lnTo>
                    <a:pt x="2355969" y="1505150"/>
                  </a:lnTo>
                  <a:lnTo>
                    <a:pt x="2349703" y="1503522"/>
                  </a:lnTo>
                  <a:lnTo>
                    <a:pt x="2345558" y="1506778"/>
                  </a:lnTo>
                  <a:lnTo>
                    <a:pt x="2341364" y="1505150"/>
                  </a:lnTo>
                  <a:lnTo>
                    <a:pt x="2341364" y="1518077"/>
                  </a:lnTo>
                  <a:lnTo>
                    <a:pt x="2351775" y="1524491"/>
                  </a:lnTo>
                  <a:lnTo>
                    <a:pt x="2351775" y="1527748"/>
                  </a:lnTo>
                  <a:lnTo>
                    <a:pt x="2353897" y="1532682"/>
                  </a:lnTo>
                  <a:lnTo>
                    <a:pt x="2353897" y="1539392"/>
                  </a:lnTo>
                  <a:lnTo>
                    <a:pt x="2355969" y="1539392"/>
                  </a:lnTo>
                  <a:lnTo>
                    <a:pt x="2364308" y="1541020"/>
                  </a:lnTo>
                  <a:lnTo>
                    <a:pt x="2368452" y="1545954"/>
                  </a:lnTo>
                  <a:lnTo>
                    <a:pt x="2368452" y="1549260"/>
                  </a:lnTo>
                  <a:lnTo>
                    <a:pt x="2374719" y="1549260"/>
                  </a:lnTo>
                  <a:lnTo>
                    <a:pt x="2370524" y="1554194"/>
                  </a:lnTo>
                  <a:lnTo>
                    <a:pt x="2378863" y="1554194"/>
                  </a:lnTo>
                  <a:lnTo>
                    <a:pt x="2380935" y="1559128"/>
                  </a:lnTo>
                  <a:lnTo>
                    <a:pt x="2383008" y="1564062"/>
                  </a:lnTo>
                  <a:lnTo>
                    <a:pt x="2383008" y="1570476"/>
                  </a:lnTo>
                  <a:lnTo>
                    <a:pt x="2389274" y="1568898"/>
                  </a:lnTo>
                  <a:lnTo>
                    <a:pt x="2391346" y="1570476"/>
                  </a:lnTo>
                  <a:lnTo>
                    <a:pt x="2393418" y="1576940"/>
                  </a:lnTo>
                  <a:lnTo>
                    <a:pt x="2387202" y="1583404"/>
                  </a:lnTo>
                  <a:lnTo>
                    <a:pt x="2391346" y="1583404"/>
                  </a:lnTo>
                  <a:lnTo>
                    <a:pt x="2393418" y="1586611"/>
                  </a:lnTo>
                  <a:lnTo>
                    <a:pt x="2393418" y="1589867"/>
                  </a:lnTo>
                  <a:lnTo>
                    <a:pt x="2399685" y="1584933"/>
                  </a:lnTo>
                  <a:lnTo>
                    <a:pt x="2401806" y="1586512"/>
                  </a:lnTo>
                  <a:lnTo>
                    <a:pt x="2401806" y="1592976"/>
                  </a:lnTo>
                  <a:lnTo>
                    <a:pt x="2403829" y="1594604"/>
                  </a:lnTo>
                  <a:lnTo>
                    <a:pt x="2405951" y="1592976"/>
                  </a:lnTo>
                  <a:lnTo>
                    <a:pt x="2408023" y="1596232"/>
                  </a:lnTo>
                  <a:lnTo>
                    <a:pt x="2405951" y="1601166"/>
                  </a:lnTo>
                  <a:lnTo>
                    <a:pt x="2399685" y="1599587"/>
                  </a:lnTo>
                  <a:lnTo>
                    <a:pt x="2397613" y="1602844"/>
                  </a:lnTo>
                  <a:lnTo>
                    <a:pt x="2399685" y="1606051"/>
                  </a:lnTo>
                  <a:lnTo>
                    <a:pt x="2403829" y="1610985"/>
                  </a:lnTo>
                  <a:lnTo>
                    <a:pt x="2403829" y="1615919"/>
                  </a:lnTo>
                  <a:close/>
                  <a:moveTo>
                    <a:pt x="1799854" y="1461977"/>
                  </a:moveTo>
                  <a:lnTo>
                    <a:pt x="1804048" y="1461977"/>
                  </a:lnTo>
                  <a:lnTo>
                    <a:pt x="1804048" y="1457043"/>
                  </a:lnTo>
                  <a:lnTo>
                    <a:pt x="1808193" y="1455415"/>
                  </a:lnTo>
                  <a:lnTo>
                    <a:pt x="1810265" y="1457043"/>
                  </a:lnTo>
                  <a:lnTo>
                    <a:pt x="1814459" y="1458671"/>
                  </a:lnTo>
                  <a:lnTo>
                    <a:pt x="1826942" y="1458671"/>
                  </a:lnTo>
                  <a:lnTo>
                    <a:pt x="1831087" y="1460299"/>
                  </a:lnTo>
                  <a:lnTo>
                    <a:pt x="1831087" y="1463507"/>
                  </a:lnTo>
                  <a:lnTo>
                    <a:pt x="1826942" y="1469970"/>
                  </a:lnTo>
                  <a:lnTo>
                    <a:pt x="1826942" y="1474904"/>
                  </a:lnTo>
                  <a:lnTo>
                    <a:pt x="1822748" y="1479838"/>
                  </a:lnTo>
                  <a:lnTo>
                    <a:pt x="1822748" y="1487930"/>
                  </a:lnTo>
                  <a:lnTo>
                    <a:pt x="1824870" y="1491137"/>
                  </a:lnTo>
                  <a:lnTo>
                    <a:pt x="1829014" y="1489509"/>
                  </a:lnTo>
                  <a:lnTo>
                    <a:pt x="1831087" y="1491137"/>
                  </a:lnTo>
                  <a:lnTo>
                    <a:pt x="1837353" y="1491137"/>
                  </a:lnTo>
                  <a:lnTo>
                    <a:pt x="1841547" y="1487930"/>
                  </a:lnTo>
                  <a:lnTo>
                    <a:pt x="1847764" y="1489509"/>
                  </a:lnTo>
                  <a:lnTo>
                    <a:pt x="1847764" y="1486302"/>
                  </a:lnTo>
                  <a:lnTo>
                    <a:pt x="1853981" y="1483045"/>
                  </a:lnTo>
                  <a:lnTo>
                    <a:pt x="1858174" y="1483045"/>
                  </a:lnTo>
                  <a:lnTo>
                    <a:pt x="1864441" y="1479838"/>
                  </a:lnTo>
                  <a:lnTo>
                    <a:pt x="1866513" y="1471746"/>
                  </a:lnTo>
                  <a:lnTo>
                    <a:pt x="1870657" y="1468539"/>
                  </a:lnTo>
                  <a:lnTo>
                    <a:pt x="1874851" y="1463605"/>
                  </a:lnTo>
                  <a:lnTo>
                    <a:pt x="1876924" y="1463605"/>
                  </a:lnTo>
                  <a:lnTo>
                    <a:pt x="1881068" y="1466862"/>
                  </a:lnTo>
                  <a:lnTo>
                    <a:pt x="1885262" y="1463605"/>
                  </a:lnTo>
                  <a:lnTo>
                    <a:pt x="1889407" y="1461977"/>
                  </a:lnTo>
                  <a:lnTo>
                    <a:pt x="1893601" y="1461977"/>
                  </a:lnTo>
                  <a:lnTo>
                    <a:pt x="1895673" y="1453934"/>
                  </a:lnTo>
                  <a:lnTo>
                    <a:pt x="1895673" y="1447471"/>
                  </a:lnTo>
                  <a:lnTo>
                    <a:pt x="1901939" y="1442537"/>
                  </a:lnTo>
                  <a:lnTo>
                    <a:pt x="1904011" y="1439330"/>
                  </a:lnTo>
                  <a:lnTo>
                    <a:pt x="1908206" y="1439330"/>
                  </a:lnTo>
                  <a:lnTo>
                    <a:pt x="1912350" y="1440909"/>
                  </a:lnTo>
                  <a:lnTo>
                    <a:pt x="1916495" y="1437652"/>
                  </a:lnTo>
                  <a:lnTo>
                    <a:pt x="1922761" y="1437652"/>
                  </a:lnTo>
                  <a:lnTo>
                    <a:pt x="1924833" y="1444116"/>
                  </a:lnTo>
                  <a:lnTo>
                    <a:pt x="1918616" y="1447372"/>
                  </a:lnTo>
                  <a:lnTo>
                    <a:pt x="1916495" y="1450579"/>
                  </a:lnTo>
                  <a:lnTo>
                    <a:pt x="1922761" y="1453836"/>
                  </a:lnTo>
                  <a:lnTo>
                    <a:pt x="1933172" y="1453836"/>
                  </a:lnTo>
                  <a:lnTo>
                    <a:pt x="1937316" y="1455415"/>
                  </a:lnTo>
                  <a:lnTo>
                    <a:pt x="1939438" y="1458671"/>
                  </a:lnTo>
                  <a:lnTo>
                    <a:pt x="1935244" y="1465381"/>
                  </a:lnTo>
                  <a:lnTo>
                    <a:pt x="1929027" y="1465381"/>
                  </a:lnTo>
                  <a:lnTo>
                    <a:pt x="1929027" y="1473424"/>
                  </a:lnTo>
                  <a:lnTo>
                    <a:pt x="1933172" y="1475052"/>
                  </a:lnTo>
                  <a:lnTo>
                    <a:pt x="1937316" y="1473424"/>
                  </a:lnTo>
                  <a:lnTo>
                    <a:pt x="1941510" y="1473424"/>
                  </a:lnTo>
                  <a:lnTo>
                    <a:pt x="1943583" y="1475052"/>
                  </a:lnTo>
                  <a:lnTo>
                    <a:pt x="1947727" y="1475052"/>
                  </a:lnTo>
                  <a:lnTo>
                    <a:pt x="1949849" y="1478259"/>
                  </a:lnTo>
                  <a:lnTo>
                    <a:pt x="1956065" y="1478259"/>
                  </a:lnTo>
                  <a:lnTo>
                    <a:pt x="1960260" y="1481516"/>
                  </a:lnTo>
                  <a:lnTo>
                    <a:pt x="1964404" y="1481516"/>
                  </a:lnTo>
                  <a:lnTo>
                    <a:pt x="1972743" y="1486450"/>
                  </a:lnTo>
                  <a:lnTo>
                    <a:pt x="1976887" y="1484822"/>
                  </a:lnTo>
                  <a:lnTo>
                    <a:pt x="1981081" y="1478358"/>
                  </a:lnTo>
                  <a:lnTo>
                    <a:pt x="1985226" y="1476730"/>
                  </a:lnTo>
                  <a:lnTo>
                    <a:pt x="1989370" y="1471796"/>
                  </a:lnTo>
                  <a:lnTo>
                    <a:pt x="1995686" y="1471796"/>
                  </a:lnTo>
                  <a:lnTo>
                    <a:pt x="1997758" y="1468589"/>
                  </a:lnTo>
                  <a:lnTo>
                    <a:pt x="1993564" y="1467010"/>
                  </a:lnTo>
                  <a:lnTo>
                    <a:pt x="1989370" y="1462076"/>
                  </a:lnTo>
                  <a:lnTo>
                    <a:pt x="1993564" y="1462076"/>
                  </a:lnTo>
                  <a:lnTo>
                    <a:pt x="1995686" y="1457142"/>
                  </a:lnTo>
                  <a:lnTo>
                    <a:pt x="1991492" y="1455513"/>
                  </a:lnTo>
                  <a:lnTo>
                    <a:pt x="1989370" y="1450579"/>
                  </a:lnTo>
                  <a:lnTo>
                    <a:pt x="1987347" y="1452208"/>
                  </a:lnTo>
                  <a:lnTo>
                    <a:pt x="1987347" y="1455513"/>
                  </a:lnTo>
                  <a:lnTo>
                    <a:pt x="1983154" y="1457142"/>
                  </a:lnTo>
                  <a:lnTo>
                    <a:pt x="1981081" y="1455513"/>
                  </a:lnTo>
                  <a:lnTo>
                    <a:pt x="1974815" y="1453934"/>
                  </a:lnTo>
                  <a:lnTo>
                    <a:pt x="1974815" y="1449000"/>
                  </a:lnTo>
                  <a:lnTo>
                    <a:pt x="1972743" y="1450579"/>
                  </a:lnTo>
                  <a:lnTo>
                    <a:pt x="1966477" y="1455513"/>
                  </a:lnTo>
                  <a:lnTo>
                    <a:pt x="1956065" y="1455513"/>
                  </a:lnTo>
                  <a:lnTo>
                    <a:pt x="1951921" y="1452306"/>
                  </a:lnTo>
                  <a:lnTo>
                    <a:pt x="1958138" y="1449099"/>
                  </a:lnTo>
                  <a:lnTo>
                    <a:pt x="1962332" y="1449099"/>
                  </a:lnTo>
                  <a:lnTo>
                    <a:pt x="1968549" y="1445843"/>
                  </a:lnTo>
                  <a:lnTo>
                    <a:pt x="1968549" y="1440909"/>
                  </a:lnTo>
                  <a:lnTo>
                    <a:pt x="1966477" y="1439330"/>
                  </a:lnTo>
                  <a:lnTo>
                    <a:pt x="1964404" y="1432866"/>
                  </a:lnTo>
                  <a:lnTo>
                    <a:pt x="1966477" y="1427932"/>
                  </a:lnTo>
                  <a:lnTo>
                    <a:pt x="1966477" y="1424725"/>
                  </a:lnTo>
                  <a:lnTo>
                    <a:pt x="1962332" y="1423097"/>
                  </a:lnTo>
                  <a:lnTo>
                    <a:pt x="1962332" y="1418163"/>
                  </a:lnTo>
                  <a:lnTo>
                    <a:pt x="1953993" y="1408295"/>
                  </a:lnTo>
                  <a:lnTo>
                    <a:pt x="1945655" y="1406666"/>
                  </a:lnTo>
                  <a:lnTo>
                    <a:pt x="1943583" y="1403459"/>
                  </a:lnTo>
                  <a:lnTo>
                    <a:pt x="1941510" y="1395367"/>
                  </a:lnTo>
                  <a:lnTo>
                    <a:pt x="1937316" y="1395367"/>
                  </a:lnTo>
                  <a:lnTo>
                    <a:pt x="1935244" y="1392160"/>
                  </a:lnTo>
                  <a:lnTo>
                    <a:pt x="1937316" y="1385697"/>
                  </a:lnTo>
                  <a:lnTo>
                    <a:pt x="1933172" y="1380763"/>
                  </a:lnTo>
                  <a:lnTo>
                    <a:pt x="1924833" y="1380763"/>
                  </a:lnTo>
                  <a:lnTo>
                    <a:pt x="1914422" y="1375829"/>
                  </a:lnTo>
                  <a:lnTo>
                    <a:pt x="1910228" y="1370895"/>
                  </a:lnTo>
                  <a:lnTo>
                    <a:pt x="1912350" y="1367638"/>
                  </a:lnTo>
                  <a:lnTo>
                    <a:pt x="1912350" y="1364431"/>
                  </a:lnTo>
                  <a:lnTo>
                    <a:pt x="1908206" y="1361175"/>
                  </a:lnTo>
                  <a:lnTo>
                    <a:pt x="1906084" y="1356241"/>
                  </a:lnTo>
                  <a:lnTo>
                    <a:pt x="1904011" y="1356241"/>
                  </a:lnTo>
                  <a:lnTo>
                    <a:pt x="1897795" y="1362704"/>
                  </a:lnTo>
                  <a:lnTo>
                    <a:pt x="1895673" y="1367638"/>
                  </a:lnTo>
                  <a:lnTo>
                    <a:pt x="1891479" y="1370895"/>
                  </a:lnTo>
                  <a:lnTo>
                    <a:pt x="1889407" y="1367638"/>
                  </a:lnTo>
                  <a:lnTo>
                    <a:pt x="1889407" y="1361767"/>
                  </a:lnTo>
                  <a:lnTo>
                    <a:pt x="1887334" y="1355353"/>
                  </a:lnTo>
                  <a:lnTo>
                    <a:pt x="1887334" y="1352096"/>
                  </a:lnTo>
                  <a:lnTo>
                    <a:pt x="1895772" y="1352096"/>
                  </a:lnTo>
                  <a:lnTo>
                    <a:pt x="1893699" y="1348889"/>
                  </a:lnTo>
                  <a:lnTo>
                    <a:pt x="1895772" y="1343955"/>
                  </a:lnTo>
                  <a:lnTo>
                    <a:pt x="1893699" y="1337491"/>
                  </a:lnTo>
                  <a:lnTo>
                    <a:pt x="1887433" y="1339120"/>
                  </a:lnTo>
                  <a:lnTo>
                    <a:pt x="1887433" y="1335912"/>
                  </a:lnTo>
                  <a:lnTo>
                    <a:pt x="1893699" y="1329449"/>
                  </a:lnTo>
                  <a:lnTo>
                    <a:pt x="1889505" y="1327821"/>
                  </a:lnTo>
                  <a:lnTo>
                    <a:pt x="1877022" y="1332755"/>
                  </a:lnTo>
                  <a:lnTo>
                    <a:pt x="1868684" y="1339218"/>
                  </a:lnTo>
                  <a:lnTo>
                    <a:pt x="1864539" y="1350517"/>
                  </a:lnTo>
                  <a:lnTo>
                    <a:pt x="1856299" y="1358708"/>
                  </a:lnTo>
                  <a:lnTo>
                    <a:pt x="1856299" y="1363642"/>
                  </a:lnTo>
                  <a:lnTo>
                    <a:pt x="1852155" y="1368576"/>
                  </a:lnTo>
                  <a:lnTo>
                    <a:pt x="1852155" y="1371635"/>
                  </a:lnTo>
                  <a:lnTo>
                    <a:pt x="1845889" y="1381503"/>
                  </a:lnTo>
                  <a:lnTo>
                    <a:pt x="1847961" y="1386437"/>
                  </a:lnTo>
                  <a:lnTo>
                    <a:pt x="1843767" y="1388065"/>
                  </a:lnTo>
                  <a:lnTo>
                    <a:pt x="1841744" y="1394529"/>
                  </a:lnTo>
                  <a:lnTo>
                    <a:pt x="1841744" y="1399463"/>
                  </a:lnTo>
                  <a:lnTo>
                    <a:pt x="1831284" y="1405926"/>
                  </a:lnTo>
                  <a:lnTo>
                    <a:pt x="1829212" y="1410860"/>
                  </a:lnTo>
                  <a:lnTo>
                    <a:pt x="1829212" y="1419002"/>
                  </a:lnTo>
                  <a:lnTo>
                    <a:pt x="1827139" y="1422209"/>
                  </a:lnTo>
                  <a:lnTo>
                    <a:pt x="1827139" y="1432077"/>
                  </a:lnTo>
                  <a:lnTo>
                    <a:pt x="1822945" y="1435284"/>
                  </a:lnTo>
                  <a:lnTo>
                    <a:pt x="1814656" y="1436912"/>
                  </a:lnTo>
                  <a:lnTo>
                    <a:pt x="1802124" y="1440169"/>
                  </a:lnTo>
                  <a:lnTo>
                    <a:pt x="1802124" y="1445645"/>
                  </a:lnTo>
                  <a:lnTo>
                    <a:pt x="1800051" y="1455513"/>
                  </a:lnTo>
                  <a:close/>
                  <a:moveTo>
                    <a:pt x="1858174" y="1552319"/>
                  </a:moveTo>
                  <a:lnTo>
                    <a:pt x="1860247" y="1553997"/>
                  </a:lnTo>
                  <a:lnTo>
                    <a:pt x="1862368" y="1552319"/>
                  </a:lnTo>
                  <a:lnTo>
                    <a:pt x="1868585" y="1545905"/>
                  </a:lnTo>
                  <a:lnTo>
                    <a:pt x="1876924" y="1545905"/>
                  </a:lnTo>
                  <a:lnTo>
                    <a:pt x="1878996" y="1549112"/>
                  </a:lnTo>
                  <a:lnTo>
                    <a:pt x="1883190" y="1549112"/>
                  </a:lnTo>
                  <a:lnTo>
                    <a:pt x="1893601" y="1542648"/>
                  </a:lnTo>
                  <a:lnTo>
                    <a:pt x="1897795" y="1541070"/>
                  </a:lnTo>
                  <a:lnTo>
                    <a:pt x="1904011" y="1537813"/>
                  </a:lnTo>
                  <a:lnTo>
                    <a:pt x="1910228" y="1529771"/>
                  </a:lnTo>
                  <a:lnTo>
                    <a:pt x="1916495" y="1529771"/>
                  </a:lnTo>
                  <a:lnTo>
                    <a:pt x="1924833" y="1524837"/>
                  </a:lnTo>
                  <a:lnTo>
                    <a:pt x="1924833" y="1521629"/>
                  </a:lnTo>
                  <a:lnTo>
                    <a:pt x="1931099" y="1515215"/>
                  </a:lnTo>
                  <a:lnTo>
                    <a:pt x="1929027" y="1513587"/>
                  </a:lnTo>
                  <a:lnTo>
                    <a:pt x="1922761" y="1513587"/>
                  </a:lnTo>
                  <a:lnTo>
                    <a:pt x="1918616" y="1511959"/>
                  </a:lnTo>
                  <a:lnTo>
                    <a:pt x="1914422" y="1511959"/>
                  </a:lnTo>
                  <a:lnTo>
                    <a:pt x="1908206" y="1513587"/>
                  </a:lnTo>
                  <a:lnTo>
                    <a:pt x="1906084" y="1511959"/>
                  </a:lnTo>
                  <a:lnTo>
                    <a:pt x="1901939" y="1513587"/>
                  </a:lnTo>
                  <a:lnTo>
                    <a:pt x="1897795" y="1518521"/>
                  </a:lnTo>
                  <a:lnTo>
                    <a:pt x="1891479" y="1515314"/>
                  </a:lnTo>
                  <a:lnTo>
                    <a:pt x="1889407" y="1510380"/>
                  </a:lnTo>
                  <a:lnTo>
                    <a:pt x="1887334" y="1512008"/>
                  </a:lnTo>
                  <a:lnTo>
                    <a:pt x="1881068" y="1513636"/>
                  </a:lnTo>
                  <a:lnTo>
                    <a:pt x="1872779" y="1521679"/>
                  </a:lnTo>
                  <a:lnTo>
                    <a:pt x="1872779" y="1523307"/>
                  </a:lnTo>
                  <a:lnTo>
                    <a:pt x="1870657" y="1526514"/>
                  </a:lnTo>
                  <a:lnTo>
                    <a:pt x="1856102" y="1529771"/>
                  </a:lnTo>
                  <a:lnTo>
                    <a:pt x="1856102" y="1532978"/>
                  </a:lnTo>
                  <a:lnTo>
                    <a:pt x="1858174" y="1536234"/>
                  </a:lnTo>
                  <a:lnTo>
                    <a:pt x="1860247" y="1542648"/>
                  </a:lnTo>
                  <a:lnTo>
                    <a:pt x="1858174" y="1545905"/>
                  </a:lnTo>
                  <a:close/>
                  <a:moveTo>
                    <a:pt x="2441427" y="1592679"/>
                  </a:moveTo>
                  <a:lnTo>
                    <a:pt x="2441427" y="1594308"/>
                  </a:lnTo>
                  <a:lnTo>
                    <a:pt x="2447643" y="1594308"/>
                  </a:lnTo>
                  <a:lnTo>
                    <a:pt x="2453910" y="1599242"/>
                  </a:lnTo>
                  <a:lnTo>
                    <a:pt x="2458054" y="1597614"/>
                  </a:lnTo>
                  <a:lnTo>
                    <a:pt x="2458054" y="1592679"/>
                  </a:lnTo>
                  <a:lnTo>
                    <a:pt x="2460127" y="1591051"/>
                  </a:lnTo>
                  <a:lnTo>
                    <a:pt x="2460127" y="1587844"/>
                  </a:lnTo>
                  <a:lnTo>
                    <a:pt x="2455982" y="1586216"/>
                  </a:lnTo>
                  <a:lnTo>
                    <a:pt x="2451838" y="1587844"/>
                  </a:lnTo>
                  <a:lnTo>
                    <a:pt x="2445571" y="1589472"/>
                  </a:lnTo>
                  <a:close/>
                  <a:moveTo>
                    <a:pt x="2258078" y="1550740"/>
                  </a:moveTo>
                  <a:lnTo>
                    <a:pt x="2260199" y="1552319"/>
                  </a:lnTo>
                  <a:lnTo>
                    <a:pt x="2268489" y="1553997"/>
                  </a:lnTo>
                  <a:lnTo>
                    <a:pt x="2268489" y="1563865"/>
                  </a:lnTo>
                  <a:lnTo>
                    <a:pt x="2272683" y="1565444"/>
                  </a:lnTo>
                  <a:lnTo>
                    <a:pt x="2276877" y="1567072"/>
                  </a:lnTo>
                  <a:lnTo>
                    <a:pt x="2281021" y="1567072"/>
                  </a:lnTo>
                  <a:lnTo>
                    <a:pt x="2281021" y="1565444"/>
                  </a:lnTo>
                  <a:lnTo>
                    <a:pt x="2283093" y="1563865"/>
                  </a:lnTo>
                  <a:lnTo>
                    <a:pt x="2283093" y="1560608"/>
                  </a:lnTo>
                  <a:lnTo>
                    <a:pt x="2278900" y="1557401"/>
                  </a:lnTo>
                  <a:lnTo>
                    <a:pt x="2274755" y="1555773"/>
                  </a:lnTo>
                  <a:lnTo>
                    <a:pt x="2272683" y="1554194"/>
                  </a:lnTo>
                  <a:lnTo>
                    <a:pt x="2266466" y="1550938"/>
                  </a:lnTo>
                  <a:lnTo>
                    <a:pt x="2258078" y="1550938"/>
                  </a:lnTo>
                  <a:close/>
                  <a:moveTo>
                    <a:pt x="2433088" y="1631412"/>
                  </a:moveTo>
                  <a:lnTo>
                    <a:pt x="2426822" y="1628155"/>
                  </a:lnTo>
                  <a:lnTo>
                    <a:pt x="2426822" y="1623221"/>
                  </a:lnTo>
                  <a:lnTo>
                    <a:pt x="2424700" y="1621544"/>
                  </a:lnTo>
                  <a:lnTo>
                    <a:pt x="2424700" y="1618337"/>
                  </a:lnTo>
                  <a:lnTo>
                    <a:pt x="2426822" y="1616758"/>
                  </a:lnTo>
                  <a:lnTo>
                    <a:pt x="2431016" y="1619965"/>
                  </a:lnTo>
                  <a:lnTo>
                    <a:pt x="2431016" y="1623271"/>
                  </a:lnTo>
                  <a:lnTo>
                    <a:pt x="2435160" y="1626478"/>
                  </a:lnTo>
                  <a:lnTo>
                    <a:pt x="2435160" y="1631412"/>
                  </a:lnTo>
                  <a:close/>
                  <a:moveTo>
                    <a:pt x="2426822" y="1650802"/>
                  </a:moveTo>
                  <a:lnTo>
                    <a:pt x="2424700" y="1649125"/>
                  </a:lnTo>
                  <a:lnTo>
                    <a:pt x="2424700" y="1644191"/>
                  </a:lnTo>
                  <a:lnTo>
                    <a:pt x="2420605" y="1642563"/>
                  </a:lnTo>
                  <a:lnTo>
                    <a:pt x="2416411" y="1642563"/>
                  </a:lnTo>
                  <a:lnTo>
                    <a:pt x="2412266" y="1637629"/>
                  </a:lnTo>
                  <a:lnTo>
                    <a:pt x="2412266" y="1634372"/>
                  </a:lnTo>
                  <a:lnTo>
                    <a:pt x="2414290" y="1634372"/>
                  </a:lnTo>
                  <a:lnTo>
                    <a:pt x="2418483" y="1631165"/>
                  </a:lnTo>
                  <a:lnTo>
                    <a:pt x="2428894" y="1632793"/>
                  </a:lnTo>
                  <a:lnTo>
                    <a:pt x="2435160" y="1637727"/>
                  </a:lnTo>
                  <a:lnTo>
                    <a:pt x="2437233" y="1639356"/>
                  </a:lnTo>
                  <a:lnTo>
                    <a:pt x="2433088" y="1640934"/>
                  </a:lnTo>
                  <a:lnTo>
                    <a:pt x="2433088" y="1645868"/>
                  </a:lnTo>
                  <a:lnTo>
                    <a:pt x="2428894" y="1647497"/>
                  </a:lnTo>
                  <a:lnTo>
                    <a:pt x="2428894" y="1650753"/>
                  </a:lnTo>
                  <a:close/>
                  <a:moveTo>
                    <a:pt x="2247667" y="1744549"/>
                  </a:moveTo>
                  <a:lnTo>
                    <a:pt x="2245595" y="1747806"/>
                  </a:lnTo>
                  <a:lnTo>
                    <a:pt x="2247667" y="1746177"/>
                  </a:lnTo>
                  <a:close/>
                  <a:moveTo>
                    <a:pt x="2251861" y="1744549"/>
                  </a:moveTo>
                  <a:lnTo>
                    <a:pt x="2249789" y="1747806"/>
                  </a:lnTo>
                  <a:lnTo>
                    <a:pt x="2251861" y="1747806"/>
                  </a:lnTo>
                  <a:close/>
                  <a:moveTo>
                    <a:pt x="2256055" y="1744549"/>
                  </a:moveTo>
                  <a:lnTo>
                    <a:pt x="2253933" y="1747806"/>
                  </a:lnTo>
                  <a:lnTo>
                    <a:pt x="2253933" y="1755848"/>
                  </a:lnTo>
                  <a:lnTo>
                    <a:pt x="2256055" y="1754269"/>
                  </a:lnTo>
                  <a:lnTo>
                    <a:pt x="2258078" y="1749335"/>
                  </a:lnTo>
                  <a:close/>
                  <a:moveTo>
                    <a:pt x="2301843" y="1697775"/>
                  </a:moveTo>
                  <a:lnTo>
                    <a:pt x="2301843" y="1694518"/>
                  </a:lnTo>
                  <a:lnTo>
                    <a:pt x="2303915" y="1689584"/>
                  </a:lnTo>
                  <a:lnTo>
                    <a:pt x="2305987" y="1686377"/>
                  </a:lnTo>
                  <a:lnTo>
                    <a:pt x="2308109" y="1683120"/>
                  </a:lnTo>
                  <a:lnTo>
                    <a:pt x="2314326" y="1678186"/>
                  </a:lnTo>
                  <a:lnTo>
                    <a:pt x="2322714" y="1676509"/>
                  </a:lnTo>
                  <a:lnTo>
                    <a:pt x="2324737" y="1679765"/>
                  </a:lnTo>
                  <a:lnTo>
                    <a:pt x="2322714" y="1682972"/>
                  </a:lnTo>
                  <a:lnTo>
                    <a:pt x="2324737" y="1682972"/>
                  </a:lnTo>
                  <a:lnTo>
                    <a:pt x="2324737" y="1686229"/>
                  </a:lnTo>
                  <a:lnTo>
                    <a:pt x="2318520" y="1689436"/>
                  </a:lnTo>
                  <a:lnTo>
                    <a:pt x="2316398" y="1692692"/>
                  </a:lnTo>
                  <a:lnTo>
                    <a:pt x="2312303" y="1692692"/>
                  </a:lnTo>
                  <a:lnTo>
                    <a:pt x="2305987" y="1697627"/>
                  </a:lnTo>
                  <a:close/>
                  <a:moveTo>
                    <a:pt x="2145631" y="1544326"/>
                  </a:moveTo>
                  <a:lnTo>
                    <a:pt x="2151897" y="1549260"/>
                  </a:lnTo>
                  <a:lnTo>
                    <a:pt x="2156042" y="1552467"/>
                  </a:lnTo>
                  <a:lnTo>
                    <a:pt x="2162210" y="1554194"/>
                  </a:lnTo>
                  <a:lnTo>
                    <a:pt x="2168427" y="1555773"/>
                  </a:lnTo>
                  <a:lnTo>
                    <a:pt x="2166354" y="1554194"/>
                  </a:lnTo>
                  <a:lnTo>
                    <a:pt x="2160088" y="1550938"/>
                  </a:lnTo>
                  <a:lnTo>
                    <a:pt x="2151799" y="1546004"/>
                  </a:lnTo>
                  <a:lnTo>
                    <a:pt x="2147605" y="1544375"/>
                  </a:lnTo>
                  <a:close/>
                  <a:moveTo>
                    <a:pt x="2091357" y="1503966"/>
                  </a:moveTo>
                  <a:lnTo>
                    <a:pt x="2097623" y="1503966"/>
                  </a:lnTo>
                  <a:lnTo>
                    <a:pt x="2099696" y="1507222"/>
                  </a:lnTo>
                  <a:lnTo>
                    <a:pt x="2103840" y="1505594"/>
                  </a:lnTo>
                  <a:lnTo>
                    <a:pt x="2103840" y="1503966"/>
                  </a:lnTo>
                  <a:lnTo>
                    <a:pt x="2105962" y="1502387"/>
                  </a:lnTo>
                  <a:lnTo>
                    <a:pt x="2105962" y="1499130"/>
                  </a:lnTo>
                  <a:lnTo>
                    <a:pt x="2103840" y="1497551"/>
                  </a:lnTo>
                  <a:lnTo>
                    <a:pt x="2105962" y="1495923"/>
                  </a:lnTo>
                  <a:lnTo>
                    <a:pt x="2105962" y="1494295"/>
                  </a:lnTo>
                  <a:lnTo>
                    <a:pt x="2099696" y="1489361"/>
                  </a:lnTo>
                  <a:lnTo>
                    <a:pt x="2095551" y="1489361"/>
                  </a:lnTo>
                  <a:lnTo>
                    <a:pt x="2093429" y="1487782"/>
                  </a:lnTo>
                  <a:lnTo>
                    <a:pt x="2091357" y="1486154"/>
                  </a:lnTo>
                  <a:lnTo>
                    <a:pt x="2089284" y="1486154"/>
                  </a:lnTo>
                  <a:lnTo>
                    <a:pt x="2085140" y="1484526"/>
                  </a:lnTo>
                  <a:lnTo>
                    <a:pt x="2080946" y="1486154"/>
                  </a:lnTo>
                  <a:lnTo>
                    <a:pt x="2078874" y="1487782"/>
                  </a:lnTo>
                  <a:lnTo>
                    <a:pt x="2080946" y="1490989"/>
                  </a:lnTo>
                  <a:lnTo>
                    <a:pt x="2083265" y="1490989"/>
                  </a:lnTo>
                  <a:lnTo>
                    <a:pt x="2085387" y="1492617"/>
                  </a:lnTo>
                  <a:lnTo>
                    <a:pt x="2087459" y="1495825"/>
                  </a:lnTo>
                  <a:lnTo>
                    <a:pt x="2091604" y="1499032"/>
                  </a:lnTo>
                  <a:close/>
                  <a:moveTo>
                    <a:pt x="2053907" y="1518521"/>
                  </a:moveTo>
                  <a:lnTo>
                    <a:pt x="2060124" y="1516893"/>
                  </a:lnTo>
                  <a:lnTo>
                    <a:pt x="2062197" y="1515314"/>
                  </a:lnTo>
                  <a:lnTo>
                    <a:pt x="2066341" y="1515314"/>
                  </a:lnTo>
                  <a:lnTo>
                    <a:pt x="2070535" y="1513686"/>
                  </a:lnTo>
                  <a:lnTo>
                    <a:pt x="2070535" y="1499130"/>
                  </a:lnTo>
                  <a:lnTo>
                    <a:pt x="2066341" y="1499130"/>
                  </a:lnTo>
                  <a:lnTo>
                    <a:pt x="2060124" y="1497551"/>
                  </a:lnTo>
                  <a:lnTo>
                    <a:pt x="2055931" y="1494295"/>
                  </a:lnTo>
                  <a:lnTo>
                    <a:pt x="2051786" y="1491088"/>
                  </a:lnTo>
                  <a:lnTo>
                    <a:pt x="2049714" y="1492716"/>
                  </a:lnTo>
                  <a:lnTo>
                    <a:pt x="2043793" y="1492716"/>
                  </a:lnTo>
                  <a:lnTo>
                    <a:pt x="2039599" y="1491088"/>
                  </a:lnTo>
                  <a:lnTo>
                    <a:pt x="2039599" y="1499130"/>
                  </a:lnTo>
                  <a:lnTo>
                    <a:pt x="2045816" y="1504064"/>
                  </a:lnTo>
                  <a:lnTo>
                    <a:pt x="2047937" y="1510528"/>
                  </a:lnTo>
                  <a:lnTo>
                    <a:pt x="2050010" y="1512156"/>
                  </a:lnTo>
                  <a:lnTo>
                    <a:pt x="2052082" y="1517090"/>
                  </a:lnTo>
                  <a:close/>
                  <a:moveTo>
                    <a:pt x="2047740" y="1544326"/>
                  </a:moveTo>
                  <a:lnTo>
                    <a:pt x="2049812" y="1542698"/>
                  </a:lnTo>
                  <a:lnTo>
                    <a:pt x="2041474" y="1541119"/>
                  </a:lnTo>
                  <a:lnTo>
                    <a:pt x="2039401" y="1542698"/>
                  </a:lnTo>
                  <a:lnTo>
                    <a:pt x="2041474" y="1544326"/>
                  </a:lnTo>
                  <a:close/>
                  <a:moveTo>
                    <a:pt x="1968795" y="1592729"/>
                  </a:moveTo>
                  <a:lnTo>
                    <a:pt x="1970917" y="1592729"/>
                  </a:lnTo>
                  <a:lnTo>
                    <a:pt x="1972989" y="1591101"/>
                  </a:lnTo>
                  <a:lnTo>
                    <a:pt x="1972989" y="1587893"/>
                  </a:lnTo>
                  <a:lnTo>
                    <a:pt x="1975062" y="1584686"/>
                  </a:lnTo>
                  <a:lnTo>
                    <a:pt x="1977134" y="1583058"/>
                  </a:lnTo>
                  <a:lnTo>
                    <a:pt x="1975062" y="1581479"/>
                  </a:lnTo>
                  <a:lnTo>
                    <a:pt x="1975062" y="1578223"/>
                  </a:lnTo>
                  <a:lnTo>
                    <a:pt x="1981328" y="1573289"/>
                  </a:lnTo>
                  <a:lnTo>
                    <a:pt x="1985472" y="1568355"/>
                  </a:lnTo>
                  <a:lnTo>
                    <a:pt x="1989518" y="1568355"/>
                  </a:lnTo>
                  <a:lnTo>
                    <a:pt x="1991640" y="1566727"/>
                  </a:lnTo>
                  <a:lnTo>
                    <a:pt x="1991640" y="1563519"/>
                  </a:lnTo>
                  <a:lnTo>
                    <a:pt x="1989518" y="1560263"/>
                  </a:lnTo>
                  <a:lnTo>
                    <a:pt x="1993712" y="1557056"/>
                  </a:lnTo>
                  <a:lnTo>
                    <a:pt x="1995834" y="1553849"/>
                  </a:lnTo>
                  <a:lnTo>
                    <a:pt x="1995834" y="1547385"/>
                  </a:lnTo>
                  <a:lnTo>
                    <a:pt x="1993712" y="1544129"/>
                  </a:lnTo>
                  <a:lnTo>
                    <a:pt x="1989518" y="1545757"/>
                  </a:lnTo>
                  <a:lnTo>
                    <a:pt x="1985374" y="1545757"/>
                  </a:lnTo>
                  <a:lnTo>
                    <a:pt x="1983301" y="1542500"/>
                  </a:lnTo>
                  <a:lnTo>
                    <a:pt x="1979108" y="1542500"/>
                  </a:lnTo>
                  <a:lnTo>
                    <a:pt x="1977035" y="1545757"/>
                  </a:lnTo>
                  <a:lnTo>
                    <a:pt x="1970818" y="1550691"/>
                  </a:lnTo>
                  <a:lnTo>
                    <a:pt x="1966624" y="1550691"/>
                  </a:lnTo>
                  <a:lnTo>
                    <a:pt x="1962480" y="1555625"/>
                  </a:lnTo>
                  <a:lnTo>
                    <a:pt x="1962480" y="1560559"/>
                  </a:lnTo>
                  <a:lnTo>
                    <a:pt x="1964552" y="1565493"/>
                  </a:lnTo>
                  <a:lnTo>
                    <a:pt x="1960407" y="1567121"/>
                  </a:lnTo>
                  <a:lnTo>
                    <a:pt x="1958286" y="1572055"/>
                  </a:lnTo>
                  <a:lnTo>
                    <a:pt x="1958286" y="1576989"/>
                  </a:lnTo>
                  <a:lnTo>
                    <a:pt x="1956214" y="1580196"/>
                  </a:lnTo>
                  <a:lnTo>
                    <a:pt x="1958286" y="1581874"/>
                  </a:lnTo>
                  <a:lnTo>
                    <a:pt x="1962480" y="1583453"/>
                  </a:lnTo>
                  <a:lnTo>
                    <a:pt x="1964552" y="1586660"/>
                  </a:lnTo>
                  <a:lnTo>
                    <a:pt x="1966624" y="1588288"/>
                  </a:lnTo>
                  <a:close/>
                  <a:moveTo>
                    <a:pt x="1895772" y="1850878"/>
                  </a:moveTo>
                  <a:lnTo>
                    <a:pt x="1897893" y="1854085"/>
                  </a:lnTo>
                  <a:lnTo>
                    <a:pt x="1899916" y="1852457"/>
                  </a:lnTo>
                  <a:lnTo>
                    <a:pt x="1897893" y="1850878"/>
                  </a:lnTo>
                  <a:close/>
                  <a:moveTo>
                    <a:pt x="1899916" y="1878261"/>
                  </a:moveTo>
                  <a:lnTo>
                    <a:pt x="1904110" y="1871847"/>
                  </a:lnTo>
                  <a:lnTo>
                    <a:pt x="1906182" y="1866913"/>
                  </a:lnTo>
                  <a:lnTo>
                    <a:pt x="1908304" y="1866913"/>
                  </a:lnTo>
                  <a:lnTo>
                    <a:pt x="1908304" y="1874906"/>
                  </a:lnTo>
                  <a:lnTo>
                    <a:pt x="1904110" y="1878113"/>
                  </a:lnTo>
                  <a:close/>
                  <a:moveTo>
                    <a:pt x="1858273" y="1870219"/>
                  </a:moveTo>
                  <a:lnTo>
                    <a:pt x="1860345" y="1863755"/>
                  </a:lnTo>
                  <a:lnTo>
                    <a:pt x="1866612" y="1863755"/>
                  </a:lnTo>
                  <a:lnTo>
                    <a:pt x="1868684" y="1862177"/>
                  </a:lnTo>
                  <a:lnTo>
                    <a:pt x="1870756" y="1862177"/>
                  </a:lnTo>
                  <a:lnTo>
                    <a:pt x="1874950" y="1858920"/>
                  </a:lnTo>
                  <a:lnTo>
                    <a:pt x="1879095" y="1857292"/>
                  </a:lnTo>
                  <a:lnTo>
                    <a:pt x="1874950" y="1863755"/>
                  </a:lnTo>
                  <a:lnTo>
                    <a:pt x="1864539" y="1868689"/>
                  </a:lnTo>
                  <a:lnTo>
                    <a:pt x="1860345" y="1870268"/>
                  </a:lnTo>
                  <a:close/>
                  <a:moveTo>
                    <a:pt x="1887433" y="1881518"/>
                  </a:moveTo>
                  <a:lnTo>
                    <a:pt x="1895772" y="1871650"/>
                  </a:lnTo>
                  <a:lnTo>
                    <a:pt x="1897893" y="1866716"/>
                  </a:lnTo>
                  <a:lnTo>
                    <a:pt x="1899916" y="1866716"/>
                  </a:lnTo>
                  <a:lnTo>
                    <a:pt x="1899916" y="1869972"/>
                  </a:lnTo>
                  <a:lnTo>
                    <a:pt x="1889505" y="1879840"/>
                  </a:lnTo>
                  <a:lnTo>
                    <a:pt x="1887433" y="1884774"/>
                  </a:lnTo>
                  <a:lnTo>
                    <a:pt x="1891578" y="1881567"/>
                  </a:lnTo>
                  <a:lnTo>
                    <a:pt x="1899916" y="1873475"/>
                  </a:lnTo>
                  <a:lnTo>
                    <a:pt x="1902038" y="1871897"/>
                  </a:lnTo>
                  <a:lnTo>
                    <a:pt x="1904110" y="1863805"/>
                  </a:lnTo>
                  <a:lnTo>
                    <a:pt x="1899916" y="1862226"/>
                  </a:lnTo>
                  <a:lnTo>
                    <a:pt x="1899916" y="1862226"/>
                  </a:lnTo>
                  <a:lnTo>
                    <a:pt x="1899916" y="1857292"/>
                  </a:lnTo>
                  <a:lnTo>
                    <a:pt x="1893699" y="1855713"/>
                  </a:lnTo>
                  <a:lnTo>
                    <a:pt x="1891578" y="1857292"/>
                  </a:lnTo>
                  <a:lnTo>
                    <a:pt x="1887433" y="1867160"/>
                  </a:lnTo>
                  <a:lnTo>
                    <a:pt x="1883288" y="1870416"/>
                  </a:lnTo>
                  <a:lnTo>
                    <a:pt x="1877022" y="1873623"/>
                  </a:lnTo>
                  <a:lnTo>
                    <a:pt x="1879095" y="1870416"/>
                  </a:lnTo>
                  <a:lnTo>
                    <a:pt x="1885361" y="1865482"/>
                  </a:lnTo>
                  <a:lnTo>
                    <a:pt x="1887433" y="1860548"/>
                  </a:lnTo>
                  <a:lnTo>
                    <a:pt x="1885361" y="1858969"/>
                  </a:lnTo>
                  <a:lnTo>
                    <a:pt x="1881167" y="1860548"/>
                  </a:lnTo>
                  <a:lnTo>
                    <a:pt x="1877022" y="1868689"/>
                  </a:lnTo>
                  <a:lnTo>
                    <a:pt x="1868684" y="1875104"/>
                  </a:lnTo>
                  <a:lnTo>
                    <a:pt x="1866612" y="1878311"/>
                  </a:lnTo>
                  <a:lnTo>
                    <a:pt x="1862467" y="1884774"/>
                  </a:lnTo>
                  <a:lnTo>
                    <a:pt x="1864539" y="1887982"/>
                  </a:lnTo>
                  <a:lnTo>
                    <a:pt x="1866612" y="1887982"/>
                  </a:lnTo>
                  <a:lnTo>
                    <a:pt x="1872878" y="1879939"/>
                  </a:lnTo>
                  <a:lnTo>
                    <a:pt x="1877022" y="1878311"/>
                  </a:lnTo>
                  <a:lnTo>
                    <a:pt x="1874950" y="1881567"/>
                  </a:lnTo>
                  <a:lnTo>
                    <a:pt x="1870756" y="1887982"/>
                  </a:lnTo>
                  <a:lnTo>
                    <a:pt x="1872878" y="1889659"/>
                  </a:lnTo>
                  <a:lnTo>
                    <a:pt x="1877022" y="1886403"/>
                  </a:lnTo>
                  <a:lnTo>
                    <a:pt x="1880970" y="1886403"/>
                  </a:lnTo>
                  <a:close/>
                  <a:moveTo>
                    <a:pt x="1881167" y="1881518"/>
                  </a:moveTo>
                  <a:lnTo>
                    <a:pt x="1881167" y="1876584"/>
                  </a:lnTo>
                  <a:lnTo>
                    <a:pt x="1891578" y="1868541"/>
                  </a:lnTo>
                  <a:lnTo>
                    <a:pt x="1887433" y="1874956"/>
                  </a:lnTo>
                  <a:lnTo>
                    <a:pt x="1883288" y="1879890"/>
                  </a:lnTo>
                  <a:close/>
                  <a:moveTo>
                    <a:pt x="2366429" y="2304167"/>
                  </a:moveTo>
                  <a:lnTo>
                    <a:pt x="2364505" y="2304167"/>
                  </a:lnTo>
                  <a:lnTo>
                    <a:pt x="2362383" y="2302539"/>
                  </a:lnTo>
                  <a:lnTo>
                    <a:pt x="2364505" y="2300960"/>
                  </a:lnTo>
                  <a:lnTo>
                    <a:pt x="2366577" y="2297704"/>
                  </a:lnTo>
                  <a:lnTo>
                    <a:pt x="2370722" y="2292770"/>
                  </a:lnTo>
                  <a:lnTo>
                    <a:pt x="2372794" y="2294398"/>
                  </a:lnTo>
                  <a:lnTo>
                    <a:pt x="2372794" y="2292770"/>
                  </a:lnTo>
                  <a:lnTo>
                    <a:pt x="2370722" y="2292770"/>
                  </a:lnTo>
                  <a:lnTo>
                    <a:pt x="2364505" y="2297704"/>
                  </a:lnTo>
                  <a:lnTo>
                    <a:pt x="2360311" y="2302638"/>
                  </a:lnTo>
                  <a:lnTo>
                    <a:pt x="2362383" y="2305894"/>
                  </a:lnTo>
                  <a:lnTo>
                    <a:pt x="2364505" y="2305894"/>
                  </a:lnTo>
                  <a:close/>
                  <a:moveTo>
                    <a:pt x="2543463" y="2333229"/>
                  </a:moveTo>
                  <a:lnTo>
                    <a:pt x="2543463" y="2320302"/>
                  </a:lnTo>
                  <a:lnTo>
                    <a:pt x="2541390" y="2315368"/>
                  </a:lnTo>
                  <a:lnTo>
                    <a:pt x="2543463" y="2313739"/>
                  </a:lnTo>
                  <a:lnTo>
                    <a:pt x="2545584" y="2310532"/>
                  </a:lnTo>
                  <a:lnTo>
                    <a:pt x="2545584" y="2314035"/>
                  </a:lnTo>
                  <a:lnTo>
                    <a:pt x="2547607" y="2315664"/>
                  </a:lnTo>
                  <a:lnTo>
                    <a:pt x="2547607" y="2318970"/>
                  </a:lnTo>
                  <a:lnTo>
                    <a:pt x="2545584" y="2322226"/>
                  </a:lnTo>
                  <a:lnTo>
                    <a:pt x="2545584" y="2323805"/>
                  </a:lnTo>
                  <a:lnTo>
                    <a:pt x="2547607" y="2325433"/>
                  </a:lnTo>
                  <a:lnTo>
                    <a:pt x="2547607" y="2328690"/>
                  </a:lnTo>
                  <a:lnTo>
                    <a:pt x="2545584" y="2331897"/>
                  </a:lnTo>
                  <a:close/>
                  <a:moveTo>
                    <a:pt x="2549729" y="2334808"/>
                  </a:moveTo>
                  <a:lnTo>
                    <a:pt x="2551801" y="2331601"/>
                  </a:lnTo>
                  <a:lnTo>
                    <a:pt x="2553873" y="2331601"/>
                  </a:lnTo>
                  <a:lnTo>
                    <a:pt x="2553873" y="2334808"/>
                  </a:lnTo>
                  <a:lnTo>
                    <a:pt x="2551801" y="2336436"/>
                  </a:lnTo>
                  <a:close/>
                  <a:moveTo>
                    <a:pt x="2620532" y="2118598"/>
                  </a:moveTo>
                  <a:lnTo>
                    <a:pt x="2622604" y="2112135"/>
                  </a:lnTo>
                  <a:lnTo>
                    <a:pt x="2628871" y="2108928"/>
                  </a:lnTo>
                  <a:lnTo>
                    <a:pt x="2628871" y="2113862"/>
                  </a:lnTo>
                  <a:lnTo>
                    <a:pt x="2626749" y="2117069"/>
                  </a:lnTo>
                  <a:lnTo>
                    <a:pt x="2622604" y="2118697"/>
                  </a:lnTo>
                  <a:close/>
                  <a:moveTo>
                    <a:pt x="2599710" y="2163794"/>
                  </a:moveTo>
                  <a:lnTo>
                    <a:pt x="2599710" y="2167001"/>
                  </a:lnTo>
                  <a:lnTo>
                    <a:pt x="2601783" y="2167001"/>
                  </a:lnTo>
                  <a:lnTo>
                    <a:pt x="2603855" y="2165373"/>
                  </a:lnTo>
                  <a:lnTo>
                    <a:pt x="2605927" y="2165373"/>
                  </a:lnTo>
                  <a:lnTo>
                    <a:pt x="2605927" y="2162166"/>
                  </a:lnTo>
                  <a:lnTo>
                    <a:pt x="2603855" y="2162166"/>
                  </a:lnTo>
                  <a:close/>
                  <a:moveTo>
                    <a:pt x="2637160" y="2215355"/>
                  </a:moveTo>
                  <a:lnTo>
                    <a:pt x="2635137" y="2208891"/>
                  </a:lnTo>
                  <a:lnTo>
                    <a:pt x="2635137" y="2207312"/>
                  </a:lnTo>
                  <a:lnTo>
                    <a:pt x="2637160" y="2207312"/>
                  </a:lnTo>
                  <a:lnTo>
                    <a:pt x="2639281" y="2208891"/>
                  </a:lnTo>
                  <a:lnTo>
                    <a:pt x="2641354" y="2208891"/>
                  </a:lnTo>
                  <a:lnTo>
                    <a:pt x="2643475" y="2210519"/>
                  </a:lnTo>
                  <a:lnTo>
                    <a:pt x="2643475" y="2212148"/>
                  </a:lnTo>
                  <a:lnTo>
                    <a:pt x="2641354" y="2215355"/>
                  </a:lnTo>
                  <a:close/>
                  <a:moveTo>
                    <a:pt x="2618460" y="2213776"/>
                  </a:moveTo>
                  <a:lnTo>
                    <a:pt x="2622604" y="2215355"/>
                  </a:lnTo>
                  <a:lnTo>
                    <a:pt x="2624726" y="2213776"/>
                  </a:lnTo>
                  <a:lnTo>
                    <a:pt x="2626749" y="2210519"/>
                  </a:lnTo>
                  <a:lnTo>
                    <a:pt x="2626749" y="2208891"/>
                  </a:lnTo>
                  <a:lnTo>
                    <a:pt x="2628871" y="2208891"/>
                  </a:lnTo>
                  <a:lnTo>
                    <a:pt x="2628871" y="2213825"/>
                  </a:lnTo>
                  <a:lnTo>
                    <a:pt x="2626749" y="2217032"/>
                  </a:lnTo>
                  <a:lnTo>
                    <a:pt x="2620532" y="2220239"/>
                  </a:lnTo>
                  <a:lnTo>
                    <a:pt x="2618460" y="2217032"/>
                  </a:lnTo>
                  <a:lnTo>
                    <a:pt x="2618460" y="2213825"/>
                  </a:lnTo>
                  <a:close/>
                  <a:moveTo>
                    <a:pt x="2562212" y="2292720"/>
                  </a:moveTo>
                  <a:lnTo>
                    <a:pt x="2564284" y="2291092"/>
                  </a:lnTo>
                  <a:lnTo>
                    <a:pt x="2564284" y="2294349"/>
                  </a:lnTo>
                  <a:close/>
                  <a:moveTo>
                    <a:pt x="2637160" y="2274958"/>
                  </a:moveTo>
                  <a:lnTo>
                    <a:pt x="2637160" y="2278214"/>
                  </a:lnTo>
                  <a:lnTo>
                    <a:pt x="2645745" y="2278214"/>
                  </a:lnTo>
                  <a:lnTo>
                    <a:pt x="2647817" y="2276586"/>
                  </a:lnTo>
                  <a:lnTo>
                    <a:pt x="2639479" y="2274958"/>
                  </a:lnTo>
                  <a:close/>
                  <a:moveTo>
                    <a:pt x="2555995" y="2157182"/>
                  </a:moveTo>
                  <a:lnTo>
                    <a:pt x="2553873" y="2160390"/>
                  </a:lnTo>
                  <a:lnTo>
                    <a:pt x="2547607" y="2165324"/>
                  </a:lnTo>
                  <a:lnTo>
                    <a:pt x="2543463" y="2166952"/>
                  </a:lnTo>
                  <a:lnTo>
                    <a:pt x="2543463" y="2168580"/>
                  </a:lnTo>
                  <a:lnTo>
                    <a:pt x="2541390" y="2170208"/>
                  </a:lnTo>
                  <a:lnTo>
                    <a:pt x="2539318" y="2170208"/>
                  </a:lnTo>
                  <a:lnTo>
                    <a:pt x="2539318" y="2173416"/>
                  </a:lnTo>
                  <a:lnTo>
                    <a:pt x="2541390" y="2174994"/>
                  </a:lnTo>
                  <a:lnTo>
                    <a:pt x="2539318" y="2176672"/>
                  </a:lnTo>
                  <a:lnTo>
                    <a:pt x="2535173" y="2178251"/>
                  </a:lnTo>
                  <a:lnTo>
                    <a:pt x="2530979" y="2181458"/>
                  </a:lnTo>
                  <a:lnTo>
                    <a:pt x="2530979" y="2184714"/>
                  </a:lnTo>
                  <a:lnTo>
                    <a:pt x="2535173" y="2184714"/>
                  </a:lnTo>
                  <a:lnTo>
                    <a:pt x="2530979" y="2187922"/>
                  </a:lnTo>
                  <a:lnTo>
                    <a:pt x="2526786" y="2187922"/>
                  </a:lnTo>
                  <a:lnTo>
                    <a:pt x="2522641" y="2192856"/>
                  </a:lnTo>
                  <a:lnTo>
                    <a:pt x="2522641" y="2196112"/>
                  </a:lnTo>
                  <a:lnTo>
                    <a:pt x="2514302" y="2205980"/>
                  </a:lnTo>
                  <a:lnTo>
                    <a:pt x="2514302" y="2209187"/>
                  </a:lnTo>
                  <a:lnTo>
                    <a:pt x="2518447" y="2212444"/>
                  </a:lnTo>
                  <a:lnTo>
                    <a:pt x="2518447" y="2215355"/>
                  </a:lnTo>
                  <a:lnTo>
                    <a:pt x="2516375" y="2215355"/>
                  </a:lnTo>
                  <a:lnTo>
                    <a:pt x="2514302" y="2213776"/>
                  </a:lnTo>
                  <a:lnTo>
                    <a:pt x="2512230" y="2213776"/>
                  </a:lnTo>
                  <a:lnTo>
                    <a:pt x="2505964" y="2216983"/>
                  </a:lnTo>
                  <a:lnTo>
                    <a:pt x="2501819" y="2220190"/>
                  </a:lnTo>
                  <a:lnTo>
                    <a:pt x="2503892" y="2223447"/>
                  </a:lnTo>
                  <a:lnTo>
                    <a:pt x="2505964" y="2223447"/>
                  </a:lnTo>
                  <a:lnTo>
                    <a:pt x="2510158" y="2225075"/>
                  </a:lnTo>
                  <a:lnTo>
                    <a:pt x="2508036" y="2226654"/>
                  </a:lnTo>
                  <a:lnTo>
                    <a:pt x="2505964" y="2229861"/>
                  </a:lnTo>
                  <a:lnTo>
                    <a:pt x="2501819" y="2233117"/>
                  </a:lnTo>
                  <a:lnTo>
                    <a:pt x="2495553" y="2231538"/>
                  </a:lnTo>
                  <a:lnTo>
                    <a:pt x="2493481" y="2233117"/>
                  </a:lnTo>
                  <a:lnTo>
                    <a:pt x="2493481" y="2236324"/>
                  </a:lnTo>
                  <a:lnTo>
                    <a:pt x="2489336" y="2239581"/>
                  </a:lnTo>
                  <a:lnTo>
                    <a:pt x="2485142" y="2246044"/>
                  </a:lnTo>
                  <a:lnTo>
                    <a:pt x="2480948" y="2249252"/>
                  </a:lnTo>
                  <a:lnTo>
                    <a:pt x="2478925" y="2249252"/>
                  </a:lnTo>
                  <a:lnTo>
                    <a:pt x="2478925" y="2246044"/>
                  </a:lnTo>
                  <a:lnTo>
                    <a:pt x="2476804" y="2249252"/>
                  </a:lnTo>
                  <a:lnTo>
                    <a:pt x="2474732" y="2246044"/>
                  </a:lnTo>
                  <a:lnTo>
                    <a:pt x="2474732" y="2242788"/>
                  </a:lnTo>
                  <a:lnTo>
                    <a:pt x="2478925" y="2241160"/>
                  </a:lnTo>
                  <a:lnTo>
                    <a:pt x="2480948" y="2237953"/>
                  </a:lnTo>
                  <a:lnTo>
                    <a:pt x="2478925" y="2239581"/>
                  </a:lnTo>
                  <a:lnTo>
                    <a:pt x="2472659" y="2242788"/>
                  </a:lnTo>
                  <a:lnTo>
                    <a:pt x="2464320" y="2246044"/>
                  </a:lnTo>
                  <a:lnTo>
                    <a:pt x="2462248" y="2254087"/>
                  </a:lnTo>
                  <a:lnTo>
                    <a:pt x="2464320" y="2254087"/>
                  </a:lnTo>
                  <a:lnTo>
                    <a:pt x="2468515" y="2252508"/>
                  </a:lnTo>
                  <a:lnTo>
                    <a:pt x="2478925" y="2250880"/>
                  </a:lnTo>
                  <a:lnTo>
                    <a:pt x="2487214" y="2250880"/>
                  </a:lnTo>
                  <a:lnTo>
                    <a:pt x="2483070" y="2255814"/>
                  </a:lnTo>
                  <a:lnTo>
                    <a:pt x="2476804" y="2262278"/>
                  </a:lnTo>
                  <a:lnTo>
                    <a:pt x="2472659" y="2268692"/>
                  </a:lnTo>
                  <a:lnTo>
                    <a:pt x="2464320" y="2271948"/>
                  </a:lnTo>
                  <a:lnTo>
                    <a:pt x="2455982" y="2276882"/>
                  </a:lnTo>
                  <a:lnTo>
                    <a:pt x="2451838" y="2278510"/>
                  </a:lnTo>
                  <a:lnTo>
                    <a:pt x="2451838" y="2291388"/>
                  </a:lnTo>
                  <a:lnTo>
                    <a:pt x="2455982" y="2291388"/>
                  </a:lnTo>
                  <a:lnTo>
                    <a:pt x="2464320" y="2293016"/>
                  </a:lnTo>
                  <a:lnTo>
                    <a:pt x="2470537" y="2293016"/>
                  </a:lnTo>
                  <a:lnTo>
                    <a:pt x="2476804" y="2289760"/>
                  </a:lnTo>
                  <a:lnTo>
                    <a:pt x="2483070" y="2288181"/>
                  </a:lnTo>
                  <a:lnTo>
                    <a:pt x="2487214" y="2284974"/>
                  </a:lnTo>
                  <a:lnTo>
                    <a:pt x="2487214" y="2281718"/>
                  </a:lnTo>
                  <a:lnTo>
                    <a:pt x="2489336" y="2284974"/>
                  </a:lnTo>
                  <a:lnTo>
                    <a:pt x="2485142" y="2288181"/>
                  </a:lnTo>
                  <a:lnTo>
                    <a:pt x="2493481" y="2289760"/>
                  </a:lnTo>
                  <a:lnTo>
                    <a:pt x="2497625" y="2288181"/>
                  </a:lnTo>
                  <a:lnTo>
                    <a:pt x="2501819" y="2291388"/>
                  </a:lnTo>
                  <a:lnTo>
                    <a:pt x="2510158" y="2291388"/>
                  </a:lnTo>
                  <a:lnTo>
                    <a:pt x="2516375" y="2289760"/>
                  </a:lnTo>
                  <a:lnTo>
                    <a:pt x="2516375" y="2293016"/>
                  </a:lnTo>
                  <a:lnTo>
                    <a:pt x="2520569" y="2294645"/>
                  </a:lnTo>
                  <a:lnTo>
                    <a:pt x="2528858" y="2294645"/>
                  </a:lnTo>
                  <a:lnTo>
                    <a:pt x="2528858" y="2296224"/>
                  </a:lnTo>
                  <a:lnTo>
                    <a:pt x="2533052" y="2296224"/>
                  </a:lnTo>
                  <a:lnTo>
                    <a:pt x="2537196" y="2294645"/>
                  </a:lnTo>
                  <a:lnTo>
                    <a:pt x="2537196" y="2293016"/>
                  </a:lnTo>
                  <a:lnTo>
                    <a:pt x="2541390" y="2293016"/>
                  </a:lnTo>
                  <a:lnTo>
                    <a:pt x="2543463" y="2294645"/>
                  </a:lnTo>
                  <a:lnTo>
                    <a:pt x="2547607" y="2294645"/>
                  </a:lnTo>
                  <a:lnTo>
                    <a:pt x="2549729" y="2291388"/>
                  </a:lnTo>
                  <a:lnTo>
                    <a:pt x="2551998" y="2291388"/>
                  </a:lnTo>
                  <a:lnTo>
                    <a:pt x="2556192" y="2293016"/>
                  </a:lnTo>
                  <a:lnTo>
                    <a:pt x="2558265" y="2289760"/>
                  </a:lnTo>
                  <a:lnTo>
                    <a:pt x="2556192" y="2288181"/>
                  </a:lnTo>
                  <a:lnTo>
                    <a:pt x="2558265" y="2283247"/>
                  </a:lnTo>
                  <a:lnTo>
                    <a:pt x="2560337" y="2284875"/>
                  </a:lnTo>
                  <a:lnTo>
                    <a:pt x="2562409" y="2281619"/>
                  </a:lnTo>
                  <a:lnTo>
                    <a:pt x="2562409" y="2281619"/>
                  </a:lnTo>
                  <a:lnTo>
                    <a:pt x="2560337" y="2288082"/>
                  </a:lnTo>
                  <a:lnTo>
                    <a:pt x="2562409" y="2289661"/>
                  </a:lnTo>
                  <a:lnTo>
                    <a:pt x="2564482" y="2286454"/>
                  </a:lnTo>
                  <a:lnTo>
                    <a:pt x="2566603" y="2283247"/>
                  </a:lnTo>
                  <a:lnTo>
                    <a:pt x="2568675" y="2283247"/>
                  </a:lnTo>
                  <a:lnTo>
                    <a:pt x="2568675" y="2286454"/>
                  </a:lnTo>
                  <a:lnTo>
                    <a:pt x="2566603" y="2289661"/>
                  </a:lnTo>
                  <a:lnTo>
                    <a:pt x="2566603" y="2291290"/>
                  </a:lnTo>
                  <a:lnTo>
                    <a:pt x="2572820" y="2291290"/>
                  </a:lnTo>
                  <a:lnTo>
                    <a:pt x="2566603" y="2296224"/>
                  </a:lnTo>
                  <a:lnTo>
                    <a:pt x="2558265" y="2297852"/>
                  </a:lnTo>
                  <a:lnTo>
                    <a:pt x="2560337" y="2299480"/>
                  </a:lnTo>
                  <a:lnTo>
                    <a:pt x="2562409" y="2297852"/>
                  </a:lnTo>
                  <a:lnTo>
                    <a:pt x="2566603" y="2297852"/>
                  </a:lnTo>
                  <a:lnTo>
                    <a:pt x="2568675" y="2299480"/>
                  </a:lnTo>
                  <a:lnTo>
                    <a:pt x="2572820" y="2299480"/>
                  </a:lnTo>
                  <a:lnTo>
                    <a:pt x="2574892" y="2301108"/>
                  </a:lnTo>
                  <a:lnTo>
                    <a:pt x="2576669" y="2299233"/>
                  </a:lnTo>
                  <a:lnTo>
                    <a:pt x="2580813" y="2299233"/>
                  </a:lnTo>
                  <a:lnTo>
                    <a:pt x="2582885" y="2294299"/>
                  </a:lnTo>
                  <a:lnTo>
                    <a:pt x="2582885" y="2291043"/>
                  </a:lnTo>
                  <a:lnTo>
                    <a:pt x="2584958" y="2292671"/>
                  </a:lnTo>
                  <a:lnTo>
                    <a:pt x="2591224" y="2294299"/>
                  </a:lnTo>
                  <a:lnTo>
                    <a:pt x="2593296" y="2295878"/>
                  </a:lnTo>
                  <a:lnTo>
                    <a:pt x="2597490" y="2295878"/>
                  </a:lnTo>
                  <a:lnTo>
                    <a:pt x="2601635" y="2294299"/>
                  </a:lnTo>
                  <a:lnTo>
                    <a:pt x="2605779" y="2294299"/>
                  </a:lnTo>
                  <a:lnTo>
                    <a:pt x="2601635" y="2295878"/>
                  </a:lnTo>
                  <a:lnTo>
                    <a:pt x="2601635" y="2299233"/>
                  </a:lnTo>
                  <a:lnTo>
                    <a:pt x="2595368" y="2300862"/>
                  </a:lnTo>
                  <a:lnTo>
                    <a:pt x="2589152" y="2300862"/>
                  </a:lnTo>
                  <a:lnTo>
                    <a:pt x="2584958" y="2304069"/>
                  </a:lnTo>
                  <a:lnTo>
                    <a:pt x="2584958" y="2307276"/>
                  </a:lnTo>
                  <a:lnTo>
                    <a:pt x="2582885" y="2307276"/>
                  </a:lnTo>
                  <a:lnTo>
                    <a:pt x="2582885" y="2310532"/>
                  </a:lnTo>
                  <a:lnTo>
                    <a:pt x="2574695" y="2310532"/>
                  </a:lnTo>
                  <a:lnTo>
                    <a:pt x="2574695" y="2314035"/>
                  </a:lnTo>
                  <a:lnTo>
                    <a:pt x="2570550" y="2315664"/>
                  </a:lnTo>
                  <a:lnTo>
                    <a:pt x="2564284" y="2317243"/>
                  </a:lnTo>
                  <a:lnTo>
                    <a:pt x="2560140" y="2320499"/>
                  </a:lnTo>
                  <a:lnTo>
                    <a:pt x="2558067" y="2322127"/>
                  </a:lnTo>
                  <a:lnTo>
                    <a:pt x="2560140" y="2323706"/>
                  </a:lnTo>
                  <a:lnTo>
                    <a:pt x="2562212" y="2326963"/>
                  </a:lnTo>
                  <a:lnTo>
                    <a:pt x="2566406" y="2326963"/>
                  </a:lnTo>
                  <a:lnTo>
                    <a:pt x="2568478" y="2323706"/>
                  </a:lnTo>
                  <a:lnTo>
                    <a:pt x="2570550" y="2322127"/>
                  </a:lnTo>
                  <a:lnTo>
                    <a:pt x="2572623" y="2322127"/>
                  </a:lnTo>
                  <a:lnTo>
                    <a:pt x="2574695" y="2325334"/>
                  </a:lnTo>
                  <a:lnTo>
                    <a:pt x="2576817" y="2326963"/>
                  </a:lnTo>
                  <a:lnTo>
                    <a:pt x="2580961" y="2325334"/>
                  </a:lnTo>
                  <a:lnTo>
                    <a:pt x="2585106" y="2322127"/>
                  </a:lnTo>
                  <a:lnTo>
                    <a:pt x="2587227" y="2318871"/>
                  </a:lnTo>
                  <a:lnTo>
                    <a:pt x="2587227" y="2318871"/>
                  </a:lnTo>
                  <a:lnTo>
                    <a:pt x="2589300" y="2315664"/>
                  </a:lnTo>
                  <a:lnTo>
                    <a:pt x="2591372" y="2312457"/>
                  </a:lnTo>
                  <a:lnTo>
                    <a:pt x="2593444" y="2310828"/>
                  </a:lnTo>
                  <a:lnTo>
                    <a:pt x="2599710" y="2304365"/>
                  </a:lnTo>
                  <a:lnTo>
                    <a:pt x="2601783" y="2304365"/>
                  </a:lnTo>
                  <a:lnTo>
                    <a:pt x="2605927" y="2305993"/>
                  </a:lnTo>
                  <a:lnTo>
                    <a:pt x="2610121" y="2304365"/>
                  </a:lnTo>
                  <a:lnTo>
                    <a:pt x="2605927" y="2307572"/>
                  </a:lnTo>
                  <a:lnTo>
                    <a:pt x="2610121" y="2307572"/>
                  </a:lnTo>
                  <a:lnTo>
                    <a:pt x="2612194" y="2304365"/>
                  </a:lnTo>
                  <a:lnTo>
                    <a:pt x="2616338" y="2297901"/>
                  </a:lnTo>
                  <a:lnTo>
                    <a:pt x="2618460" y="2291438"/>
                  </a:lnTo>
                  <a:lnTo>
                    <a:pt x="2618460" y="2286504"/>
                  </a:lnTo>
                  <a:lnTo>
                    <a:pt x="2620532" y="2284925"/>
                  </a:lnTo>
                  <a:lnTo>
                    <a:pt x="2622604" y="2284925"/>
                  </a:lnTo>
                  <a:lnTo>
                    <a:pt x="2624726" y="2286504"/>
                  </a:lnTo>
                  <a:lnTo>
                    <a:pt x="2626749" y="2286504"/>
                  </a:lnTo>
                  <a:lnTo>
                    <a:pt x="2628871" y="2289711"/>
                  </a:lnTo>
                  <a:lnTo>
                    <a:pt x="2630943" y="2294645"/>
                  </a:lnTo>
                  <a:lnTo>
                    <a:pt x="2628871" y="2299579"/>
                  </a:lnTo>
                  <a:lnTo>
                    <a:pt x="2628871" y="2302786"/>
                  </a:lnTo>
                  <a:lnTo>
                    <a:pt x="2630943" y="2306042"/>
                  </a:lnTo>
                  <a:lnTo>
                    <a:pt x="2628871" y="2309249"/>
                  </a:lnTo>
                  <a:lnTo>
                    <a:pt x="2622604" y="2312506"/>
                  </a:lnTo>
                  <a:lnTo>
                    <a:pt x="2618460" y="2322374"/>
                  </a:lnTo>
                  <a:lnTo>
                    <a:pt x="2618460" y="2325581"/>
                  </a:lnTo>
                  <a:lnTo>
                    <a:pt x="2616338" y="2327209"/>
                  </a:lnTo>
                  <a:lnTo>
                    <a:pt x="2616338" y="2332143"/>
                  </a:lnTo>
                  <a:lnTo>
                    <a:pt x="2620532" y="2332143"/>
                  </a:lnTo>
                  <a:lnTo>
                    <a:pt x="2626749" y="2330515"/>
                  </a:lnTo>
                  <a:lnTo>
                    <a:pt x="2630943" y="2322473"/>
                  </a:lnTo>
                  <a:lnTo>
                    <a:pt x="2633065" y="2322473"/>
                  </a:lnTo>
                  <a:lnTo>
                    <a:pt x="2639281" y="2316009"/>
                  </a:lnTo>
                  <a:lnTo>
                    <a:pt x="2641354" y="2312802"/>
                  </a:lnTo>
                  <a:lnTo>
                    <a:pt x="2641354" y="2316009"/>
                  </a:lnTo>
                  <a:lnTo>
                    <a:pt x="2647620" y="2316009"/>
                  </a:lnTo>
                  <a:lnTo>
                    <a:pt x="2647620" y="2317588"/>
                  </a:lnTo>
                  <a:lnTo>
                    <a:pt x="2643475" y="2317588"/>
                  </a:lnTo>
                  <a:lnTo>
                    <a:pt x="2637160" y="2324052"/>
                  </a:lnTo>
                  <a:lnTo>
                    <a:pt x="2637160" y="2327308"/>
                  </a:lnTo>
                  <a:lnTo>
                    <a:pt x="2635137" y="2332242"/>
                  </a:lnTo>
                  <a:lnTo>
                    <a:pt x="2637160" y="2333870"/>
                  </a:lnTo>
                  <a:lnTo>
                    <a:pt x="2639281" y="2338804"/>
                  </a:lnTo>
                  <a:lnTo>
                    <a:pt x="2641354" y="2342061"/>
                  </a:lnTo>
                  <a:lnTo>
                    <a:pt x="2643475" y="2337127"/>
                  </a:lnTo>
                  <a:lnTo>
                    <a:pt x="2645548" y="2335499"/>
                  </a:lnTo>
                  <a:cubicBezTo>
                    <a:pt x="2646757" y="2334596"/>
                    <a:pt x="2648192" y="2334048"/>
                    <a:pt x="2649692" y="2333920"/>
                  </a:cubicBezTo>
                  <a:lnTo>
                    <a:pt x="2651764" y="2338854"/>
                  </a:lnTo>
                  <a:lnTo>
                    <a:pt x="2655959" y="2338854"/>
                  </a:lnTo>
                  <a:lnTo>
                    <a:pt x="2660103" y="2337275"/>
                  </a:lnTo>
                  <a:lnTo>
                    <a:pt x="2660103" y="2334068"/>
                  </a:lnTo>
                  <a:lnTo>
                    <a:pt x="2662175" y="2334068"/>
                  </a:lnTo>
                  <a:lnTo>
                    <a:pt x="2664297" y="2330811"/>
                  </a:lnTo>
                  <a:lnTo>
                    <a:pt x="2664297" y="2325877"/>
                  </a:lnTo>
                  <a:lnTo>
                    <a:pt x="2664297" y="2325877"/>
                  </a:lnTo>
                  <a:lnTo>
                    <a:pt x="2666369" y="2324249"/>
                  </a:lnTo>
                  <a:lnTo>
                    <a:pt x="2664297" y="2321042"/>
                  </a:lnTo>
                  <a:lnTo>
                    <a:pt x="2666369" y="2316108"/>
                  </a:lnTo>
                  <a:lnTo>
                    <a:pt x="2672586" y="2308016"/>
                  </a:lnTo>
                  <a:lnTo>
                    <a:pt x="2674708" y="2303082"/>
                  </a:lnTo>
                  <a:lnTo>
                    <a:pt x="2674708" y="2291339"/>
                  </a:lnTo>
                  <a:lnTo>
                    <a:pt x="2672586" y="2289711"/>
                  </a:lnTo>
                  <a:lnTo>
                    <a:pt x="2672586" y="2292967"/>
                  </a:lnTo>
                  <a:lnTo>
                    <a:pt x="2670563" y="2297901"/>
                  </a:lnTo>
                  <a:lnTo>
                    <a:pt x="2664297" y="2301158"/>
                  </a:lnTo>
                  <a:lnTo>
                    <a:pt x="2660103" y="2304365"/>
                  </a:lnTo>
                  <a:lnTo>
                    <a:pt x="2658031" y="2305993"/>
                  </a:lnTo>
                  <a:lnTo>
                    <a:pt x="2655959" y="2301059"/>
                  </a:lnTo>
                  <a:lnTo>
                    <a:pt x="2655959" y="2292967"/>
                  </a:lnTo>
                  <a:lnTo>
                    <a:pt x="2662175" y="2288033"/>
                  </a:lnTo>
                  <a:lnTo>
                    <a:pt x="2664297" y="2286405"/>
                  </a:lnTo>
                  <a:lnTo>
                    <a:pt x="2668441" y="2281471"/>
                  </a:lnTo>
                  <a:lnTo>
                    <a:pt x="2670415" y="2281471"/>
                  </a:lnTo>
                  <a:lnTo>
                    <a:pt x="2672438" y="2279892"/>
                  </a:lnTo>
                  <a:lnTo>
                    <a:pt x="2672438" y="2278264"/>
                  </a:lnTo>
                  <a:lnTo>
                    <a:pt x="2668294" y="2279892"/>
                  </a:lnTo>
                  <a:lnTo>
                    <a:pt x="2666221" y="2279892"/>
                  </a:lnTo>
                  <a:lnTo>
                    <a:pt x="2662027" y="2281471"/>
                  </a:lnTo>
                  <a:lnTo>
                    <a:pt x="2657883" y="2283099"/>
                  </a:lnTo>
                  <a:lnTo>
                    <a:pt x="2653738" y="2286306"/>
                  </a:lnTo>
                  <a:lnTo>
                    <a:pt x="2651617" y="2289513"/>
                  </a:lnTo>
                  <a:lnTo>
                    <a:pt x="2645400" y="2294447"/>
                  </a:lnTo>
                  <a:lnTo>
                    <a:pt x="2645400" y="2296026"/>
                  </a:lnTo>
                  <a:lnTo>
                    <a:pt x="2641206" y="2299283"/>
                  </a:lnTo>
                  <a:lnTo>
                    <a:pt x="2637012" y="2294349"/>
                  </a:lnTo>
                  <a:lnTo>
                    <a:pt x="2634989" y="2291092"/>
                  </a:lnTo>
                  <a:lnTo>
                    <a:pt x="2634989" y="2287885"/>
                  </a:lnTo>
                  <a:lnTo>
                    <a:pt x="2632917" y="2284678"/>
                  </a:lnTo>
                  <a:lnTo>
                    <a:pt x="2637012" y="2287885"/>
                  </a:lnTo>
                  <a:lnTo>
                    <a:pt x="2639133" y="2287885"/>
                  </a:lnTo>
                  <a:lnTo>
                    <a:pt x="2643327" y="2281422"/>
                  </a:lnTo>
                  <a:lnTo>
                    <a:pt x="2639133" y="2283050"/>
                  </a:lnTo>
                  <a:lnTo>
                    <a:pt x="2634989" y="2281422"/>
                  </a:lnTo>
                  <a:lnTo>
                    <a:pt x="2643327" y="2281422"/>
                  </a:lnTo>
                  <a:lnTo>
                    <a:pt x="2637012" y="2279843"/>
                  </a:lnTo>
                  <a:lnTo>
                    <a:pt x="2634989" y="2278214"/>
                  </a:lnTo>
                  <a:lnTo>
                    <a:pt x="2634989" y="2274958"/>
                  </a:lnTo>
                  <a:lnTo>
                    <a:pt x="2637012" y="2273379"/>
                  </a:lnTo>
                  <a:lnTo>
                    <a:pt x="2643327" y="2273379"/>
                  </a:lnTo>
                  <a:lnTo>
                    <a:pt x="2645400" y="2271751"/>
                  </a:lnTo>
                  <a:lnTo>
                    <a:pt x="2649544" y="2268494"/>
                  </a:lnTo>
                  <a:lnTo>
                    <a:pt x="2653738" y="2263560"/>
                  </a:lnTo>
                  <a:lnTo>
                    <a:pt x="2657883" y="2263560"/>
                  </a:lnTo>
                  <a:lnTo>
                    <a:pt x="2659955" y="2265189"/>
                  </a:lnTo>
                  <a:lnTo>
                    <a:pt x="2666221" y="2261981"/>
                  </a:lnTo>
                  <a:lnTo>
                    <a:pt x="2668294" y="2257047"/>
                  </a:lnTo>
                  <a:lnTo>
                    <a:pt x="2668294" y="2252113"/>
                  </a:lnTo>
                  <a:lnTo>
                    <a:pt x="2666221" y="2250485"/>
                  </a:lnTo>
                  <a:lnTo>
                    <a:pt x="2662027" y="2253692"/>
                  </a:lnTo>
                  <a:lnTo>
                    <a:pt x="2657883" y="2255321"/>
                  </a:lnTo>
                  <a:lnTo>
                    <a:pt x="2657883" y="2253692"/>
                  </a:lnTo>
                  <a:lnTo>
                    <a:pt x="2653738" y="2253692"/>
                  </a:lnTo>
                  <a:lnTo>
                    <a:pt x="2653738" y="2260156"/>
                  </a:lnTo>
                  <a:lnTo>
                    <a:pt x="2649544" y="2261784"/>
                  </a:lnTo>
                  <a:lnTo>
                    <a:pt x="2647472" y="2261784"/>
                  </a:lnTo>
                  <a:lnTo>
                    <a:pt x="2643327" y="2263363"/>
                  </a:lnTo>
                  <a:lnTo>
                    <a:pt x="2639133" y="2266619"/>
                  </a:lnTo>
                  <a:lnTo>
                    <a:pt x="2639133" y="2268198"/>
                  </a:lnTo>
                  <a:lnTo>
                    <a:pt x="2637012" y="2269827"/>
                  </a:lnTo>
                  <a:lnTo>
                    <a:pt x="2637012" y="2263363"/>
                  </a:lnTo>
                  <a:lnTo>
                    <a:pt x="2634989" y="2264991"/>
                  </a:lnTo>
                  <a:lnTo>
                    <a:pt x="2632917" y="2264991"/>
                  </a:lnTo>
                  <a:lnTo>
                    <a:pt x="2634989" y="2263363"/>
                  </a:lnTo>
                  <a:lnTo>
                    <a:pt x="2639133" y="2260156"/>
                  </a:lnTo>
                  <a:lnTo>
                    <a:pt x="2641206" y="2258528"/>
                  </a:lnTo>
                  <a:lnTo>
                    <a:pt x="2639133" y="2256949"/>
                  </a:lnTo>
                  <a:lnTo>
                    <a:pt x="2641206" y="2255321"/>
                  </a:lnTo>
                  <a:lnTo>
                    <a:pt x="2643327" y="2250386"/>
                  </a:lnTo>
                  <a:lnTo>
                    <a:pt x="2641206" y="2250386"/>
                  </a:lnTo>
                  <a:lnTo>
                    <a:pt x="2637012" y="2252015"/>
                  </a:lnTo>
                  <a:lnTo>
                    <a:pt x="2639133" y="2248758"/>
                  </a:lnTo>
                  <a:lnTo>
                    <a:pt x="2639133" y="2245551"/>
                  </a:lnTo>
                  <a:lnTo>
                    <a:pt x="2637012" y="2245551"/>
                  </a:lnTo>
                  <a:lnTo>
                    <a:pt x="2632917" y="2247130"/>
                  </a:lnTo>
                  <a:lnTo>
                    <a:pt x="2626601" y="2245551"/>
                  </a:lnTo>
                  <a:lnTo>
                    <a:pt x="2632917" y="2245551"/>
                  </a:lnTo>
                  <a:lnTo>
                    <a:pt x="2634989" y="2243923"/>
                  </a:lnTo>
                  <a:lnTo>
                    <a:pt x="2641206" y="2242295"/>
                  </a:lnTo>
                  <a:lnTo>
                    <a:pt x="2645400" y="2240666"/>
                  </a:lnTo>
                  <a:lnTo>
                    <a:pt x="2647472" y="2239087"/>
                  </a:lnTo>
                  <a:lnTo>
                    <a:pt x="2651617" y="2237459"/>
                  </a:lnTo>
                  <a:lnTo>
                    <a:pt x="2655810" y="2235831"/>
                  </a:lnTo>
                  <a:lnTo>
                    <a:pt x="2655810" y="2232624"/>
                  </a:lnTo>
                  <a:lnTo>
                    <a:pt x="2657883" y="2229367"/>
                  </a:lnTo>
                  <a:lnTo>
                    <a:pt x="2657883" y="2226160"/>
                  </a:lnTo>
                  <a:lnTo>
                    <a:pt x="2653738" y="2224581"/>
                  </a:lnTo>
                  <a:lnTo>
                    <a:pt x="2649544" y="2219647"/>
                  </a:lnTo>
                  <a:lnTo>
                    <a:pt x="2643327" y="2219647"/>
                  </a:lnTo>
                  <a:lnTo>
                    <a:pt x="2637012" y="2221276"/>
                  </a:lnTo>
                  <a:lnTo>
                    <a:pt x="2632917" y="2221276"/>
                  </a:lnTo>
                  <a:lnTo>
                    <a:pt x="2632917" y="2222904"/>
                  </a:lnTo>
                  <a:lnTo>
                    <a:pt x="2630795" y="2227838"/>
                  </a:lnTo>
                  <a:lnTo>
                    <a:pt x="2628723" y="2232772"/>
                  </a:lnTo>
                  <a:lnTo>
                    <a:pt x="2626601" y="2235979"/>
                  </a:lnTo>
                  <a:lnTo>
                    <a:pt x="2628723" y="2232772"/>
                  </a:lnTo>
                  <a:lnTo>
                    <a:pt x="2628723" y="2227838"/>
                  </a:lnTo>
                  <a:lnTo>
                    <a:pt x="2626601" y="2226210"/>
                  </a:lnTo>
                  <a:lnTo>
                    <a:pt x="2628723" y="2223002"/>
                  </a:lnTo>
                  <a:lnTo>
                    <a:pt x="2630795" y="2218068"/>
                  </a:lnTo>
                  <a:lnTo>
                    <a:pt x="2628723" y="2218068"/>
                  </a:lnTo>
                  <a:lnTo>
                    <a:pt x="2624578" y="2221276"/>
                  </a:lnTo>
                  <a:lnTo>
                    <a:pt x="2622457" y="2224532"/>
                  </a:lnTo>
                  <a:lnTo>
                    <a:pt x="2618312" y="2226111"/>
                  </a:lnTo>
                  <a:lnTo>
                    <a:pt x="2616141" y="2225223"/>
                  </a:lnTo>
                  <a:lnTo>
                    <a:pt x="2614118" y="2226802"/>
                  </a:lnTo>
                  <a:lnTo>
                    <a:pt x="2609924" y="2228430"/>
                  </a:lnTo>
                  <a:lnTo>
                    <a:pt x="2607852" y="2226802"/>
                  </a:lnTo>
                  <a:lnTo>
                    <a:pt x="2603658" y="2230009"/>
                  </a:lnTo>
                  <a:lnTo>
                    <a:pt x="2601585" y="2234943"/>
                  </a:lnTo>
                  <a:lnTo>
                    <a:pt x="2597441" y="2238150"/>
                  </a:lnTo>
                  <a:lnTo>
                    <a:pt x="2601585" y="2234943"/>
                  </a:lnTo>
                  <a:lnTo>
                    <a:pt x="2601585" y="2226851"/>
                  </a:lnTo>
                  <a:lnTo>
                    <a:pt x="2605730" y="2221917"/>
                  </a:lnTo>
                  <a:lnTo>
                    <a:pt x="2605730" y="2220289"/>
                  </a:lnTo>
                  <a:lnTo>
                    <a:pt x="2601585" y="2221917"/>
                  </a:lnTo>
                  <a:lnTo>
                    <a:pt x="2599513" y="2225173"/>
                  </a:lnTo>
                  <a:lnTo>
                    <a:pt x="2595319" y="2228381"/>
                  </a:lnTo>
                  <a:lnTo>
                    <a:pt x="2593247" y="2226752"/>
                  </a:lnTo>
                  <a:lnTo>
                    <a:pt x="2595319" y="2225173"/>
                  </a:lnTo>
                  <a:lnTo>
                    <a:pt x="2597441" y="2221917"/>
                  </a:lnTo>
                  <a:lnTo>
                    <a:pt x="2597441" y="2220289"/>
                  </a:lnTo>
                  <a:lnTo>
                    <a:pt x="2591471" y="2220289"/>
                  </a:lnTo>
                  <a:lnTo>
                    <a:pt x="2587326" y="2225223"/>
                  </a:lnTo>
                  <a:lnTo>
                    <a:pt x="2583132" y="2225223"/>
                  </a:lnTo>
                  <a:lnTo>
                    <a:pt x="2581060" y="2220289"/>
                  </a:lnTo>
                  <a:lnTo>
                    <a:pt x="2581060" y="2220289"/>
                  </a:lnTo>
                  <a:lnTo>
                    <a:pt x="2574794" y="2223545"/>
                  </a:lnTo>
                  <a:lnTo>
                    <a:pt x="2572721" y="2223545"/>
                  </a:lnTo>
                  <a:lnTo>
                    <a:pt x="2572721" y="2221917"/>
                  </a:lnTo>
                  <a:lnTo>
                    <a:pt x="2576915" y="2218710"/>
                  </a:lnTo>
                  <a:lnTo>
                    <a:pt x="2581060" y="2213776"/>
                  </a:lnTo>
                  <a:lnTo>
                    <a:pt x="2583132" y="2208842"/>
                  </a:lnTo>
                  <a:lnTo>
                    <a:pt x="2578987" y="2208842"/>
                  </a:lnTo>
                  <a:lnTo>
                    <a:pt x="2572721" y="2213776"/>
                  </a:lnTo>
                  <a:lnTo>
                    <a:pt x="2574794" y="2208842"/>
                  </a:lnTo>
                  <a:lnTo>
                    <a:pt x="2581060" y="2205635"/>
                  </a:lnTo>
                  <a:lnTo>
                    <a:pt x="2587326" y="2204056"/>
                  </a:lnTo>
                  <a:lnTo>
                    <a:pt x="2589398" y="2204056"/>
                  </a:lnTo>
                  <a:lnTo>
                    <a:pt x="2595615" y="2202378"/>
                  </a:lnTo>
                  <a:lnTo>
                    <a:pt x="2597737" y="2199171"/>
                  </a:lnTo>
                  <a:lnTo>
                    <a:pt x="2597737" y="2197592"/>
                  </a:lnTo>
                  <a:lnTo>
                    <a:pt x="2595615" y="2197592"/>
                  </a:lnTo>
                  <a:lnTo>
                    <a:pt x="2589398" y="2199171"/>
                  </a:lnTo>
                  <a:lnTo>
                    <a:pt x="2587326" y="2197592"/>
                  </a:lnTo>
                  <a:lnTo>
                    <a:pt x="2581060" y="2194336"/>
                  </a:lnTo>
                  <a:lnTo>
                    <a:pt x="2578987" y="2195964"/>
                  </a:lnTo>
                  <a:lnTo>
                    <a:pt x="2574794" y="2197592"/>
                  </a:lnTo>
                  <a:lnTo>
                    <a:pt x="2578987" y="2191129"/>
                  </a:lnTo>
                  <a:lnTo>
                    <a:pt x="2581060" y="2189501"/>
                  </a:lnTo>
                  <a:lnTo>
                    <a:pt x="2576669" y="2189501"/>
                  </a:lnTo>
                  <a:lnTo>
                    <a:pt x="2572475" y="2192708"/>
                  </a:lnTo>
                  <a:lnTo>
                    <a:pt x="2568330" y="2195964"/>
                  </a:lnTo>
                  <a:lnTo>
                    <a:pt x="2564136" y="2200898"/>
                  </a:lnTo>
                  <a:lnTo>
                    <a:pt x="2559992" y="2202477"/>
                  </a:lnTo>
                  <a:lnTo>
                    <a:pt x="2559992" y="2205733"/>
                  </a:lnTo>
                  <a:lnTo>
                    <a:pt x="2553725" y="2208941"/>
                  </a:lnTo>
                  <a:lnTo>
                    <a:pt x="2549581" y="2212197"/>
                  </a:lnTo>
                  <a:lnTo>
                    <a:pt x="2549581" y="2207263"/>
                  </a:lnTo>
                  <a:lnTo>
                    <a:pt x="2551653" y="2204056"/>
                  </a:lnTo>
                  <a:lnTo>
                    <a:pt x="2553725" y="2199122"/>
                  </a:lnTo>
                  <a:lnTo>
                    <a:pt x="2555847" y="2195915"/>
                  </a:lnTo>
                  <a:lnTo>
                    <a:pt x="2557919" y="2190981"/>
                  </a:lnTo>
                  <a:lnTo>
                    <a:pt x="2562064" y="2186047"/>
                  </a:lnTo>
                  <a:lnTo>
                    <a:pt x="2562064" y="2184418"/>
                  </a:lnTo>
                  <a:lnTo>
                    <a:pt x="2566258" y="2181162"/>
                  </a:lnTo>
                  <a:lnTo>
                    <a:pt x="2568330" y="2179583"/>
                  </a:lnTo>
                  <a:lnTo>
                    <a:pt x="2570402" y="2174649"/>
                  </a:lnTo>
                  <a:lnTo>
                    <a:pt x="2574547" y="2171442"/>
                  </a:lnTo>
                  <a:lnTo>
                    <a:pt x="2578741" y="2168235"/>
                  </a:lnTo>
                  <a:lnTo>
                    <a:pt x="2580813" y="2166607"/>
                  </a:lnTo>
                  <a:lnTo>
                    <a:pt x="2582885" y="2164978"/>
                  </a:lnTo>
                  <a:lnTo>
                    <a:pt x="2582885" y="2163399"/>
                  </a:lnTo>
                  <a:lnTo>
                    <a:pt x="2584958" y="2158465"/>
                  </a:lnTo>
                  <a:lnTo>
                    <a:pt x="2587079" y="2155258"/>
                  </a:lnTo>
                  <a:lnTo>
                    <a:pt x="2587079" y="2158465"/>
                  </a:lnTo>
                  <a:lnTo>
                    <a:pt x="2584958" y="2161672"/>
                  </a:lnTo>
                  <a:lnTo>
                    <a:pt x="2587079" y="2164880"/>
                  </a:lnTo>
                  <a:lnTo>
                    <a:pt x="2591224" y="2158465"/>
                  </a:lnTo>
                  <a:lnTo>
                    <a:pt x="2597490" y="2152002"/>
                  </a:lnTo>
                  <a:lnTo>
                    <a:pt x="2599563" y="2148795"/>
                  </a:lnTo>
                  <a:lnTo>
                    <a:pt x="2597490" y="2147117"/>
                  </a:lnTo>
                  <a:lnTo>
                    <a:pt x="2595368" y="2147117"/>
                  </a:lnTo>
                  <a:lnTo>
                    <a:pt x="2591224" y="2148795"/>
                  </a:lnTo>
                  <a:lnTo>
                    <a:pt x="2591224" y="2143861"/>
                  </a:lnTo>
                  <a:lnTo>
                    <a:pt x="2589152" y="2142282"/>
                  </a:lnTo>
                  <a:lnTo>
                    <a:pt x="2591224" y="2139025"/>
                  </a:lnTo>
                  <a:lnTo>
                    <a:pt x="2593296" y="2139025"/>
                  </a:lnTo>
                  <a:lnTo>
                    <a:pt x="2599563" y="2140653"/>
                  </a:lnTo>
                  <a:lnTo>
                    <a:pt x="2603707" y="2142282"/>
                  </a:lnTo>
                  <a:lnTo>
                    <a:pt x="2607901" y="2140653"/>
                  </a:lnTo>
                  <a:lnTo>
                    <a:pt x="2609973" y="2137446"/>
                  </a:lnTo>
                  <a:lnTo>
                    <a:pt x="2609973" y="2131476"/>
                  </a:lnTo>
                  <a:lnTo>
                    <a:pt x="2605779" y="2131476"/>
                  </a:lnTo>
                  <a:lnTo>
                    <a:pt x="2601635" y="2133055"/>
                  </a:lnTo>
                  <a:lnTo>
                    <a:pt x="2601635" y="2134733"/>
                  </a:lnTo>
                  <a:lnTo>
                    <a:pt x="2599563" y="2134733"/>
                  </a:lnTo>
                  <a:lnTo>
                    <a:pt x="2599563" y="2131476"/>
                  </a:lnTo>
                  <a:lnTo>
                    <a:pt x="2597490" y="2129848"/>
                  </a:lnTo>
                  <a:lnTo>
                    <a:pt x="2595368" y="2131476"/>
                  </a:lnTo>
                  <a:lnTo>
                    <a:pt x="2591224" y="2134733"/>
                  </a:lnTo>
                  <a:lnTo>
                    <a:pt x="2587079" y="2134733"/>
                  </a:lnTo>
                  <a:lnTo>
                    <a:pt x="2584958" y="2136312"/>
                  </a:lnTo>
                  <a:lnTo>
                    <a:pt x="2580813" y="2139519"/>
                  </a:lnTo>
                  <a:lnTo>
                    <a:pt x="2574695" y="2139519"/>
                  </a:lnTo>
                  <a:lnTo>
                    <a:pt x="2568478" y="2142775"/>
                  </a:lnTo>
                  <a:lnTo>
                    <a:pt x="2562212" y="2147709"/>
                  </a:lnTo>
                  <a:lnTo>
                    <a:pt x="2562212" y="2152643"/>
                  </a:lnTo>
                  <a:lnTo>
                    <a:pt x="2553873" y="2152643"/>
                  </a:lnTo>
                  <a:lnTo>
                    <a:pt x="2555995" y="2154222"/>
                  </a:lnTo>
                  <a:close/>
                  <a:moveTo>
                    <a:pt x="2324737" y="2213677"/>
                  </a:moveTo>
                  <a:lnTo>
                    <a:pt x="2328931" y="2215256"/>
                  </a:lnTo>
                  <a:lnTo>
                    <a:pt x="2341414" y="2223348"/>
                  </a:lnTo>
                  <a:lnTo>
                    <a:pt x="2351825" y="2223348"/>
                  </a:lnTo>
                  <a:lnTo>
                    <a:pt x="2360163" y="2224976"/>
                  </a:lnTo>
                  <a:lnTo>
                    <a:pt x="2364357" y="2228183"/>
                  </a:lnTo>
                  <a:lnTo>
                    <a:pt x="2370574" y="2229762"/>
                  </a:lnTo>
                  <a:lnTo>
                    <a:pt x="2376840" y="2231440"/>
                  </a:lnTo>
                  <a:lnTo>
                    <a:pt x="2385179" y="2229762"/>
                  </a:lnTo>
                  <a:lnTo>
                    <a:pt x="2385179" y="2224828"/>
                  </a:lnTo>
                  <a:lnTo>
                    <a:pt x="2380985" y="2221572"/>
                  </a:lnTo>
                  <a:lnTo>
                    <a:pt x="2380985" y="2220289"/>
                  </a:lnTo>
                  <a:lnTo>
                    <a:pt x="2376840" y="2217082"/>
                  </a:lnTo>
                  <a:lnTo>
                    <a:pt x="2370574" y="2215453"/>
                  </a:lnTo>
                  <a:lnTo>
                    <a:pt x="2366429" y="2208990"/>
                  </a:lnTo>
                  <a:lnTo>
                    <a:pt x="2358091" y="2204056"/>
                  </a:lnTo>
                  <a:lnTo>
                    <a:pt x="2353946" y="2204056"/>
                  </a:lnTo>
                  <a:lnTo>
                    <a:pt x="2347680" y="2197592"/>
                  </a:lnTo>
                  <a:lnTo>
                    <a:pt x="2339342" y="2194336"/>
                  </a:lnTo>
                  <a:lnTo>
                    <a:pt x="2328931" y="2194336"/>
                  </a:lnTo>
                  <a:lnTo>
                    <a:pt x="2312303" y="2189402"/>
                  </a:lnTo>
                  <a:lnTo>
                    <a:pt x="2305987" y="2186195"/>
                  </a:lnTo>
                  <a:lnTo>
                    <a:pt x="2299771" y="2189402"/>
                  </a:lnTo>
                  <a:lnTo>
                    <a:pt x="2301843" y="2195865"/>
                  </a:lnTo>
                  <a:lnTo>
                    <a:pt x="2310181" y="2197494"/>
                  </a:lnTo>
                  <a:lnTo>
                    <a:pt x="2320592" y="2205536"/>
                  </a:lnTo>
                  <a:lnTo>
                    <a:pt x="2322714" y="2212000"/>
                  </a:lnTo>
                  <a:close/>
                  <a:moveTo>
                    <a:pt x="2326858" y="2355629"/>
                  </a:moveTo>
                  <a:lnTo>
                    <a:pt x="2318520" y="2352422"/>
                  </a:lnTo>
                  <a:lnTo>
                    <a:pt x="2316398" y="2346008"/>
                  </a:lnTo>
                  <a:lnTo>
                    <a:pt x="2301596" y="2344331"/>
                  </a:lnTo>
                  <a:lnTo>
                    <a:pt x="2295330" y="2342752"/>
                  </a:lnTo>
                  <a:lnTo>
                    <a:pt x="2295330" y="2337818"/>
                  </a:lnTo>
                  <a:lnTo>
                    <a:pt x="2291185" y="2336239"/>
                  </a:lnTo>
                  <a:lnTo>
                    <a:pt x="2289113" y="2334610"/>
                  </a:lnTo>
                  <a:lnTo>
                    <a:pt x="2287041" y="2331403"/>
                  </a:lnTo>
                  <a:lnTo>
                    <a:pt x="2282847" y="2329775"/>
                  </a:lnTo>
                  <a:lnTo>
                    <a:pt x="2282847" y="2324841"/>
                  </a:lnTo>
                  <a:lnTo>
                    <a:pt x="2278653" y="2323213"/>
                  </a:lnTo>
                  <a:lnTo>
                    <a:pt x="2274508" y="2323213"/>
                  </a:lnTo>
                  <a:lnTo>
                    <a:pt x="2272436" y="2321634"/>
                  </a:lnTo>
                  <a:lnTo>
                    <a:pt x="2276630" y="2316700"/>
                  </a:lnTo>
                  <a:lnTo>
                    <a:pt x="2289113" y="2308657"/>
                  </a:lnTo>
                  <a:lnTo>
                    <a:pt x="2291185" y="2313591"/>
                  </a:lnTo>
                  <a:lnTo>
                    <a:pt x="2287041" y="2318525"/>
                  </a:lnTo>
                  <a:lnTo>
                    <a:pt x="2287041" y="2320154"/>
                  </a:lnTo>
                  <a:lnTo>
                    <a:pt x="2289113" y="2323361"/>
                  </a:lnTo>
                  <a:lnTo>
                    <a:pt x="2289113" y="2328295"/>
                  </a:lnTo>
                  <a:lnTo>
                    <a:pt x="2295330" y="2331502"/>
                  </a:lnTo>
                  <a:lnTo>
                    <a:pt x="2295330" y="2326568"/>
                  </a:lnTo>
                  <a:lnTo>
                    <a:pt x="2301596" y="2326568"/>
                  </a:lnTo>
                  <a:lnTo>
                    <a:pt x="2309935" y="2333032"/>
                  </a:lnTo>
                  <a:lnTo>
                    <a:pt x="2314079" y="2333032"/>
                  </a:lnTo>
                  <a:lnTo>
                    <a:pt x="2318273" y="2336239"/>
                  </a:lnTo>
                  <a:lnTo>
                    <a:pt x="2328684" y="2336239"/>
                  </a:lnTo>
                  <a:lnTo>
                    <a:pt x="2330756" y="2333032"/>
                  </a:lnTo>
                  <a:lnTo>
                    <a:pt x="2337022" y="2334610"/>
                  </a:lnTo>
                  <a:lnTo>
                    <a:pt x="2347433" y="2334610"/>
                  </a:lnTo>
                  <a:lnTo>
                    <a:pt x="2343289" y="2336239"/>
                  </a:lnTo>
                  <a:lnTo>
                    <a:pt x="2337022" y="2337818"/>
                  </a:lnTo>
                  <a:lnTo>
                    <a:pt x="2334901" y="2344281"/>
                  </a:lnTo>
                  <a:lnTo>
                    <a:pt x="2334901" y="2347538"/>
                  </a:lnTo>
                  <a:lnTo>
                    <a:pt x="2332878" y="2354001"/>
                  </a:lnTo>
                  <a:close/>
                  <a:moveTo>
                    <a:pt x="2378912" y="2376648"/>
                  </a:moveTo>
                  <a:lnTo>
                    <a:pt x="2376840" y="2371714"/>
                  </a:lnTo>
                  <a:lnTo>
                    <a:pt x="2366429" y="2366780"/>
                  </a:lnTo>
                  <a:lnTo>
                    <a:pt x="2364357" y="2358688"/>
                  </a:lnTo>
                  <a:lnTo>
                    <a:pt x="2362235" y="2355432"/>
                  </a:lnTo>
                  <a:lnTo>
                    <a:pt x="2366429" y="2350498"/>
                  </a:lnTo>
                  <a:lnTo>
                    <a:pt x="2374768" y="2345564"/>
                  </a:lnTo>
                  <a:lnTo>
                    <a:pt x="2383057" y="2335696"/>
                  </a:lnTo>
                  <a:lnTo>
                    <a:pt x="2387251" y="2332489"/>
                  </a:lnTo>
                  <a:lnTo>
                    <a:pt x="2389323" y="2326025"/>
                  </a:lnTo>
                  <a:lnTo>
                    <a:pt x="2397662" y="2319562"/>
                  </a:lnTo>
                  <a:lnTo>
                    <a:pt x="2401856" y="2314628"/>
                  </a:lnTo>
                  <a:lnTo>
                    <a:pt x="2406000" y="2314628"/>
                  </a:lnTo>
                  <a:lnTo>
                    <a:pt x="2408073" y="2317835"/>
                  </a:lnTo>
                  <a:lnTo>
                    <a:pt x="2403879" y="2321091"/>
                  </a:lnTo>
                  <a:lnTo>
                    <a:pt x="2410145" y="2322670"/>
                  </a:lnTo>
                  <a:lnTo>
                    <a:pt x="2410145" y="2325927"/>
                  </a:lnTo>
                  <a:lnTo>
                    <a:pt x="2403977" y="2338114"/>
                  </a:lnTo>
                  <a:lnTo>
                    <a:pt x="2397760" y="2343048"/>
                  </a:lnTo>
                  <a:lnTo>
                    <a:pt x="2406099" y="2344627"/>
                  </a:lnTo>
                  <a:lnTo>
                    <a:pt x="2408171" y="2349561"/>
                  </a:lnTo>
                  <a:lnTo>
                    <a:pt x="2406099" y="2352768"/>
                  </a:lnTo>
                  <a:lnTo>
                    <a:pt x="2408171" y="2355975"/>
                  </a:lnTo>
                  <a:lnTo>
                    <a:pt x="2412365" y="2352768"/>
                  </a:lnTo>
                  <a:lnTo>
                    <a:pt x="2412365" y="2347834"/>
                  </a:lnTo>
                  <a:lnTo>
                    <a:pt x="2416510" y="2347834"/>
                  </a:lnTo>
                  <a:lnTo>
                    <a:pt x="2422776" y="2349462"/>
                  </a:lnTo>
                  <a:lnTo>
                    <a:pt x="2424799" y="2355876"/>
                  </a:lnTo>
                  <a:lnTo>
                    <a:pt x="2426921" y="2359133"/>
                  </a:lnTo>
                  <a:lnTo>
                    <a:pt x="2420704" y="2360761"/>
                  </a:lnTo>
                  <a:lnTo>
                    <a:pt x="2416510" y="2363968"/>
                  </a:lnTo>
                  <a:lnTo>
                    <a:pt x="2406099" y="2363968"/>
                  </a:lnTo>
                  <a:lnTo>
                    <a:pt x="2395688" y="2372010"/>
                  </a:lnTo>
                  <a:lnTo>
                    <a:pt x="2389175" y="2372010"/>
                  </a:lnTo>
                  <a:lnTo>
                    <a:pt x="2385031" y="2368803"/>
                  </a:lnTo>
                  <a:lnTo>
                    <a:pt x="2382909" y="2368803"/>
                  </a:lnTo>
                  <a:lnTo>
                    <a:pt x="2380837" y="2375267"/>
                  </a:lnTo>
                  <a:close/>
                  <a:moveTo>
                    <a:pt x="1820676" y="2002500"/>
                  </a:moveTo>
                  <a:lnTo>
                    <a:pt x="1820676" y="2008964"/>
                  </a:lnTo>
                  <a:lnTo>
                    <a:pt x="1822748" y="2010592"/>
                  </a:lnTo>
                  <a:lnTo>
                    <a:pt x="1824870" y="2008964"/>
                  </a:lnTo>
                  <a:lnTo>
                    <a:pt x="1824870" y="2000922"/>
                  </a:lnTo>
                  <a:lnTo>
                    <a:pt x="1822748" y="2002500"/>
                  </a:lnTo>
                  <a:close/>
                  <a:moveTo>
                    <a:pt x="1818603" y="2071922"/>
                  </a:moveTo>
                  <a:lnTo>
                    <a:pt x="1822748" y="2066988"/>
                  </a:lnTo>
                  <a:lnTo>
                    <a:pt x="1826942" y="2066988"/>
                  </a:lnTo>
                  <a:lnTo>
                    <a:pt x="1829014" y="2065360"/>
                  </a:lnTo>
                  <a:lnTo>
                    <a:pt x="1831087" y="2070294"/>
                  </a:lnTo>
                  <a:lnTo>
                    <a:pt x="1822748" y="2073551"/>
                  </a:lnTo>
                  <a:close/>
                  <a:moveTo>
                    <a:pt x="1751944" y="2023519"/>
                  </a:moveTo>
                  <a:lnTo>
                    <a:pt x="1760283" y="2015428"/>
                  </a:lnTo>
                  <a:lnTo>
                    <a:pt x="1766500" y="2017056"/>
                  </a:lnTo>
                  <a:lnTo>
                    <a:pt x="1766500" y="2012122"/>
                  </a:lnTo>
                  <a:lnTo>
                    <a:pt x="1770694" y="2010494"/>
                  </a:lnTo>
                  <a:lnTo>
                    <a:pt x="1776911" y="2010494"/>
                  </a:lnTo>
                  <a:lnTo>
                    <a:pt x="1779033" y="2012122"/>
                  </a:lnTo>
                  <a:lnTo>
                    <a:pt x="1785299" y="2012122"/>
                  </a:lnTo>
                  <a:lnTo>
                    <a:pt x="1793637" y="2018585"/>
                  </a:lnTo>
                  <a:lnTo>
                    <a:pt x="1793637" y="2025000"/>
                  </a:lnTo>
                  <a:lnTo>
                    <a:pt x="1795709" y="2026628"/>
                  </a:lnTo>
                  <a:lnTo>
                    <a:pt x="1795709" y="2031562"/>
                  </a:lnTo>
                  <a:lnTo>
                    <a:pt x="1776911" y="2028355"/>
                  </a:lnTo>
                  <a:lnTo>
                    <a:pt x="1772766" y="2025098"/>
                  </a:lnTo>
                  <a:lnTo>
                    <a:pt x="1766500" y="2025098"/>
                  </a:lnTo>
                  <a:lnTo>
                    <a:pt x="1764428" y="2030032"/>
                  </a:lnTo>
                  <a:lnTo>
                    <a:pt x="1766500" y="2031661"/>
                  </a:lnTo>
                  <a:lnTo>
                    <a:pt x="1762356" y="2028453"/>
                  </a:lnTo>
                  <a:lnTo>
                    <a:pt x="1762356" y="2025197"/>
                  </a:lnTo>
                  <a:lnTo>
                    <a:pt x="1756089" y="2025197"/>
                  </a:lnTo>
                  <a:close/>
                  <a:moveTo>
                    <a:pt x="277408" y="2047598"/>
                  </a:moveTo>
                  <a:lnTo>
                    <a:pt x="283674" y="2052532"/>
                  </a:lnTo>
                  <a:lnTo>
                    <a:pt x="289941" y="2060574"/>
                  </a:lnTo>
                  <a:lnTo>
                    <a:pt x="287819" y="2063781"/>
                  </a:lnTo>
                  <a:lnTo>
                    <a:pt x="277408" y="2055788"/>
                  </a:lnTo>
                  <a:close/>
                  <a:moveTo>
                    <a:pt x="262606" y="2034818"/>
                  </a:moveTo>
                  <a:lnTo>
                    <a:pt x="262606" y="2024950"/>
                  </a:lnTo>
                  <a:lnTo>
                    <a:pt x="266751" y="2023371"/>
                  </a:lnTo>
                  <a:close/>
                  <a:moveTo>
                    <a:pt x="223134" y="2004129"/>
                  </a:moveTo>
                  <a:lnTo>
                    <a:pt x="233545" y="2009063"/>
                  </a:lnTo>
                  <a:lnTo>
                    <a:pt x="233545" y="2004129"/>
                  </a:lnTo>
                  <a:close/>
                  <a:moveTo>
                    <a:pt x="162692" y="1981531"/>
                  </a:moveTo>
                  <a:lnTo>
                    <a:pt x="166886" y="1991399"/>
                  </a:lnTo>
                  <a:lnTo>
                    <a:pt x="168859" y="1991399"/>
                  </a:lnTo>
                  <a:lnTo>
                    <a:pt x="173004" y="1999441"/>
                  </a:lnTo>
                  <a:lnTo>
                    <a:pt x="189681" y="2001070"/>
                  </a:lnTo>
                  <a:lnTo>
                    <a:pt x="183464" y="2004277"/>
                  </a:lnTo>
                  <a:lnTo>
                    <a:pt x="175126" y="2004277"/>
                  </a:lnTo>
                  <a:lnTo>
                    <a:pt x="168859" y="2010592"/>
                  </a:lnTo>
                  <a:lnTo>
                    <a:pt x="173004" y="2012220"/>
                  </a:lnTo>
                  <a:lnTo>
                    <a:pt x="168859" y="2020263"/>
                  </a:lnTo>
                  <a:lnTo>
                    <a:pt x="170932" y="2021891"/>
                  </a:lnTo>
                  <a:lnTo>
                    <a:pt x="179270" y="2018684"/>
                  </a:lnTo>
                  <a:lnTo>
                    <a:pt x="181343" y="2025098"/>
                  </a:lnTo>
                  <a:lnTo>
                    <a:pt x="189681" y="2025098"/>
                  </a:lnTo>
                  <a:lnTo>
                    <a:pt x="189681" y="2031562"/>
                  </a:lnTo>
                  <a:lnTo>
                    <a:pt x="195947" y="2034818"/>
                  </a:lnTo>
                  <a:lnTo>
                    <a:pt x="204286" y="2031562"/>
                  </a:lnTo>
                  <a:lnTo>
                    <a:pt x="193875" y="2041430"/>
                  </a:lnTo>
                  <a:lnTo>
                    <a:pt x="198020" y="2049473"/>
                  </a:lnTo>
                  <a:lnTo>
                    <a:pt x="204286" y="2047844"/>
                  </a:lnTo>
                  <a:lnTo>
                    <a:pt x="204286" y="2041430"/>
                  </a:lnTo>
                  <a:lnTo>
                    <a:pt x="212624" y="2039802"/>
                  </a:lnTo>
                  <a:lnTo>
                    <a:pt x="210503" y="2046265"/>
                  </a:lnTo>
                  <a:lnTo>
                    <a:pt x="204286" y="2051199"/>
                  </a:lnTo>
                  <a:lnTo>
                    <a:pt x="206358" y="2056133"/>
                  </a:lnTo>
                  <a:lnTo>
                    <a:pt x="208332" y="2056133"/>
                  </a:lnTo>
                  <a:lnTo>
                    <a:pt x="210404" y="2062597"/>
                  </a:lnTo>
                  <a:lnTo>
                    <a:pt x="223134" y="2062597"/>
                  </a:lnTo>
                  <a:lnTo>
                    <a:pt x="223134" y="2067531"/>
                  </a:lnTo>
                  <a:lnTo>
                    <a:pt x="227278" y="2067531"/>
                  </a:lnTo>
                  <a:lnTo>
                    <a:pt x="231472" y="2073995"/>
                  </a:lnTo>
                  <a:lnTo>
                    <a:pt x="227278" y="2078929"/>
                  </a:lnTo>
                  <a:lnTo>
                    <a:pt x="235617" y="2085392"/>
                  </a:lnTo>
                  <a:lnTo>
                    <a:pt x="241883" y="2082185"/>
                  </a:lnTo>
                  <a:lnTo>
                    <a:pt x="246028" y="2085392"/>
                  </a:lnTo>
                  <a:lnTo>
                    <a:pt x="252294" y="2085392"/>
                  </a:lnTo>
                  <a:lnTo>
                    <a:pt x="241883" y="2093484"/>
                  </a:lnTo>
                  <a:lnTo>
                    <a:pt x="254366" y="2106362"/>
                  </a:lnTo>
                  <a:lnTo>
                    <a:pt x="260633" y="2106362"/>
                  </a:lnTo>
                  <a:lnTo>
                    <a:pt x="262705" y="2111296"/>
                  </a:lnTo>
                  <a:lnTo>
                    <a:pt x="285599" y="2122595"/>
                  </a:lnTo>
                  <a:lnTo>
                    <a:pt x="287671" y="2119339"/>
                  </a:lnTo>
                  <a:lnTo>
                    <a:pt x="293937" y="2120967"/>
                  </a:lnTo>
                  <a:lnTo>
                    <a:pt x="289793" y="2104832"/>
                  </a:lnTo>
                  <a:lnTo>
                    <a:pt x="291865" y="2096740"/>
                  </a:lnTo>
                  <a:lnTo>
                    <a:pt x="287671" y="2091806"/>
                  </a:lnTo>
                  <a:lnTo>
                    <a:pt x="289793" y="2078879"/>
                  </a:lnTo>
                  <a:lnTo>
                    <a:pt x="283526" y="2072465"/>
                  </a:lnTo>
                  <a:lnTo>
                    <a:pt x="266849" y="2062597"/>
                  </a:lnTo>
                  <a:lnTo>
                    <a:pt x="266849" y="2044835"/>
                  </a:lnTo>
                  <a:lnTo>
                    <a:pt x="258511" y="2033536"/>
                  </a:lnTo>
                  <a:lnTo>
                    <a:pt x="256439" y="2023667"/>
                  </a:lnTo>
                  <a:lnTo>
                    <a:pt x="254366" y="2018733"/>
                  </a:lnTo>
                  <a:lnTo>
                    <a:pt x="246028" y="2018733"/>
                  </a:lnTo>
                  <a:lnTo>
                    <a:pt x="233545" y="2012270"/>
                  </a:lnTo>
                  <a:lnTo>
                    <a:pt x="225206" y="2012270"/>
                  </a:lnTo>
                  <a:lnTo>
                    <a:pt x="216868" y="2010642"/>
                  </a:lnTo>
                  <a:lnTo>
                    <a:pt x="214795" y="2004178"/>
                  </a:lnTo>
                  <a:lnTo>
                    <a:pt x="202312" y="1999244"/>
                  </a:lnTo>
                  <a:lnTo>
                    <a:pt x="198118" y="1994310"/>
                  </a:lnTo>
                  <a:lnTo>
                    <a:pt x="196046" y="1987846"/>
                  </a:lnTo>
                  <a:lnTo>
                    <a:pt x="187708" y="1987846"/>
                  </a:lnTo>
                  <a:lnTo>
                    <a:pt x="183563" y="1981383"/>
                  </a:lnTo>
                  <a:lnTo>
                    <a:pt x="177297" y="1979804"/>
                  </a:lnTo>
                  <a:lnTo>
                    <a:pt x="175224" y="1983011"/>
                  </a:lnTo>
                  <a:close/>
                  <a:moveTo>
                    <a:pt x="229351" y="1996086"/>
                  </a:moveTo>
                  <a:lnTo>
                    <a:pt x="233545" y="1996086"/>
                  </a:lnTo>
                  <a:lnTo>
                    <a:pt x="235617" y="1992879"/>
                  </a:lnTo>
                  <a:lnTo>
                    <a:pt x="239762" y="1996086"/>
                  </a:lnTo>
                  <a:lnTo>
                    <a:pt x="233545" y="1999293"/>
                  </a:lnTo>
                  <a:lnTo>
                    <a:pt x="227278" y="2000922"/>
                  </a:lnTo>
                  <a:close/>
                  <a:moveTo>
                    <a:pt x="221012" y="1991152"/>
                  </a:moveTo>
                  <a:lnTo>
                    <a:pt x="227278" y="1986218"/>
                  </a:lnTo>
                  <a:lnTo>
                    <a:pt x="229351" y="1991152"/>
                  </a:lnTo>
                  <a:close/>
                  <a:moveTo>
                    <a:pt x="181540" y="1853986"/>
                  </a:moveTo>
                  <a:lnTo>
                    <a:pt x="181540" y="1862078"/>
                  </a:lnTo>
                  <a:lnTo>
                    <a:pt x="185734" y="1858821"/>
                  </a:lnTo>
                  <a:close/>
                  <a:moveTo>
                    <a:pt x="200289" y="1918523"/>
                  </a:moveTo>
                  <a:lnTo>
                    <a:pt x="200289" y="1913589"/>
                  </a:lnTo>
                  <a:lnTo>
                    <a:pt x="202411" y="1910382"/>
                  </a:lnTo>
                  <a:lnTo>
                    <a:pt x="204483" y="1913589"/>
                  </a:lnTo>
                  <a:lnTo>
                    <a:pt x="202411" y="1918523"/>
                  </a:lnTo>
                  <a:close/>
                  <a:moveTo>
                    <a:pt x="198217" y="1937914"/>
                  </a:moveTo>
                  <a:lnTo>
                    <a:pt x="194072" y="1941121"/>
                  </a:lnTo>
                  <a:lnTo>
                    <a:pt x="194072" y="1947585"/>
                  </a:lnTo>
                  <a:lnTo>
                    <a:pt x="198217" y="1950792"/>
                  </a:lnTo>
                  <a:lnTo>
                    <a:pt x="200289" y="1942700"/>
                  </a:lnTo>
                  <a:close/>
                  <a:moveTo>
                    <a:pt x="204483" y="1929822"/>
                  </a:moveTo>
                  <a:lnTo>
                    <a:pt x="208628" y="1923359"/>
                  </a:lnTo>
                  <a:lnTo>
                    <a:pt x="206556" y="1920152"/>
                  </a:lnTo>
                  <a:lnTo>
                    <a:pt x="198217" y="1923359"/>
                  </a:lnTo>
                  <a:lnTo>
                    <a:pt x="196145" y="1929822"/>
                  </a:lnTo>
                  <a:lnTo>
                    <a:pt x="204483" y="1929822"/>
                  </a:lnTo>
                  <a:close/>
                  <a:moveTo>
                    <a:pt x="210700" y="1923359"/>
                  </a:moveTo>
                  <a:lnTo>
                    <a:pt x="219039" y="1913491"/>
                  </a:lnTo>
                  <a:lnTo>
                    <a:pt x="225305" y="1913491"/>
                  </a:lnTo>
                  <a:lnTo>
                    <a:pt x="229449" y="1907027"/>
                  </a:lnTo>
                  <a:lnTo>
                    <a:pt x="239860" y="1905399"/>
                  </a:lnTo>
                  <a:lnTo>
                    <a:pt x="239860" y="1908606"/>
                  </a:lnTo>
                  <a:lnTo>
                    <a:pt x="227377" y="1916747"/>
                  </a:lnTo>
                  <a:lnTo>
                    <a:pt x="223134" y="1916747"/>
                  </a:lnTo>
                  <a:lnTo>
                    <a:pt x="214795" y="1923161"/>
                  </a:lnTo>
                  <a:close/>
                  <a:moveTo>
                    <a:pt x="206556" y="1891090"/>
                  </a:moveTo>
                  <a:lnTo>
                    <a:pt x="206556" y="1883047"/>
                  </a:lnTo>
                  <a:lnTo>
                    <a:pt x="210700" y="1878113"/>
                  </a:lnTo>
                  <a:lnTo>
                    <a:pt x="212822" y="1884577"/>
                  </a:lnTo>
                  <a:lnTo>
                    <a:pt x="208628" y="1886205"/>
                  </a:lnTo>
                  <a:lnTo>
                    <a:pt x="208628" y="1889708"/>
                  </a:lnTo>
                  <a:close/>
                  <a:moveTo>
                    <a:pt x="189878" y="1889511"/>
                  </a:moveTo>
                  <a:lnTo>
                    <a:pt x="198217" y="1892718"/>
                  </a:lnTo>
                  <a:lnTo>
                    <a:pt x="202411" y="1889511"/>
                  </a:lnTo>
                  <a:lnTo>
                    <a:pt x="200289" y="1884577"/>
                  </a:lnTo>
                  <a:close/>
                  <a:moveTo>
                    <a:pt x="179468" y="1870120"/>
                  </a:moveTo>
                  <a:lnTo>
                    <a:pt x="179468" y="1881419"/>
                  </a:lnTo>
                  <a:lnTo>
                    <a:pt x="183662" y="1884626"/>
                  </a:lnTo>
                  <a:lnTo>
                    <a:pt x="183662" y="1889560"/>
                  </a:lnTo>
                  <a:lnTo>
                    <a:pt x="187806" y="1883097"/>
                  </a:lnTo>
                  <a:lnTo>
                    <a:pt x="185734" y="1876633"/>
                  </a:lnTo>
                  <a:close/>
                  <a:moveTo>
                    <a:pt x="185734" y="1865186"/>
                  </a:moveTo>
                  <a:lnTo>
                    <a:pt x="191951" y="1865186"/>
                  </a:lnTo>
                  <a:lnTo>
                    <a:pt x="189878" y="1870120"/>
                  </a:lnTo>
                  <a:lnTo>
                    <a:pt x="189878" y="1875054"/>
                  </a:lnTo>
                  <a:lnTo>
                    <a:pt x="196145" y="1875054"/>
                  </a:lnTo>
                  <a:lnTo>
                    <a:pt x="202411" y="1870120"/>
                  </a:lnTo>
                  <a:lnTo>
                    <a:pt x="198217" y="1876584"/>
                  </a:lnTo>
                  <a:lnTo>
                    <a:pt x="200289" y="1883047"/>
                  </a:lnTo>
                  <a:lnTo>
                    <a:pt x="206556" y="1876584"/>
                  </a:lnTo>
                  <a:lnTo>
                    <a:pt x="208628" y="1862078"/>
                  </a:lnTo>
                  <a:lnTo>
                    <a:pt x="200289" y="1857144"/>
                  </a:lnTo>
                  <a:lnTo>
                    <a:pt x="194072" y="1858772"/>
                  </a:lnTo>
                  <a:close/>
                  <a:moveTo>
                    <a:pt x="185734" y="1850680"/>
                  </a:moveTo>
                  <a:lnTo>
                    <a:pt x="189878" y="1855614"/>
                  </a:lnTo>
                  <a:lnTo>
                    <a:pt x="191951" y="1852358"/>
                  </a:lnTo>
                  <a:lnTo>
                    <a:pt x="189878" y="1849151"/>
                  </a:lnTo>
                  <a:close/>
                  <a:moveTo>
                    <a:pt x="198217" y="1840812"/>
                  </a:moveTo>
                  <a:lnTo>
                    <a:pt x="202411" y="1834349"/>
                  </a:lnTo>
                  <a:lnTo>
                    <a:pt x="208628" y="1831092"/>
                  </a:lnTo>
                  <a:lnTo>
                    <a:pt x="212822" y="1831092"/>
                  </a:lnTo>
                  <a:lnTo>
                    <a:pt x="210700" y="1836026"/>
                  </a:lnTo>
                  <a:lnTo>
                    <a:pt x="204483" y="1837654"/>
                  </a:lnTo>
                  <a:close/>
                  <a:moveTo>
                    <a:pt x="154452" y="1823050"/>
                  </a:moveTo>
                  <a:lnTo>
                    <a:pt x="171129" y="1837556"/>
                  </a:lnTo>
                  <a:lnTo>
                    <a:pt x="175323" y="1847424"/>
                  </a:lnTo>
                  <a:lnTo>
                    <a:pt x="173201" y="1852358"/>
                  </a:lnTo>
                  <a:lnTo>
                    <a:pt x="166985" y="1850779"/>
                  </a:lnTo>
                  <a:lnTo>
                    <a:pt x="166985" y="1842687"/>
                  </a:lnTo>
                  <a:lnTo>
                    <a:pt x="156574" y="1832819"/>
                  </a:lnTo>
                  <a:lnTo>
                    <a:pt x="152380" y="1827885"/>
                  </a:lnTo>
                  <a:close/>
                  <a:moveTo>
                    <a:pt x="169254" y="1816586"/>
                  </a:moveTo>
                  <a:lnTo>
                    <a:pt x="171326" y="1824629"/>
                  </a:lnTo>
                  <a:lnTo>
                    <a:pt x="175520" y="1832720"/>
                  </a:lnTo>
                  <a:lnTo>
                    <a:pt x="177593" y="1840812"/>
                  </a:lnTo>
                  <a:lnTo>
                    <a:pt x="183859" y="1845746"/>
                  </a:lnTo>
                  <a:lnTo>
                    <a:pt x="185931" y="1835878"/>
                  </a:lnTo>
                  <a:lnTo>
                    <a:pt x="177593" y="1824579"/>
                  </a:lnTo>
                  <a:lnTo>
                    <a:pt x="175520" y="1816537"/>
                  </a:lnTo>
                  <a:lnTo>
                    <a:pt x="171326" y="1814908"/>
                  </a:lnTo>
                  <a:close/>
                  <a:moveTo>
                    <a:pt x="156771" y="1808494"/>
                  </a:moveTo>
                  <a:lnTo>
                    <a:pt x="167182" y="1808494"/>
                  </a:lnTo>
                  <a:lnTo>
                    <a:pt x="167182" y="1811701"/>
                  </a:lnTo>
                  <a:lnTo>
                    <a:pt x="173399" y="1811701"/>
                  </a:lnTo>
                  <a:lnTo>
                    <a:pt x="175520" y="1805287"/>
                  </a:lnTo>
                  <a:lnTo>
                    <a:pt x="168859" y="1800896"/>
                  </a:lnTo>
                  <a:lnTo>
                    <a:pt x="160521" y="1804103"/>
                  </a:lnTo>
                  <a:close/>
                  <a:moveTo>
                    <a:pt x="81774" y="1811701"/>
                  </a:moveTo>
                  <a:lnTo>
                    <a:pt x="79701" y="1802080"/>
                  </a:lnTo>
                  <a:lnTo>
                    <a:pt x="90112" y="1785946"/>
                  </a:lnTo>
                  <a:lnTo>
                    <a:pt x="102595" y="1787525"/>
                  </a:lnTo>
                  <a:lnTo>
                    <a:pt x="100523" y="1795616"/>
                  </a:lnTo>
                  <a:lnTo>
                    <a:pt x="104668" y="1793988"/>
                  </a:lnTo>
                  <a:lnTo>
                    <a:pt x="108862" y="1790732"/>
                  </a:lnTo>
                  <a:lnTo>
                    <a:pt x="113006" y="1792360"/>
                  </a:lnTo>
                  <a:lnTo>
                    <a:pt x="113006" y="1803659"/>
                  </a:lnTo>
                  <a:lnTo>
                    <a:pt x="106789" y="1808593"/>
                  </a:lnTo>
                  <a:lnTo>
                    <a:pt x="94257" y="1813527"/>
                  </a:lnTo>
                  <a:lnTo>
                    <a:pt x="98451" y="1816734"/>
                  </a:lnTo>
                  <a:lnTo>
                    <a:pt x="98451" y="1819941"/>
                  </a:lnTo>
                  <a:lnTo>
                    <a:pt x="106789" y="1818313"/>
                  </a:lnTo>
                  <a:lnTo>
                    <a:pt x="110934" y="1808445"/>
                  </a:lnTo>
                  <a:lnTo>
                    <a:pt x="119272" y="1798577"/>
                  </a:lnTo>
                  <a:lnTo>
                    <a:pt x="131756" y="1793643"/>
                  </a:lnTo>
                  <a:lnTo>
                    <a:pt x="133828" y="1795271"/>
                  </a:lnTo>
                  <a:lnTo>
                    <a:pt x="121345" y="1808149"/>
                  </a:lnTo>
                  <a:lnTo>
                    <a:pt x="119272" y="1816241"/>
                  </a:lnTo>
                  <a:lnTo>
                    <a:pt x="113006" y="1824283"/>
                  </a:lnTo>
                  <a:lnTo>
                    <a:pt x="110934" y="1834151"/>
                  </a:lnTo>
                  <a:lnTo>
                    <a:pt x="102595" y="1839085"/>
                  </a:lnTo>
                  <a:lnTo>
                    <a:pt x="96329" y="1839085"/>
                  </a:lnTo>
                  <a:lnTo>
                    <a:pt x="92185" y="1845549"/>
                  </a:lnTo>
                  <a:lnTo>
                    <a:pt x="98451" y="1845549"/>
                  </a:lnTo>
                  <a:lnTo>
                    <a:pt x="102595" y="1842342"/>
                  </a:lnTo>
                  <a:lnTo>
                    <a:pt x="110934" y="1843970"/>
                  </a:lnTo>
                  <a:lnTo>
                    <a:pt x="110934" y="1850434"/>
                  </a:lnTo>
                  <a:lnTo>
                    <a:pt x="100523" y="1850434"/>
                  </a:lnTo>
                  <a:lnTo>
                    <a:pt x="96329" y="1858476"/>
                  </a:lnTo>
                  <a:lnTo>
                    <a:pt x="98451" y="1864940"/>
                  </a:lnTo>
                  <a:lnTo>
                    <a:pt x="98451" y="1872982"/>
                  </a:lnTo>
                  <a:lnTo>
                    <a:pt x="102595" y="1884281"/>
                  </a:lnTo>
                  <a:lnTo>
                    <a:pt x="104668" y="1892373"/>
                  </a:lnTo>
                  <a:lnTo>
                    <a:pt x="108862" y="1892373"/>
                  </a:lnTo>
                  <a:lnTo>
                    <a:pt x="113006" y="1895629"/>
                  </a:lnTo>
                  <a:lnTo>
                    <a:pt x="108862" y="1900563"/>
                  </a:lnTo>
                  <a:lnTo>
                    <a:pt x="98451" y="1898984"/>
                  </a:lnTo>
                  <a:lnTo>
                    <a:pt x="87695" y="1879840"/>
                  </a:lnTo>
                  <a:lnTo>
                    <a:pt x="87695" y="1869972"/>
                  </a:lnTo>
                  <a:lnTo>
                    <a:pt x="89767" y="1866716"/>
                  </a:lnTo>
                  <a:lnTo>
                    <a:pt x="81428" y="1865137"/>
                  </a:lnTo>
                  <a:lnTo>
                    <a:pt x="79356" y="1858673"/>
                  </a:lnTo>
                  <a:lnTo>
                    <a:pt x="81428" y="1855466"/>
                  </a:lnTo>
                  <a:lnTo>
                    <a:pt x="89915" y="1855466"/>
                  </a:lnTo>
                  <a:lnTo>
                    <a:pt x="83649" y="1849003"/>
                  </a:lnTo>
                  <a:lnTo>
                    <a:pt x="79504" y="1847424"/>
                  </a:lnTo>
                  <a:lnTo>
                    <a:pt x="83649" y="1840960"/>
                  </a:lnTo>
                  <a:lnTo>
                    <a:pt x="77432" y="1836026"/>
                  </a:lnTo>
                  <a:lnTo>
                    <a:pt x="79504" y="1832819"/>
                  </a:lnTo>
                  <a:lnTo>
                    <a:pt x="83649" y="1832819"/>
                  </a:lnTo>
                  <a:lnTo>
                    <a:pt x="87843" y="1836026"/>
                  </a:lnTo>
                  <a:lnTo>
                    <a:pt x="87843" y="1829563"/>
                  </a:lnTo>
                  <a:lnTo>
                    <a:pt x="83649" y="1824629"/>
                  </a:lnTo>
                  <a:lnTo>
                    <a:pt x="77432" y="1823050"/>
                  </a:lnTo>
                  <a:lnTo>
                    <a:pt x="77432" y="1818116"/>
                  </a:lnTo>
                  <a:close/>
                  <a:moveTo>
                    <a:pt x="167182" y="1779482"/>
                  </a:moveTo>
                  <a:lnTo>
                    <a:pt x="167182" y="1774548"/>
                  </a:lnTo>
                  <a:lnTo>
                    <a:pt x="171326" y="1771292"/>
                  </a:lnTo>
                  <a:lnTo>
                    <a:pt x="171326" y="1776226"/>
                  </a:lnTo>
                  <a:close/>
                  <a:moveTo>
                    <a:pt x="902353" y="837081"/>
                  </a:moveTo>
                  <a:lnTo>
                    <a:pt x="906498" y="840338"/>
                  </a:lnTo>
                  <a:lnTo>
                    <a:pt x="910691" y="838710"/>
                  </a:lnTo>
                  <a:lnTo>
                    <a:pt x="910691" y="835503"/>
                  </a:lnTo>
                  <a:lnTo>
                    <a:pt x="912764" y="833874"/>
                  </a:lnTo>
                  <a:lnTo>
                    <a:pt x="906498" y="833874"/>
                  </a:lnTo>
                  <a:close/>
                  <a:moveTo>
                    <a:pt x="833622" y="777380"/>
                  </a:moveTo>
                  <a:lnTo>
                    <a:pt x="837767" y="779008"/>
                  </a:lnTo>
                  <a:lnTo>
                    <a:pt x="844033" y="775801"/>
                  </a:lnTo>
                  <a:lnTo>
                    <a:pt x="844033" y="769683"/>
                  </a:lnTo>
                  <a:lnTo>
                    <a:pt x="837767" y="772890"/>
                  </a:lnTo>
                  <a:close/>
                  <a:moveTo>
                    <a:pt x="579519" y="796770"/>
                  </a:moveTo>
                  <a:lnTo>
                    <a:pt x="583664" y="798399"/>
                  </a:lnTo>
                  <a:lnTo>
                    <a:pt x="587808" y="793465"/>
                  </a:lnTo>
                  <a:lnTo>
                    <a:pt x="583664" y="791886"/>
                  </a:lnTo>
                  <a:close/>
                  <a:moveTo>
                    <a:pt x="577398" y="806638"/>
                  </a:moveTo>
                  <a:lnTo>
                    <a:pt x="577398" y="803431"/>
                  </a:lnTo>
                  <a:lnTo>
                    <a:pt x="579519" y="801803"/>
                  </a:lnTo>
                  <a:lnTo>
                    <a:pt x="581591" y="805010"/>
                  </a:lnTo>
                  <a:close/>
                  <a:moveTo>
                    <a:pt x="564914" y="825980"/>
                  </a:moveTo>
                  <a:lnTo>
                    <a:pt x="564914" y="835848"/>
                  </a:lnTo>
                  <a:lnTo>
                    <a:pt x="560770" y="840782"/>
                  </a:lnTo>
                  <a:lnTo>
                    <a:pt x="562842" y="845716"/>
                  </a:lnTo>
                  <a:lnTo>
                    <a:pt x="569059" y="847344"/>
                  </a:lnTo>
                  <a:lnTo>
                    <a:pt x="575325" y="842410"/>
                  </a:lnTo>
                  <a:lnTo>
                    <a:pt x="581591" y="842410"/>
                  </a:lnTo>
                  <a:lnTo>
                    <a:pt x="604485" y="824697"/>
                  </a:lnTo>
                  <a:lnTo>
                    <a:pt x="616969" y="819763"/>
                  </a:lnTo>
                  <a:lnTo>
                    <a:pt x="621162" y="813299"/>
                  </a:lnTo>
                  <a:lnTo>
                    <a:pt x="616969" y="814928"/>
                  </a:lnTo>
                  <a:lnTo>
                    <a:pt x="612824" y="811671"/>
                  </a:lnTo>
                  <a:lnTo>
                    <a:pt x="610752" y="801803"/>
                  </a:lnTo>
                  <a:lnTo>
                    <a:pt x="606558" y="801803"/>
                  </a:lnTo>
                  <a:lnTo>
                    <a:pt x="600341" y="809846"/>
                  </a:lnTo>
                  <a:lnTo>
                    <a:pt x="594075" y="811474"/>
                  </a:lnTo>
                  <a:lnTo>
                    <a:pt x="596147" y="816408"/>
                  </a:lnTo>
                  <a:lnTo>
                    <a:pt x="589930" y="816408"/>
                  </a:lnTo>
                  <a:lnTo>
                    <a:pt x="587808" y="818036"/>
                  </a:lnTo>
                  <a:lnTo>
                    <a:pt x="583664" y="824500"/>
                  </a:lnTo>
                  <a:lnTo>
                    <a:pt x="581591" y="818036"/>
                  </a:lnTo>
                  <a:lnTo>
                    <a:pt x="583664" y="814829"/>
                  </a:lnTo>
                  <a:lnTo>
                    <a:pt x="579519" y="811573"/>
                  </a:lnTo>
                  <a:lnTo>
                    <a:pt x="575325" y="816507"/>
                  </a:lnTo>
                  <a:lnTo>
                    <a:pt x="573253" y="814928"/>
                  </a:lnTo>
                  <a:lnTo>
                    <a:pt x="569059" y="821342"/>
                  </a:lnTo>
                  <a:close/>
                  <a:moveTo>
                    <a:pt x="539899" y="845371"/>
                  </a:moveTo>
                  <a:lnTo>
                    <a:pt x="542021" y="838907"/>
                  </a:lnTo>
                  <a:lnTo>
                    <a:pt x="542021" y="825980"/>
                  </a:lnTo>
                  <a:lnTo>
                    <a:pt x="533682" y="832443"/>
                  </a:lnTo>
                  <a:lnTo>
                    <a:pt x="533682" y="837378"/>
                  </a:lnTo>
                  <a:lnTo>
                    <a:pt x="529488" y="840634"/>
                  </a:lnTo>
                  <a:lnTo>
                    <a:pt x="533682" y="842213"/>
                  </a:lnTo>
                  <a:cubicBezTo>
                    <a:pt x="535789" y="843126"/>
                    <a:pt x="537792" y="844270"/>
                    <a:pt x="539652" y="845617"/>
                  </a:cubicBezTo>
                  <a:close/>
                  <a:moveTo>
                    <a:pt x="539899" y="848578"/>
                  </a:moveTo>
                  <a:lnTo>
                    <a:pt x="546165" y="846999"/>
                  </a:lnTo>
                  <a:lnTo>
                    <a:pt x="548237" y="842065"/>
                  </a:lnTo>
                  <a:lnTo>
                    <a:pt x="544093" y="835651"/>
                  </a:lnTo>
                  <a:lnTo>
                    <a:pt x="544093" y="824352"/>
                  </a:lnTo>
                  <a:lnTo>
                    <a:pt x="548237" y="821095"/>
                  </a:lnTo>
                  <a:lnTo>
                    <a:pt x="552431" y="822723"/>
                  </a:lnTo>
                  <a:lnTo>
                    <a:pt x="554504" y="819516"/>
                  </a:lnTo>
                  <a:lnTo>
                    <a:pt x="558648" y="817888"/>
                  </a:lnTo>
                  <a:lnTo>
                    <a:pt x="560770" y="824352"/>
                  </a:lnTo>
                  <a:lnTo>
                    <a:pt x="560770" y="838858"/>
                  </a:lnTo>
                  <a:lnTo>
                    <a:pt x="556576" y="843792"/>
                  </a:lnTo>
                  <a:lnTo>
                    <a:pt x="558648" y="848726"/>
                  </a:lnTo>
                  <a:lnTo>
                    <a:pt x="550359" y="853660"/>
                  </a:lnTo>
                  <a:close/>
                  <a:moveTo>
                    <a:pt x="552431" y="880846"/>
                  </a:moveTo>
                  <a:lnTo>
                    <a:pt x="556576" y="874432"/>
                  </a:lnTo>
                  <a:lnTo>
                    <a:pt x="552431" y="864564"/>
                  </a:lnTo>
                  <a:lnTo>
                    <a:pt x="552431" y="854696"/>
                  </a:lnTo>
                  <a:lnTo>
                    <a:pt x="543846" y="854696"/>
                  </a:lnTo>
                  <a:lnTo>
                    <a:pt x="533435" y="846654"/>
                  </a:lnTo>
                  <a:lnTo>
                    <a:pt x="529044" y="848627"/>
                  </a:lnTo>
                  <a:lnTo>
                    <a:pt x="529044" y="851884"/>
                  </a:lnTo>
                  <a:lnTo>
                    <a:pt x="543846" y="861752"/>
                  </a:lnTo>
                  <a:lnTo>
                    <a:pt x="533435" y="861752"/>
                  </a:lnTo>
                  <a:lnTo>
                    <a:pt x="533435" y="864959"/>
                  </a:lnTo>
                  <a:lnTo>
                    <a:pt x="541774" y="869893"/>
                  </a:lnTo>
                  <a:close/>
                  <a:moveTo>
                    <a:pt x="471168" y="767906"/>
                  </a:moveTo>
                  <a:lnTo>
                    <a:pt x="477434" y="775998"/>
                  </a:lnTo>
                  <a:lnTo>
                    <a:pt x="481579" y="774370"/>
                  </a:lnTo>
                  <a:lnTo>
                    <a:pt x="487845" y="777577"/>
                  </a:lnTo>
                  <a:lnTo>
                    <a:pt x="489917" y="775998"/>
                  </a:lnTo>
                  <a:lnTo>
                    <a:pt x="483700" y="767906"/>
                  </a:lnTo>
                  <a:lnTo>
                    <a:pt x="475362" y="764699"/>
                  </a:lnTo>
                  <a:close/>
                  <a:moveTo>
                    <a:pt x="320976" y="2089685"/>
                  </a:moveTo>
                  <a:lnTo>
                    <a:pt x="320976" y="2089685"/>
                  </a:lnTo>
                  <a:lnTo>
                    <a:pt x="314710" y="2088057"/>
                  </a:lnTo>
                  <a:lnTo>
                    <a:pt x="312637" y="2078189"/>
                  </a:lnTo>
                  <a:lnTo>
                    <a:pt x="318903" y="2065311"/>
                  </a:lnTo>
                  <a:lnTo>
                    <a:pt x="320976" y="2057219"/>
                  </a:lnTo>
                  <a:lnTo>
                    <a:pt x="316782" y="2062153"/>
                  </a:lnTo>
                  <a:lnTo>
                    <a:pt x="308493" y="2063732"/>
                  </a:lnTo>
                  <a:lnTo>
                    <a:pt x="300154" y="2068666"/>
                  </a:lnTo>
                  <a:lnTo>
                    <a:pt x="293888" y="2060623"/>
                  </a:lnTo>
                  <a:lnTo>
                    <a:pt x="293888" y="2054160"/>
                  </a:lnTo>
                  <a:lnTo>
                    <a:pt x="298032" y="2054160"/>
                  </a:lnTo>
                  <a:lnTo>
                    <a:pt x="300154" y="2059094"/>
                  </a:lnTo>
                  <a:lnTo>
                    <a:pt x="304299" y="2060722"/>
                  </a:lnTo>
                  <a:lnTo>
                    <a:pt x="304299" y="2057466"/>
                  </a:lnTo>
                  <a:lnTo>
                    <a:pt x="300154" y="2051002"/>
                  </a:lnTo>
                  <a:lnTo>
                    <a:pt x="298032" y="2046068"/>
                  </a:lnTo>
                  <a:lnTo>
                    <a:pt x="293888" y="2046068"/>
                  </a:lnTo>
                  <a:lnTo>
                    <a:pt x="289743" y="2049275"/>
                  </a:lnTo>
                  <a:lnTo>
                    <a:pt x="281405" y="2046068"/>
                  </a:lnTo>
                  <a:lnTo>
                    <a:pt x="277211" y="2037976"/>
                  </a:lnTo>
                  <a:lnTo>
                    <a:pt x="277211" y="2034769"/>
                  </a:lnTo>
                  <a:lnTo>
                    <a:pt x="285549" y="2029835"/>
                  </a:lnTo>
                  <a:lnTo>
                    <a:pt x="289743" y="2021792"/>
                  </a:lnTo>
                  <a:lnTo>
                    <a:pt x="293888" y="2018585"/>
                  </a:lnTo>
                  <a:lnTo>
                    <a:pt x="291816" y="2016957"/>
                  </a:lnTo>
                  <a:lnTo>
                    <a:pt x="285549" y="2018585"/>
                  </a:lnTo>
                  <a:lnTo>
                    <a:pt x="277408" y="2018585"/>
                  </a:lnTo>
                  <a:lnTo>
                    <a:pt x="275336" y="2015329"/>
                  </a:lnTo>
                  <a:lnTo>
                    <a:pt x="281602" y="2010395"/>
                  </a:lnTo>
                  <a:lnTo>
                    <a:pt x="287819" y="2002303"/>
                  </a:lnTo>
                  <a:lnTo>
                    <a:pt x="287819" y="1994261"/>
                  </a:lnTo>
                  <a:lnTo>
                    <a:pt x="289941" y="1991054"/>
                  </a:lnTo>
                  <a:lnTo>
                    <a:pt x="289941" y="1987797"/>
                  </a:lnTo>
                  <a:lnTo>
                    <a:pt x="285747" y="1987797"/>
                  </a:lnTo>
                  <a:lnTo>
                    <a:pt x="283674" y="1994261"/>
                  </a:lnTo>
                  <a:lnTo>
                    <a:pt x="281602" y="2004129"/>
                  </a:lnTo>
                  <a:lnTo>
                    <a:pt x="275336" y="2013997"/>
                  </a:lnTo>
                  <a:lnTo>
                    <a:pt x="269070" y="2013997"/>
                  </a:lnTo>
                  <a:lnTo>
                    <a:pt x="264925" y="2012368"/>
                  </a:lnTo>
                  <a:lnTo>
                    <a:pt x="262853" y="2010740"/>
                  </a:lnTo>
                  <a:lnTo>
                    <a:pt x="260781" y="2007533"/>
                  </a:lnTo>
                  <a:lnTo>
                    <a:pt x="264925" y="2005905"/>
                  </a:lnTo>
                  <a:lnTo>
                    <a:pt x="264925" y="2002649"/>
                  </a:lnTo>
                  <a:lnTo>
                    <a:pt x="258659" y="2005905"/>
                  </a:lnTo>
                  <a:lnTo>
                    <a:pt x="254514" y="2009112"/>
                  </a:lnTo>
                  <a:lnTo>
                    <a:pt x="252442" y="2009112"/>
                  </a:lnTo>
                  <a:lnTo>
                    <a:pt x="250320" y="2005905"/>
                  </a:lnTo>
                  <a:lnTo>
                    <a:pt x="246176" y="2007533"/>
                  </a:lnTo>
                  <a:lnTo>
                    <a:pt x="244103" y="2009112"/>
                  </a:lnTo>
                  <a:lnTo>
                    <a:pt x="237837" y="2007533"/>
                  </a:lnTo>
                  <a:lnTo>
                    <a:pt x="237837" y="2004277"/>
                  </a:lnTo>
                  <a:lnTo>
                    <a:pt x="244103" y="1999343"/>
                  </a:lnTo>
                  <a:lnTo>
                    <a:pt x="248248" y="1999343"/>
                  </a:lnTo>
                  <a:lnTo>
                    <a:pt x="258659" y="1997715"/>
                  </a:lnTo>
                  <a:lnTo>
                    <a:pt x="266997" y="1991300"/>
                  </a:lnTo>
                  <a:lnTo>
                    <a:pt x="271191" y="1986366"/>
                  </a:lnTo>
                  <a:lnTo>
                    <a:pt x="271191" y="1979903"/>
                  </a:lnTo>
                  <a:lnTo>
                    <a:pt x="269070" y="1984837"/>
                  </a:lnTo>
                  <a:lnTo>
                    <a:pt x="262853" y="1989771"/>
                  </a:lnTo>
                  <a:lnTo>
                    <a:pt x="258659" y="1996234"/>
                  </a:lnTo>
                  <a:lnTo>
                    <a:pt x="254514" y="1997813"/>
                  </a:lnTo>
                  <a:lnTo>
                    <a:pt x="244103" y="1994606"/>
                  </a:lnTo>
                  <a:lnTo>
                    <a:pt x="242031" y="1989672"/>
                  </a:lnTo>
                  <a:lnTo>
                    <a:pt x="235765" y="1989672"/>
                  </a:lnTo>
                  <a:lnTo>
                    <a:pt x="235765" y="1988044"/>
                  </a:lnTo>
                  <a:lnTo>
                    <a:pt x="242031" y="1986465"/>
                  </a:lnTo>
                  <a:lnTo>
                    <a:pt x="237837" y="1983208"/>
                  </a:lnTo>
                  <a:lnTo>
                    <a:pt x="229499" y="1984837"/>
                  </a:lnTo>
                  <a:lnTo>
                    <a:pt x="223282" y="1983208"/>
                  </a:lnTo>
                  <a:lnTo>
                    <a:pt x="219088" y="1983208"/>
                  </a:lnTo>
                  <a:lnTo>
                    <a:pt x="217016" y="1988142"/>
                  </a:lnTo>
                  <a:lnTo>
                    <a:pt x="208677" y="1983208"/>
                  </a:lnTo>
                  <a:lnTo>
                    <a:pt x="206605" y="1976745"/>
                  </a:lnTo>
                  <a:lnTo>
                    <a:pt x="208677" y="1975166"/>
                  </a:lnTo>
                  <a:lnTo>
                    <a:pt x="212871" y="1976745"/>
                  </a:lnTo>
                  <a:lnTo>
                    <a:pt x="221160" y="1978373"/>
                  </a:lnTo>
                  <a:lnTo>
                    <a:pt x="229499" y="1978373"/>
                  </a:lnTo>
                  <a:lnTo>
                    <a:pt x="229499" y="1975166"/>
                  </a:lnTo>
                  <a:lnTo>
                    <a:pt x="217016" y="1975166"/>
                  </a:lnTo>
                  <a:lnTo>
                    <a:pt x="214943" y="1973538"/>
                  </a:lnTo>
                  <a:lnTo>
                    <a:pt x="214943" y="1971909"/>
                  </a:lnTo>
                  <a:lnTo>
                    <a:pt x="221160" y="1973538"/>
                  </a:lnTo>
                  <a:lnTo>
                    <a:pt x="229499" y="1971909"/>
                  </a:lnTo>
                  <a:lnTo>
                    <a:pt x="229499" y="1968653"/>
                  </a:lnTo>
                  <a:lnTo>
                    <a:pt x="221160" y="1968653"/>
                  </a:lnTo>
                  <a:lnTo>
                    <a:pt x="217016" y="1967025"/>
                  </a:lnTo>
                  <a:lnTo>
                    <a:pt x="208332" y="1968653"/>
                  </a:lnTo>
                  <a:lnTo>
                    <a:pt x="202115" y="1968653"/>
                  </a:lnTo>
                  <a:lnTo>
                    <a:pt x="199993" y="1965446"/>
                  </a:lnTo>
                  <a:lnTo>
                    <a:pt x="202115" y="1960512"/>
                  </a:lnTo>
                  <a:lnTo>
                    <a:pt x="208332" y="1958785"/>
                  </a:lnTo>
                  <a:lnTo>
                    <a:pt x="212526" y="1961992"/>
                  </a:lnTo>
                  <a:lnTo>
                    <a:pt x="218742" y="1961992"/>
                  </a:lnTo>
                  <a:lnTo>
                    <a:pt x="223134" y="1958785"/>
                  </a:lnTo>
                  <a:lnTo>
                    <a:pt x="216868" y="1958785"/>
                  </a:lnTo>
                  <a:lnTo>
                    <a:pt x="210601" y="1957157"/>
                  </a:lnTo>
                  <a:lnTo>
                    <a:pt x="202312" y="1955528"/>
                  </a:lnTo>
                  <a:lnTo>
                    <a:pt x="204385" y="1953900"/>
                  </a:lnTo>
                  <a:lnTo>
                    <a:pt x="212723" y="1952321"/>
                  </a:lnTo>
                  <a:lnTo>
                    <a:pt x="216868" y="1953900"/>
                  </a:lnTo>
                  <a:lnTo>
                    <a:pt x="221012" y="1952321"/>
                  </a:lnTo>
                  <a:lnTo>
                    <a:pt x="221012" y="1945858"/>
                  </a:lnTo>
                  <a:lnTo>
                    <a:pt x="225206" y="1942601"/>
                  </a:lnTo>
                  <a:lnTo>
                    <a:pt x="233545" y="1942601"/>
                  </a:lnTo>
                  <a:lnTo>
                    <a:pt x="239762" y="1944279"/>
                  </a:lnTo>
                  <a:lnTo>
                    <a:pt x="241883" y="1942601"/>
                  </a:lnTo>
                  <a:lnTo>
                    <a:pt x="231472" y="1941022"/>
                  </a:lnTo>
                  <a:lnTo>
                    <a:pt x="227278" y="1937815"/>
                  </a:lnTo>
                  <a:lnTo>
                    <a:pt x="225206" y="1936138"/>
                  </a:lnTo>
                  <a:lnTo>
                    <a:pt x="221012" y="1941072"/>
                  </a:lnTo>
                  <a:lnTo>
                    <a:pt x="214795" y="1944328"/>
                  </a:lnTo>
                  <a:lnTo>
                    <a:pt x="208529" y="1947535"/>
                  </a:lnTo>
                  <a:lnTo>
                    <a:pt x="206457" y="1945907"/>
                  </a:lnTo>
                  <a:lnTo>
                    <a:pt x="208529" y="1940973"/>
                  </a:lnTo>
                  <a:lnTo>
                    <a:pt x="206457" y="1936039"/>
                  </a:lnTo>
                  <a:lnTo>
                    <a:pt x="208529" y="1931105"/>
                  </a:lnTo>
                  <a:lnTo>
                    <a:pt x="218940" y="1927849"/>
                  </a:lnTo>
                  <a:lnTo>
                    <a:pt x="223134" y="1922915"/>
                  </a:lnTo>
                  <a:lnTo>
                    <a:pt x="239762" y="1913046"/>
                  </a:lnTo>
                  <a:lnTo>
                    <a:pt x="243955" y="1909839"/>
                  </a:lnTo>
                  <a:lnTo>
                    <a:pt x="246028" y="1914773"/>
                  </a:lnTo>
                  <a:lnTo>
                    <a:pt x="248100" y="1922865"/>
                  </a:lnTo>
                  <a:lnTo>
                    <a:pt x="250172" y="1927799"/>
                  </a:lnTo>
                  <a:lnTo>
                    <a:pt x="254366" y="1926220"/>
                  </a:lnTo>
                  <a:lnTo>
                    <a:pt x="250172" y="1918129"/>
                  </a:lnTo>
                  <a:lnTo>
                    <a:pt x="250172" y="1910086"/>
                  </a:lnTo>
                  <a:lnTo>
                    <a:pt x="258511" y="1906830"/>
                  </a:lnTo>
                  <a:lnTo>
                    <a:pt x="266849" y="1906830"/>
                  </a:lnTo>
                  <a:lnTo>
                    <a:pt x="258511" y="1905201"/>
                  </a:lnTo>
                  <a:lnTo>
                    <a:pt x="250172" y="1905201"/>
                  </a:lnTo>
                  <a:lnTo>
                    <a:pt x="246028" y="1906830"/>
                  </a:lnTo>
                  <a:lnTo>
                    <a:pt x="241883" y="1903622"/>
                  </a:lnTo>
                  <a:lnTo>
                    <a:pt x="243955" y="1898688"/>
                  </a:lnTo>
                  <a:lnTo>
                    <a:pt x="252294" y="1897060"/>
                  </a:lnTo>
                  <a:lnTo>
                    <a:pt x="258511" y="1892126"/>
                  </a:lnTo>
                  <a:lnTo>
                    <a:pt x="264777" y="1884034"/>
                  </a:lnTo>
                  <a:lnTo>
                    <a:pt x="262705" y="1879100"/>
                  </a:lnTo>
                  <a:lnTo>
                    <a:pt x="260633" y="1880728"/>
                  </a:lnTo>
                  <a:lnTo>
                    <a:pt x="258511" y="1885663"/>
                  </a:lnTo>
                  <a:lnTo>
                    <a:pt x="252294" y="1890597"/>
                  </a:lnTo>
                  <a:lnTo>
                    <a:pt x="246028" y="1892225"/>
                  </a:lnTo>
                  <a:lnTo>
                    <a:pt x="237689" y="1898688"/>
                  </a:lnTo>
                  <a:lnTo>
                    <a:pt x="229351" y="1905103"/>
                  </a:lnTo>
                  <a:lnTo>
                    <a:pt x="218940" y="1908310"/>
                  </a:lnTo>
                  <a:lnTo>
                    <a:pt x="212723" y="1903376"/>
                  </a:lnTo>
                  <a:lnTo>
                    <a:pt x="214795" y="1900119"/>
                  </a:lnTo>
                  <a:lnTo>
                    <a:pt x="221012" y="1898540"/>
                  </a:lnTo>
                  <a:lnTo>
                    <a:pt x="214746" y="1898540"/>
                  </a:lnTo>
                  <a:lnTo>
                    <a:pt x="204335" y="1901748"/>
                  </a:lnTo>
                  <a:lnTo>
                    <a:pt x="202263" y="1898540"/>
                  </a:lnTo>
                  <a:lnTo>
                    <a:pt x="202263" y="1895333"/>
                  </a:lnTo>
                  <a:lnTo>
                    <a:pt x="212674" y="1890399"/>
                  </a:lnTo>
                  <a:lnTo>
                    <a:pt x="216818" y="1887143"/>
                  </a:lnTo>
                  <a:lnTo>
                    <a:pt x="223134" y="1889708"/>
                  </a:lnTo>
                  <a:lnTo>
                    <a:pt x="225206" y="1886452"/>
                  </a:lnTo>
                  <a:lnTo>
                    <a:pt x="227278" y="1884824"/>
                  </a:lnTo>
                  <a:lnTo>
                    <a:pt x="223134" y="1881617"/>
                  </a:lnTo>
                  <a:lnTo>
                    <a:pt x="223134" y="1878360"/>
                  </a:lnTo>
                  <a:lnTo>
                    <a:pt x="227278" y="1876781"/>
                  </a:lnTo>
                  <a:lnTo>
                    <a:pt x="223134" y="1873525"/>
                  </a:lnTo>
                  <a:lnTo>
                    <a:pt x="218940" y="1876781"/>
                  </a:lnTo>
                  <a:lnTo>
                    <a:pt x="214795" y="1876781"/>
                  </a:lnTo>
                  <a:lnTo>
                    <a:pt x="212723" y="1871847"/>
                  </a:lnTo>
                  <a:lnTo>
                    <a:pt x="210601" y="1858920"/>
                  </a:lnTo>
                  <a:lnTo>
                    <a:pt x="208529" y="1853986"/>
                  </a:lnTo>
                  <a:lnTo>
                    <a:pt x="208529" y="1849052"/>
                  </a:lnTo>
                  <a:lnTo>
                    <a:pt x="210601" y="1844118"/>
                  </a:lnTo>
                  <a:lnTo>
                    <a:pt x="218940" y="1845697"/>
                  </a:lnTo>
                  <a:lnTo>
                    <a:pt x="225206" y="1848953"/>
                  </a:lnTo>
                  <a:lnTo>
                    <a:pt x="235617" y="1847374"/>
                  </a:lnTo>
                  <a:lnTo>
                    <a:pt x="241883" y="1850582"/>
                  </a:lnTo>
                  <a:lnTo>
                    <a:pt x="239762" y="1847374"/>
                  </a:lnTo>
                  <a:lnTo>
                    <a:pt x="233545" y="1845697"/>
                  </a:lnTo>
                  <a:lnTo>
                    <a:pt x="227278" y="1845697"/>
                  </a:lnTo>
                  <a:lnTo>
                    <a:pt x="223134" y="1842490"/>
                  </a:lnTo>
                  <a:lnTo>
                    <a:pt x="216868" y="1837556"/>
                  </a:lnTo>
                  <a:lnTo>
                    <a:pt x="216868" y="1834349"/>
                  </a:lnTo>
                  <a:lnTo>
                    <a:pt x="221012" y="1827885"/>
                  </a:lnTo>
                  <a:lnTo>
                    <a:pt x="225206" y="1827885"/>
                  </a:lnTo>
                  <a:lnTo>
                    <a:pt x="227278" y="1821421"/>
                  </a:lnTo>
                  <a:lnTo>
                    <a:pt x="227278" y="1814958"/>
                  </a:lnTo>
                  <a:lnTo>
                    <a:pt x="225206" y="1816586"/>
                  </a:lnTo>
                  <a:lnTo>
                    <a:pt x="218940" y="1823050"/>
                  </a:lnTo>
                  <a:lnTo>
                    <a:pt x="212723" y="1826257"/>
                  </a:lnTo>
                  <a:lnTo>
                    <a:pt x="200191" y="1829464"/>
                  </a:lnTo>
                  <a:lnTo>
                    <a:pt x="196046" y="1834398"/>
                  </a:lnTo>
                  <a:lnTo>
                    <a:pt x="193974" y="1839332"/>
                  </a:lnTo>
                  <a:lnTo>
                    <a:pt x="189780" y="1837753"/>
                  </a:lnTo>
                  <a:lnTo>
                    <a:pt x="185635" y="1829661"/>
                  </a:lnTo>
                  <a:lnTo>
                    <a:pt x="181441" y="1819793"/>
                  </a:lnTo>
                  <a:lnTo>
                    <a:pt x="183563" y="1803659"/>
                  </a:lnTo>
                  <a:lnTo>
                    <a:pt x="185635" y="1793791"/>
                  </a:lnTo>
                  <a:lnTo>
                    <a:pt x="185635" y="1788857"/>
                  </a:lnTo>
                  <a:lnTo>
                    <a:pt x="179369" y="1788857"/>
                  </a:lnTo>
                  <a:lnTo>
                    <a:pt x="179369" y="1780765"/>
                  </a:lnTo>
                  <a:lnTo>
                    <a:pt x="183563" y="1777558"/>
                  </a:lnTo>
                  <a:lnTo>
                    <a:pt x="187708" y="1780765"/>
                  </a:lnTo>
                  <a:lnTo>
                    <a:pt x="191852" y="1780765"/>
                  </a:lnTo>
                  <a:lnTo>
                    <a:pt x="189780" y="1774351"/>
                  </a:lnTo>
                  <a:lnTo>
                    <a:pt x="196046" y="1769417"/>
                  </a:lnTo>
                  <a:lnTo>
                    <a:pt x="200191" y="1761374"/>
                  </a:lnTo>
                  <a:lnTo>
                    <a:pt x="212723" y="1761374"/>
                  </a:lnTo>
                  <a:lnTo>
                    <a:pt x="216868" y="1758167"/>
                  </a:lnTo>
                  <a:lnTo>
                    <a:pt x="212723" y="1758167"/>
                  </a:lnTo>
                  <a:lnTo>
                    <a:pt x="212723" y="1756539"/>
                  </a:lnTo>
                  <a:lnTo>
                    <a:pt x="221012" y="1746671"/>
                  </a:lnTo>
                  <a:lnTo>
                    <a:pt x="225206" y="1741737"/>
                  </a:lnTo>
                  <a:lnTo>
                    <a:pt x="235617" y="1736803"/>
                  </a:lnTo>
                  <a:lnTo>
                    <a:pt x="235617" y="1733596"/>
                  </a:lnTo>
                  <a:lnTo>
                    <a:pt x="231472" y="1731967"/>
                  </a:lnTo>
                  <a:lnTo>
                    <a:pt x="229351" y="1728760"/>
                  </a:lnTo>
                  <a:lnTo>
                    <a:pt x="221012" y="1735224"/>
                  </a:lnTo>
                  <a:lnTo>
                    <a:pt x="221012" y="1741638"/>
                  </a:lnTo>
                  <a:lnTo>
                    <a:pt x="208332" y="1755651"/>
                  </a:lnTo>
                  <a:lnTo>
                    <a:pt x="206259" y="1755651"/>
                  </a:lnTo>
                  <a:lnTo>
                    <a:pt x="206259" y="1750717"/>
                  </a:lnTo>
                  <a:lnTo>
                    <a:pt x="214598" y="1742625"/>
                  </a:lnTo>
                  <a:lnTo>
                    <a:pt x="214598" y="1731375"/>
                  </a:lnTo>
                  <a:lnTo>
                    <a:pt x="225009" y="1716820"/>
                  </a:lnTo>
                  <a:lnTo>
                    <a:pt x="227081" y="1710356"/>
                  </a:lnTo>
                  <a:lnTo>
                    <a:pt x="227081" y="1702215"/>
                  </a:lnTo>
                  <a:lnTo>
                    <a:pt x="229153" y="1700587"/>
                  </a:lnTo>
                  <a:lnTo>
                    <a:pt x="229153" y="1699008"/>
                  </a:lnTo>
                  <a:lnTo>
                    <a:pt x="231275" y="1695752"/>
                  </a:lnTo>
                  <a:lnTo>
                    <a:pt x="229153" y="1692544"/>
                  </a:lnTo>
                  <a:lnTo>
                    <a:pt x="225009" y="1690916"/>
                  </a:lnTo>
                  <a:lnTo>
                    <a:pt x="225009" y="1684453"/>
                  </a:lnTo>
                  <a:lnTo>
                    <a:pt x="220815" y="1679519"/>
                  </a:lnTo>
                  <a:lnTo>
                    <a:pt x="212526" y="1674585"/>
                  </a:lnTo>
                  <a:lnTo>
                    <a:pt x="208332" y="1671377"/>
                  </a:lnTo>
                  <a:lnTo>
                    <a:pt x="206259" y="1666443"/>
                  </a:lnTo>
                  <a:lnTo>
                    <a:pt x="199993" y="1658401"/>
                  </a:lnTo>
                  <a:lnTo>
                    <a:pt x="195849" y="1656822"/>
                  </a:lnTo>
                  <a:lnTo>
                    <a:pt x="189582" y="1656822"/>
                  </a:lnTo>
                  <a:lnTo>
                    <a:pt x="189582" y="1655144"/>
                  </a:lnTo>
                  <a:lnTo>
                    <a:pt x="191655" y="1651937"/>
                  </a:lnTo>
                  <a:lnTo>
                    <a:pt x="189582" y="1647003"/>
                  </a:lnTo>
                  <a:lnTo>
                    <a:pt x="187510" y="1645375"/>
                  </a:lnTo>
                  <a:lnTo>
                    <a:pt x="185438" y="1640441"/>
                  </a:lnTo>
                  <a:lnTo>
                    <a:pt x="189582" y="1638862"/>
                  </a:lnTo>
                  <a:lnTo>
                    <a:pt x="191655" y="1637234"/>
                  </a:lnTo>
                  <a:lnTo>
                    <a:pt x="191655" y="1633977"/>
                  </a:lnTo>
                  <a:lnTo>
                    <a:pt x="187510" y="1632399"/>
                  </a:lnTo>
                  <a:lnTo>
                    <a:pt x="183662" y="1632399"/>
                  </a:lnTo>
                  <a:lnTo>
                    <a:pt x="183662" y="1629191"/>
                  </a:lnTo>
                  <a:lnTo>
                    <a:pt x="189878" y="1625935"/>
                  </a:lnTo>
                  <a:lnTo>
                    <a:pt x="187806" y="1603337"/>
                  </a:lnTo>
                  <a:lnTo>
                    <a:pt x="187806" y="1580789"/>
                  </a:lnTo>
                  <a:lnTo>
                    <a:pt x="191951" y="1563026"/>
                  </a:lnTo>
                  <a:lnTo>
                    <a:pt x="189878" y="1558092"/>
                  </a:lnTo>
                  <a:lnTo>
                    <a:pt x="187806" y="1551628"/>
                  </a:lnTo>
                  <a:lnTo>
                    <a:pt x="191951" y="1546694"/>
                  </a:lnTo>
                  <a:lnTo>
                    <a:pt x="189878" y="1540231"/>
                  </a:lnTo>
                  <a:lnTo>
                    <a:pt x="187806" y="1535297"/>
                  </a:lnTo>
                  <a:lnTo>
                    <a:pt x="185734" y="1523948"/>
                  </a:lnTo>
                  <a:lnTo>
                    <a:pt x="177395" y="1515906"/>
                  </a:lnTo>
                  <a:lnTo>
                    <a:pt x="175323" y="1504607"/>
                  </a:lnTo>
                  <a:lnTo>
                    <a:pt x="177395" y="1499673"/>
                  </a:lnTo>
                  <a:lnTo>
                    <a:pt x="169057" y="1481911"/>
                  </a:lnTo>
                  <a:lnTo>
                    <a:pt x="171129" y="1476976"/>
                  </a:lnTo>
                  <a:lnTo>
                    <a:pt x="177247" y="1470315"/>
                  </a:lnTo>
                  <a:lnTo>
                    <a:pt x="175175" y="1465381"/>
                  </a:lnTo>
                  <a:lnTo>
                    <a:pt x="175175" y="1460447"/>
                  </a:lnTo>
                  <a:lnTo>
                    <a:pt x="166836" y="1455513"/>
                  </a:lnTo>
                  <a:lnTo>
                    <a:pt x="156426" y="1455513"/>
                  </a:lnTo>
                  <a:lnTo>
                    <a:pt x="143893" y="1458770"/>
                  </a:lnTo>
                  <a:lnTo>
                    <a:pt x="139749" y="1460398"/>
                  </a:lnTo>
                  <a:lnTo>
                    <a:pt x="127266" y="1463605"/>
                  </a:lnTo>
                  <a:lnTo>
                    <a:pt x="118927" y="1470315"/>
                  </a:lnTo>
                  <a:lnTo>
                    <a:pt x="108516" y="1483193"/>
                  </a:lnTo>
                  <a:lnTo>
                    <a:pt x="100178" y="1488127"/>
                  </a:lnTo>
                  <a:lnTo>
                    <a:pt x="89767" y="1489706"/>
                  </a:lnTo>
                  <a:lnTo>
                    <a:pt x="74965" y="1491335"/>
                  </a:lnTo>
                  <a:lnTo>
                    <a:pt x="72892" y="1491335"/>
                  </a:lnTo>
                  <a:lnTo>
                    <a:pt x="72892" y="1486400"/>
                  </a:lnTo>
                  <a:lnTo>
                    <a:pt x="79159" y="1478309"/>
                  </a:lnTo>
                  <a:lnTo>
                    <a:pt x="75113" y="1470315"/>
                  </a:lnTo>
                  <a:lnTo>
                    <a:pt x="64702" y="1434790"/>
                  </a:lnTo>
                  <a:lnTo>
                    <a:pt x="58485" y="1418706"/>
                  </a:lnTo>
                  <a:lnTo>
                    <a:pt x="56364" y="1410564"/>
                  </a:lnTo>
                  <a:lnTo>
                    <a:pt x="62630" y="1397687"/>
                  </a:lnTo>
                  <a:lnTo>
                    <a:pt x="45953" y="1396058"/>
                  </a:lnTo>
                  <a:lnTo>
                    <a:pt x="31151" y="1402522"/>
                  </a:lnTo>
                  <a:lnTo>
                    <a:pt x="22812" y="1399315"/>
                  </a:lnTo>
                  <a:lnTo>
                    <a:pt x="-82" y="1399315"/>
                  </a:lnTo>
                  <a:lnTo>
                    <a:pt x="418571" y="744223"/>
                  </a:lnTo>
                  <a:lnTo>
                    <a:pt x="420643" y="749157"/>
                  </a:lnTo>
                  <a:lnTo>
                    <a:pt x="424837" y="749157"/>
                  </a:lnTo>
                  <a:lnTo>
                    <a:pt x="443586" y="762035"/>
                  </a:lnTo>
                  <a:lnTo>
                    <a:pt x="450099" y="762035"/>
                  </a:lnTo>
                  <a:lnTo>
                    <a:pt x="458438" y="766969"/>
                  </a:lnTo>
                  <a:lnTo>
                    <a:pt x="460510" y="771903"/>
                  </a:lnTo>
                  <a:lnTo>
                    <a:pt x="462583" y="770275"/>
                  </a:lnTo>
                  <a:lnTo>
                    <a:pt x="468849" y="775209"/>
                  </a:lnTo>
                  <a:lnTo>
                    <a:pt x="468849" y="781672"/>
                  </a:lnTo>
                  <a:lnTo>
                    <a:pt x="477187" y="788136"/>
                  </a:lnTo>
                  <a:lnTo>
                    <a:pt x="477187" y="794550"/>
                  </a:lnTo>
                  <a:lnTo>
                    <a:pt x="473043" y="801014"/>
                  </a:lnTo>
                  <a:lnTo>
                    <a:pt x="477187" y="807477"/>
                  </a:lnTo>
                  <a:lnTo>
                    <a:pt x="479260" y="809106"/>
                  </a:lnTo>
                  <a:lnTo>
                    <a:pt x="483454" y="805849"/>
                  </a:lnTo>
                  <a:lnTo>
                    <a:pt x="485526" y="807477"/>
                  </a:lnTo>
                  <a:lnTo>
                    <a:pt x="485526" y="817345"/>
                  </a:lnTo>
                  <a:lnTo>
                    <a:pt x="487598" y="825437"/>
                  </a:lnTo>
                  <a:lnTo>
                    <a:pt x="500081" y="836736"/>
                  </a:lnTo>
                  <a:lnTo>
                    <a:pt x="506347" y="841670"/>
                  </a:lnTo>
                  <a:lnTo>
                    <a:pt x="508420" y="838414"/>
                  </a:lnTo>
                  <a:lnTo>
                    <a:pt x="512614" y="841670"/>
                  </a:lnTo>
                  <a:lnTo>
                    <a:pt x="514686" y="846604"/>
                  </a:lnTo>
                  <a:lnTo>
                    <a:pt x="518831" y="848232"/>
                  </a:lnTo>
                  <a:lnTo>
                    <a:pt x="520952" y="848232"/>
                  </a:lnTo>
                  <a:lnTo>
                    <a:pt x="529241" y="858100"/>
                  </a:lnTo>
                  <a:lnTo>
                    <a:pt x="529241" y="866143"/>
                  </a:lnTo>
                  <a:lnTo>
                    <a:pt x="533435" y="867771"/>
                  </a:lnTo>
                  <a:lnTo>
                    <a:pt x="535508" y="872705"/>
                  </a:lnTo>
                  <a:lnTo>
                    <a:pt x="541774" y="872705"/>
                  </a:lnTo>
                  <a:lnTo>
                    <a:pt x="550112" y="882573"/>
                  </a:lnTo>
                  <a:lnTo>
                    <a:pt x="550112" y="885830"/>
                  </a:lnTo>
                  <a:lnTo>
                    <a:pt x="554257" y="887409"/>
                  </a:lnTo>
                  <a:lnTo>
                    <a:pt x="552185" y="892343"/>
                  </a:lnTo>
                  <a:lnTo>
                    <a:pt x="545918" y="900385"/>
                  </a:lnTo>
                  <a:lnTo>
                    <a:pt x="539652" y="905319"/>
                  </a:lnTo>
                  <a:lnTo>
                    <a:pt x="556329" y="894020"/>
                  </a:lnTo>
                  <a:lnTo>
                    <a:pt x="560523" y="892441"/>
                  </a:lnTo>
                  <a:lnTo>
                    <a:pt x="564668" y="892441"/>
                  </a:lnTo>
                  <a:lnTo>
                    <a:pt x="566740" y="884350"/>
                  </a:lnTo>
                  <a:lnTo>
                    <a:pt x="564668" y="868215"/>
                  </a:lnTo>
                  <a:lnTo>
                    <a:pt x="566740" y="856916"/>
                  </a:lnTo>
                  <a:lnTo>
                    <a:pt x="568812" y="851982"/>
                  </a:lnTo>
                  <a:lnTo>
                    <a:pt x="581345" y="848775"/>
                  </a:lnTo>
                  <a:lnTo>
                    <a:pt x="591756" y="843841"/>
                  </a:lnTo>
                  <a:lnTo>
                    <a:pt x="595900" y="838907"/>
                  </a:lnTo>
                  <a:lnTo>
                    <a:pt x="604239" y="837328"/>
                  </a:lnTo>
                  <a:lnTo>
                    <a:pt x="606311" y="834072"/>
                  </a:lnTo>
                  <a:lnTo>
                    <a:pt x="612577" y="832493"/>
                  </a:lnTo>
                  <a:lnTo>
                    <a:pt x="616722" y="830865"/>
                  </a:lnTo>
                  <a:lnTo>
                    <a:pt x="625060" y="830865"/>
                  </a:lnTo>
                  <a:lnTo>
                    <a:pt x="627182" y="832493"/>
                  </a:lnTo>
                  <a:lnTo>
                    <a:pt x="633399" y="832493"/>
                  </a:lnTo>
                  <a:lnTo>
                    <a:pt x="637593" y="834072"/>
                  </a:lnTo>
                  <a:lnTo>
                    <a:pt x="645882" y="826029"/>
                  </a:lnTo>
                  <a:lnTo>
                    <a:pt x="650076" y="817937"/>
                  </a:lnTo>
                  <a:lnTo>
                    <a:pt x="654220" y="817937"/>
                  </a:lnTo>
                  <a:lnTo>
                    <a:pt x="660487" y="819566"/>
                  </a:lnTo>
                  <a:lnTo>
                    <a:pt x="664631" y="816359"/>
                  </a:lnTo>
                  <a:lnTo>
                    <a:pt x="664631" y="814730"/>
                  </a:lnTo>
                  <a:lnTo>
                    <a:pt x="668825" y="814730"/>
                  </a:lnTo>
                  <a:lnTo>
                    <a:pt x="672970" y="817937"/>
                  </a:lnTo>
                  <a:lnTo>
                    <a:pt x="693792" y="816359"/>
                  </a:lnTo>
                  <a:lnTo>
                    <a:pt x="710469" y="811425"/>
                  </a:lnTo>
                  <a:lnTo>
                    <a:pt x="716735" y="808217"/>
                  </a:lnTo>
                  <a:lnTo>
                    <a:pt x="718807" y="808217"/>
                  </a:lnTo>
                  <a:lnTo>
                    <a:pt x="722952" y="813151"/>
                  </a:lnTo>
                  <a:lnTo>
                    <a:pt x="727146" y="809944"/>
                  </a:lnTo>
                  <a:lnTo>
                    <a:pt x="731290" y="803481"/>
                  </a:lnTo>
                  <a:lnTo>
                    <a:pt x="741701" y="800274"/>
                  </a:lnTo>
                  <a:lnTo>
                    <a:pt x="750039" y="800274"/>
                  </a:lnTo>
                  <a:lnTo>
                    <a:pt x="752112" y="801852"/>
                  </a:lnTo>
                  <a:lnTo>
                    <a:pt x="756306" y="801852"/>
                  </a:lnTo>
                  <a:lnTo>
                    <a:pt x="758378" y="805109"/>
                  </a:lnTo>
                  <a:lnTo>
                    <a:pt x="762572" y="805109"/>
                  </a:lnTo>
                  <a:lnTo>
                    <a:pt x="764644" y="800175"/>
                  </a:lnTo>
                  <a:lnTo>
                    <a:pt x="766716" y="796918"/>
                  </a:lnTo>
                  <a:lnTo>
                    <a:pt x="770861" y="800175"/>
                  </a:lnTo>
                  <a:lnTo>
                    <a:pt x="770861" y="805109"/>
                  </a:lnTo>
                  <a:lnTo>
                    <a:pt x="775055" y="808316"/>
                  </a:lnTo>
                  <a:lnTo>
                    <a:pt x="772983" y="811523"/>
                  </a:lnTo>
                  <a:lnTo>
                    <a:pt x="768789" y="811523"/>
                  </a:lnTo>
                  <a:lnTo>
                    <a:pt x="766716" y="816457"/>
                  </a:lnTo>
                  <a:lnTo>
                    <a:pt x="750039" y="821391"/>
                  </a:lnTo>
                  <a:lnTo>
                    <a:pt x="737556" y="824598"/>
                  </a:lnTo>
                  <a:lnTo>
                    <a:pt x="731290" y="829532"/>
                  </a:lnTo>
                  <a:lnTo>
                    <a:pt x="722952" y="832789"/>
                  </a:lnTo>
                  <a:lnTo>
                    <a:pt x="716735" y="831161"/>
                  </a:lnTo>
                  <a:lnTo>
                    <a:pt x="712541" y="834368"/>
                  </a:lnTo>
                  <a:lnTo>
                    <a:pt x="708396" y="834368"/>
                  </a:lnTo>
                  <a:lnTo>
                    <a:pt x="706324" y="831161"/>
                  </a:lnTo>
                  <a:lnTo>
                    <a:pt x="695913" y="834368"/>
                  </a:lnTo>
                  <a:lnTo>
                    <a:pt x="683381" y="834368"/>
                  </a:lnTo>
                  <a:lnTo>
                    <a:pt x="681308" y="835996"/>
                  </a:lnTo>
                  <a:lnTo>
                    <a:pt x="668825" y="835996"/>
                  </a:lnTo>
                  <a:lnTo>
                    <a:pt x="660487" y="839203"/>
                  </a:lnTo>
                  <a:lnTo>
                    <a:pt x="656342" y="845667"/>
                  </a:lnTo>
                  <a:lnTo>
                    <a:pt x="639665" y="852130"/>
                  </a:lnTo>
                  <a:lnTo>
                    <a:pt x="637593" y="848923"/>
                  </a:lnTo>
                  <a:lnTo>
                    <a:pt x="629254" y="853857"/>
                  </a:lnTo>
                  <a:lnTo>
                    <a:pt x="629254" y="858791"/>
                  </a:lnTo>
                  <a:lnTo>
                    <a:pt x="622988" y="861998"/>
                  </a:lnTo>
                  <a:lnTo>
                    <a:pt x="618844" y="858791"/>
                  </a:lnTo>
                  <a:lnTo>
                    <a:pt x="612577" y="863725"/>
                  </a:lnTo>
                  <a:lnTo>
                    <a:pt x="608433" y="868659"/>
                  </a:lnTo>
                  <a:lnTo>
                    <a:pt x="604239" y="870288"/>
                  </a:lnTo>
                  <a:lnTo>
                    <a:pt x="600094" y="875222"/>
                  </a:lnTo>
                  <a:lnTo>
                    <a:pt x="606311" y="881685"/>
                  </a:lnTo>
                  <a:lnTo>
                    <a:pt x="612577" y="884892"/>
                  </a:lnTo>
                  <a:lnTo>
                    <a:pt x="606311" y="878429"/>
                  </a:lnTo>
                  <a:lnTo>
                    <a:pt x="606311" y="873297"/>
                  </a:lnTo>
                  <a:lnTo>
                    <a:pt x="612577" y="874926"/>
                  </a:lnTo>
                  <a:lnTo>
                    <a:pt x="616722" y="873297"/>
                  </a:lnTo>
                  <a:lnTo>
                    <a:pt x="622988" y="874926"/>
                  </a:lnTo>
                  <a:lnTo>
                    <a:pt x="620916" y="869991"/>
                  </a:lnTo>
                  <a:lnTo>
                    <a:pt x="629254" y="861949"/>
                  </a:lnTo>
                  <a:lnTo>
                    <a:pt x="641738" y="858742"/>
                  </a:lnTo>
                  <a:lnTo>
                    <a:pt x="648004" y="858742"/>
                  </a:lnTo>
                  <a:lnTo>
                    <a:pt x="666753" y="848874"/>
                  </a:lnTo>
                  <a:lnTo>
                    <a:pt x="668825" y="843940"/>
                  </a:lnTo>
                  <a:lnTo>
                    <a:pt x="675042" y="842312"/>
                  </a:lnTo>
                  <a:lnTo>
                    <a:pt x="679236" y="847246"/>
                  </a:lnTo>
                  <a:lnTo>
                    <a:pt x="683381" y="843989"/>
                  </a:lnTo>
                  <a:lnTo>
                    <a:pt x="689647" y="842361"/>
                  </a:lnTo>
                  <a:lnTo>
                    <a:pt x="689647" y="845617"/>
                  </a:lnTo>
                  <a:lnTo>
                    <a:pt x="700058" y="839154"/>
                  </a:lnTo>
                  <a:lnTo>
                    <a:pt x="704202" y="842361"/>
                  </a:lnTo>
                  <a:lnTo>
                    <a:pt x="693792" y="852229"/>
                  </a:lnTo>
                  <a:lnTo>
                    <a:pt x="695913" y="857163"/>
                  </a:lnTo>
                  <a:lnTo>
                    <a:pt x="704202" y="847295"/>
                  </a:lnTo>
                  <a:lnTo>
                    <a:pt x="714662" y="844038"/>
                  </a:lnTo>
                  <a:lnTo>
                    <a:pt x="735484" y="831161"/>
                  </a:lnTo>
                  <a:lnTo>
                    <a:pt x="746142" y="831161"/>
                  </a:lnTo>
                  <a:lnTo>
                    <a:pt x="754480" y="826227"/>
                  </a:lnTo>
                  <a:lnTo>
                    <a:pt x="769282" y="826227"/>
                  </a:lnTo>
                  <a:lnTo>
                    <a:pt x="775549" y="823019"/>
                  </a:lnTo>
                  <a:lnTo>
                    <a:pt x="781765" y="823019"/>
                  </a:lnTo>
                  <a:lnTo>
                    <a:pt x="779693" y="829483"/>
                  </a:lnTo>
                  <a:lnTo>
                    <a:pt x="769282" y="831111"/>
                  </a:lnTo>
                  <a:lnTo>
                    <a:pt x="769282" y="836045"/>
                  </a:lnTo>
                  <a:lnTo>
                    <a:pt x="775549" y="840979"/>
                  </a:lnTo>
                  <a:lnTo>
                    <a:pt x="783887" y="831111"/>
                  </a:lnTo>
                  <a:lnTo>
                    <a:pt x="800515" y="824648"/>
                  </a:lnTo>
                  <a:lnTo>
                    <a:pt x="804709" y="826227"/>
                  </a:lnTo>
                  <a:lnTo>
                    <a:pt x="804709" y="821293"/>
                  </a:lnTo>
                  <a:lnTo>
                    <a:pt x="810925" y="816359"/>
                  </a:lnTo>
                  <a:lnTo>
                    <a:pt x="817192" y="819615"/>
                  </a:lnTo>
                  <a:lnTo>
                    <a:pt x="817192" y="814681"/>
                  </a:lnTo>
                  <a:lnTo>
                    <a:pt x="819264" y="809747"/>
                  </a:lnTo>
                  <a:lnTo>
                    <a:pt x="823458" y="814681"/>
                  </a:lnTo>
                  <a:lnTo>
                    <a:pt x="829675" y="816260"/>
                  </a:lnTo>
                  <a:lnTo>
                    <a:pt x="831796" y="806392"/>
                  </a:lnTo>
                  <a:lnTo>
                    <a:pt x="827603" y="799928"/>
                  </a:lnTo>
                  <a:lnTo>
                    <a:pt x="831796" y="796721"/>
                  </a:lnTo>
                  <a:lnTo>
                    <a:pt x="827603" y="791787"/>
                  </a:lnTo>
                  <a:lnTo>
                    <a:pt x="833869" y="783695"/>
                  </a:lnTo>
                  <a:lnTo>
                    <a:pt x="844280" y="780488"/>
                  </a:lnTo>
                  <a:lnTo>
                    <a:pt x="844280" y="788531"/>
                  </a:lnTo>
                  <a:lnTo>
                    <a:pt x="846352" y="812757"/>
                  </a:lnTo>
                  <a:lnTo>
                    <a:pt x="842207" y="819220"/>
                  </a:lnTo>
                  <a:lnTo>
                    <a:pt x="842207" y="838562"/>
                  </a:lnTo>
                  <a:lnTo>
                    <a:pt x="835941" y="849861"/>
                  </a:lnTo>
                  <a:lnTo>
                    <a:pt x="835941" y="877294"/>
                  </a:lnTo>
                  <a:lnTo>
                    <a:pt x="840135" y="883757"/>
                  </a:lnTo>
                  <a:lnTo>
                    <a:pt x="846352" y="886965"/>
                  </a:lnTo>
                  <a:lnTo>
                    <a:pt x="852618" y="895056"/>
                  </a:lnTo>
                  <a:lnTo>
                    <a:pt x="863029" y="890122"/>
                  </a:lnTo>
                  <a:lnTo>
                    <a:pt x="858884" y="885188"/>
                  </a:lnTo>
                  <a:lnTo>
                    <a:pt x="852618" y="885188"/>
                  </a:lnTo>
                  <a:lnTo>
                    <a:pt x="850546" y="881981"/>
                  </a:lnTo>
                  <a:lnTo>
                    <a:pt x="856763" y="877047"/>
                  </a:lnTo>
                  <a:lnTo>
                    <a:pt x="865101" y="880254"/>
                  </a:lnTo>
                  <a:lnTo>
                    <a:pt x="867174" y="873840"/>
                  </a:lnTo>
                  <a:lnTo>
                    <a:pt x="863029" y="872212"/>
                  </a:lnTo>
                  <a:lnTo>
                    <a:pt x="869295" y="867278"/>
                  </a:lnTo>
                  <a:lnTo>
                    <a:pt x="879360" y="867278"/>
                  </a:lnTo>
                  <a:lnTo>
                    <a:pt x="879360" y="872212"/>
                  </a:lnTo>
                  <a:lnTo>
                    <a:pt x="885577" y="867278"/>
                  </a:lnTo>
                  <a:lnTo>
                    <a:pt x="877239" y="855979"/>
                  </a:lnTo>
                  <a:lnTo>
                    <a:pt x="885577" y="855979"/>
                  </a:lnTo>
                  <a:lnTo>
                    <a:pt x="898110" y="849515"/>
                  </a:lnTo>
                  <a:lnTo>
                    <a:pt x="898110" y="844581"/>
                  </a:lnTo>
                  <a:lnTo>
                    <a:pt x="906399" y="842953"/>
                  </a:lnTo>
                  <a:lnTo>
                    <a:pt x="908521" y="849417"/>
                  </a:lnTo>
                  <a:lnTo>
                    <a:pt x="908521" y="854351"/>
                  </a:lnTo>
                  <a:lnTo>
                    <a:pt x="902254" y="860814"/>
                  </a:lnTo>
                  <a:lnTo>
                    <a:pt x="902254" y="864021"/>
                  </a:lnTo>
                  <a:lnTo>
                    <a:pt x="895988" y="868955"/>
                  </a:lnTo>
                  <a:lnTo>
                    <a:pt x="893916" y="872212"/>
                  </a:lnTo>
                  <a:lnTo>
                    <a:pt x="895988" y="875419"/>
                  </a:lnTo>
                  <a:lnTo>
                    <a:pt x="902254" y="873840"/>
                  </a:lnTo>
                  <a:lnTo>
                    <a:pt x="904327" y="877047"/>
                  </a:lnTo>
                  <a:lnTo>
                    <a:pt x="902254" y="878675"/>
                  </a:lnTo>
                  <a:lnTo>
                    <a:pt x="895988" y="881883"/>
                  </a:lnTo>
                  <a:lnTo>
                    <a:pt x="889771" y="886817"/>
                  </a:lnTo>
                  <a:lnTo>
                    <a:pt x="885577" y="886817"/>
                  </a:lnTo>
                  <a:lnTo>
                    <a:pt x="883505" y="890073"/>
                  </a:lnTo>
                  <a:lnTo>
                    <a:pt x="879360" y="895007"/>
                  </a:lnTo>
                  <a:lnTo>
                    <a:pt x="883505" y="898214"/>
                  </a:lnTo>
                  <a:lnTo>
                    <a:pt x="893916" y="899842"/>
                  </a:lnTo>
                  <a:lnTo>
                    <a:pt x="898110" y="904776"/>
                  </a:lnTo>
                  <a:lnTo>
                    <a:pt x="906399" y="903148"/>
                  </a:lnTo>
                  <a:lnTo>
                    <a:pt x="912665" y="898214"/>
                  </a:lnTo>
                  <a:lnTo>
                    <a:pt x="918932" y="896586"/>
                  </a:lnTo>
                  <a:lnTo>
                    <a:pt x="927270" y="885287"/>
                  </a:lnTo>
                  <a:lnTo>
                    <a:pt x="935559" y="878873"/>
                  </a:lnTo>
                  <a:lnTo>
                    <a:pt x="941825" y="877245"/>
                  </a:lnTo>
                  <a:lnTo>
                    <a:pt x="948092" y="880452"/>
                  </a:lnTo>
                  <a:lnTo>
                    <a:pt x="954308" y="880452"/>
                  </a:lnTo>
                  <a:lnTo>
                    <a:pt x="960575" y="885386"/>
                  </a:lnTo>
                  <a:lnTo>
                    <a:pt x="966841" y="885386"/>
                  </a:lnTo>
                  <a:lnTo>
                    <a:pt x="975179" y="891849"/>
                  </a:lnTo>
                  <a:lnTo>
                    <a:pt x="981396" y="891849"/>
                  </a:lnTo>
                  <a:lnTo>
                    <a:pt x="981396" y="896783"/>
                  </a:lnTo>
                  <a:lnTo>
                    <a:pt x="987663" y="912918"/>
                  </a:lnTo>
                  <a:lnTo>
                    <a:pt x="987663" y="921009"/>
                  </a:lnTo>
                  <a:lnTo>
                    <a:pt x="996001" y="930877"/>
                  </a:lnTo>
                  <a:lnTo>
                    <a:pt x="1025161" y="947012"/>
                  </a:lnTo>
                  <a:lnTo>
                    <a:pt x="1027233" y="951946"/>
                  </a:lnTo>
                  <a:lnTo>
                    <a:pt x="1037644" y="956880"/>
                  </a:lnTo>
                  <a:lnTo>
                    <a:pt x="1048055" y="966748"/>
                  </a:lnTo>
                  <a:lnTo>
                    <a:pt x="1052052" y="966748"/>
                  </a:lnTo>
                  <a:lnTo>
                    <a:pt x="1058269" y="971682"/>
                  </a:lnTo>
                  <a:lnTo>
                    <a:pt x="1062462" y="976616"/>
                  </a:lnTo>
                  <a:lnTo>
                    <a:pt x="1066607" y="979823"/>
                  </a:lnTo>
                  <a:lnTo>
                    <a:pt x="1068679" y="976616"/>
                  </a:lnTo>
                  <a:lnTo>
                    <a:pt x="1072873" y="979823"/>
                  </a:lnTo>
                  <a:lnTo>
                    <a:pt x="1083284" y="986287"/>
                  </a:lnTo>
                  <a:lnTo>
                    <a:pt x="1087429" y="986287"/>
                  </a:lnTo>
                  <a:lnTo>
                    <a:pt x="1087429" y="992750"/>
                  </a:lnTo>
                  <a:lnTo>
                    <a:pt x="1093695" y="997684"/>
                  </a:lnTo>
                  <a:lnTo>
                    <a:pt x="1095767" y="992750"/>
                  </a:lnTo>
                  <a:lnTo>
                    <a:pt x="1093695" y="987816"/>
                  </a:lnTo>
                  <a:lnTo>
                    <a:pt x="1093695" y="984560"/>
                  </a:lnTo>
                  <a:lnTo>
                    <a:pt x="1087429" y="979626"/>
                  </a:lnTo>
                  <a:lnTo>
                    <a:pt x="1087429" y="976419"/>
                  </a:lnTo>
                  <a:lnTo>
                    <a:pt x="1097840" y="981353"/>
                  </a:lnTo>
                  <a:lnTo>
                    <a:pt x="1099961" y="986287"/>
                  </a:lnTo>
                  <a:lnTo>
                    <a:pt x="1104106" y="986287"/>
                  </a:lnTo>
                  <a:lnTo>
                    <a:pt x="1106178" y="981353"/>
                  </a:lnTo>
                  <a:lnTo>
                    <a:pt x="1108250" y="979724"/>
                  </a:lnTo>
                  <a:lnTo>
                    <a:pt x="1118661" y="987816"/>
                  </a:lnTo>
                  <a:lnTo>
                    <a:pt x="1120783" y="992750"/>
                  </a:lnTo>
                  <a:lnTo>
                    <a:pt x="1124928" y="994378"/>
                  </a:lnTo>
                  <a:lnTo>
                    <a:pt x="1129121" y="1002421"/>
                  </a:lnTo>
                  <a:lnTo>
                    <a:pt x="1131194" y="1007355"/>
                  </a:lnTo>
                  <a:lnTo>
                    <a:pt x="1133266" y="1015447"/>
                  </a:lnTo>
                  <a:lnTo>
                    <a:pt x="1135338" y="1021910"/>
                  </a:lnTo>
                  <a:lnTo>
                    <a:pt x="1133266" y="1028325"/>
                  </a:lnTo>
                  <a:lnTo>
                    <a:pt x="1131194" y="1034788"/>
                  </a:lnTo>
                  <a:lnTo>
                    <a:pt x="1124977" y="1041054"/>
                  </a:lnTo>
                  <a:lnTo>
                    <a:pt x="1110421" y="1036120"/>
                  </a:lnTo>
                  <a:lnTo>
                    <a:pt x="1100010" y="1036120"/>
                  </a:lnTo>
                  <a:lnTo>
                    <a:pt x="1102083" y="1037699"/>
                  </a:lnTo>
                  <a:lnTo>
                    <a:pt x="1097889" y="1040956"/>
                  </a:lnTo>
                  <a:lnTo>
                    <a:pt x="1089550" y="1037699"/>
                  </a:lnTo>
                  <a:lnTo>
                    <a:pt x="1083334" y="1037699"/>
                  </a:lnTo>
                  <a:lnTo>
                    <a:pt x="1085406" y="1040956"/>
                  </a:lnTo>
                  <a:lnTo>
                    <a:pt x="1079140" y="1045890"/>
                  </a:lnTo>
                  <a:lnTo>
                    <a:pt x="1077067" y="1052353"/>
                  </a:lnTo>
                  <a:lnTo>
                    <a:pt x="1070850" y="1050725"/>
                  </a:lnTo>
                  <a:lnTo>
                    <a:pt x="1064584" y="1053982"/>
                  </a:lnTo>
                  <a:lnTo>
                    <a:pt x="1066657" y="1055561"/>
                  </a:lnTo>
                  <a:lnTo>
                    <a:pt x="1072923" y="1058817"/>
                  </a:lnTo>
                  <a:lnTo>
                    <a:pt x="1074995" y="1065231"/>
                  </a:lnTo>
                  <a:lnTo>
                    <a:pt x="1081261" y="1070165"/>
                  </a:lnTo>
                  <a:lnTo>
                    <a:pt x="1085406" y="1066909"/>
                  </a:lnTo>
                  <a:lnTo>
                    <a:pt x="1093744" y="1073372"/>
                  </a:lnTo>
                  <a:lnTo>
                    <a:pt x="1095817" y="1078306"/>
                  </a:lnTo>
                  <a:lnTo>
                    <a:pt x="1104155" y="1078306"/>
                  </a:lnTo>
                  <a:lnTo>
                    <a:pt x="1116638" y="1084770"/>
                  </a:lnTo>
                  <a:lnTo>
                    <a:pt x="1127049" y="1084770"/>
                  </a:lnTo>
                  <a:lnTo>
                    <a:pt x="1143726" y="1091234"/>
                  </a:lnTo>
                  <a:lnTo>
                    <a:pt x="1152065" y="1091234"/>
                  </a:lnTo>
                  <a:lnTo>
                    <a:pt x="1152065" y="1087977"/>
                  </a:lnTo>
                  <a:lnTo>
                    <a:pt x="1156209" y="1087977"/>
                  </a:lnTo>
                  <a:lnTo>
                    <a:pt x="1162475" y="1091234"/>
                  </a:lnTo>
                  <a:lnTo>
                    <a:pt x="1162475" y="1096168"/>
                  </a:lnTo>
                  <a:lnTo>
                    <a:pt x="1172886" y="1088076"/>
                  </a:lnTo>
                  <a:lnTo>
                    <a:pt x="1174958" y="1093010"/>
                  </a:lnTo>
                  <a:lnTo>
                    <a:pt x="1181225" y="1091431"/>
                  </a:lnTo>
                  <a:lnTo>
                    <a:pt x="1185369" y="1086497"/>
                  </a:lnTo>
                  <a:lnTo>
                    <a:pt x="1187491" y="1088076"/>
                  </a:lnTo>
                  <a:lnTo>
                    <a:pt x="1187491" y="1089704"/>
                  </a:lnTo>
                  <a:lnTo>
                    <a:pt x="1191635" y="1091332"/>
                  </a:lnTo>
                  <a:lnTo>
                    <a:pt x="1204119" y="1086398"/>
                  </a:lnTo>
                  <a:lnTo>
                    <a:pt x="1222868" y="1079935"/>
                  </a:lnTo>
                  <a:lnTo>
                    <a:pt x="1229134" y="1078306"/>
                  </a:lnTo>
                  <a:lnTo>
                    <a:pt x="1229134" y="1084770"/>
                  </a:lnTo>
                  <a:lnTo>
                    <a:pt x="1227062" y="1087977"/>
                  </a:lnTo>
                  <a:lnTo>
                    <a:pt x="1227062" y="1089605"/>
                  </a:lnTo>
                  <a:lnTo>
                    <a:pt x="1231207" y="1089605"/>
                  </a:lnTo>
                  <a:lnTo>
                    <a:pt x="1231207" y="1096069"/>
                  </a:lnTo>
                  <a:lnTo>
                    <a:pt x="1229134" y="1101003"/>
                  </a:lnTo>
                  <a:lnTo>
                    <a:pt x="1231207" y="1104210"/>
                  </a:lnTo>
                  <a:lnTo>
                    <a:pt x="1233279" y="1105838"/>
                  </a:lnTo>
                  <a:lnTo>
                    <a:pt x="1237473" y="1102631"/>
                  </a:lnTo>
                  <a:lnTo>
                    <a:pt x="1241617" y="1105838"/>
                  </a:lnTo>
                  <a:lnTo>
                    <a:pt x="1241617" y="1110772"/>
                  </a:lnTo>
                  <a:lnTo>
                    <a:pt x="1237473" y="1120640"/>
                  </a:lnTo>
                  <a:lnTo>
                    <a:pt x="1237473" y="1127104"/>
                  </a:lnTo>
                  <a:lnTo>
                    <a:pt x="1239545" y="1128732"/>
                  </a:lnTo>
                  <a:lnTo>
                    <a:pt x="1245811" y="1123798"/>
                  </a:lnTo>
                  <a:lnTo>
                    <a:pt x="1245811" y="1117335"/>
                  </a:lnTo>
                  <a:lnTo>
                    <a:pt x="1249956" y="1112401"/>
                  </a:lnTo>
                  <a:lnTo>
                    <a:pt x="1252028" y="1112401"/>
                  </a:lnTo>
                  <a:lnTo>
                    <a:pt x="1249956" y="1122269"/>
                  </a:lnTo>
                  <a:lnTo>
                    <a:pt x="1245811" y="1132137"/>
                  </a:lnTo>
                  <a:lnTo>
                    <a:pt x="1239545" y="1137663"/>
                  </a:lnTo>
                  <a:lnTo>
                    <a:pt x="1239545" y="1148962"/>
                  </a:lnTo>
                  <a:lnTo>
                    <a:pt x="1245811" y="1155425"/>
                  </a:lnTo>
                  <a:lnTo>
                    <a:pt x="1245811" y="1165293"/>
                  </a:lnTo>
                  <a:lnTo>
                    <a:pt x="1241617" y="1173385"/>
                  </a:lnTo>
                  <a:lnTo>
                    <a:pt x="1249956" y="1178319"/>
                  </a:lnTo>
                  <a:lnTo>
                    <a:pt x="1249956" y="1181526"/>
                  </a:lnTo>
                  <a:lnTo>
                    <a:pt x="1247884" y="1187990"/>
                  </a:lnTo>
                  <a:lnTo>
                    <a:pt x="1249956" y="1189618"/>
                  </a:lnTo>
                  <a:lnTo>
                    <a:pt x="1254101" y="1199486"/>
                  </a:lnTo>
                  <a:lnTo>
                    <a:pt x="1256222" y="1218828"/>
                  </a:lnTo>
                  <a:lnTo>
                    <a:pt x="1256222" y="1198944"/>
                  </a:lnTo>
                  <a:lnTo>
                    <a:pt x="1252028" y="1184388"/>
                  </a:lnTo>
                  <a:lnTo>
                    <a:pt x="1254101" y="1169882"/>
                  </a:lnTo>
                  <a:lnTo>
                    <a:pt x="1262439" y="1156955"/>
                  </a:lnTo>
                  <a:lnTo>
                    <a:pt x="1266633" y="1158583"/>
                  </a:lnTo>
                  <a:lnTo>
                    <a:pt x="1266633" y="1163517"/>
                  </a:lnTo>
                  <a:lnTo>
                    <a:pt x="1264561" y="1165145"/>
                  </a:lnTo>
                  <a:lnTo>
                    <a:pt x="1264561" y="1170079"/>
                  </a:lnTo>
                  <a:lnTo>
                    <a:pt x="1266633" y="1171708"/>
                  </a:lnTo>
                  <a:lnTo>
                    <a:pt x="1270778" y="1168451"/>
                  </a:lnTo>
                  <a:lnTo>
                    <a:pt x="1272850" y="1170079"/>
                  </a:lnTo>
                  <a:lnTo>
                    <a:pt x="1274971" y="1168451"/>
                  </a:lnTo>
                  <a:lnTo>
                    <a:pt x="1274971" y="1162037"/>
                  </a:lnTo>
                  <a:lnTo>
                    <a:pt x="1270778" y="1155573"/>
                  </a:lnTo>
                  <a:lnTo>
                    <a:pt x="1270778" y="1152317"/>
                  </a:lnTo>
                  <a:lnTo>
                    <a:pt x="1279116" y="1150738"/>
                  </a:lnTo>
                  <a:lnTo>
                    <a:pt x="1279116" y="1147482"/>
                  </a:lnTo>
                  <a:lnTo>
                    <a:pt x="1272850" y="1142548"/>
                  </a:lnTo>
                  <a:lnTo>
                    <a:pt x="1274971" y="1139341"/>
                  </a:lnTo>
                  <a:lnTo>
                    <a:pt x="1277044" y="1128042"/>
                  </a:lnTo>
                  <a:lnTo>
                    <a:pt x="1283310" y="1111907"/>
                  </a:lnTo>
                  <a:lnTo>
                    <a:pt x="1281188" y="1106973"/>
                  </a:lnTo>
                  <a:lnTo>
                    <a:pt x="1281188" y="1102039"/>
                  </a:lnTo>
                  <a:lnTo>
                    <a:pt x="1287455" y="1098783"/>
                  </a:lnTo>
                  <a:lnTo>
                    <a:pt x="1297865" y="1097204"/>
                  </a:lnTo>
                  <a:lnTo>
                    <a:pt x="1297865" y="1095576"/>
                  </a:lnTo>
                  <a:lnTo>
                    <a:pt x="1299938" y="1092319"/>
                  </a:lnTo>
                  <a:lnTo>
                    <a:pt x="1306204" y="1090740"/>
                  </a:lnTo>
                  <a:lnTo>
                    <a:pt x="1308276" y="1093947"/>
                  </a:lnTo>
                  <a:lnTo>
                    <a:pt x="1314542" y="1092319"/>
                  </a:lnTo>
                  <a:lnTo>
                    <a:pt x="1318687" y="1087385"/>
                  </a:lnTo>
                  <a:lnTo>
                    <a:pt x="1320759" y="1087385"/>
                  </a:lnTo>
                  <a:lnTo>
                    <a:pt x="1320759" y="1090642"/>
                  </a:lnTo>
                  <a:lnTo>
                    <a:pt x="1324953" y="1089013"/>
                  </a:lnTo>
                  <a:lnTo>
                    <a:pt x="1333292" y="1089013"/>
                  </a:lnTo>
                  <a:lnTo>
                    <a:pt x="1337436" y="1082550"/>
                  </a:lnTo>
                  <a:lnTo>
                    <a:pt x="1341630" y="1082550"/>
                  </a:lnTo>
                  <a:lnTo>
                    <a:pt x="1343702" y="1087484"/>
                  </a:lnTo>
                  <a:lnTo>
                    <a:pt x="1345775" y="1087484"/>
                  </a:lnTo>
                  <a:lnTo>
                    <a:pt x="1347847" y="1095576"/>
                  </a:lnTo>
                  <a:lnTo>
                    <a:pt x="1347847" y="1087484"/>
                  </a:lnTo>
                  <a:lnTo>
                    <a:pt x="1345775" y="1081020"/>
                  </a:lnTo>
                  <a:lnTo>
                    <a:pt x="1352041" y="1071152"/>
                  </a:lnTo>
                  <a:lnTo>
                    <a:pt x="1356186" y="1071152"/>
                  </a:lnTo>
                  <a:lnTo>
                    <a:pt x="1360330" y="1074409"/>
                  </a:lnTo>
                  <a:lnTo>
                    <a:pt x="1366596" y="1074409"/>
                  </a:lnTo>
                  <a:lnTo>
                    <a:pt x="1370790" y="1071152"/>
                  </a:lnTo>
                  <a:lnTo>
                    <a:pt x="1374935" y="1074409"/>
                  </a:lnTo>
                  <a:lnTo>
                    <a:pt x="1383274" y="1066317"/>
                  </a:lnTo>
                  <a:lnTo>
                    <a:pt x="1379080" y="1063110"/>
                  </a:lnTo>
                  <a:lnTo>
                    <a:pt x="1385346" y="1058176"/>
                  </a:lnTo>
                  <a:lnTo>
                    <a:pt x="1377007" y="1058176"/>
                  </a:lnTo>
                  <a:lnTo>
                    <a:pt x="1377007" y="1056547"/>
                  </a:lnTo>
                  <a:lnTo>
                    <a:pt x="1370790" y="1056547"/>
                  </a:lnTo>
                  <a:lnTo>
                    <a:pt x="1355988" y="1061481"/>
                  </a:lnTo>
                  <a:lnTo>
                    <a:pt x="1351844" y="1059853"/>
                  </a:lnTo>
                  <a:lnTo>
                    <a:pt x="1349722" y="1064787"/>
                  </a:lnTo>
                  <a:lnTo>
                    <a:pt x="1343505" y="1064787"/>
                  </a:lnTo>
                  <a:lnTo>
                    <a:pt x="1343505" y="1072879"/>
                  </a:lnTo>
                  <a:lnTo>
                    <a:pt x="1337239" y="1066415"/>
                  </a:lnTo>
                  <a:lnTo>
                    <a:pt x="1337239" y="1061481"/>
                  </a:lnTo>
                  <a:lnTo>
                    <a:pt x="1333094" y="1063110"/>
                  </a:lnTo>
                  <a:lnTo>
                    <a:pt x="1330973" y="1069573"/>
                  </a:lnTo>
                  <a:lnTo>
                    <a:pt x="1326828" y="1071152"/>
                  </a:lnTo>
                  <a:lnTo>
                    <a:pt x="1320562" y="1066218"/>
                  </a:lnTo>
                  <a:lnTo>
                    <a:pt x="1314542" y="1066218"/>
                  </a:lnTo>
                  <a:lnTo>
                    <a:pt x="1314542" y="1064590"/>
                  </a:lnTo>
                  <a:lnTo>
                    <a:pt x="1308276" y="1064590"/>
                  </a:lnTo>
                  <a:lnTo>
                    <a:pt x="1308276" y="1069524"/>
                  </a:lnTo>
                  <a:lnTo>
                    <a:pt x="1312470" y="1072731"/>
                  </a:lnTo>
                  <a:lnTo>
                    <a:pt x="1312470" y="1075938"/>
                  </a:lnTo>
                  <a:lnTo>
                    <a:pt x="1306204" y="1079195"/>
                  </a:lnTo>
                  <a:lnTo>
                    <a:pt x="1304132" y="1075938"/>
                  </a:lnTo>
                  <a:lnTo>
                    <a:pt x="1293721" y="1074359"/>
                  </a:lnTo>
                  <a:lnTo>
                    <a:pt x="1293721" y="1071103"/>
                  </a:lnTo>
                  <a:lnTo>
                    <a:pt x="1297865" y="1067896"/>
                  </a:lnTo>
                  <a:lnTo>
                    <a:pt x="1299938" y="1062962"/>
                  </a:lnTo>
                  <a:lnTo>
                    <a:pt x="1295793" y="1062962"/>
                  </a:lnTo>
                  <a:lnTo>
                    <a:pt x="1291599" y="1064540"/>
                  </a:lnTo>
                  <a:lnTo>
                    <a:pt x="1287455" y="1061333"/>
                  </a:lnTo>
                  <a:lnTo>
                    <a:pt x="1289527" y="1056399"/>
                  </a:lnTo>
                  <a:lnTo>
                    <a:pt x="1295793" y="1053192"/>
                  </a:lnTo>
                  <a:lnTo>
                    <a:pt x="1306204" y="1041893"/>
                  </a:lnTo>
                  <a:lnTo>
                    <a:pt x="1312470" y="1041893"/>
                  </a:lnTo>
                  <a:lnTo>
                    <a:pt x="1318687" y="1045100"/>
                  </a:lnTo>
                  <a:lnTo>
                    <a:pt x="1345775" y="1043472"/>
                  </a:lnTo>
                  <a:lnTo>
                    <a:pt x="1364524" y="1038538"/>
                  </a:lnTo>
                  <a:lnTo>
                    <a:pt x="1368669" y="1040166"/>
                  </a:lnTo>
                  <a:lnTo>
                    <a:pt x="1379080" y="1036910"/>
                  </a:lnTo>
                  <a:lnTo>
                    <a:pt x="1381201" y="1041844"/>
                  </a:lnTo>
                  <a:lnTo>
                    <a:pt x="1385346" y="1045051"/>
                  </a:lnTo>
                  <a:lnTo>
                    <a:pt x="1389540" y="1045051"/>
                  </a:lnTo>
                  <a:lnTo>
                    <a:pt x="1391612" y="1049985"/>
                  </a:lnTo>
                  <a:lnTo>
                    <a:pt x="1389540" y="1062912"/>
                  </a:lnTo>
                  <a:lnTo>
                    <a:pt x="1389540" y="1066119"/>
                  </a:lnTo>
                  <a:lnTo>
                    <a:pt x="1391612" y="1067748"/>
                  </a:lnTo>
                  <a:lnTo>
                    <a:pt x="1391612" y="1070955"/>
                  </a:lnTo>
                  <a:lnTo>
                    <a:pt x="1385346" y="1074211"/>
                  </a:lnTo>
                  <a:lnTo>
                    <a:pt x="1385346" y="1075790"/>
                  </a:lnTo>
                  <a:lnTo>
                    <a:pt x="1389540" y="1077418"/>
                  </a:lnTo>
                  <a:lnTo>
                    <a:pt x="1389540" y="1090346"/>
                  </a:lnTo>
                  <a:lnTo>
                    <a:pt x="1395756" y="1090346"/>
                  </a:lnTo>
                  <a:lnTo>
                    <a:pt x="1399951" y="1091924"/>
                  </a:lnTo>
                  <a:lnTo>
                    <a:pt x="1399951" y="1095181"/>
                  </a:lnTo>
                  <a:lnTo>
                    <a:pt x="1393684" y="1098388"/>
                  </a:lnTo>
                  <a:lnTo>
                    <a:pt x="1393684" y="1103322"/>
                  </a:lnTo>
                  <a:lnTo>
                    <a:pt x="1391612" y="1106578"/>
                  </a:lnTo>
                  <a:lnTo>
                    <a:pt x="1397829" y="1106578"/>
                  </a:lnTo>
                  <a:lnTo>
                    <a:pt x="1404095" y="1109786"/>
                  </a:lnTo>
                  <a:lnTo>
                    <a:pt x="1406168" y="1111414"/>
                  </a:lnTo>
                  <a:lnTo>
                    <a:pt x="1408240" y="1111414"/>
                  </a:lnTo>
                  <a:lnTo>
                    <a:pt x="1414506" y="1116348"/>
                  </a:lnTo>
                  <a:lnTo>
                    <a:pt x="1420772" y="1116348"/>
                  </a:lnTo>
                  <a:lnTo>
                    <a:pt x="1426989" y="1113141"/>
                  </a:lnTo>
                  <a:lnTo>
                    <a:pt x="1429111" y="1114720"/>
                  </a:lnTo>
                  <a:lnTo>
                    <a:pt x="1429111" y="1117976"/>
                  </a:lnTo>
                  <a:lnTo>
                    <a:pt x="1431183" y="1119555"/>
                  </a:lnTo>
                  <a:lnTo>
                    <a:pt x="1435328" y="1119555"/>
                  </a:lnTo>
                  <a:lnTo>
                    <a:pt x="1437400" y="1122811"/>
                  </a:lnTo>
                  <a:lnTo>
                    <a:pt x="1437400" y="1129867"/>
                  </a:lnTo>
                  <a:lnTo>
                    <a:pt x="1439522" y="1131446"/>
                  </a:lnTo>
                  <a:lnTo>
                    <a:pt x="1441594" y="1134703"/>
                  </a:lnTo>
                  <a:lnTo>
                    <a:pt x="1449932" y="1142745"/>
                  </a:lnTo>
                  <a:lnTo>
                    <a:pt x="1449932" y="1147679"/>
                  </a:lnTo>
                  <a:lnTo>
                    <a:pt x="1458271" y="1142745"/>
                  </a:lnTo>
                  <a:lnTo>
                    <a:pt x="1460343" y="1144373"/>
                  </a:lnTo>
                  <a:lnTo>
                    <a:pt x="1462415" y="1149307"/>
                  </a:lnTo>
                  <a:lnTo>
                    <a:pt x="1464488" y="1150935"/>
                  </a:lnTo>
                  <a:lnTo>
                    <a:pt x="1470754" y="1155869"/>
                  </a:lnTo>
                  <a:lnTo>
                    <a:pt x="1479092" y="1152613"/>
                  </a:lnTo>
                  <a:lnTo>
                    <a:pt x="1491576" y="1152613"/>
                  </a:lnTo>
                  <a:lnTo>
                    <a:pt x="1495769" y="1147679"/>
                  </a:lnTo>
                  <a:lnTo>
                    <a:pt x="1504059" y="1142745"/>
                  </a:lnTo>
                  <a:lnTo>
                    <a:pt x="1505983" y="1142745"/>
                  </a:lnTo>
                  <a:lnTo>
                    <a:pt x="1508055" y="1147679"/>
                  </a:lnTo>
                  <a:lnTo>
                    <a:pt x="1522611" y="1146100"/>
                  </a:lnTo>
                  <a:lnTo>
                    <a:pt x="1535143" y="1154143"/>
                  </a:lnTo>
                  <a:lnTo>
                    <a:pt x="1541360" y="1155771"/>
                  </a:lnTo>
                  <a:lnTo>
                    <a:pt x="1545554" y="1160705"/>
                  </a:lnTo>
                  <a:lnTo>
                    <a:pt x="1549698" y="1157448"/>
                  </a:lnTo>
                  <a:lnTo>
                    <a:pt x="1562182" y="1155869"/>
                  </a:lnTo>
                  <a:lnTo>
                    <a:pt x="1566375" y="1160803"/>
                  </a:lnTo>
                  <a:lnTo>
                    <a:pt x="1570520" y="1159175"/>
                  </a:lnTo>
                  <a:lnTo>
                    <a:pt x="1568448" y="1152712"/>
                  </a:lnTo>
                  <a:lnTo>
                    <a:pt x="1564303" y="1147778"/>
                  </a:lnTo>
                  <a:lnTo>
                    <a:pt x="1562182" y="1137910"/>
                  </a:lnTo>
                  <a:lnTo>
                    <a:pt x="1564303" y="1136281"/>
                  </a:lnTo>
                  <a:lnTo>
                    <a:pt x="1568448" y="1136281"/>
                  </a:lnTo>
                  <a:lnTo>
                    <a:pt x="1572642" y="1146149"/>
                  </a:lnTo>
                  <a:lnTo>
                    <a:pt x="1574665" y="1154192"/>
                  </a:lnTo>
                  <a:lnTo>
                    <a:pt x="1583053" y="1165491"/>
                  </a:lnTo>
                  <a:lnTo>
                    <a:pt x="1589269" y="1168698"/>
                  </a:lnTo>
                  <a:lnTo>
                    <a:pt x="1591391" y="1175162"/>
                  </a:lnTo>
                  <a:lnTo>
                    <a:pt x="1591391" y="1162284"/>
                  </a:lnTo>
                  <a:lnTo>
                    <a:pt x="1587197" y="1157350"/>
                  </a:lnTo>
                  <a:lnTo>
                    <a:pt x="1578859" y="1154143"/>
                  </a:lnTo>
                  <a:lnTo>
                    <a:pt x="1576786" y="1146100"/>
                  </a:lnTo>
                  <a:lnTo>
                    <a:pt x="1572642" y="1133173"/>
                  </a:lnTo>
                  <a:lnTo>
                    <a:pt x="1574665" y="1128239"/>
                  </a:lnTo>
                  <a:lnTo>
                    <a:pt x="1576786" y="1129867"/>
                  </a:lnTo>
                  <a:lnTo>
                    <a:pt x="1576786" y="1133074"/>
                  </a:lnTo>
                  <a:lnTo>
                    <a:pt x="1580980" y="1136281"/>
                  </a:lnTo>
                  <a:lnTo>
                    <a:pt x="1583053" y="1133074"/>
                  </a:lnTo>
                  <a:lnTo>
                    <a:pt x="1583053" y="1129867"/>
                  </a:lnTo>
                  <a:lnTo>
                    <a:pt x="1580980" y="1123404"/>
                  </a:lnTo>
                  <a:lnTo>
                    <a:pt x="1583053" y="1120147"/>
                  </a:lnTo>
                  <a:lnTo>
                    <a:pt x="1580980" y="1116940"/>
                  </a:lnTo>
                  <a:lnTo>
                    <a:pt x="1583053" y="1113733"/>
                  </a:lnTo>
                  <a:lnTo>
                    <a:pt x="1587197" y="1113733"/>
                  </a:lnTo>
                  <a:lnTo>
                    <a:pt x="1591391" y="1118667"/>
                  </a:lnTo>
                  <a:lnTo>
                    <a:pt x="1591391" y="1121874"/>
                  </a:lnTo>
                  <a:lnTo>
                    <a:pt x="1595536" y="1123502"/>
                  </a:lnTo>
                  <a:lnTo>
                    <a:pt x="1595536" y="1121874"/>
                  </a:lnTo>
                  <a:lnTo>
                    <a:pt x="1603874" y="1118667"/>
                  </a:lnTo>
                  <a:lnTo>
                    <a:pt x="1605947" y="1112203"/>
                  </a:lnTo>
                  <a:lnTo>
                    <a:pt x="1612213" y="1112203"/>
                  </a:lnTo>
                  <a:lnTo>
                    <a:pt x="1616357" y="1117137"/>
                  </a:lnTo>
                  <a:lnTo>
                    <a:pt x="1612213" y="1120344"/>
                  </a:lnTo>
                  <a:lnTo>
                    <a:pt x="1612213" y="1123601"/>
                  </a:lnTo>
                  <a:lnTo>
                    <a:pt x="1614532" y="1119999"/>
                  </a:lnTo>
                  <a:lnTo>
                    <a:pt x="1618676" y="1118420"/>
                  </a:lnTo>
                  <a:lnTo>
                    <a:pt x="1624942" y="1123354"/>
                  </a:lnTo>
                  <a:lnTo>
                    <a:pt x="1622870" y="1129818"/>
                  </a:lnTo>
                  <a:lnTo>
                    <a:pt x="1620749" y="1134752"/>
                  </a:lnTo>
                  <a:lnTo>
                    <a:pt x="1624942" y="1137959"/>
                  </a:lnTo>
                  <a:lnTo>
                    <a:pt x="1631159" y="1136331"/>
                  </a:lnTo>
                  <a:lnTo>
                    <a:pt x="1635353" y="1139587"/>
                  </a:lnTo>
                  <a:lnTo>
                    <a:pt x="1633281" y="1144521"/>
                  </a:lnTo>
                  <a:lnTo>
                    <a:pt x="1624942" y="1147728"/>
                  </a:lnTo>
                  <a:lnTo>
                    <a:pt x="1624942" y="1149357"/>
                  </a:lnTo>
                  <a:lnTo>
                    <a:pt x="1629137" y="1150985"/>
                  </a:lnTo>
                  <a:lnTo>
                    <a:pt x="1637426" y="1146051"/>
                  </a:lnTo>
                  <a:lnTo>
                    <a:pt x="1641570" y="1141117"/>
                  </a:lnTo>
                  <a:lnTo>
                    <a:pt x="1649958" y="1137910"/>
                  </a:lnTo>
                  <a:lnTo>
                    <a:pt x="1658247" y="1139538"/>
                  </a:lnTo>
                  <a:lnTo>
                    <a:pt x="1658247" y="1141117"/>
                  </a:lnTo>
                  <a:lnTo>
                    <a:pt x="1651981" y="1142745"/>
                  </a:lnTo>
                  <a:lnTo>
                    <a:pt x="1647836" y="1146001"/>
                  </a:lnTo>
                  <a:lnTo>
                    <a:pt x="1647836" y="1154044"/>
                  </a:lnTo>
                  <a:lnTo>
                    <a:pt x="1637426" y="1158978"/>
                  </a:lnTo>
                  <a:lnTo>
                    <a:pt x="1635353" y="1162234"/>
                  </a:lnTo>
                  <a:lnTo>
                    <a:pt x="1624942" y="1172102"/>
                  </a:lnTo>
                  <a:lnTo>
                    <a:pt x="1624942" y="1175310"/>
                  </a:lnTo>
                  <a:lnTo>
                    <a:pt x="1622870" y="1178566"/>
                  </a:lnTo>
                  <a:lnTo>
                    <a:pt x="1620749" y="1173632"/>
                  </a:lnTo>
                  <a:lnTo>
                    <a:pt x="1616604" y="1178566"/>
                  </a:lnTo>
                  <a:lnTo>
                    <a:pt x="1614532" y="1189865"/>
                  </a:lnTo>
                  <a:lnTo>
                    <a:pt x="1614532" y="1193072"/>
                  </a:lnTo>
                  <a:lnTo>
                    <a:pt x="1620749" y="1189865"/>
                  </a:lnTo>
                  <a:lnTo>
                    <a:pt x="1624942" y="1189865"/>
                  </a:lnTo>
                  <a:lnTo>
                    <a:pt x="1624942" y="1196279"/>
                  </a:lnTo>
                  <a:lnTo>
                    <a:pt x="1616604" y="1201213"/>
                  </a:lnTo>
                  <a:lnTo>
                    <a:pt x="1616604" y="1203878"/>
                  </a:lnTo>
                  <a:lnTo>
                    <a:pt x="1624942" y="1200621"/>
                  </a:lnTo>
                  <a:lnTo>
                    <a:pt x="1631159" y="1197414"/>
                  </a:lnTo>
                  <a:lnTo>
                    <a:pt x="1635353" y="1197414"/>
                  </a:lnTo>
                  <a:lnTo>
                    <a:pt x="1631159" y="1203878"/>
                  </a:lnTo>
                  <a:lnTo>
                    <a:pt x="1627015" y="1207085"/>
                  </a:lnTo>
                  <a:lnTo>
                    <a:pt x="1631159" y="1208713"/>
                  </a:lnTo>
                  <a:lnTo>
                    <a:pt x="1635353" y="1205506"/>
                  </a:lnTo>
                  <a:lnTo>
                    <a:pt x="1633281" y="1213548"/>
                  </a:lnTo>
                  <a:lnTo>
                    <a:pt x="1633281" y="1218482"/>
                  </a:lnTo>
                  <a:lnTo>
                    <a:pt x="1627015" y="1223416"/>
                  </a:lnTo>
                  <a:lnTo>
                    <a:pt x="1618676" y="1220209"/>
                  </a:lnTo>
                  <a:lnTo>
                    <a:pt x="1616604" y="1213746"/>
                  </a:lnTo>
                  <a:lnTo>
                    <a:pt x="1608265" y="1218680"/>
                  </a:lnTo>
                  <a:lnTo>
                    <a:pt x="1604121" y="1208812"/>
                  </a:lnTo>
                  <a:lnTo>
                    <a:pt x="1602048" y="1210440"/>
                  </a:lnTo>
                  <a:lnTo>
                    <a:pt x="1599927" y="1218482"/>
                  </a:lnTo>
                  <a:lnTo>
                    <a:pt x="1604121" y="1223416"/>
                  </a:lnTo>
                  <a:lnTo>
                    <a:pt x="1606193" y="1231508"/>
                  </a:lnTo>
                  <a:lnTo>
                    <a:pt x="1604121" y="1246014"/>
                  </a:lnTo>
                  <a:lnTo>
                    <a:pt x="1610338" y="1233087"/>
                  </a:lnTo>
                  <a:lnTo>
                    <a:pt x="1608265" y="1223219"/>
                  </a:lnTo>
                  <a:lnTo>
                    <a:pt x="1612460" y="1220012"/>
                  </a:lnTo>
                  <a:lnTo>
                    <a:pt x="1616604" y="1223219"/>
                  </a:lnTo>
                  <a:lnTo>
                    <a:pt x="1624942" y="1224847"/>
                  </a:lnTo>
                  <a:lnTo>
                    <a:pt x="1631159" y="1228054"/>
                  </a:lnTo>
                  <a:lnTo>
                    <a:pt x="1635353" y="1224847"/>
                  </a:lnTo>
                  <a:lnTo>
                    <a:pt x="1637426" y="1218384"/>
                  </a:lnTo>
                  <a:lnTo>
                    <a:pt x="1645764" y="1215177"/>
                  </a:lnTo>
                  <a:lnTo>
                    <a:pt x="1651981" y="1208713"/>
                  </a:lnTo>
                  <a:lnTo>
                    <a:pt x="1660369" y="1208713"/>
                  </a:lnTo>
                  <a:lnTo>
                    <a:pt x="1664514" y="1203779"/>
                  </a:lnTo>
                  <a:lnTo>
                    <a:pt x="1658247" y="1206986"/>
                  </a:lnTo>
                  <a:lnTo>
                    <a:pt x="1651981" y="1205407"/>
                  </a:lnTo>
                  <a:lnTo>
                    <a:pt x="1647836" y="1210341"/>
                  </a:lnTo>
                  <a:lnTo>
                    <a:pt x="1643692" y="1211920"/>
                  </a:lnTo>
                  <a:lnTo>
                    <a:pt x="1641570" y="1211920"/>
                  </a:lnTo>
                  <a:lnTo>
                    <a:pt x="1643692" y="1205506"/>
                  </a:lnTo>
                  <a:lnTo>
                    <a:pt x="1647836" y="1202249"/>
                  </a:lnTo>
                  <a:lnTo>
                    <a:pt x="1645764" y="1199042"/>
                  </a:lnTo>
                  <a:lnTo>
                    <a:pt x="1645764" y="1194108"/>
                  </a:lnTo>
                  <a:lnTo>
                    <a:pt x="1649958" y="1186016"/>
                  </a:lnTo>
                  <a:lnTo>
                    <a:pt x="1649958" y="1181082"/>
                  </a:lnTo>
                  <a:lnTo>
                    <a:pt x="1645764" y="1177875"/>
                  </a:lnTo>
                  <a:lnTo>
                    <a:pt x="1647836" y="1174619"/>
                  </a:lnTo>
                  <a:lnTo>
                    <a:pt x="1654103" y="1166576"/>
                  </a:lnTo>
                  <a:lnTo>
                    <a:pt x="1658247" y="1158484"/>
                  </a:lnTo>
                  <a:lnTo>
                    <a:pt x="1664514" y="1153550"/>
                  </a:lnTo>
                  <a:lnTo>
                    <a:pt x="1666586" y="1156758"/>
                  </a:lnTo>
                  <a:lnTo>
                    <a:pt x="1664514" y="1158386"/>
                  </a:lnTo>
                  <a:lnTo>
                    <a:pt x="1668806" y="1158386"/>
                  </a:lnTo>
                  <a:lnTo>
                    <a:pt x="1673000" y="1153452"/>
                  </a:lnTo>
                  <a:lnTo>
                    <a:pt x="1675072" y="1155080"/>
                  </a:lnTo>
                  <a:lnTo>
                    <a:pt x="1677145" y="1155080"/>
                  </a:lnTo>
                  <a:lnTo>
                    <a:pt x="1679217" y="1158287"/>
                  </a:lnTo>
                  <a:lnTo>
                    <a:pt x="1685533" y="1158287"/>
                  </a:lnTo>
                  <a:lnTo>
                    <a:pt x="1689677" y="1153353"/>
                  </a:lnTo>
                  <a:lnTo>
                    <a:pt x="1706354" y="1146890"/>
                  </a:lnTo>
                  <a:lnTo>
                    <a:pt x="1710499" y="1141956"/>
                  </a:lnTo>
                  <a:lnTo>
                    <a:pt x="1710499" y="1138748"/>
                  </a:lnTo>
                  <a:lnTo>
                    <a:pt x="1714643" y="1137120"/>
                  </a:lnTo>
                  <a:lnTo>
                    <a:pt x="1720909" y="1130657"/>
                  </a:lnTo>
                  <a:lnTo>
                    <a:pt x="1731320" y="1130657"/>
                  </a:lnTo>
                  <a:lnTo>
                    <a:pt x="1735465" y="1125723"/>
                  </a:lnTo>
                  <a:lnTo>
                    <a:pt x="1735465" y="1120788"/>
                  </a:lnTo>
                  <a:lnTo>
                    <a:pt x="1737587" y="1112746"/>
                  </a:lnTo>
                  <a:lnTo>
                    <a:pt x="1741731" y="1106282"/>
                  </a:lnTo>
                  <a:lnTo>
                    <a:pt x="1743803" y="1099819"/>
                  </a:lnTo>
                  <a:lnTo>
                    <a:pt x="1741731" y="1096612"/>
                  </a:lnTo>
                  <a:lnTo>
                    <a:pt x="1737587" y="1099819"/>
                  </a:lnTo>
                  <a:lnTo>
                    <a:pt x="1731320" y="1101447"/>
                  </a:lnTo>
                  <a:lnTo>
                    <a:pt x="1733393" y="1103026"/>
                  </a:lnTo>
                  <a:lnTo>
                    <a:pt x="1729248" y="1107960"/>
                  </a:lnTo>
                  <a:lnTo>
                    <a:pt x="1722982" y="1109588"/>
                  </a:lnTo>
                  <a:lnTo>
                    <a:pt x="1718837" y="1107960"/>
                  </a:lnTo>
                  <a:lnTo>
                    <a:pt x="1714643" y="1107960"/>
                  </a:lnTo>
                  <a:lnTo>
                    <a:pt x="1712571" y="1104753"/>
                  </a:lnTo>
                  <a:lnTo>
                    <a:pt x="1716765" y="1096710"/>
                  </a:lnTo>
                  <a:lnTo>
                    <a:pt x="1720909" y="1096710"/>
                  </a:lnTo>
                  <a:lnTo>
                    <a:pt x="1725054" y="1091776"/>
                  </a:lnTo>
                  <a:lnTo>
                    <a:pt x="1735465" y="1088569"/>
                  </a:lnTo>
                  <a:lnTo>
                    <a:pt x="1735465" y="1085362"/>
                  </a:lnTo>
                  <a:lnTo>
                    <a:pt x="1731320" y="1082106"/>
                  </a:lnTo>
                  <a:lnTo>
                    <a:pt x="1737587" y="1075642"/>
                  </a:lnTo>
                  <a:lnTo>
                    <a:pt x="1745876" y="1074063"/>
                  </a:lnTo>
                  <a:lnTo>
                    <a:pt x="1754214" y="1075642"/>
                  </a:lnTo>
                  <a:lnTo>
                    <a:pt x="1747997" y="1078899"/>
                  </a:lnTo>
                  <a:lnTo>
                    <a:pt x="1747997" y="1085362"/>
                  </a:lnTo>
                  <a:lnTo>
                    <a:pt x="1750070" y="1086941"/>
                  </a:lnTo>
                  <a:lnTo>
                    <a:pt x="1756286" y="1083734"/>
                  </a:lnTo>
                  <a:lnTo>
                    <a:pt x="1762553" y="1073126"/>
                  </a:lnTo>
                  <a:lnTo>
                    <a:pt x="1762553" y="1068192"/>
                  </a:lnTo>
                  <a:lnTo>
                    <a:pt x="1756286" y="1066563"/>
                  </a:lnTo>
                  <a:lnTo>
                    <a:pt x="1750070" y="1066563"/>
                  </a:lnTo>
                  <a:lnTo>
                    <a:pt x="1745876" y="1063356"/>
                  </a:lnTo>
                  <a:lnTo>
                    <a:pt x="1735465" y="1061728"/>
                  </a:lnTo>
                  <a:lnTo>
                    <a:pt x="1731320" y="1053686"/>
                  </a:lnTo>
                  <a:lnTo>
                    <a:pt x="1733393" y="1045594"/>
                  </a:lnTo>
                  <a:lnTo>
                    <a:pt x="1727176" y="1052057"/>
                  </a:lnTo>
                  <a:lnTo>
                    <a:pt x="1722982" y="1052057"/>
                  </a:lnTo>
                  <a:lnTo>
                    <a:pt x="1720909" y="1047123"/>
                  </a:lnTo>
                  <a:lnTo>
                    <a:pt x="1714643" y="1043867"/>
                  </a:lnTo>
                  <a:lnTo>
                    <a:pt x="1712571" y="1035824"/>
                  </a:lnTo>
                  <a:lnTo>
                    <a:pt x="1704232" y="1035824"/>
                  </a:lnTo>
                  <a:lnTo>
                    <a:pt x="1702160" y="1030890"/>
                  </a:lnTo>
                  <a:lnTo>
                    <a:pt x="1700088" y="1027634"/>
                  </a:lnTo>
                  <a:lnTo>
                    <a:pt x="1704232" y="1022700"/>
                  </a:lnTo>
                  <a:lnTo>
                    <a:pt x="1702160" y="1017766"/>
                  </a:lnTo>
                  <a:lnTo>
                    <a:pt x="1700088" y="1012832"/>
                  </a:lnTo>
                  <a:lnTo>
                    <a:pt x="1702160" y="996697"/>
                  </a:lnTo>
                  <a:lnTo>
                    <a:pt x="1706354" y="991763"/>
                  </a:lnTo>
                  <a:lnTo>
                    <a:pt x="1718837" y="981895"/>
                  </a:lnTo>
                  <a:lnTo>
                    <a:pt x="1725054" y="980267"/>
                  </a:lnTo>
                  <a:lnTo>
                    <a:pt x="1731320" y="980267"/>
                  </a:lnTo>
                  <a:lnTo>
                    <a:pt x="1731320" y="978639"/>
                  </a:lnTo>
                  <a:lnTo>
                    <a:pt x="1737587" y="973705"/>
                  </a:lnTo>
                  <a:lnTo>
                    <a:pt x="1737587" y="970498"/>
                  </a:lnTo>
                  <a:lnTo>
                    <a:pt x="1733393" y="970498"/>
                  </a:lnTo>
                  <a:lnTo>
                    <a:pt x="1729248" y="973705"/>
                  </a:lnTo>
                  <a:lnTo>
                    <a:pt x="1725054" y="972077"/>
                  </a:lnTo>
                  <a:lnTo>
                    <a:pt x="1725054" y="968869"/>
                  </a:lnTo>
                  <a:lnTo>
                    <a:pt x="1722982" y="962406"/>
                  </a:lnTo>
                  <a:lnTo>
                    <a:pt x="1722982" y="957176"/>
                  </a:lnTo>
                  <a:lnTo>
                    <a:pt x="1731320" y="947308"/>
                  </a:lnTo>
                  <a:lnTo>
                    <a:pt x="1737587" y="937440"/>
                  </a:lnTo>
                  <a:lnTo>
                    <a:pt x="1741731" y="935811"/>
                  </a:lnTo>
                  <a:lnTo>
                    <a:pt x="1747997" y="927769"/>
                  </a:lnTo>
                  <a:lnTo>
                    <a:pt x="1752142" y="927769"/>
                  </a:lnTo>
                  <a:lnTo>
                    <a:pt x="1756286" y="919677"/>
                  </a:lnTo>
                  <a:lnTo>
                    <a:pt x="1766697" y="916470"/>
                  </a:lnTo>
                  <a:lnTo>
                    <a:pt x="1770891" y="921404"/>
                  </a:lnTo>
                  <a:lnTo>
                    <a:pt x="1768819" y="927868"/>
                  </a:lnTo>
                  <a:lnTo>
                    <a:pt x="1772963" y="931075"/>
                  </a:lnTo>
                  <a:lnTo>
                    <a:pt x="1770891" y="934331"/>
                  </a:lnTo>
                  <a:lnTo>
                    <a:pt x="1777108" y="931075"/>
                  </a:lnTo>
                  <a:lnTo>
                    <a:pt x="1779230" y="927868"/>
                  </a:lnTo>
                  <a:lnTo>
                    <a:pt x="1787519" y="916569"/>
                  </a:lnTo>
                  <a:lnTo>
                    <a:pt x="1787519" y="914941"/>
                  </a:lnTo>
                  <a:lnTo>
                    <a:pt x="1781302" y="913312"/>
                  </a:lnTo>
                  <a:lnTo>
                    <a:pt x="1775085" y="911733"/>
                  </a:lnTo>
                  <a:lnTo>
                    <a:pt x="1770891" y="905270"/>
                  </a:lnTo>
                  <a:lnTo>
                    <a:pt x="1777108" y="900336"/>
                  </a:lnTo>
                  <a:lnTo>
                    <a:pt x="1787223" y="900336"/>
                  </a:lnTo>
                  <a:lnTo>
                    <a:pt x="1789345" y="897079"/>
                  </a:lnTo>
                  <a:lnTo>
                    <a:pt x="1799755" y="892145"/>
                  </a:lnTo>
                  <a:lnTo>
                    <a:pt x="1797634" y="887211"/>
                  </a:lnTo>
                  <a:lnTo>
                    <a:pt x="1803949" y="884004"/>
                  </a:lnTo>
                  <a:lnTo>
                    <a:pt x="1812239" y="887211"/>
                  </a:lnTo>
                  <a:lnTo>
                    <a:pt x="1822649" y="888839"/>
                  </a:lnTo>
                  <a:lnTo>
                    <a:pt x="1824771" y="895303"/>
                  </a:lnTo>
                  <a:lnTo>
                    <a:pt x="1822649" y="896882"/>
                  </a:lnTo>
                  <a:lnTo>
                    <a:pt x="1826843" y="898510"/>
                  </a:lnTo>
                  <a:lnTo>
                    <a:pt x="1833060" y="903444"/>
                  </a:lnTo>
                  <a:lnTo>
                    <a:pt x="1839326" y="906701"/>
                  </a:lnTo>
                  <a:lnTo>
                    <a:pt x="1835182" y="913115"/>
                  </a:lnTo>
                  <a:lnTo>
                    <a:pt x="1833060" y="914743"/>
                  </a:lnTo>
                  <a:lnTo>
                    <a:pt x="1833060" y="924611"/>
                  </a:lnTo>
                  <a:lnTo>
                    <a:pt x="1839326" y="929545"/>
                  </a:lnTo>
                  <a:lnTo>
                    <a:pt x="1841448" y="934479"/>
                  </a:lnTo>
                  <a:lnTo>
                    <a:pt x="1839326" y="945729"/>
                  </a:lnTo>
                  <a:lnTo>
                    <a:pt x="1843471" y="947357"/>
                  </a:lnTo>
                  <a:lnTo>
                    <a:pt x="1843471" y="950614"/>
                  </a:lnTo>
                  <a:lnTo>
                    <a:pt x="1839326" y="957028"/>
                  </a:lnTo>
                  <a:lnTo>
                    <a:pt x="1839326" y="961962"/>
                  </a:lnTo>
                  <a:lnTo>
                    <a:pt x="1833060" y="968425"/>
                  </a:lnTo>
                  <a:lnTo>
                    <a:pt x="1833060" y="976517"/>
                  </a:lnTo>
                  <a:lnTo>
                    <a:pt x="1828916" y="978146"/>
                  </a:lnTo>
                  <a:lnTo>
                    <a:pt x="1833060" y="984560"/>
                  </a:lnTo>
                  <a:lnTo>
                    <a:pt x="1828916" y="989494"/>
                  </a:lnTo>
                  <a:lnTo>
                    <a:pt x="1837254" y="997586"/>
                  </a:lnTo>
                  <a:lnTo>
                    <a:pt x="1837254" y="1002520"/>
                  </a:lnTo>
                  <a:lnTo>
                    <a:pt x="1835182" y="1004148"/>
                  </a:lnTo>
                  <a:lnTo>
                    <a:pt x="1837254" y="1010611"/>
                  </a:lnTo>
                  <a:lnTo>
                    <a:pt x="1835182" y="1015545"/>
                  </a:lnTo>
                  <a:lnTo>
                    <a:pt x="1835182" y="1020480"/>
                  </a:lnTo>
                  <a:lnTo>
                    <a:pt x="1839326" y="1022108"/>
                  </a:lnTo>
                  <a:lnTo>
                    <a:pt x="1843471" y="1027042"/>
                  </a:lnTo>
                  <a:lnTo>
                    <a:pt x="1843471" y="1031976"/>
                  </a:lnTo>
                  <a:lnTo>
                    <a:pt x="1839326" y="1036910"/>
                  </a:lnTo>
                  <a:lnTo>
                    <a:pt x="1833060" y="1033653"/>
                  </a:lnTo>
                  <a:lnTo>
                    <a:pt x="1826843" y="1035282"/>
                  </a:lnTo>
                  <a:lnTo>
                    <a:pt x="1824771" y="1028818"/>
                  </a:lnTo>
                  <a:lnTo>
                    <a:pt x="1826843" y="1022404"/>
                  </a:lnTo>
                  <a:lnTo>
                    <a:pt x="1818505" y="1025611"/>
                  </a:lnTo>
                  <a:lnTo>
                    <a:pt x="1814360" y="1032074"/>
                  </a:lnTo>
                  <a:lnTo>
                    <a:pt x="1808094" y="1035282"/>
                  </a:lnTo>
                  <a:lnTo>
                    <a:pt x="1808094" y="1036120"/>
                  </a:lnTo>
                  <a:lnTo>
                    <a:pt x="1818505" y="1034492"/>
                  </a:lnTo>
                  <a:lnTo>
                    <a:pt x="1822649" y="1039426"/>
                  </a:lnTo>
                  <a:lnTo>
                    <a:pt x="1820577" y="1042683"/>
                  </a:lnTo>
                  <a:lnTo>
                    <a:pt x="1801828" y="1053982"/>
                  </a:lnTo>
                  <a:lnTo>
                    <a:pt x="1797634" y="1053982"/>
                  </a:lnTo>
                  <a:lnTo>
                    <a:pt x="1795611" y="1057189"/>
                  </a:lnTo>
                  <a:lnTo>
                    <a:pt x="1791417" y="1058817"/>
                  </a:lnTo>
                  <a:lnTo>
                    <a:pt x="1789345" y="1065231"/>
                  </a:lnTo>
                  <a:lnTo>
                    <a:pt x="1793539" y="1068488"/>
                  </a:lnTo>
                  <a:lnTo>
                    <a:pt x="1799755" y="1066859"/>
                  </a:lnTo>
                  <a:lnTo>
                    <a:pt x="1803949" y="1068488"/>
                  </a:lnTo>
                  <a:lnTo>
                    <a:pt x="1806022" y="1074951"/>
                  </a:lnTo>
                  <a:lnTo>
                    <a:pt x="1812239" y="1079885"/>
                  </a:lnTo>
                  <a:lnTo>
                    <a:pt x="1820577" y="1076629"/>
                  </a:lnTo>
                  <a:lnTo>
                    <a:pt x="1822649" y="1073422"/>
                  </a:lnTo>
                  <a:lnTo>
                    <a:pt x="1828916" y="1071793"/>
                  </a:lnTo>
                  <a:lnTo>
                    <a:pt x="1830988" y="1073422"/>
                  </a:lnTo>
                  <a:lnTo>
                    <a:pt x="1826843" y="1076629"/>
                  </a:lnTo>
                  <a:lnTo>
                    <a:pt x="1826843" y="1078257"/>
                  </a:lnTo>
                  <a:lnTo>
                    <a:pt x="1833060" y="1079885"/>
                  </a:lnTo>
                  <a:lnTo>
                    <a:pt x="1837254" y="1084819"/>
                  </a:lnTo>
                  <a:lnTo>
                    <a:pt x="1843471" y="1079885"/>
                  </a:lnTo>
                  <a:lnTo>
                    <a:pt x="1849737" y="1083092"/>
                  </a:lnTo>
                  <a:lnTo>
                    <a:pt x="1843471" y="1086349"/>
                  </a:lnTo>
                  <a:lnTo>
                    <a:pt x="1837254" y="1087928"/>
                  </a:lnTo>
                  <a:lnTo>
                    <a:pt x="1830988" y="1094391"/>
                  </a:lnTo>
                  <a:lnTo>
                    <a:pt x="1826843" y="1096020"/>
                  </a:lnTo>
                  <a:lnTo>
                    <a:pt x="1826843" y="1089556"/>
                  </a:lnTo>
                  <a:lnTo>
                    <a:pt x="1822649" y="1089556"/>
                  </a:lnTo>
                  <a:lnTo>
                    <a:pt x="1820577" y="1087928"/>
                  </a:lnTo>
                  <a:lnTo>
                    <a:pt x="1820577" y="1091184"/>
                  </a:lnTo>
                  <a:lnTo>
                    <a:pt x="1824771" y="1096118"/>
                  </a:lnTo>
                  <a:lnTo>
                    <a:pt x="1824771" y="1101052"/>
                  </a:lnTo>
                  <a:lnTo>
                    <a:pt x="1830988" y="1110920"/>
                  </a:lnTo>
                  <a:lnTo>
                    <a:pt x="1828916" y="1117384"/>
                  </a:lnTo>
                  <a:lnTo>
                    <a:pt x="1830988" y="1119012"/>
                  </a:lnTo>
                  <a:lnTo>
                    <a:pt x="1828916" y="1125427"/>
                  </a:lnTo>
                  <a:lnTo>
                    <a:pt x="1824771" y="1128683"/>
                  </a:lnTo>
                  <a:lnTo>
                    <a:pt x="1824771" y="1133617"/>
                  </a:lnTo>
                  <a:lnTo>
                    <a:pt x="1822649" y="1140081"/>
                  </a:lnTo>
                  <a:lnTo>
                    <a:pt x="1816432" y="1148123"/>
                  </a:lnTo>
                  <a:lnTo>
                    <a:pt x="1818505" y="1151379"/>
                  </a:lnTo>
                  <a:lnTo>
                    <a:pt x="1818505" y="1157794"/>
                  </a:lnTo>
                  <a:lnTo>
                    <a:pt x="1814360" y="1159422"/>
                  </a:lnTo>
                  <a:lnTo>
                    <a:pt x="1814360" y="1164356"/>
                  </a:lnTo>
                  <a:lnTo>
                    <a:pt x="1818505" y="1164356"/>
                  </a:lnTo>
                  <a:lnTo>
                    <a:pt x="1824771" y="1157892"/>
                  </a:lnTo>
                  <a:lnTo>
                    <a:pt x="1826843" y="1152958"/>
                  </a:lnTo>
                  <a:lnTo>
                    <a:pt x="1837254" y="1149751"/>
                  </a:lnTo>
                  <a:lnTo>
                    <a:pt x="1839326" y="1146544"/>
                  </a:lnTo>
                  <a:lnTo>
                    <a:pt x="1837254" y="1144916"/>
                  </a:lnTo>
                  <a:lnTo>
                    <a:pt x="1841448" y="1141660"/>
                  </a:lnTo>
                  <a:lnTo>
                    <a:pt x="1845593" y="1143288"/>
                  </a:lnTo>
                  <a:lnTo>
                    <a:pt x="1849737" y="1141660"/>
                  </a:lnTo>
                  <a:lnTo>
                    <a:pt x="1849737" y="1123946"/>
                  </a:lnTo>
                  <a:lnTo>
                    <a:pt x="1860148" y="1117483"/>
                  </a:lnTo>
                  <a:lnTo>
                    <a:pt x="1868486" y="1106184"/>
                  </a:lnTo>
                  <a:lnTo>
                    <a:pt x="1870559" y="1101250"/>
                  </a:lnTo>
                  <a:lnTo>
                    <a:pt x="1872680" y="1099621"/>
                  </a:lnTo>
                  <a:lnTo>
                    <a:pt x="1876825" y="1102878"/>
                  </a:lnTo>
                  <a:lnTo>
                    <a:pt x="1876825" y="1107812"/>
                  </a:lnTo>
                  <a:lnTo>
                    <a:pt x="1883091" y="1119111"/>
                  </a:lnTo>
                  <a:lnTo>
                    <a:pt x="1885163" y="1127153"/>
                  </a:lnTo>
                  <a:lnTo>
                    <a:pt x="1891380" y="1133617"/>
                  </a:lnTo>
                  <a:lnTo>
                    <a:pt x="1891380" y="1140081"/>
                  </a:lnTo>
                  <a:lnTo>
                    <a:pt x="1889308" y="1146544"/>
                  </a:lnTo>
                  <a:lnTo>
                    <a:pt x="1891380" y="1159422"/>
                  </a:lnTo>
                  <a:lnTo>
                    <a:pt x="1887236" y="1164356"/>
                  </a:lnTo>
                  <a:lnTo>
                    <a:pt x="1880970" y="1167612"/>
                  </a:lnTo>
                  <a:lnTo>
                    <a:pt x="1876825" y="1164356"/>
                  </a:lnTo>
                  <a:lnTo>
                    <a:pt x="1872680" y="1167612"/>
                  </a:lnTo>
                  <a:lnTo>
                    <a:pt x="1870559" y="1172546"/>
                  </a:lnTo>
                  <a:lnTo>
                    <a:pt x="1870559" y="1179010"/>
                  </a:lnTo>
                  <a:lnTo>
                    <a:pt x="1866414" y="1183944"/>
                  </a:lnTo>
                  <a:lnTo>
                    <a:pt x="1862270" y="1191987"/>
                  </a:lnTo>
                  <a:lnTo>
                    <a:pt x="1866414" y="1196921"/>
                  </a:lnTo>
                  <a:lnTo>
                    <a:pt x="1866414" y="1206789"/>
                  </a:lnTo>
                  <a:lnTo>
                    <a:pt x="1870559" y="1227758"/>
                  </a:lnTo>
                  <a:lnTo>
                    <a:pt x="1876825" y="1237626"/>
                  </a:lnTo>
                  <a:lnTo>
                    <a:pt x="1874753" y="1244090"/>
                  </a:lnTo>
                  <a:lnTo>
                    <a:pt x="1880970" y="1247297"/>
                  </a:lnTo>
                  <a:lnTo>
                    <a:pt x="1885163" y="1247297"/>
                  </a:lnTo>
                  <a:lnTo>
                    <a:pt x="1885163" y="1240833"/>
                  </a:lnTo>
                  <a:lnTo>
                    <a:pt x="1880970" y="1237626"/>
                  </a:lnTo>
                  <a:lnTo>
                    <a:pt x="1887236" y="1234370"/>
                  </a:lnTo>
                  <a:lnTo>
                    <a:pt x="1891380" y="1232791"/>
                  </a:lnTo>
                  <a:lnTo>
                    <a:pt x="1895574" y="1240833"/>
                  </a:lnTo>
                  <a:lnTo>
                    <a:pt x="1899719" y="1239205"/>
                  </a:lnTo>
                  <a:lnTo>
                    <a:pt x="1899719" y="1232791"/>
                  </a:lnTo>
                  <a:lnTo>
                    <a:pt x="1905985" y="1227857"/>
                  </a:lnTo>
                  <a:lnTo>
                    <a:pt x="1905985" y="1217989"/>
                  </a:lnTo>
                  <a:lnTo>
                    <a:pt x="1912252" y="1216410"/>
                  </a:lnTo>
                  <a:lnTo>
                    <a:pt x="1918518" y="1208318"/>
                  </a:lnTo>
                  <a:lnTo>
                    <a:pt x="1922662" y="1208318"/>
                  </a:lnTo>
                  <a:lnTo>
                    <a:pt x="1924734" y="1201855"/>
                  </a:lnTo>
                  <a:lnTo>
                    <a:pt x="1939537" y="1193812"/>
                  </a:lnTo>
                  <a:lnTo>
                    <a:pt x="1947826" y="1182513"/>
                  </a:lnTo>
                  <a:lnTo>
                    <a:pt x="1954092" y="1168007"/>
                  </a:lnTo>
                  <a:lnTo>
                    <a:pt x="1960358" y="1158139"/>
                  </a:lnTo>
                  <a:lnTo>
                    <a:pt x="1966575" y="1153205"/>
                  </a:lnTo>
                  <a:lnTo>
                    <a:pt x="1970769" y="1159669"/>
                  </a:lnTo>
                  <a:lnTo>
                    <a:pt x="1974914" y="1156462"/>
                  </a:lnTo>
                  <a:lnTo>
                    <a:pt x="1979058" y="1158040"/>
                  </a:lnTo>
                  <a:lnTo>
                    <a:pt x="1987446" y="1158040"/>
                  </a:lnTo>
                  <a:lnTo>
                    <a:pt x="1987446" y="1154833"/>
                  </a:lnTo>
                  <a:lnTo>
                    <a:pt x="1983252" y="1153205"/>
                  </a:lnTo>
                  <a:lnTo>
                    <a:pt x="1976986" y="1148271"/>
                  </a:lnTo>
                  <a:lnTo>
                    <a:pt x="1979058" y="1145064"/>
                  </a:lnTo>
                  <a:lnTo>
                    <a:pt x="1987446" y="1143436"/>
                  </a:lnTo>
                  <a:lnTo>
                    <a:pt x="1991591" y="1146692"/>
                  </a:lnTo>
                  <a:lnTo>
                    <a:pt x="1993663" y="1145064"/>
                  </a:lnTo>
                  <a:lnTo>
                    <a:pt x="1999880" y="1145064"/>
                  </a:lnTo>
                  <a:lnTo>
                    <a:pt x="2002002" y="1143436"/>
                  </a:lnTo>
                  <a:lnTo>
                    <a:pt x="1999880" y="1136972"/>
                  </a:lnTo>
                  <a:lnTo>
                    <a:pt x="1995785" y="1136972"/>
                  </a:lnTo>
                  <a:lnTo>
                    <a:pt x="1991591" y="1132038"/>
                  </a:lnTo>
                  <a:lnTo>
                    <a:pt x="1989518" y="1132038"/>
                  </a:lnTo>
                  <a:lnTo>
                    <a:pt x="1989518" y="1122170"/>
                  </a:lnTo>
                  <a:lnTo>
                    <a:pt x="1993712" y="1118963"/>
                  </a:lnTo>
                  <a:lnTo>
                    <a:pt x="1993712" y="1112499"/>
                  </a:lnTo>
                  <a:lnTo>
                    <a:pt x="1999929" y="1112499"/>
                  </a:lnTo>
                  <a:lnTo>
                    <a:pt x="1995834" y="1107565"/>
                  </a:lnTo>
                  <a:lnTo>
                    <a:pt x="1995834" y="1102631"/>
                  </a:lnTo>
                  <a:lnTo>
                    <a:pt x="2002051" y="1099375"/>
                  </a:lnTo>
                  <a:lnTo>
                    <a:pt x="1999929" y="1096168"/>
                  </a:lnTo>
                  <a:lnTo>
                    <a:pt x="1997906" y="1094539"/>
                  </a:lnTo>
                  <a:lnTo>
                    <a:pt x="2006245" y="1094539"/>
                  </a:lnTo>
                  <a:lnTo>
                    <a:pt x="2008317" y="1089605"/>
                  </a:lnTo>
                  <a:lnTo>
                    <a:pt x="2002051" y="1086398"/>
                  </a:lnTo>
                  <a:lnTo>
                    <a:pt x="1999929" y="1083142"/>
                  </a:lnTo>
                  <a:lnTo>
                    <a:pt x="2008317" y="1084770"/>
                  </a:lnTo>
                  <a:lnTo>
                    <a:pt x="2010340" y="1087977"/>
                  </a:lnTo>
                  <a:lnTo>
                    <a:pt x="2016656" y="1089605"/>
                  </a:lnTo>
                  <a:lnTo>
                    <a:pt x="2020800" y="1086398"/>
                  </a:lnTo>
                  <a:lnTo>
                    <a:pt x="2031211" y="1086398"/>
                  </a:lnTo>
                  <a:lnTo>
                    <a:pt x="2041622" y="1092813"/>
                  </a:lnTo>
                  <a:lnTo>
                    <a:pt x="2043743" y="1096069"/>
                  </a:lnTo>
                  <a:lnTo>
                    <a:pt x="2045766" y="1101003"/>
                  </a:lnTo>
                  <a:lnTo>
                    <a:pt x="2060569" y="1105937"/>
                  </a:lnTo>
                  <a:lnTo>
                    <a:pt x="2066785" y="1102730"/>
                  </a:lnTo>
                  <a:lnTo>
                    <a:pt x="2073052" y="1107664"/>
                  </a:lnTo>
                  <a:lnTo>
                    <a:pt x="2081390" y="1110871"/>
                  </a:lnTo>
                  <a:lnTo>
                    <a:pt x="2081390" y="1114128"/>
                  </a:lnTo>
                  <a:lnTo>
                    <a:pt x="2077246" y="1115706"/>
                  </a:lnTo>
                  <a:lnTo>
                    <a:pt x="2081390" y="1118963"/>
                  </a:lnTo>
                  <a:lnTo>
                    <a:pt x="2077246" y="1122170"/>
                  </a:lnTo>
                  <a:lnTo>
                    <a:pt x="2073052" y="1117236"/>
                  </a:lnTo>
                  <a:lnTo>
                    <a:pt x="2068463" y="1117236"/>
                  </a:lnTo>
                  <a:lnTo>
                    <a:pt x="2068463" y="1119999"/>
                  </a:lnTo>
                  <a:lnTo>
                    <a:pt x="2083265" y="1128091"/>
                  </a:lnTo>
                  <a:lnTo>
                    <a:pt x="2085387" y="1134554"/>
                  </a:lnTo>
                  <a:lnTo>
                    <a:pt x="2079120" y="1136133"/>
                  </a:lnTo>
                  <a:lnTo>
                    <a:pt x="2081193" y="1137762"/>
                  </a:lnTo>
                  <a:lnTo>
                    <a:pt x="2087459" y="1136133"/>
                  </a:lnTo>
                  <a:lnTo>
                    <a:pt x="2099942" y="1139390"/>
                  </a:lnTo>
                  <a:lnTo>
                    <a:pt x="2102014" y="1142597"/>
                  </a:lnTo>
                  <a:lnTo>
                    <a:pt x="2106208" y="1144225"/>
                  </a:lnTo>
                  <a:lnTo>
                    <a:pt x="2106208" y="1145853"/>
                  </a:lnTo>
                  <a:lnTo>
                    <a:pt x="2102014" y="1152268"/>
                  </a:lnTo>
                  <a:lnTo>
                    <a:pt x="2091604" y="1160359"/>
                  </a:lnTo>
                  <a:lnTo>
                    <a:pt x="2083265" y="1160359"/>
                  </a:lnTo>
                  <a:lnTo>
                    <a:pt x="2079120" y="1163566"/>
                  </a:lnTo>
                  <a:lnTo>
                    <a:pt x="2089531" y="1163566"/>
                  </a:lnTo>
                  <a:lnTo>
                    <a:pt x="2091604" y="1165195"/>
                  </a:lnTo>
                  <a:lnTo>
                    <a:pt x="2093676" y="1170129"/>
                  </a:lnTo>
                  <a:lnTo>
                    <a:pt x="2095797" y="1170129"/>
                  </a:lnTo>
                  <a:lnTo>
                    <a:pt x="2097870" y="1171757"/>
                  </a:lnTo>
                  <a:lnTo>
                    <a:pt x="2093676" y="1176691"/>
                  </a:lnTo>
                  <a:lnTo>
                    <a:pt x="2095797" y="1179898"/>
                  </a:lnTo>
                  <a:lnTo>
                    <a:pt x="2087459" y="1184832"/>
                  </a:lnTo>
                  <a:lnTo>
                    <a:pt x="2077048" y="1188089"/>
                  </a:lnTo>
                  <a:lnTo>
                    <a:pt x="2072854" y="1186460"/>
                  </a:lnTo>
                  <a:lnTo>
                    <a:pt x="2068710" y="1191395"/>
                  </a:lnTo>
                  <a:lnTo>
                    <a:pt x="2064565" y="1189816"/>
                  </a:lnTo>
                  <a:lnTo>
                    <a:pt x="2058299" y="1183352"/>
                  </a:lnTo>
                  <a:lnTo>
                    <a:pt x="2052032" y="1183352"/>
                  </a:lnTo>
                  <a:lnTo>
                    <a:pt x="2049960" y="1180096"/>
                  </a:lnTo>
                  <a:lnTo>
                    <a:pt x="2045766" y="1180096"/>
                  </a:lnTo>
                  <a:lnTo>
                    <a:pt x="2043743" y="1185030"/>
                  </a:lnTo>
                  <a:lnTo>
                    <a:pt x="2041622" y="1186658"/>
                  </a:lnTo>
                  <a:lnTo>
                    <a:pt x="2047888" y="1188286"/>
                  </a:lnTo>
                  <a:lnTo>
                    <a:pt x="2052032" y="1191493"/>
                  </a:lnTo>
                  <a:lnTo>
                    <a:pt x="2049960" y="1196427"/>
                  </a:lnTo>
                  <a:lnTo>
                    <a:pt x="2045766" y="1199684"/>
                  </a:lnTo>
                  <a:lnTo>
                    <a:pt x="2052032" y="1199684"/>
                  </a:lnTo>
                  <a:lnTo>
                    <a:pt x="2047888" y="1204618"/>
                  </a:lnTo>
                  <a:lnTo>
                    <a:pt x="2047888" y="1209552"/>
                  </a:lnTo>
                  <a:lnTo>
                    <a:pt x="2049960" y="1209552"/>
                  </a:lnTo>
                  <a:lnTo>
                    <a:pt x="2054154" y="1206345"/>
                  </a:lnTo>
                  <a:lnTo>
                    <a:pt x="2056177" y="1206345"/>
                  </a:lnTo>
                  <a:lnTo>
                    <a:pt x="2056177" y="1211279"/>
                  </a:lnTo>
                  <a:lnTo>
                    <a:pt x="2045766" y="1212858"/>
                  </a:lnTo>
                  <a:lnTo>
                    <a:pt x="2043743" y="1219321"/>
                  </a:lnTo>
                  <a:lnTo>
                    <a:pt x="2045766" y="1225785"/>
                  </a:lnTo>
                  <a:lnTo>
                    <a:pt x="2054154" y="1230719"/>
                  </a:lnTo>
                  <a:lnTo>
                    <a:pt x="2052032" y="1235653"/>
                  </a:lnTo>
                  <a:lnTo>
                    <a:pt x="2060371" y="1248580"/>
                  </a:lnTo>
                  <a:lnTo>
                    <a:pt x="2058299" y="1256622"/>
                  </a:lnTo>
                  <a:lnTo>
                    <a:pt x="2056177" y="1258251"/>
                  </a:lnTo>
                  <a:lnTo>
                    <a:pt x="2054154" y="1263185"/>
                  </a:lnTo>
                  <a:lnTo>
                    <a:pt x="2045766" y="1269648"/>
                  </a:lnTo>
                  <a:lnTo>
                    <a:pt x="2047888" y="1274582"/>
                  </a:lnTo>
                  <a:lnTo>
                    <a:pt x="2043743" y="1279516"/>
                  </a:lnTo>
                  <a:lnTo>
                    <a:pt x="2037477" y="1277938"/>
                  </a:lnTo>
                  <a:lnTo>
                    <a:pt x="2027066" y="1277938"/>
                  </a:lnTo>
                  <a:lnTo>
                    <a:pt x="2020800" y="1279516"/>
                  </a:lnTo>
                  <a:lnTo>
                    <a:pt x="2018728" y="1287559"/>
                  </a:lnTo>
                  <a:lnTo>
                    <a:pt x="2012462" y="1290815"/>
                  </a:lnTo>
                  <a:lnTo>
                    <a:pt x="2008317" y="1295749"/>
                  </a:lnTo>
                  <a:lnTo>
                    <a:pt x="2004123" y="1295749"/>
                  </a:lnTo>
                  <a:lnTo>
                    <a:pt x="1993712" y="1305617"/>
                  </a:lnTo>
                  <a:lnTo>
                    <a:pt x="1989518" y="1304038"/>
                  </a:lnTo>
                  <a:lnTo>
                    <a:pt x="1983301" y="1304038"/>
                  </a:lnTo>
                  <a:lnTo>
                    <a:pt x="1981229" y="1310502"/>
                  </a:lnTo>
                  <a:lnTo>
                    <a:pt x="1962480" y="1313709"/>
                  </a:lnTo>
                  <a:lnTo>
                    <a:pt x="1960407" y="1312081"/>
                  </a:lnTo>
                  <a:lnTo>
                    <a:pt x="1962480" y="1307147"/>
                  </a:lnTo>
                  <a:lnTo>
                    <a:pt x="1960407" y="1300683"/>
                  </a:lnTo>
                  <a:lnTo>
                    <a:pt x="1954141" y="1295749"/>
                  </a:lnTo>
                  <a:lnTo>
                    <a:pt x="1954141" y="1292542"/>
                  </a:lnTo>
                  <a:lnTo>
                    <a:pt x="1958286" y="1290914"/>
                  </a:lnTo>
                  <a:lnTo>
                    <a:pt x="1958286" y="1285980"/>
                  </a:lnTo>
                  <a:lnTo>
                    <a:pt x="1964552" y="1277938"/>
                  </a:lnTo>
                  <a:lnTo>
                    <a:pt x="1958286" y="1284352"/>
                  </a:lnTo>
                  <a:lnTo>
                    <a:pt x="1954141" y="1284352"/>
                  </a:lnTo>
                  <a:lnTo>
                    <a:pt x="1954141" y="1269994"/>
                  </a:lnTo>
                  <a:lnTo>
                    <a:pt x="1949997" y="1268365"/>
                  </a:lnTo>
                  <a:lnTo>
                    <a:pt x="1945803" y="1263431"/>
                  </a:lnTo>
                  <a:lnTo>
                    <a:pt x="1939586" y="1266639"/>
                  </a:lnTo>
                  <a:lnTo>
                    <a:pt x="1937464" y="1263431"/>
                  </a:lnTo>
                  <a:lnTo>
                    <a:pt x="1931247" y="1265010"/>
                  </a:lnTo>
                  <a:lnTo>
                    <a:pt x="1924981" y="1273102"/>
                  </a:lnTo>
                  <a:lnTo>
                    <a:pt x="1927054" y="1273102"/>
                  </a:lnTo>
                  <a:lnTo>
                    <a:pt x="1937464" y="1268168"/>
                  </a:lnTo>
                  <a:lnTo>
                    <a:pt x="1941658" y="1269796"/>
                  </a:lnTo>
                  <a:lnTo>
                    <a:pt x="1939586" y="1274730"/>
                  </a:lnTo>
                  <a:lnTo>
                    <a:pt x="1945803" y="1277938"/>
                  </a:lnTo>
                  <a:lnTo>
                    <a:pt x="1952069" y="1287806"/>
                  </a:lnTo>
                  <a:lnTo>
                    <a:pt x="1949997" y="1295848"/>
                  </a:lnTo>
                  <a:lnTo>
                    <a:pt x="1952069" y="1297476"/>
                  </a:lnTo>
                  <a:lnTo>
                    <a:pt x="1954141" y="1307344"/>
                  </a:lnTo>
                  <a:lnTo>
                    <a:pt x="1952069" y="1310551"/>
                  </a:lnTo>
                  <a:lnTo>
                    <a:pt x="1954141" y="1312180"/>
                  </a:lnTo>
                  <a:lnTo>
                    <a:pt x="1954141" y="1317114"/>
                  </a:lnTo>
                  <a:lnTo>
                    <a:pt x="1950046" y="1317114"/>
                  </a:lnTo>
                  <a:lnTo>
                    <a:pt x="1937514" y="1309071"/>
                  </a:lnTo>
                  <a:lnTo>
                    <a:pt x="1937514" y="1304137"/>
                  </a:lnTo>
                  <a:lnTo>
                    <a:pt x="1931297" y="1302558"/>
                  </a:lnTo>
                  <a:lnTo>
                    <a:pt x="1931297" y="1297624"/>
                  </a:lnTo>
                  <a:lnTo>
                    <a:pt x="1927103" y="1302558"/>
                  </a:lnTo>
                  <a:lnTo>
                    <a:pt x="1933369" y="1309022"/>
                  </a:lnTo>
                  <a:lnTo>
                    <a:pt x="1931297" y="1313956"/>
                  </a:lnTo>
                  <a:lnTo>
                    <a:pt x="1922958" y="1309022"/>
                  </a:lnTo>
                  <a:lnTo>
                    <a:pt x="1918814" y="1309022"/>
                  </a:lnTo>
                  <a:lnTo>
                    <a:pt x="1916692" y="1305765"/>
                  </a:lnTo>
                  <a:lnTo>
                    <a:pt x="1912548" y="1307394"/>
                  </a:lnTo>
                  <a:lnTo>
                    <a:pt x="1910426" y="1302460"/>
                  </a:lnTo>
                  <a:lnTo>
                    <a:pt x="1914620" y="1294368"/>
                  </a:lnTo>
                  <a:lnTo>
                    <a:pt x="1916692" y="1292740"/>
                  </a:lnTo>
                  <a:lnTo>
                    <a:pt x="1912548" y="1291161"/>
                  </a:lnTo>
                  <a:lnTo>
                    <a:pt x="1912548" y="1287756"/>
                  </a:lnTo>
                  <a:lnTo>
                    <a:pt x="1902136" y="1290963"/>
                  </a:lnTo>
                  <a:lnTo>
                    <a:pt x="1893798" y="1290963"/>
                  </a:lnTo>
                  <a:lnTo>
                    <a:pt x="1887532" y="1287756"/>
                  </a:lnTo>
                  <a:lnTo>
                    <a:pt x="1881266" y="1289335"/>
                  </a:lnTo>
                  <a:lnTo>
                    <a:pt x="1872976" y="1284401"/>
                  </a:lnTo>
                  <a:lnTo>
                    <a:pt x="1872976" y="1289335"/>
                  </a:lnTo>
                  <a:lnTo>
                    <a:pt x="1875049" y="1292542"/>
                  </a:lnTo>
                  <a:lnTo>
                    <a:pt x="1870855" y="1294170"/>
                  </a:lnTo>
                  <a:lnTo>
                    <a:pt x="1870855" y="1300634"/>
                  </a:lnTo>
                  <a:lnTo>
                    <a:pt x="1875049" y="1305568"/>
                  </a:lnTo>
                  <a:lnTo>
                    <a:pt x="1883387" y="1307196"/>
                  </a:lnTo>
                  <a:lnTo>
                    <a:pt x="1887532" y="1312130"/>
                  </a:lnTo>
                  <a:lnTo>
                    <a:pt x="1880970" y="1319975"/>
                  </a:lnTo>
                  <a:lnTo>
                    <a:pt x="1876825" y="1321604"/>
                  </a:lnTo>
                  <a:lnTo>
                    <a:pt x="1860148" y="1332903"/>
                  </a:lnTo>
                  <a:lnTo>
                    <a:pt x="1851859" y="1340945"/>
                  </a:lnTo>
                  <a:lnTo>
                    <a:pt x="1843471" y="1349037"/>
                  </a:lnTo>
                  <a:lnTo>
                    <a:pt x="1839326" y="1347409"/>
                  </a:lnTo>
                  <a:lnTo>
                    <a:pt x="1833060" y="1350665"/>
                  </a:lnTo>
                  <a:lnTo>
                    <a:pt x="1830988" y="1357129"/>
                  </a:lnTo>
                  <a:lnTo>
                    <a:pt x="1824771" y="1360336"/>
                  </a:lnTo>
                  <a:lnTo>
                    <a:pt x="1801828" y="1355402"/>
                  </a:lnTo>
                  <a:lnTo>
                    <a:pt x="1797634" y="1350468"/>
                  </a:lnTo>
                  <a:lnTo>
                    <a:pt x="1793539" y="1342425"/>
                  </a:lnTo>
                  <a:lnTo>
                    <a:pt x="1783128" y="1339169"/>
                  </a:lnTo>
                  <a:lnTo>
                    <a:pt x="1783128" y="1335962"/>
                  </a:lnTo>
                  <a:lnTo>
                    <a:pt x="1787223" y="1335962"/>
                  </a:lnTo>
                  <a:lnTo>
                    <a:pt x="1789345" y="1334284"/>
                  </a:lnTo>
                  <a:lnTo>
                    <a:pt x="1785200" y="1331077"/>
                  </a:lnTo>
                  <a:lnTo>
                    <a:pt x="1778934" y="1329498"/>
                  </a:lnTo>
                  <a:lnTo>
                    <a:pt x="1770595" y="1316571"/>
                  </a:lnTo>
                  <a:lnTo>
                    <a:pt x="1762553" y="1310305"/>
                  </a:lnTo>
                  <a:lnTo>
                    <a:pt x="1747751" y="1310305"/>
                  </a:lnTo>
                  <a:lnTo>
                    <a:pt x="1737340" y="1305371"/>
                  </a:lnTo>
                  <a:lnTo>
                    <a:pt x="1720663" y="1303742"/>
                  </a:lnTo>
                  <a:lnTo>
                    <a:pt x="1714397" y="1302164"/>
                  </a:lnTo>
                  <a:lnTo>
                    <a:pt x="1714397" y="1307098"/>
                  </a:lnTo>
                  <a:lnTo>
                    <a:pt x="1718591" y="1310305"/>
                  </a:lnTo>
                  <a:lnTo>
                    <a:pt x="1720663" y="1308726"/>
                  </a:lnTo>
                  <a:lnTo>
                    <a:pt x="1724807" y="1307098"/>
                  </a:lnTo>
                  <a:lnTo>
                    <a:pt x="1741484" y="1312032"/>
                  </a:lnTo>
                  <a:lnTo>
                    <a:pt x="1756286" y="1312032"/>
                  </a:lnTo>
                  <a:lnTo>
                    <a:pt x="1762553" y="1315288"/>
                  </a:lnTo>
                  <a:lnTo>
                    <a:pt x="1760481" y="1318495"/>
                  </a:lnTo>
                  <a:lnTo>
                    <a:pt x="1756286" y="1318495"/>
                  </a:lnTo>
                  <a:lnTo>
                    <a:pt x="1754214" y="1320074"/>
                  </a:lnTo>
                  <a:lnTo>
                    <a:pt x="1756286" y="1323331"/>
                  </a:lnTo>
                  <a:lnTo>
                    <a:pt x="1758408" y="1333199"/>
                  </a:lnTo>
                  <a:lnTo>
                    <a:pt x="1760481" y="1333199"/>
                  </a:lnTo>
                  <a:lnTo>
                    <a:pt x="1768819" y="1346126"/>
                  </a:lnTo>
                  <a:lnTo>
                    <a:pt x="1772963" y="1355994"/>
                  </a:lnTo>
                  <a:lnTo>
                    <a:pt x="1787519" y="1359201"/>
                  </a:lnTo>
                  <a:lnTo>
                    <a:pt x="1800051" y="1362408"/>
                  </a:lnTo>
                  <a:lnTo>
                    <a:pt x="1827139" y="1367342"/>
                  </a:lnTo>
                  <a:lnTo>
                    <a:pt x="1827139" y="1375385"/>
                  </a:lnTo>
                  <a:lnTo>
                    <a:pt x="1825067" y="1377013"/>
                  </a:lnTo>
                  <a:lnTo>
                    <a:pt x="1816728" y="1381947"/>
                  </a:lnTo>
                  <a:lnTo>
                    <a:pt x="1810462" y="1385203"/>
                  </a:lnTo>
                  <a:lnTo>
                    <a:pt x="1800051" y="1396453"/>
                  </a:lnTo>
                  <a:lnTo>
                    <a:pt x="1797930" y="1394874"/>
                  </a:lnTo>
                  <a:lnTo>
                    <a:pt x="1795907" y="1396453"/>
                  </a:lnTo>
                  <a:lnTo>
                    <a:pt x="1793835" y="1399709"/>
                  </a:lnTo>
                  <a:lnTo>
                    <a:pt x="1770891" y="1420679"/>
                  </a:lnTo>
                  <a:lnTo>
                    <a:pt x="1762553" y="1423886"/>
                  </a:lnTo>
                  <a:lnTo>
                    <a:pt x="1756286" y="1433754"/>
                  </a:lnTo>
                  <a:lnTo>
                    <a:pt x="1750070" y="1435333"/>
                  </a:lnTo>
                  <a:lnTo>
                    <a:pt x="1745876" y="1432126"/>
                  </a:lnTo>
                  <a:lnTo>
                    <a:pt x="1741731" y="1432126"/>
                  </a:lnTo>
                  <a:lnTo>
                    <a:pt x="1739659" y="1435333"/>
                  </a:lnTo>
                  <a:lnTo>
                    <a:pt x="1731320" y="1427291"/>
                  </a:lnTo>
                  <a:lnTo>
                    <a:pt x="1725054" y="1425663"/>
                  </a:lnTo>
                  <a:lnTo>
                    <a:pt x="1720909" y="1428870"/>
                  </a:lnTo>
                  <a:lnTo>
                    <a:pt x="1718837" y="1425663"/>
                  </a:lnTo>
                  <a:lnTo>
                    <a:pt x="1716765" y="1424034"/>
                  </a:lnTo>
                  <a:lnTo>
                    <a:pt x="1722982" y="1417571"/>
                  </a:lnTo>
                  <a:lnTo>
                    <a:pt x="1718837" y="1415992"/>
                  </a:lnTo>
                  <a:lnTo>
                    <a:pt x="1718837" y="1412785"/>
                  </a:lnTo>
                  <a:lnTo>
                    <a:pt x="1710499" y="1417719"/>
                  </a:lnTo>
                  <a:lnTo>
                    <a:pt x="1706354" y="1429018"/>
                  </a:lnTo>
                  <a:lnTo>
                    <a:pt x="1704232" y="1424084"/>
                  </a:lnTo>
                  <a:lnTo>
                    <a:pt x="1702160" y="1414216"/>
                  </a:lnTo>
                  <a:lnTo>
                    <a:pt x="1697966" y="1422307"/>
                  </a:lnTo>
                  <a:lnTo>
                    <a:pt x="1702160" y="1425515"/>
                  </a:lnTo>
                  <a:lnTo>
                    <a:pt x="1700088" y="1438392"/>
                  </a:lnTo>
                  <a:lnTo>
                    <a:pt x="1691749" y="1448260"/>
                  </a:lnTo>
                  <a:lnTo>
                    <a:pt x="1687555" y="1446632"/>
                  </a:lnTo>
                  <a:lnTo>
                    <a:pt x="1685533" y="1443425"/>
                  </a:lnTo>
                  <a:lnTo>
                    <a:pt x="1681338" y="1435333"/>
                  </a:lnTo>
                  <a:lnTo>
                    <a:pt x="1679217" y="1441797"/>
                  </a:lnTo>
                  <a:lnTo>
                    <a:pt x="1683411" y="1445004"/>
                  </a:lnTo>
                  <a:lnTo>
                    <a:pt x="1677145" y="1448260"/>
                  </a:lnTo>
                  <a:lnTo>
                    <a:pt x="1675072" y="1454724"/>
                  </a:lnTo>
                  <a:lnTo>
                    <a:pt x="1673000" y="1453096"/>
                  </a:lnTo>
                  <a:lnTo>
                    <a:pt x="1666734" y="1449889"/>
                  </a:lnTo>
                  <a:lnTo>
                    <a:pt x="1664661" y="1444954"/>
                  </a:lnTo>
                  <a:lnTo>
                    <a:pt x="1658395" y="1441747"/>
                  </a:lnTo>
                  <a:lnTo>
                    <a:pt x="1652129" y="1433705"/>
                  </a:lnTo>
                  <a:lnTo>
                    <a:pt x="1637327" y="1430449"/>
                  </a:lnTo>
                  <a:lnTo>
                    <a:pt x="1622525" y="1423985"/>
                  </a:lnTo>
                  <a:lnTo>
                    <a:pt x="1618331" y="1414117"/>
                  </a:lnTo>
                  <a:lnTo>
                    <a:pt x="1614186" y="1412538"/>
                  </a:lnTo>
                  <a:lnTo>
                    <a:pt x="1603776" y="1406074"/>
                  </a:lnTo>
                  <a:lnTo>
                    <a:pt x="1599581" y="1401140"/>
                  </a:lnTo>
                  <a:lnTo>
                    <a:pt x="1599581" y="1409183"/>
                  </a:lnTo>
                  <a:lnTo>
                    <a:pt x="1593365" y="1409183"/>
                  </a:lnTo>
                  <a:lnTo>
                    <a:pt x="1597509" y="1417225"/>
                  </a:lnTo>
                  <a:lnTo>
                    <a:pt x="1603776" y="1422159"/>
                  </a:lnTo>
                  <a:lnTo>
                    <a:pt x="1605848" y="1418952"/>
                  </a:lnTo>
                  <a:lnTo>
                    <a:pt x="1603776" y="1415696"/>
                  </a:lnTo>
                  <a:lnTo>
                    <a:pt x="1603776" y="1412489"/>
                  </a:lnTo>
                  <a:lnTo>
                    <a:pt x="1607920" y="1412489"/>
                  </a:lnTo>
                  <a:lnTo>
                    <a:pt x="1622722" y="1425367"/>
                  </a:lnTo>
                  <a:lnTo>
                    <a:pt x="1635205" y="1431830"/>
                  </a:lnTo>
                  <a:lnTo>
                    <a:pt x="1635205" y="1435037"/>
                  </a:lnTo>
                  <a:lnTo>
                    <a:pt x="1626867" y="1439971"/>
                  </a:lnTo>
                  <a:lnTo>
                    <a:pt x="1618528" y="1441550"/>
                  </a:lnTo>
                  <a:lnTo>
                    <a:pt x="1614384" y="1439971"/>
                  </a:lnTo>
                  <a:lnTo>
                    <a:pt x="1616456" y="1444905"/>
                  </a:lnTo>
                  <a:lnTo>
                    <a:pt x="1616456" y="1445645"/>
                  </a:lnTo>
                  <a:lnTo>
                    <a:pt x="1618528" y="1444017"/>
                  </a:lnTo>
                  <a:lnTo>
                    <a:pt x="1633330" y="1442438"/>
                  </a:lnTo>
                  <a:lnTo>
                    <a:pt x="1641620" y="1435975"/>
                  </a:lnTo>
                  <a:lnTo>
                    <a:pt x="1643741" y="1435975"/>
                  </a:lnTo>
                  <a:lnTo>
                    <a:pt x="1650007" y="1440909"/>
                  </a:lnTo>
                  <a:lnTo>
                    <a:pt x="1650007" y="1447372"/>
                  </a:lnTo>
                  <a:lnTo>
                    <a:pt x="1664810" y="1461878"/>
                  </a:lnTo>
                  <a:lnTo>
                    <a:pt x="1662737" y="1476384"/>
                  </a:lnTo>
                  <a:lnTo>
                    <a:pt x="1654004" y="1484575"/>
                  </a:lnTo>
                  <a:lnTo>
                    <a:pt x="1647738" y="1484575"/>
                  </a:lnTo>
                  <a:lnTo>
                    <a:pt x="1643593" y="1487831"/>
                  </a:lnTo>
                  <a:lnTo>
                    <a:pt x="1635255" y="1487831"/>
                  </a:lnTo>
                  <a:lnTo>
                    <a:pt x="1629038" y="1482897"/>
                  </a:lnTo>
                  <a:lnTo>
                    <a:pt x="1612361" y="1481318"/>
                  </a:lnTo>
                  <a:lnTo>
                    <a:pt x="1604072" y="1470315"/>
                  </a:lnTo>
                  <a:lnTo>
                    <a:pt x="1599878" y="1460447"/>
                  </a:lnTo>
                  <a:lnTo>
                    <a:pt x="1595733" y="1455513"/>
                  </a:lnTo>
                  <a:lnTo>
                    <a:pt x="1593661" y="1458770"/>
                  </a:lnTo>
                  <a:lnTo>
                    <a:pt x="1593661" y="1468638"/>
                  </a:lnTo>
                  <a:lnTo>
                    <a:pt x="1599878" y="1475102"/>
                  </a:lnTo>
                  <a:lnTo>
                    <a:pt x="1606144" y="1488029"/>
                  </a:lnTo>
                  <a:lnTo>
                    <a:pt x="1612410" y="1499278"/>
                  </a:lnTo>
                  <a:lnTo>
                    <a:pt x="1608216" y="1502535"/>
                  </a:lnTo>
                  <a:lnTo>
                    <a:pt x="1604072" y="1500907"/>
                  </a:lnTo>
                  <a:lnTo>
                    <a:pt x="1597805" y="1500907"/>
                  </a:lnTo>
                  <a:lnTo>
                    <a:pt x="1595733" y="1492864"/>
                  </a:lnTo>
                  <a:lnTo>
                    <a:pt x="1593661" y="1497798"/>
                  </a:lnTo>
                  <a:lnTo>
                    <a:pt x="1591588" y="1499377"/>
                  </a:lnTo>
                  <a:lnTo>
                    <a:pt x="1593661" y="1502633"/>
                  </a:lnTo>
                  <a:lnTo>
                    <a:pt x="1599878" y="1504212"/>
                  </a:lnTo>
                  <a:lnTo>
                    <a:pt x="1601999" y="1509146"/>
                  </a:lnTo>
                  <a:lnTo>
                    <a:pt x="1589467" y="1505890"/>
                  </a:lnTo>
                  <a:lnTo>
                    <a:pt x="1585273" y="1504262"/>
                  </a:lnTo>
                  <a:lnTo>
                    <a:pt x="1585273" y="1509196"/>
                  </a:lnTo>
                  <a:lnTo>
                    <a:pt x="1589467" y="1512403"/>
                  </a:lnTo>
                  <a:lnTo>
                    <a:pt x="1589467" y="1517337"/>
                  </a:lnTo>
                  <a:lnTo>
                    <a:pt x="1583250" y="1523800"/>
                  </a:lnTo>
                  <a:lnTo>
                    <a:pt x="1583250" y="1515758"/>
                  </a:lnTo>
                  <a:lnTo>
                    <a:pt x="1576984" y="1515758"/>
                  </a:lnTo>
                  <a:lnTo>
                    <a:pt x="1581178" y="1518965"/>
                  </a:lnTo>
                  <a:lnTo>
                    <a:pt x="1579056" y="1522172"/>
                  </a:lnTo>
                  <a:lnTo>
                    <a:pt x="1576984" y="1520593"/>
                  </a:lnTo>
                  <a:lnTo>
                    <a:pt x="1568645" y="1520593"/>
                  </a:lnTo>
                  <a:lnTo>
                    <a:pt x="1564501" y="1525527"/>
                  </a:lnTo>
                  <a:lnTo>
                    <a:pt x="1554090" y="1528784"/>
                  </a:lnTo>
                  <a:lnTo>
                    <a:pt x="1560307" y="1531991"/>
                  </a:lnTo>
                  <a:lnTo>
                    <a:pt x="1560307" y="1534458"/>
                  </a:lnTo>
                  <a:lnTo>
                    <a:pt x="1558235" y="1536086"/>
                  </a:lnTo>
                  <a:lnTo>
                    <a:pt x="1556162" y="1532830"/>
                  </a:lnTo>
                  <a:lnTo>
                    <a:pt x="1547823" y="1527896"/>
                  </a:lnTo>
                  <a:lnTo>
                    <a:pt x="1541557" y="1527896"/>
                  </a:lnTo>
                  <a:lnTo>
                    <a:pt x="1541557" y="1531103"/>
                  </a:lnTo>
                  <a:lnTo>
                    <a:pt x="1537413" y="1532731"/>
                  </a:lnTo>
                  <a:lnTo>
                    <a:pt x="1547823" y="1539195"/>
                  </a:lnTo>
                  <a:lnTo>
                    <a:pt x="1543679" y="1542402"/>
                  </a:lnTo>
                  <a:lnTo>
                    <a:pt x="1543679" y="1545658"/>
                  </a:lnTo>
                  <a:lnTo>
                    <a:pt x="1537413" y="1545658"/>
                  </a:lnTo>
                  <a:lnTo>
                    <a:pt x="1531146" y="1554194"/>
                  </a:lnTo>
                  <a:lnTo>
                    <a:pt x="1522808" y="1557401"/>
                  </a:lnTo>
                  <a:lnTo>
                    <a:pt x="1527002" y="1562335"/>
                  </a:lnTo>
                  <a:lnTo>
                    <a:pt x="1524930" y="1565542"/>
                  </a:lnTo>
                  <a:lnTo>
                    <a:pt x="1518663" y="1565542"/>
                  </a:lnTo>
                  <a:lnTo>
                    <a:pt x="1514519" y="1570476"/>
                  </a:lnTo>
                  <a:lnTo>
                    <a:pt x="1516591" y="1575410"/>
                  </a:lnTo>
                  <a:lnTo>
                    <a:pt x="1510325" y="1576989"/>
                  </a:lnTo>
                  <a:lnTo>
                    <a:pt x="1499914" y="1588288"/>
                  </a:lnTo>
                  <a:lnTo>
                    <a:pt x="1491576" y="1589916"/>
                  </a:lnTo>
                  <a:lnTo>
                    <a:pt x="1491576" y="1594850"/>
                  </a:lnTo>
                  <a:lnTo>
                    <a:pt x="1485309" y="1601265"/>
                  </a:lnTo>
                  <a:lnTo>
                    <a:pt x="1477020" y="1596331"/>
                  </a:lnTo>
                  <a:lnTo>
                    <a:pt x="1477020" y="1599538"/>
                  </a:lnTo>
                  <a:lnTo>
                    <a:pt x="1479092" y="1606001"/>
                  </a:lnTo>
                  <a:lnTo>
                    <a:pt x="1472826" y="1612465"/>
                  </a:lnTo>
                  <a:lnTo>
                    <a:pt x="1470754" y="1623764"/>
                  </a:lnTo>
                  <a:lnTo>
                    <a:pt x="1466560" y="1630228"/>
                  </a:lnTo>
                  <a:lnTo>
                    <a:pt x="1462415" y="1638270"/>
                  </a:lnTo>
                  <a:lnTo>
                    <a:pt x="1458271" y="1639898"/>
                  </a:lnTo>
                  <a:lnTo>
                    <a:pt x="1452005" y="1652776"/>
                  </a:lnTo>
                  <a:lnTo>
                    <a:pt x="1454077" y="1655983"/>
                  </a:lnTo>
                  <a:lnTo>
                    <a:pt x="1454077" y="1664075"/>
                  </a:lnTo>
                  <a:lnTo>
                    <a:pt x="1447860" y="1673943"/>
                  </a:lnTo>
                  <a:lnTo>
                    <a:pt x="1445738" y="1678877"/>
                  </a:lnTo>
                  <a:lnTo>
                    <a:pt x="1439522" y="1680456"/>
                  </a:lnTo>
                  <a:lnTo>
                    <a:pt x="1437400" y="1683663"/>
                  </a:lnTo>
                  <a:lnTo>
                    <a:pt x="1443666" y="1685291"/>
                  </a:lnTo>
                  <a:lnTo>
                    <a:pt x="1445738" y="1690225"/>
                  </a:lnTo>
                  <a:lnTo>
                    <a:pt x="1443666" y="1695159"/>
                  </a:lnTo>
                  <a:lnTo>
                    <a:pt x="1447860" y="1700094"/>
                  </a:lnTo>
                  <a:lnTo>
                    <a:pt x="1447860" y="1707149"/>
                  </a:lnTo>
                  <a:lnTo>
                    <a:pt x="1449932" y="1708777"/>
                  </a:lnTo>
                  <a:lnTo>
                    <a:pt x="1443666" y="1723283"/>
                  </a:lnTo>
                  <a:lnTo>
                    <a:pt x="1433255" y="1729747"/>
                  </a:lnTo>
                  <a:lnTo>
                    <a:pt x="1414506" y="1734681"/>
                  </a:lnTo>
                  <a:lnTo>
                    <a:pt x="1412434" y="1741145"/>
                  </a:lnTo>
                  <a:lnTo>
                    <a:pt x="1420772" y="1733053"/>
                  </a:lnTo>
                  <a:lnTo>
                    <a:pt x="1437400" y="1731474"/>
                  </a:lnTo>
                  <a:lnTo>
                    <a:pt x="1449932" y="1718547"/>
                  </a:lnTo>
                  <a:lnTo>
                    <a:pt x="1460343" y="1703991"/>
                  </a:lnTo>
                  <a:lnTo>
                    <a:pt x="1481313" y="1702215"/>
                  </a:lnTo>
                  <a:lnTo>
                    <a:pt x="1487579" y="1705472"/>
                  </a:lnTo>
                  <a:lnTo>
                    <a:pt x="1487579" y="1710406"/>
                  </a:lnTo>
                  <a:lnTo>
                    <a:pt x="1483385" y="1716869"/>
                  </a:lnTo>
                  <a:lnTo>
                    <a:pt x="1483385" y="1724961"/>
                  </a:lnTo>
                  <a:lnTo>
                    <a:pt x="1487579" y="1733003"/>
                  </a:lnTo>
                  <a:lnTo>
                    <a:pt x="1487579" y="1745931"/>
                  </a:lnTo>
                  <a:lnTo>
                    <a:pt x="1483385" y="1757230"/>
                  </a:lnTo>
                  <a:lnTo>
                    <a:pt x="1487579" y="1763644"/>
                  </a:lnTo>
                  <a:lnTo>
                    <a:pt x="1489651" y="1774992"/>
                  </a:lnTo>
                  <a:lnTo>
                    <a:pt x="1485457" y="1781406"/>
                  </a:lnTo>
                  <a:lnTo>
                    <a:pt x="1464636" y="1799169"/>
                  </a:lnTo>
                  <a:lnTo>
                    <a:pt x="1454225" y="1802425"/>
                  </a:lnTo>
                  <a:lnTo>
                    <a:pt x="1445886" y="1800797"/>
                  </a:lnTo>
                  <a:lnTo>
                    <a:pt x="1454225" y="1804004"/>
                  </a:lnTo>
                  <a:lnTo>
                    <a:pt x="1464636" y="1804004"/>
                  </a:lnTo>
                  <a:lnTo>
                    <a:pt x="1489651" y="1797541"/>
                  </a:lnTo>
                  <a:lnTo>
                    <a:pt x="1516739" y="1789498"/>
                  </a:lnTo>
                  <a:lnTo>
                    <a:pt x="1529222" y="1789498"/>
                  </a:lnTo>
                  <a:lnTo>
                    <a:pt x="1545899" y="1797541"/>
                  </a:lnTo>
                  <a:lnTo>
                    <a:pt x="1556310" y="1805632"/>
                  </a:lnTo>
                  <a:lnTo>
                    <a:pt x="1571112" y="1810566"/>
                  </a:lnTo>
                  <a:lnTo>
                    <a:pt x="1575257" y="1813823"/>
                  </a:lnTo>
                  <a:lnTo>
                    <a:pt x="1583645" y="1815402"/>
                  </a:lnTo>
                  <a:lnTo>
                    <a:pt x="1594055" y="1825270"/>
                  </a:lnTo>
                  <a:lnTo>
                    <a:pt x="1600272" y="1826898"/>
                  </a:lnTo>
                  <a:lnTo>
                    <a:pt x="1606539" y="1836766"/>
                  </a:lnTo>
                  <a:lnTo>
                    <a:pt x="1612805" y="1839973"/>
                  </a:lnTo>
                  <a:lnTo>
                    <a:pt x="1612805" y="1844907"/>
                  </a:lnTo>
                  <a:lnTo>
                    <a:pt x="1616949" y="1849842"/>
                  </a:lnTo>
                  <a:lnTo>
                    <a:pt x="1621094" y="1861091"/>
                  </a:lnTo>
                  <a:lnTo>
                    <a:pt x="1621094" y="1862769"/>
                  </a:lnTo>
                  <a:lnTo>
                    <a:pt x="1627360" y="1861091"/>
                  </a:lnTo>
                  <a:lnTo>
                    <a:pt x="1629482" y="1864347"/>
                  </a:lnTo>
                  <a:lnTo>
                    <a:pt x="1644037" y="1874216"/>
                  </a:lnTo>
                  <a:lnTo>
                    <a:pt x="1650303" y="1874216"/>
                  </a:lnTo>
                  <a:lnTo>
                    <a:pt x="1660714" y="1880679"/>
                  </a:lnTo>
                  <a:lnTo>
                    <a:pt x="1664859" y="1882307"/>
                  </a:lnTo>
                  <a:lnTo>
                    <a:pt x="1677342" y="1892175"/>
                  </a:lnTo>
                  <a:lnTo>
                    <a:pt x="1679414" y="1897109"/>
                  </a:lnTo>
                  <a:lnTo>
                    <a:pt x="1687753" y="1903524"/>
                  </a:lnTo>
                  <a:lnTo>
                    <a:pt x="1687753" y="1906731"/>
                  </a:lnTo>
                  <a:lnTo>
                    <a:pt x="1689875" y="1908359"/>
                  </a:lnTo>
                  <a:lnTo>
                    <a:pt x="1700285" y="1909938"/>
                  </a:lnTo>
                  <a:lnTo>
                    <a:pt x="1704430" y="1909938"/>
                  </a:lnTo>
                  <a:lnTo>
                    <a:pt x="1712768" y="1908359"/>
                  </a:lnTo>
                  <a:lnTo>
                    <a:pt x="1727570" y="1909938"/>
                  </a:lnTo>
                  <a:lnTo>
                    <a:pt x="1731715" y="1911616"/>
                  </a:lnTo>
                  <a:lnTo>
                    <a:pt x="1733787" y="1911616"/>
                  </a:lnTo>
                  <a:lnTo>
                    <a:pt x="1746271" y="1914823"/>
                  </a:lnTo>
                  <a:lnTo>
                    <a:pt x="1758803" y="1916402"/>
                  </a:lnTo>
                  <a:lnTo>
                    <a:pt x="1767092" y="1914823"/>
                  </a:lnTo>
                  <a:lnTo>
                    <a:pt x="1771286" y="1914823"/>
                  </a:lnTo>
                  <a:lnTo>
                    <a:pt x="1771286" y="1916402"/>
                  </a:lnTo>
                  <a:lnTo>
                    <a:pt x="1777503" y="1916402"/>
                  </a:lnTo>
                  <a:lnTo>
                    <a:pt x="1779625" y="1924493"/>
                  </a:lnTo>
                  <a:lnTo>
                    <a:pt x="1769214" y="1940628"/>
                  </a:lnTo>
                  <a:lnTo>
                    <a:pt x="1769214" y="1945562"/>
                  </a:lnTo>
                  <a:lnTo>
                    <a:pt x="1765020" y="1951976"/>
                  </a:lnTo>
                  <a:lnTo>
                    <a:pt x="1758211" y="1958785"/>
                  </a:lnTo>
                  <a:lnTo>
                    <a:pt x="1760283" y="1965249"/>
                  </a:lnTo>
                  <a:lnTo>
                    <a:pt x="1762356" y="1966827"/>
                  </a:lnTo>
                  <a:lnTo>
                    <a:pt x="1762356" y="1979755"/>
                  </a:lnTo>
                  <a:lnTo>
                    <a:pt x="1754017" y="1992682"/>
                  </a:lnTo>
                  <a:lnTo>
                    <a:pt x="1754017" y="1997616"/>
                  </a:lnTo>
                  <a:lnTo>
                    <a:pt x="1749872" y="2005708"/>
                  </a:lnTo>
                  <a:lnTo>
                    <a:pt x="1743606" y="2012171"/>
                  </a:lnTo>
                  <a:lnTo>
                    <a:pt x="1739462" y="2023470"/>
                  </a:lnTo>
                  <a:lnTo>
                    <a:pt x="1741534" y="2028404"/>
                  </a:lnTo>
                  <a:lnTo>
                    <a:pt x="1749872" y="2033338"/>
                  </a:lnTo>
                  <a:lnTo>
                    <a:pt x="1749872" y="2041430"/>
                  </a:lnTo>
                  <a:lnTo>
                    <a:pt x="1756089" y="2044637"/>
                  </a:lnTo>
                  <a:lnTo>
                    <a:pt x="1760283" y="2049571"/>
                  </a:lnTo>
                  <a:lnTo>
                    <a:pt x="1758211" y="2054505"/>
                  </a:lnTo>
                  <a:lnTo>
                    <a:pt x="1758211" y="2060969"/>
                  </a:lnTo>
                  <a:lnTo>
                    <a:pt x="1764428" y="2064176"/>
                  </a:lnTo>
                  <a:lnTo>
                    <a:pt x="1772766" y="2067432"/>
                  </a:lnTo>
                  <a:lnTo>
                    <a:pt x="1774888" y="2067432"/>
                  </a:lnTo>
                  <a:lnTo>
                    <a:pt x="1776911" y="2072366"/>
                  </a:lnTo>
                  <a:lnTo>
                    <a:pt x="1781105" y="2077300"/>
                  </a:lnTo>
                  <a:lnTo>
                    <a:pt x="1781105" y="2087168"/>
                  </a:lnTo>
                  <a:lnTo>
                    <a:pt x="1783226" y="2090425"/>
                  </a:lnTo>
                  <a:lnTo>
                    <a:pt x="1781105" y="2100293"/>
                  </a:lnTo>
                  <a:lnTo>
                    <a:pt x="1766303" y="2110161"/>
                  </a:lnTo>
                  <a:lnTo>
                    <a:pt x="1776713" y="2106905"/>
                  </a:lnTo>
                  <a:lnTo>
                    <a:pt x="1787124" y="2100441"/>
                  </a:lnTo>
                  <a:lnTo>
                    <a:pt x="1795512" y="2103698"/>
                  </a:lnTo>
                  <a:lnTo>
                    <a:pt x="1801729" y="2108632"/>
                  </a:lnTo>
                  <a:lnTo>
                    <a:pt x="1807995" y="2108632"/>
                  </a:lnTo>
                  <a:lnTo>
                    <a:pt x="1810068" y="2103698"/>
                  </a:lnTo>
                  <a:lnTo>
                    <a:pt x="1810068" y="2098764"/>
                  </a:lnTo>
                  <a:lnTo>
                    <a:pt x="1822550" y="2085836"/>
                  </a:lnTo>
                  <a:lnTo>
                    <a:pt x="1824672" y="2085836"/>
                  </a:lnTo>
                  <a:lnTo>
                    <a:pt x="1824672" y="2093928"/>
                  </a:lnTo>
                  <a:lnTo>
                    <a:pt x="1828817" y="2095556"/>
                  </a:lnTo>
                  <a:lnTo>
                    <a:pt x="1830889" y="2105425"/>
                  </a:lnTo>
                  <a:lnTo>
                    <a:pt x="1830889" y="2115293"/>
                  </a:lnTo>
                  <a:lnTo>
                    <a:pt x="1839228" y="2120227"/>
                  </a:lnTo>
                  <a:lnTo>
                    <a:pt x="1851760" y="2121855"/>
                  </a:lnTo>
                  <a:lnTo>
                    <a:pt x="1843372" y="2118598"/>
                  </a:lnTo>
                  <a:lnTo>
                    <a:pt x="1837155" y="2112184"/>
                  </a:lnTo>
                  <a:lnTo>
                    <a:pt x="1835083" y="2104092"/>
                  </a:lnTo>
                  <a:lnTo>
                    <a:pt x="1837155" y="2094224"/>
                  </a:lnTo>
                  <a:lnTo>
                    <a:pt x="1841349" y="2091017"/>
                  </a:lnTo>
                  <a:lnTo>
                    <a:pt x="1837155" y="2086083"/>
                  </a:lnTo>
                  <a:lnTo>
                    <a:pt x="1837155" y="2081149"/>
                  </a:lnTo>
                  <a:lnTo>
                    <a:pt x="1839228" y="2082728"/>
                  </a:lnTo>
                  <a:lnTo>
                    <a:pt x="1843372" y="2081149"/>
                  </a:lnTo>
                  <a:lnTo>
                    <a:pt x="1847566" y="2071281"/>
                  </a:lnTo>
                  <a:lnTo>
                    <a:pt x="1855905" y="2064817"/>
                  </a:lnTo>
                  <a:lnTo>
                    <a:pt x="1853783" y="2061610"/>
                  </a:lnTo>
                  <a:lnTo>
                    <a:pt x="1851760" y="2053568"/>
                  </a:lnTo>
                  <a:lnTo>
                    <a:pt x="1847566" y="2050311"/>
                  </a:lnTo>
                  <a:lnTo>
                    <a:pt x="1847566" y="2042664"/>
                  </a:lnTo>
                  <a:lnTo>
                    <a:pt x="1853783" y="2036200"/>
                  </a:lnTo>
                  <a:lnTo>
                    <a:pt x="1851760" y="2032993"/>
                  </a:lnTo>
                  <a:lnTo>
                    <a:pt x="1851760" y="2029736"/>
                  </a:lnTo>
                  <a:lnTo>
                    <a:pt x="1847566" y="2028157"/>
                  </a:lnTo>
                  <a:lnTo>
                    <a:pt x="1847566" y="2024901"/>
                  </a:lnTo>
                  <a:lnTo>
                    <a:pt x="1853783" y="2008767"/>
                  </a:lnTo>
                  <a:lnTo>
                    <a:pt x="1851760" y="2002303"/>
                  </a:lnTo>
                  <a:lnTo>
                    <a:pt x="1853783" y="1992682"/>
                  </a:lnTo>
                  <a:lnTo>
                    <a:pt x="1857977" y="1989425"/>
                  </a:lnTo>
                  <a:lnTo>
                    <a:pt x="1855905" y="1982962"/>
                  </a:lnTo>
                  <a:lnTo>
                    <a:pt x="1857977" y="1981334"/>
                  </a:lnTo>
                  <a:lnTo>
                    <a:pt x="1855905" y="1976399"/>
                  </a:lnTo>
                  <a:lnTo>
                    <a:pt x="1860049" y="1973192"/>
                  </a:lnTo>
                  <a:lnTo>
                    <a:pt x="1856299" y="1973192"/>
                  </a:lnTo>
                  <a:lnTo>
                    <a:pt x="1854178" y="1968258"/>
                  </a:lnTo>
                  <a:lnTo>
                    <a:pt x="1858372" y="1966630"/>
                  </a:lnTo>
                  <a:lnTo>
                    <a:pt x="1856299" y="1961696"/>
                  </a:lnTo>
                  <a:lnTo>
                    <a:pt x="1856299" y="1956762"/>
                  </a:lnTo>
                  <a:lnTo>
                    <a:pt x="1852155" y="1951828"/>
                  </a:lnTo>
                  <a:lnTo>
                    <a:pt x="1852155" y="1945364"/>
                  </a:lnTo>
                  <a:lnTo>
                    <a:pt x="1850033" y="1942108"/>
                  </a:lnTo>
                  <a:lnTo>
                    <a:pt x="1858372" y="1938901"/>
                  </a:lnTo>
                  <a:lnTo>
                    <a:pt x="1873174" y="1935644"/>
                  </a:lnTo>
                  <a:lnTo>
                    <a:pt x="1881463" y="1930710"/>
                  </a:lnTo>
                  <a:lnTo>
                    <a:pt x="1889801" y="1932289"/>
                  </a:lnTo>
                  <a:lnTo>
                    <a:pt x="1891874" y="1929082"/>
                  </a:lnTo>
                  <a:lnTo>
                    <a:pt x="1906676" y="1922619"/>
                  </a:lnTo>
                  <a:lnTo>
                    <a:pt x="1929619" y="1916204"/>
                  </a:lnTo>
                  <a:lnTo>
                    <a:pt x="1929619" y="1912948"/>
                  </a:lnTo>
                  <a:lnTo>
                    <a:pt x="1933764" y="1909741"/>
                  </a:lnTo>
                  <a:lnTo>
                    <a:pt x="1950441" y="1903277"/>
                  </a:lnTo>
                  <a:lnTo>
                    <a:pt x="1952513" y="1898343"/>
                  </a:lnTo>
                  <a:lnTo>
                    <a:pt x="1960852" y="1895136"/>
                  </a:lnTo>
                  <a:lnTo>
                    <a:pt x="1971262" y="1880334"/>
                  </a:lnTo>
                  <a:lnTo>
                    <a:pt x="1975407" y="1881962"/>
                  </a:lnTo>
                  <a:lnTo>
                    <a:pt x="1977479" y="1885169"/>
                  </a:lnTo>
                  <a:lnTo>
                    <a:pt x="1985818" y="1883541"/>
                  </a:lnTo>
                  <a:lnTo>
                    <a:pt x="1989963" y="1878607"/>
                  </a:lnTo>
                  <a:lnTo>
                    <a:pt x="1983746" y="1872143"/>
                  </a:lnTo>
                  <a:lnTo>
                    <a:pt x="1983746" y="1864101"/>
                  </a:lnTo>
                  <a:lnTo>
                    <a:pt x="1979552" y="1867357"/>
                  </a:lnTo>
                  <a:lnTo>
                    <a:pt x="1977479" y="1873771"/>
                  </a:lnTo>
                  <a:lnTo>
                    <a:pt x="1974716" y="1873771"/>
                  </a:lnTo>
                  <a:lnTo>
                    <a:pt x="1976788" y="1865680"/>
                  </a:lnTo>
                  <a:lnTo>
                    <a:pt x="1983055" y="1851174"/>
                  </a:lnTo>
                  <a:lnTo>
                    <a:pt x="1985127" y="1847967"/>
                  </a:lnTo>
                  <a:lnTo>
                    <a:pt x="1985127" y="1838098"/>
                  </a:lnTo>
                  <a:lnTo>
                    <a:pt x="1987249" y="1830056"/>
                  </a:lnTo>
                  <a:lnTo>
                    <a:pt x="1980983" y="1820188"/>
                  </a:lnTo>
                  <a:lnTo>
                    <a:pt x="1983055" y="1802425"/>
                  </a:lnTo>
                  <a:lnTo>
                    <a:pt x="1978861" y="1786291"/>
                  </a:lnTo>
                  <a:lnTo>
                    <a:pt x="1968450" y="1771785"/>
                  </a:lnTo>
                  <a:lnTo>
                    <a:pt x="1960161" y="1766851"/>
                  </a:lnTo>
                  <a:lnTo>
                    <a:pt x="1958039" y="1760387"/>
                  </a:lnTo>
                  <a:lnTo>
                    <a:pt x="1951822" y="1758759"/>
                  </a:lnTo>
                  <a:lnTo>
                    <a:pt x="1949750" y="1753825"/>
                  </a:lnTo>
                  <a:lnTo>
                    <a:pt x="1953895" y="1740898"/>
                  </a:lnTo>
                  <a:lnTo>
                    <a:pt x="1960161" y="1739319"/>
                  </a:lnTo>
                  <a:lnTo>
                    <a:pt x="1978861" y="1721557"/>
                  </a:lnTo>
                  <a:lnTo>
                    <a:pt x="1985127" y="1721557"/>
                  </a:lnTo>
                  <a:lnTo>
                    <a:pt x="1991393" y="1716623"/>
                  </a:lnTo>
                  <a:lnTo>
                    <a:pt x="1989272" y="1711689"/>
                  </a:lnTo>
                  <a:lnTo>
                    <a:pt x="1987249" y="1710060"/>
                  </a:lnTo>
                  <a:lnTo>
                    <a:pt x="1987249" y="1708432"/>
                  </a:lnTo>
                  <a:lnTo>
                    <a:pt x="1995587" y="1698564"/>
                  </a:lnTo>
                  <a:lnTo>
                    <a:pt x="1999682" y="1698564"/>
                  </a:lnTo>
                  <a:lnTo>
                    <a:pt x="2003876" y="1706656"/>
                  </a:lnTo>
                  <a:lnTo>
                    <a:pt x="2008070" y="1708235"/>
                  </a:lnTo>
                  <a:lnTo>
                    <a:pt x="2005998" y="1705028"/>
                  </a:lnTo>
                  <a:lnTo>
                    <a:pt x="2005998" y="1698564"/>
                  </a:lnTo>
                  <a:lnTo>
                    <a:pt x="2014287" y="1695357"/>
                  </a:lnTo>
                  <a:lnTo>
                    <a:pt x="2020553" y="1684058"/>
                  </a:lnTo>
                  <a:lnTo>
                    <a:pt x="2020553" y="1679124"/>
                  </a:lnTo>
                  <a:lnTo>
                    <a:pt x="2010093" y="1679124"/>
                  </a:lnTo>
                  <a:lnTo>
                    <a:pt x="2010093" y="1677496"/>
                  </a:lnTo>
                  <a:lnTo>
                    <a:pt x="2016409" y="1669453"/>
                  </a:lnTo>
                  <a:lnTo>
                    <a:pt x="2012215" y="1666197"/>
                  </a:lnTo>
                  <a:lnTo>
                    <a:pt x="2010093" y="1662989"/>
                  </a:lnTo>
                  <a:lnTo>
                    <a:pt x="2014287" y="1658055"/>
                  </a:lnTo>
                  <a:lnTo>
                    <a:pt x="2020553" y="1654848"/>
                  </a:lnTo>
                  <a:lnTo>
                    <a:pt x="2014189" y="1654848"/>
                  </a:lnTo>
                  <a:lnTo>
                    <a:pt x="2012116" y="1651592"/>
                  </a:lnTo>
                  <a:lnTo>
                    <a:pt x="2016310" y="1641724"/>
                  </a:lnTo>
                  <a:lnTo>
                    <a:pt x="2022527" y="1638467"/>
                  </a:lnTo>
                  <a:lnTo>
                    <a:pt x="2018382" y="1638467"/>
                  </a:lnTo>
                  <a:lnTo>
                    <a:pt x="2005899" y="1640096"/>
                  </a:lnTo>
                  <a:lnTo>
                    <a:pt x="2001705" y="1638467"/>
                  </a:lnTo>
                  <a:lnTo>
                    <a:pt x="2001705" y="1633533"/>
                  </a:lnTo>
                  <a:lnTo>
                    <a:pt x="2018382" y="1622234"/>
                  </a:lnTo>
                  <a:lnTo>
                    <a:pt x="2026721" y="1610935"/>
                  </a:lnTo>
                  <a:lnTo>
                    <a:pt x="2028793" y="1604472"/>
                  </a:lnTo>
                  <a:lnTo>
                    <a:pt x="2032938" y="1604472"/>
                  </a:lnTo>
                  <a:lnTo>
                    <a:pt x="2037132" y="1601265"/>
                  </a:lnTo>
                  <a:lnTo>
                    <a:pt x="2037132" y="1594801"/>
                  </a:lnTo>
                  <a:lnTo>
                    <a:pt x="2032938" y="1593222"/>
                  </a:lnTo>
                  <a:lnTo>
                    <a:pt x="2032938" y="1589966"/>
                  </a:lnTo>
                  <a:lnTo>
                    <a:pt x="2028991" y="1589966"/>
                  </a:lnTo>
                  <a:lnTo>
                    <a:pt x="2024797" y="1583502"/>
                  </a:lnTo>
                  <a:lnTo>
                    <a:pt x="2024797" y="1572253"/>
                  </a:lnTo>
                  <a:lnTo>
                    <a:pt x="2028991" y="1562385"/>
                  </a:lnTo>
                  <a:lnTo>
                    <a:pt x="2031063" y="1554342"/>
                  </a:lnTo>
                  <a:lnTo>
                    <a:pt x="2035208" y="1551135"/>
                  </a:lnTo>
                  <a:lnTo>
                    <a:pt x="2039401" y="1554342"/>
                  </a:lnTo>
                  <a:lnTo>
                    <a:pt x="2043595" y="1552714"/>
                  </a:lnTo>
                  <a:lnTo>
                    <a:pt x="2043595" y="1549457"/>
                  </a:lnTo>
                  <a:lnTo>
                    <a:pt x="2047740" y="1544523"/>
                  </a:lnTo>
                  <a:lnTo>
                    <a:pt x="2051885" y="1544523"/>
                  </a:lnTo>
                  <a:lnTo>
                    <a:pt x="2056029" y="1542895"/>
                  </a:lnTo>
                  <a:lnTo>
                    <a:pt x="2060223" y="1546102"/>
                  </a:lnTo>
                  <a:lnTo>
                    <a:pt x="2072706" y="1546102"/>
                  </a:lnTo>
                  <a:lnTo>
                    <a:pt x="2085239" y="1552566"/>
                  </a:lnTo>
                  <a:lnTo>
                    <a:pt x="2101866" y="1559029"/>
                  </a:lnTo>
                  <a:lnTo>
                    <a:pt x="2110254" y="1559029"/>
                  </a:lnTo>
                  <a:lnTo>
                    <a:pt x="2107935" y="1568503"/>
                  </a:lnTo>
                  <a:lnTo>
                    <a:pt x="2097525" y="1571710"/>
                  </a:lnTo>
                  <a:lnTo>
                    <a:pt x="2110057" y="1571710"/>
                  </a:lnTo>
                  <a:lnTo>
                    <a:pt x="2120468" y="1565246"/>
                  </a:lnTo>
                  <a:lnTo>
                    <a:pt x="2126685" y="1565246"/>
                  </a:lnTo>
                  <a:lnTo>
                    <a:pt x="2130879" y="1568503"/>
                  </a:lnTo>
                  <a:lnTo>
                    <a:pt x="2135023" y="1568503"/>
                  </a:lnTo>
                  <a:lnTo>
                    <a:pt x="2141289" y="1574966"/>
                  </a:lnTo>
                  <a:lnTo>
                    <a:pt x="2141289" y="1568503"/>
                  </a:lnTo>
                  <a:lnTo>
                    <a:pt x="2149579" y="1571710"/>
                  </a:lnTo>
                  <a:lnTo>
                    <a:pt x="2153772" y="1568503"/>
                  </a:lnTo>
                  <a:lnTo>
                    <a:pt x="2157917" y="1566875"/>
                  </a:lnTo>
                  <a:lnTo>
                    <a:pt x="2168328" y="1561941"/>
                  </a:lnTo>
                  <a:lnTo>
                    <a:pt x="2180811" y="1571809"/>
                  </a:lnTo>
                  <a:lnTo>
                    <a:pt x="2180811" y="1576743"/>
                  </a:lnTo>
                  <a:lnTo>
                    <a:pt x="2189150" y="1583206"/>
                  </a:lnTo>
                  <a:lnTo>
                    <a:pt x="2195416" y="1583206"/>
                  </a:lnTo>
                  <a:lnTo>
                    <a:pt x="2195416" y="1593074"/>
                  </a:lnTo>
                  <a:lnTo>
                    <a:pt x="2191222" y="1598008"/>
                  </a:lnTo>
                  <a:lnTo>
                    <a:pt x="2191222" y="1602942"/>
                  </a:lnTo>
                  <a:lnTo>
                    <a:pt x="2195416" y="1599686"/>
                  </a:lnTo>
                  <a:lnTo>
                    <a:pt x="2203754" y="1606149"/>
                  </a:lnTo>
                  <a:lnTo>
                    <a:pt x="2207948" y="1612613"/>
                  </a:lnTo>
                  <a:lnTo>
                    <a:pt x="2201633" y="1614192"/>
                  </a:lnTo>
                  <a:lnTo>
                    <a:pt x="2207948" y="1619126"/>
                  </a:lnTo>
                  <a:lnTo>
                    <a:pt x="2212043" y="1614192"/>
                  </a:lnTo>
                  <a:lnTo>
                    <a:pt x="2218359" y="1622234"/>
                  </a:lnTo>
                  <a:lnTo>
                    <a:pt x="2218359" y="1625491"/>
                  </a:lnTo>
                  <a:lnTo>
                    <a:pt x="2212043" y="1622234"/>
                  </a:lnTo>
                  <a:lnTo>
                    <a:pt x="2207948" y="1627169"/>
                  </a:lnTo>
                  <a:lnTo>
                    <a:pt x="2201682" y="1627169"/>
                  </a:lnTo>
                  <a:lnTo>
                    <a:pt x="2212093" y="1635211"/>
                  </a:lnTo>
                  <a:lnTo>
                    <a:pt x="2212093" y="1641675"/>
                  </a:lnTo>
                  <a:lnTo>
                    <a:pt x="2218408" y="1635211"/>
                  </a:lnTo>
                  <a:lnTo>
                    <a:pt x="2218408" y="1641675"/>
                  </a:lnTo>
                  <a:lnTo>
                    <a:pt x="2222553" y="1638467"/>
                  </a:lnTo>
                  <a:lnTo>
                    <a:pt x="2235036" y="1646510"/>
                  </a:lnTo>
                  <a:lnTo>
                    <a:pt x="2239230" y="1644931"/>
                  </a:lnTo>
                  <a:lnTo>
                    <a:pt x="2241302" y="1648138"/>
                  </a:lnTo>
                  <a:lnTo>
                    <a:pt x="2249641" y="1644931"/>
                  </a:lnTo>
                  <a:lnTo>
                    <a:pt x="2257930" y="1648138"/>
                  </a:lnTo>
                  <a:lnTo>
                    <a:pt x="2257930" y="1659437"/>
                  </a:lnTo>
                  <a:lnTo>
                    <a:pt x="2260052" y="1664371"/>
                  </a:lnTo>
                  <a:lnTo>
                    <a:pt x="2268341" y="1657957"/>
                  </a:lnTo>
                  <a:lnTo>
                    <a:pt x="2270462" y="1648089"/>
                  </a:lnTo>
                  <a:lnTo>
                    <a:pt x="2276729" y="1648089"/>
                  </a:lnTo>
                  <a:lnTo>
                    <a:pt x="2276729" y="1659388"/>
                  </a:lnTo>
                  <a:lnTo>
                    <a:pt x="2274607" y="1669256"/>
                  </a:lnTo>
                  <a:lnTo>
                    <a:pt x="2266318" y="1670884"/>
                  </a:lnTo>
                  <a:lnTo>
                    <a:pt x="2257930" y="1680752"/>
                  </a:lnTo>
                  <a:lnTo>
                    <a:pt x="2260052" y="1695258"/>
                  </a:lnTo>
                  <a:lnTo>
                    <a:pt x="2257930" y="1701722"/>
                  </a:lnTo>
                  <a:lnTo>
                    <a:pt x="2255907" y="1693679"/>
                  </a:lnTo>
                  <a:lnTo>
                    <a:pt x="2251713" y="1696886"/>
                  </a:lnTo>
                  <a:lnTo>
                    <a:pt x="2249641" y="1706755"/>
                  </a:lnTo>
                  <a:lnTo>
                    <a:pt x="2234838" y="1705077"/>
                  </a:lnTo>
                  <a:lnTo>
                    <a:pt x="2216089" y="1698663"/>
                  </a:lnTo>
                  <a:lnTo>
                    <a:pt x="2232766" y="1706755"/>
                  </a:lnTo>
                  <a:lnTo>
                    <a:pt x="2245250" y="1709962"/>
                  </a:lnTo>
                  <a:lnTo>
                    <a:pt x="2255710" y="1716376"/>
                  </a:lnTo>
                  <a:lnTo>
                    <a:pt x="2255710" y="1726885"/>
                  </a:lnTo>
                  <a:lnTo>
                    <a:pt x="2249443" y="1733299"/>
                  </a:lnTo>
                  <a:lnTo>
                    <a:pt x="2247322" y="1738234"/>
                  </a:lnTo>
                  <a:lnTo>
                    <a:pt x="2241105" y="1746325"/>
                  </a:lnTo>
                  <a:lnTo>
                    <a:pt x="2243177" y="1746325"/>
                  </a:lnTo>
                  <a:lnTo>
                    <a:pt x="2251516" y="1759253"/>
                  </a:lnTo>
                  <a:lnTo>
                    <a:pt x="2257732" y="1760831"/>
                  </a:lnTo>
                  <a:lnTo>
                    <a:pt x="2253588" y="1762460"/>
                  </a:lnTo>
                  <a:lnTo>
                    <a:pt x="2241105" y="1755996"/>
                  </a:lnTo>
                  <a:lnTo>
                    <a:pt x="2249443" y="1767295"/>
                  </a:lnTo>
                  <a:lnTo>
                    <a:pt x="2255710" y="1772229"/>
                  </a:lnTo>
                  <a:lnTo>
                    <a:pt x="2257732" y="1770601"/>
                  </a:lnTo>
                  <a:lnTo>
                    <a:pt x="2255710" y="1764137"/>
                  </a:lnTo>
                  <a:lnTo>
                    <a:pt x="2261927" y="1764137"/>
                  </a:lnTo>
                  <a:lnTo>
                    <a:pt x="2270265" y="1770601"/>
                  </a:lnTo>
                  <a:lnTo>
                    <a:pt x="2274410" y="1775535"/>
                  </a:lnTo>
                  <a:lnTo>
                    <a:pt x="2272337" y="1783577"/>
                  </a:lnTo>
                  <a:lnTo>
                    <a:pt x="2272337" y="1790041"/>
                  </a:lnTo>
                  <a:lnTo>
                    <a:pt x="2263999" y="1799909"/>
                  </a:lnTo>
                  <a:lnTo>
                    <a:pt x="2263999" y="1808001"/>
                  </a:lnTo>
                  <a:lnTo>
                    <a:pt x="2257732" y="1812935"/>
                  </a:lnTo>
                  <a:lnTo>
                    <a:pt x="2266120" y="1809728"/>
                  </a:lnTo>
                  <a:lnTo>
                    <a:pt x="2274410" y="1793593"/>
                  </a:lnTo>
                  <a:lnTo>
                    <a:pt x="2284820" y="1785551"/>
                  </a:lnTo>
                  <a:lnTo>
                    <a:pt x="2286942" y="1785551"/>
                  </a:lnTo>
                  <a:lnTo>
                    <a:pt x="2284820" y="1791965"/>
                  </a:lnTo>
                  <a:lnTo>
                    <a:pt x="2286942" y="1804892"/>
                  </a:lnTo>
                  <a:lnTo>
                    <a:pt x="2284820" y="1806521"/>
                  </a:lnTo>
                  <a:lnTo>
                    <a:pt x="2284820" y="1812935"/>
                  </a:lnTo>
                  <a:lnTo>
                    <a:pt x="2280676" y="1817869"/>
                  </a:lnTo>
                  <a:lnTo>
                    <a:pt x="2289014" y="1809777"/>
                  </a:lnTo>
                  <a:lnTo>
                    <a:pt x="2291087" y="1803363"/>
                  </a:lnTo>
                  <a:lnTo>
                    <a:pt x="2299425" y="1798429"/>
                  </a:lnTo>
                  <a:lnTo>
                    <a:pt x="2305642" y="1796850"/>
                  </a:lnTo>
                  <a:lnTo>
                    <a:pt x="2311957" y="1791916"/>
                  </a:lnTo>
                  <a:lnTo>
                    <a:pt x="2316053" y="1793544"/>
                  </a:lnTo>
                  <a:lnTo>
                    <a:pt x="2318174" y="1795172"/>
                  </a:lnTo>
                  <a:lnTo>
                    <a:pt x="2320247" y="1793544"/>
                  </a:lnTo>
                  <a:lnTo>
                    <a:pt x="2326513" y="1791916"/>
                  </a:lnTo>
                  <a:lnTo>
                    <a:pt x="2328585" y="1785502"/>
                  </a:lnTo>
                  <a:lnTo>
                    <a:pt x="2332779" y="1780568"/>
                  </a:lnTo>
                  <a:lnTo>
                    <a:pt x="2343190" y="1774104"/>
                  </a:lnTo>
                  <a:lnTo>
                    <a:pt x="2347335" y="1777311"/>
                  </a:lnTo>
                  <a:lnTo>
                    <a:pt x="2349407" y="1787179"/>
                  </a:lnTo>
                  <a:lnTo>
                    <a:pt x="2347335" y="1793593"/>
                  </a:lnTo>
                  <a:lnTo>
                    <a:pt x="2353601" y="1783725"/>
                  </a:lnTo>
                  <a:lnTo>
                    <a:pt x="2351479" y="1775683"/>
                  </a:lnTo>
                  <a:lnTo>
                    <a:pt x="2355673" y="1774055"/>
                  </a:lnTo>
                  <a:lnTo>
                    <a:pt x="2355673" y="1772426"/>
                  </a:lnTo>
                  <a:lnTo>
                    <a:pt x="2359818" y="1765963"/>
                  </a:lnTo>
                  <a:lnTo>
                    <a:pt x="2364012" y="1764335"/>
                  </a:lnTo>
                  <a:lnTo>
                    <a:pt x="2366084" y="1756292"/>
                  </a:lnTo>
                  <a:lnTo>
                    <a:pt x="2372301" y="1754713"/>
                  </a:lnTo>
                  <a:lnTo>
                    <a:pt x="2376495" y="1748250"/>
                  </a:lnTo>
                  <a:lnTo>
                    <a:pt x="2378567" y="1743316"/>
                  </a:lnTo>
                  <a:lnTo>
                    <a:pt x="2382712" y="1743316"/>
                  </a:lnTo>
                  <a:lnTo>
                    <a:pt x="2388978" y="1749779"/>
                  </a:lnTo>
                  <a:lnTo>
                    <a:pt x="2388978" y="1744845"/>
                  </a:lnTo>
                  <a:lnTo>
                    <a:pt x="2386905" y="1739911"/>
                  </a:lnTo>
                  <a:lnTo>
                    <a:pt x="2380639" y="1739911"/>
                  </a:lnTo>
                  <a:lnTo>
                    <a:pt x="2380639" y="1736704"/>
                  </a:lnTo>
                  <a:lnTo>
                    <a:pt x="2384833" y="1726836"/>
                  </a:lnTo>
                  <a:lnTo>
                    <a:pt x="2388978" y="1725208"/>
                  </a:lnTo>
                  <a:lnTo>
                    <a:pt x="2393122" y="1728415"/>
                  </a:lnTo>
                  <a:lnTo>
                    <a:pt x="2391050" y="1723481"/>
                  </a:lnTo>
                  <a:lnTo>
                    <a:pt x="2395244" y="1720274"/>
                  </a:lnTo>
                  <a:lnTo>
                    <a:pt x="2397317" y="1715340"/>
                  </a:lnTo>
                  <a:lnTo>
                    <a:pt x="2405655" y="1708925"/>
                  </a:lnTo>
                  <a:lnTo>
                    <a:pt x="2407727" y="1703991"/>
                  </a:lnTo>
                  <a:lnTo>
                    <a:pt x="2405655" y="1699057"/>
                  </a:lnTo>
                  <a:lnTo>
                    <a:pt x="2411921" y="1692594"/>
                  </a:lnTo>
                  <a:lnTo>
                    <a:pt x="2420260" y="1689337"/>
                  </a:lnTo>
                  <a:lnTo>
                    <a:pt x="2422332" y="1692594"/>
                  </a:lnTo>
                  <a:lnTo>
                    <a:pt x="2418138" y="1695801"/>
                  </a:lnTo>
                  <a:lnTo>
                    <a:pt x="2424355" y="1694173"/>
                  </a:lnTo>
                  <a:lnTo>
                    <a:pt x="2426477" y="1697429"/>
                  </a:lnTo>
                  <a:lnTo>
                    <a:pt x="2422332" y="1699057"/>
                  </a:lnTo>
                  <a:lnTo>
                    <a:pt x="2420260" y="1703991"/>
                  </a:lnTo>
                  <a:lnTo>
                    <a:pt x="2424355" y="1707248"/>
                  </a:lnTo>
                  <a:lnTo>
                    <a:pt x="2420260" y="1712182"/>
                  </a:lnTo>
                  <a:lnTo>
                    <a:pt x="2418138" y="1712182"/>
                  </a:lnTo>
                  <a:lnTo>
                    <a:pt x="2416066" y="1713810"/>
                  </a:lnTo>
                  <a:lnTo>
                    <a:pt x="2422332" y="1715389"/>
                  </a:lnTo>
                  <a:lnTo>
                    <a:pt x="2426477" y="1715389"/>
                  </a:lnTo>
                  <a:lnTo>
                    <a:pt x="2424355" y="1720323"/>
                  </a:lnTo>
                  <a:lnTo>
                    <a:pt x="2422332" y="1723530"/>
                  </a:lnTo>
                  <a:lnTo>
                    <a:pt x="2426477" y="1721902"/>
                  </a:lnTo>
                  <a:lnTo>
                    <a:pt x="2426477" y="1728365"/>
                  </a:lnTo>
                  <a:lnTo>
                    <a:pt x="2422332" y="1729994"/>
                  </a:lnTo>
                  <a:lnTo>
                    <a:pt x="2424355" y="1736457"/>
                  </a:lnTo>
                  <a:lnTo>
                    <a:pt x="2430670" y="1741391"/>
                  </a:lnTo>
                  <a:lnTo>
                    <a:pt x="2430670" y="1749434"/>
                  </a:lnTo>
                  <a:lnTo>
                    <a:pt x="2428549" y="1752690"/>
                  </a:lnTo>
                  <a:lnTo>
                    <a:pt x="2424355" y="1749434"/>
                  </a:lnTo>
                  <a:lnTo>
                    <a:pt x="2420260" y="1751062"/>
                  </a:lnTo>
                  <a:lnTo>
                    <a:pt x="2424355" y="1754319"/>
                  </a:lnTo>
                  <a:lnTo>
                    <a:pt x="2426477" y="1759253"/>
                  </a:lnTo>
                  <a:lnTo>
                    <a:pt x="2430670" y="1759253"/>
                  </a:lnTo>
                  <a:lnTo>
                    <a:pt x="2434815" y="1754319"/>
                  </a:lnTo>
                  <a:lnTo>
                    <a:pt x="2434815" y="1759253"/>
                  </a:lnTo>
                  <a:lnTo>
                    <a:pt x="2438960" y="1762460"/>
                  </a:lnTo>
                  <a:lnTo>
                    <a:pt x="2434815" y="1768923"/>
                  </a:lnTo>
                  <a:lnTo>
                    <a:pt x="2428549" y="1770502"/>
                  </a:lnTo>
                  <a:lnTo>
                    <a:pt x="2420260" y="1770502"/>
                  </a:lnTo>
                  <a:lnTo>
                    <a:pt x="2416066" y="1773759"/>
                  </a:lnTo>
                  <a:lnTo>
                    <a:pt x="2422332" y="1776966"/>
                  </a:lnTo>
                  <a:lnTo>
                    <a:pt x="2438960" y="1772032"/>
                  </a:lnTo>
                  <a:lnTo>
                    <a:pt x="2445226" y="1773660"/>
                  </a:lnTo>
                  <a:lnTo>
                    <a:pt x="2443154" y="1778594"/>
                  </a:lnTo>
                  <a:lnTo>
                    <a:pt x="2436887" y="1785058"/>
                  </a:lnTo>
                  <a:lnTo>
                    <a:pt x="2441081" y="1786686"/>
                  </a:lnTo>
                  <a:lnTo>
                    <a:pt x="2447298" y="1783429"/>
                  </a:lnTo>
                  <a:lnTo>
                    <a:pt x="2447298" y="1791028"/>
                  </a:lnTo>
                  <a:lnTo>
                    <a:pt x="2441081" y="1797491"/>
                  </a:lnTo>
                  <a:lnTo>
                    <a:pt x="2430670" y="1797491"/>
                  </a:lnTo>
                  <a:lnTo>
                    <a:pt x="2424355" y="1794284"/>
                  </a:lnTo>
                  <a:lnTo>
                    <a:pt x="2422332" y="1799218"/>
                  </a:lnTo>
                  <a:lnTo>
                    <a:pt x="2424355" y="1802475"/>
                  </a:lnTo>
                  <a:lnTo>
                    <a:pt x="2420260" y="1807409"/>
                  </a:lnTo>
                  <a:lnTo>
                    <a:pt x="2430670" y="1804152"/>
                  </a:lnTo>
                  <a:lnTo>
                    <a:pt x="2441081" y="1804152"/>
                  </a:lnTo>
                  <a:lnTo>
                    <a:pt x="2449371" y="1800945"/>
                  </a:lnTo>
                  <a:lnTo>
                    <a:pt x="2451492" y="1802573"/>
                  </a:lnTo>
                  <a:lnTo>
                    <a:pt x="2447298" y="1807507"/>
                  </a:lnTo>
                  <a:lnTo>
                    <a:pt x="2447298" y="1810764"/>
                  </a:lnTo>
                  <a:lnTo>
                    <a:pt x="2441081" y="1814020"/>
                  </a:lnTo>
                  <a:lnTo>
                    <a:pt x="2434815" y="1814020"/>
                  </a:lnTo>
                  <a:lnTo>
                    <a:pt x="2424355" y="1825270"/>
                  </a:lnTo>
                  <a:lnTo>
                    <a:pt x="2436887" y="1820336"/>
                  </a:lnTo>
                  <a:lnTo>
                    <a:pt x="2443450" y="1820336"/>
                  </a:lnTo>
                  <a:lnTo>
                    <a:pt x="2449667" y="1818708"/>
                  </a:lnTo>
                  <a:lnTo>
                    <a:pt x="2455933" y="1820336"/>
                  </a:lnTo>
                  <a:lnTo>
                    <a:pt x="2455933" y="1825270"/>
                  </a:lnTo>
                  <a:lnTo>
                    <a:pt x="2449667" y="1825270"/>
                  </a:lnTo>
                  <a:lnTo>
                    <a:pt x="2441377" y="1830204"/>
                  </a:lnTo>
                  <a:lnTo>
                    <a:pt x="2439256" y="1836668"/>
                  </a:lnTo>
                  <a:lnTo>
                    <a:pt x="2445522" y="1831734"/>
                  </a:lnTo>
                  <a:lnTo>
                    <a:pt x="2451788" y="1834990"/>
                  </a:lnTo>
                  <a:lnTo>
                    <a:pt x="2455933" y="1830056"/>
                  </a:lnTo>
                  <a:lnTo>
                    <a:pt x="2462199" y="1836520"/>
                  </a:lnTo>
                  <a:lnTo>
                    <a:pt x="2466344" y="1846388"/>
                  </a:lnTo>
                  <a:lnTo>
                    <a:pt x="2458005" y="1851322"/>
                  </a:lnTo>
                  <a:lnTo>
                    <a:pt x="2453860" y="1849693"/>
                  </a:lnTo>
                  <a:lnTo>
                    <a:pt x="2449667" y="1852901"/>
                  </a:lnTo>
                  <a:lnTo>
                    <a:pt x="2443450" y="1852901"/>
                  </a:lnTo>
                  <a:lnTo>
                    <a:pt x="2447594" y="1856157"/>
                  </a:lnTo>
                  <a:lnTo>
                    <a:pt x="2451788" y="1856157"/>
                  </a:lnTo>
                  <a:lnTo>
                    <a:pt x="2455933" y="1857736"/>
                  </a:lnTo>
                  <a:lnTo>
                    <a:pt x="2464271" y="1857736"/>
                  </a:lnTo>
                  <a:lnTo>
                    <a:pt x="2466344" y="1860943"/>
                  </a:lnTo>
                  <a:lnTo>
                    <a:pt x="2464271" y="1865877"/>
                  </a:lnTo>
                  <a:lnTo>
                    <a:pt x="2460077" y="1867456"/>
                  </a:lnTo>
                  <a:lnTo>
                    <a:pt x="2466344" y="1870712"/>
                  </a:lnTo>
                  <a:lnTo>
                    <a:pt x="2470488" y="1869133"/>
                  </a:lnTo>
                  <a:lnTo>
                    <a:pt x="2478876" y="1874067"/>
                  </a:lnTo>
                  <a:lnTo>
                    <a:pt x="2476754" y="1880531"/>
                  </a:lnTo>
                  <a:lnTo>
                    <a:pt x="2470488" y="1882159"/>
                  </a:lnTo>
                  <a:lnTo>
                    <a:pt x="2462199" y="1888574"/>
                  </a:lnTo>
                  <a:lnTo>
                    <a:pt x="2455933" y="1886995"/>
                  </a:lnTo>
                  <a:lnTo>
                    <a:pt x="2453860" y="1890251"/>
                  </a:lnTo>
                  <a:lnTo>
                    <a:pt x="2462199" y="1891830"/>
                  </a:lnTo>
                  <a:lnTo>
                    <a:pt x="2462199" y="1894642"/>
                  </a:lnTo>
                  <a:lnTo>
                    <a:pt x="2453860" y="1896320"/>
                  </a:lnTo>
                  <a:lnTo>
                    <a:pt x="2445522" y="1891386"/>
                  </a:lnTo>
                  <a:lnTo>
                    <a:pt x="2435111" y="1891386"/>
                  </a:lnTo>
                  <a:lnTo>
                    <a:pt x="2443450" y="1896320"/>
                  </a:lnTo>
                  <a:lnTo>
                    <a:pt x="2443450" y="1901254"/>
                  </a:lnTo>
                  <a:lnTo>
                    <a:pt x="2451788" y="1907718"/>
                  </a:lnTo>
                  <a:lnTo>
                    <a:pt x="2453860" y="1910974"/>
                  </a:lnTo>
                  <a:lnTo>
                    <a:pt x="2453860" y="1914181"/>
                  </a:lnTo>
                  <a:lnTo>
                    <a:pt x="2445522" y="1915760"/>
                  </a:lnTo>
                  <a:lnTo>
                    <a:pt x="2443450" y="1919017"/>
                  </a:lnTo>
                  <a:lnTo>
                    <a:pt x="2433039" y="1917438"/>
                  </a:lnTo>
                  <a:lnTo>
                    <a:pt x="2445522" y="1920645"/>
                  </a:lnTo>
                  <a:lnTo>
                    <a:pt x="2449667" y="1920645"/>
                  </a:lnTo>
                  <a:lnTo>
                    <a:pt x="2451788" y="1917438"/>
                  </a:lnTo>
                  <a:lnTo>
                    <a:pt x="2460077" y="1915760"/>
                  </a:lnTo>
                  <a:lnTo>
                    <a:pt x="2464271" y="1917438"/>
                  </a:lnTo>
                  <a:lnTo>
                    <a:pt x="2464271" y="1920645"/>
                  </a:lnTo>
                  <a:lnTo>
                    <a:pt x="2468465" y="1923852"/>
                  </a:lnTo>
                  <a:lnTo>
                    <a:pt x="2464271" y="1927108"/>
                  </a:lnTo>
                  <a:lnTo>
                    <a:pt x="2468465" y="1927108"/>
                  </a:lnTo>
                  <a:lnTo>
                    <a:pt x="2470488" y="1928687"/>
                  </a:lnTo>
                  <a:lnTo>
                    <a:pt x="2468465" y="1933621"/>
                  </a:lnTo>
                  <a:lnTo>
                    <a:pt x="2470488" y="1935250"/>
                  </a:lnTo>
                  <a:lnTo>
                    <a:pt x="2476754" y="1932042"/>
                  </a:lnTo>
                  <a:lnTo>
                    <a:pt x="2480899" y="1933621"/>
                  </a:lnTo>
                  <a:lnTo>
                    <a:pt x="2485093" y="1933621"/>
                  </a:lnTo>
                  <a:lnTo>
                    <a:pt x="2485093" y="1941713"/>
                  </a:lnTo>
                  <a:lnTo>
                    <a:pt x="2480899" y="1944970"/>
                  </a:lnTo>
                  <a:lnTo>
                    <a:pt x="2480899" y="1948177"/>
                  </a:lnTo>
                  <a:lnTo>
                    <a:pt x="2485093" y="1948177"/>
                  </a:lnTo>
                  <a:lnTo>
                    <a:pt x="2491359" y="1940085"/>
                  </a:lnTo>
                  <a:lnTo>
                    <a:pt x="2493431" y="1940085"/>
                  </a:lnTo>
                  <a:lnTo>
                    <a:pt x="2493431" y="1946548"/>
                  </a:lnTo>
                  <a:lnTo>
                    <a:pt x="2497576" y="1949756"/>
                  </a:lnTo>
                  <a:lnTo>
                    <a:pt x="2487165" y="1954690"/>
                  </a:lnTo>
                  <a:lnTo>
                    <a:pt x="2476754" y="1967617"/>
                  </a:lnTo>
                  <a:lnTo>
                    <a:pt x="2470488" y="1970824"/>
                  </a:lnTo>
                  <a:lnTo>
                    <a:pt x="2464271" y="1969245"/>
                  </a:lnTo>
                  <a:lnTo>
                    <a:pt x="2470488" y="1972452"/>
                  </a:lnTo>
                  <a:lnTo>
                    <a:pt x="2476754" y="1970824"/>
                  </a:lnTo>
                  <a:lnTo>
                    <a:pt x="2489287" y="1960956"/>
                  </a:lnTo>
                  <a:lnTo>
                    <a:pt x="2495504" y="1960956"/>
                  </a:lnTo>
                  <a:lnTo>
                    <a:pt x="2495504" y="1963719"/>
                  </a:lnTo>
                  <a:lnTo>
                    <a:pt x="2489287" y="1966926"/>
                  </a:lnTo>
                  <a:lnTo>
                    <a:pt x="2485093" y="1971860"/>
                  </a:lnTo>
                  <a:lnTo>
                    <a:pt x="2489287" y="1973488"/>
                  </a:lnTo>
                  <a:lnTo>
                    <a:pt x="2497576" y="1967025"/>
                  </a:lnTo>
                  <a:lnTo>
                    <a:pt x="2503842" y="1960561"/>
                  </a:lnTo>
                  <a:lnTo>
                    <a:pt x="2510108" y="1958982"/>
                  </a:lnTo>
                  <a:lnTo>
                    <a:pt x="2510108" y="1962189"/>
                  </a:lnTo>
                  <a:lnTo>
                    <a:pt x="2505914" y="1963818"/>
                  </a:lnTo>
                  <a:lnTo>
                    <a:pt x="2501770" y="1967025"/>
                  </a:lnTo>
                  <a:lnTo>
                    <a:pt x="2503842" y="1968653"/>
                  </a:lnTo>
                  <a:lnTo>
                    <a:pt x="2514253" y="1965446"/>
                  </a:lnTo>
                  <a:lnTo>
                    <a:pt x="2518398" y="1967025"/>
                  </a:lnTo>
                  <a:lnTo>
                    <a:pt x="2508036" y="1973587"/>
                  </a:lnTo>
                  <a:lnTo>
                    <a:pt x="2501819" y="1978521"/>
                  </a:lnTo>
                  <a:lnTo>
                    <a:pt x="2505964" y="1980149"/>
                  </a:lnTo>
                  <a:lnTo>
                    <a:pt x="2512230" y="1975215"/>
                  </a:lnTo>
                  <a:lnTo>
                    <a:pt x="2524762" y="1965347"/>
                  </a:lnTo>
                  <a:lnTo>
                    <a:pt x="2528858" y="1966926"/>
                  </a:lnTo>
                  <a:lnTo>
                    <a:pt x="2524762" y="1968554"/>
                  </a:lnTo>
                  <a:lnTo>
                    <a:pt x="2522641" y="1971761"/>
                  </a:lnTo>
                  <a:lnTo>
                    <a:pt x="2533052" y="1966827"/>
                  </a:lnTo>
                  <a:lnTo>
                    <a:pt x="2533052" y="1979755"/>
                  </a:lnTo>
                  <a:lnTo>
                    <a:pt x="2528858" y="1979755"/>
                  </a:lnTo>
                  <a:lnTo>
                    <a:pt x="2528858" y="1984689"/>
                  </a:lnTo>
                  <a:lnTo>
                    <a:pt x="2537196" y="1983060"/>
                  </a:lnTo>
                  <a:lnTo>
                    <a:pt x="2545584" y="1987994"/>
                  </a:lnTo>
                  <a:lnTo>
                    <a:pt x="2549729" y="1981531"/>
                  </a:lnTo>
                  <a:lnTo>
                    <a:pt x="2560140" y="1979952"/>
                  </a:lnTo>
                  <a:lnTo>
                    <a:pt x="2566406" y="1981531"/>
                  </a:lnTo>
                  <a:lnTo>
                    <a:pt x="2562212" y="1986465"/>
                  </a:lnTo>
                  <a:lnTo>
                    <a:pt x="2558067" y="1986465"/>
                  </a:lnTo>
                  <a:lnTo>
                    <a:pt x="2555995" y="1989672"/>
                  </a:lnTo>
                  <a:lnTo>
                    <a:pt x="2572623" y="1994606"/>
                  </a:lnTo>
                  <a:lnTo>
                    <a:pt x="2578889" y="1999540"/>
                  </a:lnTo>
                  <a:lnTo>
                    <a:pt x="2568478" y="2001168"/>
                  </a:lnTo>
                  <a:lnTo>
                    <a:pt x="2568478" y="2002747"/>
                  </a:lnTo>
                  <a:lnTo>
                    <a:pt x="2553676" y="2004375"/>
                  </a:lnTo>
                  <a:lnTo>
                    <a:pt x="2549531" y="2002747"/>
                  </a:lnTo>
                  <a:lnTo>
                    <a:pt x="2539121" y="2006004"/>
                  </a:lnTo>
                  <a:lnTo>
                    <a:pt x="2532854" y="2012467"/>
                  </a:lnTo>
                  <a:lnTo>
                    <a:pt x="2520371" y="2012467"/>
                  </a:lnTo>
                  <a:lnTo>
                    <a:pt x="2501622" y="2015674"/>
                  </a:lnTo>
                  <a:lnTo>
                    <a:pt x="2499550" y="2018931"/>
                  </a:lnTo>
                  <a:lnTo>
                    <a:pt x="2514352" y="2017303"/>
                  </a:lnTo>
                  <a:lnTo>
                    <a:pt x="2526835" y="2014095"/>
                  </a:lnTo>
                  <a:lnTo>
                    <a:pt x="2533101" y="2014095"/>
                  </a:lnTo>
                  <a:lnTo>
                    <a:pt x="2533101" y="2017303"/>
                  </a:lnTo>
                  <a:lnTo>
                    <a:pt x="2518299" y="2018931"/>
                  </a:lnTo>
                  <a:lnTo>
                    <a:pt x="2505816" y="2020510"/>
                  </a:lnTo>
                  <a:lnTo>
                    <a:pt x="2493333" y="2026973"/>
                  </a:lnTo>
                  <a:lnTo>
                    <a:pt x="2489188" y="2030180"/>
                  </a:lnTo>
                  <a:lnTo>
                    <a:pt x="2480800" y="2030180"/>
                  </a:lnTo>
                  <a:lnTo>
                    <a:pt x="2480800" y="2036644"/>
                  </a:lnTo>
                  <a:lnTo>
                    <a:pt x="2476656" y="2039900"/>
                  </a:lnTo>
                  <a:lnTo>
                    <a:pt x="2464173" y="2031809"/>
                  </a:lnTo>
                  <a:lnTo>
                    <a:pt x="2455834" y="2020510"/>
                  </a:lnTo>
                  <a:lnTo>
                    <a:pt x="2457906" y="2025444"/>
                  </a:lnTo>
                  <a:lnTo>
                    <a:pt x="2455834" y="2028700"/>
                  </a:lnTo>
                  <a:lnTo>
                    <a:pt x="2459979" y="2031907"/>
                  </a:lnTo>
                  <a:lnTo>
                    <a:pt x="2462100" y="2033536"/>
                  </a:lnTo>
                  <a:lnTo>
                    <a:pt x="2476903" y="2044835"/>
                  </a:lnTo>
                  <a:lnTo>
                    <a:pt x="2474830" y="2048042"/>
                  </a:lnTo>
                  <a:lnTo>
                    <a:pt x="2470636" y="2046463"/>
                  </a:lnTo>
                  <a:lnTo>
                    <a:pt x="2466491" y="2049670"/>
                  </a:lnTo>
                  <a:lnTo>
                    <a:pt x="2468613" y="2054604"/>
                  </a:lnTo>
                  <a:lnTo>
                    <a:pt x="2472758" y="2056232"/>
                  </a:lnTo>
                  <a:lnTo>
                    <a:pt x="2474830" y="2053025"/>
                  </a:lnTo>
                  <a:lnTo>
                    <a:pt x="2479024" y="2053025"/>
                  </a:lnTo>
                  <a:lnTo>
                    <a:pt x="2485241" y="2043157"/>
                  </a:lnTo>
                  <a:lnTo>
                    <a:pt x="2495652" y="2043157"/>
                  </a:lnTo>
                  <a:lnTo>
                    <a:pt x="2503990" y="2036693"/>
                  </a:lnTo>
                  <a:lnTo>
                    <a:pt x="2508135" y="2036693"/>
                  </a:lnTo>
                  <a:lnTo>
                    <a:pt x="2512329" y="2030230"/>
                  </a:lnTo>
                  <a:lnTo>
                    <a:pt x="2518545" y="2023815"/>
                  </a:lnTo>
                  <a:lnTo>
                    <a:pt x="2526884" y="2023815"/>
                  </a:lnTo>
                  <a:lnTo>
                    <a:pt x="2539417" y="2018881"/>
                  </a:lnTo>
                  <a:lnTo>
                    <a:pt x="2547706" y="2020460"/>
                  </a:lnTo>
                  <a:lnTo>
                    <a:pt x="2556094" y="2018881"/>
                  </a:lnTo>
                  <a:lnTo>
                    <a:pt x="2551900" y="2017253"/>
                  </a:lnTo>
                  <a:lnTo>
                    <a:pt x="2543561" y="2017253"/>
                  </a:lnTo>
                  <a:lnTo>
                    <a:pt x="2541489" y="2015625"/>
                  </a:lnTo>
                  <a:lnTo>
                    <a:pt x="2547706" y="2014046"/>
                  </a:lnTo>
                  <a:lnTo>
                    <a:pt x="2562508" y="2012418"/>
                  </a:lnTo>
                  <a:lnTo>
                    <a:pt x="2574991" y="2015625"/>
                  </a:lnTo>
                  <a:lnTo>
                    <a:pt x="2579185" y="2025493"/>
                  </a:lnTo>
                  <a:lnTo>
                    <a:pt x="2579185" y="2030427"/>
                  </a:lnTo>
                  <a:lnTo>
                    <a:pt x="2570846" y="2036891"/>
                  </a:lnTo>
                  <a:lnTo>
                    <a:pt x="2566702" y="2036891"/>
                  </a:lnTo>
                  <a:lnTo>
                    <a:pt x="2562508" y="2041825"/>
                  </a:lnTo>
                  <a:lnTo>
                    <a:pt x="2570846" y="2043404"/>
                  </a:lnTo>
                  <a:lnTo>
                    <a:pt x="2572919" y="2048338"/>
                  </a:lnTo>
                  <a:lnTo>
                    <a:pt x="2577113" y="2045131"/>
                  </a:lnTo>
                  <a:lnTo>
                    <a:pt x="2579185" y="2040197"/>
                  </a:lnTo>
                  <a:lnTo>
                    <a:pt x="2589596" y="2035262"/>
                  </a:lnTo>
                  <a:lnTo>
                    <a:pt x="2597934" y="2035262"/>
                  </a:lnTo>
                  <a:lnTo>
                    <a:pt x="2597934" y="2036841"/>
                  </a:lnTo>
                  <a:lnTo>
                    <a:pt x="2595813" y="2038470"/>
                  </a:lnTo>
                  <a:lnTo>
                    <a:pt x="2595813" y="2041726"/>
                  </a:lnTo>
                  <a:lnTo>
                    <a:pt x="2604151" y="2043305"/>
                  </a:lnTo>
                  <a:lnTo>
                    <a:pt x="2614611" y="2046561"/>
                  </a:lnTo>
                  <a:lnTo>
                    <a:pt x="2614611" y="2049769"/>
                  </a:lnTo>
                  <a:lnTo>
                    <a:pt x="2608345" y="2046561"/>
                  </a:lnTo>
                  <a:lnTo>
                    <a:pt x="2606223" y="2048140"/>
                  </a:lnTo>
                  <a:lnTo>
                    <a:pt x="2608345" y="2053074"/>
                  </a:lnTo>
                  <a:lnTo>
                    <a:pt x="2616634" y="2056282"/>
                  </a:lnTo>
                  <a:lnTo>
                    <a:pt x="2618756" y="2061216"/>
                  </a:lnTo>
                  <a:lnTo>
                    <a:pt x="2612490" y="2066150"/>
                  </a:lnTo>
                  <a:lnTo>
                    <a:pt x="2608345" y="2064521"/>
                  </a:lnTo>
                  <a:lnTo>
                    <a:pt x="2602079" y="2067778"/>
                  </a:lnTo>
                  <a:lnTo>
                    <a:pt x="2612490" y="2070985"/>
                  </a:lnTo>
                  <a:lnTo>
                    <a:pt x="2610417" y="2077448"/>
                  </a:lnTo>
                  <a:lnTo>
                    <a:pt x="2604151" y="2079027"/>
                  </a:lnTo>
                  <a:lnTo>
                    <a:pt x="2602079" y="2083961"/>
                  </a:lnTo>
                  <a:lnTo>
                    <a:pt x="2597934" y="2087168"/>
                  </a:lnTo>
                  <a:lnTo>
                    <a:pt x="2589596" y="2082234"/>
                  </a:lnTo>
                  <a:lnTo>
                    <a:pt x="2591668" y="2087168"/>
                  </a:lnTo>
                  <a:lnTo>
                    <a:pt x="2602079" y="2090425"/>
                  </a:lnTo>
                  <a:lnTo>
                    <a:pt x="2608345" y="2090425"/>
                  </a:lnTo>
                  <a:lnTo>
                    <a:pt x="2612490" y="2095359"/>
                  </a:lnTo>
                  <a:lnTo>
                    <a:pt x="2608345" y="2096938"/>
                  </a:lnTo>
                  <a:lnTo>
                    <a:pt x="2602079" y="2095359"/>
                  </a:lnTo>
                  <a:lnTo>
                    <a:pt x="2597934" y="2095359"/>
                  </a:lnTo>
                  <a:lnTo>
                    <a:pt x="2602079" y="2098566"/>
                  </a:lnTo>
                  <a:lnTo>
                    <a:pt x="2608345" y="2098566"/>
                  </a:lnTo>
                  <a:lnTo>
                    <a:pt x="2612490" y="2100145"/>
                  </a:lnTo>
                  <a:lnTo>
                    <a:pt x="2610417" y="2105079"/>
                  </a:lnTo>
                  <a:lnTo>
                    <a:pt x="2608345" y="2111543"/>
                  </a:lnTo>
                  <a:lnTo>
                    <a:pt x="2604151" y="2111543"/>
                  </a:lnTo>
                  <a:lnTo>
                    <a:pt x="2600006" y="2116477"/>
                  </a:lnTo>
                  <a:lnTo>
                    <a:pt x="2591471" y="2121954"/>
                  </a:lnTo>
                  <a:lnTo>
                    <a:pt x="2583132" y="2121954"/>
                  </a:lnTo>
                  <a:lnTo>
                    <a:pt x="2574794" y="2126888"/>
                  </a:lnTo>
                  <a:lnTo>
                    <a:pt x="2572721" y="2126888"/>
                  </a:lnTo>
                  <a:lnTo>
                    <a:pt x="2566504" y="2131822"/>
                  </a:lnTo>
                  <a:lnTo>
                    <a:pt x="2562311" y="2131822"/>
                  </a:lnTo>
                  <a:lnTo>
                    <a:pt x="2560238" y="2136756"/>
                  </a:lnTo>
                  <a:lnTo>
                    <a:pt x="2556094" y="2136756"/>
                  </a:lnTo>
                  <a:lnTo>
                    <a:pt x="2551900" y="2133499"/>
                  </a:lnTo>
                  <a:lnTo>
                    <a:pt x="2545683" y="2136756"/>
                  </a:lnTo>
                  <a:lnTo>
                    <a:pt x="2539417" y="2135177"/>
                  </a:lnTo>
                  <a:lnTo>
                    <a:pt x="2539417" y="2133499"/>
                  </a:lnTo>
                  <a:lnTo>
                    <a:pt x="2531078" y="2138433"/>
                  </a:lnTo>
                  <a:lnTo>
                    <a:pt x="2522740" y="2136805"/>
                  </a:lnTo>
                  <a:lnTo>
                    <a:pt x="2520667" y="2131871"/>
                  </a:lnTo>
                  <a:lnTo>
                    <a:pt x="2516473" y="2133450"/>
                  </a:lnTo>
                  <a:lnTo>
                    <a:pt x="2518545" y="2138384"/>
                  </a:lnTo>
                  <a:lnTo>
                    <a:pt x="2512329" y="2139963"/>
                  </a:lnTo>
                  <a:lnTo>
                    <a:pt x="2503990" y="2138384"/>
                  </a:lnTo>
                  <a:lnTo>
                    <a:pt x="2501918" y="2141591"/>
                  </a:lnTo>
                  <a:lnTo>
                    <a:pt x="2503990" y="2141591"/>
                  </a:lnTo>
                  <a:lnTo>
                    <a:pt x="2503990" y="2146525"/>
                  </a:lnTo>
                  <a:lnTo>
                    <a:pt x="2497724" y="2149781"/>
                  </a:lnTo>
                  <a:lnTo>
                    <a:pt x="2493579" y="2149781"/>
                  </a:lnTo>
                  <a:lnTo>
                    <a:pt x="2493579" y="2154715"/>
                  </a:lnTo>
                  <a:lnTo>
                    <a:pt x="2489435" y="2164584"/>
                  </a:lnTo>
                  <a:lnTo>
                    <a:pt x="2483169" y="2162955"/>
                  </a:lnTo>
                  <a:lnTo>
                    <a:pt x="2481047" y="2166162"/>
                  </a:lnTo>
                  <a:lnTo>
                    <a:pt x="2474830" y="2169419"/>
                  </a:lnTo>
                  <a:lnTo>
                    <a:pt x="2470636" y="2174353"/>
                  </a:lnTo>
                  <a:lnTo>
                    <a:pt x="2466491" y="2174353"/>
                  </a:lnTo>
                  <a:lnTo>
                    <a:pt x="2462347" y="2175932"/>
                  </a:lnTo>
                  <a:lnTo>
                    <a:pt x="2456081" y="2175932"/>
                  </a:lnTo>
                  <a:lnTo>
                    <a:pt x="2454009" y="2179188"/>
                  </a:lnTo>
                  <a:lnTo>
                    <a:pt x="2447742" y="2182395"/>
                  </a:lnTo>
                  <a:lnTo>
                    <a:pt x="2443598" y="2179188"/>
                  </a:lnTo>
                  <a:lnTo>
                    <a:pt x="2431115" y="2179188"/>
                  </a:lnTo>
                  <a:lnTo>
                    <a:pt x="2428993" y="2177609"/>
                  </a:lnTo>
                  <a:lnTo>
                    <a:pt x="2420704" y="2179188"/>
                  </a:lnTo>
                  <a:lnTo>
                    <a:pt x="2416510" y="2179188"/>
                  </a:lnTo>
                  <a:lnTo>
                    <a:pt x="2399833" y="2184122"/>
                  </a:lnTo>
                  <a:lnTo>
                    <a:pt x="2393567" y="2182445"/>
                  </a:lnTo>
                  <a:lnTo>
                    <a:pt x="2395688" y="2179238"/>
                  </a:lnTo>
                  <a:lnTo>
                    <a:pt x="2389175" y="2179238"/>
                  </a:lnTo>
                  <a:lnTo>
                    <a:pt x="2382909" y="2180866"/>
                  </a:lnTo>
                  <a:lnTo>
                    <a:pt x="2376840" y="2180866"/>
                  </a:lnTo>
                  <a:lnTo>
                    <a:pt x="2366429" y="2177659"/>
                  </a:lnTo>
                  <a:lnTo>
                    <a:pt x="2356019" y="2177659"/>
                  </a:lnTo>
                  <a:lnTo>
                    <a:pt x="2349752" y="2172725"/>
                  </a:lnTo>
                  <a:lnTo>
                    <a:pt x="2345608" y="2172725"/>
                  </a:lnTo>
                  <a:lnTo>
                    <a:pt x="2341414" y="2175932"/>
                  </a:lnTo>
                  <a:lnTo>
                    <a:pt x="2331003" y="2175932"/>
                  </a:lnTo>
                  <a:lnTo>
                    <a:pt x="2322714" y="2170998"/>
                  </a:lnTo>
                  <a:lnTo>
                    <a:pt x="2316398" y="2174205"/>
                  </a:lnTo>
                  <a:lnTo>
                    <a:pt x="2310231" y="2174205"/>
                  </a:lnTo>
                  <a:lnTo>
                    <a:pt x="2303964" y="2170998"/>
                  </a:lnTo>
                  <a:lnTo>
                    <a:pt x="2295626" y="2174205"/>
                  </a:lnTo>
                  <a:lnTo>
                    <a:pt x="2291481" y="2172577"/>
                  </a:lnTo>
                  <a:lnTo>
                    <a:pt x="2287337" y="2172577"/>
                  </a:lnTo>
                  <a:lnTo>
                    <a:pt x="2276926" y="2169370"/>
                  </a:lnTo>
                  <a:lnTo>
                    <a:pt x="2262124" y="2170998"/>
                  </a:lnTo>
                  <a:lnTo>
                    <a:pt x="2251713" y="2169370"/>
                  </a:lnTo>
                  <a:lnTo>
                    <a:pt x="2245447" y="2164436"/>
                  </a:lnTo>
                  <a:lnTo>
                    <a:pt x="2241302" y="2166014"/>
                  </a:lnTo>
                  <a:lnTo>
                    <a:pt x="2237108" y="2169271"/>
                  </a:lnTo>
                  <a:lnTo>
                    <a:pt x="2239230" y="2172478"/>
                  </a:lnTo>
                  <a:lnTo>
                    <a:pt x="2237108" y="2175685"/>
                  </a:lnTo>
                  <a:lnTo>
                    <a:pt x="2231286" y="2175685"/>
                  </a:lnTo>
                  <a:lnTo>
                    <a:pt x="2218803" y="2187033"/>
                  </a:lnTo>
                  <a:lnTo>
                    <a:pt x="2210465" y="2190241"/>
                  </a:lnTo>
                  <a:lnTo>
                    <a:pt x="2208392" y="2195175"/>
                  </a:lnTo>
                  <a:lnTo>
                    <a:pt x="2206271" y="2198431"/>
                  </a:lnTo>
                  <a:lnTo>
                    <a:pt x="2204198" y="2204895"/>
                  </a:lnTo>
                  <a:lnTo>
                    <a:pt x="2200054" y="2211309"/>
                  </a:lnTo>
                  <a:lnTo>
                    <a:pt x="2189347" y="2211309"/>
                  </a:lnTo>
                  <a:lnTo>
                    <a:pt x="2183130" y="2212937"/>
                  </a:lnTo>
                  <a:lnTo>
                    <a:pt x="2170598" y="2214565"/>
                  </a:lnTo>
                  <a:lnTo>
                    <a:pt x="2164381" y="2220980"/>
                  </a:lnTo>
                  <a:lnTo>
                    <a:pt x="2160187" y="2220980"/>
                  </a:lnTo>
                  <a:lnTo>
                    <a:pt x="2158114" y="2219401"/>
                  </a:lnTo>
                  <a:lnTo>
                    <a:pt x="2151897" y="2222608"/>
                  </a:lnTo>
                  <a:lnTo>
                    <a:pt x="2149776" y="2229071"/>
                  </a:lnTo>
                  <a:lnTo>
                    <a:pt x="2141487" y="2230650"/>
                  </a:lnTo>
                  <a:lnTo>
                    <a:pt x="2135221" y="2235584"/>
                  </a:lnTo>
                  <a:lnTo>
                    <a:pt x="2133148" y="2238791"/>
                  </a:lnTo>
                  <a:lnTo>
                    <a:pt x="2128954" y="2238791"/>
                  </a:lnTo>
                  <a:lnTo>
                    <a:pt x="2120665" y="2250090"/>
                  </a:lnTo>
                  <a:lnTo>
                    <a:pt x="2105863" y="2256554"/>
                  </a:lnTo>
                  <a:lnTo>
                    <a:pt x="2101669" y="2267853"/>
                  </a:lnTo>
                  <a:lnTo>
                    <a:pt x="2093330" y="2271060"/>
                  </a:lnTo>
                  <a:lnTo>
                    <a:pt x="2085041" y="2279152"/>
                  </a:lnTo>
                  <a:lnTo>
                    <a:pt x="2076703" y="2280780"/>
                  </a:lnTo>
                  <a:lnTo>
                    <a:pt x="2074630" y="2287194"/>
                  </a:lnTo>
                  <a:lnTo>
                    <a:pt x="2070437" y="2293658"/>
                  </a:lnTo>
                  <a:lnTo>
                    <a:pt x="2053809" y="2303526"/>
                  </a:lnTo>
                  <a:lnTo>
                    <a:pt x="2051687" y="2308460"/>
                  </a:lnTo>
                  <a:lnTo>
                    <a:pt x="2032938" y="2314924"/>
                  </a:lnTo>
                  <a:lnTo>
                    <a:pt x="2022527" y="2316552"/>
                  </a:lnTo>
                  <a:lnTo>
                    <a:pt x="2030866" y="2318131"/>
                  </a:lnTo>
                  <a:lnTo>
                    <a:pt x="2049615" y="2310088"/>
                  </a:lnTo>
                  <a:lnTo>
                    <a:pt x="2066243" y="2303625"/>
                  </a:lnTo>
                  <a:lnTo>
                    <a:pt x="2078775" y="2297161"/>
                  </a:lnTo>
                  <a:lnTo>
                    <a:pt x="2087114" y="2287293"/>
                  </a:lnTo>
                  <a:lnTo>
                    <a:pt x="2095452" y="2279251"/>
                  </a:lnTo>
                  <a:lnTo>
                    <a:pt x="2101669" y="2277622"/>
                  </a:lnTo>
                  <a:lnTo>
                    <a:pt x="2120468" y="2263116"/>
                  </a:lnTo>
                  <a:lnTo>
                    <a:pt x="2143362" y="2248561"/>
                  </a:lnTo>
                  <a:lnTo>
                    <a:pt x="2159989" y="2238693"/>
                  </a:lnTo>
                  <a:lnTo>
                    <a:pt x="2170400" y="2238693"/>
                  </a:lnTo>
                  <a:lnTo>
                    <a:pt x="2180811" y="2233759"/>
                  </a:lnTo>
                  <a:lnTo>
                    <a:pt x="2197488" y="2230502"/>
                  </a:lnTo>
                  <a:lnTo>
                    <a:pt x="2220431" y="2224088"/>
                  </a:lnTo>
                  <a:lnTo>
                    <a:pt x="2228770" y="2224088"/>
                  </a:lnTo>
                  <a:lnTo>
                    <a:pt x="2234987" y="2219154"/>
                  </a:lnTo>
                  <a:lnTo>
                    <a:pt x="2260002" y="2220733"/>
                  </a:lnTo>
                  <a:lnTo>
                    <a:pt x="2272485" y="2223989"/>
                  </a:lnTo>
                  <a:lnTo>
                    <a:pt x="2287287" y="2232081"/>
                  </a:lnTo>
                  <a:lnTo>
                    <a:pt x="2287287" y="2235091"/>
                  </a:lnTo>
                  <a:lnTo>
                    <a:pt x="2276877" y="2233463"/>
                  </a:lnTo>
                  <a:lnTo>
                    <a:pt x="2276877" y="2233463"/>
                  </a:lnTo>
                  <a:lnTo>
                    <a:pt x="2276877" y="2236670"/>
                  </a:lnTo>
                  <a:lnTo>
                    <a:pt x="2281021" y="2235091"/>
                  </a:lnTo>
                  <a:lnTo>
                    <a:pt x="2289360" y="2238298"/>
                  </a:lnTo>
                  <a:lnTo>
                    <a:pt x="2293504" y="2241505"/>
                  </a:lnTo>
                  <a:lnTo>
                    <a:pt x="2287287" y="2243133"/>
                  </a:lnTo>
                  <a:lnTo>
                    <a:pt x="2291432" y="2246390"/>
                  </a:lnTo>
                  <a:lnTo>
                    <a:pt x="2285166" y="2256258"/>
                  </a:lnTo>
                  <a:lnTo>
                    <a:pt x="2278900" y="2257886"/>
                  </a:lnTo>
                  <a:lnTo>
                    <a:pt x="2270610" y="2264300"/>
                  </a:lnTo>
                  <a:lnTo>
                    <a:pt x="2264344" y="2264300"/>
                  </a:lnTo>
                  <a:lnTo>
                    <a:pt x="2255956" y="2270369"/>
                  </a:lnTo>
                  <a:lnTo>
                    <a:pt x="2247568" y="2270369"/>
                  </a:lnTo>
                  <a:lnTo>
                    <a:pt x="2241351" y="2265435"/>
                  </a:lnTo>
                  <a:lnTo>
                    <a:pt x="2233013" y="2262228"/>
                  </a:lnTo>
                  <a:lnTo>
                    <a:pt x="2228868" y="2265435"/>
                  </a:lnTo>
                  <a:lnTo>
                    <a:pt x="2220530" y="2267064"/>
                  </a:lnTo>
                  <a:lnTo>
                    <a:pt x="2214264" y="2265435"/>
                  </a:lnTo>
                  <a:lnTo>
                    <a:pt x="2203853" y="2270369"/>
                  </a:lnTo>
                  <a:lnTo>
                    <a:pt x="2214264" y="2268741"/>
                  </a:lnTo>
                  <a:lnTo>
                    <a:pt x="2222602" y="2268741"/>
                  </a:lnTo>
                  <a:lnTo>
                    <a:pt x="2237404" y="2271998"/>
                  </a:lnTo>
                  <a:lnTo>
                    <a:pt x="2239526" y="2278461"/>
                  </a:lnTo>
                  <a:lnTo>
                    <a:pt x="2241598" y="2283395"/>
                  </a:lnTo>
                  <a:lnTo>
                    <a:pt x="2249937" y="2280188"/>
                  </a:lnTo>
                  <a:lnTo>
                    <a:pt x="2258226" y="2275254"/>
                  </a:lnTo>
                  <a:lnTo>
                    <a:pt x="2264492" y="2275254"/>
                  </a:lnTo>
                  <a:lnTo>
                    <a:pt x="2266614" y="2278510"/>
                  </a:lnTo>
                  <a:lnTo>
                    <a:pt x="2272831" y="2276882"/>
                  </a:lnTo>
                  <a:lnTo>
                    <a:pt x="2272831" y="2281816"/>
                  </a:lnTo>
                  <a:lnTo>
                    <a:pt x="2266614" y="2286750"/>
                  </a:lnTo>
                  <a:lnTo>
                    <a:pt x="2258226" y="2302885"/>
                  </a:lnTo>
                  <a:lnTo>
                    <a:pt x="2254081" y="2302885"/>
                  </a:lnTo>
                  <a:lnTo>
                    <a:pt x="2247815" y="2306141"/>
                  </a:lnTo>
                  <a:lnTo>
                    <a:pt x="2262617" y="2307720"/>
                  </a:lnTo>
                  <a:lnTo>
                    <a:pt x="2262617" y="2309101"/>
                  </a:lnTo>
                  <a:lnTo>
                    <a:pt x="2258423" y="2315565"/>
                  </a:lnTo>
                  <a:lnTo>
                    <a:pt x="2262617" y="2318772"/>
                  </a:lnTo>
                  <a:lnTo>
                    <a:pt x="2262617" y="2333574"/>
                  </a:lnTo>
                  <a:lnTo>
                    <a:pt x="2266811" y="2336781"/>
                  </a:lnTo>
                  <a:lnTo>
                    <a:pt x="2270956" y="2343245"/>
                  </a:lnTo>
                  <a:lnTo>
                    <a:pt x="2277222" y="2343245"/>
                  </a:lnTo>
                  <a:lnTo>
                    <a:pt x="2281367" y="2346501"/>
                  </a:lnTo>
                  <a:lnTo>
                    <a:pt x="2291777" y="2346501"/>
                  </a:lnTo>
                  <a:lnTo>
                    <a:pt x="2289705" y="2351435"/>
                  </a:lnTo>
                  <a:lnTo>
                    <a:pt x="2281367" y="2353064"/>
                  </a:lnTo>
                  <a:lnTo>
                    <a:pt x="2291777" y="2359527"/>
                  </a:lnTo>
                  <a:lnTo>
                    <a:pt x="2302188" y="2359527"/>
                  </a:lnTo>
                  <a:lnTo>
                    <a:pt x="2308455" y="2362734"/>
                  </a:lnTo>
                  <a:lnTo>
                    <a:pt x="2312648" y="2359527"/>
                  </a:lnTo>
                  <a:lnTo>
                    <a:pt x="2320937" y="2362734"/>
                  </a:lnTo>
                  <a:lnTo>
                    <a:pt x="2323059" y="2365941"/>
                  </a:lnTo>
                  <a:lnTo>
                    <a:pt x="2335493" y="2369198"/>
                  </a:lnTo>
                  <a:lnTo>
                    <a:pt x="2337615" y="2365941"/>
                  </a:lnTo>
                  <a:lnTo>
                    <a:pt x="2348025" y="2359527"/>
                  </a:lnTo>
                  <a:lnTo>
                    <a:pt x="2350098" y="2364461"/>
                  </a:lnTo>
                  <a:lnTo>
                    <a:pt x="2348025" y="2367718"/>
                  </a:lnTo>
                  <a:lnTo>
                    <a:pt x="2356364" y="2367718"/>
                  </a:lnTo>
                  <a:lnTo>
                    <a:pt x="2368847" y="2374181"/>
                  </a:lnTo>
                  <a:lnTo>
                    <a:pt x="2368847" y="2377388"/>
                  </a:lnTo>
                  <a:lnTo>
                    <a:pt x="2364505" y="2377388"/>
                  </a:lnTo>
                  <a:lnTo>
                    <a:pt x="2360311" y="2378967"/>
                  </a:lnTo>
                  <a:lnTo>
                    <a:pt x="2368650" y="2382224"/>
                  </a:lnTo>
                  <a:lnTo>
                    <a:pt x="2374916" y="2380596"/>
                  </a:lnTo>
                  <a:lnTo>
                    <a:pt x="2376988" y="2385530"/>
                  </a:lnTo>
                  <a:lnTo>
                    <a:pt x="2372794" y="2387109"/>
                  </a:lnTo>
                  <a:lnTo>
                    <a:pt x="2368650" y="2385530"/>
                  </a:lnTo>
                  <a:lnTo>
                    <a:pt x="2360311" y="2385530"/>
                  </a:lnTo>
                  <a:lnTo>
                    <a:pt x="2349703" y="2388046"/>
                  </a:lnTo>
                  <a:lnTo>
                    <a:pt x="2334901" y="2396089"/>
                  </a:lnTo>
                  <a:lnTo>
                    <a:pt x="2326612" y="2396089"/>
                  </a:lnTo>
                  <a:lnTo>
                    <a:pt x="2314079" y="2399296"/>
                  </a:lnTo>
                  <a:lnTo>
                    <a:pt x="2303668" y="2400924"/>
                  </a:lnTo>
                  <a:lnTo>
                    <a:pt x="2293258" y="2405858"/>
                  </a:lnTo>
                  <a:lnTo>
                    <a:pt x="2287041" y="2405858"/>
                  </a:lnTo>
                  <a:lnTo>
                    <a:pt x="2287041" y="2409114"/>
                  </a:lnTo>
                  <a:lnTo>
                    <a:pt x="2278653" y="2409114"/>
                  </a:lnTo>
                  <a:lnTo>
                    <a:pt x="2274508" y="2402651"/>
                  </a:lnTo>
                  <a:lnTo>
                    <a:pt x="2272436" y="2401023"/>
                  </a:lnTo>
                  <a:lnTo>
                    <a:pt x="2268242" y="2405957"/>
                  </a:lnTo>
                  <a:lnTo>
                    <a:pt x="2264098" y="2404328"/>
                  </a:lnTo>
                  <a:lnTo>
                    <a:pt x="2259953" y="2412420"/>
                  </a:lnTo>
                  <a:lnTo>
                    <a:pt x="2262025" y="2415676"/>
                  </a:lnTo>
                  <a:lnTo>
                    <a:pt x="2251614" y="2422140"/>
                  </a:lnTo>
                  <a:lnTo>
                    <a:pt x="2241204" y="2433390"/>
                  </a:lnTo>
                  <a:lnTo>
                    <a:pt x="2234937" y="2434969"/>
                  </a:lnTo>
                  <a:lnTo>
                    <a:pt x="2226599" y="2439903"/>
                  </a:lnTo>
                  <a:lnTo>
                    <a:pt x="2222454" y="2439903"/>
                  </a:lnTo>
                  <a:lnTo>
                    <a:pt x="2218310" y="2441482"/>
                  </a:lnTo>
                  <a:lnTo>
                    <a:pt x="2218310" y="2446416"/>
                  </a:lnTo>
                  <a:lnTo>
                    <a:pt x="2216188" y="2449623"/>
                  </a:lnTo>
                  <a:lnTo>
                    <a:pt x="2211994" y="2446416"/>
                  </a:lnTo>
                  <a:lnTo>
                    <a:pt x="2207899" y="2447995"/>
                  </a:lnTo>
                  <a:lnTo>
                    <a:pt x="2201583" y="2444787"/>
                  </a:lnTo>
                  <a:lnTo>
                    <a:pt x="2201583" y="2438324"/>
                  </a:lnTo>
                  <a:lnTo>
                    <a:pt x="2197439" y="2436745"/>
                  </a:lnTo>
                  <a:lnTo>
                    <a:pt x="2193294" y="2438324"/>
                  </a:lnTo>
                  <a:lnTo>
                    <a:pt x="2193294" y="2431860"/>
                  </a:lnTo>
                  <a:lnTo>
                    <a:pt x="2191172" y="2425446"/>
                  </a:lnTo>
                  <a:lnTo>
                    <a:pt x="2191172" y="2418983"/>
                  </a:lnTo>
                  <a:lnTo>
                    <a:pt x="2197439" y="2409114"/>
                  </a:lnTo>
                  <a:lnTo>
                    <a:pt x="2205777" y="2402651"/>
                  </a:lnTo>
                  <a:lnTo>
                    <a:pt x="2205777" y="2397717"/>
                  </a:lnTo>
                  <a:lnTo>
                    <a:pt x="2220579" y="2391253"/>
                  </a:lnTo>
                  <a:lnTo>
                    <a:pt x="2235135" y="2388046"/>
                  </a:lnTo>
                  <a:lnTo>
                    <a:pt x="2247618" y="2381582"/>
                  </a:lnTo>
                  <a:lnTo>
                    <a:pt x="2258029" y="2378326"/>
                  </a:lnTo>
                  <a:lnTo>
                    <a:pt x="2264295" y="2379954"/>
                  </a:lnTo>
                  <a:lnTo>
                    <a:pt x="2264295" y="2386368"/>
                  </a:lnTo>
                  <a:lnTo>
                    <a:pt x="2268440" y="2388046"/>
                  </a:lnTo>
                  <a:lnTo>
                    <a:pt x="2268440" y="2386368"/>
                  </a:lnTo>
                  <a:lnTo>
                    <a:pt x="2270561" y="2381434"/>
                  </a:lnTo>
                  <a:lnTo>
                    <a:pt x="2276827" y="2381434"/>
                  </a:lnTo>
                  <a:lnTo>
                    <a:pt x="2287238" y="2379806"/>
                  </a:lnTo>
                  <a:lnTo>
                    <a:pt x="2293455" y="2376599"/>
                  </a:lnTo>
                  <a:lnTo>
                    <a:pt x="2268440" y="2376599"/>
                  </a:lnTo>
                  <a:lnTo>
                    <a:pt x="2262223" y="2373392"/>
                  </a:lnTo>
                  <a:lnTo>
                    <a:pt x="2255956" y="2373392"/>
                  </a:lnTo>
                  <a:lnTo>
                    <a:pt x="2251762" y="2378326"/>
                  </a:lnTo>
                  <a:lnTo>
                    <a:pt x="2243424" y="2376747"/>
                  </a:lnTo>
                  <a:lnTo>
                    <a:pt x="2249690" y="2368655"/>
                  </a:lnTo>
                  <a:lnTo>
                    <a:pt x="2257979" y="2367076"/>
                  </a:lnTo>
                  <a:lnTo>
                    <a:pt x="2264245" y="2360613"/>
                  </a:lnTo>
                  <a:lnTo>
                    <a:pt x="2266367" y="2357356"/>
                  </a:lnTo>
                  <a:lnTo>
                    <a:pt x="2260101" y="2358984"/>
                  </a:lnTo>
                  <a:lnTo>
                    <a:pt x="2260101" y="2355728"/>
                  </a:lnTo>
                  <a:lnTo>
                    <a:pt x="2251762" y="2365596"/>
                  </a:lnTo>
                  <a:lnTo>
                    <a:pt x="2245496" y="2367274"/>
                  </a:lnTo>
                  <a:lnTo>
                    <a:pt x="2239279" y="2373737"/>
                  </a:lnTo>
                  <a:lnTo>
                    <a:pt x="2228868" y="2373737"/>
                  </a:lnTo>
                  <a:lnTo>
                    <a:pt x="2226747" y="2378671"/>
                  </a:lnTo>
                  <a:lnTo>
                    <a:pt x="2210119" y="2381928"/>
                  </a:lnTo>
                  <a:lnTo>
                    <a:pt x="2208047" y="2380300"/>
                  </a:lnTo>
                  <a:lnTo>
                    <a:pt x="2210119" y="2377092"/>
                  </a:lnTo>
                  <a:lnTo>
                    <a:pt x="2208047" y="2377092"/>
                  </a:lnTo>
                  <a:lnTo>
                    <a:pt x="2212142" y="2370629"/>
                  </a:lnTo>
                  <a:lnTo>
                    <a:pt x="2205925" y="2377092"/>
                  </a:lnTo>
                  <a:lnTo>
                    <a:pt x="2201731" y="2382026"/>
                  </a:lnTo>
                  <a:lnTo>
                    <a:pt x="2193442" y="2383605"/>
                  </a:lnTo>
                  <a:lnTo>
                    <a:pt x="2187176" y="2382026"/>
                  </a:lnTo>
                  <a:lnTo>
                    <a:pt x="2185104" y="2385234"/>
                  </a:lnTo>
                  <a:lnTo>
                    <a:pt x="2180910" y="2385234"/>
                  </a:lnTo>
                  <a:lnTo>
                    <a:pt x="2178837" y="2380300"/>
                  </a:lnTo>
                  <a:lnTo>
                    <a:pt x="2170499" y="2381928"/>
                  </a:lnTo>
                  <a:lnTo>
                    <a:pt x="2160088" y="2378671"/>
                  </a:lnTo>
                  <a:lnTo>
                    <a:pt x="2160088" y="2378671"/>
                  </a:lnTo>
                  <a:lnTo>
                    <a:pt x="2158016" y="2377092"/>
                  </a:lnTo>
                  <a:lnTo>
                    <a:pt x="2160088" y="2373885"/>
                  </a:lnTo>
                  <a:lnTo>
                    <a:pt x="2158016" y="2372208"/>
                  </a:lnTo>
                  <a:lnTo>
                    <a:pt x="2160088" y="2369001"/>
                  </a:lnTo>
                  <a:lnTo>
                    <a:pt x="2160088" y="2362537"/>
                  </a:lnTo>
                  <a:lnTo>
                    <a:pt x="2155943" y="2359330"/>
                  </a:lnTo>
                  <a:lnTo>
                    <a:pt x="2153871" y="2356073"/>
                  </a:lnTo>
                  <a:lnTo>
                    <a:pt x="2151799" y="2356073"/>
                  </a:lnTo>
                  <a:lnTo>
                    <a:pt x="2153871" y="2351139"/>
                  </a:lnTo>
                  <a:lnTo>
                    <a:pt x="2160088" y="2312457"/>
                  </a:lnTo>
                  <a:lnTo>
                    <a:pt x="2160088" y="2302588"/>
                  </a:lnTo>
                  <a:lnTo>
                    <a:pt x="2145286" y="2289661"/>
                  </a:lnTo>
                  <a:lnTo>
                    <a:pt x="2143214" y="2292918"/>
                  </a:lnTo>
                  <a:lnTo>
                    <a:pt x="2132803" y="2291290"/>
                  </a:lnTo>
                  <a:lnTo>
                    <a:pt x="2126537" y="2292918"/>
                  </a:lnTo>
                  <a:lnTo>
                    <a:pt x="2120320" y="2287984"/>
                  </a:lnTo>
                  <a:lnTo>
                    <a:pt x="2116126" y="2286356"/>
                  </a:lnTo>
                  <a:lnTo>
                    <a:pt x="2114053" y="2286356"/>
                  </a:lnTo>
                  <a:lnTo>
                    <a:pt x="2107787" y="2291290"/>
                  </a:lnTo>
                  <a:lnTo>
                    <a:pt x="2105715" y="2296224"/>
                  </a:lnTo>
                  <a:lnTo>
                    <a:pt x="2093528" y="2309101"/>
                  </a:lnTo>
                  <a:lnTo>
                    <a:pt x="2087311" y="2315565"/>
                  </a:lnTo>
                  <a:lnTo>
                    <a:pt x="2087311" y="2320499"/>
                  </a:lnTo>
                  <a:lnTo>
                    <a:pt x="2076900" y="2325433"/>
                  </a:lnTo>
                  <a:lnTo>
                    <a:pt x="2076900" y="2331897"/>
                  </a:lnTo>
                  <a:lnTo>
                    <a:pt x="2072706" y="2338311"/>
                  </a:lnTo>
                  <a:lnTo>
                    <a:pt x="2064417" y="2348179"/>
                  </a:lnTo>
                  <a:lnTo>
                    <a:pt x="2060223" y="2349807"/>
                  </a:lnTo>
                  <a:lnTo>
                    <a:pt x="2047740" y="2361106"/>
                  </a:lnTo>
                  <a:lnTo>
                    <a:pt x="2045618" y="2366040"/>
                  </a:lnTo>
                  <a:lnTo>
                    <a:pt x="2041474" y="2367718"/>
                  </a:lnTo>
                  <a:lnTo>
                    <a:pt x="2031063" y="2367718"/>
                  </a:lnTo>
                  <a:lnTo>
                    <a:pt x="2026918" y="2369297"/>
                  </a:lnTo>
                  <a:lnTo>
                    <a:pt x="2024797" y="2369297"/>
                  </a:lnTo>
                  <a:lnTo>
                    <a:pt x="2016507" y="2375760"/>
                  </a:lnTo>
                  <a:lnTo>
                    <a:pt x="1910228" y="2374181"/>
                  </a:lnTo>
                  <a:lnTo>
                    <a:pt x="1897795" y="2375760"/>
                  </a:lnTo>
                  <a:lnTo>
                    <a:pt x="1891479" y="2382224"/>
                  </a:lnTo>
                  <a:lnTo>
                    <a:pt x="1883190" y="2385431"/>
                  </a:lnTo>
                  <a:lnTo>
                    <a:pt x="1876924" y="2390365"/>
                  </a:lnTo>
                  <a:lnTo>
                    <a:pt x="1860247" y="2402848"/>
                  </a:lnTo>
                  <a:lnTo>
                    <a:pt x="1849836" y="2404427"/>
                  </a:lnTo>
                  <a:lnTo>
                    <a:pt x="1843570" y="2407683"/>
                  </a:lnTo>
                  <a:lnTo>
                    <a:pt x="1814459" y="2427025"/>
                  </a:lnTo>
                  <a:lnTo>
                    <a:pt x="1745678" y="2444787"/>
                  </a:lnTo>
                  <a:lnTo>
                    <a:pt x="1741534" y="2459293"/>
                  </a:lnTo>
                  <a:lnTo>
                    <a:pt x="1726732" y="2464228"/>
                  </a:lnTo>
                  <a:lnTo>
                    <a:pt x="1601752" y="2493240"/>
                  </a:lnTo>
                  <a:lnTo>
                    <a:pt x="1595486" y="2483372"/>
                  </a:lnTo>
                  <a:lnTo>
                    <a:pt x="1603825" y="2475280"/>
                  </a:lnTo>
                  <a:lnTo>
                    <a:pt x="1616308" y="2470346"/>
                  </a:lnTo>
                  <a:lnTo>
                    <a:pt x="1622574" y="2463882"/>
                  </a:lnTo>
                  <a:lnTo>
                    <a:pt x="1626719" y="2455790"/>
                  </a:lnTo>
                  <a:lnTo>
                    <a:pt x="1630863" y="2449327"/>
                  </a:lnTo>
                  <a:lnTo>
                    <a:pt x="1632985" y="2407387"/>
                  </a:lnTo>
                  <a:lnTo>
                    <a:pt x="1610042" y="2312210"/>
                  </a:lnTo>
                  <a:lnTo>
                    <a:pt x="1587148" y="2297408"/>
                  </a:lnTo>
                  <a:lnTo>
                    <a:pt x="1578809" y="2287540"/>
                  </a:lnTo>
                  <a:lnTo>
                    <a:pt x="1435328" y="2230157"/>
                  </a:lnTo>
                  <a:lnTo>
                    <a:pt x="1429111" y="2226950"/>
                  </a:lnTo>
                  <a:lnTo>
                    <a:pt x="1420772" y="2225371"/>
                  </a:lnTo>
                  <a:lnTo>
                    <a:pt x="1416578" y="2222114"/>
                  </a:lnTo>
                  <a:lnTo>
                    <a:pt x="1399951" y="2222114"/>
                  </a:lnTo>
                  <a:lnTo>
                    <a:pt x="1397829" y="2215651"/>
                  </a:lnTo>
                  <a:lnTo>
                    <a:pt x="1393684" y="2214072"/>
                  </a:lnTo>
                  <a:lnTo>
                    <a:pt x="1387418" y="2217279"/>
                  </a:lnTo>
                  <a:lnTo>
                    <a:pt x="1374935" y="2217279"/>
                  </a:lnTo>
                  <a:lnTo>
                    <a:pt x="1370790" y="2214072"/>
                  </a:lnTo>
                  <a:lnTo>
                    <a:pt x="1364524" y="2209138"/>
                  </a:lnTo>
                  <a:lnTo>
                    <a:pt x="1358258" y="2207559"/>
                  </a:lnTo>
                  <a:lnTo>
                    <a:pt x="1345775" y="2204352"/>
                  </a:lnTo>
                  <a:lnTo>
                    <a:pt x="1341630" y="2197888"/>
                  </a:lnTo>
                  <a:lnTo>
                    <a:pt x="1337436" y="2197888"/>
                  </a:lnTo>
                  <a:lnTo>
                    <a:pt x="1329098" y="2191425"/>
                  </a:lnTo>
                  <a:lnTo>
                    <a:pt x="1322881" y="2193004"/>
                  </a:lnTo>
                  <a:lnTo>
                    <a:pt x="1316615" y="2191425"/>
                  </a:lnTo>
                  <a:lnTo>
                    <a:pt x="1310348" y="2193004"/>
                  </a:lnTo>
                  <a:lnTo>
                    <a:pt x="1306204" y="2193004"/>
                  </a:lnTo>
                  <a:lnTo>
                    <a:pt x="1304132" y="2189797"/>
                  </a:lnTo>
                  <a:lnTo>
                    <a:pt x="1295793" y="2188168"/>
                  </a:lnTo>
                  <a:lnTo>
                    <a:pt x="1295793" y="2186589"/>
                  </a:lnTo>
                  <a:lnTo>
                    <a:pt x="1287455" y="2183382"/>
                  </a:lnTo>
                  <a:lnTo>
                    <a:pt x="1285382" y="2183382"/>
                  </a:lnTo>
                  <a:lnTo>
                    <a:pt x="1281188" y="2178448"/>
                  </a:lnTo>
                  <a:lnTo>
                    <a:pt x="1281188" y="2176869"/>
                  </a:lnTo>
                  <a:lnTo>
                    <a:pt x="1272850" y="2170406"/>
                  </a:lnTo>
                  <a:lnTo>
                    <a:pt x="1258048" y="217040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Graphic 2">
              <a:extLst>
                <a:ext uri="{FF2B5EF4-FFF2-40B4-BE49-F238E27FC236}">
                  <a16:creationId xmlns:a16="http://schemas.microsoft.com/office/drawing/2014/main" id="{000271C3-F888-495F-85D3-5CB53F830A0D}"/>
                </a:ext>
              </a:extLst>
            </p:cNvPr>
            <p:cNvSpPr/>
            <p:nvPr/>
          </p:nvSpPr>
          <p:spPr>
            <a:xfrm>
              <a:off x="1512040" y="2949668"/>
              <a:ext cx="1851373" cy="940329"/>
            </a:xfrm>
            <a:custGeom>
              <a:avLst/>
              <a:gdLst>
                <a:gd name="connsiteX0" fmla="*/ 178580 w 2037805"/>
                <a:gd name="connsiteY0" fmla="*/ -27 h 1035061"/>
                <a:gd name="connsiteX1" fmla="*/ 1113481 w 2037805"/>
                <a:gd name="connsiteY1" fmla="*/ 80941 h 1035061"/>
                <a:gd name="connsiteX2" fmla="*/ 1127987 w 2037805"/>
                <a:gd name="connsiteY2" fmla="*/ 80941 h 1035061"/>
                <a:gd name="connsiteX3" fmla="*/ 1136325 w 2037805"/>
                <a:gd name="connsiteY3" fmla="*/ 87404 h 1035061"/>
                <a:gd name="connsiteX4" fmla="*/ 1136325 w 2037805"/>
                <a:gd name="connsiteY4" fmla="*/ 89033 h 1035061"/>
                <a:gd name="connsiteX5" fmla="*/ 1140470 w 2037805"/>
                <a:gd name="connsiteY5" fmla="*/ 93967 h 1035061"/>
                <a:gd name="connsiteX6" fmla="*/ 1142542 w 2037805"/>
                <a:gd name="connsiteY6" fmla="*/ 93967 h 1035061"/>
                <a:gd name="connsiteX7" fmla="*/ 1150831 w 2037805"/>
                <a:gd name="connsiteY7" fmla="*/ 97223 h 1035061"/>
                <a:gd name="connsiteX8" fmla="*/ 1150831 w 2037805"/>
                <a:gd name="connsiteY8" fmla="*/ 98802 h 1035061"/>
                <a:gd name="connsiteX9" fmla="*/ 1159170 w 2037805"/>
                <a:gd name="connsiteY9" fmla="*/ 100430 h 1035061"/>
                <a:gd name="connsiteX10" fmla="*/ 1161242 w 2037805"/>
                <a:gd name="connsiteY10" fmla="*/ 103637 h 1035061"/>
                <a:gd name="connsiteX11" fmla="*/ 1165387 w 2037805"/>
                <a:gd name="connsiteY11" fmla="*/ 103637 h 1035061"/>
                <a:gd name="connsiteX12" fmla="*/ 1171604 w 2037805"/>
                <a:gd name="connsiteY12" fmla="*/ 102058 h 1035061"/>
                <a:gd name="connsiteX13" fmla="*/ 1177870 w 2037805"/>
                <a:gd name="connsiteY13" fmla="*/ 103637 h 1035061"/>
                <a:gd name="connsiteX14" fmla="*/ 1184087 w 2037805"/>
                <a:gd name="connsiteY14" fmla="*/ 102058 h 1035061"/>
                <a:gd name="connsiteX15" fmla="*/ 1192376 w 2037805"/>
                <a:gd name="connsiteY15" fmla="*/ 108522 h 1035061"/>
                <a:gd name="connsiteX16" fmla="*/ 1196570 w 2037805"/>
                <a:gd name="connsiteY16" fmla="*/ 108522 h 1035061"/>
                <a:gd name="connsiteX17" fmla="*/ 1200714 w 2037805"/>
                <a:gd name="connsiteY17" fmla="*/ 114985 h 1035061"/>
                <a:gd name="connsiteX18" fmla="*/ 1213148 w 2037805"/>
                <a:gd name="connsiteY18" fmla="*/ 118193 h 1035061"/>
                <a:gd name="connsiteX19" fmla="*/ 1219414 w 2037805"/>
                <a:gd name="connsiteY19" fmla="*/ 119821 h 1035061"/>
                <a:gd name="connsiteX20" fmla="*/ 1225631 w 2037805"/>
                <a:gd name="connsiteY20" fmla="*/ 124755 h 1035061"/>
                <a:gd name="connsiteX21" fmla="*/ 1229776 w 2037805"/>
                <a:gd name="connsiteY21" fmla="*/ 127962 h 1035061"/>
                <a:gd name="connsiteX22" fmla="*/ 1242259 w 2037805"/>
                <a:gd name="connsiteY22" fmla="*/ 127962 h 1035061"/>
                <a:gd name="connsiteX23" fmla="*/ 1248476 w 2037805"/>
                <a:gd name="connsiteY23" fmla="*/ 124755 h 1035061"/>
                <a:gd name="connsiteX24" fmla="*/ 1252620 w 2037805"/>
                <a:gd name="connsiteY24" fmla="*/ 126383 h 1035061"/>
                <a:gd name="connsiteX25" fmla="*/ 1254693 w 2037805"/>
                <a:gd name="connsiteY25" fmla="*/ 132847 h 1035061"/>
                <a:gd name="connsiteX26" fmla="*/ 1271370 w 2037805"/>
                <a:gd name="connsiteY26" fmla="*/ 132847 h 1035061"/>
                <a:gd name="connsiteX27" fmla="*/ 1275514 w 2037805"/>
                <a:gd name="connsiteY27" fmla="*/ 136103 h 1035061"/>
                <a:gd name="connsiteX28" fmla="*/ 1283853 w 2037805"/>
                <a:gd name="connsiteY28" fmla="*/ 137682 h 1035061"/>
                <a:gd name="connsiteX29" fmla="*/ 1290070 w 2037805"/>
                <a:gd name="connsiteY29" fmla="*/ 140889 h 1035061"/>
                <a:gd name="connsiteX30" fmla="*/ 1433157 w 2037805"/>
                <a:gd name="connsiteY30" fmla="*/ 199061 h 1035061"/>
                <a:gd name="connsiteX31" fmla="*/ 1441446 w 2037805"/>
                <a:gd name="connsiteY31" fmla="*/ 208930 h 1035061"/>
                <a:gd name="connsiteX32" fmla="*/ 1464290 w 2037805"/>
                <a:gd name="connsiteY32" fmla="*/ 223485 h 1035061"/>
                <a:gd name="connsiteX33" fmla="*/ 1487135 w 2037805"/>
                <a:gd name="connsiteY33" fmla="*/ 318761 h 1035061"/>
                <a:gd name="connsiteX34" fmla="*/ 1485063 w 2037805"/>
                <a:gd name="connsiteY34" fmla="*/ 360799 h 1035061"/>
                <a:gd name="connsiteX35" fmla="*/ 1480918 w 2037805"/>
                <a:gd name="connsiteY35" fmla="*/ 367263 h 1035061"/>
                <a:gd name="connsiteX36" fmla="*/ 1476724 w 2037805"/>
                <a:gd name="connsiteY36" fmla="*/ 375305 h 1035061"/>
                <a:gd name="connsiteX37" fmla="*/ 1470557 w 2037805"/>
                <a:gd name="connsiteY37" fmla="*/ 381769 h 1035061"/>
                <a:gd name="connsiteX38" fmla="*/ 1458074 w 2037805"/>
                <a:gd name="connsiteY38" fmla="*/ 386703 h 1035061"/>
                <a:gd name="connsiteX39" fmla="*/ 1449735 w 2037805"/>
                <a:gd name="connsiteY39" fmla="*/ 394795 h 1035061"/>
                <a:gd name="connsiteX40" fmla="*/ 1456001 w 2037805"/>
                <a:gd name="connsiteY40" fmla="*/ 404663 h 1035061"/>
                <a:gd name="connsiteX41" fmla="*/ 1580586 w 2037805"/>
                <a:gd name="connsiteY41" fmla="*/ 375601 h 1035061"/>
                <a:gd name="connsiteX42" fmla="*/ 1595388 w 2037805"/>
                <a:gd name="connsiteY42" fmla="*/ 370667 h 1035061"/>
                <a:gd name="connsiteX43" fmla="*/ 1599532 w 2037805"/>
                <a:gd name="connsiteY43" fmla="*/ 356112 h 1035061"/>
                <a:gd name="connsiteX44" fmla="*/ 1668115 w 2037805"/>
                <a:gd name="connsiteY44" fmla="*/ 338349 h 1035061"/>
                <a:gd name="connsiteX45" fmla="*/ 1697177 w 2037805"/>
                <a:gd name="connsiteY45" fmla="*/ 318958 h 1035061"/>
                <a:gd name="connsiteX46" fmla="*/ 1703394 w 2037805"/>
                <a:gd name="connsiteY46" fmla="*/ 315751 h 1035061"/>
                <a:gd name="connsiteX47" fmla="*/ 1713755 w 2037805"/>
                <a:gd name="connsiteY47" fmla="*/ 314173 h 1035061"/>
                <a:gd name="connsiteX48" fmla="*/ 1730432 w 2037805"/>
                <a:gd name="connsiteY48" fmla="*/ 301196 h 1035061"/>
                <a:gd name="connsiteX49" fmla="*/ 1736649 w 2037805"/>
                <a:gd name="connsiteY49" fmla="*/ 296262 h 1035061"/>
                <a:gd name="connsiteX50" fmla="*/ 1744938 w 2037805"/>
                <a:gd name="connsiteY50" fmla="*/ 293055 h 1035061"/>
                <a:gd name="connsiteX51" fmla="*/ 1751155 w 2037805"/>
                <a:gd name="connsiteY51" fmla="*/ 286591 h 1035061"/>
                <a:gd name="connsiteX52" fmla="*/ 1763638 w 2037805"/>
                <a:gd name="connsiteY52" fmla="*/ 284963 h 1035061"/>
                <a:gd name="connsiteX53" fmla="*/ 1869572 w 2037805"/>
                <a:gd name="connsiteY53" fmla="*/ 286591 h 1035061"/>
                <a:gd name="connsiteX54" fmla="*/ 1877861 w 2037805"/>
                <a:gd name="connsiteY54" fmla="*/ 280128 h 1035061"/>
                <a:gd name="connsiteX55" fmla="*/ 1879983 w 2037805"/>
                <a:gd name="connsiteY55" fmla="*/ 280128 h 1035061"/>
                <a:gd name="connsiteX56" fmla="*/ 1884127 w 2037805"/>
                <a:gd name="connsiteY56" fmla="*/ 278499 h 1035061"/>
                <a:gd name="connsiteX57" fmla="*/ 1894538 w 2037805"/>
                <a:gd name="connsiteY57" fmla="*/ 278499 h 1035061"/>
                <a:gd name="connsiteX58" fmla="*/ 1898683 w 2037805"/>
                <a:gd name="connsiteY58" fmla="*/ 276871 h 1035061"/>
                <a:gd name="connsiteX59" fmla="*/ 1900755 w 2037805"/>
                <a:gd name="connsiteY59" fmla="*/ 271937 h 1035061"/>
                <a:gd name="connsiteX60" fmla="*/ 1912794 w 2037805"/>
                <a:gd name="connsiteY60" fmla="*/ 260046 h 1035061"/>
                <a:gd name="connsiteX61" fmla="*/ 1916890 w 2037805"/>
                <a:gd name="connsiteY61" fmla="*/ 258418 h 1035061"/>
                <a:gd name="connsiteX62" fmla="*/ 1925228 w 2037805"/>
                <a:gd name="connsiteY62" fmla="*/ 248550 h 1035061"/>
                <a:gd name="connsiteX63" fmla="*/ 1929372 w 2037805"/>
                <a:gd name="connsiteY63" fmla="*/ 242086 h 1035061"/>
                <a:gd name="connsiteX64" fmla="*/ 1929372 w 2037805"/>
                <a:gd name="connsiteY64" fmla="*/ 235623 h 1035061"/>
                <a:gd name="connsiteX65" fmla="*/ 1939734 w 2037805"/>
                <a:gd name="connsiteY65" fmla="*/ 230689 h 1035061"/>
                <a:gd name="connsiteX66" fmla="*/ 1939734 w 2037805"/>
                <a:gd name="connsiteY66" fmla="*/ 225755 h 1035061"/>
                <a:gd name="connsiteX67" fmla="*/ 1946000 w 2037805"/>
                <a:gd name="connsiteY67" fmla="*/ 219291 h 1035061"/>
                <a:gd name="connsiteX68" fmla="*/ 1958434 w 2037805"/>
                <a:gd name="connsiteY68" fmla="*/ 206413 h 1035061"/>
                <a:gd name="connsiteX69" fmla="*/ 1960556 w 2037805"/>
                <a:gd name="connsiteY69" fmla="*/ 201479 h 1035061"/>
                <a:gd name="connsiteX70" fmla="*/ 1966773 w 2037805"/>
                <a:gd name="connsiteY70" fmla="*/ 196545 h 1035061"/>
                <a:gd name="connsiteX71" fmla="*/ 1968845 w 2037805"/>
                <a:gd name="connsiteY71" fmla="*/ 196545 h 1035061"/>
                <a:gd name="connsiteX72" fmla="*/ 1972989 w 2037805"/>
                <a:gd name="connsiteY72" fmla="*/ 198173 h 1035061"/>
                <a:gd name="connsiteX73" fmla="*/ 1979255 w 2037805"/>
                <a:gd name="connsiteY73" fmla="*/ 203107 h 1035061"/>
                <a:gd name="connsiteX74" fmla="*/ 1985472 w 2037805"/>
                <a:gd name="connsiteY74" fmla="*/ 201479 h 1035061"/>
                <a:gd name="connsiteX75" fmla="*/ 1995834 w 2037805"/>
                <a:gd name="connsiteY75" fmla="*/ 203107 h 1035061"/>
                <a:gd name="connsiteX76" fmla="*/ 1997956 w 2037805"/>
                <a:gd name="connsiteY76" fmla="*/ 199900 h 1035061"/>
                <a:gd name="connsiteX77" fmla="*/ 2012462 w 2037805"/>
                <a:gd name="connsiteY77" fmla="*/ 212778 h 1035061"/>
                <a:gd name="connsiteX78" fmla="*/ 2012462 w 2037805"/>
                <a:gd name="connsiteY78" fmla="*/ 222646 h 1035061"/>
                <a:gd name="connsiteX79" fmla="*/ 2006541 w 2037805"/>
                <a:gd name="connsiteY79" fmla="*/ 261674 h 1035061"/>
                <a:gd name="connsiteX80" fmla="*/ 2004469 w 2037805"/>
                <a:gd name="connsiteY80" fmla="*/ 266608 h 1035061"/>
                <a:gd name="connsiteX81" fmla="*/ 2006541 w 2037805"/>
                <a:gd name="connsiteY81" fmla="*/ 266608 h 1035061"/>
                <a:gd name="connsiteX82" fmla="*/ 2008662 w 2037805"/>
                <a:gd name="connsiteY82" fmla="*/ 269815 h 1035061"/>
                <a:gd name="connsiteX83" fmla="*/ 2012807 w 2037805"/>
                <a:gd name="connsiteY83" fmla="*/ 273072 h 1035061"/>
                <a:gd name="connsiteX84" fmla="*/ 2012807 w 2037805"/>
                <a:gd name="connsiteY84" fmla="*/ 279536 h 1035061"/>
                <a:gd name="connsiteX85" fmla="*/ 2010686 w 2037805"/>
                <a:gd name="connsiteY85" fmla="*/ 282743 h 1035061"/>
                <a:gd name="connsiteX86" fmla="*/ 2012807 w 2037805"/>
                <a:gd name="connsiteY86" fmla="*/ 284371 h 1035061"/>
                <a:gd name="connsiteX87" fmla="*/ 2010686 w 2037805"/>
                <a:gd name="connsiteY87" fmla="*/ 287578 h 1035061"/>
                <a:gd name="connsiteX88" fmla="*/ 2012807 w 2037805"/>
                <a:gd name="connsiteY88" fmla="*/ 289206 h 1035061"/>
                <a:gd name="connsiteX89" fmla="*/ 2012807 w 2037805"/>
                <a:gd name="connsiteY89" fmla="*/ 289206 h 1035061"/>
                <a:gd name="connsiteX90" fmla="*/ 2025241 w 2037805"/>
                <a:gd name="connsiteY90" fmla="*/ 295670 h 1035061"/>
                <a:gd name="connsiteX91" fmla="*/ 2023169 w 2037805"/>
                <a:gd name="connsiteY91" fmla="*/ 303762 h 1035061"/>
                <a:gd name="connsiteX92" fmla="*/ 2029385 w 2037805"/>
                <a:gd name="connsiteY92" fmla="*/ 308696 h 1035061"/>
                <a:gd name="connsiteX93" fmla="*/ 2031507 w 2037805"/>
                <a:gd name="connsiteY93" fmla="*/ 303762 h 1035061"/>
                <a:gd name="connsiteX94" fmla="*/ 2037724 w 2037805"/>
                <a:gd name="connsiteY94" fmla="*/ 306969 h 1035061"/>
                <a:gd name="connsiteX95" fmla="*/ 2033579 w 2037805"/>
                <a:gd name="connsiteY95" fmla="*/ 311903 h 1035061"/>
                <a:gd name="connsiteX96" fmla="*/ 2027362 w 2037805"/>
                <a:gd name="connsiteY96" fmla="*/ 313580 h 1035061"/>
                <a:gd name="connsiteX97" fmla="*/ 2025241 w 2037805"/>
                <a:gd name="connsiteY97" fmla="*/ 310324 h 1035061"/>
                <a:gd name="connsiteX98" fmla="*/ 2016952 w 2037805"/>
                <a:gd name="connsiteY98" fmla="*/ 313580 h 1035061"/>
                <a:gd name="connsiteX99" fmla="*/ 2010686 w 2037805"/>
                <a:gd name="connsiteY99" fmla="*/ 313580 h 1035061"/>
                <a:gd name="connsiteX100" fmla="*/ 2004469 w 2037805"/>
                <a:gd name="connsiteY100" fmla="*/ 316787 h 1035061"/>
                <a:gd name="connsiteX101" fmla="*/ 2000324 w 2037805"/>
                <a:gd name="connsiteY101" fmla="*/ 318366 h 1035061"/>
                <a:gd name="connsiteX102" fmla="*/ 1994107 w 2037805"/>
                <a:gd name="connsiteY102" fmla="*/ 316787 h 1035061"/>
                <a:gd name="connsiteX103" fmla="*/ 1987890 w 2037805"/>
                <a:gd name="connsiteY103" fmla="*/ 323202 h 1035061"/>
                <a:gd name="connsiteX104" fmla="*/ 1983746 w 2037805"/>
                <a:gd name="connsiteY104" fmla="*/ 323202 h 1035061"/>
                <a:gd name="connsiteX105" fmla="*/ 1981624 w 2037805"/>
                <a:gd name="connsiteY105" fmla="*/ 316787 h 1035061"/>
                <a:gd name="connsiteX106" fmla="*/ 1973335 w 2037805"/>
                <a:gd name="connsiteY106" fmla="*/ 316787 h 1035061"/>
                <a:gd name="connsiteX107" fmla="*/ 1967118 w 2037805"/>
                <a:gd name="connsiteY107" fmla="*/ 323202 h 1035061"/>
                <a:gd name="connsiteX108" fmla="*/ 1960901 w 2037805"/>
                <a:gd name="connsiteY108" fmla="*/ 323202 h 1035061"/>
                <a:gd name="connsiteX109" fmla="*/ 1958779 w 2037805"/>
                <a:gd name="connsiteY109" fmla="*/ 318268 h 1035061"/>
                <a:gd name="connsiteX110" fmla="*/ 1960901 w 2037805"/>
                <a:gd name="connsiteY110" fmla="*/ 313334 h 1035061"/>
                <a:gd name="connsiteX111" fmla="*/ 1952266 w 2037805"/>
                <a:gd name="connsiteY111" fmla="*/ 323004 h 1035061"/>
                <a:gd name="connsiteX112" fmla="*/ 1943928 w 2037805"/>
                <a:gd name="connsiteY112" fmla="*/ 332872 h 1035061"/>
                <a:gd name="connsiteX113" fmla="*/ 1939783 w 2037805"/>
                <a:gd name="connsiteY113" fmla="*/ 334501 h 1035061"/>
                <a:gd name="connsiteX114" fmla="*/ 1937711 w 2037805"/>
                <a:gd name="connsiteY114" fmla="*/ 331294 h 1035061"/>
                <a:gd name="connsiteX115" fmla="*/ 1933567 w 2037805"/>
                <a:gd name="connsiteY115" fmla="*/ 339336 h 1035061"/>
                <a:gd name="connsiteX116" fmla="*/ 1929422 w 2037805"/>
                <a:gd name="connsiteY116" fmla="*/ 339336 h 1035061"/>
                <a:gd name="connsiteX117" fmla="*/ 1929422 w 2037805"/>
                <a:gd name="connsiteY117" fmla="*/ 332576 h 1035061"/>
                <a:gd name="connsiteX118" fmla="*/ 1925277 w 2037805"/>
                <a:gd name="connsiteY118" fmla="*/ 339040 h 1035061"/>
                <a:gd name="connsiteX119" fmla="*/ 1921083 w 2037805"/>
                <a:gd name="connsiteY119" fmla="*/ 342296 h 1035061"/>
                <a:gd name="connsiteX120" fmla="*/ 1916939 w 2037805"/>
                <a:gd name="connsiteY120" fmla="*/ 340668 h 1035061"/>
                <a:gd name="connsiteX121" fmla="*/ 1916939 w 2037805"/>
                <a:gd name="connsiteY121" fmla="*/ 337510 h 1035061"/>
                <a:gd name="connsiteX122" fmla="*/ 1912844 w 2037805"/>
                <a:gd name="connsiteY122" fmla="*/ 342444 h 1035061"/>
                <a:gd name="connsiteX123" fmla="*/ 1908649 w 2037805"/>
                <a:gd name="connsiteY123" fmla="*/ 342444 h 1035061"/>
                <a:gd name="connsiteX124" fmla="*/ 1904505 w 2037805"/>
                <a:gd name="connsiteY124" fmla="*/ 350487 h 1035061"/>
                <a:gd name="connsiteX125" fmla="*/ 1889703 w 2037805"/>
                <a:gd name="connsiteY125" fmla="*/ 360355 h 1035061"/>
                <a:gd name="connsiteX126" fmla="*/ 1885558 w 2037805"/>
                <a:gd name="connsiteY126" fmla="*/ 370223 h 1035061"/>
                <a:gd name="connsiteX127" fmla="*/ 1881414 w 2037805"/>
                <a:gd name="connsiteY127" fmla="*/ 375157 h 1035061"/>
                <a:gd name="connsiteX128" fmla="*/ 1879341 w 2037805"/>
                <a:gd name="connsiteY128" fmla="*/ 380091 h 1035061"/>
                <a:gd name="connsiteX129" fmla="*/ 1877220 w 2037805"/>
                <a:gd name="connsiteY129" fmla="*/ 383348 h 1035061"/>
                <a:gd name="connsiteX130" fmla="*/ 1875197 w 2037805"/>
                <a:gd name="connsiteY130" fmla="*/ 386555 h 1035061"/>
                <a:gd name="connsiteX131" fmla="*/ 1879341 w 2037805"/>
                <a:gd name="connsiteY131" fmla="*/ 386555 h 1035061"/>
                <a:gd name="connsiteX132" fmla="*/ 1881414 w 2037805"/>
                <a:gd name="connsiteY132" fmla="*/ 391489 h 1035061"/>
                <a:gd name="connsiteX133" fmla="*/ 1868931 w 2037805"/>
                <a:gd name="connsiteY133" fmla="*/ 401357 h 1035061"/>
                <a:gd name="connsiteX134" fmla="*/ 1868931 w 2037805"/>
                <a:gd name="connsiteY134" fmla="*/ 404564 h 1035061"/>
                <a:gd name="connsiteX135" fmla="*/ 1877220 w 2037805"/>
                <a:gd name="connsiteY135" fmla="*/ 409498 h 1035061"/>
                <a:gd name="connsiteX136" fmla="*/ 1881414 w 2037805"/>
                <a:gd name="connsiteY136" fmla="*/ 419366 h 1035061"/>
                <a:gd name="connsiteX137" fmla="*/ 1881414 w 2037805"/>
                <a:gd name="connsiteY137" fmla="*/ 424300 h 1035061"/>
                <a:gd name="connsiteX138" fmla="*/ 1891775 w 2037805"/>
                <a:gd name="connsiteY138" fmla="*/ 424300 h 1035061"/>
                <a:gd name="connsiteX139" fmla="*/ 1895920 w 2037805"/>
                <a:gd name="connsiteY139" fmla="*/ 417837 h 1035061"/>
                <a:gd name="connsiteX140" fmla="*/ 1893897 w 2037805"/>
                <a:gd name="connsiteY140" fmla="*/ 411324 h 1035061"/>
                <a:gd name="connsiteX141" fmla="*/ 1898041 w 2037805"/>
                <a:gd name="connsiteY141" fmla="*/ 411324 h 1035061"/>
                <a:gd name="connsiteX142" fmla="*/ 1902137 w 2037805"/>
                <a:gd name="connsiteY142" fmla="*/ 421192 h 1035061"/>
                <a:gd name="connsiteX143" fmla="*/ 1896314 w 2037805"/>
                <a:gd name="connsiteY143" fmla="*/ 426323 h 1035061"/>
                <a:gd name="connsiteX144" fmla="*/ 1879736 w 2037805"/>
                <a:gd name="connsiteY144" fmla="*/ 434415 h 1035061"/>
                <a:gd name="connsiteX145" fmla="*/ 1875592 w 2037805"/>
                <a:gd name="connsiteY145" fmla="*/ 432737 h 1035061"/>
                <a:gd name="connsiteX146" fmla="*/ 1875592 w 2037805"/>
                <a:gd name="connsiteY146" fmla="*/ 427803 h 1035061"/>
                <a:gd name="connsiteX147" fmla="*/ 1873470 w 2037805"/>
                <a:gd name="connsiteY147" fmla="*/ 422869 h 1035061"/>
                <a:gd name="connsiteX148" fmla="*/ 1865181 w 2037805"/>
                <a:gd name="connsiteY148" fmla="*/ 432737 h 1035061"/>
                <a:gd name="connsiteX149" fmla="*/ 1858915 w 2037805"/>
                <a:gd name="connsiteY149" fmla="*/ 439250 h 1035061"/>
                <a:gd name="connsiteX150" fmla="*/ 1854770 w 2037805"/>
                <a:gd name="connsiteY150" fmla="*/ 437622 h 1035061"/>
                <a:gd name="connsiteX151" fmla="*/ 1854770 w 2037805"/>
                <a:gd name="connsiteY151" fmla="*/ 427754 h 1035061"/>
                <a:gd name="connsiteX152" fmla="*/ 1848652 w 2037805"/>
                <a:gd name="connsiteY152" fmla="*/ 421389 h 1035061"/>
                <a:gd name="connsiteX153" fmla="*/ 1848652 w 2037805"/>
                <a:gd name="connsiteY153" fmla="*/ 427902 h 1035061"/>
                <a:gd name="connsiteX154" fmla="*/ 1846580 w 2037805"/>
                <a:gd name="connsiteY154" fmla="*/ 435944 h 1035061"/>
                <a:gd name="connsiteX155" fmla="*/ 1850724 w 2037805"/>
                <a:gd name="connsiteY155" fmla="*/ 439201 h 1035061"/>
                <a:gd name="connsiteX156" fmla="*/ 1846580 w 2037805"/>
                <a:gd name="connsiteY156" fmla="*/ 440829 h 1035061"/>
                <a:gd name="connsiteX157" fmla="*/ 1832024 w 2037805"/>
                <a:gd name="connsiteY157" fmla="*/ 442408 h 1035061"/>
                <a:gd name="connsiteX158" fmla="*/ 1821663 w 2037805"/>
                <a:gd name="connsiteY158" fmla="*/ 444036 h 1035061"/>
                <a:gd name="connsiteX159" fmla="*/ 1815446 w 2037805"/>
                <a:gd name="connsiteY159" fmla="*/ 442408 h 1035061"/>
                <a:gd name="connsiteX160" fmla="*/ 1800644 w 2037805"/>
                <a:gd name="connsiteY160" fmla="*/ 442408 h 1035061"/>
                <a:gd name="connsiteX161" fmla="*/ 1798571 w 2037805"/>
                <a:gd name="connsiteY161" fmla="*/ 440829 h 1035061"/>
                <a:gd name="connsiteX162" fmla="*/ 1794377 w 2037805"/>
                <a:gd name="connsiteY162" fmla="*/ 440829 h 1035061"/>
                <a:gd name="connsiteX163" fmla="*/ 1781894 w 2037805"/>
                <a:gd name="connsiteY163" fmla="*/ 447243 h 1035061"/>
                <a:gd name="connsiteX164" fmla="*/ 1775677 w 2037805"/>
                <a:gd name="connsiteY164" fmla="*/ 448872 h 1035061"/>
                <a:gd name="connsiteX165" fmla="*/ 1763194 w 2037805"/>
                <a:gd name="connsiteY165" fmla="*/ 453806 h 1035061"/>
                <a:gd name="connsiteX166" fmla="*/ 1756977 w 2037805"/>
                <a:gd name="connsiteY166" fmla="*/ 455434 h 1035061"/>
                <a:gd name="connsiteX167" fmla="*/ 1750711 w 2037805"/>
                <a:gd name="connsiteY167" fmla="*/ 458690 h 1035061"/>
                <a:gd name="connsiteX168" fmla="*/ 1750711 w 2037805"/>
                <a:gd name="connsiteY168" fmla="*/ 463624 h 1035061"/>
                <a:gd name="connsiteX169" fmla="*/ 1742422 w 2037805"/>
                <a:gd name="connsiteY169" fmla="*/ 468558 h 1035061"/>
                <a:gd name="connsiteX170" fmla="*/ 1744494 w 2037805"/>
                <a:gd name="connsiteY170" fmla="*/ 471766 h 1035061"/>
                <a:gd name="connsiteX171" fmla="*/ 1748688 w 2037805"/>
                <a:gd name="connsiteY171" fmla="*/ 475022 h 1035061"/>
                <a:gd name="connsiteX172" fmla="*/ 1750711 w 2037805"/>
                <a:gd name="connsiteY172" fmla="*/ 479956 h 1035061"/>
                <a:gd name="connsiteX173" fmla="*/ 1746567 w 2037805"/>
                <a:gd name="connsiteY173" fmla="*/ 483213 h 1035061"/>
                <a:gd name="connsiteX174" fmla="*/ 1746567 w 2037805"/>
                <a:gd name="connsiteY174" fmla="*/ 486420 h 1035061"/>
                <a:gd name="connsiteX175" fmla="*/ 1742422 w 2037805"/>
                <a:gd name="connsiteY175" fmla="*/ 491354 h 1035061"/>
                <a:gd name="connsiteX176" fmla="*/ 1744494 w 2037805"/>
                <a:gd name="connsiteY176" fmla="*/ 494561 h 1035061"/>
                <a:gd name="connsiteX177" fmla="*/ 1742422 w 2037805"/>
                <a:gd name="connsiteY177" fmla="*/ 499495 h 1035061"/>
                <a:gd name="connsiteX178" fmla="*/ 1738277 w 2037805"/>
                <a:gd name="connsiteY178" fmla="*/ 505958 h 1035061"/>
                <a:gd name="connsiteX179" fmla="*/ 1736205 w 2037805"/>
                <a:gd name="connsiteY179" fmla="*/ 505958 h 1035061"/>
                <a:gd name="connsiteX180" fmla="*/ 1732011 w 2037805"/>
                <a:gd name="connsiteY180" fmla="*/ 509215 h 1035061"/>
                <a:gd name="connsiteX181" fmla="*/ 1727867 w 2037805"/>
                <a:gd name="connsiteY181" fmla="*/ 519083 h 1035061"/>
                <a:gd name="connsiteX182" fmla="*/ 1723771 w 2037805"/>
                <a:gd name="connsiteY182" fmla="*/ 519083 h 1035061"/>
                <a:gd name="connsiteX183" fmla="*/ 1721650 w 2037805"/>
                <a:gd name="connsiteY183" fmla="*/ 524017 h 1035061"/>
                <a:gd name="connsiteX184" fmla="*/ 1717505 w 2037805"/>
                <a:gd name="connsiteY184" fmla="*/ 524017 h 1035061"/>
                <a:gd name="connsiteX185" fmla="*/ 1717505 w 2037805"/>
                <a:gd name="connsiteY185" fmla="*/ 527274 h 1035061"/>
                <a:gd name="connsiteX186" fmla="*/ 1711288 w 2037805"/>
                <a:gd name="connsiteY186" fmla="*/ 533737 h 1035061"/>
                <a:gd name="connsiteX187" fmla="*/ 1711288 w 2037805"/>
                <a:gd name="connsiteY187" fmla="*/ 532109 h 1035061"/>
                <a:gd name="connsiteX188" fmla="*/ 1705071 w 2037805"/>
                <a:gd name="connsiteY188" fmla="*/ 535316 h 1035061"/>
                <a:gd name="connsiteX189" fmla="*/ 1709216 w 2037805"/>
                <a:gd name="connsiteY189" fmla="*/ 527274 h 1035061"/>
                <a:gd name="connsiteX190" fmla="*/ 1707094 w 2037805"/>
                <a:gd name="connsiteY190" fmla="*/ 524017 h 1035061"/>
                <a:gd name="connsiteX191" fmla="*/ 1700877 w 2037805"/>
                <a:gd name="connsiteY191" fmla="*/ 525596 h 1035061"/>
                <a:gd name="connsiteX192" fmla="*/ 1692588 w 2037805"/>
                <a:gd name="connsiteY192" fmla="*/ 517553 h 1035061"/>
                <a:gd name="connsiteX193" fmla="*/ 1690516 w 2037805"/>
                <a:gd name="connsiteY193" fmla="*/ 512619 h 1035061"/>
                <a:gd name="connsiteX194" fmla="*/ 1692588 w 2037805"/>
                <a:gd name="connsiteY194" fmla="*/ 509412 h 1035061"/>
                <a:gd name="connsiteX195" fmla="*/ 1702950 w 2037805"/>
                <a:gd name="connsiteY195" fmla="*/ 498113 h 1035061"/>
                <a:gd name="connsiteX196" fmla="*/ 1696733 w 2037805"/>
                <a:gd name="connsiteY196" fmla="*/ 501320 h 1035061"/>
                <a:gd name="connsiteX197" fmla="*/ 1690516 w 2037805"/>
                <a:gd name="connsiteY197" fmla="*/ 506254 h 1035061"/>
                <a:gd name="connsiteX198" fmla="*/ 1686371 w 2037805"/>
                <a:gd name="connsiteY198" fmla="*/ 512718 h 1035061"/>
                <a:gd name="connsiteX199" fmla="*/ 1686371 w 2037805"/>
                <a:gd name="connsiteY199" fmla="*/ 519182 h 1035061"/>
                <a:gd name="connsiteX200" fmla="*/ 1690516 w 2037805"/>
                <a:gd name="connsiteY200" fmla="*/ 520810 h 1035061"/>
                <a:gd name="connsiteX201" fmla="*/ 1690516 w 2037805"/>
                <a:gd name="connsiteY201" fmla="*/ 530678 h 1035061"/>
                <a:gd name="connsiteX202" fmla="*/ 1694660 w 2037805"/>
                <a:gd name="connsiteY202" fmla="*/ 533934 h 1035061"/>
                <a:gd name="connsiteX203" fmla="*/ 1698805 w 2037805"/>
                <a:gd name="connsiteY203" fmla="*/ 543802 h 1035061"/>
                <a:gd name="connsiteX204" fmla="*/ 1698805 w 2037805"/>
                <a:gd name="connsiteY204" fmla="*/ 551894 h 1035061"/>
                <a:gd name="connsiteX205" fmla="*/ 1692588 w 2037805"/>
                <a:gd name="connsiteY205" fmla="*/ 563193 h 1035061"/>
                <a:gd name="connsiteX206" fmla="*/ 1684250 w 2037805"/>
                <a:gd name="connsiteY206" fmla="*/ 568127 h 1035061"/>
                <a:gd name="connsiteX207" fmla="*/ 1680105 w 2037805"/>
                <a:gd name="connsiteY207" fmla="*/ 579426 h 1035061"/>
                <a:gd name="connsiteX208" fmla="*/ 1675961 w 2037805"/>
                <a:gd name="connsiteY208" fmla="*/ 584705 h 1035061"/>
                <a:gd name="connsiteX209" fmla="*/ 1675961 w 2037805"/>
                <a:gd name="connsiteY209" fmla="*/ 587913 h 1035061"/>
                <a:gd name="connsiteX210" fmla="*/ 1673888 w 2037805"/>
                <a:gd name="connsiteY210" fmla="*/ 591169 h 1035061"/>
                <a:gd name="connsiteX211" fmla="*/ 1671816 w 2037805"/>
                <a:gd name="connsiteY211" fmla="*/ 587913 h 1035061"/>
                <a:gd name="connsiteX212" fmla="*/ 1671816 w 2037805"/>
                <a:gd name="connsiteY212" fmla="*/ 586334 h 1035061"/>
                <a:gd name="connsiteX213" fmla="*/ 1665550 w 2037805"/>
                <a:gd name="connsiteY213" fmla="*/ 597633 h 1035061"/>
                <a:gd name="connsiteX214" fmla="*/ 1663527 w 2037805"/>
                <a:gd name="connsiteY214" fmla="*/ 600889 h 1035061"/>
                <a:gd name="connsiteX215" fmla="*/ 1661405 w 2037805"/>
                <a:gd name="connsiteY215" fmla="*/ 602468 h 1035061"/>
                <a:gd name="connsiteX216" fmla="*/ 1661405 w 2037805"/>
                <a:gd name="connsiteY216" fmla="*/ 597534 h 1035061"/>
                <a:gd name="connsiteX217" fmla="*/ 1663527 w 2037805"/>
                <a:gd name="connsiteY217" fmla="*/ 589442 h 1035061"/>
                <a:gd name="connsiteX218" fmla="*/ 1667671 w 2037805"/>
                <a:gd name="connsiteY218" fmla="*/ 584508 h 1035061"/>
                <a:gd name="connsiteX219" fmla="*/ 1665550 w 2037805"/>
                <a:gd name="connsiteY219" fmla="*/ 579574 h 1035061"/>
                <a:gd name="connsiteX220" fmla="*/ 1669744 w 2037805"/>
                <a:gd name="connsiteY220" fmla="*/ 574640 h 1035061"/>
                <a:gd name="connsiteX221" fmla="*/ 1669744 w 2037805"/>
                <a:gd name="connsiteY221" fmla="*/ 573061 h 1035061"/>
                <a:gd name="connsiteX222" fmla="*/ 1675961 w 2037805"/>
                <a:gd name="connsiteY222" fmla="*/ 569805 h 1035061"/>
                <a:gd name="connsiteX223" fmla="*/ 1667671 w 2037805"/>
                <a:gd name="connsiteY223" fmla="*/ 571433 h 1035061"/>
                <a:gd name="connsiteX224" fmla="*/ 1665550 w 2037805"/>
                <a:gd name="connsiteY224" fmla="*/ 566499 h 1035061"/>
                <a:gd name="connsiteX225" fmla="*/ 1667671 w 2037805"/>
                <a:gd name="connsiteY225" fmla="*/ 563243 h 1035061"/>
                <a:gd name="connsiteX226" fmla="*/ 1665550 w 2037805"/>
                <a:gd name="connsiteY226" fmla="*/ 561664 h 1035061"/>
                <a:gd name="connsiteX227" fmla="*/ 1663527 w 2037805"/>
                <a:gd name="connsiteY227" fmla="*/ 561664 h 1035061"/>
                <a:gd name="connsiteX228" fmla="*/ 1661405 w 2037805"/>
                <a:gd name="connsiteY228" fmla="*/ 560035 h 1035061"/>
                <a:gd name="connsiteX229" fmla="*/ 1659333 w 2037805"/>
                <a:gd name="connsiteY229" fmla="*/ 561664 h 1035061"/>
                <a:gd name="connsiteX230" fmla="*/ 1655188 w 2037805"/>
                <a:gd name="connsiteY230" fmla="*/ 555200 h 1035061"/>
                <a:gd name="connsiteX231" fmla="*/ 1653116 w 2037805"/>
                <a:gd name="connsiteY231" fmla="*/ 550266 h 1035061"/>
                <a:gd name="connsiteX232" fmla="*/ 1659333 w 2037805"/>
                <a:gd name="connsiteY232" fmla="*/ 543802 h 1035061"/>
                <a:gd name="connsiteX233" fmla="*/ 1661405 w 2037805"/>
                <a:gd name="connsiteY233" fmla="*/ 533934 h 1035061"/>
                <a:gd name="connsiteX234" fmla="*/ 1655188 w 2037805"/>
                <a:gd name="connsiteY234" fmla="*/ 525892 h 1035061"/>
                <a:gd name="connsiteX235" fmla="*/ 1659333 w 2037805"/>
                <a:gd name="connsiteY235" fmla="*/ 519428 h 1035061"/>
                <a:gd name="connsiteX236" fmla="*/ 1665550 w 2037805"/>
                <a:gd name="connsiteY236" fmla="*/ 516172 h 1035061"/>
                <a:gd name="connsiteX237" fmla="*/ 1663527 w 2037805"/>
                <a:gd name="connsiteY237" fmla="*/ 514593 h 1035061"/>
                <a:gd name="connsiteX238" fmla="*/ 1665550 w 2037805"/>
                <a:gd name="connsiteY238" fmla="*/ 508129 h 1035061"/>
                <a:gd name="connsiteX239" fmla="*/ 1663527 w 2037805"/>
                <a:gd name="connsiteY239" fmla="*/ 506452 h 1035061"/>
                <a:gd name="connsiteX240" fmla="*/ 1663527 w 2037805"/>
                <a:gd name="connsiteY240" fmla="*/ 508129 h 1035061"/>
                <a:gd name="connsiteX241" fmla="*/ 1661405 w 2037805"/>
                <a:gd name="connsiteY241" fmla="*/ 514593 h 1035061"/>
                <a:gd name="connsiteX242" fmla="*/ 1655188 w 2037805"/>
                <a:gd name="connsiteY242" fmla="*/ 519527 h 1035061"/>
                <a:gd name="connsiteX243" fmla="*/ 1648971 w 2037805"/>
                <a:gd name="connsiteY243" fmla="*/ 521106 h 1035061"/>
                <a:gd name="connsiteX244" fmla="*/ 1646850 w 2037805"/>
                <a:gd name="connsiteY244" fmla="*/ 521106 h 1035061"/>
                <a:gd name="connsiteX245" fmla="*/ 1648971 w 2037805"/>
                <a:gd name="connsiteY245" fmla="*/ 526040 h 1035061"/>
                <a:gd name="connsiteX246" fmla="*/ 1648971 w 2037805"/>
                <a:gd name="connsiteY246" fmla="*/ 529938 h 1035061"/>
                <a:gd name="connsiteX247" fmla="*/ 1646850 w 2037805"/>
                <a:gd name="connsiteY247" fmla="*/ 539806 h 1035061"/>
                <a:gd name="connsiteX248" fmla="*/ 1648971 w 2037805"/>
                <a:gd name="connsiteY248" fmla="*/ 543062 h 1035061"/>
                <a:gd name="connsiteX249" fmla="*/ 1648971 w 2037805"/>
                <a:gd name="connsiteY249" fmla="*/ 552930 h 1035061"/>
                <a:gd name="connsiteX250" fmla="*/ 1646850 w 2037805"/>
                <a:gd name="connsiteY250" fmla="*/ 565858 h 1035061"/>
                <a:gd name="connsiteX251" fmla="*/ 1644827 w 2037805"/>
                <a:gd name="connsiteY251" fmla="*/ 565858 h 1035061"/>
                <a:gd name="connsiteX252" fmla="*/ 1636488 w 2037805"/>
                <a:gd name="connsiteY252" fmla="*/ 557223 h 1035061"/>
                <a:gd name="connsiteX253" fmla="*/ 1630271 w 2037805"/>
                <a:gd name="connsiteY253" fmla="*/ 555644 h 1035061"/>
                <a:gd name="connsiteX254" fmla="*/ 1626127 w 2037805"/>
                <a:gd name="connsiteY254" fmla="*/ 549181 h 1035061"/>
                <a:gd name="connsiteX255" fmla="*/ 1621982 w 2037805"/>
                <a:gd name="connsiteY255" fmla="*/ 549181 h 1035061"/>
                <a:gd name="connsiteX256" fmla="*/ 1621982 w 2037805"/>
                <a:gd name="connsiteY256" fmla="*/ 545924 h 1035061"/>
                <a:gd name="connsiteX257" fmla="*/ 1624054 w 2037805"/>
                <a:gd name="connsiteY257" fmla="*/ 539460 h 1035061"/>
                <a:gd name="connsiteX258" fmla="*/ 1619910 w 2037805"/>
                <a:gd name="connsiteY258" fmla="*/ 544395 h 1035061"/>
                <a:gd name="connsiteX259" fmla="*/ 1619910 w 2037805"/>
                <a:gd name="connsiteY259" fmla="*/ 550858 h 1035061"/>
                <a:gd name="connsiteX260" fmla="*/ 1624054 w 2037805"/>
                <a:gd name="connsiteY260" fmla="*/ 552437 h 1035061"/>
                <a:gd name="connsiteX261" fmla="*/ 1628150 w 2037805"/>
                <a:gd name="connsiteY261" fmla="*/ 558901 h 1035061"/>
                <a:gd name="connsiteX262" fmla="*/ 1636488 w 2037805"/>
                <a:gd name="connsiteY262" fmla="*/ 560529 h 1035061"/>
                <a:gd name="connsiteX263" fmla="*/ 1644827 w 2037805"/>
                <a:gd name="connsiteY263" fmla="*/ 570397 h 1035061"/>
                <a:gd name="connsiteX264" fmla="*/ 1648971 w 2037805"/>
                <a:gd name="connsiteY264" fmla="*/ 572025 h 1035061"/>
                <a:gd name="connsiteX265" fmla="*/ 1651044 w 2037805"/>
                <a:gd name="connsiteY265" fmla="*/ 576959 h 1035061"/>
                <a:gd name="connsiteX266" fmla="*/ 1648971 w 2037805"/>
                <a:gd name="connsiteY266" fmla="*/ 585051 h 1035061"/>
                <a:gd name="connsiteX267" fmla="*/ 1642705 w 2037805"/>
                <a:gd name="connsiteY267" fmla="*/ 583472 h 1035061"/>
                <a:gd name="connsiteX268" fmla="*/ 1640633 w 2037805"/>
                <a:gd name="connsiteY268" fmla="*/ 578538 h 1035061"/>
                <a:gd name="connsiteX269" fmla="*/ 1638560 w 2037805"/>
                <a:gd name="connsiteY269" fmla="*/ 576910 h 1035061"/>
                <a:gd name="connsiteX270" fmla="*/ 1640633 w 2037805"/>
                <a:gd name="connsiteY270" fmla="*/ 585002 h 1035061"/>
                <a:gd name="connsiteX271" fmla="*/ 1648971 w 2037805"/>
                <a:gd name="connsiteY271" fmla="*/ 588209 h 1035061"/>
                <a:gd name="connsiteX272" fmla="*/ 1651044 w 2037805"/>
                <a:gd name="connsiteY272" fmla="*/ 593143 h 1035061"/>
                <a:gd name="connsiteX273" fmla="*/ 1648971 w 2037805"/>
                <a:gd name="connsiteY273" fmla="*/ 594771 h 1035061"/>
                <a:gd name="connsiteX274" fmla="*/ 1646850 w 2037805"/>
                <a:gd name="connsiteY274" fmla="*/ 597978 h 1035061"/>
                <a:gd name="connsiteX275" fmla="*/ 1640633 w 2037805"/>
                <a:gd name="connsiteY275" fmla="*/ 596350 h 1035061"/>
                <a:gd name="connsiteX276" fmla="*/ 1648971 w 2037805"/>
                <a:gd name="connsiteY276" fmla="*/ 602814 h 1035061"/>
                <a:gd name="connsiteX277" fmla="*/ 1646850 w 2037805"/>
                <a:gd name="connsiteY277" fmla="*/ 607748 h 1035061"/>
                <a:gd name="connsiteX278" fmla="*/ 1642705 w 2037805"/>
                <a:gd name="connsiteY278" fmla="*/ 606119 h 1035061"/>
                <a:gd name="connsiteX279" fmla="*/ 1638560 w 2037805"/>
                <a:gd name="connsiteY279" fmla="*/ 599656 h 1035061"/>
                <a:gd name="connsiteX280" fmla="*/ 1630271 w 2037805"/>
                <a:gd name="connsiteY280" fmla="*/ 599656 h 1035061"/>
                <a:gd name="connsiteX281" fmla="*/ 1624054 w 2037805"/>
                <a:gd name="connsiteY281" fmla="*/ 598077 h 1035061"/>
                <a:gd name="connsiteX282" fmla="*/ 1628150 w 2037805"/>
                <a:gd name="connsiteY282" fmla="*/ 603011 h 1035061"/>
                <a:gd name="connsiteX283" fmla="*/ 1634416 w 2037805"/>
                <a:gd name="connsiteY283" fmla="*/ 604639 h 1035061"/>
                <a:gd name="connsiteX284" fmla="*/ 1638560 w 2037805"/>
                <a:gd name="connsiteY284" fmla="*/ 604639 h 1035061"/>
                <a:gd name="connsiteX285" fmla="*/ 1640633 w 2037805"/>
                <a:gd name="connsiteY285" fmla="*/ 612731 h 1035061"/>
                <a:gd name="connsiteX286" fmla="*/ 1653116 w 2037805"/>
                <a:gd name="connsiteY286" fmla="*/ 612731 h 1035061"/>
                <a:gd name="connsiteX287" fmla="*/ 1655188 w 2037805"/>
                <a:gd name="connsiteY287" fmla="*/ 614310 h 1035061"/>
                <a:gd name="connsiteX288" fmla="*/ 1657261 w 2037805"/>
                <a:gd name="connsiteY288" fmla="*/ 620773 h 1035061"/>
                <a:gd name="connsiteX289" fmla="*/ 1655188 w 2037805"/>
                <a:gd name="connsiteY289" fmla="*/ 627237 h 1035061"/>
                <a:gd name="connsiteX290" fmla="*/ 1651044 w 2037805"/>
                <a:gd name="connsiteY290" fmla="*/ 625658 h 1035061"/>
                <a:gd name="connsiteX291" fmla="*/ 1651044 w 2037805"/>
                <a:gd name="connsiteY291" fmla="*/ 627237 h 1035061"/>
                <a:gd name="connsiteX292" fmla="*/ 1653116 w 2037805"/>
                <a:gd name="connsiteY292" fmla="*/ 630493 h 1035061"/>
                <a:gd name="connsiteX293" fmla="*/ 1655188 w 2037805"/>
                <a:gd name="connsiteY293" fmla="*/ 636957 h 1035061"/>
                <a:gd name="connsiteX294" fmla="*/ 1653116 w 2037805"/>
                <a:gd name="connsiteY294" fmla="*/ 640164 h 1035061"/>
                <a:gd name="connsiteX295" fmla="*/ 1648971 w 2037805"/>
                <a:gd name="connsiteY295" fmla="*/ 640164 h 1035061"/>
                <a:gd name="connsiteX296" fmla="*/ 1646850 w 2037805"/>
                <a:gd name="connsiteY296" fmla="*/ 641792 h 1035061"/>
                <a:gd name="connsiteX297" fmla="*/ 1636488 w 2037805"/>
                <a:gd name="connsiteY297" fmla="*/ 645000 h 1035061"/>
                <a:gd name="connsiteX298" fmla="*/ 1634416 w 2037805"/>
                <a:gd name="connsiteY298" fmla="*/ 646628 h 1035061"/>
                <a:gd name="connsiteX299" fmla="*/ 1628150 w 2037805"/>
                <a:gd name="connsiteY299" fmla="*/ 646628 h 1035061"/>
                <a:gd name="connsiteX300" fmla="*/ 1626127 w 2037805"/>
                <a:gd name="connsiteY300" fmla="*/ 640164 h 1035061"/>
                <a:gd name="connsiteX301" fmla="*/ 1624054 w 2037805"/>
                <a:gd name="connsiteY301" fmla="*/ 640164 h 1035061"/>
                <a:gd name="connsiteX302" fmla="*/ 1621982 w 2037805"/>
                <a:gd name="connsiteY302" fmla="*/ 650032 h 1035061"/>
                <a:gd name="connsiteX303" fmla="*/ 1621982 w 2037805"/>
                <a:gd name="connsiteY303" fmla="*/ 653289 h 1035061"/>
                <a:gd name="connsiteX304" fmla="*/ 1628150 w 2037805"/>
                <a:gd name="connsiteY304" fmla="*/ 651660 h 1035061"/>
                <a:gd name="connsiteX305" fmla="*/ 1642705 w 2037805"/>
                <a:gd name="connsiteY305" fmla="*/ 650032 h 1035061"/>
                <a:gd name="connsiteX306" fmla="*/ 1646850 w 2037805"/>
                <a:gd name="connsiteY306" fmla="*/ 651660 h 1035061"/>
                <a:gd name="connsiteX307" fmla="*/ 1646850 w 2037805"/>
                <a:gd name="connsiteY307" fmla="*/ 659752 h 1035061"/>
                <a:gd name="connsiteX308" fmla="*/ 1651044 w 2037805"/>
                <a:gd name="connsiteY308" fmla="*/ 661381 h 1035061"/>
                <a:gd name="connsiteX309" fmla="*/ 1651044 w 2037805"/>
                <a:gd name="connsiteY309" fmla="*/ 658124 h 1035061"/>
                <a:gd name="connsiteX310" fmla="*/ 1655188 w 2037805"/>
                <a:gd name="connsiteY310" fmla="*/ 651660 h 1035061"/>
                <a:gd name="connsiteX311" fmla="*/ 1657261 w 2037805"/>
                <a:gd name="connsiteY311" fmla="*/ 651660 h 1035061"/>
                <a:gd name="connsiteX312" fmla="*/ 1659333 w 2037805"/>
                <a:gd name="connsiteY312" fmla="*/ 656594 h 1035061"/>
                <a:gd name="connsiteX313" fmla="*/ 1657261 w 2037805"/>
                <a:gd name="connsiteY313" fmla="*/ 663058 h 1035061"/>
                <a:gd name="connsiteX314" fmla="*/ 1655188 w 2037805"/>
                <a:gd name="connsiteY314" fmla="*/ 663058 h 1035061"/>
                <a:gd name="connsiteX315" fmla="*/ 1646850 w 2037805"/>
                <a:gd name="connsiteY315" fmla="*/ 669522 h 1035061"/>
                <a:gd name="connsiteX316" fmla="*/ 1644827 w 2037805"/>
                <a:gd name="connsiteY316" fmla="*/ 672778 h 1035061"/>
                <a:gd name="connsiteX317" fmla="*/ 1642705 w 2037805"/>
                <a:gd name="connsiteY317" fmla="*/ 676035 h 1035061"/>
                <a:gd name="connsiteX318" fmla="*/ 1636488 w 2037805"/>
                <a:gd name="connsiteY318" fmla="*/ 672778 h 1035061"/>
                <a:gd name="connsiteX319" fmla="*/ 1632344 w 2037805"/>
                <a:gd name="connsiteY319" fmla="*/ 672778 h 1035061"/>
                <a:gd name="connsiteX320" fmla="*/ 1630271 w 2037805"/>
                <a:gd name="connsiteY320" fmla="*/ 666315 h 1035061"/>
                <a:gd name="connsiteX321" fmla="*/ 1628150 w 2037805"/>
                <a:gd name="connsiteY321" fmla="*/ 671249 h 1035061"/>
                <a:gd name="connsiteX322" fmla="*/ 1624054 w 2037805"/>
                <a:gd name="connsiteY322" fmla="*/ 672877 h 1035061"/>
                <a:gd name="connsiteX323" fmla="*/ 1617788 w 2037805"/>
                <a:gd name="connsiteY323" fmla="*/ 671249 h 1035061"/>
                <a:gd name="connsiteX324" fmla="*/ 1613644 w 2037805"/>
                <a:gd name="connsiteY324" fmla="*/ 671249 h 1035061"/>
                <a:gd name="connsiteX325" fmla="*/ 1617788 w 2037805"/>
                <a:gd name="connsiteY325" fmla="*/ 674456 h 1035061"/>
                <a:gd name="connsiteX326" fmla="*/ 1626127 w 2037805"/>
                <a:gd name="connsiteY326" fmla="*/ 676133 h 1035061"/>
                <a:gd name="connsiteX327" fmla="*/ 1628150 w 2037805"/>
                <a:gd name="connsiteY327" fmla="*/ 679341 h 1035061"/>
                <a:gd name="connsiteX328" fmla="*/ 1624054 w 2037805"/>
                <a:gd name="connsiteY328" fmla="*/ 682547 h 1035061"/>
                <a:gd name="connsiteX329" fmla="*/ 1626127 w 2037805"/>
                <a:gd name="connsiteY329" fmla="*/ 684176 h 1035061"/>
                <a:gd name="connsiteX330" fmla="*/ 1617788 w 2037805"/>
                <a:gd name="connsiteY330" fmla="*/ 687432 h 1035061"/>
                <a:gd name="connsiteX331" fmla="*/ 1609499 w 2037805"/>
                <a:gd name="connsiteY331" fmla="*/ 685755 h 1035061"/>
                <a:gd name="connsiteX332" fmla="*/ 1615765 w 2037805"/>
                <a:gd name="connsiteY332" fmla="*/ 690689 h 1035061"/>
                <a:gd name="connsiteX333" fmla="*/ 1624054 w 2037805"/>
                <a:gd name="connsiteY333" fmla="*/ 690689 h 1035061"/>
                <a:gd name="connsiteX334" fmla="*/ 1632344 w 2037805"/>
                <a:gd name="connsiteY334" fmla="*/ 685755 h 1035061"/>
                <a:gd name="connsiteX335" fmla="*/ 1632344 w 2037805"/>
                <a:gd name="connsiteY335" fmla="*/ 687432 h 1035061"/>
                <a:gd name="connsiteX336" fmla="*/ 1636488 w 2037805"/>
                <a:gd name="connsiteY336" fmla="*/ 689011 h 1035061"/>
                <a:gd name="connsiteX337" fmla="*/ 1628150 w 2037805"/>
                <a:gd name="connsiteY337" fmla="*/ 695475 h 1035061"/>
                <a:gd name="connsiteX338" fmla="*/ 1622179 w 2037805"/>
                <a:gd name="connsiteY338" fmla="*/ 695475 h 1035061"/>
                <a:gd name="connsiteX339" fmla="*/ 1622179 w 2037805"/>
                <a:gd name="connsiteY339" fmla="*/ 692761 h 1035061"/>
                <a:gd name="connsiteX340" fmla="*/ 1617986 w 2037805"/>
                <a:gd name="connsiteY340" fmla="*/ 692761 h 1035061"/>
                <a:gd name="connsiteX341" fmla="*/ 1615963 w 2037805"/>
                <a:gd name="connsiteY341" fmla="*/ 694340 h 1035061"/>
                <a:gd name="connsiteX342" fmla="*/ 1605552 w 2037805"/>
                <a:gd name="connsiteY342" fmla="*/ 694340 h 1035061"/>
                <a:gd name="connsiteX343" fmla="*/ 1588924 w 2037805"/>
                <a:gd name="connsiteY343" fmla="*/ 704208 h 1035061"/>
                <a:gd name="connsiteX344" fmla="*/ 1572346 w 2037805"/>
                <a:gd name="connsiteY344" fmla="*/ 717135 h 1035061"/>
                <a:gd name="connsiteX345" fmla="*/ 1566129 w 2037805"/>
                <a:gd name="connsiteY345" fmla="*/ 727003 h 1035061"/>
                <a:gd name="connsiteX346" fmla="*/ 1561935 w 2037805"/>
                <a:gd name="connsiteY346" fmla="*/ 727003 h 1035061"/>
                <a:gd name="connsiteX347" fmla="*/ 1557790 w 2037805"/>
                <a:gd name="connsiteY347" fmla="*/ 725375 h 1035061"/>
                <a:gd name="connsiteX348" fmla="*/ 1549501 w 2037805"/>
                <a:gd name="connsiteY348" fmla="*/ 725375 h 1035061"/>
                <a:gd name="connsiteX349" fmla="*/ 1541212 w 2037805"/>
                <a:gd name="connsiteY349" fmla="*/ 731838 h 1035061"/>
                <a:gd name="connsiteX350" fmla="*/ 1528729 w 2037805"/>
                <a:gd name="connsiteY350" fmla="*/ 746641 h 1035061"/>
                <a:gd name="connsiteX351" fmla="*/ 1528729 w 2037805"/>
                <a:gd name="connsiteY351" fmla="*/ 749848 h 1035061"/>
                <a:gd name="connsiteX352" fmla="*/ 1522512 w 2037805"/>
                <a:gd name="connsiteY352" fmla="*/ 754782 h 1035061"/>
                <a:gd name="connsiteX353" fmla="*/ 1518367 w 2037805"/>
                <a:gd name="connsiteY353" fmla="*/ 754782 h 1035061"/>
                <a:gd name="connsiteX354" fmla="*/ 1518367 w 2037805"/>
                <a:gd name="connsiteY354" fmla="*/ 758038 h 1035061"/>
                <a:gd name="connsiteX355" fmla="*/ 1512150 w 2037805"/>
                <a:gd name="connsiteY355" fmla="*/ 764502 h 1035061"/>
                <a:gd name="connsiteX356" fmla="*/ 1507957 w 2037805"/>
                <a:gd name="connsiteY356" fmla="*/ 762874 h 1035061"/>
                <a:gd name="connsiteX357" fmla="*/ 1503812 w 2037805"/>
                <a:gd name="connsiteY357" fmla="*/ 764502 h 1035061"/>
                <a:gd name="connsiteX358" fmla="*/ 1501740 w 2037805"/>
                <a:gd name="connsiteY358" fmla="*/ 766081 h 1035061"/>
                <a:gd name="connsiteX359" fmla="*/ 1495473 w 2037805"/>
                <a:gd name="connsiteY359" fmla="*/ 766081 h 1035061"/>
                <a:gd name="connsiteX360" fmla="*/ 1491329 w 2037805"/>
                <a:gd name="connsiteY360" fmla="*/ 771015 h 1035061"/>
                <a:gd name="connsiteX361" fmla="*/ 1478895 w 2037805"/>
                <a:gd name="connsiteY361" fmla="*/ 772594 h 1035061"/>
                <a:gd name="connsiteX362" fmla="*/ 1478895 w 2037805"/>
                <a:gd name="connsiteY362" fmla="*/ 775850 h 1035061"/>
                <a:gd name="connsiteX363" fmla="*/ 1470606 w 2037805"/>
                <a:gd name="connsiteY363" fmla="*/ 774222 h 1035061"/>
                <a:gd name="connsiteX364" fmla="*/ 1470606 w 2037805"/>
                <a:gd name="connsiteY364" fmla="*/ 779156 h 1035061"/>
                <a:gd name="connsiteX365" fmla="*/ 1460195 w 2037805"/>
                <a:gd name="connsiteY365" fmla="*/ 779156 h 1035061"/>
                <a:gd name="connsiteX366" fmla="*/ 1458123 w 2037805"/>
                <a:gd name="connsiteY366" fmla="*/ 780735 h 1035061"/>
                <a:gd name="connsiteX367" fmla="*/ 1462267 w 2037805"/>
                <a:gd name="connsiteY367" fmla="*/ 782363 h 1035061"/>
                <a:gd name="connsiteX368" fmla="*/ 1460195 w 2037805"/>
                <a:gd name="connsiteY368" fmla="*/ 787297 h 1035061"/>
                <a:gd name="connsiteX369" fmla="*/ 1456051 w 2037805"/>
                <a:gd name="connsiteY369" fmla="*/ 792231 h 1035061"/>
                <a:gd name="connsiteX370" fmla="*/ 1451906 w 2037805"/>
                <a:gd name="connsiteY370" fmla="*/ 793859 h 1035061"/>
                <a:gd name="connsiteX371" fmla="*/ 1449784 w 2037805"/>
                <a:gd name="connsiteY371" fmla="*/ 797116 h 1035061"/>
                <a:gd name="connsiteX372" fmla="*/ 1443568 w 2037805"/>
                <a:gd name="connsiteY372" fmla="*/ 798695 h 1035061"/>
                <a:gd name="connsiteX373" fmla="*/ 1437301 w 2037805"/>
                <a:gd name="connsiteY373" fmla="*/ 806244 h 1035061"/>
                <a:gd name="connsiteX374" fmla="*/ 1433157 w 2037805"/>
                <a:gd name="connsiteY374" fmla="*/ 816112 h 1035061"/>
                <a:gd name="connsiteX375" fmla="*/ 1433157 w 2037805"/>
                <a:gd name="connsiteY375" fmla="*/ 825980 h 1035061"/>
                <a:gd name="connsiteX376" fmla="*/ 1431084 w 2037805"/>
                <a:gd name="connsiteY376" fmla="*/ 845321 h 1035061"/>
                <a:gd name="connsiteX377" fmla="*/ 1431084 w 2037805"/>
                <a:gd name="connsiteY377" fmla="*/ 855189 h 1035061"/>
                <a:gd name="connsiteX378" fmla="*/ 1428963 w 2037805"/>
                <a:gd name="connsiteY378" fmla="*/ 868116 h 1035061"/>
                <a:gd name="connsiteX379" fmla="*/ 1433157 w 2037805"/>
                <a:gd name="connsiteY379" fmla="*/ 876159 h 1035061"/>
                <a:gd name="connsiteX380" fmla="*/ 1435229 w 2037805"/>
                <a:gd name="connsiteY380" fmla="*/ 889135 h 1035061"/>
                <a:gd name="connsiteX381" fmla="*/ 1437301 w 2037805"/>
                <a:gd name="connsiteY381" fmla="*/ 895599 h 1035061"/>
                <a:gd name="connsiteX382" fmla="*/ 1441446 w 2037805"/>
                <a:gd name="connsiteY382" fmla="*/ 910105 h 1035061"/>
                <a:gd name="connsiteX383" fmla="*/ 1445640 w 2037805"/>
                <a:gd name="connsiteY383" fmla="*/ 915039 h 1035061"/>
                <a:gd name="connsiteX384" fmla="*/ 1449735 w 2037805"/>
                <a:gd name="connsiteY384" fmla="*/ 921503 h 1035061"/>
                <a:gd name="connsiteX385" fmla="*/ 1445640 w 2037805"/>
                <a:gd name="connsiteY385" fmla="*/ 927966 h 1035061"/>
                <a:gd name="connsiteX386" fmla="*/ 1445640 w 2037805"/>
                <a:gd name="connsiteY386" fmla="*/ 937834 h 1035061"/>
                <a:gd name="connsiteX387" fmla="*/ 1447663 w 2037805"/>
                <a:gd name="connsiteY387" fmla="*/ 941091 h 1035061"/>
                <a:gd name="connsiteX388" fmla="*/ 1451857 w 2037805"/>
                <a:gd name="connsiteY388" fmla="*/ 960482 h 1035061"/>
                <a:gd name="connsiteX389" fmla="*/ 1458074 w 2037805"/>
                <a:gd name="connsiteY389" fmla="*/ 965416 h 1035061"/>
                <a:gd name="connsiteX390" fmla="*/ 1460146 w 2037805"/>
                <a:gd name="connsiteY390" fmla="*/ 973508 h 1035061"/>
                <a:gd name="connsiteX391" fmla="*/ 1456001 w 2037805"/>
                <a:gd name="connsiteY391" fmla="*/ 978442 h 1035061"/>
                <a:gd name="connsiteX392" fmla="*/ 1458074 w 2037805"/>
                <a:gd name="connsiteY392" fmla="*/ 980020 h 1035061"/>
                <a:gd name="connsiteX393" fmla="*/ 1458074 w 2037805"/>
                <a:gd name="connsiteY393" fmla="*/ 991369 h 1035061"/>
                <a:gd name="connsiteX394" fmla="*/ 1456001 w 2037805"/>
                <a:gd name="connsiteY394" fmla="*/ 994576 h 1035061"/>
                <a:gd name="connsiteX395" fmla="*/ 1456001 w 2037805"/>
                <a:gd name="connsiteY395" fmla="*/ 999510 h 1035061"/>
                <a:gd name="connsiteX396" fmla="*/ 1449735 w 2037805"/>
                <a:gd name="connsiteY396" fmla="*/ 1010809 h 1035061"/>
                <a:gd name="connsiteX397" fmla="*/ 1445640 w 2037805"/>
                <a:gd name="connsiteY397" fmla="*/ 1017273 h 1035061"/>
                <a:gd name="connsiteX398" fmla="*/ 1441446 w 2037805"/>
                <a:gd name="connsiteY398" fmla="*/ 1023736 h 1035061"/>
                <a:gd name="connsiteX399" fmla="*/ 1441446 w 2037805"/>
                <a:gd name="connsiteY399" fmla="*/ 1031779 h 1035061"/>
                <a:gd name="connsiteX400" fmla="*/ 1435229 w 2037805"/>
                <a:gd name="connsiteY400" fmla="*/ 1033407 h 1035061"/>
                <a:gd name="connsiteX401" fmla="*/ 1428963 w 2037805"/>
                <a:gd name="connsiteY401" fmla="*/ 1035035 h 1035061"/>
                <a:gd name="connsiteX402" fmla="*/ 1420674 w 2037805"/>
                <a:gd name="connsiteY402" fmla="*/ 1033407 h 1035061"/>
                <a:gd name="connsiteX403" fmla="*/ 1418601 w 2037805"/>
                <a:gd name="connsiteY403" fmla="*/ 1030150 h 1035061"/>
                <a:gd name="connsiteX404" fmla="*/ 1410312 w 2037805"/>
                <a:gd name="connsiteY404" fmla="*/ 1028571 h 1035061"/>
                <a:gd name="connsiteX405" fmla="*/ 1414457 w 2037805"/>
                <a:gd name="connsiteY405" fmla="*/ 1026943 h 1035061"/>
                <a:gd name="connsiteX406" fmla="*/ 1406118 w 2037805"/>
                <a:gd name="connsiteY406" fmla="*/ 1020479 h 1035061"/>
                <a:gd name="connsiteX407" fmla="*/ 1406118 w 2037805"/>
                <a:gd name="connsiteY407" fmla="*/ 1015545 h 1035061"/>
                <a:gd name="connsiteX408" fmla="*/ 1404046 w 2037805"/>
                <a:gd name="connsiteY408" fmla="*/ 1010611 h 1035061"/>
                <a:gd name="connsiteX409" fmla="*/ 1397829 w 2037805"/>
                <a:gd name="connsiteY409" fmla="*/ 1010611 h 1035061"/>
                <a:gd name="connsiteX410" fmla="*/ 1395757 w 2037805"/>
                <a:gd name="connsiteY410" fmla="*/ 1008983 h 1035061"/>
                <a:gd name="connsiteX411" fmla="*/ 1395757 w 2037805"/>
                <a:gd name="connsiteY411" fmla="*/ 994181 h 1035061"/>
                <a:gd name="connsiteX412" fmla="*/ 1385346 w 2037805"/>
                <a:gd name="connsiteY412" fmla="*/ 987718 h 1035061"/>
                <a:gd name="connsiteX413" fmla="*/ 1385346 w 2037805"/>
                <a:gd name="connsiteY413" fmla="*/ 983869 h 1035061"/>
                <a:gd name="connsiteX414" fmla="*/ 1387468 w 2037805"/>
                <a:gd name="connsiteY414" fmla="*/ 980662 h 1035061"/>
                <a:gd name="connsiteX415" fmla="*/ 1389540 w 2037805"/>
                <a:gd name="connsiteY415" fmla="*/ 975728 h 1035061"/>
                <a:gd name="connsiteX416" fmla="*/ 1395757 w 2037805"/>
                <a:gd name="connsiteY416" fmla="*/ 970794 h 1035061"/>
                <a:gd name="connsiteX417" fmla="*/ 1387468 w 2037805"/>
                <a:gd name="connsiteY417" fmla="*/ 972422 h 1035061"/>
                <a:gd name="connsiteX418" fmla="*/ 1385346 w 2037805"/>
                <a:gd name="connsiteY418" fmla="*/ 970794 h 1035061"/>
                <a:gd name="connsiteX419" fmla="*/ 1385346 w 2037805"/>
                <a:gd name="connsiteY419" fmla="*/ 972422 h 1035061"/>
                <a:gd name="connsiteX420" fmla="*/ 1383274 w 2037805"/>
                <a:gd name="connsiteY420" fmla="*/ 975629 h 1035061"/>
                <a:gd name="connsiteX421" fmla="*/ 1381201 w 2037805"/>
                <a:gd name="connsiteY421" fmla="*/ 970695 h 1035061"/>
                <a:gd name="connsiteX422" fmla="*/ 1379129 w 2037805"/>
                <a:gd name="connsiteY422" fmla="*/ 970695 h 1035061"/>
                <a:gd name="connsiteX423" fmla="*/ 1377057 w 2037805"/>
                <a:gd name="connsiteY423" fmla="*/ 967439 h 1035061"/>
                <a:gd name="connsiteX424" fmla="*/ 1372912 w 2037805"/>
                <a:gd name="connsiteY424" fmla="*/ 962505 h 1035061"/>
                <a:gd name="connsiteX425" fmla="*/ 1372912 w 2037805"/>
                <a:gd name="connsiteY425" fmla="*/ 957571 h 1035061"/>
                <a:gd name="connsiteX426" fmla="*/ 1370840 w 2037805"/>
                <a:gd name="connsiteY426" fmla="*/ 952636 h 1035061"/>
                <a:gd name="connsiteX427" fmla="*/ 1379129 w 2037805"/>
                <a:gd name="connsiteY427" fmla="*/ 942768 h 1035061"/>
                <a:gd name="connsiteX428" fmla="*/ 1379129 w 2037805"/>
                <a:gd name="connsiteY428" fmla="*/ 936305 h 1035061"/>
                <a:gd name="connsiteX429" fmla="*/ 1372912 w 2037805"/>
                <a:gd name="connsiteY429" fmla="*/ 934726 h 1035061"/>
                <a:gd name="connsiteX430" fmla="*/ 1370840 w 2037805"/>
                <a:gd name="connsiteY430" fmla="*/ 936305 h 1035061"/>
                <a:gd name="connsiteX431" fmla="*/ 1372912 w 2037805"/>
                <a:gd name="connsiteY431" fmla="*/ 939561 h 1035061"/>
                <a:gd name="connsiteX432" fmla="*/ 1368767 w 2037805"/>
                <a:gd name="connsiteY432" fmla="*/ 944496 h 1035061"/>
                <a:gd name="connsiteX433" fmla="*/ 1366695 w 2037805"/>
                <a:gd name="connsiteY433" fmla="*/ 946074 h 1035061"/>
                <a:gd name="connsiteX434" fmla="*/ 1362501 w 2037805"/>
                <a:gd name="connsiteY434" fmla="*/ 939611 h 1035061"/>
                <a:gd name="connsiteX435" fmla="*/ 1362501 w 2037805"/>
                <a:gd name="connsiteY435" fmla="*/ 934677 h 1035061"/>
                <a:gd name="connsiteX436" fmla="*/ 1368767 w 2037805"/>
                <a:gd name="connsiteY436" fmla="*/ 923378 h 1035061"/>
                <a:gd name="connsiteX437" fmla="*/ 1372912 w 2037805"/>
                <a:gd name="connsiteY437" fmla="*/ 908576 h 1035061"/>
                <a:gd name="connsiteX438" fmla="*/ 1374984 w 2037805"/>
                <a:gd name="connsiteY438" fmla="*/ 902112 h 1035061"/>
                <a:gd name="connsiteX439" fmla="*/ 1368767 w 2037805"/>
                <a:gd name="connsiteY439" fmla="*/ 895056 h 1035061"/>
                <a:gd name="connsiteX440" fmla="*/ 1364574 w 2037805"/>
                <a:gd name="connsiteY440" fmla="*/ 893428 h 1035061"/>
                <a:gd name="connsiteX441" fmla="*/ 1360429 w 2037805"/>
                <a:gd name="connsiteY441" fmla="*/ 890172 h 1035061"/>
                <a:gd name="connsiteX442" fmla="*/ 1360429 w 2037805"/>
                <a:gd name="connsiteY442" fmla="*/ 886915 h 1035061"/>
                <a:gd name="connsiteX443" fmla="*/ 1358357 w 2037805"/>
                <a:gd name="connsiteY443" fmla="*/ 886915 h 1035061"/>
                <a:gd name="connsiteX444" fmla="*/ 1352140 w 2037805"/>
                <a:gd name="connsiteY444" fmla="*/ 883708 h 1035061"/>
                <a:gd name="connsiteX445" fmla="*/ 1352140 w 2037805"/>
                <a:gd name="connsiteY445" fmla="*/ 877294 h 1035061"/>
                <a:gd name="connsiteX446" fmla="*/ 1350314 w 2037805"/>
                <a:gd name="connsiteY446" fmla="*/ 877294 h 1035061"/>
                <a:gd name="connsiteX447" fmla="*/ 1346169 w 2037805"/>
                <a:gd name="connsiteY447" fmla="*/ 874037 h 1035061"/>
                <a:gd name="connsiteX448" fmla="*/ 1341976 w 2037805"/>
                <a:gd name="connsiteY448" fmla="*/ 862739 h 1035061"/>
                <a:gd name="connsiteX449" fmla="*/ 1333687 w 2037805"/>
                <a:gd name="connsiteY449" fmla="*/ 861110 h 1035061"/>
                <a:gd name="connsiteX450" fmla="*/ 1329542 w 2037805"/>
                <a:gd name="connsiteY450" fmla="*/ 857854 h 1035061"/>
                <a:gd name="connsiteX451" fmla="*/ 1323276 w 2037805"/>
                <a:gd name="connsiteY451" fmla="*/ 859482 h 1035061"/>
                <a:gd name="connsiteX452" fmla="*/ 1317059 w 2037805"/>
                <a:gd name="connsiteY452" fmla="*/ 862739 h 1035061"/>
                <a:gd name="connsiteX453" fmla="*/ 1317059 w 2037805"/>
                <a:gd name="connsiteY453" fmla="*/ 864317 h 1035061"/>
                <a:gd name="connsiteX454" fmla="*/ 1312914 w 2037805"/>
                <a:gd name="connsiteY454" fmla="*/ 864317 h 1035061"/>
                <a:gd name="connsiteX455" fmla="*/ 1304625 w 2037805"/>
                <a:gd name="connsiteY455" fmla="*/ 872409 h 1035061"/>
                <a:gd name="connsiteX456" fmla="*/ 1298359 w 2037805"/>
                <a:gd name="connsiteY456" fmla="*/ 872409 h 1035061"/>
                <a:gd name="connsiteX457" fmla="*/ 1287997 w 2037805"/>
                <a:gd name="connsiteY457" fmla="*/ 874037 h 1035061"/>
                <a:gd name="connsiteX458" fmla="*/ 1285925 w 2037805"/>
                <a:gd name="connsiteY458" fmla="*/ 872409 h 1035061"/>
                <a:gd name="connsiteX459" fmla="*/ 1285925 w 2037805"/>
                <a:gd name="connsiteY459" fmla="*/ 869153 h 1035061"/>
                <a:gd name="connsiteX460" fmla="*/ 1287997 w 2037805"/>
                <a:gd name="connsiteY460" fmla="*/ 870830 h 1035061"/>
                <a:gd name="connsiteX461" fmla="*/ 1290070 w 2037805"/>
                <a:gd name="connsiteY461" fmla="*/ 870830 h 1035061"/>
                <a:gd name="connsiteX462" fmla="*/ 1287997 w 2037805"/>
                <a:gd name="connsiteY462" fmla="*/ 867574 h 1035061"/>
                <a:gd name="connsiteX463" fmla="*/ 1283853 w 2037805"/>
                <a:gd name="connsiteY463" fmla="*/ 862640 h 1035061"/>
                <a:gd name="connsiteX464" fmla="*/ 1275514 w 2037805"/>
                <a:gd name="connsiteY464" fmla="*/ 857706 h 1035061"/>
                <a:gd name="connsiteX465" fmla="*/ 1275514 w 2037805"/>
                <a:gd name="connsiteY465" fmla="*/ 857706 h 1035061"/>
                <a:gd name="connsiteX466" fmla="*/ 1281780 w 2037805"/>
                <a:gd name="connsiteY466" fmla="*/ 859334 h 1035061"/>
                <a:gd name="connsiteX467" fmla="*/ 1281780 w 2037805"/>
                <a:gd name="connsiteY467" fmla="*/ 857706 h 1035061"/>
                <a:gd name="connsiteX468" fmla="*/ 1275514 w 2037805"/>
                <a:gd name="connsiteY468" fmla="*/ 852772 h 1035061"/>
                <a:gd name="connsiteX469" fmla="*/ 1273442 w 2037805"/>
                <a:gd name="connsiteY469" fmla="*/ 849515 h 1035061"/>
                <a:gd name="connsiteX470" fmla="*/ 1271370 w 2037805"/>
                <a:gd name="connsiteY470" fmla="*/ 849515 h 1035061"/>
                <a:gd name="connsiteX471" fmla="*/ 1269297 w 2037805"/>
                <a:gd name="connsiteY471" fmla="*/ 852772 h 1035061"/>
                <a:gd name="connsiteX472" fmla="*/ 1273442 w 2037805"/>
                <a:gd name="connsiteY472" fmla="*/ 855979 h 1035061"/>
                <a:gd name="connsiteX473" fmla="*/ 1267225 w 2037805"/>
                <a:gd name="connsiteY473" fmla="*/ 854351 h 1035061"/>
                <a:gd name="connsiteX474" fmla="*/ 1263081 w 2037805"/>
                <a:gd name="connsiteY474" fmla="*/ 849417 h 1035061"/>
                <a:gd name="connsiteX475" fmla="*/ 1252670 w 2037805"/>
                <a:gd name="connsiteY475" fmla="*/ 849417 h 1035061"/>
                <a:gd name="connsiteX476" fmla="*/ 1244381 w 2037805"/>
                <a:gd name="connsiteY476" fmla="*/ 847788 h 1035061"/>
                <a:gd name="connsiteX477" fmla="*/ 1244381 w 2037805"/>
                <a:gd name="connsiteY477" fmla="*/ 846160 h 1035061"/>
                <a:gd name="connsiteX478" fmla="*/ 1252670 w 2037805"/>
                <a:gd name="connsiteY478" fmla="*/ 847788 h 1035061"/>
                <a:gd name="connsiteX479" fmla="*/ 1258886 w 2037805"/>
                <a:gd name="connsiteY479" fmla="*/ 846160 h 1035061"/>
                <a:gd name="connsiteX480" fmla="*/ 1256814 w 2037805"/>
                <a:gd name="connsiteY480" fmla="*/ 844532 h 1035061"/>
                <a:gd name="connsiteX481" fmla="*/ 1248525 w 2037805"/>
                <a:gd name="connsiteY481" fmla="*/ 844532 h 1035061"/>
                <a:gd name="connsiteX482" fmla="*/ 1240236 w 2037805"/>
                <a:gd name="connsiteY482" fmla="*/ 849466 h 1035061"/>
                <a:gd name="connsiteX483" fmla="*/ 1238164 w 2037805"/>
                <a:gd name="connsiteY483" fmla="*/ 847838 h 1035061"/>
                <a:gd name="connsiteX484" fmla="*/ 1225680 w 2037805"/>
                <a:gd name="connsiteY484" fmla="*/ 847838 h 1035061"/>
                <a:gd name="connsiteX485" fmla="*/ 1221536 w 2037805"/>
                <a:gd name="connsiteY485" fmla="*/ 846209 h 1035061"/>
                <a:gd name="connsiteX486" fmla="*/ 1217391 w 2037805"/>
                <a:gd name="connsiteY486" fmla="*/ 847838 h 1035061"/>
                <a:gd name="connsiteX487" fmla="*/ 1206734 w 2037805"/>
                <a:gd name="connsiteY487" fmla="*/ 847838 h 1035061"/>
                <a:gd name="connsiteX488" fmla="*/ 1200517 w 2037805"/>
                <a:gd name="connsiteY488" fmla="*/ 849466 h 1035061"/>
                <a:gd name="connsiteX489" fmla="*/ 1194251 w 2037805"/>
                <a:gd name="connsiteY489" fmla="*/ 844532 h 1035061"/>
                <a:gd name="connsiteX490" fmla="*/ 1194251 w 2037805"/>
                <a:gd name="connsiteY490" fmla="*/ 836489 h 1035061"/>
                <a:gd name="connsiteX491" fmla="*/ 1190106 w 2037805"/>
                <a:gd name="connsiteY491" fmla="*/ 836489 h 1035061"/>
                <a:gd name="connsiteX492" fmla="*/ 1188034 w 2037805"/>
                <a:gd name="connsiteY492" fmla="*/ 841423 h 1035061"/>
                <a:gd name="connsiteX493" fmla="*/ 1183889 w 2037805"/>
                <a:gd name="connsiteY493" fmla="*/ 846357 h 1035061"/>
                <a:gd name="connsiteX494" fmla="*/ 1179745 w 2037805"/>
                <a:gd name="connsiteY494" fmla="*/ 844729 h 1035061"/>
                <a:gd name="connsiteX495" fmla="*/ 1173478 w 2037805"/>
                <a:gd name="connsiteY495" fmla="*/ 846357 h 1035061"/>
                <a:gd name="connsiteX496" fmla="*/ 1167262 w 2037805"/>
                <a:gd name="connsiteY496" fmla="*/ 846357 h 1035061"/>
                <a:gd name="connsiteX497" fmla="*/ 1144417 w 2037805"/>
                <a:gd name="connsiteY497" fmla="*/ 849614 h 1035061"/>
                <a:gd name="connsiteX498" fmla="*/ 1138200 w 2037805"/>
                <a:gd name="connsiteY498" fmla="*/ 852870 h 1035061"/>
                <a:gd name="connsiteX499" fmla="*/ 1127789 w 2037805"/>
                <a:gd name="connsiteY499" fmla="*/ 857804 h 1035061"/>
                <a:gd name="connsiteX500" fmla="*/ 1121572 w 2037805"/>
                <a:gd name="connsiteY500" fmla="*/ 864268 h 1035061"/>
                <a:gd name="connsiteX501" fmla="*/ 1121572 w 2037805"/>
                <a:gd name="connsiteY501" fmla="*/ 867524 h 1035061"/>
                <a:gd name="connsiteX502" fmla="*/ 1125717 w 2037805"/>
                <a:gd name="connsiteY502" fmla="*/ 865896 h 1035061"/>
                <a:gd name="connsiteX503" fmla="*/ 1129862 w 2037805"/>
                <a:gd name="connsiteY503" fmla="*/ 862689 h 1035061"/>
                <a:gd name="connsiteX504" fmla="*/ 1131934 w 2037805"/>
                <a:gd name="connsiteY504" fmla="*/ 862689 h 1035061"/>
                <a:gd name="connsiteX505" fmla="*/ 1134055 w 2037805"/>
                <a:gd name="connsiteY505" fmla="*/ 865896 h 1035061"/>
                <a:gd name="connsiteX506" fmla="*/ 1140272 w 2037805"/>
                <a:gd name="connsiteY506" fmla="*/ 869103 h 1035061"/>
                <a:gd name="connsiteX507" fmla="*/ 1138200 w 2037805"/>
                <a:gd name="connsiteY507" fmla="*/ 870781 h 1035061"/>
                <a:gd name="connsiteX508" fmla="*/ 1127789 w 2037805"/>
                <a:gd name="connsiteY508" fmla="*/ 873988 h 1035061"/>
                <a:gd name="connsiteX509" fmla="*/ 1127789 w 2037805"/>
                <a:gd name="connsiteY509" fmla="*/ 880254 h 1035061"/>
                <a:gd name="connsiteX510" fmla="*/ 1129862 w 2037805"/>
                <a:gd name="connsiteY510" fmla="*/ 883462 h 1035061"/>
                <a:gd name="connsiteX511" fmla="*/ 1140272 w 2037805"/>
                <a:gd name="connsiteY511" fmla="*/ 886668 h 1035061"/>
                <a:gd name="connsiteX512" fmla="*/ 1148561 w 2037805"/>
                <a:gd name="connsiteY512" fmla="*/ 893181 h 1035061"/>
                <a:gd name="connsiteX513" fmla="*/ 1148561 w 2037805"/>
                <a:gd name="connsiteY513" fmla="*/ 895056 h 1035061"/>
                <a:gd name="connsiteX514" fmla="*/ 1142345 w 2037805"/>
                <a:gd name="connsiteY514" fmla="*/ 896635 h 1035061"/>
                <a:gd name="connsiteX515" fmla="*/ 1140272 w 2037805"/>
                <a:gd name="connsiteY515" fmla="*/ 899892 h 1035061"/>
                <a:gd name="connsiteX516" fmla="*/ 1140272 w 2037805"/>
                <a:gd name="connsiteY516" fmla="*/ 894958 h 1035061"/>
                <a:gd name="connsiteX517" fmla="*/ 1136128 w 2037805"/>
                <a:gd name="connsiteY517" fmla="*/ 891701 h 1035061"/>
                <a:gd name="connsiteX518" fmla="*/ 1131934 w 2037805"/>
                <a:gd name="connsiteY518" fmla="*/ 893330 h 1035061"/>
                <a:gd name="connsiteX519" fmla="*/ 1129862 w 2037805"/>
                <a:gd name="connsiteY519" fmla="*/ 888396 h 1035061"/>
                <a:gd name="connsiteX520" fmla="*/ 1123645 w 2037805"/>
                <a:gd name="connsiteY520" fmla="*/ 886718 h 1035061"/>
                <a:gd name="connsiteX521" fmla="*/ 1119500 w 2037805"/>
                <a:gd name="connsiteY521" fmla="*/ 880304 h 1035061"/>
                <a:gd name="connsiteX522" fmla="*/ 1113481 w 2037805"/>
                <a:gd name="connsiteY522" fmla="*/ 880304 h 1035061"/>
                <a:gd name="connsiteX523" fmla="*/ 1115553 w 2037805"/>
                <a:gd name="connsiteY523" fmla="*/ 885238 h 1035061"/>
                <a:gd name="connsiteX524" fmla="*/ 1115553 w 2037805"/>
                <a:gd name="connsiteY524" fmla="*/ 893330 h 1035061"/>
                <a:gd name="connsiteX525" fmla="*/ 1109287 w 2037805"/>
                <a:gd name="connsiteY525" fmla="*/ 896537 h 1035061"/>
                <a:gd name="connsiteX526" fmla="*/ 1107214 w 2037805"/>
                <a:gd name="connsiteY526" fmla="*/ 891602 h 1035061"/>
                <a:gd name="connsiteX527" fmla="*/ 1100997 w 2037805"/>
                <a:gd name="connsiteY527" fmla="*/ 888396 h 1035061"/>
                <a:gd name="connsiteX528" fmla="*/ 1096853 w 2037805"/>
                <a:gd name="connsiteY528" fmla="*/ 891602 h 1035061"/>
                <a:gd name="connsiteX529" fmla="*/ 1092708 w 2037805"/>
                <a:gd name="connsiteY529" fmla="*/ 894859 h 1035061"/>
                <a:gd name="connsiteX530" fmla="*/ 1082297 w 2037805"/>
                <a:gd name="connsiteY530" fmla="*/ 893231 h 1035061"/>
                <a:gd name="connsiteX531" fmla="*/ 1078153 w 2037805"/>
                <a:gd name="connsiteY531" fmla="*/ 889974 h 1035061"/>
                <a:gd name="connsiteX532" fmla="*/ 1071936 w 2037805"/>
                <a:gd name="connsiteY532" fmla="*/ 891602 h 1035061"/>
                <a:gd name="connsiteX533" fmla="*/ 1067742 w 2037805"/>
                <a:gd name="connsiteY533" fmla="*/ 889974 h 1035061"/>
                <a:gd name="connsiteX534" fmla="*/ 1071936 w 2037805"/>
                <a:gd name="connsiteY534" fmla="*/ 886718 h 1035061"/>
                <a:gd name="connsiteX535" fmla="*/ 1076080 w 2037805"/>
                <a:gd name="connsiteY535" fmla="*/ 883511 h 1035061"/>
                <a:gd name="connsiteX536" fmla="*/ 1074008 w 2037805"/>
                <a:gd name="connsiteY536" fmla="*/ 880254 h 1035061"/>
                <a:gd name="connsiteX537" fmla="*/ 1065670 w 2037805"/>
                <a:gd name="connsiteY537" fmla="*/ 880254 h 1035061"/>
                <a:gd name="connsiteX538" fmla="*/ 1063598 w 2037805"/>
                <a:gd name="connsiteY538" fmla="*/ 878626 h 1035061"/>
                <a:gd name="connsiteX539" fmla="*/ 1063598 w 2037805"/>
                <a:gd name="connsiteY539" fmla="*/ 873692 h 1035061"/>
                <a:gd name="connsiteX540" fmla="*/ 1061525 w 2037805"/>
                <a:gd name="connsiteY540" fmla="*/ 870485 h 1035061"/>
                <a:gd name="connsiteX541" fmla="*/ 1057381 w 2037805"/>
                <a:gd name="connsiteY541" fmla="*/ 872064 h 1035061"/>
                <a:gd name="connsiteX542" fmla="*/ 1053236 w 2037805"/>
                <a:gd name="connsiteY542" fmla="*/ 872064 h 1035061"/>
                <a:gd name="connsiteX543" fmla="*/ 1055308 w 2037805"/>
                <a:gd name="connsiteY543" fmla="*/ 867130 h 1035061"/>
                <a:gd name="connsiteX544" fmla="*/ 1051164 w 2037805"/>
                <a:gd name="connsiteY544" fmla="*/ 867130 h 1035061"/>
                <a:gd name="connsiteX545" fmla="*/ 1044897 w 2037805"/>
                <a:gd name="connsiteY545" fmla="*/ 868709 h 1035061"/>
                <a:gd name="connsiteX546" fmla="*/ 1044897 w 2037805"/>
                <a:gd name="connsiteY546" fmla="*/ 875320 h 1035061"/>
                <a:gd name="connsiteX547" fmla="*/ 1038681 w 2037805"/>
                <a:gd name="connsiteY547" fmla="*/ 876998 h 1035061"/>
                <a:gd name="connsiteX548" fmla="*/ 1017908 w 2037805"/>
                <a:gd name="connsiteY548" fmla="*/ 875320 h 1035061"/>
                <a:gd name="connsiteX549" fmla="*/ 1015836 w 2037805"/>
                <a:gd name="connsiteY549" fmla="*/ 872113 h 1035061"/>
                <a:gd name="connsiteX550" fmla="*/ 999208 w 2037805"/>
                <a:gd name="connsiteY550" fmla="*/ 868857 h 1035061"/>
                <a:gd name="connsiteX551" fmla="*/ 988847 w 2037805"/>
                <a:gd name="connsiteY551" fmla="*/ 868857 h 1035061"/>
                <a:gd name="connsiteX552" fmla="*/ 976364 w 2037805"/>
                <a:gd name="connsiteY552" fmla="*/ 870534 h 1035061"/>
                <a:gd name="connsiteX553" fmla="*/ 972219 w 2037805"/>
                <a:gd name="connsiteY553" fmla="*/ 873741 h 1035061"/>
                <a:gd name="connsiteX554" fmla="*/ 966002 w 2037805"/>
                <a:gd name="connsiteY554" fmla="*/ 873741 h 1035061"/>
                <a:gd name="connsiteX555" fmla="*/ 961858 w 2037805"/>
                <a:gd name="connsiteY555" fmla="*/ 881833 h 1035061"/>
                <a:gd name="connsiteX556" fmla="*/ 953519 w 2037805"/>
                <a:gd name="connsiteY556" fmla="*/ 881833 h 1035061"/>
                <a:gd name="connsiteX557" fmla="*/ 953519 w 2037805"/>
                <a:gd name="connsiteY557" fmla="*/ 876899 h 1035061"/>
                <a:gd name="connsiteX558" fmla="*/ 951447 w 2037805"/>
                <a:gd name="connsiteY558" fmla="*/ 871965 h 1035061"/>
                <a:gd name="connsiteX559" fmla="*/ 955591 w 2037805"/>
                <a:gd name="connsiteY559" fmla="*/ 867031 h 1035061"/>
                <a:gd name="connsiteX560" fmla="*/ 953519 w 2037805"/>
                <a:gd name="connsiteY560" fmla="*/ 860568 h 1035061"/>
                <a:gd name="connsiteX561" fmla="*/ 953519 w 2037805"/>
                <a:gd name="connsiteY561" fmla="*/ 863774 h 1035061"/>
                <a:gd name="connsiteX562" fmla="*/ 947302 w 2037805"/>
                <a:gd name="connsiteY562" fmla="*/ 868709 h 1035061"/>
                <a:gd name="connsiteX563" fmla="*/ 943158 w 2037805"/>
                <a:gd name="connsiteY563" fmla="*/ 868709 h 1035061"/>
                <a:gd name="connsiteX564" fmla="*/ 938964 w 2037805"/>
                <a:gd name="connsiteY564" fmla="*/ 865502 h 1035061"/>
                <a:gd name="connsiteX565" fmla="*/ 943158 w 2037805"/>
                <a:gd name="connsiteY565" fmla="*/ 873593 h 1035061"/>
                <a:gd name="connsiteX566" fmla="*/ 943158 w 2037805"/>
                <a:gd name="connsiteY566" fmla="*/ 880254 h 1035061"/>
                <a:gd name="connsiteX567" fmla="*/ 945230 w 2037805"/>
                <a:gd name="connsiteY567" fmla="*/ 886668 h 1035061"/>
                <a:gd name="connsiteX568" fmla="*/ 938964 w 2037805"/>
                <a:gd name="connsiteY568" fmla="*/ 889925 h 1035061"/>
                <a:gd name="connsiteX569" fmla="*/ 934819 w 2037805"/>
                <a:gd name="connsiteY569" fmla="*/ 889925 h 1035061"/>
                <a:gd name="connsiteX570" fmla="*/ 924458 w 2037805"/>
                <a:gd name="connsiteY570" fmla="*/ 899793 h 1035061"/>
                <a:gd name="connsiteX571" fmla="*/ 907830 w 2037805"/>
                <a:gd name="connsiteY571" fmla="*/ 906257 h 1035061"/>
                <a:gd name="connsiteX572" fmla="*/ 903685 w 2037805"/>
                <a:gd name="connsiteY572" fmla="*/ 904628 h 1035061"/>
                <a:gd name="connsiteX573" fmla="*/ 897419 w 2037805"/>
                <a:gd name="connsiteY573" fmla="*/ 911092 h 1035061"/>
                <a:gd name="connsiteX574" fmla="*/ 891202 w 2037805"/>
                <a:gd name="connsiteY574" fmla="*/ 911092 h 1035061"/>
                <a:gd name="connsiteX575" fmla="*/ 897419 w 2037805"/>
                <a:gd name="connsiteY575" fmla="*/ 906158 h 1035061"/>
                <a:gd name="connsiteX576" fmla="*/ 893275 w 2037805"/>
                <a:gd name="connsiteY576" fmla="*/ 902902 h 1035061"/>
                <a:gd name="connsiteX577" fmla="*/ 889130 w 2037805"/>
                <a:gd name="connsiteY577" fmla="*/ 904530 h 1035061"/>
                <a:gd name="connsiteX578" fmla="*/ 887058 w 2037805"/>
                <a:gd name="connsiteY578" fmla="*/ 902902 h 1035061"/>
                <a:gd name="connsiteX579" fmla="*/ 880841 w 2037805"/>
                <a:gd name="connsiteY579" fmla="*/ 906158 h 1035061"/>
                <a:gd name="connsiteX580" fmla="*/ 884985 w 2037805"/>
                <a:gd name="connsiteY580" fmla="*/ 909365 h 1035061"/>
                <a:gd name="connsiteX581" fmla="*/ 876696 w 2037805"/>
                <a:gd name="connsiteY581" fmla="*/ 910993 h 1035061"/>
                <a:gd name="connsiteX582" fmla="*/ 872502 w 2037805"/>
                <a:gd name="connsiteY582" fmla="*/ 909365 h 1035061"/>
                <a:gd name="connsiteX583" fmla="*/ 872502 w 2037805"/>
                <a:gd name="connsiteY583" fmla="*/ 917457 h 1035061"/>
                <a:gd name="connsiteX584" fmla="*/ 866285 w 2037805"/>
                <a:gd name="connsiteY584" fmla="*/ 919036 h 1035061"/>
                <a:gd name="connsiteX585" fmla="*/ 862141 w 2037805"/>
                <a:gd name="connsiteY585" fmla="*/ 917457 h 1035061"/>
                <a:gd name="connsiteX586" fmla="*/ 855924 w 2037805"/>
                <a:gd name="connsiteY586" fmla="*/ 923920 h 1035061"/>
                <a:gd name="connsiteX587" fmla="*/ 860069 w 2037805"/>
                <a:gd name="connsiteY587" fmla="*/ 928854 h 1035061"/>
                <a:gd name="connsiteX588" fmla="*/ 853802 w 2037805"/>
                <a:gd name="connsiteY588" fmla="*/ 933788 h 1035061"/>
                <a:gd name="connsiteX589" fmla="*/ 847585 w 2037805"/>
                <a:gd name="connsiteY589" fmla="*/ 935417 h 1035061"/>
                <a:gd name="connsiteX590" fmla="*/ 849658 w 2037805"/>
                <a:gd name="connsiteY590" fmla="*/ 946716 h 1035061"/>
                <a:gd name="connsiteX591" fmla="*/ 845513 w 2037805"/>
                <a:gd name="connsiteY591" fmla="*/ 953179 h 1035061"/>
                <a:gd name="connsiteX592" fmla="*/ 843441 w 2037805"/>
                <a:gd name="connsiteY592" fmla="*/ 963048 h 1035061"/>
                <a:gd name="connsiteX593" fmla="*/ 839296 w 2037805"/>
                <a:gd name="connsiteY593" fmla="*/ 969462 h 1035061"/>
                <a:gd name="connsiteX594" fmla="*/ 841368 w 2037805"/>
                <a:gd name="connsiteY594" fmla="*/ 974396 h 1035061"/>
                <a:gd name="connsiteX595" fmla="*/ 841368 w 2037805"/>
                <a:gd name="connsiteY595" fmla="*/ 987274 h 1035061"/>
                <a:gd name="connsiteX596" fmla="*/ 843441 w 2037805"/>
                <a:gd name="connsiteY596" fmla="*/ 992208 h 1035061"/>
                <a:gd name="connsiteX597" fmla="*/ 839296 w 2037805"/>
                <a:gd name="connsiteY597" fmla="*/ 998671 h 1035061"/>
                <a:gd name="connsiteX598" fmla="*/ 837224 w 2037805"/>
                <a:gd name="connsiteY598" fmla="*/ 1008539 h 1035061"/>
                <a:gd name="connsiteX599" fmla="*/ 833079 w 2037805"/>
                <a:gd name="connsiteY599" fmla="*/ 1006911 h 1035061"/>
                <a:gd name="connsiteX600" fmla="*/ 830958 w 2037805"/>
                <a:gd name="connsiteY600" fmla="*/ 1003704 h 1035061"/>
                <a:gd name="connsiteX601" fmla="*/ 824741 w 2037805"/>
                <a:gd name="connsiteY601" fmla="*/ 1002076 h 1035061"/>
                <a:gd name="connsiteX602" fmla="*/ 818524 w 2037805"/>
                <a:gd name="connsiteY602" fmla="*/ 998868 h 1035061"/>
                <a:gd name="connsiteX603" fmla="*/ 806041 w 2037805"/>
                <a:gd name="connsiteY603" fmla="*/ 995612 h 1035061"/>
                <a:gd name="connsiteX604" fmla="*/ 799824 w 2037805"/>
                <a:gd name="connsiteY604" fmla="*/ 990678 h 1035061"/>
                <a:gd name="connsiteX605" fmla="*/ 795679 w 2037805"/>
                <a:gd name="connsiteY605" fmla="*/ 989050 h 1035061"/>
                <a:gd name="connsiteX606" fmla="*/ 791535 w 2037805"/>
                <a:gd name="connsiteY606" fmla="*/ 989050 h 1035061"/>
                <a:gd name="connsiteX607" fmla="*/ 787341 w 2037805"/>
                <a:gd name="connsiteY607" fmla="*/ 987421 h 1035061"/>
                <a:gd name="connsiteX608" fmla="*/ 785268 w 2037805"/>
                <a:gd name="connsiteY608" fmla="*/ 985843 h 1035061"/>
                <a:gd name="connsiteX609" fmla="*/ 782900 w 2037805"/>
                <a:gd name="connsiteY609" fmla="*/ 983869 h 1035061"/>
                <a:gd name="connsiteX610" fmla="*/ 782900 w 2037805"/>
                <a:gd name="connsiteY610" fmla="*/ 975777 h 1035061"/>
                <a:gd name="connsiteX611" fmla="*/ 776683 w 2037805"/>
                <a:gd name="connsiteY611" fmla="*/ 956436 h 1035061"/>
                <a:gd name="connsiteX612" fmla="*/ 774611 w 2037805"/>
                <a:gd name="connsiteY612" fmla="*/ 954758 h 1035061"/>
                <a:gd name="connsiteX613" fmla="*/ 774611 w 2037805"/>
                <a:gd name="connsiteY613" fmla="*/ 953179 h 1035061"/>
                <a:gd name="connsiteX614" fmla="*/ 776683 w 2037805"/>
                <a:gd name="connsiteY614" fmla="*/ 948245 h 1035061"/>
                <a:gd name="connsiteX615" fmla="*/ 776683 w 2037805"/>
                <a:gd name="connsiteY615" fmla="*/ 941782 h 1035061"/>
                <a:gd name="connsiteX616" fmla="*/ 770466 w 2037805"/>
                <a:gd name="connsiteY616" fmla="*/ 936848 h 1035061"/>
                <a:gd name="connsiteX617" fmla="*/ 766273 w 2037805"/>
                <a:gd name="connsiteY617" fmla="*/ 931913 h 1035061"/>
                <a:gd name="connsiteX618" fmla="*/ 766273 w 2037805"/>
                <a:gd name="connsiteY618" fmla="*/ 925450 h 1035061"/>
                <a:gd name="connsiteX619" fmla="*/ 760056 w 2037805"/>
                <a:gd name="connsiteY619" fmla="*/ 922243 h 1035061"/>
                <a:gd name="connsiteX620" fmla="*/ 757983 w 2037805"/>
                <a:gd name="connsiteY620" fmla="*/ 918986 h 1035061"/>
                <a:gd name="connsiteX621" fmla="*/ 755911 w 2037805"/>
                <a:gd name="connsiteY621" fmla="*/ 917408 h 1035061"/>
                <a:gd name="connsiteX622" fmla="*/ 751766 w 2037805"/>
                <a:gd name="connsiteY622" fmla="*/ 906109 h 1035061"/>
                <a:gd name="connsiteX623" fmla="*/ 749694 w 2037805"/>
                <a:gd name="connsiteY623" fmla="*/ 901175 h 1035061"/>
                <a:gd name="connsiteX624" fmla="*/ 745500 w 2037805"/>
                <a:gd name="connsiteY624" fmla="*/ 899596 h 1035061"/>
                <a:gd name="connsiteX625" fmla="*/ 745500 w 2037805"/>
                <a:gd name="connsiteY625" fmla="*/ 893132 h 1035061"/>
                <a:gd name="connsiteX626" fmla="*/ 743428 w 2037805"/>
                <a:gd name="connsiteY626" fmla="*/ 888198 h 1035061"/>
                <a:gd name="connsiteX627" fmla="*/ 741356 w 2037805"/>
                <a:gd name="connsiteY627" fmla="*/ 884942 h 1035061"/>
                <a:gd name="connsiteX628" fmla="*/ 739283 w 2037805"/>
                <a:gd name="connsiteY628" fmla="*/ 878478 h 1035061"/>
                <a:gd name="connsiteX629" fmla="*/ 733067 w 2037805"/>
                <a:gd name="connsiteY629" fmla="*/ 872015 h 1035061"/>
                <a:gd name="connsiteX630" fmla="*/ 726800 w 2037805"/>
                <a:gd name="connsiteY630" fmla="*/ 865551 h 1035061"/>
                <a:gd name="connsiteX631" fmla="*/ 722656 w 2037805"/>
                <a:gd name="connsiteY631" fmla="*/ 862344 h 1035061"/>
                <a:gd name="connsiteX632" fmla="*/ 718511 w 2037805"/>
                <a:gd name="connsiteY632" fmla="*/ 859087 h 1035061"/>
                <a:gd name="connsiteX633" fmla="*/ 714366 w 2037805"/>
                <a:gd name="connsiteY633" fmla="*/ 860715 h 1035061"/>
                <a:gd name="connsiteX634" fmla="*/ 712294 w 2037805"/>
                <a:gd name="connsiteY634" fmla="*/ 859087 h 1035061"/>
                <a:gd name="connsiteX635" fmla="*/ 710222 w 2037805"/>
                <a:gd name="connsiteY635" fmla="*/ 857459 h 1035061"/>
                <a:gd name="connsiteX636" fmla="*/ 689450 w 2037805"/>
                <a:gd name="connsiteY636" fmla="*/ 857459 h 1035061"/>
                <a:gd name="connsiteX637" fmla="*/ 687377 w 2037805"/>
                <a:gd name="connsiteY637" fmla="*/ 860715 h 1035061"/>
                <a:gd name="connsiteX638" fmla="*/ 685305 w 2037805"/>
                <a:gd name="connsiteY638" fmla="*/ 860715 h 1035061"/>
                <a:gd name="connsiteX639" fmla="*/ 681111 w 2037805"/>
                <a:gd name="connsiteY639" fmla="*/ 859087 h 1035061"/>
                <a:gd name="connsiteX640" fmla="*/ 676967 w 2037805"/>
                <a:gd name="connsiteY640" fmla="*/ 860715 h 1035061"/>
                <a:gd name="connsiteX641" fmla="*/ 674894 w 2037805"/>
                <a:gd name="connsiteY641" fmla="*/ 863923 h 1035061"/>
                <a:gd name="connsiteX642" fmla="*/ 668677 w 2037805"/>
                <a:gd name="connsiteY642" fmla="*/ 872015 h 1035061"/>
                <a:gd name="connsiteX643" fmla="*/ 666605 w 2037805"/>
                <a:gd name="connsiteY643" fmla="*/ 875221 h 1035061"/>
                <a:gd name="connsiteX644" fmla="*/ 666605 w 2037805"/>
                <a:gd name="connsiteY644" fmla="*/ 876899 h 1035061"/>
                <a:gd name="connsiteX645" fmla="*/ 664483 w 2037805"/>
                <a:gd name="connsiteY645" fmla="*/ 880254 h 1035061"/>
                <a:gd name="connsiteX646" fmla="*/ 662362 w 2037805"/>
                <a:gd name="connsiteY646" fmla="*/ 881883 h 1035061"/>
                <a:gd name="connsiteX647" fmla="*/ 656145 w 2037805"/>
                <a:gd name="connsiteY647" fmla="*/ 885090 h 1035061"/>
                <a:gd name="connsiteX648" fmla="*/ 656145 w 2037805"/>
                <a:gd name="connsiteY648" fmla="*/ 886668 h 1035061"/>
                <a:gd name="connsiteX649" fmla="*/ 652000 w 2037805"/>
                <a:gd name="connsiteY649" fmla="*/ 888346 h 1035061"/>
                <a:gd name="connsiteX650" fmla="*/ 649928 w 2037805"/>
                <a:gd name="connsiteY650" fmla="*/ 886668 h 1035061"/>
                <a:gd name="connsiteX651" fmla="*/ 647856 w 2037805"/>
                <a:gd name="connsiteY651" fmla="*/ 885090 h 1035061"/>
                <a:gd name="connsiteX652" fmla="*/ 639517 w 2037805"/>
                <a:gd name="connsiteY652" fmla="*/ 881883 h 1035061"/>
                <a:gd name="connsiteX653" fmla="*/ 633300 w 2037805"/>
                <a:gd name="connsiteY653" fmla="*/ 880254 h 1035061"/>
                <a:gd name="connsiteX654" fmla="*/ 633300 w 2037805"/>
                <a:gd name="connsiteY654" fmla="*/ 878626 h 1035061"/>
                <a:gd name="connsiteX655" fmla="*/ 625011 w 2037805"/>
                <a:gd name="connsiteY655" fmla="*/ 875320 h 1035061"/>
                <a:gd name="connsiteX656" fmla="*/ 620866 w 2037805"/>
                <a:gd name="connsiteY656" fmla="*/ 875320 h 1035061"/>
                <a:gd name="connsiteX657" fmla="*/ 618745 w 2037805"/>
                <a:gd name="connsiteY657" fmla="*/ 872113 h 1035061"/>
                <a:gd name="connsiteX658" fmla="*/ 618745 w 2037805"/>
                <a:gd name="connsiteY658" fmla="*/ 870534 h 1035061"/>
                <a:gd name="connsiteX659" fmla="*/ 616673 w 2037805"/>
                <a:gd name="connsiteY659" fmla="*/ 868857 h 1035061"/>
                <a:gd name="connsiteX660" fmla="*/ 614600 w 2037805"/>
                <a:gd name="connsiteY660" fmla="*/ 867278 h 1035061"/>
                <a:gd name="connsiteX661" fmla="*/ 612528 w 2037805"/>
                <a:gd name="connsiteY661" fmla="*/ 867278 h 1035061"/>
                <a:gd name="connsiteX662" fmla="*/ 608383 w 2037805"/>
                <a:gd name="connsiteY662" fmla="*/ 865649 h 1035061"/>
                <a:gd name="connsiteX663" fmla="*/ 606311 w 2037805"/>
                <a:gd name="connsiteY663" fmla="*/ 865649 h 1035061"/>
                <a:gd name="connsiteX664" fmla="*/ 606311 w 2037805"/>
                <a:gd name="connsiteY664" fmla="*/ 859186 h 1035061"/>
                <a:gd name="connsiteX665" fmla="*/ 600094 w 2037805"/>
                <a:gd name="connsiteY665" fmla="*/ 854252 h 1035061"/>
                <a:gd name="connsiteX666" fmla="*/ 593828 w 2037805"/>
                <a:gd name="connsiteY666" fmla="*/ 847788 h 1035061"/>
                <a:gd name="connsiteX667" fmla="*/ 593828 w 2037805"/>
                <a:gd name="connsiteY667" fmla="*/ 844532 h 1035061"/>
                <a:gd name="connsiteX668" fmla="*/ 597973 w 2037805"/>
                <a:gd name="connsiteY668" fmla="*/ 844532 h 1035061"/>
                <a:gd name="connsiteX669" fmla="*/ 600094 w 2037805"/>
                <a:gd name="connsiteY669" fmla="*/ 842953 h 1035061"/>
                <a:gd name="connsiteX670" fmla="*/ 600094 w 2037805"/>
                <a:gd name="connsiteY670" fmla="*/ 838019 h 1035061"/>
                <a:gd name="connsiteX671" fmla="*/ 595900 w 2037805"/>
                <a:gd name="connsiteY671" fmla="*/ 834763 h 1035061"/>
                <a:gd name="connsiteX672" fmla="*/ 593828 w 2037805"/>
                <a:gd name="connsiteY672" fmla="*/ 833134 h 1035061"/>
                <a:gd name="connsiteX673" fmla="*/ 591756 w 2037805"/>
                <a:gd name="connsiteY673" fmla="*/ 831555 h 1035061"/>
                <a:gd name="connsiteX674" fmla="*/ 589684 w 2037805"/>
                <a:gd name="connsiteY674" fmla="*/ 829927 h 1035061"/>
                <a:gd name="connsiteX675" fmla="*/ 589684 w 2037805"/>
                <a:gd name="connsiteY675" fmla="*/ 823463 h 1035061"/>
                <a:gd name="connsiteX676" fmla="*/ 585539 w 2037805"/>
                <a:gd name="connsiteY676" fmla="*/ 818529 h 1035061"/>
                <a:gd name="connsiteX677" fmla="*/ 581394 w 2037805"/>
                <a:gd name="connsiteY677" fmla="*/ 815273 h 1035061"/>
                <a:gd name="connsiteX678" fmla="*/ 577200 w 2037805"/>
                <a:gd name="connsiteY678" fmla="*/ 813694 h 1035061"/>
                <a:gd name="connsiteX679" fmla="*/ 579322 w 2037805"/>
                <a:gd name="connsiteY679" fmla="*/ 812016 h 1035061"/>
                <a:gd name="connsiteX680" fmla="*/ 579322 w 2037805"/>
                <a:gd name="connsiteY680" fmla="*/ 808810 h 1035061"/>
                <a:gd name="connsiteX681" fmla="*/ 573204 w 2037805"/>
                <a:gd name="connsiteY681" fmla="*/ 806244 h 1035061"/>
                <a:gd name="connsiteX682" fmla="*/ 569059 w 2037805"/>
                <a:gd name="connsiteY682" fmla="*/ 804615 h 1035061"/>
                <a:gd name="connsiteX683" fmla="*/ 569059 w 2037805"/>
                <a:gd name="connsiteY683" fmla="*/ 801310 h 1035061"/>
                <a:gd name="connsiteX684" fmla="*/ 566987 w 2037805"/>
                <a:gd name="connsiteY684" fmla="*/ 796376 h 1035061"/>
                <a:gd name="connsiteX685" fmla="*/ 562842 w 2037805"/>
                <a:gd name="connsiteY685" fmla="*/ 796376 h 1035061"/>
                <a:gd name="connsiteX686" fmla="*/ 560770 w 2037805"/>
                <a:gd name="connsiteY686" fmla="*/ 793119 h 1035061"/>
                <a:gd name="connsiteX687" fmla="*/ 558698 w 2037805"/>
                <a:gd name="connsiteY687" fmla="*/ 789912 h 1035061"/>
                <a:gd name="connsiteX688" fmla="*/ 552431 w 2037805"/>
                <a:gd name="connsiteY688" fmla="*/ 783399 h 1035061"/>
                <a:gd name="connsiteX689" fmla="*/ 546215 w 2037805"/>
                <a:gd name="connsiteY689" fmla="*/ 780192 h 1035061"/>
                <a:gd name="connsiteX690" fmla="*/ 488042 w 2037805"/>
                <a:gd name="connsiteY690" fmla="*/ 778613 h 1035061"/>
                <a:gd name="connsiteX691" fmla="*/ 488042 w 2037805"/>
                <a:gd name="connsiteY691" fmla="*/ 789912 h 1035061"/>
                <a:gd name="connsiteX692" fmla="*/ 384181 w 2037805"/>
                <a:gd name="connsiteY692" fmla="*/ 786508 h 1035061"/>
                <a:gd name="connsiteX693" fmla="*/ 261669 w 2037805"/>
                <a:gd name="connsiteY693" fmla="*/ 738055 h 1035061"/>
                <a:gd name="connsiteX694" fmla="*/ 263741 w 2037805"/>
                <a:gd name="connsiteY694" fmla="*/ 736427 h 1035061"/>
                <a:gd name="connsiteX695" fmla="*/ 261669 w 2037805"/>
                <a:gd name="connsiteY695" fmla="*/ 733220 h 1035061"/>
                <a:gd name="connsiteX696" fmla="*/ 174435 w 2037805"/>
                <a:gd name="connsiteY696" fmla="*/ 734848 h 1035061"/>
                <a:gd name="connsiteX697" fmla="*/ 174435 w 2037805"/>
                <a:gd name="connsiteY697" fmla="*/ 729914 h 1035061"/>
                <a:gd name="connsiteX698" fmla="*/ 176507 w 2037805"/>
                <a:gd name="connsiteY698" fmla="*/ 721872 h 1035061"/>
                <a:gd name="connsiteX699" fmla="*/ 174435 w 2037805"/>
                <a:gd name="connsiteY699" fmla="*/ 712004 h 1035061"/>
                <a:gd name="connsiteX700" fmla="*/ 161952 w 2037805"/>
                <a:gd name="connsiteY700" fmla="*/ 695869 h 1035061"/>
                <a:gd name="connsiteX701" fmla="*/ 153663 w 2037805"/>
                <a:gd name="connsiteY701" fmla="*/ 689406 h 1035061"/>
                <a:gd name="connsiteX702" fmla="*/ 149469 w 2037805"/>
                <a:gd name="connsiteY702" fmla="*/ 689406 h 1035061"/>
                <a:gd name="connsiteX703" fmla="*/ 145324 w 2037805"/>
                <a:gd name="connsiteY703" fmla="*/ 690985 h 1035061"/>
                <a:gd name="connsiteX704" fmla="*/ 143252 w 2037805"/>
                <a:gd name="connsiteY704" fmla="*/ 689406 h 1035061"/>
                <a:gd name="connsiteX705" fmla="*/ 143252 w 2037805"/>
                <a:gd name="connsiteY705" fmla="*/ 681314 h 1035061"/>
                <a:gd name="connsiteX706" fmla="*/ 132890 w 2037805"/>
                <a:gd name="connsiteY706" fmla="*/ 678107 h 1035061"/>
                <a:gd name="connsiteX707" fmla="*/ 128696 w 2037805"/>
                <a:gd name="connsiteY707" fmla="*/ 678107 h 1035061"/>
                <a:gd name="connsiteX708" fmla="*/ 118335 w 2037805"/>
                <a:gd name="connsiteY708" fmla="*/ 673173 h 1035061"/>
                <a:gd name="connsiteX709" fmla="*/ 118335 w 2037805"/>
                <a:gd name="connsiteY709" fmla="*/ 668239 h 1035061"/>
                <a:gd name="connsiteX710" fmla="*/ 114190 w 2037805"/>
                <a:gd name="connsiteY710" fmla="*/ 663305 h 1035061"/>
                <a:gd name="connsiteX711" fmla="*/ 99388 w 2037805"/>
                <a:gd name="connsiteY711" fmla="*/ 663305 h 1035061"/>
                <a:gd name="connsiteX712" fmla="*/ 93171 w 2037805"/>
                <a:gd name="connsiteY712" fmla="*/ 660098 h 1035061"/>
                <a:gd name="connsiteX713" fmla="*/ 84833 w 2037805"/>
                <a:gd name="connsiteY713" fmla="*/ 658469 h 1035061"/>
                <a:gd name="connsiteX714" fmla="*/ 72399 w 2037805"/>
                <a:gd name="connsiteY714" fmla="*/ 658469 h 1035061"/>
                <a:gd name="connsiteX715" fmla="*/ 70327 w 2037805"/>
                <a:gd name="connsiteY715" fmla="*/ 655213 h 1035061"/>
                <a:gd name="connsiteX716" fmla="*/ 68255 w 2037805"/>
                <a:gd name="connsiteY716" fmla="*/ 650279 h 1035061"/>
                <a:gd name="connsiteX717" fmla="*/ 68255 w 2037805"/>
                <a:gd name="connsiteY717" fmla="*/ 650279 h 1035061"/>
                <a:gd name="connsiteX718" fmla="*/ 70327 w 2037805"/>
                <a:gd name="connsiteY718" fmla="*/ 645345 h 1035061"/>
                <a:gd name="connsiteX719" fmla="*/ 74471 w 2037805"/>
                <a:gd name="connsiteY719" fmla="*/ 635477 h 1035061"/>
                <a:gd name="connsiteX720" fmla="*/ 72399 w 2037805"/>
                <a:gd name="connsiteY720" fmla="*/ 629013 h 1035061"/>
                <a:gd name="connsiteX721" fmla="*/ 66380 w 2037805"/>
                <a:gd name="connsiteY721" fmla="*/ 623684 h 1035061"/>
                <a:gd name="connsiteX722" fmla="*/ 64307 w 2037805"/>
                <a:gd name="connsiteY722" fmla="*/ 622056 h 1035061"/>
                <a:gd name="connsiteX723" fmla="*/ 66380 w 2037805"/>
                <a:gd name="connsiteY723" fmla="*/ 620428 h 1035061"/>
                <a:gd name="connsiteX724" fmla="*/ 64307 w 2037805"/>
                <a:gd name="connsiteY724" fmla="*/ 618849 h 1035061"/>
                <a:gd name="connsiteX725" fmla="*/ 58090 w 2037805"/>
                <a:gd name="connsiteY725" fmla="*/ 612386 h 1035061"/>
                <a:gd name="connsiteX726" fmla="*/ 49801 w 2037805"/>
                <a:gd name="connsiteY726" fmla="*/ 597830 h 1035061"/>
                <a:gd name="connsiteX727" fmla="*/ 49801 w 2037805"/>
                <a:gd name="connsiteY727" fmla="*/ 586531 h 1035061"/>
                <a:gd name="connsiteX728" fmla="*/ 43535 w 2037805"/>
                <a:gd name="connsiteY728" fmla="*/ 583324 h 1035061"/>
                <a:gd name="connsiteX729" fmla="*/ 41463 w 2037805"/>
                <a:gd name="connsiteY729" fmla="*/ 580067 h 1035061"/>
                <a:gd name="connsiteX730" fmla="*/ 43535 w 2037805"/>
                <a:gd name="connsiteY730" fmla="*/ 573604 h 1035061"/>
                <a:gd name="connsiteX731" fmla="*/ 41463 w 2037805"/>
                <a:gd name="connsiteY731" fmla="*/ 567140 h 1035061"/>
                <a:gd name="connsiteX732" fmla="*/ 41463 w 2037805"/>
                <a:gd name="connsiteY732" fmla="*/ 565512 h 1035061"/>
                <a:gd name="connsiteX733" fmla="*/ 43535 w 2037805"/>
                <a:gd name="connsiteY733" fmla="*/ 565512 h 1035061"/>
                <a:gd name="connsiteX734" fmla="*/ 49801 w 2037805"/>
                <a:gd name="connsiteY734" fmla="*/ 560578 h 1035061"/>
                <a:gd name="connsiteX735" fmla="*/ 49801 w 2037805"/>
                <a:gd name="connsiteY735" fmla="*/ 555644 h 1035061"/>
                <a:gd name="connsiteX736" fmla="*/ 45657 w 2037805"/>
                <a:gd name="connsiteY736" fmla="*/ 552388 h 1035061"/>
                <a:gd name="connsiteX737" fmla="*/ 39390 w 2037805"/>
                <a:gd name="connsiteY737" fmla="*/ 549181 h 1035061"/>
                <a:gd name="connsiteX738" fmla="*/ 37318 w 2037805"/>
                <a:gd name="connsiteY738" fmla="*/ 544247 h 1035061"/>
                <a:gd name="connsiteX739" fmla="*/ 35246 w 2037805"/>
                <a:gd name="connsiteY739" fmla="*/ 542618 h 1035061"/>
                <a:gd name="connsiteX740" fmla="*/ 33173 w 2037805"/>
                <a:gd name="connsiteY740" fmla="*/ 537684 h 1035061"/>
                <a:gd name="connsiteX741" fmla="*/ 35246 w 2037805"/>
                <a:gd name="connsiteY741" fmla="*/ 531221 h 1035061"/>
                <a:gd name="connsiteX742" fmla="*/ 35246 w 2037805"/>
                <a:gd name="connsiteY742" fmla="*/ 527964 h 1035061"/>
                <a:gd name="connsiteX743" fmla="*/ 37318 w 2037805"/>
                <a:gd name="connsiteY743" fmla="*/ 526385 h 1035061"/>
                <a:gd name="connsiteX744" fmla="*/ 37318 w 2037805"/>
                <a:gd name="connsiteY744" fmla="*/ 521451 h 1035061"/>
                <a:gd name="connsiteX745" fmla="*/ 39390 w 2037805"/>
                <a:gd name="connsiteY745" fmla="*/ 518244 h 1035061"/>
                <a:gd name="connsiteX746" fmla="*/ 43535 w 2037805"/>
                <a:gd name="connsiteY746" fmla="*/ 519872 h 1035061"/>
                <a:gd name="connsiteX747" fmla="*/ 45657 w 2037805"/>
                <a:gd name="connsiteY747" fmla="*/ 526336 h 1035061"/>
                <a:gd name="connsiteX748" fmla="*/ 51874 w 2037805"/>
                <a:gd name="connsiteY748" fmla="*/ 527915 h 1035061"/>
                <a:gd name="connsiteX749" fmla="*/ 49801 w 2037805"/>
                <a:gd name="connsiteY749" fmla="*/ 526336 h 1035061"/>
                <a:gd name="connsiteX750" fmla="*/ 47729 w 2037805"/>
                <a:gd name="connsiteY750" fmla="*/ 521402 h 1035061"/>
                <a:gd name="connsiteX751" fmla="*/ 45657 w 2037805"/>
                <a:gd name="connsiteY751" fmla="*/ 513310 h 1035061"/>
                <a:gd name="connsiteX752" fmla="*/ 43535 w 2037805"/>
                <a:gd name="connsiteY752" fmla="*/ 511731 h 1035061"/>
                <a:gd name="connsiteX753" fmla="*/ 43535 w 2037805"/>
                <a:gd name="connsiteY753" fmla="*/ 506797 h 1035061"/>
                <a:gd name="connsiteX754" fmla="*/ 47729 w 2037805"/>
                <a:gd name="connsiteY754" fmla="*/ 506797 h 1035061"/>
                <a:gd name="connsiteX755" fmla="*/ 49801 w 2037805"/>
                <a:gd name="connsiteY755" fmla="*/ 508475 h 1035061"/>
                <a:gd name="connsiteX756" fmla="*/ 56018 w 2037805"/>
                <a:gd name="connsiteY756" fmla="*/ 506797 h 1035061"/>
                <a:gd name="connsiteX757" fmla="*/ 62235 w 2037805"/>
                <a:gd name="connsiteY757" fmla="*/ 506797 h 1035061"/>
                <a:gd name="connsiteX758" fmla="*/ 53946 w 2037805"/>
                <a:gd name="connsiteY758" fmla="*/ 505218 h 1035061"/>
                <a:gd name="connsiteX759" fmla="*/ 51874 w 2037805"/>
                <a:gd name="connsiteY759" fmla="*/ 503590 h 1035061"/>
                <a:gd name="connsiteX760" fmla="*/ 45657 w 2037805"/>
                <a:gd name="connsiteY760" fmla="*/ 503590 h 1035061"/>
                <a:gd name="connsiteX761" fmla="*/ 45657 w 2037805"/>
                <a:gd name="connsiteY761" fmla="*/ 500383 h 1035061"/>
                <a:gd name="connsiteX762" fmla="*/ 43535 w 2037805"/>
                <a:gd name="connsiteY762" fmla="*/ 501962 h 1035061"/>
                <a:gd name="connsiteX763" fmla="*/ 39390 w 2037805"/>
                <a:gd name="connsiteY763" fmla="*/ 498755 h 1035061"/>
                <a:gd name="connsiteX764" fmla="*/ 39390 w 2037805"/>
                <a:gd name="connsiteY764" fmla="*/ 513261 h 1035061"/>
                <a:gd name="connsiteX765" fmla="*/ 37318 w 2037805"/>
                <a:gd name="connsiteY765" fmla="*/ 511682 h 1035061"/>
                <a:gd name="connsiteX766" fmla="*/ 33173 w 2037805"/>
                <a:gd name="connsiteY766" fmla="*/ 511682 h 1035061"/>
                <a:gd name="connsiteX767" fmla="*/ 33173 w 2037805"/>
                <a:gd name="connsiteY767" fmla="*/ 508475 h 1035061"/>
                <a:gd name="connsiteX768" fmla="*/ 24884 w 2037805"/>
                <a:gd name="connsiteY768" fmla="*/ 501962 h 1035061"/>
                <a:gd name="connsiteX769" fmla="*/ 22763 w 2037805"/>
                <a:gd name="connsiteY769" fmla="*/ 498755 h 1035061"/>
                <a:gd name="connsiteX770" fmla="*/ 24884 w 2037805"/>
                <a:gd name="connsiteY770" fmla="*/ 493821 h 1035061"/>
                <a:gd name="connsiteX771" fmla="*/ 22763 w 2037805"/>
                <a:gd name="connsiteY771" fmla="*/ 487357 h 1035061"/>
                <a:gd name="connsiteX772" fmla="*/ 8257 w 2037805"/>
                <a:gd name="connsiteY772" fmla="*/ 468411 h 1035061"/>
                <a:gd name="connsiteX773" fmla="*/ 6184 w 2037805"/>
                <a:gd name="connsiteY773" fmla="*/ 465154 h 1035061"/>
                <a:gd name="connsiteX774" fmla="*/ 8257 w 2037805"/>
                <a:gd name="connsiteY774" fmla="*/ 460220 h 1035061"/>
                <a:gd name="connsiteX775" fmla="*/ 10329 w 2037805"/>
                <a:gd name="connsiteY775" fmla="*/ 457013 h 1035061"/>
                <a:gd name="connsiteX776" fmla="*/ 10329 w 2037805"/>
                <a:gd name="connsiteY776" fmla="*/ 450549 h 1035061"/>
                <a:gd name="connsiteX777" fmla="*/ 8257 w 2037805"/>
                <a:gd name="connsiteY777" fmla="*/ 444085 h 1035061"/>
                <a:gd name="connsiteX778" fmla="*/ 8257 w 2037805"/>
                <a:gd name="connsiteY778" fmla="*/ 442457 h 1035061"/>
                <a:gd name="connsiteX779" fmla="*/ 12401 w 2037805"/>
                <a:gd name="connsiteY779" fmla="*/ 435994 h 1035061"/>
                <a:gd name="connsiteX780" fmla="*/ 12401 w 2037805"/>
                <a:gd name="connsiteY780" fmla="*/ 416652 h 1035061"/>
                <a:gd name="connsiteX781" fmla="*/ 6184 w 2037805"/>
                <a:gd name="connsiteY781" fmla="*/ 405353 h 1035061"/>
                <a:gd name="connsiteX782" fmla="*/ -82 w 2037805"/>
                <a:gd name="connsiteY782" fmla="*/ 398840 h 1035061"/>
                <a:gd name="connsiteX783" fmla="*/ -82 w 2037805"/>
                <a:gd name="connsiteY783" fmla="*/ 390798 h 1035061"/>
                <a:gd name="connsiteX784" fmla="*/ 4112 w 2037805"/>
                <a:gd name="connsiteY784" fmla="*/ 384334 h 1035061"/>
                <a:gd name="connsiteX785" fmla="*/ 14474 w 2037805"/>
                <a:gd name="connsiteY785" fmla="*/ 377871 h 1035061"/>
                <a:gd name="connsiteX786" fmla="*/ 18618 w 2037805"/>
                <a:gd name="connsiteY786" fmla="*/ 369779 h 1035061"/>
                <a:gd name="connsiteX787" fmla="*/ 16546 w 2037805"/>
                <a:gd name="connsiteY787" fmla="*/ 368151 h 1035061"/>
                <a:gd name="connsiteX788" fmla="*/ 14474 w 2037805"/>
                <a:gd name="connsiteY788" fmla="*/ 364944 h 1035061"/>
                <a:gd name="connsiteX789" fmla="*/ 18618 w 2037805"/>
                <a:gd name="connsiteY789" fmla="*/ 360010 h 1035061"/>
                <a:gd name="connsiteX790" fmla="*/ 22763 w 2037805"/>
                <a:gd name="connsiteY790" fmla="*/ 353546 h 1035061"/>
                <a:gd name="connsiteX791" fmla="*/ 24884 w 2037805"/>
                <a:gd name="connsiteY791" fmla="*/ 340619 h 1035061"/>
                <a:gd name="connsiteX792" fmla="*/ 22763 w 2037805"/>
                <a:gd name="connsiteY792" fmla="*/ 334155 h 1035061"/>
                <a:gd name="connsiteX793" fmla="*/ 22763 w 2037805"/>
                <a:gd name="connsiteY793" fmla="*/ 329221 h 1035061"/>
                <a:gd name="connsiteX794" fmla="*/ 24884 w 2037805"/>
                <a:gd name="connsiteY794" fmla="*/ 324287 h 1035061"/>
                <a:gd name="connsiteX795" fmla="*/ 20690 w 2037805"/>
                <a:gd name="connsiteY795" fmla="*/ 317774 h 1035061"/>
                <a:gd name="connsiteX796" fmla="*/ 20690 w 2037805"/>
                <a:gd name="connsiteY796" fmla="*/ 309732 h 1035061"/>
                <a:gd name="connsiteX797" fmla="*/ 24884 w 2037805"/>
                <a:gd name="connsiteY797" fmla="*/ 298433 h 1035061"/>
                <a:gd name="connsiteX798" fmla="*/ 22763 w 2037805"/>
                <a:gd name="connsiteY798" fmla="*/ 287085 h 1035061"/>
                <a:gd name="connsiteX799" fmla="*/ 26957 w 2037805"/>
                <a:gd name="connsiteY799" fmla="*/ 280670 h 1035061"/>
                <a:gd name="connsiteX800" fmla="*/ 35246 w 2037805"/>
                <a:gd name="connsiteY800" fmla="*/ 270802 h 1035061"/>
                <a:gd name="connsiteX801" fmla="*/ 37318 w 2037805"/>
                <a:gd name="connsiteY801" fmla="*/ 264339 h 1035061"/>
                <a:gd name="connsiteX802" fmla="*/ 41463 w 2037805"/>
                <a:gd name="connsiteY802" fmla="*/ 261132 h 1035061"/>
                <a:gd name="connsiteX803" fmla="*/ 45657 w 2037805"/>
                <a:gd name="connsiteY803" fmla="*/ 251263 h 1035061"/>
                <a:gd name="connsiteX804" fmla="*/ 51874 w 2037805"/>
                <a:gd name="connsiteY804" fmla="*/ 244849 h 1035061"/>
                <a:gd name="connsiteX805" fmla="*/ 56018 w 2037805"/>
                <a:gd name="connsiteY805" fmla="*/ 236708 h 1035061"/>
                <a:gd name="connsiteX806" fmla="*/ 60163 w 2037805"/>
                <a:gd name="connsiteY806" fmla="*/ 218946 h 1035061"/>
                <a:gd name="connsiteX807" fmla="*/ 68501 w 2037805"/>
                <a:gd name="connsiteY807" fmla="*/ 204440 h 1035061"/>
                <a:gd name="connsiteX808" fmla="*/ 70574 w 2037805"/>
                <a:gd name="connsiteY808" fmla="*/ 191512 h 1035061"/>
                <a:gd name="connsiteX809" fmla="*/ 78863 w 2037805"/>
                <a:gd name="connsiteY809" fmla="*/ 172122 h 1035061"/>
                <a:gd name="connsiteX810" fmla="*/ 83007 w 2037805"/>
                <a:gd name="connsiteY810" fmla="*/ 165658 h 1035061"/>
                <a:gd name="connsiteX811" fmla="*/ 89274 w 2037805"/>
                <a:gd name="connsiteY811" fmla="*/ 157616 h 1035061"/>
                <a:gd name="connsiteX812" fmla="*/ 87152 w 2037805"/>
                <a:gd name="connsiteY812" fmla="*/ 152682 h 1035061"/>
                <a:gd name="connsiteX813" fmla="*/ 87152 w 2037805"/>
                <a:gd name="connsiteY813" fmla="*/ 147748 h 1035061"/>
                <a:gd name="connsiteX814" fmla="*/ 95490 w 2037805"/>
                <a:gd name="connsiteY814" fmla="*/ 139656 h 1035061"/>
                <a:gd name="connsiteX815" fmla="*/ 95490 w 2037805"/>
                <a:gd name="connsiteY815" fmla="*/ 134722 h 1035061"/>
                <a:gd name="connsiteX816" fmla="*/ 97563 w 2037805"/>
                <a:gd name="connsiteY816" fmla="*/ 133044 h 1035061"/>
                <a:gd name="connsiteX817" fmla="*/ 101707 w 2037805"/>
                <a:gd name="connsiteY817" fmla="*/ 136301 h 1035061"/>
                <a:gd name="connsiteX818" fmla="*/ 114190 w 2037805"/>
                <a:gd name="connsiteY818" fmla="*/ 136301 h 1035061"/>
                <a:gd name="connsiteX819" fmla="*/ 118335 w 2037805"/>
                <a:gd name="connsiteY819" fmla="*/ 139508 h 1035061"/>
                <a:gd name="connsiteX820" fmla="*/ 122480 w 2037805"/>
                <a:gd name="connsiteY820" fmla="*/ 137929 h 1035061"/>
                <a:gd name="connsiteX821" fmla="*/ 130818 w 2037805"/>
                <a:gd name="connsiteY821" fmla="*/ 142863 h 1035061"/>
                <a:gd name="connsiteX822" fmla="*/ 132890 w 2037805"/>
                <a:gd name="connsiteY822" fmla="*/ 149326 h 1035061"/>
                <a:gd name="connsiteX823" fmla="*/ 132890 w 2037805"/>
                <a:gd name="connsiteY823" fmla="*/ 142123 h 1035061"/>
                <a:gd name="connsiteX824" fmla="*/ 128696 w 2037805"/>
                <a:gd name="connsiteY824" fmla="*/ 138916 h 1035061"/>
                <a:gd name="connsiteX825" fmla="*/ 120407 w 2037805"/>
                <a:gd name="connsiteY825" fmla="*/ 137287 h 1035061"/>
                <a:gd name="connsiteX826" fmla="*/ 114190 w 2037805"/>
                <a:gd name="connsiteY826" fmla="*/ 132353 h 1035061"/>
                <a:gd name="connsiteX827" fmla="*/ 105852 w 2037805"/>
                <a:gd name="connsiteY827" fmla="*/ 132353 h 1035061"/>
                <a:gd name="connsiteX828" fmla="*/ 95490 w 2037805"/>
                <a:gd name="connsiteY828" fmla="*/ 129146 h 1035061"/>
                <a:gd name="connsiteX829" fmla="*/ 93418 w 2037805"/>
                <a:gd name="connsiteY829" fmla="*/ 125890 h 1035061"/>
                <a:gd name="connsiteX830" fmla="*/ 97563 w 2037805"/>
                <a:gd name="connsiteY830" fmla="*/ 124261 h 1035061"/>
                <a:gd name="connsiteX831" fmla="*/ 99635 w 2037805"/>
                <a:gd name="connsiteY831" fmla="*/ 124261 h 1035061"/>
                <a:gd name="connsiteX832" fmla="*/ 103780 w 2037805"/>
                <a:gd name="connsiteY832" fmla="*/ 121054 h 1035061"/>
                <a:gd name="connsiteX833" fmla="*/ 103780 w 2037805"/>
                <a:gd name="connsiteY833" fmla="*/ 114591 h 1035061"/>
                <a:gd name="connsiteX834" fmla="*/ 105852 w 2037805"/>
                <a:gd name="connsiteY834" fmla="*/ 109657 h 1035061"/>
                <a:gd name="connsiteX835" fmla="*/ 99635 w 2037805"/>
                <a:gd name="connsiteY835" fmla="*/ 108078 h 1035061"/>
                <a:gd name="connsiteX836" fmla="*/ 97563 w 2037805"/>
                <a:gd name="connsiteY836" fmla="*/ 104821 h 1035061"/>
                <a:gd name="connsiteX837" fmla="*/ 99635 w 2037805"/>
                <a:gd name="connsiteY837" fmla="*/ 99887 h 1035061"/>
                <a:gd name="connsiteX838" fmla="*/ 103780 w 2037805"/>
                <a:gd name="connsiteY838" fmla="*/ 99887 h 1035061"/>
                <a:gd name="connsiteX839" fmla="*/ 105852 w 2037805"/>
                <a:gd name="connsiteY839" fmla="*/ 96680 h 1035061"/>
                <a:gd name="connsiteX840" fmla="*/ 105852 w 2037805"/>
                <a:gd name="connsiteY840" fmla="*/ 95052 h 1035061"/>
                <a:gd name="connsiteX841" fmla="*/ 99635 w 2037805"/>
                <a:gd name="connsiteY841" fmla="*/ 93424 h 1035061"/>
                <a:gd name="connsiteX842" fmla="*/ 99635 w 2037805"/>
                <a:gd name="connsiteY842" fmla="*/ 88490 h 1035061"/>
                <a:gd name="connsiteX843" fmla="*/ 101707 w 2037805"/>
                <a:gd name="connsiteY843" fmla="*/ 82026 h 1035061"/>
                <a:gd name="connsiteX844" fmla="*/ 99635 w 2037805"/>
                <a:gd name="connsiteY844" fmla="*/ 73934 h 1035061"/>
                <a:gd name="connsiteX845" fmla="*/ 103780 w 2037805"/>
                <a:gd name="connsiteY845" fmla="*/ 57800 h 1035061"/>
                <a:gd name="connsiteX846" fmla="*/ 99635 w 2037805"/>
                <a:gd name="connsiteY846" fmla="*/ 46501 h 1035061"/>
                <a:gd name="connsiteX847" fmla="*/ 99635 w 2037805"/>
                <a:gd name="connsiteY847" fmla="*/ 40037 h 1035061"/>
                <a:gd name="connsiteX848" fmla="*/ 105852 w 2037805"/>
                <a:gd name="connsiteY848" fmla="*/ 28739 h 1035061"/>
                <a:gd name="connsiteX849" fmla="*/ 105852 w 2037805"/>
                <a:gd name="connsiteY849" fmla="*/ 22275 h 1035061"/>
                <a:gd name="connsiteX850" fmla="*/ 107924 w 2037805"/>
                <a:gd name="connsiteY850" fmla="*/ 22275 h 1035061"/>
                <a:gd name="connsiteX851" fmla="*/ 124552 w 2037805"/>
                <a:gd name="connsiteY851" fmla="*/ 35153 h 1035061"/>
                <a:gd name="connsiteX852" fmla="*/ 134963 w 2037805"/>
                <a:gd name="connsiteY852" fmla="*/ 40087 h 1035061"/>
                <a:gd name="connsiteX853" fmla="*/ 149469 w 2037805"/>
                <a:gd name="connsiteY853" fmla="*/ 40087 h 1035061"/>
                <a:gd name="connsiteX854" fmla="*/ 155735 w 2037805"/>
                <a:gd name="connsiteY854" fmla="*/ 43343 h 1035061"/>
                <a:gd name="connsiteX855" fmla="*/ 159880 w 2037805"/>
                <a:gd name="connsiteY855" fmla="*/ 48277 h 1035061"/>
                <a:gd name="connsiteX856" fmla="*/ 166146 w 2037805"/>
                <a:gd name="connsiteY856" fmla="*/ 48277 h 1035061"/>
                <a:gd name="connsiteX857" fmla="*/ 168218 w 2037805"/>
                <a:gd name="connsiteY857" fmla="*/ 51534 h 1035061"/>
                <a:gd name="connsiteX858" fmla="*/ 166146 w 2037805"/>
                <a:gd name="connsiteY858" fmla="*/ 54790 h 1035061"/>
                <a:gd name="connsiteX859" fmla="*/ 157857 w 2037805"/>
                <a:gd name="connsiteY859" fmla="*/ 57997 h 1035061"/>
                <a:gd name="connsiteX860" fmla="*/ 151590 w 2037805"/>
                <a:gd name="connsiteY860" fmla="*/ 62931 h 1035061"/>
                <a:gd name="connsiteX861" fmla="*/ 151590 w 2037805"/>
                <a:gd name="connsiteY861" fmla="*/ 66139 h 1035061"/>
                <a:gd name="connsiteX862" fmla="*/ 157857 w 2037805"/>
                <a:gd name="connsiteY862" fmla="*/ 66139 h 1035061"/>
                <a:gd name="connsiteX863" fmla="*/ 159929 w 2037805"/>
                <a:gd name="connsiteY863" fmla="*/ 62882 h 1035061"/>
                <a:gd name="connsiteX864" fmla="*/ 168218 w 2037805"/>
                <a:gd name="connsiteY864" fmla="*/ 57948 h 1035061"/>
                <a:gd name="connsiteX865" fmla="*/ 170290 w 2037805"/>
                <a:gd name="connsiteY865" fmla="*/ 56320 h 1035061"/>
                <a:gd name="connsiteX866" fmla="*/ 172363 w 2037805"/>
                <a:gd name="connsiteY866" fmla="*/ 61254 h 1035061"/>
                <a:gd name="connsiteX867" fmla="*/ 166146 w 2037805"/>
                <a:gd name="connsiteY867" fmla="*/ 66139 h 1035061"/>
                <a:gd name="connsiteX868" fmla="*/ 162001 w 2037805"/>
                <a:gd name="connsiteY868" fmla="*/ 72602 h 1035061"/>
                <a:gd name="connsiteX869" fmla="*/ 162001 w 2037805"/>
                <a:gd name="connsiteY869" fmla="*/ 80941 h 1035061"/>
                <a:gd name="connsiteX870" fmla="*/ 159929 w 2037805"/>
                <a:gd name="connsiteY870" fmla="*/ 82569 h 1035061"/>
                <a:gd name="connsiteX871" fmla="*/ 157857 w 2037805"/>
                <a:gd name="connsiteY871" fmla="*/ 77635 h 1035061"/>
                <a:gd name="connsiteX872" fmla="*/ 153712 w 2037805"/>
                <a:gd name="connsiteY872" fmla="*/ 82569 h 1035061"/>
                <a:gd name="connsiteX873" fmla="*/ 151590 w 2037805"/>
                <a:gd name="connsiteY873" fmla="*/ 79362 h 1035061"/>
                <a:gd name="connsiteX874" fmla="*/ 147446 w 2037805"/>
                <a:gd name="connsiteY874" fmla="*/ 84296 h 1035061"/>
                <a:gd name="connsiteX875" fmla="*/ 149518 w 2037805"/>
                <a:gd name="connsiteY875" fmla="*/ 87503 h 1035061"/>
                <a:gd name="connsiteX876" fmla="*/ 155784 w 2037805"/>
                <a:gd name="connsiteY876" fmla="*/ 90759 h 1035061"/>
                <a:gd name="connsiteX877" fmla="*/ 164073 w 2037805"/>
                <a:gd name="connsiteY877" fmla="*/ 85825 h 1035061"/>
                <a:gd name="connsiteX878" fmla="*/ 166146 w 2037805"/>
                <a:gd name="connsiteY878" fmla="*/ 80891 h 1035061"/>
                <a:gd name="connsiteX879" fmla="*/ 170290 w 2037805"/>
                <a:gd name="connsiteY879" fmla="*/ 77684 h 1035061"/>
                <a:gd name="connsiteX880" fmla="*/ 170290 w 2037805"/>
                <a:gd name="connsiteY880" fmla="*/ 69592 h 1035061"/>
                <a:gd name="connsiteX881" fmla="*/ 174484 w 2037805"/>
                <a:gd name="connsiteY881" fmla="*/ 66385 h 1035061"/>
                <a:gd name="connsiteX882" fmla="*/ 176557 w 2037805"/>
                <a:gd name="connsiteY882" fmla="*/ 59872 h 1035061"/>
                <a:gd name="connsiteX883" fmla="*/ 182773 w 2037805"/>
                <a:gd name="connsiteY883" fmla="*/ 56665 h 1035061"/>
                <a:gd name="connsiteX884" fmla="*/ 186918 w 2037805"/>
                <a:gd name="connsiteY884" fmla="*/ 50202 h 1035061"/>
                <a:gd name="connsiteX885" fmla="*/ 184846 w 2037805"/>
                <a:gd name="connsiteY885" fmla="*/ 45268 h 1035061"/>
                <a:gd name="connsiteX886" fmla="*/ 184846 w 2037805"/>
                <a:gd name="connsiteY886" fmla="*/ 42011 h 1035061"/>
                <a:gd name="connsiteX887" fmla="*/ 180701 w 2037805"/>
                <a:gd name="connsiteY887" fmla="*/ 40432 h 1035061"/>
                <a:gd name="connsiteX888" fmla="*/ 184846 w 2037805"/>
                <a:gd name="connsiteY888" fmla="*/ 35498 h 1035061"/>
                <a:gd name="connsiteX889" fmla="*/ 188990 w 2037805"/>
                <a:gd name="connsiteY889" fmla="*/ 32291 h 1035061"/>
                <a:gd name="connsiteX890" fmla="*/ 182773 w 2037805"/>
                <a:gd name="connsiteY890" fmla="*/ 29084 h 1035061"/>
                <a:gd name="connsiteX891" fmla="*/ 182773 w 2037805"/>
                <a:gd name="connsiteY891" fmla="*/ 24150 h 1035061"/>
                <a:gd name="connsiteX892" fmla="*/ 188990 w 2037805"/>
                <a:gd name="connsiteY892" fmla="*/ 20943 h 1035061"/>
                <a:gd name="connsiteX893" fmla="*/ 188990 w 2037805"/>
                <a:gd name="connsiteY893" fmla="*/ 16009 h 1035061"/>
                <a:gd name="connsiteX894" fmla="*/ 180701 w 2037805"/>
                <a:gd name="connsiteY894" fmla="*/ 11075 h 1035061"/>
                <a:gd name="connsiteX895" fmla="*/ 1869325 w 2037805"/>
                <a:gd name="connsiteY895" fmla="*/ 441125 h 1035061"/>
                <a:gd name="connsiteX896" fmla="*/ 1871398 w 2037805"/>
                <a:gd name="connsiteY896" fmla="*/ 442704 h 1035061"/>
                <a:gd name="connsiteX897" fmla="*/ 1875592 w 2037805"/>
                <a:gd name="connsiteY897" fmla="*/ 442704 h 1035061"/>
                <a:gd name="connsiteX898" fmla="*/ 1877614 w 2037805"/>
                <a:gd name="connsiteY898" fmla="*/ 439497 h 1035061"/>
                <a:gd name="connsiteX899" fmla="*/ 1883881 w 2037805"/>
                <a:gd name="connsiteY899" fmla="*/ 439497 h 1035061"/>
                <a:gd name="connsiteX900" fmla="*/ 1879736 w 2037805"/>
                <a:gd name="connsiteY900" fmla="*/ 437869 h 1035061"/>
                <a:gd name="connsiteX901" fmla="*/ 1873322 w 2037805"/>
                <a:gd name="connsiteY901" fmla="*/ 437869 h 1035061"/>
                <a:gd name="connsiteX902" fmla="*/ 1871250 w 2037805"/>
                <a:gd name="connsiteY902" fmla="*/ 439497 h 1035061"/>
                <a:gd name="connsiteX903" fmla="*/ 1761319 w 2037805"/>
                <a:gd name="connsiteY903" fmla="*/ 465302 h 1035061"/>
                <a:gd name="connsiteX904" fmla="*/ 1757175 w 2037805"/>
                <a:gd name="connsiteY904" fmla="*/ 468558 h 1035061"/>
                <a:gd name="connsiteX905" fmla="*/ 1763391 w 2037805"/>
                <a:gd name="connsiteY905" fmla="*/ 466930 h 1035061"/>
                <a:gd name="connsiteX906" fmla="*/ 1765464 w 2037805"/>
                <a:gd name="connsiteY906" fmla="*/ 465302 h 1035061"/>
                <a:gd name="connsiteX907" fmla="*/ 1773803 w 2037805"/>
                <a:gd name="connsiteY907" fmla="*/ 465302 h 1035061"/>
                <a:gd name="connsiteX908" fmla="*/ 1780019 w 2037805"/>
                <a:gd name="connsiteY908" fmla="*/ 462095 h 1035061"/>
                <a:gd name="connsiteX909" fmla="*/ 1792453 w 2037805"/>
                <a:gd name="connsiteY909" fmla="*/ 462095 h 1035061"/>
                <a:gd name="connsiteX910" fmla="*/ 1796647 w 2037805"/>
                <a:gd name="connsiteY910" fmla="*/ 460467 h 1035061"/>
                <a:gd name="connsiteX911" fmla="*/ 1807008 w 2037805"/>
                <a:gd name="connsiteY911" fmla="*/ 460467 h 1035061"/>
                <a:gd name="connsiteX912" fmla="*/ 1811153 w 2037805"/>
                <a:gd name="connsiteY912" fmla="*/ 458888 h 1035061"/>
                <a:gd name="connsiteX913" fmla="*/ 1813275 w 2037805"/>
                <a:gd name="connsiteY913" fmla="*/ 458888 h 1035061"/>
                <a:gd name="connsiteX914" fmla="*/ 1823636 w 2037805"/>
                <a:gd name="connsiteY914" fmla="*/ 455631 h 1035061"/>
                <a:gd name="connsiteX915" fmla="*/ 1827781 w 2037805"/>
                <a:gd name="connsiteY915" fmla="*/ 452424 h 1035061"/>
                <a:gd name="connsiteX916" fmla="*/ 1821564 w 2037805"/>
                <a:gd name="connsiteY916" fmla="*/ 454003 h 1035061"/>
                <a:gd name="connsiteX917" fmla="*/ 1817370 w 2037805"/>
                <a:gd name="connsiteY917" fmla="*/ 454003 h 1035061"/>
                <a:gd name="connsiteX918" fmla="*/ 1811153 w 2037805"/>
                <a:gd name="connsiteY918" fmla="*/ 455631 h 1035061"/>
                <a:gd name="connsiteX919" fmla="*/ 1813275 w 2037805"/>
                <a:gd name="connsiteY919" fmla="*/ 452424 h 1035061"/>
                <a:gd name="connsiteX920" fmla="*/ 1815347 w 2037805"/>
                <a:gd name="connsiteY920" fmla="*/ 449168 h 1035061"/>
                <a:gd name="connsiteX921" fmla="*/ 1815347 w 2037805"/>
                <a:gd name="connsiteY921" fmla="*/ 447539 h 1035061"/>
                <a:gd name="connsiteX922" fmla="*/ 1804936 w 2037805"/>
                <a:gd name="connsiteY922" fmla="*/ 452473 h 1035061"/>
                <a:gd name="connsiteX923" fmla="*/ 1794575 w 2037805"/>
                <a:gd name="connsiteY923" fmla="*/ 454052 h 1035061"/>
                <a:gd name="connsiteX924" fmla="*/ 1784164 w 2037805"/>
                <a:gd name="connsiteY924" fmla="*/ 455681 h 1035061"/>
                <a:gd name="connsiteX925" fmla="*/ 1777947 w 2037805"/>
                <a:gd name="connsiteY925" fmla="*/ 454052 h 1035061"/>
                <a:gd name="connsiteX926" fmla="*/ 1767586 w 2037805"/>
                <a:gd name="connsiteY926" fmla="*/ 457309 h 1035061"/>
                <a:gd name="connsiteX927" fmla="*/ 1759247 w 2037805"/>
                <a:gd name="connsiteY927" fmla="*/ 458937 h 1035061"/>
                <a:gd name="connsiteX928" fmla="*/ 1755102 w 2037805"/>
                <a:gd name="connsiteY928" fmla="*/ 463871 h 1035061"/>
                <a:gd name="connsiteX929" fmla="*/ 1755102 w 2037805"/>
                <a:gd name="connsiteY929" fmla="*/ 465450 h 1035061"/>
                <a:gd name="connsiteX930" fmla="*/ 178580 w 2037805"/>
                <a:gd name="connsiteY930" fmla="*/ 30663 h 1035061"/>
                <a:gd name="connsiteX931" fmla="*/ 172313 w 2037805"/>
                <a:gd name="connsiteY931" fmla="*/ 35597 h 1035061"/>
                <a:gd name="connsiteX932" fmla="*/ 172313 w 2037805"/>
                <a:gd name="connsiteY932" fmla="*/ 45465 h 1035061"/>
                <a:gd name="connsiteX933" fmla="*/ 176507 w 2037805"/>
                <a:gd name="connsiteY933" fmla="*/ 53507 h 1035061"/>
                <a:gd name="connsiteX934" fmla="*/ 178580 w 2037805"/>
                <a:gd name="connsiteY934" fmla="*/ 51928 h 1035061"/>
                <a:gd name="connsiteX935" fmla="*/ 174435 w 2037805"/>
                <a:gd name="connsiteY935" fmla="*/ 40629 h 1035061"/>
                <a:gd name="connsiteX936" fmla="*/ 176507 w 2037805"/>
                <a:gd name="connsiteY936" fmla="*/ 35695 h 1035061"/>
                <a:gd name="connsiteX937" fmla="*/ 180652 w 2037805"/>
                <a:gd name="connsiteY937" fmla="*/ 34117 h 1035061"/>
                <a:gd name="connsiteX938" fmla="*/ 859871 w 2037805"/>
                <a:gd name="connsiteY938" fmla="*/ 935219 h 1035061"/>
                <a:gd name="connsiteX939" fmla="*/ 864016 w 2037805"/>
                <a:gd name="connsiteY939" fmla="*/ 931963 h 1035061"/>
                <a:gd name="connsiteX940" fmla="*/ 870233 w 2037805"/>
                <a:gd name="connsiteY940" fmla="*/ 925499 h 1035061"/>
                <a:gd name="connsiteX941" fmla="*/ 876499 w 2037805"/>
                <a:gd name="connsiteY941" fmla="*/ 919036 h 1035061"/>
                <a:gd name="connsiteX942" fmla="*/ 868160 w 2037805"/>
                <a:gd name="connsiteY942" fmla="*/ 923970 h 1035061"/>
                <a:gd name="connsiteX943" fmla="*/ 851532 w 2037805"/>
                <a:gd name="connsiteY943" fmla="*/ 951354 h 1035061"/>
                <a:gd name="connsiteX944" fmla="*/ 855727 w 2037805"/>
                <a:gd name="connsiteY944" fmla="*/ 949726 h 1035061"/>
                <a:gd name="connsiteX945" fmla="*/ 857799 w 2037805"/>
                <a:gd name="connsiteY945" fmla="*/ 941683 h 1035061"/>
                <a:gd name="connsiteX946" fmla="*/ 857799 w 2037805"/>
                <a:gd name="connsiteY946" fmla="*/ 938426 h 1035061"/>
                <a:gd name="connsiteX947" fmla="*/ 849460 w 2037805"/>
                <a:gd name="connsiteY947" fmla="*/ 993342 h 1035061"/>
                <a:gd name="connsiteX948" fmla="*/ 845316 w 2037805"/>
                <a:gd name="connsiteY948" fmla="*/ 982043 h 1035061"/>
                <a:gd name="connsiteX949" fmla="*/ 847388 w 2037805"/>
                <a:gd name="connsiteY949" fmla="*/ 969116 h 1035061"/>
                <a:gd name="connsiteX950" fmla="*/ 851532 w 2037805"/>
                <a:gd name="connsiteY950" fmla="*/ 952982 h 1035061"/>
                <a:gd name="connsiteX951" fmla="*/ 845316 w 2037805"/>
                <a:gd name="connsiteY951" fmla="*/ 967488 h 1035061"/>
                <a:gd name="connsiteX952" fmla="*/ 843243 w 2037805"/>
                <a:gd name="connsiteY952" fmla="*/ 982290 h 1035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</a:cxnLst>
              <a:rect l="l" t="t" r="r" b="b"/>
              <a:pathLst>
                <a:path w="2037805" h="1035061">
                  <a:moveTo>
                    <a:pt x="178580" y="-27"/>
                  </a:moveTo>
                  <a:lnTo>
                    <a:pt x="1113481" y="80941"/>
                  </a:lnTo>
                  <a:lnTo>
                    <a:pt x="1127987" y="80941"/>
                  </a:lnTo>
                  <a:lnTo>
                    <a:pt x="1136325" y="87404"/>
                  </a:lnTo>
                  <a:lnTo>
                    <a:pt x="1136325" y="89033"/>
                  </a:lnTo>
                  <a:lnTo>
                    <a:pt x="1140470" y="93967"/>
                  </a:lnTo>
                  <a:lnTo>
                    <a:pt x="1142542" y="93967"/>
                  </a:lnTo>
                  <a:lnTo>
                    <a:pt x="1150831" y="97223"/>
                  </a:lnTo>
                  <a:lnTo>
                    <a:pt x="1150831" y="98802"/>
                  </a:lnTo>
                  <a:lnTo>
                    <a:pt x="1159170" y="100430"/>
                  </a:lnTo>
                  <a:lnTo>
                    <a:pt x="1161242" y="103637"/>
                  </a:lnTo>
                  <a:lnTo>
                    <a:pt x="1165387" y="103637"/>
                  </a:lnTo>
                  <a:lnTo>
                    <a:pt x="1171604" y="102058"/>
                  </a:lnTo>
                  <a:lnTo>
                    <a:pt x="1177870" y="103637"/>
                  </a:lnTo>
                  <a:lnTo>
                    <a:pt x="1184087" y="102058"/>
                  </a:lnTo>
                  <a:lnTo>
                    <a:pt x="1192376" y="108522"/>
                  </a:lnTo>
                  <a:lnTo>
                    <a:pt x="1196570" y="108522"/>
                  </a:lnTo>
                  <a:lnTo>
                    <a:pt x="1200714" y="114985"/>
                  </a:lnTo>
                  <a:lnTo>
                    <a:pt x="1213148" y="118193"/>
                  </a:lnTo>
                  <a:lnTo>
                    <a:pt x="1219414" y="119821"/>
                  </a:lnTo>
                  <a:lnTo>
                    <a:pt x="1225631" y="124755"/>
                  </a:lnTo>
                  <a:lnTo>
                    <a:pt x="1229776" y="127962"/>
                  </a:lnTo>
                  <a:lnTo>
                    <a:pt x="1242259" y="127962"/>
                  </a:lnTo>
                  <a:lnTo>
                    <a:pt x="1248476" y="124755"/>
                  </a:lnTo>
                  <a:lnTo>
                    <a:pt x="1252620" y="126383"/>
                  </a:lnTo>
                  <a:lnTo>
                    <a:pt x="1254693" y="132847"/>
                  </a:lnTo>
                  <a:lnTo>
                    <a:pt x="1271370" y="132847"/>
                  </a:lnTo>
                  <a:lnTo>
                    <a:pt x="1275514" y="136103"/>
                  </a:lnTo>
                  <a:lnTo>
                    <a:pt x="1283853" y="137682"/>
                  </a:lnTo>
                  <a:lnTo>
                    <a:pt x="1290070" y="140889"/>
                  </a:lnTo>
                  <a:lnTo>
                    <a:pt x="1433157" y="199061"/>
                  </a:lnTo>
                  <a:lnTo>
                    <a:pt x="1441446" y="208930"/>
                  </a:lnTo>
                  <a:lnTo>
                    <a:pt x="1464290" y="223485"/>
                  </a:lnTo>
                  <a:lnTo>
                    <a:pt x="1487135" y="318761"/>
                  </a:lnTo>
                  <a:lnTo>
                    <a:pt x="1485063" y="360799"/>
                  </a:lnTo>
                  <a:lnTo>
                    <a:pt x="1480918" y="367263"/>
                  </a:lnTo>
                  <a:lnTo>
                    <a:pt x="1476724" y="375305"/>
                  </a:lnTo>
                  <a:lnTo>
                    <a:pt x="1470557" y="381769"/>
                  </a:lnTo>
                  <a:lnTo>
                    <a:pt x="1458074" y="386703"/>
                  </a:lnTo>
                  <a:lnTo>
                    <a:pt x="1449735" y="394795"/>
                  </a:lnTo>
                  <a:lnTo>
                    <a:pt x="1456001" y="404663"/>
                  </a:lnTo>
                  <a:lnTo>
                    <a:pt x="1580586" y="375601"/>
                  </a:lnTo>
                  <a:lnTo>
                    <a:pt x="1595388" y="370667"/>
                  </a:lnTo>
                  <a:lnTo>
                    <a:pt x="1599532" y="356112"/>
                  </a:lnTo>
                  <a:lnTo>
                    <a:pt x="1668115" y="338349"/>
                  </a:lnTo>
                  <a:lnTo>
                    <a:pt x="1697177" y="318958"/>
                  </a:lnTo>
                  <a:lnTo>
                    <a:pt x="1703394" y="315751"/>
                  </a:lnTo>
                  <a:lnTo>
                    <a:pt x="1713755" y="314173"/>
                  </a:lnTo>
                  <a:lnTo>
                    <a:pt x="1730432" y="301196"/>
                  </a:lnTo>
                  <a:lnTo>
                    <a:pt x="1736649" y="296262"/>
                  </a:lnTo>
                  <a:lnTo>
                    <a:pt x="1744938" y="293055"/>
                  </a:lnTo>
                  <a:lnTo>
                    <a:pt x="1751155" y="286591"/>
                  </a:lnTo>
                  <a:lnTo>
                    <a:pt x="1763638" y="284963"/>
                  </a:lnTo>
                  <a:lnTo>
                    <a:pt x="1869572" y="286591"/>
                  </a:lnTo>
                  <a:lnTo>
                    <a:pt x="1877861" y="280128"/>
                  </a:lnTo>
                  <a:lnTo>
                    <a:pt x="1879983" y="280128"/>
                  </a:lnTo>
                  <a:lnTo>
                    <a:pt x="1884127" y="278499"/>
                  </a:lnTo>
                  <a:lnTo>
                    <a:pt x="1894538" y="278499"/>
                  </a:lnTo>
                  <a:lnTo>
                    <a:pt x="1898683" y="276871"/>
                  </a:lnTo>
                  <a:lnTo>
                    <a:pt x="1900755" y="271937"/>
                  </a:lnTo>
                  <a:lnTo>
                    <a:pt x="1912794" y="260046"/>
                  </a:lnTo>
                  <a:lnTo>
                    <a:pt x="1916890" y="258418"/>
                  </a:lnTo>
                  <a:lnTo>
                    <a:pt x="1925228" y="248550"/>
                  </a:lnTo>
                  <a:lnTo>
                    <a:pt x="1929372" y="242086"/>
                  </a:lnTo>
                  <a:lnTo>
                    <a:pt x="1929372" y="235623"/>
                  </a:lnTo>
                  <a:lnTo>
                    <a:pt x="1939734" y="230689"/>
                  </a:lnTo>
                  <a:lnTo>
                    <a:pt x="1939734" y="225755"/>
                  </a:lnTo>
                  <a:lnTo>
                    <a:pt x="1946000" y="219291"/>
                  </a:lnTo>
                  <a:lnTo>
                    <a:pt x="1958434" y="206413"/>
                  </a:lnTo>
                  <a:lnTo>
                    <a:pt x="1960556" y="201479"/>
                  </a:lnTo>
                  <a:lnTo>
                    <a:pt x="1966773" y="196545"/>
                  </a:lnTo>
                  <a:lnTo>
                    <a:pt x="1968845" y="196545"/>
                  </a:lnTo>
                  <a:lnTo>
                    <a:pt x="1972989" y="198173"/>
                  </a:lnTo>
                  <a:lnTo>
                    <a:pt x="1979255" y="203107"/>
                  </a:lnTo>
                  <a:lnTo>
                    <a:pt x="1985472" y="201479"/>
                  </a:lnTo>
                  <a:lnTo>
                    <a:pt x="1995834" y="203107"/>
                  </a:lnTo>
                  <a:lnTo>
                    <a:pt x="1997956" y="199900"/>
                  </a:lnTo>
                  <a:lnTo>
                    <a:pt x="2012462" y="212778"/>
                  </a:lnTo>
                  <a:lnTo>
                    <a:pt x="2012462" y="222646"/>
                  </a:lnTo>
                  <a:lnTo>
                    <a:pt x="2006541" y="261674"/>
                  </a:lnTo>
                  <a:lnTo>
                    <a:pt x="2004469" y="266608"/>
                  </a:lnTo>
                  <a:lnTo>
                    <a:pt x="2006541" y="266608"/>
                  </a:lnTo>
                  <a:lnTo>
                    <a:pt x="2008662" y="269815"/>
                  </a:lnTo>
                  <a:lnTo>
                    <a:pt x="2012807" y="273072"/>
                  </a:lnTo>
                  <a:lnTo>
                    <a:pt x="2012807" y="279536"/>
                  </a:lnTo>
                  <a:lnTo>
                    <a:pt x="2010686" y="282743"/>
                  </a:lnTo>
                  <a:lnTo>
                    <a:pt x="2012807" y="284371"/>
                  </a:lnTo>
                  <a:lnTo>
                    <a:pt x="2010686" y="287578"/>
                  </a:lnTo>
                  <a:lnTo>
                    <a:pt x="2012807" y="289206"/>
                  </a:lnTo>
                  <a:lnTo>
                    <a:pt x="2012807" y="289206"/>
                  </a:lnTo>
                  <a:lnTo>
                    <a:pt x="2025241" y="295670"/>
                  </a:lnTo>
                  <a:lnTo>
                    <a:pt x="2023169" y="303762"/>
                  </a:lnTo>
                  <a:lnTo>
                    <a:pt x="2029385" y="308696"/>
                  </a:lnTo>
                  <a:lnTo>
                    <a:pt x="2031507" y="303762"/>
                  </a:lnTo>
                  <a:lnTo>
                    <a:pt x="2037724" y="306969"/>
                  </a:lnTo>
                  <a:lnTo>
                    <a:pt x="2033579" y="311903"/>
                  </a:lnTo>
                  <a:lnTo>
                    <a:pt x="2027362" y="313580"/>
                  </a:lnTo>
                  <a:lnTo>
                    <a:pt x="2025241" y="310324"/>
                  </a:lnTo>
                  <a:lnTo>
                    <a:pt x="2016952" y="313580"/>
                  </a:lnTo>
                  <a:lnTo>
                    <a:pt x="2010686" y="313580"/>
                  </a:lnTo>
                  <a:lnTo>
                    <a:pt x="2004469" y="316787"/>
                  </a:lnTo>
                  <a:lnTo>
                    <a:pt x="2000324" y="318366"/>
                  </a:lnTo>
                  <a:lnTo>
                    <a:pt x="1994107" y="316787"/>
                  </a:lnTo>
                  <a:lnTo>
                    <a:pt x="1987890" y="323202"/>
                  </a:lnTo>
                  <a:lnTo>
                    <a:pt x="1983746" y="323202"/>
                  </a:lnTo>
                  <a:lnTo>
                    <a:pt x="1981624" y="316787"/>
                  </a:lnTo>
                  <a:lnTo>
                    <a:pt x="1973335" y="316787"/>
                  </a:lnTo>
                  <a:lnTo>
                    <a:pt x="1967118" y="323202"/>
                  </a:lnTo>
                  <a:lnTo>
                    <a:pt x="1960901" y="323202"/>
                  </a:lnTo>
                  <a:lnTo>
                    <a:pt x="1958779" y="318268"/>
                  </a:lnTo>
                  <a:lnTo>
                    <a:pt x="1960901" y="313334"/>
                  </a:lnTo>
                  <a:lnTo>
                    <a:pt x="1952266" y="323004"/>
                  </a:lnTo>
                  <a:lnTo>
                    <a:pt x="1943928" y="332872"/>
                  </a:lnTo>
                  <a:lnTo>
                    <a:pt x="1939783" y="334501"/>
                  </a:lnTo>
                  <a:lnTo>
                    <a:pt x="1937711" y="331294"/>
                  </a:lnTo>
                  <a:lnTo>
                    <a:pt x="1933567" y="339336"/>
                  </a:lnTo>
                  <a:lnTo>
                    <a:pt x="1929422" y="339336"/>
                  </a:lnTo>
                  <a:lnTo>
                    <a:pt x="1929422" y="332576"/>
                  </a:lnTo>
                  <a:lnTo>
                    <a:pt x="1925277" y="339040"/>
                  </a:lnTo>
                  <a:lnTo>
                    <a:pt x="1921083" y="342296"/>
                  </a:lnTo>
                  <a:lnTo>
                    <a:pt x="1916939" y="340668"/>
                  </a:lnTo>
                  <a:lnTo>
                    <a:pt x="1916939" y="337510"/>
                  </a:lnTo>
                  <a:lnTo>
                    <a:pt x="1912844" y="342444"/>
                  </a:lnTo>
                  <a:lnTo>
                    <a:pt x="1908649" y="342444"/>
                  </a:lnTo>
                  <a:lnTo>
                    <a:pt x="1904505" y="350487"/>
                  </a:lnTo>
                  <a:lnTo>
                    <a:pt x="1889703" y="360355"/>
                  </a:lnTo>
                  <a:lnTo>
                    <a:pt x="1885558" y="370223"/>
                  </a:lnTo>
                  <a:lnTo>
                    <a:pt x="1881414" y="375157"/>
                  </a:lnTo>
                  <a:lnTo>
                    <a:pt x="1879341" y="380091"/>
                  </a:lnTo>
                  <a:lnTo>
                    <a:pt x="1877220" y="383348"/>
                  </a:lnTo>
                  <a:lnTo>
                    <a:pt x="1875197" y="386555"/>
                  </a:lnTo>
                  <a:lnTo>
                    <a:pt x="1879341" y="386555"/>
                  </a:lnTo>
                  <a:lnTo>
                    <a:pt x="1881414" y="391489"/>
                  </a:lnTo>
                  <a:lnTo>
                    <a:pt x="1868931" y="401357"/>
                  </a:lnTo>
                  <a:lnTo>
                    <a:pt x="1868931" y="404564"/>
                  </a:lnTo>
                  <a:lnTo>
                    <a:pt x="1877220" y="409498"/>
                  </a:lnTo>
                  <a:lnTo>
                    <a:pt x="1881414" y="419366"/>
                  </a:lnTo>
                  <a:lnTo>
                    <a:pt x="1881414" y="424300"/>
                  </a:lnTo>
                  <a:lnTo>
                    <a:pt x="1891775" y="424300"/>
                  </a:lnTo>
                  <a:lnTo>
                    <a:pt x="1895920" y="417837"/>
                  </a:lnTo>
                  <a:lnTo>
                    <a:pt x="1893897" y="411324"/>
                  </a:lnTo>
                  <a:lnTo>
                    <a:pt x="1898041" y="411324"/>
                  </a:lnTo>
                  <a:lnTo>
                    <a:pt x="1902137" y="421192"/>
                  </a:lnTo>
                  <a:lnTo>
                    <a:pt x="1896314" y="426323"/>
                  </a:lnTo>
                  <a:lnTo>
                    <a:pt x="1879736" y="434415"/>
                  </a:lnTo>
                  <a:lnTo>
                    <a:pt x="1875592" y="432737"/>
                  </a:lnTo>
                  <a:lnTo>
                    <a:pt x="1875592" y="427803"/>
                  </a:lnTo>
                  <a:lnTo>
                    <a:pt x="1873470" y="422869"/>
                  </a:lnTo>
                  <a:lnTo>
                    <a:pt x="1865181" y="432737"/>
                  </a:lnTo>
                  <a:lnTo>
                    <a:pt x="1858915" y="439250"/>
                  </a:lnTo>
                  <a:lnTo>
                    <a:pt x="1854770" y="437622"/>
                  </a:lnTo>
                  <a:lnTo>
                    <a:pt x="1854770" y="427754"/>
                  </a:lnTo>
                  <a:lnTo>
                    <a:pt x="1848652" y="421389"/>
                  </a:lnTo>
                  <a:lnTo>
                    <a:pt x="1848652" y="427902"/>
                  </a:lnTo>
                  <a:lnTo>
                    <a:pt x="1846580" y="435944"/>
                  </a:lnTo>
                  <a:lnTo>
                    <a:pt x="1850724" y="439201"/>
                  </a:lnTo>
                  <a:lnTo>
                    <a:pt x="1846580" y="440829"/>
                  </a:lnTo>
                  <a:lnTo>
                    <a:pt x="1832024" y="442408"/>
                  </a:lnTo>
                  <a:lnTo>
                    <a:pt x="1821663" y="444036"/>
                  </a:lnTo>
                  <a:lnTo>
                    <a:pt x="1815446" y="442408"/>
                  </a:lnTo>
                  <a:lnTo>
                    <a:pt x="1800644" y="442408"/>
                  </a:lnTo>
                  <a:lnTo>
                    <a:pt x="1798571" y="440829"/>
                  </a:lnTo>
                  <a:lnTo>
                    <a:pt x="1794377" y="440829"/>
                  </a:lnTo>
                  <a:lnTo>
                    <a:pt x="1781894" y="447243"/>
                  </a:lnTo>
                  <a:lnTo>
                    <a:pt x="1775677" y="448872"/>
                  </a:lnTo>
                  <a:lnTo>
                    <a:pt x="1763194" y="453806"/>
                  </a:lnTo>
                  <a:lnTo>
                    <a:pt x="1756977" y="455434"/>
                  </a:lnTo>
                  <a:lnTo>
                    <a:pt x="1750711" y="458690"/>
                  </a:lnTo>
                  <a:lnTo>
                    <a:pt x="1750711" y="463624"/>
                  </a:lnTo>
                  <a:lnTo>
                    <a:pt x="1742422" y="468558"/>
                  </a:lnTo>
                  <a:lnTo>
                    <a:pt x="1744494" y="471766"/>
                  </a:lnTo>
                  <a:lnTo>
                    <a:pt x="1748688" y="475022"/>
                  </a:lnTo>
                  <a:lnTo>
                    <a:pt x="1750711" y="479956"/>
                  </a:lnTo>
                  <a:lnTo>
                    <a:pt x="1746567" y="483213"/>
                  </a:lnTo>
                  <a:lnTo>
                    <a:pt x="1746567" y="486420"/>
                  </a:lnTo>
                  <a:lnTo>
                    <a:pt x="1742422" y="491354"/>
                  </a:lnTo>
                  <a:lnTo>
                    <a:pt x="1744494" y="494561"/>
                  </a:lnTo>
                  <a:lnTo>
                    <a:pt x="1742422" y="499495"/>
                  </a:lnTo>
                  <a:lnTo>
                    <a:pt x="1738277" y="505958"/>
                  </a:lnTo>
                  <a:lnTo>
                    <a:pt x="1736205" y="505958"/>
                  </a:lnTo>
                  <a:lnTo>
                    <a:pt x="1732011" y="509215"/>
                  </a:lnTo>
                  <a:lnTo>
                    <a:pt x="1727867" y="519083"/>
                  </a:lnTo>
                  <a:lnTo>
                    <a:pt x="1723771" y="519083"/>
                  </a:lnTo>
                  <a:lnTo>
                    <a:pt x="1721650" y="524017"/>
                  </a:lnTo>
                  <a:lnTo>
                    <a:pt x="1717505" y="524017"/>
                  </a:lnTo>
                  <a:lnTo>
                    <a:pt x="1717505" y="527274"/>
                  </a:lnTo>
                  <a:lnTo>
                    <a:pt x="1711288" y="533737"/>
                  </a:lnTo>
                  <a:lnTo>
                    <a:pt x="1711288" y="532109"/>
                  </a:lnTo>
                  <a:lnTo>
                    <a:pt x="1705071" y="535316"/>
                  </a:lnTo>
                  <a:lnTo>
                    <a:pt x="1709216" y="527274"/>
                  </a:lnTo>
                  <a:lnTo>
                    <a:pt x="1707094" y="524017"/>
                  </a:lnTo>
                  <a:lnTo>
                    <a:pt x="1700877" y="525596"/>
                  </a:lnTo>
                  <a:lnTo>
                    <a:pt x="1692588" y="517553"/>
                  </a:lnTo>
                  <a:lnTo>
                    <a:pt x="1690516" y="512619"/>
                  </a:lnTo>
                  <a:lnTo>
                    <a:pt x="1692588" y="509412"/>
                  </a:lnTo>
                  <a:lnTo>
                    <a:pt x="1702950" y="498113"/>
                  </a:lnTo>
                  <a:lnTo>
                    <a:pt x="1696733" y="501320"/>
                  </a:lnTo>
                  <a:lnTo>
                    <a:pt x="1690516" y="506254"/>
                  </a:lnTo>
                  <a:lnTo>
                    <a:pt x="1686371" y="512718"/>
                  </a:lnTo>
                  <a:lnTo>
                    <a:pt x="1686371" y="519182"/>
                  </a:lnTo>
                  <a:lnTo>
                    <a:pt x="1690516" y="520810"/>
                  </a:lnTo>
                  <a:lnTo>
                    <a:pt x="1690516" y="530678"/>
                  </a:lnTo>
                  <a:lnTo>
                    <a:pt x="1694660" y="533934"/>
                  </a:lnTo>
                  <a:lnTo>
                    <a:pt x="1698805" y="543802"/>
                  </a:lnTo>
                  <a:lnTo>
                    <a:pt x="1698805" y="551894"/>
                  </a:lnTo>
                  <a:lnTo>
                    <a:pt x="1692588" y="563193"/>
                  </a:lnTo>
                  <a:lnTo>
                    <a:pt x="1684250" y="568127"/>
                  </a:lnTo>
                  <a:lnTo>
                    <a:pt x="1680105" y="579426"/>
                  </a:lnTo>
                  <a:lnTo>
                    <a:pt x="1675961" y="584705"/>
                  </a:lnTo>
                  <a:lnTo>
                    <a:pt x="1675961" y="587913"/>
                  </a:lnTo>
                  <a:lnTo>
                    <a:pt x="1673888" y="591169"/>
                  </a:lnTo>
                  <a:lnTo>
                    <a:pt x="1671816" y="587913"/>
                  </a:lnTo>
                  <a:lnTo>
                    <a:pt x="1671816" y="586334"/>
                  </a:lnTo>
                  <a:lnTo>
                    <a:pt x="1665550" y="597633"/>
                  </a:lnTo>
                  <a:lnTo>
                    <a:pt x="1663527" y="600889"/>
                  </a:lnTo>
                  <a:lnTo>
                    <a:pt x="1661405" y="602468"/>
                  </a:lnTo>
                  <a:lnTo>
                    <a:pt x="1661405" y="597534"/>
                  </a:lnTo>
                  <a:lnTo>
                    <a:pt x="1663527" y="589442"/>
                  </a:lnTo>
                  <a:lnTo>
                    <a:pt x="1667671" y="584508"/>
                  </a:lnTo>
                  <a:lnTo>
                    <a:pt x="1665550" y="579574"/>
                  </a:lnTo>
                  <a:lnTo>
                    <a:pt x="1669744" y="574640"/>
                  </a:lnTo>
                  <a:lnTo>
                    <a:pt x="1669744" y="573061"/>
                  </a:lnTo>
                  <a:lnTo>
                    <a:pt x="1675961" y="569805"/>
                  </a:lnTo>
                  <a:lnTo>
                    <a:pt x="1667671" y="571433"/>
                  </a:lnTo>
                  <a:lnTo>
                    <a:pt x="1665550" y="566499"/>
                  </a:lnTo>
                  <a:lnTo>
                    <a:pt x="1667671" y="563243"/>
                  </a:lnTo>
                  <a:lnTo>
                    <a:pt x="1665550" y="561664"/>
                  </a:lnTo>
                  <a:lnTo>
                    <a:pt x="1663527" y="561664"/>
                  </a:lnTo>
                  <a:lnTo>
                    <a:pt x="1661405" y="560035"/>
                  </a:lnTo>
                  <a:lnTo>
                    <a:pt x="1659333" y="561664"/>
                  </a:lnTo>
                  <a:lnTo>
                    <a:pt x="1655188" y="555200"/>
                  </a:lnTo>
                  <a:lnTo>
                    <a:pt x="1653116" y="550266"/>
                  </a:lnTo>
                  <a:lnTo>
                    <a:pt x="1659333" y="543802"/>
                  </a:lnTo>
                  <a:lnTo>
                    <a:pt x="1661405" y="533934"/>
                  </a:lnTo>
                  <a:lnTo>
                    <a:pt x="1655188" y="525892"/>
                  </a:lnTo>
                  <a:lnTo>
                    <a:pt x="1659333" y="519428"/>
                  </a:lnTo>
                  <a:lnTo>
                    <a:pt x="1665550" y="516172"/>
                  </a:lnTo>
                  <a:lnTo>
                    <a:pt x="1663527" y="514593"/>
                  </a:lnTo>
                  <a:lnTo>
                    <a:pt x="1665550" y="508129"/>
                  </a:lnTo>
                  <a:lnTo>
                    <a:pt x="1663527" y="506452"/>
                  </a:lnTo>
                  <a:lnTo>
                    <a:pt x="1663527" y="508129"/>
                  </a:lnTo>
                  <a:lnTo>
                    <a:pt x="1661405" y="514593"/>
                  </a:lnTo>
                  <a:lnTo>
                    <a:pt x="1655188" y="519527"/>
                  </a:lnTo>
                  <a:lnTo>
                    <a:pt x="1648971" y="521106"/>
                  </a:lnTo>
                  <a:lnTo>
                    <a:pt x="1646850" y="521106"/>
                  </a:lnTo>
                  <a:lnTo>
                    <a:pt x="1648971" y="526040"/>
                  </a:lnTo>
                  <a:lnTo>
                    <a:pt x="1648971" y="529938"/>
                  </a:lnTo>
                  <a:lnTo>
                    <a:pt x="1646850" y="539806"/>
                  </a:lnTo>
                  <a:lnTo>
                    <a:pt x="1648971" y="543062"/>
                  </a:lnTo>
                  <a:lnTo>
                    <a:pt x="1648971" y="552930"/>
                  </a:lnTo>
                  <a:lnTo>
                    <a:pt x="1646850" y="565858"/>
                  </a:lnTo>
                  <a:lnTo>
                    <a:pt x="1644827" y="565858"/>
                  </a:lnTo>
                  <a:lnTo>
                    <a:pt x="1636488" y="557223"/>
                  </a:lnTo>
                  <a:lnTo>
                    <a:pt x="1630271" y="555644"/>
                  </a:lnTo>
                  <a:lnTo>
                    <a:pt x="1626127" y="549181"/>
                  </a:lnTo>
                  <a:lnTo>
                    <a:pt x="1621982" y="549181"/>
                  </a:lnTo>
                  <a:lnTo>
                    <a:pt x="1621982" y="545924"/>
                  </a:lnTo>
                  <a:lnTo>
                    <a:pt x="1624054" y="539460"/>
                  </a:lnTo>
                  <a:lnTo>
                    <a:pt x="1619910" y="544395"/>
                  </a:lnTo>
                  <a:lnTo>
                    <a:pt x="1619910" y="550858"/>
                  </a:lnTo>
                  <a:lnTo>
                    <a:pt x="1624054" y="552437"/>
                  </a:lnTo>
                  <a:lnTo>
                    <a:pt x="1628150" y="558901"/>
                  </a:lnTo>
                  <a:lnTo>
                    <a:pt x="1636488" y="560529"/>
                  </a:lnTo>
                  <a:lnTo>
                    <a:pt x="1644827" y="570397"/>
                  </a:lnTo>
                  <a:lnTo>
                    <a:pt x="1648971" y="572025"/>
                  </a:lnTo>
                  <a:lnTo>
                    <a:pt x="1651044" y="576959"/>
                  </a:lnTo>
                  <a:lnTo>
                    <a:pt x="1648971" y="585051"/>
                  </a:lnTo>
                  <a:lnTo>
                    <a:pt x="1642705" y="583472"/>
                  </a:lnTo>
                  <a:lnTo>
                    <a:pt x="1640633" y="578538"/>
                  </a:lnTo>
                  <a:lnTo>
                    <a:pt x="1638560" y="576910"/>
                  </a:lnTo>
                  <a:lnTo>
                    <a:pt x="1640633" y="585002"/>
                  </a:lnTo>
                  <a:lnTo>
                    <a:pt x="1648971" y="588209"/>
                  </a:lnTo>
                  <a:lnTo>
                    <a:pt x="1651044" y="593143"/>
                  </a:lnTo>
                  <a:lnTo>
                    <a:pt x="1648971" y="594771"/>
                  </a:lnTo>
                  <a:lnTo>
                    <a:pt x="1646850" y="597978"/>
                  </a:lnTo>
                  <a:lnTo>
                    <a:pt x="1640633" y="596350"/>
                  </a:lnTo>
                  <a:lnTo>
                    <a:pt x="1648971" y="602814"/>
                  </a:lnTo>
                  <a:lnTo>
                    <a:pt x="1646850" y="607748"/>
                  </a:lnTo>
                  <a:lnTo>
                    <a:pt x="1642705" y="606119"/>
                  </a:lnTo>
                  <a:lnTo>
                    <a:pt x="1638560" y="599656"/>
                  </a:lnTo>
                  <a:lnTo>
                    <a:pt x="1630271" y="599656"/>
                  </a:lnTo>
                  <a:lnTo>
                    <a:pt x="1624054" y="598077"/>
                  </a:lnTo>
                  <a:lnTo>
                    <a:pt x="1628150" y="603011"/>
                  </a:lnTo>
                  <a:lnTo>
                    <a:pt x="1634416" y="604639"/>
                  </a:lnTo>
                  <a:lnTo>
                    <a:pt x="1638560" y="604639"/>
                  </a:lnTo>
                  <a:lnTo>
                    <a:pt x="1640633" y="612731"/>
                  </a:lnTo>
                  <a:lnTo>
                    <a:pt x="1653116" y="612731"/>
                  </a:lnTo>
                  <a:lnTo>
                    <a:pt x="1655188" y="614310"/>
                  </a:lnTo>
                  <a:lnTo>
                    <a:pt x="1657261" y="620773"/>
                  </a:lnTo>
                  <a:lnTo>
                    <a:pt x="1655188" y="627237"/>
                  </a:lnTo>
                  <a:lnTo>
                    <a:pt x="1651044" y="625658"/>
                  </a:lnTo>
                  <a:lnTo>
                    <a:pt x="1651044" y="627237"/>
                  </a:lnTo>
                  <a:lnTo>
                    <a:pt x="1653116" y="630493"/>
                  </a:lnTo>
                  <a:lnTo>
                    <a:pt x="1655188" y="636957"/>
                  </a:lnTo>
                  <a:lnTo>
                    <a:pt x="1653116" y="640164"/>
                  </a:lnTo>
                  <a:lnTo>
                    <a:pt x="1648971" y="640164"/>
                  </a:lnTo>
                  <a:lnTo>
                    <a:pt x="1646850" y="641792"/>
                  </a:lnTo>
                  <a:lnTo>
                    <a:pt x="1636488" y="645000"/>
                  </a:lnTo>
                  <a:lnTo>
                    <a:pt x="1634416" y="646628"/>
                  </a:lnTo>
                  <a:lnTo>
                    <a:pt x="1628150" y="646628"/>
                  </a:lnTo>
                  <a:lnTo>
                    <a:pt x="1626127" y="640164"/>
                  </a:lnTo>
                  <a:lnTo>
                    <a:pt x="1624054" y="640164"/>
                  </a:lnTo>
                  <a:lnTo>
                    <a:pt x="1621982" y="650032"/>
                  </a:lnTo>
                  <a:lnTo>
                    <a:pt x="1621982" y="653289"/>
                  </a:lnTo>
                  <a:lnTo>
                    <a:pt x="1628150" y="651660"/>
                  </a:lnTo>
                  <a:lnTo>
                    <a:pt x="1642705" y="650032"/>
                  </a:lnTo>
                  <a:lnTo>
                    <a:pt x="1646850" y="651660"/>
                  </a:lnTo>
                  <a:lnTo>
                    <a:pt x="1646850" y="659752"/>
                  </a:lnTo>
                  <a:lnTo>
                    <a:pt x="1651044" y="661381"/>
                  </a:lnTo>
                  <a:lnTo>
                    <a:pt x="1651044" y="658124"/>
                  </a:lnTo>
                  <a:lnTo>
                    <a:pt x="1655188" y="651660"/>
                  </a:lnTo>
                  <a:lnTo>
                    <a:pt x="1657261" y="651660"/>
                  </a:lnTo>
                  <a:lnTo>
                    <a:pt x="1659333" y="656594"/>
                  </a:lnTo>
                  <a:lnTo>
                    <a:pt x="1657261" y="663058"/>
                  </a:lnTo>
                  <a:lnTo>
                    <a:pt x="1655188" y="663058"/>
                  </a:lnTo>
                  <a:lnTo>
                    <a:pt x="1646850" y="669522"/>
                  </a:lnTo>
                  <a:lnTo>
                    <a:pt x="1644827" y="672778"/>
                  </a:lnTo>
                  <a:lnTo>
                    <a:pt x="1642705" y="676035"/>
                  </a:lnTo>
                  <a:lnTo>
                    <a:pt x="1636488" y="672778"/>
                  </a:lnTo>
                  <a:lnTo>
                    <a:pt x="1632344" y="672778"/>
                  </a:lnTo>
                  <a:lnTo>
                    <a:pt x="1630271" y="666315"/>
                  </a:lnTo>
                  <a:lnTo>
                    <a:pt x="1628150" y="671249"/>
                  </a:lnTo>
                  <a:lnTo>
                    <a:pt x="1624054" y="672877"/>
                  </a:lnTo>
                  <a:lnTo>
                    <a:pt x="1617788" y="671249"/>
                  </a:lnTo>
                  <a:lnTo>
                    <a:pt x="1613644" y="671249"/>
                  </a:lnTo>
                  <a:lnTo>
                    <a:pt x="1617788" y="674456"/>
                  </a:lnTo>
                  <a:lnTo>
                    <a:pt x="1626127" y="676133"/>
                  </a:lnTo>
                  <a:lnTo>
                    <a:pt x="1628150" y="679341"/>
                  </a:lnTo>
                  <a:lnTo>
                    <a:pt x="1624054" y="682547"/>
                  </a:lnTo>
                  <a:lnTo>
                    <a:pt x="1626127" y="684176"/>
                  </a:lnTo>
                  <a:lnTo>
                    <a:pt x="1617788" y="687432"/>
                  </a:lnTo>
                  <a:lnTo>
                    <a:pt x="1609499" y="685755"/>
                  </a:lnTo>
                  <a:lnTo>
                    <a:pt x="1615765" y="690689"/>
                  </a:lnTo>
                  <a:lnTo>
                    <a:pt x="1624054" y="690689"/>
                  </a:lnTo>
                  <a:lnTo>
                    <a:pt x="1632344" y="685755"/>
                  </a:lnTo>
                  <a:lnTo>
                    <a:pt x="1632344" y="687432"/>
                  </a:lnTo>
                  <a:lnTo>
                    <a:pt x="1636488" y="689011"/>
                  </a:lnTo>
                  <a:lnTo>
                    <a:pt x="1628150" y="695475"/>
                  </a:lnTo>
                  <a:lnTo>
                    <a:pt x="1622179" y="695475"/>
                  </a:lnTo>
                  <a:lnTo>
                    <a:pt x="1622179" y="692761"/>
                  </a:lnTo>
                  <a:lnTo>
                    <a:pt x="1617986" y="692761"/>
                  </a:lnTo>
                  <a:lnTo>
                    <a:pt x="1615963" y="694340"/>
                  </a:lnTo>
                  <a:lnTo>
                    <a:pt x="1605552" y="694340"/>
                  </a:lnTo>
                  <a:lnTo>
                    <a:pt x="1588924" y="704208"/>
                  </a:lnTo>
                  <a:lnTo>
                    <a:pt x="1572346" y="717135"/>
                  </a:lnTo>
                  <a:lnTo>
                    <a:pt x="1566129" y="727003"/>
                  </a:lnTo>
                  <a:lnTo>
                    <a:pt x="1561935" y="727003"/>
                  </a:lnTo>
                  <a:lnTo>
                    <a:pt x="1557790" y="725375"/>
                  </a:lnTo>
                  <a:lnTo>
                    <a:pt x="1549501" y="725375"/>
                  </a:lnTo>
                  <a:lnTo>
                    <a:pt x="1541212" y="731838"/>
                  </a:lnTo>
                  <a:lnTo>
                    <a:pt x="1528729" y="746641"/>
                  </a:lnTo>
                  <a:lnTo>
                    <a:pt x="1528729" y="749848"/>
                  </a:lnTo>
                  <a:lnTo>
                    <a:pt x="1522512" y="754782"/>
                  </a:lnTo>
                  <a:lnTo>
                    <a:pt x="1518367" y="754782"/>
                  </a:lnTo>
                  <a:lnTo>
                    <a:pt x="1518367" y="758038"/>
                  </a:lnTo>
                  <a:lnTo>
                    <a:pt x="1512150" y="764502"/>
                  </a:lnTo>
                  <a:lnTo>
                    <a:pt x="1507957" y="762874"/>
                  </a:lnTo>
                  <a:lnTo>
                    <a:pt x="1503812" y="764502"/>
                  </a:lnTo>
                  <a:lnTo>
                    <a:pt x="1501740" y="766081"/>
                  </a:lnTo>
                  <a:lnTo>
                    <a:pt x="1495473" y="766081"/>
                  </a:lnTo>
                  <a:lnTo>
                    <a:pt x="1491329" y="771015"/>
                  </a:lnTo>
                  <a:lnTo>
                    <a:pt x="1478895" y="772594"/>
                  </a:lnTo>
                  <a:lnTo>
                    <a:pt x="1478895" y="775850"/>
                  </a:lnTo>
                  <a:lnTo>
                    <a:pt x="1470606" y="774222"/>
                  </a:lnTo>
                  <a:lnTo>
                    <a:pt x="1470606" y="779156"/>
                  </a:lnTo>
                  <a:lnTo>
                    <a:pt x="1460195" y="779156"/>
                  </a:lnTo>
                  <a:lnTo>
                    <a:pt x="1458123" y="780735"/>
                  </a:lnTo>
                  <a:lnTo>
                    <a:pt x="1462267" y="782363"/>
                  </a:lnTo>
                  <a:lnTo>
                    <a:pt x="1460195" y="787297"/>
                  </a:lnTo>
                  <a:lnTo>
                    <a:pt x="1456051" y="792231"/>
                  </a:lnTo>
                  <a:lnTo>
                    <a:pt x="1451906" y="793859"/>
                  </a:lnTo>
                  <a:lnTo>
                    <a:pt x="1449784" y="797116"/>
                  </a:lnTo>
                  <a:lnTo>
                    <a:pt x="1443568" y="798695"/>
                  </a:lnTo>
                  <a:lnTo>
                    <a:pt x="1437301" y="806244"/>
                  </a:lnTo>
                  <a:lnTo>
                    <a:pt x="1433157" y="816112"/>
                  </a:lnTo>
                  <a:lnTo>
                    <a:pt x="1433157" y="825980"/>
                  </a:lnTo>
                  <a:lnTo>
                    <a:pt x="1431084" y="845321"/>
                  </a:lnTo>
                  <a:lnTo>
                    <a:pt x="1431084" y="855189"/>
                  </a:lnTo>
                  <a:lnTo>
                    <a:pt x="1428963" y="868116"/>
                  </a:lnTo>
                  <a:lnTo>
                    <a:pt x="1433157" y="876159"/>
                  </a:lnTo>
                  <a:lnTo>
                    <a:pt x="1435229" y="889135"/>
                  </a:lnTo>
                  <a:lnTo>
                    <a:pt x="1437301" y="895599"/>
                  </a:lnTo>
                  <a:lnTo>
                    <a:pt x="1441446" y="910105"/>
                  </a:lnTo>
                  <a:lnTo>
                    <a:pt x="1445640" y="915039"/>
                  </a:lnTo>
                  <a:lnTo>
                    <a:pt x="1449735" y="921503"/>
                  </a:lnTo>
                  <a:lnTo>
                    <a:pt x="1445640" y="927966"/>
                  </a:lnTo>
                  <a:lnTo>
                    <a:pt x="1445640" y="937834"/>
                  </a:lnTo>
                  <a:lnTo>
                    <a:pt x="1447663" y="941091"/>
                  </a:lnTo>
                  <a:lnTo>
                    <a:pt x="1451857" y="960482"/>
                  </a:lnTo>
                  <a:lnTo>
                    <a:pt x="1458074" y="965416"/>
                  </a:lnTo>
                  <a:lnTo>
                    <a:pt x="1460146" y="973508"/>
                  </a:lnTo>
                  <a:lnTo>
                    <a:pt x="1456001" y="978442"/>
                  </a:lnTo>
                  <a:lnTo>
                    <a:pt x="1458074" y="980020"/>
                  </a:lnTo>
                  <a:lnTo>
                    <a:pt x="1458074" y="991369"/>
                  </a:lnTo>
                  <a:lnTo>
                    <a:pt x="1456001" y="994576"/>
                  </a:lnTo>
                  <a:lnTo>
                    <a:pt x="1456001" y="999510"/>
                  </a:lnTo>
                  <a:lnTo>
                    <a:pt x="1449735" y="1010809"/>
                  </a:lnTo>
                  <a:lnTo>
                    <a:pt x="1445640" y="1017273"/>
                  </a:lnTo>
                  <a:lnTo>
                    <a:pt x="1441446" y="1023736"/>
                  </a:lnTo>
                  <a:lnTo>
                    <a:pt x="1441446" y="1031779"/>
                  </a:lnTo>
                  <a:lnTo>
                    <a:pt x="1435229" y="1033407"/>
                  </a:lnTo>
                  <a:lnTo>
                    <a:pt x="1428963" y="1035035"/>
                  </a:lnTo>
                  <a:lnTo>
                    <a:pt x="1420674" y="1033407"/>
                  </a:lnTo>
                  <a:lnTo>
                    <a:pt x="1418601" y="1030150"/>
                  </a:lnTo>
                  <a:lnTo>
                    <a:pt x="1410312" y="1028571"/>
                  </a:lnTo>
                  <a:lnTo>
                    <a:pt x="1414457" y="1026943"/>
                  </a:lnTo>
                  <a:lnTo>
                    <a:pt x="1406118" y="1020479"/>
                  </a:lnTo>
                  <a:lnTo>
                    <a:pt x="1406118" y="1015545"/>
                  </a:lnTo>
                  <a:lnTo>
                    <a:pt x="1404046" y="1010611"/>
                  </a:lnTo>
                  <a:lnTo>
                    <a:pt x="1397829" y="1010611"/>
                  </a:lnTo>
                  <a:lnTo>
                    <a:pt x="1395757" y="1008983"/>
                  </a:lnTo>
                  <a:lnTo>
                    <a:pt x="1395757" y="994181"/>
                  </a:lnTo>
                  <a:lnTo>
                    <a:pt x="1385346" y="987718"/>
                  </a:lnTo>
                  <a:lnTo>
                    <a:pt x="1385346" y="983869"/>
                  </a:lnTo>
                  <a:lnTo>
                    <a:pt x="1387468" y="980662"/>
                  </a:lnTo>
                  <a:lnTo>
                    <a:pt x="1389540" y="975728"/>
                  </a:lnTo>
                  <a:lnTo>
                    <a:pt x="1395757" y="970794"/>
                  </a:lnTo>
                  <a:lnTo>
                    <a:pt x="1387468" y="972422"/>
                  </a:lnTo>
                  <a:lnTo>
                    <a:pt x="1385346" y="970794"/>
                  </a:lnTo>
                  <a:lnTo>
                    <a:pt x="1385346" y="972422"/>
                  </a:lnTo>
                  <a:lnTo>
                    <a:pt x="1383274" y="975629"/>
                  </a:lnTo>
                  <a:lnTo>
                    <a:pt x="1381201" y="970695"/>
                  </a:lnTo>
                  <a:lnTo>
                    <a:pt x="1379129" y="970695"/>
                  </a:lnTo>
                  <a:lnTo>
                    <a:pt x="1377057" y="967439"/>
                  </a:lnTo>
                  <a:lnTo>
                    <a:pt x="1372912" y="962505"/>
                  </a:lnTo>
                  <a:lnTo>
                    <a:pt x="1372912" y="957571"/>
                  </a:lnTo>
                  <a:lnTo>
                    <a:pt x="1370840" y="952636"/>
                  </a:lnTo>
                  <a:lnTo>
                    <a:pt x="1379129" y="942768"/>
                  </a:lnTo>
                  <a:lnTo>
                    <a:pt x="1379129" y="936305"/>
                  </a:lnTo>
                  <a:lnTo>
                    <a:pt x="1372912" y="934726"/>
                  </a:lnTo>
                  <a:lnTo>
                    <a:pt x="1370840" y="936305"/>
                  </a:lnTo>
                  <a:lnTo>
                    <a:pt x="1372912" y="939561"/>
                  </a:lnTo>
                  <a:lnTo>
                    <a:pt x="1368767" y="944496"/>
                  </a:lnTo>
                  <a:lnTo>
                    <a:pt x="1366695" y="946074"/>
                  </a:lnTo>
                  <a:lnTo>
                    <a:pt x="1362501" y="939611"/>
                  </a:lnTo>
                  <a:lnTo>
                    <a:pt x="1362501" y="934677"/>
                  </a:lnTo>
                  <a:lnTo>
                    <a:pt x="1368767" y="923378"/>
                  </a:lnTo>
                  <a:lnTo>
                    <a:pt x="1372912" y="908576"/>
                  </a:lnTo>
                  <a:lnTo>
                    <a:pt x="1374984" y="902112"/>
                  </a:lnTo>
                  <a:lnTo>
                    <a:pt x="1368767" y="895056"/>
                  </a:lnTo>
                  <a:lnTo>
                    <a:pt x="1364574" y="893428"/>
                  </a:lnTo>
                  <a:lnTo>
                    <a:pt x="1360429" y="890172"/>
                  </a:lnTo>
                  <a:lnTo>
                    <a:pt x="1360429" y="886915"/>
                  </a:lnTo>
                  <a:lnTo>
                    <a:pt x="1358357" y="886915"/>
                  </a:lnTo>
                  <a:lnTo>
                    <a:pt x="1352140" y="883708"/>
                  </a:lnTo>
                  <a:lnTo>
                    <a:pt x="1352140" y="877294"/>
                  </a:lnTo>
                  <a:lnTo>
                    <a:pt x="1350314" y="877294"/>
                  </a:lnTo>
                  <a:lnTo>
                    <a:pt x="1346169" y="874037"/>
                  </a:lnTo>
                  <a:lnTo>
                    <a:pt x="1341976" y="862739"/>
                  </a:lnTo>
                  <a:lnTo>
                    <a:pt x="1333687" y="861110"/>
                  </a:lnTo>
                  <a:lnTo>
                    <a:pt x="1329542" y="857854"/>
                  </a:lnTo>
                  <a:lnTo>
                    <a:pt x="1323276" y="859482"/>
                  </a:lnTo>
                  <a:lnTo>
                    <a:pt x="1317059" y="862739"/>
                  </a:lnTo>
                  <a:lnTo>
                    <a:pt x="1317059" y="864317"/>
                  </a:lnTo>
                  <a:lnTo>
                    <a:pt x="1312914" y="864317"/>
                  </a:lnTo>
                  <a:lnTo>
                    <a:pt x="1304625" y="872409"/>
                  </a:lnTo>
                  <a:lnTo>
                    <a:pt x="1298359" y="872409"/>
                  </a:lnTo>
                  <a:lnTo>
                    <a:pt x="1287997" y="874037"/>
                  </a:lnTo>
                  <a:lnTo>
                    <a:pt x="1285925" y="872409"/>
                  </a:lnTo>
                  <a:lnTo>
                    <a:pt x="1285925" y="869153"/>
                  </a:lnTo>
                  <a:lnTo>
                    <a:pt x="1287997" y="870830"/>
                  </a:lnTo>
                  <a:lnTo>
                    <a:pt x="1290070" y="870830"/>
                  </a:lnTo>
                  <a:lnTo>
                    <a:pt x="1287997" y="867574"/>
                  </a:lnTo>
                  <a:lnTo>
                    <a:pt x="1283853" y="862640"/>
                  </a:lnTo>
                  <a:lnTo>
                    <a:pt x="1275514" y="857706"/>
                  </a:lnTo>
                  <a:lnTo>
                    <a:pt x="1275514" y="857706"/>
                  </a:lnTo>
                  <a:lnTo>
                    <a:pt x="1281780" y="859334"/>
                  </a:lnTo>
                  <a:lnTo>
                    <a:pt x="1281780" y="857706"/>
                  </a:lnTo>
                  <a:lnTo>
                    <a:pt x="1275514" y="852772"/>
                  </a:lnTo>
                  <a:lnTo>
                    <a:pt x="1273442" y="849515"/>
                  </a:lnTo>
                  <a:lnTo>
                    <a:pt x="1271370" y="849515"/>
                  </a:lnTo>
                  <a:lnTo>
                    <a:pt x="1269297" y="852772"/>
                  </a:lnTo>
                  <a:lnTo>
                    <a:pt x="1273442" y="855979"/>
                  </a:lnTo>
                  <a:lnTo>
                    <a:pt x="1267225" y="854351"/>
                  </a:lnTo>
                  <a:lnTo>
                    <a:pt x="1263081" y="849417"/>
                  </a:lnTo>
                  <a:lnTo>
                    <a:pt x="1252670" y="849417"/>
                  </a:lnTo>
                  <a:lnTo>
                    <a:pt x="1244381" y="847788"/>
                  </a:lnTo>
                  <a:lnTo>
                    <a:pt x="1244381" y="846160"/>
                  </a:lnTo>
                  <a:lnTo>
                    <a:pt x="1252670" y="847788"/>
                  </a:lnTo>
                  <a:lnTo>
                    <a:pt x="1258886" y="846160"/>
                  </a:lnTo>
                  <a:lnTo>
                    <a:pt x="1256814" y="844532"/>
                  </a:lnTo>
                  <a:lnTo>
                    <a:pt x="1248525" y="844532"/>
                  </a:lnTo>
                  <a:lnTo>
                    <a:pt x="1240236" y="849466"/>
                  </a:lnTo>
                  <a:lnTo>
                    <a:pt x="1238164" y="847838"/>
                  </a:lnTo>
                  <a:lnTo>
                    <a:pt x="1225680" y="847838"/>
                  </a:lnTo>
                  <a:lnTo>
                    <a:pt x="1221536" y="846209"/>
                  </a:lnTo>
                  <a:lnTo>
                    <a:pt x="1217391" y="847838"/>
                  </a:lnTo>
                  <a:lnTo>
                    <a:pt x="1206734" y="847838"/>
                  </a:lnTo>
                  <a:lnTo>
                    <a:pt x="1200517" y="849466"/>
                  </a:lnTo>
                  <a:lnTo>
                    <a:pt x="1194251" y="844532"/>
                  </a:lnTo>
                  <a:lnTo>
                    <a:pt x="1194251" y="836489"/>
                  </a:lnTo>
                  <a:lnTo>
                    <a:pt x="1190106" y="836489"/>
                  </a:lnTo>
                  <a:lnTo>
                    <a:pt x="1188034" y="841423"/>
                  </a:lnTo>
                  <a:lnTo>
                    <a:pt x="1183889" y="846357"/>
                  </a:lnTo>
                  <a:lnTo>
                    <a:pt x="1179745" y="844729"/>
                  </a:lnTo>
                  <a:lnTo>
                    <a:pt x="1173478" y="846357"/>
                  </a:lnTo>
                  <a:lnTo>
                    <a:pt x="1167262" y="846357"/>
                  </a:lnTo>
                  <a:lnTo>
                    <a:pt x="1144417" y="849614"/>
                  </a:lnTo>
                  <a:lnTo>
                    <a:pt x="1138200" y="852870"/>
                  </a:lnTo>
                  <a:lnTo>
                    <a:pt x="1127789" y="857804"/>
                  </a:lnTo>
                  <a:lnTo>
                    <a:pt x="1121572" y="864268"/>
                  </a:lnTo>
                  <a:lnTo>
                    <a:pt x="1121572" y="867524"/>
                  </a:lnTo>
                  <a:lnTo>
                    <a:pt x="1125717" y="865896"/>
                  </a:lnTo>
                  <a:lnTo>
                    <a:pt x="1129862" y="862689"/>
                  </a:lnTo>
                  <a:lnTo>
                    <a:pt x="1131934" y="862689"/>
                  </a:lnTo>
                  <a:lnTo>
                    <a:pt x="1134055" y="865896"/>
                  </a:lnTo>
                  <a:lnTo>
                    <a:pt x="1140272" y="869103"/>
                  </a:lnTo>
                  <a:lnTo>
                    <a:pt x="1138200" y="870781"/>
                  </a:lnTo>
                  <a:lnTo>
                    <a:pt x="1127789" y="873988"/>
                  </a:lnTo>
                  <a:lnTo>
                    <a:pt x="1127789" y="880254"/>
                  </a:lnTo>
                  <a:lnTo>
                    <a:pt x="1129862" y="883462"/>
                  </a:lnTo>
                  <a:lnTo>
                    <a:pt x="1140272" y="886668"/>
                  </a:lnTo>
                  <a:lnTo>
                    <a:pt x="1148561" y="893181"/>
                  </a:lnTo>
                  <a:lnTo>
                    <a:pt x="1148561" y="895056"/>
                  </a:lnTo>
                  <a:lnTo>
                    <a:pt x="1142345" y="896635"/>
                  </a:lnTo>
                  <a:lnTo>
                    <a:pt x="1140272" y="899892"/>
                  </a:lnTo>
                  <a:lnTo>
                    <a:pt x="1140272" y="894958"/>
                  </a:lnTo>
                  <a:lnTo>
                    <a:pt x="1136128" y="891701"/>
                  </a:lnTo>
                  <a:lnTo>
                    <a:pt x="1131934" y="893330"/>
                  </a:lnTo>
                  <a:lnTo>
                    <a:pt x="1129862" y="888396"/>
                  </a:lnTo>
                  <a:lnTo>
                    <a:pt x="1123645" y="886718"/>
                  </a:lnTo>
                  <a:lnTo>
                    <a:pt x="1119500" y="880304"/>
                  </a:lnTo>
                  <a:lnTo>
                    <a:pt x="1113481" y="880304"/>
                  </a:lnTo>
                  <a:lnTo>
                    <a:pt x="1115553" y="885238"/>
                  </a:lnTo>
                  <a:lnTo>
                    <a:pt x="1115553" y="893330"/>
                  </a:lnTo>
                  <a:lnTo>
                    <a:pt x="1109287" y="896537"/>
                  </a:lnTo>
                  <a:lnTo>
                    <a:pt x="1107214" y="891602"/>
                  </a:lnTo>
                  <a:lnTo>
                    <a:pt x="1100997" y="888396"/>
                  </a:lnTo>
                  <a:lnTo>
                    <a:pt x="1096853" y="891602"/>
                  </a:lnTo>
                  <a:lnTo>
                    <a:pt x="1092708" y="894859"/>
                  </a:lnTo>
                  <a:lnTo>
                    <a:pt x="1082297" y="893231"/>
                  </a:lnTo>
                  <a:lnTo>
                    <a:pt x="1078153" y="889974"/>
                  </a:lnTo>
                  <a:lnTo>
                    <a:pt x="1071936" y="891602"/>
                  </a:lnTo>
                  <a:lnTo>
                    <a:pt x="1067742" y="889974"/>
                  </a:lnTo>
                  <a:lnTo>
                    <a:pt x="1071936" y="886718"/>
                  </a:lnTo>
                  <a:lnTo>
                    <a:pt x="1076080" y="883511"/>
                  </a:lnTo>
                  <a:lnTo>
                    <a:pt x="1074008" y="880254"/>
                  </a:lnTo>
                  <a:lnTo>
                    <a:pt x="1065670" y="880254"/>
                  </a:lnTo>
                  <a:lnTo>
                    <a:pt x="1063598" y="878626"/>
                  </a:lnTo>
                  <a:lnTo>
                    <a:pt x="1063598" y="873692"/>
                  </a:lnTo>
                  <a:lnTo>
                    <a:pt x="1061525" y="870485"/>
                  </a:lnTo>
                  <a:lnTo>
                    <a:pt x="1057381" y="872064"/>
                  </a:lnTo>
                  <a:lnTo>
                    <a:pt x="1053236" y="872064"/>
                  </a:lnTo>
                  <a:lnTo>
                    <a:pt x="1055308" y="867130"/>
                  </a:lnTo>
                  <a:lnTo>
                    <a:pt x="1051164" y="867130"/>
                  </a:lnTo>
                  <a:lnTo>
                    <a:pt x="1044897" y="868709"/>
                  </a:lnTo>
                  <a:lnTo>
                    <a:pt x="1044897" y="875320"/>
                  </a:lnTo>
                  <a:lnTo>
                    <a:pt x="1038681" y="876998"/>
                  </a:lnTo>
                  <a:lnTo>
                    <a:pt x="1017908" y="875320"/>
                  </a:lnTo>
                  <a:lnTo>
                    <a:pt x="1015836" y="872113"/>
                  </a:lnTo>
                  <a:lnTo>
                    <a:pt x="999208" y="868857"/>
                  </a:lnTo>
                  <a:lnTo>
                    <a:pt x="988847" y="868857"/>
                  </a:lnTo>
                  <a:lnTo>
                    <a:pt x="976364" y="870534"/>
                  </a:lnTo>
                  <a:lnTo>
                    <a:pt x="972219" y="873741"/>
                  </a:lnTo>
                  <a:lnTo>
                    <a:pt x="966002" y="873741"/>
                  </a:lnTo>
                  <a:lnTo>
                    <a:pt x="961858" y="881833"/>
                  </a:lnTo>
                  <a:lnTo>
                    <a:pt x="953519" y="881833"/>
                  </a:lnTo>
                  <a:lnTo>
                    <a:pt x="953519" y="876899"/>
                  </a:lnTo>
                  <a:lnTo>
                    <a:pt x="951447" y="871965"/>
                  </a:lnTo>
                  <a:lnTo>
                    <a:pt x="955591" y="867031"/>
                  </a:lnTo>
                  <a:lnTo>
                    <a:pt x="953519" y="860568"/>
                  </a:lnTo>
                  <a:lnTo>
                    <a:pt x="953519" y="863774"/>
                  </a:lnTo>
                  <a:lnTo>
                    <a:pt x="947302" y="868709"/>
                  </a:lnTo>
                  <a:lnTo>
                    <a:pt x="943158" y="868709"/>
                  </a:lnTo>
                  <a:lnTo>
                    <a:pt x="938964" y="865502"/>
                  </a:lnTo>
                  <a:lnTo>
                    <a:pt x="943158" y="873593"/>
                  </a:lnTo>
                  <a:lnTo>
                    <a:pt x="943158" y="880254"/>
                  </a:lnTo>
                  <a:lnTo>
                    <a:pt x="945230" y="886668"/>
                  </a:lnTo>
                  <a:lnTo>
                    <a:pt x="938964" y="889925"/>
                  </a:lnTo>
                  <a:lnTo>
                    <a:pt x="934819" y="889925"/>
                  </a:lnTo>
                  <a:lnTo>
                    <a:pt x="924458" y="899793"/>
                  </a:lnTo>
                  <a:lnTo>
                    <a:pt x="907830" y="906257"/>
                  </a:lnTo>
                  <a:lnTo>
                    <a:pt x="903685" y="904628"/>
                  </a:lnTo>
                  <a:lnTo>
                    <a:pt x="897419" y="911092"/>
                  </a:lnTo>
                  <a:lnTo>
                    <a:pt x="891202" y="911092"/>
                  </a:lnTo>
                  <a:lnTo>
                    <a:pt x="897419" y="906158"/>
                  </a:lnTo>
                  <a:lnTo>
                    <a:pt x="893275" y="902902"/>
                  </a:lnTo>
                  <a:lnTo>
                    <a:pt x="889130" y="904530"/>
                  </a:lnTo>
                  <a:lnTo>
                    <a:pt x="887058" y="902902"/>
                  </a:lnTo>
                  <a:lnTo>
                    <a:pt x="880841" y="906158"/>
                  </a:lnTo>
                  <a:lnTo>
                    <a:pt x="884985" y="909365"/>
                  </a:lnTo>
                  <a:lnTo>
                    <a:pt x="876696" y="910993"/>
                  </a:lnTo>
                  <a:lnTo>
                    <a:pt x="872502" y="909365"/>
                  </a:lnTo>
                  <a:lnTo>
                    <a:pt x="872502" y="917457"/>
                  </a:lnTo>
                  <a:lnTo>
                    <a:pt x="866285" y="919036"/>
                  </a:lnTo>
                  <a:lnTo>
                    <a:pt x="862141" y="917457"/>
                  </a:lnTo>
                  <a:lnTo>
                    <a:pt x="855924" y="923920"/>
                  </a:lnTo>
                  <a:lnTo>
                    <a:pt x="860069" y="928854"/>
                  </a:lnTo>
                  <a:lnTo>
                    <a:pt x="853802" y="933788"/>
                  </a:lnTo>
                  <a:lnTo>
                    <a:pt x="847585" y="935417"/>
                  </a:lnTo>
                  <a:lnTo>
                    <a:pt x="849658" y="946716"/>
                  </a:lnTo>
                  <a:lnTo>
                    <a:pt x="845513" y="953179"/>
                  </a:lnTo>
                  <a:lnTo>
                    <a:pt x="843441" y="963048"/>
                  </a:lnTo>
                  <a:lnTo>
                    <a:pt x="839296" y="969462"/>
                  </a:lnTo>
                  <a:lnTo>
                    <a:pt x="841368" y="974396"/>
                  </a:lnTo>
                  <a:lnTo>
                    <a:pt x="841368" y="987274"/>
                  </a:lnTo>
                  <a:lnTo>
                    <a:pt x="843441" y="992208"/>
                  </a:lnTo>
                  <a:lnTo>
                    <a:pt x="839296" y="998671"/>
                  </a:lnTo>
                  <a:lnTo>
                    <a:pt x="837224" y="1008539"/>
                  </a:lnTo>
                  <a:lnTo>
                    <a:pt x="833079" y="1006911"/>
                  </a:lnTo>
                  <a:lnTo>
                    <a:pt x="830958" y="1003704"/>
                  </a:lnTo>
                  <a:lnTo>
                    <a:pt x="824741" y="1002076"/>
                  </a:lnTo>
                  <a:lnTo>
                    <a:pt x="818524" y="998868"/>
                  </a:lnTo>
                  <a:lnTo>
                    <a:pt x="806041" y="995612"/>
                  </a:lnTo>
                  <a:lnTo>
                    <a:pt x="799824" y="990678"/>
                  </a:lnTo>
                  <a:lnTo>
                    <a:pt x="795679" y="989050"/>
                  </a:lnTo>
                  <a:lnTo>
                    <a:pt x="791535" y="989050"/>
                  </a:lnTo>
                  <a:lnTo>
                    <a:pt x="787341" y="987421"/>
                  </a:lnTo>
                  <a:lnTo>
                    <a:pt x="785268" y="985843"/>
                  </a:lnTo>
                  <a:lnTo>
                    <a:pt x="782900" y="983869"/>
                  </a:lnTo>
                  <a:lnTo>
                    <a:pt x="782900" y="975777"/>
                  </a:lnTo>
                  <a:lnTo>
                    <a:pt x="776683" y="956436"/>
                  </a:lnTo>
                  <a:lnTo>
                    <a:pt x="774611" y="954758"/>
                  </a:lnTo>
                  <a:lnTo>
                    <a:pt x="774611" y="953179"/>
                  </a:lnTo>
                  <a:lnTo>
                    <a:pt x="776683" y="948245"/>
                  </a:lnTo>
                  <a:lnTo>
                    <a:pt x="776683" y="941782"/>
                  </a:lnTo>
                  <a:lnTo>
                    <a:pt x="770466" y="936848"/>
                  </a:lnTo>
                  <a:lnTo>
                    <a:pt x="766273" y="931913"/>
                  </a:lnTo>
                  <a:lnTo>
                    <a:pt x="766273" y="925450"/>
                  </a:lnTo>
                  <a:lnTo>
                    <a:pt x="760056" y="922243"/>
                  </a:lnTo>
                  <a:lnTo>
                    <a:pt x="757983" y="918986"/>
                  </a:lnTo>
                  <a:lnTo>
                    <a:pt x="755911" y="917408"/>
                  </a:lnTo>
                  <a:lnTo>
                    <a:pt x="751766" y="906109"/>
                  </a:lnTo>
                  <a:lnTo>
                    <a:pt x="749694" y="901175"/>
                  </a:lnTo>
                  <a:lnTo>
                    <a:pt x="745500" y="899596"/>
                  </a:lnTo>
                  <a:lnTo>
                    <a:pt x="745500" y="893132"/>
                  </a:lnTo>
                  <a:lnTo>
                    <a:pt x="743428" y="888198"/>
                  </a:lnTo>
                  <a:lnTo>
                    <a:pt x="741356" y="884942"/>
                  </a:lnTo>
                  <a:lnTo>
                    <a:pt x="739283" y="878478"/>
                  </a:lnTo>
                  <a:lnTo>
                    <a:pt x="733067" y="872015"/>
                  </a:lnTo>
                  <a:lnTo>
                    <a:pt x="726800" y="865551"/>
                  </a:lnTo>
                  <a:lnTo>
                    <a:pt x="722656" y="862344"/>
                  </a:lnTo>
                  <a:lnTo>
                    <a:pt x="718511" y="859087"/>
                  </a:lnTo>
                  <a:lnTo>
                    <a:pt x="714366" y="860715"/>
                  </a:lnTo>
                  <a:lnTo>
                    <a:pt x="712294" y="859087"/>
                  </a:lnTo>
                  <a:lnTo>
                    <a:pt x="710222" y="857459"/>
                  </a:lnTo>
                  <a:lnTo>
                    <a:pt x="689450" y="857459"/>
                  </a:lnTo>
                  <a:lnTo>
                    <a:pt x="687377" y="860715"/>
                  </a:lnTo>
                  <a:lnTo>
                    <a:pt x="685305" y="860715"/>
                  </a:lnTo>
                  <a:lnTo>
                    <a:pt x="681111" y="859087"/>
                  </a:lnTo>
                  <a:lnTo>
                    <a:pt x="676967" y="860715"/>
                  </a:lnTo>
                  <a:lnTo>
                    <a:pt x="674894" y="863923"/>
                  </a:lnTo>
                  <a:lnTo>
                    <a:pt x="668677" y="872015"/>
                  </a:lnTo>
                  <a:lnTo>
                    <a:pt x="666605" y="875221"/>
                  </a:lnTo>
                  <a:lnTo>
                    <a:pt x="666605" y="876899"/>
                  </a:lnTo>
                  <a:lnTo>
                    <a:pt x="664483" y="880254"/>
                  </a:lnTo>
                  <a:lnTo>
                    <a:pt x="662362" y="881883"/>
                  </a:lnTo>
                  <a:lnTo>
                    <a:pt x="656145" y="885090"/>
                  </a:lnTo>
                  <a:lnTo>
                    <a:pt x="656145" y="886668"/>
                  </a:lnTo>
                  <a:lnTo>
                    <a:pt x="652000" y="888346"/>
                  </a:lnTo>
                  <a:lnTo>
                    <a:pt x="649928" y="886668"/>
                  </a:lnTo>
                  <a:lnTo>
                    <a:pt x="647856" y="885090"/>
                  </a:lnTo>
                  <a:lnTo>
                    <a:pt x="639517" y="881883"/>
                  </a:lnTo>
                  <a:lnTo>
                    <a:pt x="633300" y="880254"/>
                  </a:lnTo>
                  <a:lnTo>
                    <a:pt x="633300" y="878626"/>
                  </a:lnTo>
                  <a:lnTo>
                    <a:pt x="625011" y="875320"/>
                  </a:lnTo>
                  <a:lnTo>
                    <a:pt x="620866" y="875320"/>
                  </a:lnTo>
                  <a:lnTo>
                    <a:pt x="618745" y="872113"/>
                  </a:lnTo>
                  <a:lnTo>
                    <a:pt x="618745" y="870534"/>
                  </a:lnTo>
                  <a:lnTo>
                    <a:pt x="616673" y="868857"/>
                  </a:lnTo>
                  <a:lnTo>
                    <a:pt x="614600" y="867278"/>
                  </a:lnTo>
                  <a:lnTo>
                    <a:pt x="612528" y="867278"/>
                  </a:lnTo>
                  <a:lnTo>
                    <a:pt x="608383" y="865649"/>
                  </a:lnTo>
                  <a:lnTo>
                    <a:pt x="606311" y="865649"/>
                  </a:lnTo>
                  <a:lnTo>
                    <a:pt x="606311" y="859186"/>
                  </a:lnTo>
                  <a:lnTo>
                    <a:pt x="600094" y="854252"/>
                  </a:lnTo>
                  <a:lnTo>
                    <a:pt x="593828" y="847788"/>
                  </a:lnTo>
                  <a:lnTo>
                    <a:pt x="593828" y="844532"/>
                  </a:lnTo>
                  <a:lnTo>
                    <a:pt x="597973" y="844532"/>
                  </a:lnTo>
                  <a:lnTo>
                    <a:pt x="600094" y="842953"/>
                  </a:lnTo>
                  <a:lnTo>
                    <a:pt x="600094" y="838019"/>
                  </a:lnTo>
                  <a:lnTo>
                    <a:pt x="595900" y="834763"/>
                  </a:lnTo>
                  <a:lnTo>
                    <a:pt x="593828" y="833134"/>
                  </a:lnTo>
                  <a:lnTo>
                    <a:pt x="591756" y="831555"/>
                  </a:lnTo>
                  <a:lnTo>
                    <a:pt x="589684" y="829927"/>
                  </a:lnTo>
                  <a:lnTo>
                    <a:pt x="589684" y="823463"/>
                  </a:lnTo>
                  <a:lnTo>
                    <a:pt x="585539" y="818529"/>
                  </a:lnTo>
                  <a:lnTo>
                    <a:pt x="581394" y="815273"/>
                  </a:lnTo>
                  <a:lnTo>
                    <a:pt x="577200" y="813694"/>
                  </a:lnTo>
                  <a:lnTo>
                    <a:pt x="579322" y="812016"/>
                  </a:lnTo>
                  <a:lnTo>
                    <a:pt x="579322" y="808810"/>
                  </a:lnTo>
                  <a:lnTo>
                    <a:pt x="573204" y="806244"/>
                  </a:lnTo>
                  <a:lnTo>
                    <a:pt x="569059" y="804615"/>
                  </a:lnTo>
                  <a:lnTo>
                    <a:pt x="569059" y="801310"/>
                  </a:lnTo>
                  <a:lnTo>
                    <a:pt x="566987" y="796376"/>
                  </a:lnTo>
                  <a:lnTo>
                    <a:pt x="562842" y="796376"/>
                  </a:lnTo>
                  <a:lnTo>
                    <a:pt x="560770" y="793119"/>
                  </a:lnTo>
                  <a:lnTo>
                    <a:pt x="558698" y="789912"/>
                  </a:lnTo>
                  <a:lnTo>
                    <a:pt x="552431" y="783399"/>
                  </a:lnTo>
                  <a:lnTo>
                    <a:pt x="546215" y="780192"/>
                  </a:lnTo>
                  <a:lnTo>
                    <a:pt x="488042" y="778613"/>
                  </a:lnTo>
                  <a:lnTo>
                    <a:pt x="488042" y="789912"/>
                  </a:lnTo>
                  <a:lnTo>
                    <a:pt x="384181" y="786508"/>
                  </a:lnTo>
                  <a:lnTo>
                    <a:pt x="261669" y="738055"/>
                  </a:lnTo>
                  <a:lnTo>
                    <a:pt x="263741" y="736427"/>
                  </a:lnTo>
                  <a:lnTo>
                    <a:pt x="261669" y="733220"/>
                  </a:lnTo>
                  <a:lnTo>
                    <a:pt x="174435" y="734848"/>
                  </a:lnTo>
                  <a:lnTo>
                    <a:pt x="174435" y="729914"/>
                  </a:lnTo>
                  <a:lnTo>
                    <a:pt x="176507" y="721872"/>
                  </a:lnTo>
                  <a:lnTo>
                    <a:pt x="174435" y="712004"/>
                  </a:lnTo>
                  <a:lnTo>
                    <a:pt x="161952" y="695869"/>
                  </a:lnTo>
                  <a:lnTo>
                    <a:pt x="153663" y="689406"/>
                  </a:lnTo>
                  <a:lnTo>
                    <a:pt x="149469" y="689406"/>
                  </a:lnTo>
                  <a:lnTo>
                    <a:pt x="145324" y="690985"/>
                  </a:lnTo>
                  <a:lnTo>
                    <a:pt x="143252" y="689406"/>
                  </a:lnTo>
                  <a:lnTo>
                    <a:pt x="143252" y="681314"/>
                  </a:lnTo>
                  <a:lnTo>
                    <a:pt x="132890" y="678107"/>
                  </a:lnTo>
                  <a:lnTo>
                    <a:pt x="128696" y="678107"/>
                  </a:lnTo>
                  <a:lnTo>
                    <a:pt x="118335" y="673173"/>
                  </a:lnTo>
                  <a:lnTo>
                    <a:pt x="118335" y="668239"/>
                  </a:lnTo>
                  <a:lnTo>
                    <a:pt x="114190" y="663305"/>
                  </a:lnTo>
                  <a:lnTo>
                    <a:pt x="99388" y="663305"/>
                  </a:lnTo>
                  <a:lnTo>
                    <a:pt x="93171" y="660098"/>
                  </a:lnTo>
                  <a:lnTo>
                    <a:pt x="84833" y="658469"/>
                  </a:lnTo>
                  <a:lnTo>
                    <a:pt x="72399" y="658469"/>
                  </a:lnTo>
                  <a:lnTo>
                    <a:pt x="70327" y="655213"/>
                  </a:lnTo>
                  <a:lnTo>
                    <a:pt x="68255" y="650279"/>
                  </a:lnTo>
                  <a:lnTo>
                    <a:pt x="68255" y="650279"/>
                  </a:lnTo>
                  <a:lnTo>
                    <a:pt x="70327" y="645345"/>
                  </a:lnTo>
                  <a:lnTo>
                    <a:pt x="74471" y="635477"/>
                  </a:lnTo>
                  <a:lnTo>
                    <a:pt x="72399" y="629013"/>
                  </a:lnTo>
                  <a:lnTo>
                    <a:pt x="66380" y="623684"/>
                  </a:lnTo>
                  <a:lnTo>
                    <a:pt x="64307" y="622056"/>
                  </a:lnTo>
                  <a:lnTo>
                    <a:pt x="66380" y="620428"/>
                  </a:lnTo>
                  <a:lnTo>
                    <a:pt x="64307" y="618849"/>
                  </a:lnTo>
                  <a:lnTo>
                    <a:pt x="58090" y="612386"/>
                  </a:lnTo>
                  <a:lnTo>
                    <a:pt x="49801" y="597830"/>
                  </a:lnTo>
                  <a:lnTo>
                    <a:pt x="49801" y="586531"/>
                  </a:lnTo>
                  <a:lnTo>
                    <a:pt x="43535" y="583324"/>
                  </a:lnTo>
                  <a:lnTo>
                    <a:pt x="41463" y="580067"/>
                  </a:lnTo>
                  <a:lnTo>
                    <a:pt x="43535" y="573604"/>
                  </a:lnTo>
                  <a:lnTo>
                    <a:pt x="41463" y="567140"/>
                  </a:lnTo>
                  <a:lnTo>
                    <a:pt x="41463" y="565512"/>
                  </a:lnTo>
                  <a:lnTo>
                    <a:pt x="43535" y="565512"/>
                  </a:lnTo>
                  <a:lnTo>
                    <a:pt x="49801" y="560578"/>
                  </a:lnTo>
                  <a:lnTo>
                    <a:pt x="49801" y="555644"/>
                  </a:lnTo>
                  <a:lnTo>
                    <a:pt x="45657" y="552388"/>
                  </a:lnTo>
                  <a:lnTo>
                    <a:pt x="39390" y="549181"/>
                  </a:lnTo>
                  <a:lnTo>
                    <a:pt x="37318" y="544247"/>
                  </a:lnTo>
                  <a:lnTo>
                    <a:pt x="35246" y="542618"/>
                  </a:lnTo>
                  <a:lnTo>
                    <a:pt x="33173" y="537684"/>
                  </a:lnTo>
                  <a:lnTo>
                    <a:pt x="35246" y="531221"/>
                  </a:lnTo>
                  <a:lnTo>
                    <a:pt x="35246" y="527964"/>
                  </a:lnTo>
                  <a:lnTo>
                    <a:pt x="37318" y="526385"/>
                  </a:lnTo>
                  <a:lnTo>
                    <a:pt x="37318" y="521451"/>
                  </a:lnTo>
                  <a:lnTo>
                    <a:pt x="39390" y="518244"/>
                  </a:lnTo>
                  <a:lnTo>
                    <a:pt x="43535" y="519872"/>
                  </a:lnTo>
                  <a:lnTo>
                    <a:pt x="45657" y="526336"/>
                  </a:lnTo>
                  <a:lnTo>
                    <a:pt x="51874" y="527915"/>
                  </a:lnTo>
                  <a:lnTo>
                    <a:pt x="49801" y="526336"/>
                  </a:lnTo>
                  <a:lnTo>
                    <a:pt x="47729" y="521402"/>
                  </a:lnTo>
                  <a:lnTo>
                    <a:pt x="45657" y="513310"/>
                  </a:lnTo>
                  <a:lnTo>
                    <a:pt x="43535" y="511731"/>
                  </a:lnTo>
                  <a:lnTo>
                    <a:pt x="43535" y="506797"/>
                  </a:lnTo>
                  <a:lnTo>
                    <a:pt x="47729" y="506797"/>
                  </a:lnTo>
                  <a:lnTo>
                    <a:pt x="49801" y="508475"/>
                  </a:lnTo>
                  <a:lnTo>
                    <a:pt x="56018" y="506797"/>
                  </a:lnTo>
                  <a:lnTo>
                    <a:pt x="62235" y="506797"/>
                  </a:lnTo>
                  <a:lnTo>
                    <a:pt x="53946" y="505218"/>
                  </a:lnTo>
                  <a:lnTo>
                    <a:pt x="51874" y="503590"/>
                  </a:lnTo>
                  <a:lnTo>
                    <a:pt x="45657" y="503590"/>
                  </a:lnTo>
                  <a:lnTo>
                    <a:pt x="45657" y="500383"/>
                  </a:lnTo>
                  <a:lnTo>
                    <a:pt x="43535" y="501962"/>
                  </a:lnTo>
                  <a:lnTo>
                    <a:pt x="39390" y="498755"/>
                  </a:lnTo>
                  <a:lnTo>
                    <a:pt x="39390" y="513261"/>
                  </a:lnTo>
                  <a:lnTo>
                    <a:pt x="37318" y="511682"/>
                  </a:lnTo>
                  <a:lnTo>
                    <a:pt x="33173" y="511682"/>
                  </a:lnTo>
                  <a:lnTo>
                    <a:pt x="33173" y="508475"/>
                  </a:lnTo>
                  <a:lnTo>
                    <a:pt x="24884" y="501962"/>
                  </a:lnTo>
                  <a:lnTo>
                    <a:pt x="22763" y="498755"/>
                  </a:lnTo>
                  <a:lnTo>
                    <a:pt x="24884" y="493821"/>
                  </a:lnTo>
                  <a:lnTo>
                    <a:pt x="22763" y="487357"/>
                  </a:lnTo>
                  <a:lnTo>
                    <a:pt x="8257" y="468411"/>
                  </a:lnTo>
                  <a:lnTo>
                    <a:pt x="6184" y="465154"/>
                  </a:lnTo>
                  <a:lnTo>
                    <a:pt x="8257" y="460220"/>
                  </a:lnTo>
                  <a:lnTo>
                    <a:pt x="10329" y="457013"/>
                  </a:lnTo>
                  <a:lnTo>
                    <a:pt x="10329" y="450549"/>
                  </a:lnTo>
                  <a:lnTo>
                    <a:pt x="8257" y="444085"/>
                  </a:lnTo>
                  <a:lnTo>
                    <a:pt x="8257" y="442457"/>
                  </a:lnTo>
                  <a:lnTo>
                    <a:pt x="12401" y="435994"/>
                  </a:lnTo>
                  <a:lnTo>
                    <a:pt x="12401" y="416652"/>
                  </a:lnTo>
                  <a:lnTo>
                    <a:pt x="6184" y="405353"/>
                  </a:lnTo>
                  <a:lnTo>
                    <a:pt x="-82" y="398840"/>
                  </a:lnTo>
                  <a:lnTo>
                    <a:pt x="-82" y="390798"/>
                  </a:lnTo>
                  <a:lnTo>
                    <a:pt x="4112" y="384334"/>
                  </a:lnTo>
                  <a:lnTo>
                    <a:pt x="14474" y="377871"/>
                  </a:lnTo>
                  <a:lnTo>
                    <a:pt x="18618" y="369779"/>
                  </a:lnTo>
                  <a:lnTo>
                    <a:pt x="16546" y="368151"/>
                  </a:lnTo>
                  <a:lnTo>
                    <a:pt x="14474" y="364944"/>
                  </a:lnTo>
                  <a:lnTo>
                    <a:pt x="18618" y="360010"/>
                  </a:lnTo>
                  <a:lnTo>
                    <a:pt x="22763" y="353546"/>
                  </a:lnTo>
                  <a:lnTo>
                    <a:pt x="24884" y="340619"/>
                  </a:lnTo>
                  <a:lnTo>
                    <a:pt x="22763" y="334155"/>
                  </a:lnTo>
                  <a:lnTo>
                    <a:pt x="22763" y="329221"/>
                  </a:lnTo>
                  <a:lnTo>
                    <a:pt x="24884" y="324287"/>
                  </a:lnTo>
                  <a:lnTo>
                    <a:pt x="20690" y="317774"/>
                  </a:lnTo>
                  <a:lnTo>
                    <a:pt x="20690" y="309732"/>
                  </a:lnTo>
                  <a:lnTo>
                    <a:pt x="24884" y="298433"/>
                  </a:lnTo>
                  <a:lnTo>
                    <a:pt x="22763" y="287085"/>
                  </a:lnTo>
                  <a:lnTo>
                    <a:pt x="26957" y="280670"/>
                  </a:lnTo>
                  <a:lnTo>
                    <a:pt x="35246" y="270802"/>
                  </a:lnTo>
                  <a:lnTo>
                    <a:pt x="37318" y="264339"/>
                  </a:lnTo>
                  <a:lnTo>
                    <a:pt x="41463" y="261132"/>
                  </a:lnTo>
                  <a:lnTo>
                    <a:pt x="45657" y="251263"/>
                  </a:lnTo>
                  <a:lnTo>
                    <a:pt x="51874" y="244849"/>
                  </a:lnTo>
                  <a:lnTo>
                    <a:pt x="56018" y="236708"/>
                  </a:lnTo>
                  <a:lnTo>
                    <a:pt x="60163" y="218946"/>
                  </a:lnTo>
                  <a:lnTo>
                    <a:pt x="68501" y="204440"/>
                  </a:lnTo>
                  <a:lnTo>
                    <a:pt x="70574" y="191512"/>
                  </a:lnTo>
                  <a:lnTo>
                    <a:pt x="78863" y="172122"/>
                  </a:lnTo>
                  <a:lnTo>
                    <a:pt x="83007" y="165658"/>
                  </a:lnTo>
                  <a:lnTo>
                    <a:pt x="89274" y="157616"/>
                  </a:lnTo>
                  <a:lnTo>
                    <a:pt x="87152" y="152682"/>
                  </a:lnTo>
                  <a:lnTo>
                    <a:pt x="87152" y="147748"/>
                  </a:lnTo>
                  <a:lnTo>
                    <a:pt x="95490" y="139656"/>
                  </a:lnTo>
                  <a:lnTo>
                    <a:pt x="95490" y="134722"/>
                  </a:lnTo>
                  <a:lnTo>
                    <a:pt x="97563" y="133044"/>
                  </a:lnTo>
                  <a:lnTo>
                    <a:pt x="101707" y="136301"/>
                  </a:lnTo>
                  <a:lnTo>
                    <a:pt x="114190" y="136301"/>
                  </a:lnTo>
                  <a:lnTo>
                    <a:pt x="118335" y="139508"/>
                  </a:lnTo>
                  <a:lnTo>
                    <a:pt x="122480" y="137929"/>
                  </a:lnTo>
                  <a:lnTo>
                    <a:pt x="130818" y="142863"/>
                  </a:lnTo>
                  <a:lnTo>
                    <a:pt x="132890" y="149326"/>
                  </a:lnTo>
                  <a:lnTo>
                    <a:pt x="132890" y="142123"/>
                  </a:lnTo>
                  <a:lnTo>
                    <a:pt x="128696" y="138916"/>
                  </a:lnTo>
                  <a:lnTo>
                    <a:pt x="120407" y="137287"/>
                  </a:lnTo>
                  <a:lnTo>
                    <a:pt x="114190" y="132353"/>
                  </a:lnTo>
                  <a:lnTo>
                    <a:pt x="105852" y="132353"/>
                  </a:lnTo>
                  <a:lnTo>
                    <a:pt x="95490" y="129146"/>
                  </a:lnTo>
                  <a:lnTo>
                    <a:pt x="93418" y="125890"/>
                  </a:lnTo>
                  <a:lnTo>
                    <a:pt x="97563" y="124261"/>
                  </a:lnTo>
                  <a:lnTo>
                    <a:pt x="99635" y="124261"/>
                  </a:lnTo>
                  <a:lnTo>
                    <a:pt x="103780" y="121054"/>
                  </a:lnTo>
                  <a:lnTo>
                    <a:pt x="103780" y="114591"/>
                  </a:lnTo>
                  <a:lnTo>
                    <a:pt x="105852" y="109657"/>
                  </a:lnTo>
                  <a:lnTo>
                    <a:pt x="99635" y="108078"/>
                  </a:lnTo>
                  <a:lnTo>
                    <a:pt x="97563" y="104821"/>
                  </a:lnTo>
                  <a:lnTo>
                    <a:pt x="99635" y="99887"/>
                  </a:lnTo>
                  <a:lnTo>
                    <a:pt x="103780" y="99887"/>
                  </a:lnTo>
                  <a:lnTo>
                    <a:pt x="105852" y="96680"/>
                  </a:lnTo>
                  <a:lnTo>
                    <a:pt x="105852" y="95052"/>
                  </a:lnTo>
                  <a:lnTo>
                    <a:pt x="99635" y="93424"/>
                  </a:lnTo>
                  <a:lnTo>
                    <a:pt x="99635" y="88490"/>
                  </a:lnTo>
                  <a:lnTo>
                    <a:pt x="101707" y="82026"/>
                  </a:lnTo>
                  <a:lnTo>
                    <a:pt x="99635" y="73934"/>
                  </a:lnTo>
                  <a:lnTo>
                    <a:pt x="103780" y="57800"/>
                  </a:lnTo>
                  <a:lnTo>
                    <a:pt x="99635" y="46501"/>
                  </a:lnTo>
                  <a:lnTo>
                    <a:pt x="99635" y="40037"/>
                  </a:lnTo>
                  <a:lnTo>
                    <a:pt x="105852" y="28739"/>
                  </a:lnTo>
                  <a:lnTo>
                    <a:pt x="105852" y="22275"/>
                  </a:lnTo>
                  <a:lnTo>
                    <a:pt x="107924" y="22275"/>
                  </a:lnTo>
                  <a:lnTo>
                    <a:pt x="124552" y="35153"/>
                  </a:lnTo>
                  <a:lnTo>
                    <a:pt x="134963" y="40087"/>
                  </a:lnTo>
                  <a:lnTo>
                    <a:pt x="149469" y="40087"/>
                  </a:lnTo>
                  <a:lnTo>
                    <a:pt x="155735" y="43343"/>
                  </a:lnTo>
                  <a:lnTo>
                    <a:pt x="159880" y="48277"/>
                  </a:lnTo>
                  <a:lnTo>
                    <a:pt x="166146" y="48277"/>
                  </a:lnTo>
                  <a:lnTo>
                    <a:pt x="168218" y="51534"/>
                  </a:lnTo>
                  <a:lnTo>
                    <a:pt x="166146" y="54790"/>
                  </a:lnTo>
                  <a:lnTo>
                    <a:pt x="157857" y="57997"/>
                  </a:lnTo>
                  <a:lnTo>
                    <a:pt x="151590" y="62931"/>
                  </a:lnTo>
                  <a:lnTo>
                    <a:pt x="151590" y="66139"/>
                  </a:lnTo>
                  <a:lnTo>
                    <a:pt x="157857" y="66139"/>
                  </a:lnTo>
                  <a:lnTo>
                    <a:pt x="159929" y="62882"/>
                  </a:lnTo>
                  <a:lnTo>
                    <a:pt x="168218" y="57948"/>
                  </a:lnTo>
                  <a:lnTo>
                    <a:pt x="170290" y="56320"/>
                  </a:lnTo>
                  <a:lnTo>
                    <a:pt x="172363" y="61254"/>
                  </a:lnTo>
                  <a:lnTo>
                    <a:pt x="166146" y="66139"/>
                  </a:lnTo>
                  <a:lnTo>
                    <a:pt x="162001" y="72602"/>
                  </a:lnTo>
                  <a:lnTo>
                    <a:pt x="162001" y="80941"/>
                  </a:lnTo>
                  <a:lnTo>
                    <a:pt x="159929" y="82569"/>
                  </a:lnTo>
                  <a:lnTo>
                    <a:pt x="157857" y="77635"/>
                  </a:lnTo>
                  <a:lnTo>
                    <a:pt x="153712" y="82569"/>
                  </a:lnTo>
                  <a:lnTo>
                    <a:pt x="151590" y="79362"/>
                  </a:lnTo>
                  <a:lnTo>
                    <a:pt x="147446" y="84296"/>
                  </a:lnTo>
                  <a:lnTo>
                    <a:pt x="149518" y="87503"/>
                  </a:lnTo>
                  <a:lnTo>
                    <a:pt x="155784" y="90759"/>
                  </a:lnTo>
                  <a:lnTo>
                    <a:pt x="164073" y="85825"/>
                  </a:lnTo>
                  <a:lnTo>
                    <a:pt x="166146" y="80891"/>
                  </a:lnTo>
                  <a:lnTo>
                    <a:pt x="170290" y="77684"/>
                  </a:lnTo>
                  <a:lnTo>
                    <a:pt x="170290" y="69592"/>
                  </a:lnTo>
                  <a:lnTo>
                    <a:pt x="174484" y="66385"/>
                  </a:lnTo>
                  <a:lnTo>
                    <a:pt x="176557" y="59872"/>
                  </a:lnTo>
                  <a:lnTo>
                    <a:pt x="182773" y="56665"/>
                  </a:lnTo>
                  <a:lnTo>
                    <a:pt x="186918" y="50202"/>
                  </a:lnTo>
                  <a:lnTo>
                    <a:pt x="184846" y="45268"/>
                  </a:lnTo>
                  <a:lnTo>
                    <a:pt x="184846" y="42011"/>
                  </a:lnTo>
                  <a:lnTo>
                    <a:pt x="180701" y="40432"/>
                  </a:lnTo>
                  <a:lnTo>
                    <a:pt x="184846" y="35498"/>
                  </a:lnTo>
                  <a:lnTo>
                    <a:pt x="188990" y="32291"/>
                  </a:lnTo>
                  <a:lnTo>
                    <a:pt x="182773" y="29084"/>
                  </a:lnTo>
                  <a:lnTo>
                    <a:pt x="182773" y="24150"/>
                  </a:lnTo>
                  <a:lnTo>
                    <a:pt x="188990" y="20943"/>
                  </a:lnTo>
                  <a:lnTo>
                    <a:pt x="188990" y="16009"/>
                  </a:lnTo>
                  <a:lnTo>
                    <a:pt x="180701" y="11075"/>
                  </a:lnTo>
                  <a:close/>
                  <a:moveTo>
                    <a:pt x="1869325" y="441125"/>
                  </a:moveTo>
                  <a:lnTo>
                    <a:pt x="1871398" y="442704"/>
                  </a:lnTo>
                  <a:lnTo>
                    <a:pt x="1875592" y="442704"/>
                  </a:lnTo>
                  <a:lnTo>
                    <a:pt x="1877614" y="439497"/>
                  </a:lnTo>
                  <a:lnTo>
                    <a:pt x="1883881" y="439497"/>
                  </a:lnTo>
                  <a:lnTo>
                    <a:pt x="1879736" y="437869"/>
                  </a:lnTo>
                  <a:lnTo>
                    <a:pt x="1873322" y="437869"/>
                  </a:lnTo>
                  <a:lnTo>
                    <a:pt x="1871250" y="439497"/>
                  </a:lnTo>
                  <a:close/>
                  <a:moveTo>
                    <a:pt x="1761319" y="465302"/>
                  </a:moveTo>
                  <a:lnTo>
                    <a:pt x="1757175" y="468558"/>
                  </a:lnTo>
                  <a:lnTo>
                    <a:pt x="1763391" y="466930"/>
                  </a:lnTo>
                  <a:lnTo>
                    <a:pt x="1765464" y="465302"/>
                  </a:lnTo>
                  <a:lnTo>
                    <a:pt x="1773803" y="465302"/>
                  </a:lnTo>
                  <a:lnTo>
                    <a:pt x="1780019" y="462095"/>
                  </a:lnTo>
                  <a:lnTo>
                    <a:pt x="1792453" y="462095"/>
                  </a:lnTo>
                  <a:lnTo>
                    <a:pt x="1796647" y="460467"/>
                  </a:lnTo>
                  <a:lnTo>
                    <a:pt x="1807008" y="460467"/>
                  </a:lnTo>
                  <a:lnTo>
                    <a:pt x="1811153" y="458888"/>
                  </a:lnTo>
                  <a:lnTo>
                    <a:pt x="1813275" y="458888"/>
                  </a:lnTo>
                  <a:lnTo>
                    <a:pt x="1823636" y="455631"/>
                  </a:lnTo>
                  <a:lnTo>
                    <a:pt x="1827781" y="452424"/>
                  </a:lnTo>
                  <a:lnTo>
                    <a:pt x="1821564" y="454003"/>
                  </a:lnTo>
                  <a:lnTo>
                    <a:pt x="1817370" y="454003"/>
                  </a:lnTo>
                  <a:lnTo>
                    <a:pt x="1811153" y="455631"/>
                  </a:lnTo>
                  <a:lnTo>
                    <a:pt x="1813275" y="452424"/>
                  </a:lnTo>
                  <a:lnTo>
                    <a:pt x="1815347" y="449168"/>
                  </a:lnTo>
                  <a:lnTo>
                    <a:pt x="1815347" y="447539"/>
                  </a:lnTo>
                  <a:lnTo>
                    <a:pt x="1804936" y="452473"/>
                  </a:lnTo>
                  <a:lnTo>
                    <a:pt x="1794575" y="454052"/>
                  </a:lnTo>
                  <a:lnTo>
                    <a:pt x="1784164" y="455681"/>
                  </a:lnTo>
                  <a:lnTo>
                    <a:pt x="1777947" y="454052"/>
                  </a:lnTo>
                  <a:lnTo>
                    <a:pt x="1767586" y="457309"/>
                  </a:lnTo>
                  <a:lnTo>
                    <a:pt x="1759247" y="458937"/>
                  </a:lnTo>
                  <a:lnTo>
                    <a:pt x="1755102" y="463871"/>
                  </a:lnTo>
                  <a:lnTo>
                    <a:pt x="1755102" y="465450"/>
                  </a:lnTo>
                  <a:close/>
                  <a:moveTo>
                    <a:pt x="178580" y="30663"/>
                  </a:moveTo>
                  <a:lnTo>
                    <a:pt x="172313" y="35597"/>
                  </a:lnTo>
                  <a:lnTo>
                    <a:pt x="172313" y="45465"/>
                  </a:lnTo>
                  <a:lnTo>
                    <a:pt x="176507" y="53507"/>
                  </a:lnTo>
                  <a:lnTo>
                    <a:pt x="178580" y="51928"/>
                  </a:lnTo>
                  <a:lnTo>
                    <a:pt x="174435" y="40629"/>
                  </a:lnTo>
                  <a:lnTo>
                    <a:pt x="176507" y="35695"/>
                  </a:lnTo>
                  <a:lnTo>
                    <a:pt x="180652" y="34117"/>
                  </a:lnTo>
                  <a:close/>
                  <a:moveTo>
                    <a:pt x="859871" y="935219"/>
                  </a:moveTo>
                  <a:lnTo>
                    <a:pt x="864016" y="931963"/>
                  </a:lnTo>
                  <a:lnTo>
                    <a:pt x="870233" y="925499"/>
                  </a:lnTo>
                  <a:lnTo>
                    <a:pt x="876499" y="919036"/>
                  </a:lnTo>
                  <a:lnTo>
                    <a:pt x="868160" y="923970"/>
                  </a:lnTo>
                  <a:close/>
                  <a:moveTo>
                    <a:pt x="851532" y="951354"/>
                  </a:moveTo>
                  <a:lnTo>
                    <a:pt x="855727" y="949726"/>
                  </a:lnTo>
                  <a:lnTo>
                    <a:pt x="857799" y="941683"/>
                  </a:lnTo>
                  <a:lnTo>
                    <a:pt x="857799" y="938426"/>
                  </a:lnTo>
                  <a:close/>
                  <a:moveTo>
                    <a:pt x="849460" y="993342"/>
                  </a:moveTo>
                  <a:lnTo>
                    <a:pt x="845316" y="982043"/>
                  </a:lnTo>
                  <a:lnTo>
                    <a:pt x="847388" y="969116"/>
                  </a:lnTo>
                  <a:lnTo>
                    <a:pt x="851532" y="952982"/>
                  </a:lnTo>
                  <a:lnTo>
                    <a:pt x="845316" y="967488"/>
                  </a:lnTo>
                  <a:lnTo>
                    <a:pt x="843243" y="98229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Graphic 2">
              <a:extLst>
                <a:ext uri="{FF2B5EF4-FFF2-40B4-BE49-F238E27FC236}">
                  <a16:creationId xmlns:a16="http://schemas.microsoft.com/office/drawing/2014/main" id="{3F03D9FA-7FBC-4693-8C9A-F04EB5F27125}"/>
                </a:ext>
              </a:extLst>
            </p:cNvPr>
            <p:cNvSpPr/>
            <p:nvPr/>
          </p:nvSpPr>
          <p:spPr>
            <a:xfrm>
              <a:off x="7520073" y="2751901"/>
              <a:ext cx="2011806" cy="1294263"/>
            </a:xfrm>
            <a:custGeom>
              <a:avLst/>
              <a:gdLst>
                <a:gd name="connsiteX0" fmla="*/ 264777 w 2214394"/>
                <a:gd name="connsiteY0" fmla="*/ 835897 h 1424653"/>
                <a:gd name="connsiteX1" fmla="*/ 258856 w 2214394"/>
                <a:gd name="connsiteY1" fmla="*/ 834318 h 1424653"/>
                <a:gd name="connsiteX2" fmla="*/ 270649 w 2214394"/>
                <a:gd name="connsiteY2" fmla="*/ 825240 h 1424653"/>
                <a:gd name="connsiteX3" fmla="*/ 268675 w 2214394"/>
                <a:gd name="connsiteY3" fmla="*/ 820602 h 1424653"/>
                <a:gd name="connsiteX4" fmla="*/ 252985 w 2214394"/>
                <a:gd name="connsiteY4" fmla="*/ 820602 h 1424653"/>
                <a:gd name="connsiteX5" fmla="*/ 247113 w 2214394"/>
                <a:gd name="connsiteY5" fmla="*/ 825240 h 1424653"/>
                <a:gd name="connsiteX6" fmla="*/ 235370 w 2214394"/>
                <a:gd name="connsiteY6" fmla="*/ 825240 h 1424653"/>
                <a:gd name="connsiteX7" fmla="*/ 233397 w 2214394"/>
                <a:gd name="connsiteY7" fmla="*/ 819072 h 1424653"/>
                <a:gd name="connsiteX8" fmla="*/ 223529 w 2214394"/>
                <a:gd name="connsiteY8" fmla="*/ 822131 h 1424653"/>
                <a:gd name="connsiteX9" fmla="*/ 205865 w 2214394"/>
                <a:gd name="connsiteY9" fmla="*/ 831309 h 1424653"/>
                <a:gd name="connsiteX10" fmla="*/ 201967 w 2214394"/>
                <a:gd name="connsiteY10" fmla="*/ 834318 h 1424653"/>
                <a:gd name="connsiteX11" fmla="*/ 199994 w 2214394"/>
                <a:gd name="connsiteY11" fmla="*/ 840486 h 1424653"/>
                <a:gd name="connsiteX12" fmla="*/ 194122 w 2214394"/>
                <a:gd name="connsiteY12" fmla="*/ 845025 h 1424653"/>
                <a:gd name="connsiteX13" fmla="*/ 180356 w 2214394"/>
                <a:gd name="connsiteY13" fmla="*/ 849614 h 1424653"/>
                <a:gd name="connsiteX14" fmla="*/ 180356 w 2214394"/>
                <a:gd name="connsiteY14" fmla="*/ 852673 h 1424653"/>
                <a:gd name="connsiteX15" fmla="*/ 174534 w 2214394"/>
                <a:gd name="connsiteY15" fmla="*/ 857212 h 1424653"/>
                <a:gd name="connsiteX16" fmla="*/ 164666 w 2214394"/>
                <a:gd name="connsiteY16" fmla="*/ 857212 h 1424653"/>
                <a:gd name="connsiteX17" fmla="*/ 158844 w 2214394"/>
                <a:gd name="connsiteY17" fmla="*/ 855683 h 1424653"/>
                <a:gd name="connsiteX18" fmla="*/ 158844 w 2214394"/>
                <a:gd name="connsiteY18" fmla="*/ 849614 h 1424653"/>
                <a:gd name="connsiteX19" fmla="*/ 152923 w 2214394"/>
                <a:gd name="connsiteY19" fmla="*/ 843496 h 1424653"/>
                <a:gd name="connsiteX20" fmla="*/ 152923 w 2214394"/>
                <a:gd name="connsiteY20" fmla="*/ 817592 h 1424653"/>
                <a:gd name="connsiteX21" fmla="*/ 150949 w 2214394"/>
                <a:gd name="connsiteY21" fmla="*/ 813003 h 1424653"/>
                <a:gd name="connsiteX22" fmla="*/ 143104 w 2214394"/>
                <a:gd name="connsiteY22" fmla="*/ 813003 h 1424653"/>
                <a:gd name="connsiteX23" fmla="*/ 141130 w 2214394"/>
                <a:gd name="connsiteY23" fmla="*/ 806885 h 1424653"/>
                <a:gd name="connsiteX24" fmla="*/ 143104 w 2214394"/>
                <a:gd name="connsiteY24" fmla="*/ 799287 h 1424653"/>
                <a:gd name="connsiteX25" fmla="*/ 143104 w 2214394"/>
                <a:gd name="connsiteY25" fmla="*/ 794698 h 1424653"/>
                <a:gd name="connsiteX26" fmla="*/ 135259 w 2214394"/>
                <a:gd name="connsiteY26" fmla="*/ 791639 h 1424653"/>
                <a:gd name="connsiteX27" fmla="*/ 129387 w 2214394"/>
                <a:gd name="connsiteY27" fmla="*/ 788629 h 1424653"/>
                <a:gd name="connsiteX28" fmla="*/ 121542 w 2214394"/>
                <a:gd name="connsiteY28" fmla="*/ 788629 h 1424653"/>
                <a:gd name="connsiteX29" fmla="*/ 119568 w 2214394"/>
                <a:gd name="connsiteY29" fmla="*/ 793168 h 1424653"/>
                <a:gd name="connsiteX30" fmla="*/ 117644 w 2214394"/>
                <a:gd name="connsiteY30" fmla="*/ 803876 h 1424653"/>
                <a:gd name="connsiteX31" fmla="*/ 111724 w 2214394"/>
                <a:gd name="connsiteY31" fmla="*/ 806885 h 1424653"/>
                <a:gd name="connsiteX32" fmla="*/ 107825 w 2214394"/>
                <a:gd name="connsiteY32" fmla="*/ 809944 h 1424653"/>
                <a:gd name="connsiteX33" fmla="*/ 109750 w 2214394"/>
                <a:gd name="connsiteY33" fmla="*/ 817592 h 1424653"/>
                <a:gd name="connsiteX34" fmla="*/ 105852 w 2214394"/>
                <a:gd name="connsiteY34" fmla="*/ 825240 h 1424653"/>
                <a:gd name="connsiteX35" fmla="*/ 98007 w 2214394"/>
                <a:gd name="connsiteY35" fmla="*/ 825240 h 1424653"/>
                <a:gd name="connsiteX36" fmla="*/ 98007 w 2214394"/>
                <a:gd name="connsiteY36" fmla="*/ 822131 h 1424653"/>
                <a:gd name="connsiteX37" fmla="*/ 94060 w 2214394"/>
                <a:gd name="connsiteY37" fmla="*/ 822131 h 1424653"/>
                <a:gd name="connsiteX38" fmla="*/ 90162 w 2214394"/>
                <a:gd name="connsiteY38" fmla="*/ 825240 h 1424653"/>
                <a:gd name="connsiteX39" fmla="*/ 84290 w 2214394"/>
                <a:gd name="connsiteY39" fmla="*/ 826720 h 1424653"/>
                <a:gd name="connsiteX40" fmla="*/ 82317 w 2214394"/>
                <a:gd name="connsiteY40" fmla="*/ 832838 h 1424653"/>
                <a:gd name="connsiteX41" fmla="*/ 86264 w 2214394"/>
                <a:gd name="connsiteY41" fmla="*/ 835897 h 1424653"/>
                <a:gd name="connsiteX42" fmla="*/ 86264 w 2214394"/>
                <a:gd name="connsiteY42" fmla="*/ 840486 h 1424653"/>
                <a:gd name="connsiteX43" fmla="*/ 72547 w 2214394"/>
                <a:gd name="connsiteY43" fmla="*/ 838956 h 1424653"/>
                <a:gd name="connsiteX44" fmla="*/ 68600 w 2214394"/>
                <a:gd name="connsiteY44" fmla="*/ 834318 h 1424653"/>
                <a:gd name="connsiteX45" fmla="*/ 66626 w 2214394"/>
                <a:gd name="connsiteY45" fmla="*/ 832838 h 1424653"/>
                <a:gd name="connsiteX46" fmla="*/ 62728 w 2214394"/>
                <a:gd name="connsiteY46" fmla="*/ 835897 h 1424653"/>
                <a:gd name="connsiteX47" fmla="*/ 58781 w 2214394"/>
                <a:gd name="connsiteY47" fmla="*/ 835897 h 1424653"/>
                <a:gd name="connsiteX48" fmla="*/ 54883 w 2214394"/>
                <a:gd name="connsiteY48" fmla="*/ 840486 h 1424653"/>
                <a:gd name="connsiteX49" fmla="*/ 47038 w 2214394"/>
                <a:gd name="connsiteY49" fmla="*/ 845025 h 1424653"/>
                <a:gd name="connsiteX50" fmla="*/ 33272 w 2214394"/>
                <a:gd name="connsiteY50" fmla="*/ 846555 h 1424653"/>
                <a:gd name="connsiteX51" fmla="*/ 29374 w 2214394"/>
                <a:gd name="connsiteY51" fmla="*/ 845025 h 1424653"/>
                <a:gd name="connsiteX52" fmla="*/ 21628 w 2214394"/>
                <a:gd name="connsiteY52" fmla="*/ 837427 h 1424653"/>
                <a:gd name="connsiteX53" fmla="*/ 23552 w 2214394"/>
                <a:gd name="connsiteY53" fmla="*/ 840486 h 1424653"/>
                <a:gd name="connsiteX54" fmla="*/ 27499 w 2214394"/>
                <a:gd name="connsiteY54" fmla="*/ 820750 h 1424653"/>
                <a:gd name="connsiteX55" fmla="*/ 33371 w 2214394"/>
                <a:gd name="connsiteY55" fmla="*/ 805504 h 1424653"/>
                <a:gd name="connsiteX56" fmla="*/ 37319 w 2214394"/>
                <a:gd name="connsiteY56" fmla="*/ 800964 h 1424653"/>
                <a:gd name="connsiteX57" fmla="*/ 35345 w 2214394"/>
                <a:gd name="connsiteY57" fmla="*/ 793317 h 1424653"/>
                <a:gd name="connsiteX58" fmla="*/ 29473 w 2214394"/>
                <a:gd name="connsiteY58" fmla="*/ 790258 h 1424653"/>
                <a:gd name="connsiteX59" fmla="*/ 25526 w 2214394"/>
                <a:gd name="connsiteY59" fmla="*/ 782610 h 1424653"/>
                <a:gd name="connsiteX60" fmla="*/ 29473 w 2214394"/>
                <a:gd name="connsiteY60" fmla="*/ 776541 h 1424653"/>
                <a:gd name="connsiteX61" fmla="*/ 27499 w 2214394"/>
                <a:gd name="connsiteY61" fmla="*/ 768893 h 1424653"/>
                <a:gd name="connsiteX62" fmla="*/ 17631 w 2214394"/>
                <a:gd name="connsiteY62" fmla="*/ 768893 h 1424653"/>
                <a:gd name="connsiteX63" fmla="*/ 9786 w 2214394"/>
                <a:gd name="connsiteY63" fmla="*/ 770423 h 1424653"/>
                <a:gd name="connsiteX64" fmla="*/ -82 w 2214394"/>
                <a:gd name="connsiteY64" fmla="*/ 759765 h 1424653"/>
                <a:gd name="connsiteX65" fmla="*/ -82 w 2214394"/>
                <a:gd name="connsiteY65" fmla="*/ 750637 h 1424653"/>
                <a:gd name="connsiteX66" fmla="*/ 7714 w 2214394"/>
                <a:gd name="connsiteY66" fmla="*/ 744519 h 1424653"/>
                <a:gd name="connsiteX67" fmla="*/ 25378 w 2214394"/>
                <a:gd name="connsiteY67" fmla="*/ 747578 h 1424653"/>
                <a:gd name="connsiteX68" fmla="*/ 31299 w 2214394"/>
                <a:gd name="connsiteY68" fmla="*/ 745999 h 1424653"/>
                <a:gd name="connsiteX69" fmla="*/ 31299 w 2214394"/>
                <a:gd name="connsiteY69" fmla="*/ 738253 h 1424653"/>
                <a:gd name="connsiteX70" fmla="*/ 46989 w 2214394"/>
                <a:gd name="connsiteY70" fmla="*/ 735194 h 1424653"/>
                <a:gd name="connsiteX71" fmla="*/ 43042 w 2214394"/>
                <a:gd name="connsiteY71" fmla="*/ 730654 h 1424653"/>
                <a:gd name="connsiteX72" fmla="*/ 39095 w 2214394"/>
                <a:gd name="connsiteY72" fmla="*/ 727595 h 1424653"/>
                <a:gd name="connsiteX73" fmla="*/ 56808 w 2214394"/>
                <a:gd name="connsiteY73" fmla="*/ 724536 h 1424653"/>
                <a:gd name="connsiteX74" fmla="*/ 68551 w 2214394"/>
                <a:gd name="connsiteY74" fmla="*/ 718418 h 1424653"/>
                <a:gd name="connsiteX75" fmla="*/ 68551 w 2214394"/>
                <a:gd name="connsiteY75" fmla="*/ 712349 h 1424653"/>
                <a:gd name="connsiteX76" fmla="*/ 56808 w 2214394"/>
                <a:gd name="connsiteY76" fmla="*/ 709290 h 1424653"/>
                <a:gd name="connsiteX77" fmla="*/ 58732 w 2214394"/>
                <a:gd name="connsiteY77" fmla="*/ 701642 h 1424653"/>
                <a:gd name="connsiteX78" fmla="*/ 66577 w 2214394"/>
                <a:gd name="connsiteY78" fmla="*/ 698632 h 1424653"/>
                <a:gd name="connsiteX79" fmla="*/ 76445 w 2214394"/>
                <a:gd name="connsiteY79" fmla="*/ 690985 h 1424653"/>
                <a:gd name="connsiteX80" fmla="*/ 84290 w 2214394"/>
                <a:gd name="connsiteY80" fmla="*/ 692514 h 1424653"/>
                <a:gd name="connsiteX81" fmla="*/ 96033 w 2214394"/>
                <a:gd name="connsiteY81" fmla="*/ 683337 h 1424653"/>
                <a:gd name="connsiteX82" fmla="*/ 101954 w 2214394"/>
                <a:gd name="connsiteY82" fmla="*/ 689455 h 1424653"/>
                <a:gd name="connsiteX83" fmla="*/ 105852 w 2214394"/>
                <a:gd name="connsiteY83" fmla="*/ 693994 h 1424653"/>
                <a:gd name="connsiteX84" fmla="*/ 123516 w 2214394"/>
                <a:gd name="connsiteY84" fmla="*/ 690985 h 1424653"/>
                <a:gd name="connsiteX85" fmla="*/ 135111 w 2214394"/>
                <a:gd name="connsiteY85" fmla="*/ 690985 h 1424653"/>
                <a:gd name="connsiteX86" fmla="*/ 144979 w 2214394"/>
                <a:gd name="connsiteY86" fmla="*/ 681807 h 1424653"/>
                <a:gd name="connsiteX87" fmla="*/ 143005 w 2214394"/>
                <a:gd name="connsiteY87" fmla="*/ 677268 h 1424653"/>
                <a:gd name="connsiteX88" fmla="*/ 127315 w 2214394"/>
                <a:gd name="connsiteY88" fmla="*/ 663552 h 1424653"/>
                <a:gd name="connsiteX89" fmla="*/ 121443 w 2214394"/>
                <a:gd name="connsiteY89" fmla="*/ 663552 h 1424653"/>
                <a:gd name="connsiteX90" fmla="*/ 121443 w 2214394"/>
                <a:gd name="connsiteY90" fmla="*/ 672679 h 1424653"/>
                <a:gd name="connsiteX91" fmla="*/ 115572 w 2214394"/>
                <a:gd name="connsiteY91" fmla="*/ 678798 h 1424653"/>
                <a:gd name="connsiteX92" fmla="*/ 107727 w 2214394"/>
                <a:gd name="connsiteY92" fmla="*/ 675738 h 1424653"/>
                <a:gd name="connsiteX93" fmla="*/ 101855 w 2214394"/>
                <a:gd name="connsiteY93" fmla="*/ 671150 h 1424653"/>
                <a:gd name="connsiteX94" fmla="*/ 86165 w 2214394"/>
                <a:gd name="connsiteY94" fmla="*/ 666561 h 1424653"/>
                <a:gd name="connsiteX95" fmla="*/ 78271 w 2214394"/>
                <a:gd name="connsiteY95" fmla="*/ 662022 h 1424653"/>
                <a:gd name="connsiteX96" fmla="*/ 84192 w 2214394"/>
                <a:gd name="connsiteY96" fmla="*/ 655904 h 1424653"/>
                <a:gd name="connsiteX97" fmla="*/ 95935 w 2214394"/>
                <a:gd name="connsiteY97" fmla="*/ 639128 h 1424653"/>
                <a:gd name="connsiteX98" fmla="*/ 95935 w 2214394"/>
                <a:gd name="connsiteY98" fmla="*/ 633010 h 1424653"/>
                <a:gd name="connsiteX99" fmla="*/ 92037 w 2214394"/>
                <a:gd name="connsiteY99" fmla="*/ 633010 h 1424653"/>
                <a:gd name="connsiteX100" fmla="*/ 92037 w 2214394"/>
                <a:gd name="connsiteY100" fmla="*/ 629951 h 1424653"/>
                <a:gd name="connsiteX101" fmla="*/ 99882 w 2214394"/>
                <a:gd name="connsiteY101" fmla="*/ 625411 h 1424653"/>
                <a:gd name="connsiteX102" fmla="*/ 97908 w 2214394"/>
                <a:gd name="connsiteY102" fmla="*/ 622352 h 1424653"/>
                <a:gd name="connsiteX103" fmla="*/ 103780 w 2214394"/>
                <a:gd name="connsiteY103" fmla="*/ 614704 h 1424653"/>
                <a:gd name="connsiteX104" fmla="*/ 117545 w 2214394"/>
                <a:gd name="connsiteY104" fmla="*/ 617764 h 1424653"/>
                <a:gd name="connsiteX105" fmla="*/ 123417 w 2214394"/>
                <a:gd name="connsiteY105" fmla="*/ 620823 h 1424653"/>
                <a:gd name="connsiteX106" fmla="*/ 150850 w 2214394"/>
                <a:gd name="connsiteY106" fmla="*/ 622352 h 1424653"/>
                <a:gd name="connsiteX107" fmla="*/ 170586 w 2214394"/>
                <a:gd name="connsiteY107" fmla="*/ 622352 h 1424653"/>
                <a:gd name="connsiteX108" fmla="*/ 184352 w 2214394"/>
                <a:gd name="connsiteY108" fmla="*/ 620823 h 1424653"/>
                <a:gd name="connsiteX109" fmla="*/ 184352 w 2214394"/>
                <a:gd name="connsiteY109" fmla="*/ 611695 h 1424653"/>
                <a:gd name="connsiteX110" fmla="*/ 180406 w 2214394"/>
                <a:gd name="connsiteY110" fmla="*/ 605577 h 1424653"/>
                <a:gd name="connsiteX111" fmla="*/ 178481 w 2214394"/>
                <a:gd name="connsiteY111" fmla="*/ 599458 h 1424653"/>
                <a:gd name="connsiteX112" fmla="*/ 184352 w 2214394"/>
                <a:gd name="connsiteY112" fmla="*/ 596399 h 1424653"/>
                <a:gd name="connsiteX113" fmla="*/ 192197 w 2214394"/>
                <a:gd name="connsiteY113" fmla="*/ 597929 h 1424653"/>
                <a:gd name="connsiteX114" fmla="*/ 200043 w 2214394"/>
                <a:gd name="connsiteY114" fmla="*/ 597929 h 1424653"/>
                <a:gd name="connsiteX115" fmla="*/ 203990 w 2214394"/>
                <a:gd name="connsiteY115" fmla="*/ 596399 h 1424653"/>
                <a:gd name="connsiteX116" fmla="*/ 213858 w 2214394"/>
                <a:gd name="connsiteY116" fmla="*/ 596399 h 1424653"/>
                <a:gd name="connsiteX117" fmla="*/ 223726 w 2214394"/>
                <a:gd name="connsiteY117" fmla="*/ 600988 h 1424653"/>
                <a:gd name="connsiteX118" fmla="*/ 237443 w 2214394"/>
                <a:gd name="connsiteY118" fmla="*/ 604047 h 1424653"/>
                <a:gd name="connsiteX119" fmla="*/ 257179 w 2214394"/>
                <a:gd name="connsiteY119" fmla="*/ 605577 h 1424653"/>
                <a:gd name="connsiteX120" fmla="*/ 263099 w 2214394"/>
                <a:gd name="connsiteY120" fmla="*/ 604047 h 1424653"/>
                <a:gd name="connsiteX121" fmla="*/ 268971 w 2214394"/>
                <a:gd name="connsiteY121" fmla="*/ 599458 h 1424653"/>
                <a:gd name="connsiteX122" fmla="*/ 276816 w 2214394"/>
                <a:gd name="connsiteY122" fmla="*/ 600988 h 1424653"/>
                <a:gd name="connsiteX123" fmla="*/ 288609 w 2214394"/>
                <a:gd name="connsiteY123" fmla="*/ 599458 h 1424653"/>
                <a:gd name="connsiteX124" fmla="*/ 304299 w 2214394"/>
                <a:gd name="connsiteY124" fmla="*/ 596399 h 1424653"/>
                <a:gd name="connsiteX125" fmla="*/ 324035 w 2214394"/>
                <a:gd name="connsiteY125" fmla="*/ 600988 h 1424653"/>
                <a:gd name="connsiteX126" fmla="*/ 333903 w 2214394"/>
                <a:gd name="connsiteY126" fmla="*/ 597929 h 1424653"/>
                <a:gd name="connsiteX127" fmla="*/ 357142 w 2214394"/>
                <a:gd name="connsiteY127" fmla="*/ 597929 h 1424653"/>
                <a:gd name="connsiteX128" fmla="*/ 370859 w 2214394"/>
                <a:gd name="connsiteY128" fmla="*/ 602518 h 1424653"/>
                <a:gd name="connsiteX129" fmla="*/ 376730 w 2214394"/>
                <a:gd name="connsiteY129" fmla="*/ 602518 h 1424653"/>
                <a:gd name="connsiteX130" fmla="*/ 392470 w 2214394"/>
                <a:gd name="connsiteY130" fmla="*/ 617764 h 1424653"/>
                <a:gd name="connsiteX131" fmla="*/ 408111 w 2214394"/>
                <a:gd name="connsiteY131" fmla="*/ 620823 h 1424653"/>
                <a:gd name="connsiteX132" fmla="*/ 413983 w 2214394"/>
                <a:gd name="connsiteY132" fmla="*/ 617764 h 1424653"/>
                <a:gd name="connsiteX133" fmla="*/ 413983 w 2214394"/>
                <a:gd name="connsiteY133" fmla="*/ 608586 h 1424653"/>
                <a:gd name="connsiteX134" fmla="*/ 419903 w 2214394"/>
                <a:gd name="connsiteY134" fmla="*/ 605577 h 1424653"/>
                <a:gd name="connsiteX135" fmla="*/ 423801 w 2214394"/>
                <a:gd name="connsiteY135" fmla="*/ 600988 h 1424653"/>
                <a:gd name="connsiteX136" fmla="*/ 427749 w 2214394"/>
                <a:gd name="connsiteY136" fmla="*/ 600988 h 1424653"/>
                <a:gd name="connsiteX137" fmla="*/ 419903 w 2214394"/>
                <a:gd name="connsiteY137" fmla="*/ 594870 h 1424653"/>
                <a:gd name="connsiteX138" fmla="*/ 423801 w 2214394"/>
                <a:gd name="connsiteY138" fmla="*/ 587271 h 1424653"/>
                <a:gd name="connsiteX139" fmla="*/ 427749 w 2214394"/>
                <a:gd name="connsiteY139" fmla="*/ 584212 h 1424653"/>
                <a:gd name="connsiteX140" fmla="*/ 423801 w 2214394"/>
                <a:gd name="connsiteY140" fmla="*/ 572025 h 1424653"/>
                <a:gd name="connsiteX141" fmla="*/ 415956 w 2214394"/>
                <a:gd name="connsiteY141" fmla="*/ 567436 h 1424653"/>
                <a:gd name="connsiteX142" fmla="*/ 413983 w 2214394"/>
                <a:gd name="connsiteY142" fmla="*/ 561368 h 1424653"/>
                <a:gd name="connsiteX143" fmla="*/ 408111 w 2214394"/>
                <a:gd name="connsiteY143" fmla="*/ 552190 h 1424653"/>
                <a:gd name="connsiteX144" fmla="*/ 406186 w 2214394"/>
                <a:gd name="connsiteY144" fmla="*/ 546072 h 1424653"/>
                <a:gd name="connsiteX145" fmla="*/ 404164 w 2214394"/>
                <a:gd name="connsiteY145" fmla="*/ 543013 h 1424653"/>
                <a:gd name="connsiteX146" fmla="*/ 402240 w 2214394"/>
                <a:gd name="connsiteY146" fmla="*/ 538474 h 1424653"/>
                <a:gd name="connsiteX147" fmla="*/ 400266 w 2214394"/>
                <a:gd name="connsiteY147" fmla="*/ 527767 h 1424653"/>
                <a:gd name="connsiteX148" fmla="*/ 404164 w 2214394"/>
                <a:gd name="connsiteY148" fmla="*/ 524757 h 1424653"/>
                <a:gd name="connsiteX149" fmla="*/ 404164 w 2214394"/>
                <a:gd name="connsiteY149" fmla="*/ 521698 h 1424653"/>
                <a:gd name="connsiteX150" fmla="*/ 396368 w 2214394"/>
                <a:gd name="connsiteY150" fmla="*/ 520119 h 1424653"/>
                <a:gd name="connsiteX151" fmla="*/ 384576 w 2214394"/>
                <a:gd name="connsiteY151" fmla="*/ 521698 h 1424653"/>
                <a:gd name="connsiteX152" fmla="*/ 378704 w 2214394"/>
                <a:gd name="connsiteY152" fmla="*/ 517109 h 1424653"/>
                <a:gd name="connsiteX153" fmla="*/ 380678 w 2214394"/>
                <a:gd name="connsiteY153" fmla="*/ 512521 h 1424653"/>
                <a:gd name="connsiteX154" fmla="*/ 386549 w 2214394"/>
                <a:gd name="connsiteY154" fmla="*/ 506402 h 1424653"/>
                <a:gd name="connsiteX155" fmla="*/ 394395 w 2214394"/>
                <a:gd name="connsiteY155" fmla="*/ 504873 h 1424653"/>
                <a:gd name="connsiteX156" fmla="*/ 398292 w 2214394"/>
                <a:gd name="connsiteY156" fmla="*/ 506402 h 1424653"/>
                <a:gd name="connsiteX157" fmla="*/ 402240 w 2214394"/>
                <a:gd name="connsiteY157" fmla="*/ 506402 h 1424653"/>
                <a:gd name="connsiteX158" fmla="*/ 412108 w 2214394"/>
                <a:gd name="connsiteY158" fmla="*/ 503343 h 1424653"/>
                <a:gd name="connsiteX159" fmla="*/ 429722 w 2214394"/>
                <a:gd name="connsiteY159" fmla="*/ 500334 h 1424653"/>
                <a:gd name="connsiteX160" fmla="*/ 437617 w 2214394"/>
                <a:gd name="connsiteY160" fmla="*/ 498804 h 1424653"/>
                <a:gd name="connsiteX161" fmla="*/ 441514 w 2214394"/>
                <a:gd name="connsiteY161" fmla="*/ 497275 h 1424653"/>
                <a:gd name="connsiteX162" fmla="*/ 445412 w 2214394"/>
                <a:gd name="connsiteY162" fmla="*/ 500334 h 1424653"/>
                <a:gd name="connsiteX163" fmla="*/ 451333 w 2214394"/>
                <a:gd name="connsiteY163" fmla="*/ 500334 h 1424653"/>
                <a:gd name="connsiteX164" fmla="*/ 455231 w 2214394"/>
                <a:gd name="connsiteY164" fmla="*/ 497275 h 1424653"/>
                <a:gd name="connsiteX165" fmla="*/ 460757 w 2214394"/>
                <a:gd name="connsiteY165" fmla="*/ 497275 h 1424653"/>
                <a:gd name="connsiteX166" fmla="*/ 462731 w 2214394"/>
                <a:gd name="connsiteY166" fmla="*/ 492686 h 1424653"/>
                <a:gd name="connsiteX167" fmla="*/ 464705 w 2214394"/>
                <a:gd name="connsiteY167" fmla="*/ 488147 h 1424653"/>
                <a:gd name="connsiteX168" fmla="*/ 454837 w 2214394"/>
                <a:gd name="connsiteY168" fmla="*/ 485087 h 1424653"/>
                <a:gd name="connsiteX169" fmla="*/ 450938 w 2214394"/>
                <a:gd name="connsiteY169" fmla="*/ 480499 h 1424653"/>
                <a:gd name="connsiteX170" fmla="*/ 452912 w 2214394"/>
                <a:gd name="connsiteY170" fmla="*/ 475910 h 1424653"/>
                <a:gd name="connsiteX171" fmla="*/ 452912 w 2214394"/>
                <a:gd name="connsiteY171" fmla="*/ 462193 h 1424653"/>
                <a:gd name="connsiteX172" fmla="*/ 458734 w 2214394"/>
                <a:gd name="connsiteY172" fmla="*/ 443888 h 1424653"/>
                <a:gd name="connsiteX173" fmla="*/ 458734 w 2214394"/>
                <a:gd name="connsiteY173" fmla="*/ 437770 h 1424653"/>
                <a:gd name="connsiteX174" fmla="*/ 462681 w 2214394"/>
                <a:gd name="connsiteY174" fmla="*/ 428642 h 1424653"/>
                <a:gd name="connsiteX175" fmla="*/ 464655 w 2214394"/>
                <a:gd name="connsiteY175" fmla="*/ 414876 h 1424653"/>
                <a:gd name="connsiteX176" fmla="*/ 476398 w 2214394"/>
                <a:gd name="connsiteY176" fmla="*/ 414876 h 1424653"/>
                <a:gd name="connsiteX177" fmla="*/ 492088 w 2214394"/>
                <a:gd name="connsiteY177" fmla="*/ 419465 h 1424653"/>
                <a:gd name="connsiteX178" fmla="*/ 501956 w 2214394"/>
                <a:gd name="connsiteY178" fmla="*/ 419465 h 1424653"/>
                <a:gd name="connsiteX179" fmla="*/ 513749 w 2214394"/>
                <a:gd name="connsiteY179" fmla="*/ 417935 h 1424653"/>
                <a:gd name="connsiteX180" fmla="*/ 519571 w 2214394"/>
                <a:gd name="connsiteY180" fmla="*/ 417935 h 1424653"/>
                <a:gd name="connsiteX181" fmla="*/ 521594 w 2214394"/>
                <a:gd name="connsiteY181" fmla="*/ 420994 h 1424653"/>
                <a:gd name="connsiteX182" fmla="*/ 531462 w 2214394"/>
                <a:gd name="connsiteY182" fmla="*/ 420994 h 1424653"/>
                <a:gd name="connsiteX183" fmla="*/ 537383 w 2214394"/>
                <a:gd name="connsiteY183" fmla="*/ 414876 h 1424653"/>
                <a:gd name="connsiteX184" fmla="*/ 545178 w 2214394"/>
                <a:gd name="connsiteY184" fmla="*/ 411866 h 1424653"/>
                <a:gd name="connsiteX185" fmla="*/ 553073 w 2214394"/>
                <a:gd name="connsiteY185" fmla="*/ 402689 h 1424653"/>
                <a:gd name="connsiteX186" fmla="*/ 554997 w 2214394"/>
                <a:gd name="connsiteY186" fmla="*/ 398150 h 1424653"/>
                <a:gd name="connsiteX187" fmla="*/ 549126 w 2214394"/>
                <a:gd name="connsiteY187" fmla="*/ 390502 h 1424653"/>
                <a:gd name="connsiteX188" fmla="*/ 541280 w 2214394"/>
                <a:gd name="connsiteY188" fmla="*/ 379795 h 1424653"/>
                <a:gd name="connsiteX189" fmla="*/ 541280 w 2214394"/>
                <a:gd name="connsiteY189" fmla="*/ 366079 h 1424653"/>
                <a:gd name="connsiteX190" fmla="*/ 543254 w 2214394"/>
                <a:gd name="connsiteY190" fmla="*/ 358480 h 1424653"/>
                <a:gd name="connsiteX191" fmla="*/ 549126 w 2214394"/>
                <a:gd name="connsiteY191" fmla="*/ 355421 h 1424653"/>
                <a:gd name="connsiteX192" fmla="*/ 560869 w 2214394"/>
                <a:gd name="connsiteY192" fmla="*/ 352362 h 1424653"/>
                <a:gd name="connsiteX193" fmla="*/ 564816 w 2214394"/>
                <a:gd name="connsiteY193" fmla="*/ 343185 h 1424653"/>
                <a:gd name="connsiteX194" fmla="*/ 562842 w 2214394"/>
                <a:gd name="connsiteY194" fmla="*/ 340175 h 1424653"/>
                <a:gd name="connsiteX195" fmla="*/ 562842 w 2214394"/>
                <a:gd name="connsiteY195" fmla="*/ 335586 h 1424653"/>
                <a:gd name="connsiteX196" fmla="*/ 572710 w 2214394"/>
                <a:gd name="connsiteY196" fmla="*/ 327938 h 1424653"/>
                <a:gd name="connsiteX197" fmla="*/ 576608 w 2214394"/>
                <a:gd name="connsiteY197" fmla="*/ 323399 h 1424653"/>
                <a:gd name="connsiteX198" fmla="*/ 584503 w 2214394"/>
                <a:gd name="connsiteY198" fmla="*/ 318810 h 1424653"/>
                <a:gd name="connsiteX199" fmla="*/ 582529 w 2214394"/>
                <a:gd name="connsiteY199" fmla="*/ 317281 h 1424653"/>
                <a:gd name="connsiteX200" fmla="*/ 586427 w 2214394"/>
                <a:gd name="connsiteY200" fmla="*/ 317281 h 1424653"/>
                <a:gd name="connsiteX201" fmla="*/ 596295 w 2214394"/>
                <a:gd name="connsiteY201" fmla="*/ 318810 h 1424653"/>
                <a:gd name="connsiteX202" fmla="*/ 598269 w 2214394"/>
                <a:gd name="connsiteY202" fmla="*/ 318810 h 1424653"/>
                <a:gd name="connsiteX203" fmla="*/ 600242 w 2214394"/>
                <a:gd name="connsiteY203" fmla="*/ 321869 h 1424653"/>
                <a:gd name="connsiteX204" fmla="*/ 600242 w 2214394"/>
                <a:gd name="connsiteY204" fmla="*/ 330997 h 1424653"/>
                <a:gd name="connsiteX205" fmla="*/ 602167 w 2214394"/>
                <a:gd name="connsiteY205" fmla="*/ 332527 h 1424653"/>
                <a:gd name="connsiteX206" fmla="*/ 604140 w 2214394"/>
                <a:gd name="connsiteY206" fmla="*/ 335586 h 1424653"/>
                <a:gd name="connsiteX207" fmla="*/ 606064 w 2214394"/>
                <a:gd name="connsiteY207" fmla="*/ 335586 h 1424653"/>
                <a:gd name="connsiteX208" fmla="*/ 606064 w 2214394"/>
                <a:gd name="connsiteY208" fmla="*/ 334057 h 1424653"/>
                <a:gd name="connsiteX209" fmla="*/ 608038 w 2214394"/>
                <a:gd name="connsiteY209" fmla="*/ 332527 h 1424653"/>
                <a:gd name="connsiteX210" fmla="*/ 610012 w 2214394"/>
                <a:gd name="connsiteY210" fmla="*/ 335586 h 1424653"/>
                <a:gd name="connsiteX211" fmla="*/ 610012 w 2214394"/>
                <a:gd name="connsiteY211" fmla="*/ 340175 h 1424653"/>
                <a:gd name="connsiteX212" fmla="*/ 611985 w 2214394"/>
                <a:gd name="connsiteY212" fmla="*/ 343185 h 1424653"/>
                <a:gd name="connsiteX213" fmla="*/ 613959 w 2214394"/>
                <a:gd name="connsiteY213" fmla="*/ 346293 h 1424653"/>
                <a:gd name="connsiteX214" fmla="*/ 617857 w 2214394"/>
                <a:gd name="connsiteY214" fmla="*/ 347823 h 1424653"/>
                <a:gd name="connsiteX215" fmla="*/ 623728 w 2214394"/>
                <a:gd name="connsiteY215" fmla="*/ 353891 h 1424653"/>
                <a:gd name="connsiteX216" fmla="*/ 633597 w 2214394"/>
                <a:gd name="connsiteY216" fmla="*/ 358480 h 1424653"/>
                <a:gd name="connsiteX217" fmla="*/ 637494 w 2214394"/>
                <a:gd name="connsiteY217" fmla="*/ 363069 h 1424653"/>
                <a:gd name="connsiteX218" fmla="*/ 637494 w 2214394"/>
                <a:gd name="connsiteY218" fmla="*/ 364549 h 1424653"/>
                <a:gd name="connsiteX219" fmla="*/ 639517 w 2214394"/>
                <a:gd name="connsiteY219" fmla="*/ 369138 h 1424653"/>
                <a:gd name="connsiteX220" fmla="*/ 645389 w 2214394"/>
                <a:gd name="connsiteY220" fmla="*/ 373726 h 1424653"/>
                <a:gd name="connsiteX221" fmla="*/ 649286 w 2214394"/>
                <a:gd name="connsiteY221" fmla="*/ 373726 h 1424653"/>
                <a:gd name="connsiteX222" fmla="*/ 651211 w 2214394"/>
                <a:gd name="connsiteY222" fmla="*/ 369138 h 1424653"/>
                <a:gd name="connsiteX223" fmla="*/ 653234 w 2214394"/>
                <a:gd name="connsiteY223" fmla="*/ 367608 h 1424653"/>
                <a:gd name="connsiteX224" fmla="*/ 659105 w 2214394"/>
                <a:gd name="connsiteY224" fmla="*/ 364549 h 1424653"/>
                <a:gd name="connsiteX225" fmla="*/ 668973 w 2214394"/>
                <a:gd name="connsiteY225" fmla="*/ 364549 h 1424653"/>
                <a:gd name="connsiteX226" fmla="*/ 668973 w 2214394"/>
                <a:gd name="connsiteY226" fmla="*/ 367707 h 1424653"/>
                <a:gd name="connsiteX227" fmla="*/ 674845 w 2214394"/>
                <a:gd name="connsiteY227" fmla="*/ 372295 h 1424653"/>
                <a:gd name="connsiteX228" fmla="*/ 678743 w 2214394"/>
                <a:gd name="connsiteY228" fmla="*/ 373825 h 1424653"/>
                <a:gd name="connsiteX229" fmla="*/ 682690 w 2214394"/>
                <a:gd name="connsiteY229" fmla="*/ 372295 h 1424653"/>
                <a:gd name="connsiteX230" fmla="*/ 686637 w 2214394"/>
                <a:gd name="connsiteY230" fmla="*/ 369236 h 1424653"/>
                <a:gd name="connsiteX231" fmla="*/ 690535 w 2214394"/>
                <a:gd name="connsiteY231" fmla="*/ 369236 h 1424653"/>
                <a:gd name="connsiteX232" fmla="*/ 698380 w 2214394"/>
                <a:gd name="connsiteY232" fmla="*/ 370766 h 1424653"/>
                <a:gd name="connsiteX233" fmla="*/ 700354 w 2214394"/>
                <a:gd name="connsiteY233" fmla="*/ 373825 h 1424653"/>
                <a:gd name="connsiteX234" fmla="*/ 706225 w 2214394"/>
                <a:gd name="connsiteY234" fmla="*/ 375354 h 1424653"/>
                <a:gd name="connsiteX235" fmla="*/ 712097 w 2214394"/>
                <a:gd name="connsiteY235" fmla="*/ 381423 h 1424653"/>
                <a:gd name="connsiteX236" fmla="*/ 716044 w 2214394"/>
                <a:gd name="connsiteY236" fmla="*/ 386012 h 1424653"/>
                <a:gd name="connsiteX237" fmla="*/ 716044 w 2214394"/>
                <a:gd name="connsiteY237" fmla="*/ 390601 h 1424653"/>
                <a:gd name="connsiteX238" fmla="*/ 717968 w 2214394"/>
                <a:gd name="connsiteY238" fmla="*/ 395189 h 1424653"/>
                <a:gd name="connsiteX239" fmla="*/ 721916 w 2214394"/>
                <a:gd name="connsiteY239" fmla="*/ 399778 h 1424653"/>
                <a:gd name="connsiteX240" fmla="*/ 723840 w 2214394"/>
                <a:gd name="connsiteY240" fmla="*/ 405847 h 1424653"/>
                <a:gd name="connsiteX241" fmla="*/ 731735 w 2214394"/>
                <a:gd name="connsiteY241" fmla="*/ 410435 h 1424653"/>
                <a:gd name="connsiteX242" fmla="*/ 735632 w 2214394"/>
                <a:gd name="connsiteY242" fmla="*/ 411965 h 1424653"/>
                <a:gd name="connsiteX243" fmla="*/ 739530 w 2214394"/>
                <a:gd name="connsiteY243" fmla="*/ 418034 h 1424653"/>
                <a:gd name="connsiteX244" fmla="*/ 743478 w 2214394"/>
                <a:gd name="connsiteY244" fmla="*/ 422623 h 1424653"/>
                <a:gd name="connsiteX245" fmla="*/ 743478 w 2214394"/>
                <a:gd name="connsiteY245" fmla="*/ 428741 h 1424653"/>
                <a:gd name="connsiteX246" fmla="*/ 741504 w 2214394"/>
                <a:gd name="connsiteY246" fmla="*/ 433280 h 1424653"/>
                <a:gd name="connsiteX247" fmla="*/ 743478 w 2214394"/>
                <a:gd name="connsiteY247" fmla="*/ 440928 h 1424653"/>
                <a:gd name="connsiteX248" fmla="*/ 747424 w 2214394"/>
                <a:gd name="connsiteY248" fmla="*/ 443987 h 1424653"/>
                <a:gd name="connsiteX249" fmla="*/ 745451 w 2214394"/>
                <a:gd name="connsiteY249" fmla="*/ 450105 h 1424653"/>
                <a:gd name="connsiteX250" fmla="*/ 741504 w 2214394"/>
                <a:gd name="connsiteY250" fmla="*/ 453115 h 1424653"/>
                <a:gd name="connsiteX251" fmla="*/ 739530 w 2214394"/>
                <a:gd name="connsiteY251" fmla="*/ 456174 h 1424653"/>
                <a:gd name="connsiteX252" fmla="*/ 739530 w 2214394"/>
                <a:gd name="connsiteY252" fmla="*/ 466831 h 1424653"/>
                <a:gd name="connsiteX253" fmla="*/ 747424 w 2214394"/>
                <a:gd name="connsiteY253" fmla="*/ 476009 h 1424653"/>
                <a:gd name="connsiteX254" fmla="*/ 755269 w 2214394"/>
                <a:gd name="connsiteY254" fmla="*/ 480597 h 1424653"/>
                <a:gd name="connsiteX255" fmla="*/ 790548 w 2214394"/>
                <a:gd name="connsiteY255" fmla="*/ 488245 h 1424653"/>
                <a:gd name="connsiteX256" fmla="*/ 806140 w 2214394"/>
                <a:gd name="connsiteY256" fmla="*/ 488245 h 1424653"/>
                <a:gd name="connsiteX257" fmla="*/ 816008 w 2214394"/>
                <a:gd name="connsiteY257" fmla="*/ 486716 h 1424653"/>
                <a:gd name="connsiteX258" fmla="*/ 817981 w 2214394"/>
                <a:gd name="connsiteY258" fmla="*/ 485186 h 1424653"/>
                <a:gd name="connsiteX259" fmla="*/ 821879 w 2214394"/>
                <a:gd name="connsiteY259" fmla="*/ 482078 h 1424653"/>
                <a:gd name="connsiteX260" fmla="*/ 845414 w 2214394"/>
                <a:gd name="connsiteY260" fmla="*/ 488245 h 1424653"/>
                <a:gd name="connsiteX261" fmla="*/ 857157 w 2214394"/>
                <a:gd name="connsiteY261" fmla="*/ 494314 h 1424653"/>
                <a:gd name="connsiteX262" fmla="*/ 859131 w 2214394"/>
                <a:gd name="connsiteY262" fmla="*/ 497373 h 1424653"/>
                <a:gd name="connsiteX263" fmla="*/ 865003 w 2214394"/>
                <a:gd name="connsiteY263" fmla="*/ 498903 h 1424653"/>
                <a:gd name="connsiteX264" fmla="*/ 870874 w 2214394"/>
                <a:gd name="connsiteY264" fmla="*/ 498903 h 1424653"/>
                <a:gd name="connsiteX265" fmla="*/ 874822 w 2214394"/>
                <a:gd name="connsiteY265" fmla="*/ 500432 h 1424653"/>
                <a:gd name="connsiteX266" fmla="*/ 886614 w 2214394"/>
                <a:gd name="connsiteY266" fmla="*/ 508031 h 1424653"/>
                <a:gd name="connsiteX267" fmla="*/ 896482 w 2214394"/>
                <a:gd name="connsiteY267" fmla="*/ 512619 h 1424653"/>
                <a:gd name="connsiteX268" fmla="*/ 912172 w 2214394"/>
                <a:gd name="connsiteY268" fmla="*/ 512619 h 1424653"/>
                <a:gd name="connsiteX269" fmla="*/ 914146 w 2214394"/>
                <a:gd name="connsiteY269" fmla="*/ 518688 h 1424653"/>
                <a:gd name="connsiteX270" fmla="*/ 914146 w 2214394"/>
                <a:gd name="connsiteY270" fmla="*/ 521797 h 1424653"/>
                <a:gd name="connsiteX271" fmla="*/ 918093 w 2214394"/>
                <a:gd name="connsiteY271" fmla="*/ 521797 h 1424653"/>
                <a:gd name="connsiteX272" fmla="*/ 923964 w 2214394"/>
                <a:gd name="connsiteY272" fmla="*/ 523326 h 1424653"/>
                <a:gd name="connsiteX273" fmla="*/ 927862 w 2214394"/>
                <a:gd name="connsiteY273" fmla="*/ 527866 h 1424653"/>
                <a:gd name="connsiteX274" fmla="*/ 927862 w 2214394"/>
                <a:gd name="connsiteY274" fmla="*/ 532405 h 1424653"/>
                <a:gd name="connsiteX275" fmla="*/ 931809 w 2214394"/>
                <a:gd name="connsiteY275" fmla="*/ 541582 h 1424653"/>
                <a:gd name="connsiteX276" fmla="*/ 939655 w 2214394"/>
                <a:gd name="connsiteY276" fmla="*/ 547700 h 1424653"/>
                <a:gd name="connsiteX277" fmla="*/ 947500 w 2214394"/>
                <a:gd name="connsiteY277" fmla="*/ 556828 h 1424653"/>
                <a:gd name="connsiteX278" fmla="*/ 951397 w 2214394"/>
                <a:gd name="connsiteY278" fmla="*/ 564476 h 1424653"/>
                <a:gd name="connsiteX279" fmla="*/ 957269 w 2214394"/>
                <a:gd name="connsiteY279" fmla="*/ 576663 h 1424653"/>
                <a:gd name="connsiteX280" fmla="*/ 963190 w 2214394"/>
                <a:gd name="connsiteY280" fmla="*/ 579722 h 1424653"/>
                <a:gd name="connsiteX281" fmla="*/ 973058 w 2214394"/>
                <a:gd name="connsiteY281" fmla="*/ 578193 h 1424653"/>
                <a:gd name="connsiteX282" fmla="*/ 986775 w 2214394"/>
                <a:gd name="connsiteY282" fmla="*/ 576663 h 1424653"/>
                <a:gd name="connsiteX283" fmla="*/ 1002514 w 2214394"/>
                <a:gd name="connsiteY283" fmla="*/ 578193 h 1424653"/>
                <a:gd name="connsiteX284" fmla="*/ 1024076 w 2214394"/>
                <a:gd name="connsiteY284" fmla="*/ 576663 h 1424653"/>
                <a:gd name="connsiteX285" fmla="*/ 1055457 w 2214394"/>
                <a:gd name="connsiteY285" fmla="*/ 579722 h 1424653"/>
                <a:gd name="connsiteX286" fmla="*/ 1071146 w 2214394"/>
                <a:gd name="connsiteY286" fmla="*/ 578193 h 1424653"/>
                <a:gd name="connsiteX287" fmla="*/ 1084863 w 2214394"/>
                <a:gd name="connsiteY287" fmla="*/ 573653 h 1424653"/>
                <a:gd name="connsiteX288" fmla="*/ 1086837 w 2214394"/>
                <a:gd name="connsiteY288" fmla="*/ 570545 h 1424653"/>
                <a:gd name="connsiteX289" fmla="*/ 1090735 w 2214394"/>
                <a:gd name="connsiteY289" fmla="*/ 569065 h 1424653"/>
                <a:gd name="connsiteX290" fmla="*/ 1094682 w 2214394"/>
                <a:gd name="connsiteY290" fmla="*/ 570545 h 1424653"/>
                <a:gd name="connsiteX291" fmla="*/ 1118168 w 2214394"/>
                <a:gd name="connsiteY291" fmla="*/ 569065 h 1424653"/>
                <a:gd name="connsiteX292" fmla="*/ 1143677 w 2214394"/>
                <a:gd name="connsiteY292" fmla="*/ 572124 h 1424653"/>
                <a:gd name="connsiteX293" fmla="*/ 1153545 w 2214394"/>
                <a:gd name="connsiteY293" fmla="*/ 572124 h 1424653"/>
                <a:gd name="connsiteX294" fmla="*/ 1165338 w 2214394"/>
                <a:gd name="connsiteY294" fmla="*/ 581252 h 1424653"/>
                <a:gd name="connsiteX295" fmla="*/ 1186899 w 2214394"/>
                <a:gd name="connsiteY295" fmla="*/ 591909 h 1424653"/>
                <a:gd name="connsiteX296" fmla="*/ 1208461 w 2214394"/>
                <a:gd name="connsiteY296" fmla="*/ 598027 h 1424653"/>
                <a:gd name="connsiteX297" fmla="*/ 1220204 w 2214394"/>
                <a:gd name="connsiteY297" fmla="*/ 599557 h 1424653"/>
                <a:gd name="connsiteX298" fmla="*/ 1233970 w 2214394"/>
                <a:gd name="connsiteY298" fmla="*/ 604146 h 1424653"/>
                <a:gd name="connsiteX299" fmla="*/ 1247686 w 2214394"/>
                <a:gd name="connsiteY299" fmla="*/ 602616 h 1424653"/>
                <a:gd name="connsiteX300" fmla="*/ 1261403 w 2214394"/>
                <a:gd name="connsiteY300" fmla="*/ 599557 h 1424653"/>
                <a:gd name="connsiteX301" fmla="*/ 1263377 w 2214394"/>
                <a:gd name="connsiteY301" fmla="*/ 604146 h 1424653"/>
                <a:gd name="connsiteX302" fmla="*/ 1263377 w 2214394"/>
                <a:gd name="connsiteY302" fmla="*/ 607156 h 1424653"/>
                <a:gd name="connsiteX303" fmla="*/ 1273245 w 2214394"/>
                <a:gd name="connsiteY303" fmla="*/ 610264 h 1424653"/>
                <a:gd name="connsiteX304" fmla="*/ 1283113 w 2214394"/>
                <a:gd name="connsiteY304" fmla="*/ 610264 h 1424653"/>
                <a:gd name="connsiteX305" fmla="*/ 1288984 w 2214394"/>
                <a:gd name="connsiteY305" fmla="*/ 605675 h 1424653"/>
                <a:gd name="connsiteX306" fmla="*/ 1302701 w 2214394"/>
                <a:gd name="connsiteY306" fmla="*/ 594968 h 1424653"/>
                <a:gd name="connsiteX307" fmla="*/ 1314493 w 2214394"/>
                <a:gd name="connsiteY307" fmla="*/ 584311 h 1424653"/>
                <a:gd name="connsiteX308" fmla="*/ 1334230 w 2214394"/>
                <a:gd name="connsiteY308" fmla="*/ 578193 h 1424653"/>
                <a:gd name="connsiteX309" fmla="*/ 1359738 w 2214394"/>
                <a:gd name="connsiteY309" fmla="*/ 572124 h 1424653"/>
                <a:gd name="connsiteX310" fmla="*/ 1371481 w 2214394"/>
                <a:gd name="connsiteY310" fmla="*/ 569065 h 1424653"/>
                <a:gd name="connsiteX311" fmla="*/ 1383274 w 2214394"/>
                <a:gd name="connsiteY311" fmla="*/ 566006 h 1424653"/>
                <a:gd name="connsiteX312" fmla="*/ 1396990 w 2214394"/>
                <a:gd name="connsiteY312" fmla="*/ 564476 h 1424653"/>
                <a:gd name="connsiteX313" fmla="*/ 1406858 w 2214394"/>
                <a:gd name="connsiteY313" fmla="*/ 564476 h 1424653"/>
                <a:gd name="connsiteX314" fmla="*/ 1418651 w 2214394"/>
                <a:gd name="connsiteY314" fmla="*/ 556828 h 1424653"/>
                <a:gd name="connsiteX315" fmla="*/ 1426496 w 2214394"/>
                <a:gd name="connsiteY315" fmla="*/ 550759 h 1424653"/>
                <a:gd name="connsiteX316" fmla="*/ 1434341 w 2214394"/>
                <a:gd name="connsiteY316" fmla="*/ 550759 h 1424653"/>
                <a:gd name="connsiteX317" fmla="*/ 1446133 w 2214394"/>
                <a:gd name="connsiteY317" fmla="*/ 547700 h 1424653"/>
                <a:gd name="connsiteX318" fmla="*/ 1453929 w 2214394"/>
                <a:gd name="connsiteY318" fmla="*/ 547700 h 1424653"/>
                <a:gd name="connsiteX319" fmla="*/ 1457877 w 2214394"/>
                <a:gd name="connsiteY319" fmla="*/ 538572 h 1424653"/>
                <a:gd name="connsiteX320" fmla="*/ 1467745 w 2214394"/>
                <a:gd name="connsiteY320" fmla="*/ 524856 h 1424653"/>
                <a:gd name="connsiteX321" fmla="*/ 1481510 w 2214394"/>
                <a:gd name="connsiteY321" fmla="*/ 508031 h 1424653"/>
                <a:gd name="connsiteX322" fmla="*/ 1489355 w 2214394"/>
                <a:gd name="connsiteY322" fmla="*/ 503442 h 1424653"/>
                <a:gd name="connsiteX323" fmla="*/ 1491330 w 2214394"/>
                <a:gd name="connsiteY323" fmla="*/ 497373 h 1424653"/>
                <a:gd name="connsiteX324" fmla="*/ 1491330 w 2214394"/>
                <a:gd name="connsiteY324" fmla="*/ 494314 h 1424653"/>
                <a:gd name="connsiteX325" fmla="*/ 1475639 w 2214394"/>
                <a:gd name="connsiteY325" fmla="*/ 486716 h 1424653"/>
                <a:gd name="connsiteX326" fmla="*/ 1459949 w 2214394"/>
                <a:gd name="connsiteY326" fmla="*/ 476009 h 1424653"/>
                <a:gd name="connsiteX327" fmla="*/ 1461922 w 2214394"/>
                <a:gd name="connsiteY327" fmla="*/ 472999 h 1424653"/>
                <a:gd name="connsiteX328" fmla="*/ 1459949 w 2214394"/>
                <a:gd name="connsiteY328" fmla="*/ 465351 h 1424653"/>
                <a:gd name="connsiteX329" fmla="*/ 1461922 w 2214394"/>
                <a:gd name="connsiteY329" fmla="*/ 451635 h 1424653"/>
                <a:gd name="connsiteX330" fmla="*/ 1465820 w 2214394"/>
                <a:gd name="connsiteY330" fmla="*/ 445516 h 1424653"/>
                <a:gd name="connsiteX331" fmla="*/ 1473665 w 2214394"/>
                <a:gd name="connsiteY331" fmla="*/ 440928 h 1424653"/>
                <a:gd name="connsiteX332" fmla="*/ 1489355 w 2214394"/>
                <a:gd name="connsiteY332" fmla="*/ 437869 h 1424653"/>
                <a:gd name="connsiteX333" fmla="*/ 1497201 w 2214394"/>
                <a:gd name="connsiteY333" fmla="*/ 437869 h 1424653"/>
                <a:gd name="connsiteX334" fmla="*/ 1505045 w 2214394"/>
                <a:gd name="connsiteY334" fmla="*/ 443987 h 1424653"/>
                <a:gd name="connsiteX335" fmla="*/ 1516838 w 2214394"/>
                <a:gd name="connsiteY335" fmla="*/ 447046 h 1424653"/>
                <a:gd name="connsiteX336" fmla="*/ 1526706 w 2214394"/>
                <a:gd name="connsiteY336" fmla="*/ 448576 h 1424653"/>
                <a:gd name="connsiteX337" fmla="*/ 1532627 w 2214394"/>
                <a:gd name="connsiteY337" fmla="*/ 451635 h 1424653"/>
                <a:gd name="connsiteX338" fmla="*/ 1536525 w 2214394"/>
                <a:gd name="connsiteY338" fmla="*/ 450105 h 1424653"/>
                <a:gd name="connsiteX339" fmla="*/ 1538498 w 2214394"/>
                <a:gd name="connsiteY339" fmla="*/ 445516 h 1424653"/>
                <a:gd name="connsiteX340" fmla="*/ 1544370 w 2214394"/>
                <a:gd name="connsiteY340" fmla="*/ 440928 h 1424653"/>
                <a:gd name="connsiteX341" fmla="*/ 1550242 w 2214394"/>
                <a:gd name="connsiteY341" fmla="*/ 436389 h 1424653"/>
                <a:gd name="connsiteX342" fmla="*/ 1560110 w 2214394"/>
                <a:gd name="connsiteY342" fmla="*/ 433280 h 1424653"/>
                <a:gd name="connsiteX343" fmla="*/ 1565981 w 2214394"/>
                <a:gd name="connsiteY343" fmla="*/ 419563 h 1424653"/>
                <a:gd name="connsiteX344" fmla="*/ 1569879 w 2214394"/>
                <a:gd name="connsiteY344" fmla="*/ 416504 h 1424653"/>
                <a:gd name="connsiteX345" fmla="*/ 1577773 w 2214394"/>
                <a:gd name="connsiteY345" fmla="*/ 418034 h 1424653"/>
                <a:gd name="connsiteX346" fmla="*/ 1585569 w 2214394"/>
                <a:gd name="connsiteY346" fmla="*/ 418034 h 1424653"/>
                <a:gd name="connsiteX347" fmla="*/ 1603283 w 2214394"/>
                <a:gd name="connsiteY347" fmla="*/ 410435 h 1424653"/>
                <a:gd name="connsiteX348" fmla="*/ 1611078 w 2214394"/>
                <a:gd name="connsiteY348" fmla="*/ 408906 h 1424653"/>
                <a:gd name="connsiteX349" fmla="*/ 1613052 w 2214394"/>
                <a:gd name="connsiteY349" fmla="*/ 402788 h 1424653"/>
                <a:gd name="connsiteX350" fmla="*/ 1613052 w 2214394"/>
                <a:gd name="connsiteY350" fmla="*/ 396719 h 1424653"/>
                <a:gd name="connsiteX351" fmla="*/ 1615025 w 2214394"/>
                <a:gd name="connsiteY351" fmla="*/ 387541 h 1424653"/>
                <a:gd name="connsiteX352" fmla="*/ 1622871 w 2214394"/>
                <a:gd name="connsiteY352" fmla="*/ 379894 h 1424653"/>
                <a:gd name="connsiteX353" fmla="*/ 1624794 w 2214394"/>
                <a:gd name="connsiteY353" fmla="*/ 375354 h 1424653"/>
                <a:gd name="connsiteX354" fmla="*/ 1634662 w 2214394"/>
                <a:gd name="connsiteY354" fmla="*/ 375354 h 1424653"/>
                <a:gd name="connsiteX355" fmla="*/ 1636587 w 2214394"/>
                <a:gd name="connsiteY355" fmla="*/ 372295 h 1424653"/>
                <a:gd name="connsiteX356" fmla="*/ 1636587 w 2214394"/>
                <a:gd name="connsiteY356" fmla="*/ 366177 h 1424653"/>
                <a:gd name="connsiteX357" fmla="*/ 1638560 w 2214394"/>
                <a:gd name="connsiteY357" fmla="*/ 366177 h 1424653"/>
                <a:gd name="connsiteX358" fmla="*/ 1644432 w 2214394"/>
                <a:gd name="connsiteY358" fmla="*/ 369236 h 1424653"/>
                <a:gd name="connsiteX359" fmla="*/ 1650304 w 2214394"/>
                <a:gd name="connsiteY359" fmla="*/ 366177 h 1424653"/>
                <a:gd name="connsiteX360" fmla="*/ 1662096 w 2214394"/>
                <a:gd name="connsiteY360" fmla="*/ 360108 h 1424653"/>
                <a:gd name="connsiteX361" fmla="*/ 1667967 w 2214394"/>
                <a:gd name="connsiteY361" fmla="*/ 352461 h 1424653"/>
                <a:gd name="connsiteX362" fmla="*/ 1673840 w 2214394"/>
                <a:gd name="connsiteY362" fmla="*/ 352461 h 1424653"/>
                <a:gd name="connsiteX363" fmla="*/ 1683708 w 2214394"/>
                <a:gd name="connsiteY363" fmla="*/ 355520 h 1424653"/>
                <a:gd name="connsiteX364" fmla="*/ 1687604 w 2214394"/>
                <a:gd name="connsiteY364" fmla="*/ 352461 h 1424653"/>
                <a:gd name="connsiteX365" fmla="*/ 1697473 w 2214394"/>
                <a:gd name="connsiteY365" fmla="*/ 352461 h 1424653"/>
                <a:gd name="connsiteX366" fmla="*/ 1699447 w 2214394"/>
                <a:gd name="connsiteY366" fmla="*/ 355520 h 1424653"/>
                <a:gd name="connsiteX367" fmla="*/ 1705367 w 2214394"/>
                <a:gd name="connsiteY367" fmla="*/ 355520 h 1424653"/>
                <a:gd name="connsiteX368" fmla="*/ 1707291 w 2214394"/>
                <a:gd name="connsiteY368" fmla="*/ 352461 h 1424653"/>
                <a:gd name="connsiteX369" fmla="*/ 1707291 w 2214394"/>
                <a:gd name="connsiteY369" fmla="*/ 346392 h 1424653"/>
                <a:gd name="connsiteX370" fmla="*/ 1711189 w 2214394"/>
                <a:gd name="connsiteY370" fmla="*/ 343283 h 1424653"/>
                <a:gd name="connsiteX371" fmla="*/ 1711189 w 2214394"/>
                <a:gd name="connsiteY371" fmla="*/ 338744 h 1424653"/>
                <a:gd name="connsiteX372" fmla="*/ 1707291 w 2214394"/>
                <a:gd name="connsiteY372" fmla="*/ 334155 h 1424653"/>
                <a:gd name="connsiteX373" fmla="*/ 1707291 w 2214394"/>
                <a:gd name="connsiteY373" fmla="*/ 329567 h 1424653"/>
                <a:gd name="connsiteX374" fmla="*/ 1694266 w 2214394"/>
                <a:gd name="connsiteY374" fmla="*/ 320340 h 1424653"/>
                <a:gd name="connsiteX375" fmla="*/ 1682474 w 2214394"/>
                <a:gd name="connsiteY375" fmla="*/ 309682 h 1424653"/>
                <a:gd name="connsiteX376" fmla="*/ 1670681 w 2214394"/>
                <a:gd name="connsiteY376" fmla="*/ 300505 h 1424653"/>
                <a:gd name="connsiteX377" fmla="*/ 1660813 w 2214394"/>
                <a:gd name="connsiteY377" fmla="*/ 288318 h 1424653"/>
                <a:gd name="connsiteX378" fmla="*/ 1643149 w 2214394"/>
                <a:gd name="connsiteY378" fmla="*/ 285259 h 1424653"/>
                <a:gd name="connsiteX379" fmla="*/ 1641176 w 2214394"/>
                <a:gd name="connsiteY379" fmla="*/ 288318 h 1424653"/>
                <a:gd name="connsiteX380" fmla="*/ 1631308 w 2214394"/>
                <a:gd name="connsiteY380" fmla="*/ 291328 h 1424653"/>
                <a:gd name="connsiteX381" fmla="*/ 1631308 w 2214394"/>
                <a:gd name="connsiteY381" fmla="*/ 303564 h 1424653"/>
                <a:gd name="connsiteX382" fmla="*/ 1623413 w 2214394"/>
                <a:gd name="connsiteY382" fmla="*/ 314222 h 1424653"/>
                <a:gd name="connsiteX383" fmla="*/ 1613545 w 2214394"/>
                <a:gd name="connsiteY383" fmla="*/ 309682 h 1424653"/>
                <a:gd name="connsiteX384" fmla="*/ 1599829 w 2214394"/>
                <a:gd name="connsiteY384" fmla="*/ 306574 h 1424653"/>
                <a:gd name="connsiteX385" fmla="*/ 1584089 w 2214394"/>
                <a:gd name="connsiteY385" fmla="*/ 306574 h 1424653"/>
                <a:gd name="connsiteX386" fmla="*/ 1572395 w 2214394"/>
                <a:gd name="connsiteY386" fmla="*/ 314222 h 1424653"/>
                <a:gd name="connsiteX387" fmla="*/ 1556656 w 2214394"/>
                <a:gd name="connsiteY387" fmla="*/ 308153 h 1424653"/>
                <a:gd name="connsiteX388" fmla="*/ 1548811 w 2214394"/>
                <a:gd name="connsiteY388" fmla="*/ 295966 h 1424653"/>
                <a:gd name="connsiteX389" fmla="*/ 1556656 w 2214394"/>
                <a:gd name="connsiteY389" fmla="*/ 283729 h 1424653"/>
                <a:gd name="connsiteX390" fmla="*/ 1554682 w 2214394"/>
                <a:gd name="connsiteY390" fmla="*/ 277611 h 1424653"/>
                <a:gd name="connsiteX391" fmla="*/ 1558629 w 2214394"/>
                <a:gd name="connsiteY391" fmla="*/ 268483 h 1424653"/>
                <a:gd name="connsiteX392" fmla="*/ 1556656 w 2214394"/>
                <a:gd name="connsiteY392" fmla="*/ 257826 h 1424653"/>
                <a:gd name="connsiteX393" fmla="*/ 1564501 w 2214394"/>
                <a:gd name="connsiteY393" fmla="*/ 210508 h 1424653"/>
                <a:gd name="connsiteX394" fmla="*/ 1562527 w 2214394"/>
                <a:gd name="connsiteY394" fmla="*/ 209028 h 1424653"/>
                <a:gd name="connsiteX395" fmla="*/ 1572395 w 2214394"/>
                <a:gd name="connsiteY395" fmla="*/ 209028 h 1424653"/>
                <a:gd name="connsiteX396" fmla="*/ 1572395 w 2214394"/>
                <a:gd name="connsiteY396" fmla="*/ 210508 h 1424653"/>
                <a:gd name="connsiteX397" fmla="*/ 1592132 w 2214394"/>
                <a:gd name="connsiteY397" fmla="*/ 210508 h 1424653"/>
                <a:gd name="connsiteX398" fmla="*/ 1596030 w 2214394"/>
                <a:gd name="connsiteY398" fmla="*/ 215097 h 1424653"/>
                <a:gd name="connsiteX399" fmla="*/ 1599976 w 2214394"/>
                <a:gd name="connsiteY399" fmla="*/ 213568 h 1424653"/>
                <a:gd name="connsiteX400" fmla="*/ 1615667 w 2214394"/>
                <a:gd name="connsiteY400" fmla="*/ 201380 h 1424653"/>
                <a:gd name="connsiteX401" fmla="*/ 1625535 w 2214394"/>
                <a:gd name="connsiteY401" fmla="*/ 196792 h 1424653"/>
                <a:gd name="connsiteX402" fmla="*/ 1637327 w 2214394"/>
                <a:gd name="connsiteY402" fmla="*/ 195262 h 1424653"/>
                <a:gd name="connsiteX403" fmla="*/ 1643198 w 2214394"/>
                <a:gd name="connsiteY403" fmla="*/ 189144 h 1424653"/>
                <a:gd name="connsiteX404" fmla="*/ 1645172 w 2214394"/>
                <a:gd name="connsiteY404" fmla="*/ 183075 h 1424653"/>
                <a:gd name="connsiteX405" fmla="*/ 1643198 w 2214394"/>
                <a:gd name="connsiteY405" fmla="*/ 176957 h 1424653"/>
                <a:gd name="connsiteX406" fmla="*/ 1641225 w 2214394"/>
                <a:gd name="connsiteY406" fmla="*/ 175427 h 1424653"/>
                <a:gd name="connsiteX407" fmla="*/ 1639252 w 2214394"/>
                <a:gd name="connsiteY407" fmla="*/ 176957 h 1424653"/>
                <a:gd name="connsiteX408" fmla="*/ 1635354 w 2214394"/>
                <a:gd name="connsiteY408" fmla="*/ 175427 h 1424653"/>
                <a:gd name="connsiteX409" fmla="*/ 1633429 w 2214394"/>
                <a:gd name="connsiteY409" fmla="*/ 175427 h 1424653"/>
                <a:gd name="connsiteX410" fmla="*/ 1631456 w 2214394"/>
                <a:gd name="connsiteY410" fmla="*/ 164770 h 1424653"/>
                <a:gd name="connsiteX411" fmla="*/ 1633429 w 2214394"/>
                <a:gd name="connsiteY411" fmla="*/ 163240 h 1424653"/>
                <a:gd name="connsiteX412" fmla="*/ 1633429 w 2214394"/>
                <a:gd name="connsiteY412" fmla="*/ 154063 h 1424653"/>
                <a:gd name="connsiteX413" fmla="*/ 1631456 w 2214394"/>
                <a:gd name="connsiteY413" fmla="*/ 149524 h 1424653"/>
                <a:gd name="connsiteX414" fmla="*/ 1633429 w 2214394"/>
                <a:gd name="connsiteY414" fmla="*/ 146465 h 1424653"/>
                <a:gd name="connsiteX415" fmla="*/ 1637327 w 2214394"/>
                <a:gd name="connsiteY415" fmla="*/ 143406 h 1424653"/>
                <a:gd name="connsiteX416" fmla="*/ 1637327 w 2214394"/>
                <a:gd name="connsiteY416" fmla="*/ 137287 h 1424653"/>
                <a:gd name="connsiteX417" fmla="*/ 1633429 w 2214394"/>
                <a:gd name="connsiteY417" fmla="*/ 134278 h 1424653"/>
                <a:gd name="connsiteX418" fmla="*/ 1631456 w 2214394"/>
                <a:gd name="connsiteY418" fmla="*/ 126630 h 1424653"/>
                <a:gd name="connsiteX419" fmla="*/ 1633429 w 2214394"/>
                <a:gd name="connsiteY419" fmla="*/ 123571 h 1424653"/>
                <a:gd name="connsiteX420" fmla="*/ 1629483 w 2214394"/>
                <a:gd name="connsiteY420" fmla="*/ 118982 h 1424653"/>
                <a:gd name="connsiteX421" fmla="*/ 1631456 w 2214394"/>
                <a:gd name="connsiteY421" fmla="*/ 114393 h 1424653"/>
                <a:gd name="connsiteX422" fmla="*/ 1635354 w 2214394"/>
                <a:gd name="connsiteY422" fmla="*/ 106795 h 1424653"/>
                <a:gd name="connsiteX423" fmla="*/ 1639252 w 2214394"/>
                <a:gd name="connsiteY423" fmla="*/ 103736 h 1424653"/>
                <a:gd name="connsiteX424" fmla="*/ 1639252 w 2214394"/>
                <a:gd name="connsiteY424" fmla="*/ 97667 h 1424653"/>
                <a:gd name="connsiteX425" fmla="*/ 1645172 w 2214394"/>
                <a:gd name="connsiteY425" fmla="*/ 91549 h 1424653"/>
                <a:gd name="connsiteX426" fmla="*/ 1649071 w 2214394"/>
                <a:gd name="connsiteY426" fmla="*/ 88490 h 1424653"/>
                <a:gd name="connsiteX427" fmla="*/ 1649071 w 2214394"/>
                <a:gd name="connsiteY427" fmla="*/ 80842 h 1424653"/>
                <a:gd name="connsiteX428" fmla="*/ 1647146 w 2214394"/>
                <a:gd name="connsiteY428" fmla="*/ 76303 h 1424653"/>
                <a:gd name="connsiteX429" fmla="*/ 1647146 w 2214394"/>
                <a:gd name="connsiteY429" fmla="*/ 71665 h 1424653"/>
                <a:gd name="connsiteX430" fmla="*/ 1643198 w 2214394"/>
                <a:gd name="connsiteY430" fmla="*/ 68606 h 1424653"/>
                <a:gd name="connsiteX431" fmla="*/ 1639252 w 2214394"/>
                <a:gd name="connsiteY431" fmla="*/ 64017 h 1424653"/>
                <a:gd name="connsiteX432" fmla="*/ 1635354 w 2214394"/>
                <a:gd name="connsiteY432" fmla="*/ 54889 h 1424653"/>
                <a:gd name="connsiteX433" fmla="*/ 1631456 w 2214394"/>
                <a:gd name="connsiteY433" fmla="*/ 54889 h 1424653"/>
                <a:gd name="connsiteX434" fmla="*/ 1625535 w 2214394"/>
                <a:gd name="connsiteY434" fmla="*/ 56418 h 1424653"/>
                <a:gd name="connsiteX435" fmla="*/ 1617739 w 2214394"/>
                <a:gd name="connsiteY435" fmla="*/ 61007 h 1424653"/>
                <a:gd name="connsiteX436" fmla="*/ 1613791 w 2214394"/>
                <a:gd name="connsiteY436" fmla="*/ 61007 h 1424653"/>
                <a:gd name="connsiteX437" fmla="*/ 1611818 w 2214394"/>
                <a:gd name="connsiteY437" fmla="*/ 57948 h 1424653"/>
                <a:gd name="connsiteX438" fmla="*/ 1611818 w 2214394"/>
                <a:gd name="connsiteY438" fmla="*/ 50300 h 1424653"/>
                <a:gd name="connsiteX439" fmla="*/ 1613791 w 2214394"/>
                <a:gd name="connsiteY439" fmla="*/ 47290 h 1424653"/>
                <a:gd name="connsiteX440" fmla="*/ 1613791 w 2214394"/>
                <a:gd name="connsiteY440" fmla="*/ 44231 h 1424653"/>
                <a:gd name="connsiteX441" fmla="*/ 1615766 w 2214394"/>
                <a:gd name="connsiteY441" fmla="*/ 41123 h 1424653"/>
                <a:gd name="connsiteX442" fmla="*/ 1617739 w 2214394"/>
                <a:gd name="connsiteY442" fmla="*/ 36584 h 1424653"/>
                <a:gd name="connsiteX443" fmla="*/ 1625535 w 2214394"/>
                <a:gd name="connsiteY443" fmla="*/ 28936 h 1424653"/>
                <a:gd name="connsiteX444" fmla="*/ 1625535 w 2214394"/>
                <a:gd name="connsiteY444" fmla="*/ 25877 h 1424653"/>
                <a:gd name="connsiteX445" fmla="*/ 1629483 w 2214394"/>
                <a:gd name="connsiteY445" fmla="*/ 22867 h 1424653"/>
                <a:gd name="connsiteX446" fmla="*/ 1637327 w 2214394"/>
                <a:gd name="connsiteY446" fmla="*/ 22867 h 1424653"/>
                <a:gd name="connsiteX447" fmla="*/ 1641225 w 2214394"/>
                <a:gd name="connsiteY447" fmla="*/ 21337 h 1424653"/>
                <a:gd name="connsiteX448" fmla="*/ 1645172 w 2214394"/>
                <a:gd name="connsiteY448" fmla="*/ 21337 h 1424653"/>
                <a:gd name="connsiteX449" fmla="*/ 1647146 w 2214394"/>
                <a:gd name="connsiteY449" fmla="*/ 19808 h 1424653"/>
                <a:gd name="connsiteX450" fmla="*/ 1653017 w 2214394"/>
                <a:gd name="connsiteY450" fmla="*/ 19808 h 1424653"/>
                <a:gd name="connsiteX451" fmla="*/ 1658889 w 2214394"/>
                <a:gd name="connsiteY451" fmla="*/ 18278 h 1424653"/>
                <a:gd name="connsiteX452" fmla="*/ 1662836 w 2214394"/>
                <a:gd name="connsiteY452" fmla="*/ 13690 h 1424653"/>
                <a:gd name="connsiteX453" fmla="*/ 1668708 w 2214394"/>
                <a:gd name="connsiteY453" fmla="*/ 13690 h 1424653"/>
                <a:gd name="connsiteX454" fmla="*/ 1672606 w 2214394"/>
                <a:gd name="connsiteY454" fmla="*/ 10680 h 1424653"/>
                <a:gd name="connsiteX455" fmla="*/ 1692342 w 2214394"/>
                <a:gd name="connsiteY455" fmla="*/ 10680 h 1424653"/>
                <a:gd name="connsiteX456" fmla="*/ 1696239 w 2214394"/>
                <a:gd name="connsiteY456" fmla="*/ 9150 h 1424653"/>
                <a:gd name="connsiteX457" fmla="*/ 1698213 w 2214394"/>
                <a:gd name="connsiteY457" fmla="*/ 9150 h 1424653"/>
                <a:gd name="connsiteX458" fmla="*/ 1700137 w 2214394"/>
                <a:gd name="connsiteY458" fmla="*/ 3032 h 1424653"/>
                <a:gd name="connsiteX459" fmla="*/ 1710005 w 2214394"/>
                <a:gd name="connsiteY459" fmla="*/ 1503 h 1424653"/>
                <a:gd name="connsiteX460" fmla="*/ 1711980 w 2214394"/>
                <a:gd name="connsiteY460" fmla="*/ -27 h 1424653"/>
                <a:gd name="connsiteX461" fmla="*/ 1715926 w 2214394"/>
                <a:gd name="connsiteY461" fmla="*/ 1503 h 1424653"/>
                <a:gd name="connsiteX462" fmla="*/ 1721798 w 2214394"/>
                <a:gd name="connsiteY462" fmla="*/ 1503 h 1424653"/>
                <a:gd name="connsiteX463" fmla="*/ 1727669 w 2214394"/>
                <a:gd name="connsiteY463" fmla="*/ 4562 h 1424653"/>
                <a:gd name="connsiteX464" fmla="*/ 1737537 w 2214394"/>
                <a:gd name="connsiteY464" fmla="*/ 6091 h 1424653"/>
                <a:gd name="connsiteX465" fmla="*/ 1743409 w 2214394"/>
                <a:gd name="connsiteY465" fmla="*/ 10680 h 1424653"/>
                <a:gd name="connsiteX466" fmla="*/ 1743409 w 2214394"/>
                <a:gd name="connsiteY466" fmla="*/ 13690 h 1424653"/>
                <a:gd name="connsiteX467" fmla="*/ 1751254 w 2214394"/>
                <a:gd name="connsiteY467" fmla="*/ 13690 h 1424653"/>
                <a:gd name="connsiteX468" fmla="*/ 1759099 w 2214394"/>
                <a:gd name="connsiteY468" fmla="*/ 12160 h 1424653"/>
                <a:gd name="connsiteX469" fmla="*/ 1761073 w 2214394"/>
                <a:gd name="connsiteY469" fmla="*/ 13690 h 1424653"/>
                <a:gd name="connsiteX470" fmla="*/ 1766944 w 2214394"/>
                <a:gd name="connsiteY470" fmla="*/ 16749 h 1424653"/>
                <a:gd name="connsiteX471" fmla="*/ 1768917 w 2214394"/>
                <a:gd name="connsiteY471" fmla="*/ 15219 h 1424653"/>
                <a:gd name="connsiteX472" fmla="*/ 1768917 w 2214394"/>
                <a:gd name="connsiteY472" fmla="*/ 12456 h 1424653"/>
                <a:gd name="connsiteX473" fmla="*/ 1770842 w 2214394"/>
                <a:gd name="connsiteY473" fmla="*/ 9447 h 1424653"/>
                <a:gd name="connsiteX474" fmla="*/ 1774790 w 2214394"/>
                <a:gd name="connsiteY474" fmla="*/ 10976 h 1424653"/>
                <a:gd name="connsiteX475" fmla="*/ 1778737 w 2214394"/>
                <a:gd name="connsiteY475" fmla="*/ 10976 h 1424653"/>
                <a:gd name="connsiteX476" fmla="*/ 1782634 w 2214394"/>
                <a:gd name="connsiteY476" fmla="*/ 9447 h 1424653"/>
                <a:gd name="connsiteX477" fmla="*/ 1786532 w 2214394"/>
                <a:gd name="connsiteY477" fmla="*/ 13986 h 1424653"/>
                <a:gd name="connsiteX478" fmla="*/ 1788506 w 2214394"/>
                <a:gd name="connsiteY478" fmla="*/ 12456 h 1424653"/>
                <a:gd name="connsiteX479" fmla="*/ 1796351 w 2214394"/>
                <a:gd name="connsiteY479" fmla="*/ 13986 h 1424653"/>
                <a:gd name="connsiteX480" fmla="*/ 1798325 w 2214394"/>
                <a:gd name="connsiteY480" fmla="*/ 17045 h 1424653"/>
                <a:gd name="connsiteX481" fmla="*/ 1796351 w 2214394"/>
                <a:gd name="connsiteY481" fmla="*/ 20104 h 1424653"/>
                <a:gd name="connsiteX482" fmla="*/ 1798325 w 2214394"/>
                <a:gd name="connsiteY482" fmla="*/ 23163 h 1424653"/>
                <a:gd name="connsiteX483" fmla="*/ 1802222 w 2214394"/>
                <a:gd name="connsiteY483" fmla="*/ 23163 h 1424653"/>
                <a:gd name="connsiteX484" fmla="*/ 1802222 w 2214394"/>
                <a:gd name="connsiteY484" fmla="*/ 26173 h 1424653"/>
                <a:gd name="connsiteX485" fmla="*/ 1806169 w 2214394"/>
                <a:gd name="connsiteY485" fmla="*/ 23163 h 1424653"/>
                <a:gd name="connsiteX486" fmla="*/ 1812042 w 2214394"/>
                <a:gd name="connsiteY486" fmla="*/ 24693 h 1424653"/>
                <a:gd name="connsiteX487" fmla="*/ 1812042 w 2214394"/>
                <a:gd name="connsiteY487" fmla="*/ 26173 h 1424653"/>
                <a:gd name="connsiteX488" fmla="*/ 1810117 w 2214394"/>
                <a:gd name="connsiteY488" fmla="*/ 29232 h 1424653"/>
                <a:gd name="connsiteX489" fmla="*/ 1812042 w 2214394"/>
                <a:gd name="connsiteY489" fmla="*/ 32340 h 1424653"/>
                <a:gd name="connsiteX490" fmla="*/ 1817913 w 2214394"/>
                <a:gd name="connsiteY490" fmla="*/ 35350 h 1424653"/>
                <a:gd name="connsiteX491" fmla="*/ 1821861 w 2214394"/>
                <a:gd name="connsiteY491" fmla="*/ 35350 h 1424653"/>
                <a:gd name="connsiteX492" fmla="*/ 1823834 w 2214394"/>
                <a:gd name="connsiteY492" fmla="*/ 36880 h 1424653"/>
                <a:gd name="connsiteX493" fmla="*/ 1823834 w 2214394"/>
                <a:gd name="connsiteY493" fmla="*/ 39939 h 1424653"/>
                <a:gd name="connsiteX494" fmla="*/ 1829705 w 2214394"/>
                <a:gd name="connsiteY494" fmla="*/ 41419 h 1424653"/>
                <a:gd name="connsiteX495" fmla="*/ 1831630 w 2214394"/>
                <a:gd name="connsiteY495" fmla="*/ 44527 h 1424653"/>
                <a:gd name="connsiteX496" fmla="*/ 1831630 w 2214394"/>
                <a:gd name="connsiteY496" fmla="*/ 47587 h 1424653"/>
                <a:gd name="connsiteX497" fmla="*/ 1833652 w 2214394"/>
                <a:gd name="connsiteY497" fmla="*/ 52126 h 1424653"/>
                <a:gd name="connsiteX498" fmla="*/ 1833652 w 2214394"/>
                <a:gd name="connsiteY498" fmla="*/ 56715 h 1424653"/>
                <a:gd name="connsiteX499" fmla="*/ 1843520 w 2214394"/>
                <a:gd name="connsiteY499" fmla="*/ 56715 h 1424653"/>
                <a:gd name="connsiteX500" fmla="*/ 1843520 w 2214394"/>
                <a:gd name="connsiteY500" fmla="*/ 61303 h 1424653"/>
                <a:gd name="connsiteX501" fmla="*/ 1841597 w 2214394"/>
                <a:gd name="connsiteY501" fmla="*/ 65842 h 1424653"/>
                <a:gd name="connsiteX502" fmla="*/ 1843520 w 2214394"/>
                <a:gd name="connsiteY502" fmla="*/ 68902 h 1424653"/>
                <a:gd name="connsiteX503" fmla="*/ 1851415 w 2214394"/>
                <a:gd name="connsiteY503" fmla="*/ 73490 h 1424653"/>
                <a:gd name="connsiteX504" fmla="*/ 1853339 w 2214394"/>
                <a:gd name="connsiteY504" fmla="*/ 78030 h 1424653"/>
                <a:gd name="connsiteX505" fmla="*/ 1857237 w 2214394"/>
                <a:gd name="connsiteY505" fmla="*/ 82668 h 1424653"/>
                <a:gd name="connsiteX506" fmla="*/ 1861185 w 2214394"/>
                <a:gd name="connsiteY506" fmla="*/ 88736 h 1424653"/>
                <a:gd name="connsiteX507" fmla="*/ 1865131 w 2214394"/>
                <a:gd name="connsiteY507" fmla="*/ 88736 h 1424653"/>
                <a:gd name="connsiteX508" fmla="*/ 1867056 w 2214394"/>
                <a:gd name="connsiteY508" fmla="*/ 94855 h 1424653"/>
                <a:gd name="connsiteX509" fmla="*/ 1871003 w 2214394"/>
                <a:gd name="connsiteY509" fmla="*/ 96384 h 1424653"/>
                <a:gd name="connsiteX510" fmla="*/ 1871003 w 2214394"/>
                <a:gd name="connsiteY510" fmla="*/ 99443 h 1424653"/>
                <a:gd name="connsiteX511" fmla="*/ 1869029 w 2214394"/>
                <a:gd name="connsiteY511" fmla="*/ 102453 h 1424653"/>
                <a:gd name="connsiteX512" fmla="*/ 1871003 w 2214394"/>
                <a:gd name="connsiteY512" fmla="*/ 103982 h 1424653"/>
                <a:gd name="connsiteX513" fmla="*/ 1874901 w 2214394"/>
                <a:gd name="connsiteY513" fmla="*/ 102453 h 1424653"/>
                <a:gd name="connsiteX514" fmla="*/ 1878848 w 2214394"/>
                <a:gd name="connsiteY514" fmla="*/ 107042 h 1424653"/>
                <a:gd name="connsiteX515" fmla="*/ 1878848 w 2214394"/>
                <a:gd name="connsiteY515" fmla="*/ 110101 h 1424653"/>
                <a:gd name="connsiteX516" fmla="*/ 1884720 w 2214394"/>
                <a:gd name="connsiteY516" fmla="*/ 119229 h 1424653"/>
                <a:gd name="connsiteX517" fmla="*/ 1900410 w 2214394"/>
                <a:gd name="connsiteY517" fmla="*/ 126876 h 1424653"/>
                <a:gd name="connsiteX518" fmla="*/ 1902383 w 2214394"/>
                <a:gd name="connsiteY518" fmla="*/ 131465 h 1424653"/>
                <a:gd name="connsiteX519" fmla="*/ 1902383 w 2214394"/>
                <a:gd name="connsiteY519" fmla="*/ 137534 h 1424653"/>
                <a:gd name="connsiteX520" fmla="*/ 1906281 w 2214394"/>
                <a:gd name="connsiteY520" fmla="*/ 139064 h 1424653"/>
                <a:gd name="connsiteX521" fmla="*/ 1906281 w 2214394"/>
                <a:gd name="connsiteY521" fmla="*/ 146711 h 1424653"/>
                <a:gd name="connsiteX522" fmla="*/ 1910229 w 2214394"/>
                <a:gd name="connsiteY522" fmla="*/ 148241 h 1424653"/>
                <a:gd name="connsiteX523" fmla="*/ 1914127 w 2214394"/>
                <a:gd name="connsiteY523" fmla="*/ 149770 h 1424653"/>
                <a:gd name="connsiteX524" fmla="*/ 1914127 w 2214394"/>
                <a:gd name="connsiteY524" fmla="*/ 158898 h 1424653"/>
                <a:gd name="connsiteX525" fmla="*/ 1918025 w 2214394"/>
                <a:gd name="connsiteY525" fmla="*/ 165017 h 1424653"/>
                <a:gd name="connsiteX526" fmla="*/ 1925919 w 2214394"/>
                <a:gd name="connsiteY526" fmla="*/ 172664 h 1424653"/>
                <a:gd name="connsiteX527" fmla="*/ 1933715 w 2214394"/>
                <a:gd name="connsiteY527" fmla="*/ 174144 h 1424653"/>
                <a:gd name="connsiteX528" fmla="*/ 1935737 w 2214394"/>
                <a:gd name="connsiteY528" fmla="*/ 178733 h 1424653"/>
                <a:gd name="connsiteX529" fmla="*/ 1939635 w 2214394"/>
                <a:gd name="connsiteY529" fmla="*/ 178733 h 1424653"/>
                <a:gd name="connsiteX530" fmla="*/ 1943533 w 2214394"/>
                <a:gd name="connsiteY530" fmla="*/ 177204 h 1424653"/>
                <a:gd name="connsiteX531" fmla="*/ 1947481 w 2214394"/>
                <a:gd name="connsiteY531" fmla="*/ 178733 h 1424653"/>
                <a:gd name="connsiteX532" fmla="*/ 1957349 w 2214394"/>
                <a:gd name="connsiteY532" fmla="*/ 178733 h 1424653"/>
                <a:gd name="connsiteX533" fmla="*/ 1961247 w 2214394"/>
                <a:gd name="connsiteY533" fmla="*/ 175674 h 1424653"/>
                <a:gd name="connsiteX534" fmla="*/ 1967168 w 2214394"/>
                <a:gd name="connsiteY534" fmla="*/ 175674 h 1424653"/>
                <a:gd name="connsiteX535" fmla="*/ 1967168 w 2214394"/>
                <a:gd name="connsiteY535" fmla="*/ 177204 h 1424653"/>
                <a:gd name="connsiteX536" fmla="*/ 1965193 w 2214394"/>
                <a:gd name="connsiteY536" fmla="*/ 180213 h 1424653"/>
                <a:gd name="connsiteX537" fmla="*/ 1967168 w 2214394"/>
                <a:gd name="connsiteY537" fmla="*/ 181792 h 1424653"/>
                <a:gd name="connsiteX538" fmla="*/ 1974963 w 2214394"/>
                <a:gd name="connsiteY538" fmla="*/ 183322 h 1424653"/>
                <a:gd name="connsiteX539" fmla="*/ 1976937 w 2214394"/>
                <a:gd name="connsiteY539" fmla="*/ 184851 h 1424653"/>
                <a:gd name="connsiteX540" fmla="*/ 1978910 w 2214394"/>
                <a:gd name="connsiteY540" fmla="*/ 186381 h 1424653"/>
                <a:gd name="connsiteX541" fmla="*/ 1984781 w 2214394"/>
                <a:gd name="connsiteY541" fmla="*/ 189391 h 1424653"/>
                <a:gd name="connsiteX542" fmla="*/ 1984781 w 2214394"/>
                <a:gd name="connsiteY542" fmla="*/ 186381 h 1424653"/>
                <a:gd name="connsiteX543" fmla="*/ 1988679 w 2214394"/>
                <a:gd name="connsiteY543" fmla="*/ 184851 h 1424653"/>
                <a:gd name="connsiteX544" fmla="*/ 1992627 w 2214394"/>
                <a:gd name="connsiteY544" fmla="*/ 186381 h 1424653"/>
                <a:gd name="connsiteX545" fmla="*/ 1992627 w 2214394"/>
                <a:gd name="connsiteY545" fmla="*/ 183322 h 1424653"/>
                <a:gd name="connsiteX546" fmla="*/ 1998547 w 2214394"/>
                <a:gd name="connsiteY546" fmla="*/ 181792 h 1424653"/>
                <a:gd name="connsiteX547" fmla="*/ 2000472 w 2214394"/>
                <a:gd name="connsiteY547" fmla="*/ 184851 h 1424653"/>
                <a:gd name="connsiteX548" fmla="*/ 2002446 w 2214394"/>
                <a:gd name="connsiteY548" fmla="*/ 187861 h 1424653"/>
                <a:gd name="connsiteX549" fmla="*/ 2006344 w 2214394"/>
                <a:gd name="connsiteY549" fmla="*/ 190920 h 1424653"/>
                <a:gd name="connsiteX550" fmla="*/ 2010291 w 2214394"/>
                <a:gd name="connsiteY550" fmla="*/ 190920 h 1424653"/>
                <a:gd name="connsiteX551" fmla="*/ 2010291 w 2214394"/>
                <a:gd name="connsiteY551" fmla="*/ 195509 h 1424653"/>
                <a:gd name="connsiteX552" fmla="*/ 2014189 w 2214394"/>
                <a:gd name="connsiteY552" fmla="*/ 198568 h 1424653"/>
                <a:gd name="connsiteX553" fmla="*/ 2016162 w 2214394"/>
                <a:gd name="connsiteY553" fmla="*/ 198568 h 1424653"/>
                <a:gd name="connsiteX554" fmla="*/ 2020060 w 2214394"/>
                <a:gd name="connsiteY554" fmla="*/ 201627 h 1424653"/>
                <a:gd name="connsiteX555" fmla="*/ 2020060 w 2214394"/>
                <a:gd name="connsiteY555" fmla="*/ 204637 h 1424653"/>
                <a:gd name="connsiteX556" fmla="*/ 2027954 w 2214394"/>
                <a:gd name="connsiteY556" fmla="*/ 206166 h 1424653"/>
                <a:gd name="connsiteX557" fmla="*/ 2029879 w 2214394"/>
                <a:gd name="connsiteY557" fmla="*/ 207696 h 1424653"/>
                <a:gd name="connsiteX558" fmla="*/ 2033826 w 2214394"/>
                <a:gd name="connsiteY558" fmla="*/ 209275 h 1424653"/>
                <a:gd name="connsiteX559" fmla="*/ 2037725 w 2214394"/>
                <a:gd name="connsiteY559" fmla="*/ 210755 h 1424653"/>
                <a:gd name="connsiteX560" fmla="*/ 2041671 w 2214394"/>
                <a:gd name="connsiteY560" fmla="*/ 212285 h 1424653"/>
                <a:gd name="connsiteX561" fmla="*/ 2045569 w 2214394"/>
                <a:gd name="connsiteY561" fmla="*/ 210755 h 1424653"/>
                <a:gd name="connsiteX562" fmla="*/ 2049467 w 2214394"/>
                <a:gd name="connsiteY562" fmla="*/ 210755 h 1424653"/>
                <a:gd name="connsiteX563" fmla="*/ 2053464 w 2214394"/>
                <a:gd name="connsiteY563" fmla="*/ 207696 h 1424653"/>
                <a:gd name="connsiteX564" fmla="*/ 2055388 w 2214394"/>
                <a:gd name="connsiteY564" fmla="*/ 207696 h 1424653"/>
                <a:gd name="connsiteX565" fmla="*/ 2059335 w 2214394"/>
                <a:gd name="connsiteY565" fmla="*/ 209275 h 1424653"/>
                <a:gd name="connsiteX566" fmla="*/ 2057362 w 2214394"/>
                <a:gd name="connsiteY566" fmla="*/ 212285 h 1424653"/>
                <a:gd name="connsiteX567" fmla="*/ 2055388 w 2214394"/>
                <a:gd name="connsiteY567" fmla="*/ 215344 h 1424653"/>
                <a:gd name="connsiteX568" fmla="*/ 2055388 w 2214394"/>
                <a:gd name="connsiteY568" fmla="*/ 224472 h 1424653"/>
                <a:gd name="connsiteX569" fmla="*/ 2061259 w 2214394"/>
                <a:gd name="connsiteY569" fmla="*/ 224472 h 1424653"/>
                <a:gd name="connsiteX570" fmla="*/ 2063233 w 2214394"/>
                <a:gd name="connsiteY570" fmla="*/ 229060 h 1424653"/>
                <a:gd name="connsiteX571" fmla="*/ 2067181 w 2214394"/>
                <a:gd name="connsiteY571" fmla="*/ 235179 h 1424653"/>
                <a:gd name="connsiteX572" fmla="*/ 2063233 w 2214394"/>
                <a:gd name="connsiteY572" fmla="*/ 239718 h 1424653"/>
                <a:gd name="connsiteX573" fmla="*/ 2063233 w 2214394"/>
                <a:gd name="connsiteY573" fmla="*/ 247366 h 1424653"/>
                <a:gd name="connsiteX574" fmla="*/ 2071079 w 2214394"/>
                <a:gd name="connsiteY574" fmla="*/ 254964 h 1424653"/>
                <a:gd name="connsiteX575" fmla="*/ 2073052 w 2214394"/>
                <a:gd name="connsiteY575" fmla="*/ 256494 h 1424653"/>
                <a:gd name="connsiteX576" fmla="*/ 2078923 w 2214394"/>
                <a:gd name="connsiteY576" fmla="*/ 262612 h 1424653"/>
                <a:gd name="connsiteX577" fmla="*/ 2080897 w 2214394"/>
                <a:gd name="connsiteY577" fmla="*/ 265671 h 1424653"/>
                <a:gd name="connsiteX578" fmla="*/ 2086769 w 2214394"/>
                <a:gd name="connsiteY578" fmla="*/ 264141 h 1424653"/>
                <a:gd name="connsiteX579" fmla="*/ 2090667 w 2214394"/>
                <a:gd name="connsiteY579" fmla="*/ 261082 h 1424653"/>
                <a:gd name="connsiteX580" fmla="*/ 2094613 w 2214394"/>
                <a:gd name="connsiteY580" fmla="*/ 261082 h 1424653"/>
                <a:gd name="connsiteX581" fmla="*/ 2098560 w 2214394"/>
                <a:gd name="connsiteY581" fmla="*/ 264141 h 1424653"/>
                <a:gd name="connsiteX582" fmla="*/ 2102459 w 2214394"/>
                <a:gd name="connsiteY582" fmla="*/ 268730 h 1424653"/>
                <a:gd name="connsiteX583" fmla="*/ 2106357 w 2214394"/>
                <a:gd name="connsiteY583" fmla="*/ 267200 h 1424653"/>
                <a:gd name="connsiteX584" fmla="*/ 2108330 w 2214394"/>
                <a:gd name="connsiteY584" fmla="*/ 264141 h 1424653"/>
                <a:gd name="connsiteX585" fmla="*/ 2114252 w 2214394"/>
                <a:gd name="connsiteY585" fmla="*/ 265671 h 1424653"/>
                <a:gd name="connsiteX586" fmla="*/ 2118148 w 2214394"/>
                <a:gd name="connsiteY586" fmla="*/ 264141 h 1424653"/>
                <a:gd name="connsiteX587" fmla="*/ 2128017 w 2214394"/>
                <a:gd name="connsiteY587" fmla="*/ 262612 h 1424653"/>
                <a:gd name="connsiteX588" fmla="*/ 2131915 w 2214394"/>
                <a:gd name="connsiteY588" fmla="*/ 259602 h 1424653"/>
                <a:gd name="connsiteX589" fmla="*/ 2137786 w 2214394"/>
                <a:gd name="connsiteY589" fmla="*/ 258072 h 1424653"/>
                <a:gd name="connsiteX590" fmla="*/ 2135813 w 2214394"/>
                <a:gd name="connsiteY590" fmla="*/ 254964 h 1424653"/>
                <a:gd name="connsiteX591" fmla="*/ 2137786 w 2214394"/>
                <a:gd name="connsiteY591" fmla="*/ 250425 h 1424653"/>
                <a:gd name="connsiteX592" fmla="*/ 2141733 w 2214394"/>
                <a:gd name="connsiteY592" fmla="*/ 247366 h 1424653"/>
                <a:gd name="connsiteX593" fmla="*/ 2141733 w 2214394"/>
                <a:gd name="connsiteY593" fmla="*/ 241247 h 1424653"/>
                <a:gd name="connsiteX594" fmla="*/ 2143708 w 2214394"/>
                <a:gd name="connsiteY594" fmla="*/ 238238 h 1424653"/>
                <a:gd name="connsiteX595" fmla="*/ 2149579 w 2214394"/>
                <a:gd name="connsiteY595" fmla="*/ 236708 h 1424653"/>
                <a:gd name="connsiteX596" fmla="*/ 2155450 w 2214394"/>
                <a:gd name="connsiteY596" fmla="*/ 236708 h 1424653"/>
                <a:gd name="connsiteX597" fmla="*/ 2157424 w 2214394"/>
                <a:gd name="connsiteY597" fmla="*/ 230590 h 1424653"/>
                <a:gd name="connsiteX598" fmla="*/ 2161321 w 2214394"/>
                <a:gd name="connsiteY598" fmla="*/ 230590 h 1424653"/>
                <a:gd name="connsiteX599" fmla="*/ 2165269 w 2214394"/>
                <a:gd name="connsiteY599" fmla="*/ 229060 h 1424653"/>
                <a:gd name="connsiteX600" fmla="*/ 2165269 w 2214394"/>
                <a:gd name="connsiteY600" fmla="*/ 224472 h 1424653"/>
                <a:gd name="connsiteX601" fmla="*/ 2171140 w 2214394"/>
                <a:gd name="connsiteY601" fmla="*/ 222992 h 1424653"/>
                <a:gd name="connsiteX602" fmla="*/ 2177012 w 2214394"/>
                <a:gd name="connsiteY602" fmla="*/ 221462 h 1424653"/>
                <a:gd name="connsiteX603" fmla="*/ 2180959 w 2214394"/>
                <a:gd name="connsiteY603" fmla="*/ 216873 h 1424653"/>
                <a:gd name="connsiteX604" fmla="*/ 2186831 w 2214394"/>
                <a:gd name="connsiteY604" fmla="*/ 221462 h 1424653"/>
                <a:gd name="connsiteX605" fmla="*/ 2190777 w 2214394"/>
                <a:gd name="connsiteY605" fmla="*/ 222992 h 1424653"/>
                <a:gd name="connsiteX606" fmla="*/ 2196650 w 2214394"/>
                <a:gd name="connsiteY606" fmla="*/ 222992 h 1424653"/>
                <a:gd name="connsiteX607" fmla="*/ 2198623 w 2214394"/>
                <a:gd name="connsiteY607" fmla="*/ 226001 h 1424653"/>
                <a:gd name="connsiteX608" fmla="*/ 2200597 w 2214394"/>
                <a:gd name="connsiteY608" fmla="*/ 232119 h 1424653"/>
                <a:gd name="connsiteX609" fmla="*/ 2198623 w 2214394"/>
                <a:gd name="connsiteY609" fmla="*/ 235179 h 1424653"/>
                <a:gd name="connsiteX610" fmla="*/ 2198623 w 2214394"/>
                <a:gd name="connsiteY610" fmla="*/ 238238 h 1424653"/>
                <a:gd name="connsiteX611" fmla="*/ 2206468 w 2214394"/>
                <a:gd name="connsiteY611" fmla="*/ 242777 h 1424653"/>
                <a:gd name="connsiteX612" fmla="*/ 2206468 w 2214394"/>
                <a:gd name="connsiteY612" fmla="*/ 248895 h 1424653"/>
                <a:gd name="connsiteX613" fmla="*/ 2210366 w 2214394"/>
                <a:gd name="connsiteY613" fmla="*/ 251954 h 1424653"/>
                <a:gd name="connsiteX614" fmla="*/ 2214313 w 2214394"/>
                <a:gd name="connsiteY614" fmla="*/ 253484 h 1424653"/>
                <a:gd name="connsiteX615" fmla="*/ 2212340 w 2214394"/>
                <a:gd name="connsiteY615" fmla="*/ 259158 h 1424653"/>
                <a:gd name="connsiteX616" fmla="*/ 2212340 w 2214394"/>
                <a:gd name="connsiteY616" fmla="*/ 266756 h 1424653"/>
                <a:gd name="connsiteX617" fmla="*/ 2206468 w 2214394"/>
                <a:gd name="connsiteY617" fmla="*/ 268286 h 1424653"/>
                <a:gd name="connsiteX618" fmla="*/ 2200597 w 2214394"/>
                <a:gd name="connsiteY618" fmla="*/ 274404 h 1424653"/>
                <a:gd name="connsiteX619" fmla="*/ 2200597 w 2214394"/>
                <a:gd name="connsiteY619" fmla="*/ 275884 h 1424653"/>
                <a:gd name="connsiteX620" fmla="*/ 2204494 w 2214394"/>
                <a:gd name="connsiteY620" fmla="*/ 280473 h 1424653"/>
                <a:gd name="connsiteX621" fmla="*/ 2206468 w 2214394"/>
                <a:gd name="connsiteY621" fmla="*/ 282003 h 1424653"/>
                <a:gd name="connsiteX622" fmla="*/ 2206468 w 2214394"/>
                <a:gd name="connsiteY622" fmla="*/ 286591 h 1424653"/>
                <a:gd name="connsiteX623" fmla="*/ 2204494 w 2214394"/>
                <a:gd name="connsiteY623" fmla="*/ 291131 h 1424653"/>
                <a:gd name="connsiteX624" fmla="*/ 2206468 w 2214394"/>
                <a:gd name="connsiteY624" fmla="*/ 292660 h 1424653"/>
                <a:gd name="connsiteX625" fmla="*/ 2208392 w 2214394"/>
                <a:gd name="connsiteY625" fmla="*/ 295769 h 1424653"/>
                <a:gd name="connsiteX626" fmla="*/ 2208392 w 2214394"/>
                <a:gd name="connsiteY626" fmla="*/ 300308 h 1424653"/>
                <a:gd name="connsiteX627" fmla="*/ 2210366 w 2214394"/>
                <a:gd name="connsiteY627" fmla="*/ 301837 h 1424653"/>
                <a:gd name="connsiteX628" fmla="*/ 2210366 w 2214394"/>
                <a:gd name="connsiteY628" fmla="*/ 304847 h 1424653"/>
                <a:gd name="connsiteX629" fmla="*/ 2208392 w 2214394"/>
                <a:gd name="connsiteY629" fmla="*/ 304847 h 1424653"/>
                <a:gd name="connsiteX630" fmla="*/ 2206468 w 2214394"/>
                <a:gd name="connsiteY630" fmla="*/ 306377 h 1424653"/>
                <a:gd name="connsiteX631" fmla="*/ 2206468 w 2214394"/>
                <a:gd name="connsiteY631" fmla="*/ 312495 h 1424653"/>
                <a:gd name="connsiteX632" fmla="*/ 2210366 w 2214394"/>
                <a:gd name="connsiteY632" fmla="*/ 318613 h 1424653"/>
                <a:gd name="connsiteX633" fmla="*/ 2212340 w 2214394"/>
                <a:gd name="connsiteY633" fmla="*/ 321672 h 1424653"/>
                <a:gd name="connsiteX634" fmla="*/ 2212340 w 2214394"/>
                <a:gd name="connsiteY634" fmla="*/ 326261 h 1424653"/>
                <a:gd name="connsiteX635" fmla="*/ 2208392 w 2214394"/>
                <a:gd name="connsiteY635" fmla="*/ 327741 h 1424653"/>
                <a:gd name="connsiteX636" fmla="*/ 2206468 w 2214394"/>
                <a:gd name="connsiteY636" fmla="*/ 332330 h 1424653"/>
                <a:gd name="connsiteX637" fmla="*/ 2208392 w 2214394"/>
                <a:gd name="connsiteY637" fmla="*/ 335389 h 1424653"/>
                <a:gd name="connsiteX638" fmla="*/ 2208392 w 2214394"/>
                <a:gd name="connsiteY638" fmla="*/ 338448 h 1424653"/>
                <a:gd name="connsiteX639" fmla="*/ 2210366 w 2214394"/>
                <a:gd name="connsiteY639" fmla="*/ 341458 h 1424653"/>
                <a:gd name="connsiteX640" fmla="*/ 2206468 w 2214394"/>
                <a:gd name="connsiteY640" fmla="*/ 342987 h 1424653"/>
                <a:gd name="connsiteX641" fmla="*/ 2204494 w 2214394"/>
                <a:gd name="connsiteY641" fmla="*/ 344517 h 1424653"/>
                <a:gd name="connsiteX642" fmla="*/ 2206468 w 2214394"/>
                <a:gd name="connsiteY642" fmla="*/ 347625 h 1424653"/>
                <a:gd name="connsiteX643" fmla="*/ 2208392 w 2214394"/>
                <a:gd name="connsiteY643" fmla="*/ 353694 h 1424653"/>
                <a:gd name="connsiteX644" fmla="*/ 2206468 w 2214394"/>
                <a:gd name="connsiteY644" fmla="*/ 356753 h 1424653"/>
                <a:gd name="connsiteX645" fmla="*/ 2200597 w 2214394"/>
                <a:gd name="connsiteY645" fmla="*/ 361342 h 1424653"/>
                <a:gd name="connsiteX646" fmla="*/ 2204494 w 2214394"/>
                <a:gd name="connsiteY646" fmla="*/ 364352 h 1424653"/>
                <a:gd name="connsiteX647" fmla="*/ 2204494 w 2214394"/>
                <a:gd name="connsiteY647" fmla="*/ 373529 h 1424653"/>
                <a:gd name="connsiteX648" fmla="*/ 2206468 w 2214394"/>
                <a:gd name="connsiteY648" fmla="*/ 376588 h 1424653"/>
                <a:gd name="connsiteX649" fmla="*/ 2206468 w 2214394"/>
                <a:gd name="connsiteY649" fmla="*/ 382657 h 1424653"/>
                <a:gd name="connsiteX650" fmla="*/ 2204494 w 2214394"/>
                <a:gd name="connsiteY650" fmla="*/ 385716 h 1424653"/>
                <a:gd name="connsiteX651" fmla="*/ 2198623 w 2214394"/>
                <a:gd name="connsiteY651" fmla="*/ 385716 h 1424653"/>
                <a:gd name="connsiteX652" fmla="*/ 2194675 w 2214394"/>
                <a:gd name="connsiteY652" fmla="*/ 384236 h 1424653"/>
                <a:gd name="connsiteX653" fmla="*/ 2173114 w 2214394"/>
                <a:gd name="connsiteY653" fmla="*/ 381127 h 1424653"/>
                <a:gd name="connsiteX654" fmla="*/ 2169167 w 2214394"/>
                <a:gd name="connsiteY654" fmla="*/ 379598 h 1424653"/>
                <a:gd name="connsiteX655" fmla="*/ 2161321 w 2214394"/>
                <a:gd name="connsiteY655" fmla="*/ 376588 h 1424653"/>
                <a:gd name="connsiteX656" fmla="*/ 2159398 w 2214394"/>
                <a:gd name="connsiteY656" fmla="*/ 379598 h 1424653"/>
                <a:gd name="connsiteX657" fmla="*/ 2153131 w 2214394"/>
                <a:gd name="connsiteY657" fmla="*/ 387443 h 1424653"/>
                <a:gd name="connsiteX658" fmla="*/ 2151158 w 2214394"/>
                <a:gd name="connsiteY658" fmla="*/ 392031 h 1424653"/>
                <a:gd name="connsiteX659" fmla="*/ 2149233 w 2214394"/>
                <a:gd name="connsiteY659" fmla="*/ 395091 h 1424653"/>
                <a:gd name="connsiteX660" fmla="*/ 2145335 w 2214394"/>
                <a:gd name="connsiteY660" fmla="*/ 395091 h 1424653"/>
                <a:gd name="connsiteX661" fmla="*/ 2139414 w 2214394"/>
                <a:gd name="connsiteY661" fmla="*/ 398150 h 1424653"/>
                <a:gd name="connsiteX662" fmla="*/ 2139414 w 2214394"/>
                <a:gd name="connsiteY662" fmla="*/ 401159 h 1424653"/>
                <a:gd name="connsiteX663" fmla="*/ 2141389 w 2214394"/>
                <a:gd name="connsiteY663" fmla="*/ 407278 h 1424653"/>
                <a:gd name="connsiteX664" fmla="*/ 2149233 w 2214394"/>
                <a:gd name="connsiteY664" fmla="*/ 417935 h 1424653"/>
                <a:gd name="connsiteX665" fmla="*/ 2151158 w 2214394"/>
                <a:gd name="connsiteY665" fmla="*/ 422524 h 1424653"/>
                <a:gd name="connsiteX666" fmla="*/ 2153131 w 2214394"/>
                <a:gd name="connsiteY666" fmla="*/ 425583 h 1424653"/>
                <a:gd name="connsiteX667" fmla="*/ 2157079 w 2214394"/>
                <a:gd name="connsiteY667" fmla="*/ 430122 h 1424653"/>
                <a:gd name="connsiteX668" fmla="*/ 2157079 w 2214394"/>
                <a:gd name="connsiteY668" fmla="*/ 443888 h 1424653"/>
                <a:gd name="connsiteX669" fmla="*/ 2159052 w 2214394"/>
                <a:gd name="connsiteY669" fmla="*/ 450006 h 1424653"/>
                <a:gd name="connsiteX670" fmla="*/ 2159052 w 2214394"/>
                <a:gd name="connsiteY670" fmla="*/ 460664 h 1424653"/>
                <a:gd name="connsiteX671" fmla="*/ 2162950 w 2214394"/>
                <a:gd name="connsiteY671" fmla="*/ 463723 h 1424653"/>
                <a:gd name="connsiteX672" fmla="*/ 2162950 w 2214394"/>
                <a:gd name="connsiteY672" fmla="*/ 474381 h 1424653"/>
                <a:gd name="connsiteX673" fmla="*/ 2160977 w 2214394"/>
                <a:gd name="connsiteY673" fmla="*/ 475910 h 1424653"/>
                <a:gd name="connsiteX674" fmla="*/ 2160977 w 2214394"/>
                <a:gd name="connsiteY674" fmla="*/ 480499 h 1424653"/>
                <a:gd name="connsiteX675" fmla="*/ 2162950 w 2214394"/>
                <a:gd name="connsiteY675" fmla="*/ 485087 h 1424653"/>
                <a:gd name="connsiteX676" fmla="*/ 2162950 w 2214394"/>
                <a:gd name="connsiteY676" fmla="*/ 489627 h 1424653"/>
                <a:gd name="connsiteX677" fmla="*/ 2159052 w 2214394"/>
                <a:gd name="connsiteY677" fmla="*/ 491156 h 1424653"/>
                <a:gd name="connsiteX678" fmla="*/ 2151158 w 2214394"/>
                <a:gd name="connsiteY678" fmla="*/ 489627 h 1424653"/>
                <a:gd name="connsiteX679" fmla="*/ 2147260 w 2214394"/>
                <a:gd name="connsiteY679" fmla="*/ 491156 h 1424653"/>
                <a:gd name="connsiteX680" fmla="*/ 2147260 w 2214394"/>
                <a:gd name="connsiteY680" fmla="*/ 494215 h 1424653"/>
                <a:gd name="connsiteX681" fmla="*/ 2149233 w 2214394"/>
                <a:gd name="connsiteY681" fmla="*/ 498804 h 1424653"/>
                <a:gd name="connsiteX682" fmla="*/ 2151158 w 2214394"/>
                <a:gd name="connsiteY682" fmla="*/ 500334 h 1424653"/>
                <a:gd name="connsiteX683" fmla="*/ 2151158 w 2214394"/>
                <a:gd name="connsiteY683" fmla="*/ 504873 h 1424653"/>
                <a:gd name="connsiteX684" fmla="*/ 2149233 w 2214394"/>
                <a:gd name="connsiteY684" fmla="*/ 503343 h 1424653"/>
                <a:gd name="connsiteX685" fmla="*/ 2137441 w 2214394"/>
                <a:gd name="connsiteY685" fmla="*/ 501863 h 1424653"/>
                <a:gd name="connsiteX686" fmla="*/ 2135467 w 2214394"/>
                <a:gd name="connsiteY686" fmla="*/ 498804 h 1424653"/>
                <a:gd name="connsiteX687" fmla="*/ 2135467 w 2214394"/>
                <a:gd name="connsiteY687" fmla="*/ 492686 h 1424653"/>
                <a:gd name="connsiteX688" fmla="*/ 2127672 w 2214394"/>
                <a:gd name="connsiteY688" fmla="*/ 488147 h 1424653"/>
                <a:gd name="connsiteX689" fmla="*/ 2123725 w 2214394"/>
                <a:gd name="connsiteY689" fmla="*/ 489627 h 1424653"/>
                <a:gd name="connsiteX690" fmla="*/ 2123725 w 2214394"/>
                <a:gd name="connsiteY690" fmla="*/ 495992 h 1424653"/>
                <a:gd name="connsiteX691" fmla="*/ 2121750 w 2214394"/>
                <a:gd name="connsiteY691" fmla="*/ 502110 h 1424653"/>
                <a:gd name="connsiteX692" fmla="*/ 2125698 w 2214394"/>
                <a:gd name="connsiteY692" fmla="*/ 506649 h 1424653"/>
                <a:gd name="connsiteX693" fmla="*/ 2121750 w 2214394"/>
                <a:gd name="connsiteY693" fmla="*/ 514297 h 1424653"/>
                <a:gd name="connsiteX694" fmla="*/ 2115879 w 2214394"/>
                <a:gd name="connsiteY694" fmla="*/ 514297 h 1424653"/>
                <a:gd name="connsiteX695" fmla="*/ 2110008 w 2214394"/>
                <a:gd name="connsiteY695" fmla="*/ 520366 h 1424653"/>
                <a:gd name="connsiteX696" fmla="*/ 2110008 w 2214394"/>
                <a:gd name="connsiteY696" fmla="*/ 526484 h 1424653"/>
                <a:gd name="connsiteX697" fmla="*/ 2094318 w 2214394"/>
                <a:gd name="connsiteY697" fmla="*/ 535661 h 1424653"/>
                <a:gd name="connsiteX698" fmla="*/ 2086472 w 2214394"/>
                <a:gd name="connsiteY698" fmla="*/ 538720 h 1424653"/>
                <a:gd name="connsiteX699" fmla="*/ 2080601 w 2214394"/>
                <a:gd name="connsiteY699" fmla="*/ 541730 h 1424653"/>
                <a:gd name="connsiteX700" fmla="*/ 2088445 w 2214394"/>
                <a:gd name="connsiteY700" fmla="*/ 546319 h 1424653"/>
                <a:gd name="connsiteX701" fmla="*/ 2096291 w 2214394"/>
                <a:gd name="connsiteY701" fmla="*/ 552437 h 1424653"/>
                <a:gd name="connsiteX702" fmla="*/ 2096291 w 2214394"/>
                <a:gd name="connsiteY702" fmla="*/ 556976 h 1424653"/>
                <a:gd name="connsiteX703" fmla="*/ 2092343 w 2214394"/>
                <a:gd name="connsiteY703" fmla="*/ 566153 h 1424653"/>
                <a:gd name="connsiteX704" fmla="*/ 2082475 w 2214394"/>
                <a:gd name="connsiteY704" fmla="*/ 564624 h 1424653"/>
                <a:gd name="connsiteX705" fmla="*/ 2068759 w 2214394"/>
                <a:gd name="connsiteY705" fmla="*/ 566153 h 1424653"/>
                <a:gd name="connsiteX706" fmla="*/ 2060865 w 2214394"/>
                <a:gd name="connsiteY706" fmla="*/ 564624 h 1424653"/>
                <a:gd name="connsiteX707" fmla="*/ 2054994 w 2214394"/>
                <a:gd name="connsiteY707" fmla="*/ 566153 h 1424653"/>
                <a:gd name="connsiteX708" fmla="*/ 2049072 w 2214394"/>
                <a:gd name="connsiteY708" fmla="*/ 560035 h 1424653"/>
                <a:gd name="connsiteX709" fmla="*/ 2043250 w 2214394"/>
                <a:gd name="connsiteY709" fmla="*/ 558506 h 1424653"/>
                <a:gd name="connsiteX710" fmla="*/ 2037329 w 2214394"/>
                <a:gd name="connsiteY710" fmla="*/ 549378 h 1424653"/>
                <a:gd name="connsiteX711" fmla="*/ 2029484 w 2214394"/>
                <a:gd name="connsiteY711" fmla="*/ 556976 h 1424653"/>
                <a:gd name="connsiteX712" fmla="*/ 2029484 w 2214394"/>
                <a:gd name="connsiteY712" fmla="*/ 570693 h 1424653"/>
                <a:gd name="connsiteX713" fmla="*/ 2025586 w 2214394"/>
                <a:gd name="connsiteY713" fmla="*/ 575331 h 1424653"/>
                <a:gd name="connsiteX714" fmla="*/ 2021640 w 2214394"/>
                <a:gd name="connsiteY714" fmla="*/ 592057 h 1424653"/>
                <a:gd name="connsiteX715" fmla="*/ 2013794 w 2214394"/>
                <a:gd name="connsiteY715" fmla="*/ 593587 h 1424653"/>
                <a:gd name="connsiteX716" fmla="*/ 2007923 w 2214394"/>
                <a:gd name="connsiteY716" fmla="*/ 604294 h 1424653"/>
                <a:gd name="connsiteX717" fmla="*/ 2000077 w 2214394"/>
                <a:gd name="connsiteY717" fmla="*/ 608833 h 1424653"/>
                <a:gd name="connsiteX718" fmla="*/ 2000077 w 2214394"/>
                <a:gd name="connsiteY718" fmla="*/ 613422 h 1424653"/>
                <a:gd name="connsiteX719" fmla="*/ 1994206 w 2214394"/>
                <a:gd name="connsiteY719" fmla="*/ 622599 h 1424653"/>
                <a:gd name="connsiteX720" fmla="*/ 1984338 w 2214394"/>
                <a:gd name="connsiteY720" fmla="*/ 628668 h 1424653"/>
                <a:gd name="connsiteX721" fmla="*/ 1984338 w 2214394"/>
                <a:gd name="connsiteY721" fmla="*/ 646973 h 1424653"/>
                <a:gd name="connsiteX722" fmla="*/ 1982413 w 2214394"/>
                <a:gd name="connsiteY722" fmla="*/ 640904 h 1424653"/>
                <a:gd name="connsiteX723" fmla="*/ 1972545 w 2214394"/>
                <a:gd name="connsiteY723" fmla="*/ 651562 h 1424653"/>
                <a:gd name="connsiteX724" fmla="*/ 1964701 w 2214394"/>
                <a:gd name="connsiteY724" fmla="*/ 653091 h 1424653"/>
                <a:gd name="connsiteX725" fmla="*/ 1958780 w 2214394"/>
                <a:gd name="connsiteY725" fmla="*/ 653091 h 1424653"/>
                <a:gd name="connsiteX726" fmla="*/ 1956855 w 2214394"/>
                <a:gd name="connsiteY726" fmla="*/ 651562 h 1424653"/>
                <a:gd name="connsiteX727" fmla="*/ 1946987 w 2214394"/>
                <a:gd name="connsiteY727" fmla="*/ 656151 h 1424653"/>
                <a:gd name="connsiteX728" fmla="*/ 1939141 w 2214394"/>
                <a:gd name="connsiteY728" fmla="*/ 656151 h 1424653"/>
                <a:gd name="connsiteX729" fmla="*/ 1937218 w 2214394"/>
                <a:gd name="connsiteY729" fmla="*/ 662269 h 1424653"/>
                <a:gd name="connsiteX730" fmla="*/ 1933221 w 2214394"/>
                <a:gd name="connsiteY730" fmla="*/ 662269 h 1424653"/>
                <a:gd name="connsiteX731" fmla="*/ 1917531 w 2214394"/>
                <a:gd name="connsiteY731" fmla="*/ 672926 h 1424653"/>
                <a:gd name="connsiteX732" fmla="*/ 1907663 w 2214394"/>
                <a:gd name="connsiteY732" fmla="*/ 679044 h 1424653"/>
                <a:gd name="connsiteX733" fmla="*/ 1911610 w 2214394"/>
                <a:gd name="connsiteY733" fmla="*/ 685113 h 1424653"/>
                <a:gd name="connsiteX734" fmla="*/ 1909636 w 2214394"/>
                <a:gd name="connsiteY734" fmla="*/ 686643 h 1424653"/>
                <a:gd name="connsiteX735" fmla="*/ 1899768 w 2214394"/>
                <a:gd name="connsiteY735" fmla="*/ 689702 h 1424653"/>
                <a:gd name="connsiteX736" fmla="*/ 1891924 w 2214394"/>
                <a:gd name="connsiteY736" fmla="*/ 698879 h 1424653"/>
                <a:gd name="connsiteX737" fmla="*/ 1887976 w 2214394"/>
                <a:gd name="connsiteY737" fmla="*/ 698879 h 1424653"/>
                <a:gd name="connsiteX738" fmla="*/ 1884078 w 2214394"/>
                <a:gd name="connsiteY738" fmla="*/ 703418 h 1424653"/>
                <a:gd name="connsiteX739" fmla="*/ 1880180 w 2214394"/>
                <a:gd name="connsiteY739" fmla="*/ 703418 h 1424653"/>
                <a:gd name="connsiteX740" fmla="*/ 1880180 w 2214394"/>
                <a:gd name="connsiteY740" fmla="*/ 698879 h 1424653"/>
                <a:gd name="connsiteX741" fmla="*/ 1874259 w 2214394"/>
                <a:gd name="connsiteY741" fmla="*/ 694241 h 1424653"/>
                <a:gd name="connsiteX742" fmla="*/ 1876233 w 2214394"/>
                <a:gd name="connsiteY742" fmla="*/ 689702 h 1424653"/>
                <a:gd name="connsiteX743" fmla="*/ 1882105 w 2214394"/>
                <a:gd name="connsiteY743" fmla="*/ 689702 h 1424653"/>
                <a:gd name="connsiteX744" fmla="*/ 1886052 w 2214394"/>
                <a:gd name="connsiteY744" fmla="*/ 686643 h 1424653"/>
                <a:gd name="connsiteX745" fmla="*/ 1895920 w 2214394"/>
                <a:gd name="connsiteY745" fmla="*/ 686643 h 1424653"/>
                <a:gd name="connsiteX746" fmla="*/ 1897844 w 2214394"/>
                <a:gd name="connsiteY746" fmla="*/ 685113 h 1424653"/>
                <a:gd name="connsiteX747" fmla="*/ 1899817 w 2214394"/>
                <a:gd name="connsiteY747" fmla="*/ 682054 h 1424653"/>
                <a:gd name="connsiteX748" fmla="*/ 1895920 w 2214394"/>
                <a:gd name="connsiteY748" fmla="*/ 680525 h 1424653"/>
                <a:gd name="connsiteX749" fmla="*/ 1891973 w 2214394"/>
                <a:gd name="connsiteY749" fmla="*/ 679044 h 1424653"/>
                <a:gd name="connsiteX750" fmla="*/ 1901841 w 2214394"/>
                <a:gd name="connsiteY750" fmla="*/ 674456 h 1424653"/>
                <a:gd name="connsiteX751" fmla="*/ 1903765 w 2214394"/>
                <a:gd name="connsiteY751" fmla="*/ 668337 h 1424653"/>
                <a:gd name="connsiteX752" fmla="*/ 1895969 w 2214394"/>
                <a:gd name="connsiteY752" fmla="*/ 674456 h 1424653"/>
                <a:gd name="connsiteX753" fmla="*/ 1886101 w 2214394"/>
                <a:gd name="connsiteY753" fmla="*/ 677515 h 1424653"/>
                <a:gd name="connsiteX754" fmla="*/ 1884127 w 2214394"/>
                <a:gd name="connsiteY754" fmla="*/ 674456 h 1424653"/>
                <a:gd name="connsiteX755" fmla="*/ 1884127 w 2214394"/>
                <a:gd name="connsiteY755" fmla="*/ 668337 h 1424653"/>
                <a:gd name="connsiteX756" fmla="*/ 1886101 w 2214394"/>
                <a:gd name="connsiteY756" fmla="*/ 666808 h 1424653"/>
                <a:gd name="connsiteX757" fmla="*/ 1888026 w 2214394"/>
                <a:gd name="connsiteY757" fmla="*/ 663798 h 1424653"/>
                <a:gd name="connsiteX758" fmla="*/ 1880229 w 2214394"/>
                <a:gd name="connsiteY758" fmla="*/ 657631 h 1424653"/>
                <a:gd name="connsiteX759" fmla="*/ 1882154 w 2214394"/>
                <a:gd name="connsiteY759" fmla="*/ 650081 h 1424653"/>
                <a:gd name="connsiteX760" fmla="*/ 1880229 w 2214394"/>
                <a:gd name="connsiteY760" fmla="*/ 646973 h 1424653"/>
                <a:gd name="connsiteX761" fmla="*/ 1886693 w 2214394"/>
                <a:gd name="connsiteY761" fmla="*/ 646973 h 1424653"/>
                <a:gd name="connsiteX762" fmla="*/ 1888617 w 2214394"/>
                <a:gd name="connsiteY762" fmla="*/ 637845 h 1424653"/>
                <a:gd name="connsiteX763" fmla="*/ 1896512 w 2214394"/>
                <a:gd name="connsiteY763" fmla="*/ 630197 h 1424653"/>
                <a:gd name="connsiteX764" fmla="*/ 1898436 w 2214394"/>
                <a:gd name="connsiteY764" fmla="*/ 627188 h 1424653"/>
                <a:gd name="connsiteX765" fmla="*/ 1902383 w 2214394"/>
                <a:gd name="connsiteY765" fmla="*/ 624128 h 1424653"/>
                <a:gd name="connsiteX766" fmla="*/ 1902383 w 2214394"/>
                <a:gd name="connsiteY766" fmla="*/ 619342 h 1424653"/>
                <a:gd name="connsiteX767" fmla="*/ 1884720 w 2214394"/>
                <a:gd name="connsiteY767" fmla="*/ 610215 h 1424653"/>
                <a:gd name="connsiteX768" fmla="*/ 1874852 w 2214394"/>
                <a:gd name="connsiteY768" fmla="*/ 599508 h 1424653"/>
                <a:gd name="connsiteX769" fmla="*/ 1872878 w 2214394"/>
                <a:gd name="connsiteY769" fmla="*/ 605626 h 1424653"/>
                <a:gd name="connsiteX770" fmla="*/ 1866957 w 2214394"/>
                <a:gd name="connsiteY770" fmla="*/ 605626 h 1424653"/>
                <a:gd name="connsiteX771" fmla="*/ 1863059 w 2214394"/>
                <a:gd name="connsiteY771" fmla="*/ 602567 h 1424653"/>
                <a:gd name="connsiteX772" fmla="*/ 1853191 w 2214394"/>
                <a:gd name="connsiteY772" fmla="*/ 604096 h 1424653"/>
                <a:gd name="connsiteX773" fmla="*/ 1849293 w 2214394"/>
                <a:gd name="connsiteY773" fmla="*/ 610215 h 1424653"/>
                <a:gd name="connsiteX774" fmla="*/ 1847320 w 2214394"/>
                <a:gd name="connsiteY774" fmla="*/ 611744 h 1424653"/>
                <a:gd name="connsiteX775" fmla="*/ 1845347 w 2214394"/>
                <a:gd name="connsiteY775" fmla="*/ 619342 h 1424653"/>
                <a:gd name="connsiteX776" fmla="*/ 1837501 w 2214394"/>
                <a:gd name="connsiteY776" fmla="*/ 625461 h 1424653"/>
                <a:gd name="connsiteX777" fmla="*/ 1837501 w 2214394"/>
                <a:gd name="connsiteY777" fmla="*/ 637648 h 1424653"/>
                <a:gd name="connsiteX778" fmla="*/ 1833603 w 2214394"/>
                <a:gd name="connsiteY778" fmla="*/ 637648 h 1424653"/>
                <a:gd name="connsiteX779" fmla="*/ 1827682 w 2214394"/>
                <a:gd name="connsiteY779" fmla="*/ 648355 h 1424653"/>
                <a:gd name="connsiteX780" fmla="*/ 1819886 w 2214394"/>
                <a:gd name="connsiteY780" fmla="*/ 648355 h 1424653"/>
                <a:gd name="connsiteX781" fmla="*/ 1808094 w 2214394"/>
                <a:gd name="connsiteY781" fmla="*/ 652894 h 1424653"/>
                <a:gd name="connsiteX782" fmla="*/ 1804147 w 2214394"/>
                <a:gd name="connsiteY782" fmla="*/ 668140 h 1424653"/>
                <a:gd name="connsiteX783" fmla="*/ 1800249 w 2214394"/>
                <a:gd name="connsiteY783" fmla="*/ 672729 h 1424653"/>
                <a:gd name="connsiteX784" fmla="*/ 1802174 w 2214394"/>
                <a:gd name="connsiteY784" fmla="*/ 674258 h 1424653"/>
                <a:gd name="connsiteX785" fmla="*/ 1804147 w 2214394"/>
                <a:gd name="connsiteY785" fmla="*/ 681857 h 1424653"/>
                <a:gd name="connsiteX786" fmla="*/ 1800249 w 2214394"/>
                <a:gd name="connsiteY786" fmla="*/ 681857 h 1424653"/>
                <a:gd name="connsiteX787" fmla="*/ 1802174 w 2214394"/>
                <a:gd name="connsiteY787" fmla="*/ 684916 h 1424653"/>
                <a:gd name="connsiteX788" fmla="*/ 1798276 w 2214394"/>
                <a:gd name="connsiteY788" fmla="*/ 691034 h 1424653"/>
                <a:gd name="connsiteX789" fmla="*/ 1776713 w 2214394"/>
                <a:gd name="connsiteY789" fmla="*/ 691034 h 1424653"/>
                <a:gd name="connsiteX790" fmla="*/ 1762997 w 2214394"/>
                <a:gd name="connsiteY790" fmla="*/ 687975 h 1424653"/>
                <a:gd name="connsiteX791" fmla="*/ 1762997 w 2214394"/>
                <a:gd name="connsiteY791" fmla="*/ 691034 h 1424653"/>
                <a:gd name="connsiteX792" fmla="*/ 1759049 w 2214394"/>
                <a:gd name="connsiteY792" fmla="*/ 694044 h 1424653"/>
                <a:gd name="connsiteX793" fmla="*/ 1755152 w 2214394"/>
                <a:gd name="connsiteY793" fmla="*/ 700211 h 1424653"/>
                <a:gd name="connsiteX794" fmla="*/ 1755152 w 2214394"/>
                <a:gd name="connsiteY794" fmla="*/ 706280 h 1424653"/>
                <a:gd name="connsiteX795" fmla="*/ 1751205 w 2214394"/>
                <a:gd name="connsiteY795" fmla="*/ 709339 h 1424653"/>
                <a:gd name="connsiteX796" fmla="*/ 1755152 w 2214394"/>
                <a:gd name="connsiteY796" fmla="*/ 715457 h 1424653"/>
                <a:gd name="connsiteX797" fmla="*/ 1759049 w 2214394"/>
                <a:gd name="connsiteY797" fmla="*/ 724586 h 1424653"/>
                <a:gd name="connsiteX798" fmla="*/ 1764971 w 2214394"/>
                <a:gd name="connsiteY798" fmla="*/ 727645 h 1424653"/>
                <a:gd name="connsiteX799" fmla="*/ 1776713 w 2214394"/>
                <a:gd name="connsiteY799" fmla="*/ 733713 h 1424653"/>
                <a:gd name="connsiteX800" fmla="*/ 1778688 w 2214394"/>
                <a:gd name="connsiteY800" fmla="*/ 738302 h 1424653"/>
                <a:gd name="connsiteX801" fmla="*/ 1782585 w 2214394"/>
                <a:gd name="connsiteY801" fmla="*/ 745901 h 1424653"/>
                <a:gd name="connsiteX802" fmla="*/ 1784559 w 2214394"/>
                <a:gd name="connsiteY802" fmla="*/ 742891 h 1424653"/>
                <a:gd name="connsiteX803" fmla="*/ 1786483 w 2214394"/>
                <a:gd name="connsiteY803" fmla="*/ 745901 h 1424653"/>
                <a:gd name="connsiteX804" fmla="*/ 1788457 w 2214394"/>
                <a:gd name="connsiteY804" fmla="*/ 742891 h 1424653"/>
                <a:gd name="connsiteX805" fmla="*/ 1794378 w 2214394"/>
                <a:gd name="connsiteY805" fmla="*/ 742891 h 1424653"/>
                <a:gd name="connsiteX806" fmla="*/ 1794378 w 2214394"/>
                <a:gd name="connsiteY806" fmla="*/ 744420 h 1424653"/>
                <a:gd name="connsiteX807" fmla="*/ 1798276 w 2214394"/>
                <a:gd name="connsiteY807" fmla="*/ 742891 h 1424653"/>
                <a:gd name="connsiteX808" fmla="*/ 1808144 w 2214394"/>
                <a:gd name="connsiteY808" fmla="*/ 742891 h 1424653"/>
                <a:gd name="connsiteX809" fmla="*/ 1810117 w 2214394"/>
                <a:gd name="connsiteY809" fmla="*/ 750539 h 1424653"/>
                <a:gd name="connsiteX810" fmla="*/ 1810117 w 2214394"/>
                <a:gd name="connsiteY810" fmla="*/ 758137 h 1424653"/>
                <a:gd name="connsiteX811" fmla="*/ 1817913 w 2214394"/>
                <a:gd name="connsiteY811" fmla="*/ 773383 h 1424653"/>
                <a:gd name="connsiteX812" fmla="*/ 1829705 w 2214394"/>
                <a:gd name="connsiteY812" fmla="*/ 773383 h 1424653"/>
                <a:gd name="connsiteX813" fmla="*/ 1835625 w 2214394"/>
                <a:gd name="connsiteY813" fmla="*/ 770324 h 1424653"/>
                <a:gd name="connsiteX814" fmla="*/ 1843422 w 2214394"/>
                <a:gd name="connsiteY814" fmla="*/ 773383 h 1424653"/>
                <a:gd name="connsiteX815" fmla="*/ 1845395 w 2214394"/>
                <a:gd name="connsiteY815" fmla="*/ 770324 h 1424653"/>
                <a:gd name="connsiteX816" fmla="*/ 1849342 w 2214394"/>
                <a:gd name="connsiteY816" fmla="*/ 764255 h 1424653"/>
                <a:gd name="connsiteX817" fmla="*/ 1845395 w 2214394"/>
                <a:gd name="connsiteY817" fmla="*/ 761196 h 1424653"/>
                <a:gd name="connsiteX818" fmla="*/ 1845395 w 2214394"/>
                <a:gd name="connsiteY818" fmla="*/ 759666 h 1424653"/>
                <a:gd name="connsiteX819" fmla="*/ 1853240 w 2214394"/>
                <a:gd name="connsiteY819" fmla="*/ 756607 h 1424653"/>
                <a:gd name="connsiteX820" fmla="*/ 1861086 w 2214394"/>
                <a:gd name="connsiteY820" fmla="*/ 753548 h 1424653"/>
                <a:gd name="connsiteX821" fmla="*/ 1861086 w 2214394"/>
                <a:gd name="connsiteY821" fmla="*/ 747627 h 1424653"/>
                <a:gd name="connsiteX822" fmla="*/ 1855215 w 2214394"/>
                <a:gd name="connsiteY822" fmla="*/ 744568 h 1424653"/>
                <a:gd name="connsiteX823" fmla="*/ 1865083 w 2214394"/>
                <a:gd name="connsiteY823" fmla="*/ 744568 h 1424653"/>
                <a:gd name="connsiteX824" fmla="*/ 1880773 w 2214394"/>
                <a:gd name="connsiteY824" fmla="*/ 738450 h 1424653"/>
                <a:gd name="connsiteX825" fmla="*/ 1882696 w 2214394"/>
                <a:gd name="connsiteY825" fmla="*/ 741509 h 1424653"/>
                <a:gd name="connsiteX826" fmla="*/ 1886644 w 2214394"/>
                <a:gd name="connsiteY826" fmla="*/ 743039 h 1424653"/>
                <a:gd name="connsiteX827" fmla="*/ 1890542 w 2214394"/>
                <a:gd name="connsiteY827" fmla="*/ 747627 h 1424653"/>
                <a:gd name="connsiteX828" fmla="*/ 1896463 w 2214394"/>
                <a:gd name="connsiteY828" fmla="*/ 750686 h 1424653"/>
                <a:gd name="connsiteX829" fmla="*/ 1902334 w 2214394"/>
                <a:gd name="connsiteY829" fmla="*/ 753696 h 1424653"/>
                <a:gd name="connsiteX830" fmla="*/ 1923896 w 2214394"/>
                <a:gd name="connsiteY830" fmla="*/ 753696 h 1424653"/>
                <a:gd name="connsiteX831" fmla="*/ 1925869 w 2214394"/>
                <a:gd name="connsiteY831" fmla="*/ 750686 h 1424653"/>
                <a:gd name="connsiteX832" fmla="*/ 1935737 w 2214394"/>
                <a:gd name="connsiteY832" fmla="*/ 750686 h 1424653"/>
                <a:gd name="connsiteX833" fmla="*/ 1935737 w 2214394"/>
                <a:gd name="connsiteY833" fmla="*/ 753696 h 1424653"/>
                <a:gd name="connsiteX834" fmla="*/ 1943533 w 2214394"/>
                <a:gd name="connsiteY834" fmla="*/ 752216 h 1424653"/>
                <a:gd name="connsiteX835" fmla="*/ 1951428 w 2214394"/>
                <a:gd name="connsiteY835" fmla="*/ 750686 h 1424653"/>
                <a:gd name="connsiteX836" fmla="*/ 1957300 w 2214394"/>
                <a:gd name="connsiteY836" fmla="*/ 753696 h 1424653"/>
                <a:gd name="connsiteX837" fmla="*/ 1949454 w 2214394"/>
                <a:gd name="connsiteY837" fmla="*/ 755226 h 1424653"/>
                <a:gd name="connsiteX838" fmla="*/ 1949454 w 2214394"/>
                <a:gd name="connsiteY838" fmla="*/ 758285 h 1424653"/>
                <a:gd name="connsiteX839" fmla="*/ 1955325 w 2214394"/>
                <a:gd name="connsiteY839" fmla="*/ 765933 h 1424653"/>
                <a:gd name="connsiteX840" fmla="*/ 1951428 w 2214394"/>
                <a:gd name="connsiteY840" fmla="*/ 765933 h 1424653"/>
                <a:gd name="connsiteX841" fmla="*/ 1945507 w 2214394"/>
                <a:gd name="connsiteY841" fmla="*/ 767462 h 1424653"/>
                <a:gd name="connsiteX842" fmla="*/ 1947481 w 2214394"/>
                <a:gd name="connsiteY842" fmla="*/ 773531 h 1424653"/>
                <a:gd name="connsiteX843" fmla="*/ 1953352 w 2214394"/>
                <a:gd name="connsiteY843" fmla="*/ 776590 h 1424653"/>
                <a:gd name="connsiteX844" fmla="*/ 1953352 w 2214394"/>
                <a:gd name="connsiteY844" fmla="*/ 778120 h 1424653"/>
                <a:gd name="connsiteX845" fmla="*/ 1943484 w 2214394"/>
                <a:gd name="connsiteY845" fmla="*/ 784188 h 1424653"/>
                <a:gd name="connsiteX846" fmla="*/ 1935688 w 2214394"/>
                <a:gd name="connsiteY846" fmla="*/ 779649 h 1424653"/>
                <a:gd name="connsiteX847" fmla="*/ 1935688 w 2214394"/>
                <a:gd name="connsiteY847" fmla="*/ 776590 h 1424653"/>
                <a:gd name="connsiteX848" fmla="*/ 1931740 w 2214394"/>
                <a:gd name="connsiteY848" fmla="*/ 779649 h 1424653"/>
                <a:gd name="connsiteX849" fmla="*/ 1929767 w 2214394"/>
                <a:gd name="connsiteY849" fmla="*/ 776590 h 1424653"/>
                <a:gd name="connsiteX850" fmla="*/ 1919899 w 2214394"/>
                <a:gd name="connsiteY850" fmla="*/ 784188 h 1424653"/>
                <a:gd name="connsiteX851" fmla="*/ 1916297 w 2214394"/>
                <a:gd name="connsiteY851" fmla="*/ 784188 h 1424653"/>
                <a:gd name="connsiteX852" fmla="*/ 1910426 w 2214394"/>
                <a:gd name="connsiteY852" fmla="*/ 788826 h 1424653"/>
                <a:gd name="connsiteX853" fmla="*/ 1904506 w 2214394"/>
                <a:gd name="connsiteY853" fmla="*/ 788826 h 1424653"/>
                <a:gd name="connsiteX854" fmla="*/ 1902581 w 2214394"/>
                <a:gd name="connsiteY854" fmla="*/ 791836 h 1424653"/>
                <a:gd name="connsiteX855" fmla="*/ 1896709 w 2214394"/>
                <a:gd name="connsiteY855" fmla="*/ 788826 h 1424653"/>
                <a:gd name="connsiteX856" fmla="*/ 1886841 w 2214394"/>
                <a:gd name="connsiteY856" fmla="*/ 790307 h 1424653"/>
                <a:gd name="connsiteX857" fmla="*/ 1896709 w 2214394"/>
                <a:gd name="connsiteY857" fmla="*/ 793366 h 1424653"/>
                <a:gd name="connsiteX858" fmla="*/ 1896709 w 2214394"/>
                <a:gd name="connsiteY858" fmla="*/ 797955 h 1424653"/>
                <a:gd name="connsiteX859" fmla="*/ 1886841 w 2214394"/>
                <a:gd name="connsiteY859" fmla="*/ 799484 h 1424653"/>
                <a:gd name="connsiteX860" fmla="*/ 1886841 w 2214394"/>
                <a:gd name="connsiteY860" fmla="*/ 806836 h 1424653"/>
                <a:gd name="connsiteX861" fmla="*/ 1876973 w 2214394"/>
                <a:gd name="connsiteY861" fmla="*/ 806836 h 1424653"/>
                <a:gd name="connsiteX862" fmla="*/ 1871102 w 2214394"/>
                <a:gd name="connsiteY862" fmla="*/ 811424 h 1424653"/>
                <a:gd name="connsiteX863" fmla="*/ 1873026 w 2214394"/>
                <a:gd name="connsiteY863" fmla="*/ 816013 h 1424653"/>
                <a:gd name="connsiteX864" fmla="*/ 1880921 w 2214394"/>
                <a:gd name="connsiteY864" fmla="*/ 819023 h 1424653"/>
                <a:gd name="connsiteX865" fmla="*/ 1874999 w 2214394"/>
                <a:gd name="connsiteY865" fmla="*/ 825190 h 1424653"/>
                <a:gd name="connsiteX866" fmla="*/ 1871102 w 2214394"/>
                <a:gd name="connsiteY866" fmla="*/ 823612 h 1424653"/>
                <a:gd name="connsiteX867" fmla="*/ 1865230 w 2214394"/>
                <a:gd name="connsiteY867" fmla="*/ 832789 h 1424653"/>
                <a:gd name="connsiteX868" fmla="*/ 1857336 w 2214394"/>
                <a:gd name="connsiteY868" fmla="*/ 834269 h 1424653"/>
                <a:gd name="connsiteX869" fmla="*/ 1855411 w 2214394"/>
                <a:gd name="connsiteY869" fmla="*/ 832789 h 1424653"/>
                <a:gd name="connsiteX870" fmla="*/ 1853438 w 2214394"/>
                <a:gd name="connsiteY870" fmla="*/ 841917 h 1424653"/>
                <a:gd name="connsiteX871" fmla="*/ 1857336 w 2214394"/>
                <a:gd name="connsiteY871" fmla="*/ 848035 h 1424653"/>
                <a:gd name="connsiteX872" fmla="*/ 1853438 w 2214394"/>
                <a:gd name="connsiteY872" fmla="*/ 860222 h 1424653"/>
                <a:gd name="connsiteX873" fmla="*/ 1853438 w 2214394"/>
                <a:gd name="connsiteY873" fmla="*/ 873988 h 1424653"/>
                <a:gd name="connsiteX874" fmla="*/ 1857336 w 2214394"/>
                <a:gd name="connsiteY874" fmla="*/ 873988 h 1424653"/>
                <a:gd name="connsiteX875" fmla="*/ 1877072 w 2214394"/>
                <a:gd name="connsiteY875" fmla="*/ 883116 h 1424653"/>
                <a:gd name="connsiteX876" fmla="*/ 1877072 w 2214394"/>
                <a:gd name="connsiteY876" fmla="*/ 887705 h 1424653"/>
                <a:gd name="connsiteX877" fmla="*/ 1881020 w 2214394"/>
                <a:gd name="connsiteY877" fmla="*/ 884646 h 1424653"/>
                <a:gd name="connsiteX878" fmla="*/ 1902581 w 2214394"/>
                <a:gd name="connsiteY878" fmla="*/ 892244 h 1424653"/>
                <a:gd name="connsiteX879" fmla="*/ 1912449 w 2214394"/>
                <a:gd name="connsiteY879" fmla="*/ 911980 h 1424653"/>
                <a:gd name="connsiteX880" fmla="*/ 1914374 w 2214394"/>
                <a:gd name="connsiteY880" fmla="*/ 913559 h 1424653"/>
                <a:gd name="connsiteX881" fmla="*/ 1910476 w 2214394"/>
                <a:gd name="connsiteY881" fmla="*/ 919628 h 1424653"/>
                <a:gd name="connsiteX882" fmla="*/ 1918271 w 2214394"/>
                <a:gd name="connsiteY882" fmla="*/ 921157 h 1424653"/>
                <a:gd name="connsiteX883" fmla="*/ 1918271 w 2214394"/>
                <a:gd name="connsiteY883" fmla="*/ 930285 h 1424653"/>
                <a:gd name="connsiteX884" fmla="*/ 1933962 w 2214394"/>
                <a:gd name="connsiteY884" fmla="*/ 939463 h 1424653"/>
                <a:gd name="connsiteX885" fmla="*/ 1933962 w 2214394"/>
                <a:gd name="connsiteY885" fmla="*/ 948591 h 1424653"/>
                <a:gd name="connsiteX886" fmla="*/ 1941855 w 2214394"/>
                <a:gd name="connsiteY886" fmla="*/ 959248 h 1424653"/>
                <a:gd name="connsiteX887" fmla="*/ 1949701 w 2214394"/>
                <a:gd name="connsiteY887" fmla="*/ 963886 h 1424653"/>
                <a:gd name="connsiteX888" fmla="*/ 1955572 w 2214394"/>
                <a:gd name="connsiteY888" fmla="*/ 963886 h 1424653"/>
                <a:gd name="connsiteX889" fmla="*/ 1959470 w 2214394"/>
                <a:gd name="connsiteY889" fmla="*/ 965416 h 1424653"/>
                <a:gd name="connsiteX890" fmla="*/ 1959470 w 2214394"/>
                <a:gd name="connsiteY890" fmla="*/ 968425 h 1424653"/>
                <a:gd name="connsiteX891" fmla="*/ 1969338 w 2214394"/>
                <a:gd name="connsiteY891" fmla="*/ 976073 h 1424653"/>
                <a:gd name="connsiteX892" fmla="*/ 1973286 w 2214394"/>
                <a:gd name="connsiteY892" fmla="*/ 977603 h 1424653"/>
                <a:gd name="connsiteX893" fmla="*/ 1979157 w 2214394"/>
                <a:gd name="connsiteY893" fmla="*/ 988260 h 1424653"/>
                <a:gd name="connsiteX894" fmla="*/ 1975210 w 2214394"/>
                <a:gd name="connsiteY894" fmla="*/ 989790 h 1424653"/>
                <a:gd name="connsiteX895" fmla="*/ 1959520 w 2214394"/>
                <a:gd name="connsiteY895" fmla="*/ 983672 h 1424653"/>
                <a:gd name="connsiteX896" fmla="*/ 1949652 w 2214394"/>
                <a:gd name="connsiteY896" fmla="*/ 989790 h 1424653"/>
                <a:gd name="connsiteX897" fmla="*/ 1941806 w 2214394"/>
                <a:gd name="connsiteY897" fmla="*/ 982142 h 1424653"/>
                <a:gd name="connsiteX898" fmla="*/ 1937908 w 2214394"/>
                <a:gd name="connsiteY898" fmla="*/ 982142 h 1424653"/>
                <a:gd name="connsiteX899" fmla="*/ 1930014 w 2214394"/>
                <a:gd name="connsiteY899" fmla="*/ 977603 h 1424653"/>
                <a:gd name="connsiteX900" fmla="*/ 1916297 w 2214394"/>
                <a:gd name="connsiteY900" fmla="*/ 976073 h 1424653"/>
                <a:gd name="connsiteX901" fmla="*/ 1912399 w 2214394"/>
                <a:gd name="connsiteY901" fmla="*/ 982142 h 1424653"/>
                <a:gd name="connsiteX902" fmla="*/ 1906429 w 2214394"/>
                <a:gd name="connsiteY902" fmla="*/ 982142 h 1424653"/>
                <a:gd name="connsiteX903" fmla="*/ 1902531 w 2214394"/>
                <a:gd name="connsiteY903" fmla="*/ 979132 h 1424653"/>
                <a:gd name="connsiteX904" fmla="*/ 1896660 w 2214394"/>
                <a:gd name="connsiteY904" fmla="*/ 969955 h 1424653"/>
                <a:gd name="connsiteX905" fmla="*/ 1886792 w 2214394"/>
                <a:gd name="connsiteY905" fmla="*/ 973014 h 1424653"/>
                <a:gd name="connsiteX906" fmla="*/ 1880921 w 2214394"/>
                <a:gd name="connsiteY906" fmla="*/ 971485 h 1424653"/>
                <a:gd name="connsiteX907" fmla="*/ 1878946 w 2214394"/>
                <a:gd name="connsiteY907" fmla="*/ 973014 h 1424653"/>
                <a:gd name="connsiteX908" fmla="*/ 1874999 w 2214394"/>
                <a:gd name="connsiteY908" fmla="*/ 973014 h 1424653"/>
                <a:gd name="connsiteX909" fmla="*/ 1871102 w 2214394"/>
                <a:gd name="connsiteY909" fmla="*/ 971485 h 1424653"/>
                <a:gd name="connsiteX910" fmla="*/ 1865230 w 2214394"/>
                <a:gd name="connsiteY910" fmla="*/ 974544 h 1424653"/>
                <a:gd name="connsiteX911" fmla="*/ 1855362 w 2214394"/>
                <a:gd name="connsiteY911" fmla="*/ 989790 h 1424653"/>
                <a:gd name="connsiteX912" fmla="*/ 1867105 w 2214394"/>
                <a:gd name="connsiteY912" fmla="*/ 977603 h 1424653"/>
                <a:gd name="connsiteX913" fmla="*/ 1872976 w 2214394"/>
                <a:gd name="connsiteY913" fmla="*/ 976073 h 1424653"/>
                <a:gd name="connsiteX914" fmla="*/ 1882845 w 2214394"/>
                <a:gd name="connsiteY914" fmla="*/ 976073 h 1424653"/>
                <a:gd name="connsiteX915" fmla="*/ 1890690 w 2214394"/>
                <a:gd name="connsiteY915" fmla="*/ 974544 h 1424653"/>
                <a:gd name="connsiteX916" fmla="*/ 1896611 w 2214394"/>
                <a:gd name="connsiteY916" fmla="*/ 974544 h 1424653"/>
                <a:gd name="connsiteX917" fmla="*/ 1896611 w 2214394"/>
                <a:gd name="connsiteY917" fmla="*/ 977603 h 1424653"/>
                <a:gd name="connsiteX918" fmla="*/ 1904407 w 2214394"/>
                <a:gd name="connsiteY918" fmla="*/ 985201 h 1424653"/>
                <a:gd name="connsiteX919" fmla="*/ 1910327 w 2214394"/>
                <a:gd name="connsiteY919" fmla="*/ 988260 h 1424653"/>
                <a:gd name="connsiteX920" fmla="*/ 1922070 w 2214394"/>
                <a:gd name="connsiteY920" fmla="*/ 979132 h 1424653"/>
                <a:gd name="connsiteX921" fmla="*/ 1929915 w 2214394"/>
                <a:gd name="connsiteY921" fmla="*/ 979132 h 1424653"/>
                <a:gd name="connsiteX922" fmla="*/ 1943632 w 2214394"/>
                <a:gd name="connsiteY922" fmla="*/ 992849 h 1424653"/>
                <a:gd name="connsiteX923" fmla="*/ 1955424 w 2214394"/>
                <a:gd name="connsiteY923" fmla="*/ 998918 h 1424653"/>
                <a:gd name="connsiteX924" fmla="*/ 1975160 w 2214394"/>
                <a:gd name="connsiteY924" fmla="*/ 1008095 h 1424653"/>
                <a:gd name="connsiteX925" fmla="*/ 1983055 w 2214394"/>
                <a:gd name="connsiteY925" fmla="*/ 1020282 h 1424653"/>
                <a:gd name="connsiteX926" fmla="*/ 1983055 w 2214394"/>
                <a:gd name="connsiteY926" fmla="*/ 1024871 h 1424653"/>
                <a:gd name="connsiteX927" fmla="*/ 1973187 w 2214394"/>
                <a:gd name="connsiteY927" fmla="*/ 1026400 h 1424653"/>
                <a:gd name="connsiteX928" fmla="*/ 1965341 w 2214394"/>
                <a:gd name="connsiteY928" fmla="*/ 1033999 h 1424653"/>
                <a:gd name="connsiteX929" fmla="*/ 1959421 w 2214394"/>
                <a:gd name="connsiteY929" fmla="*/ 1032469 h 1424653"/>
                <a:gd name="connsiteX930" fmla="*/ 1955523 w 2214394"/>
                <a:gd name="connsiteY930" fmla="*/ 1035528 h 1424653"/>
                <a:gd name="connsiteX931" fmla="*/ 1955523 w 2214394"/>
                <a:gd name="connsiteY931" fmla="*/ 1043176 h 1424653"/>
                <a:gd name="connsiteX932" fmla="*/ 1949652 w 2214394"/>
                <a:gd name="connsiteY932" fmla="*/ 1044706 h 1424653"/>
                <a:gd name="connsiteX933" fmla="*/ 1941806 w 2214394"/>
                <a:gd name="connsiteY933" fmla="*/ 1041647 h 1424653"/>
                <a:gd name="connsiteX934" fmla="*/ 1935935 w 2214394"/>
                <a:gd name="connsiteY934" fmla="*/ 1044706 h 1424653"/>
                <a:gd name="connsiteX935" fmla="*/ 1931987 w 2214394"/>
                <a:gd name="connsiteY935" fmla="*/ 1044706 h 1424653"/>
                <a:gd name="connsiteX936" fmla="*/ 1922119 w 2214394"/>
                <a:gd name="connsiteY936" fmla="*/ 1049245 h 1424653"/>
                <a:gd name="connsiteX937" fmla="*/ 1922119 w 2214394"/>
                <a:gd name="connsiteY937" fmla="*/ 1056893 h 1424653"/>
                <a:gd name="connsiteX938" fmla="*/ 1924094 w 2214394"/>
                <a:gd name="connsiteY938" fmla="*/ 1050824 h 1424653"/>
                <a:gd name="connsiteX939" fmla="*/ 1931938 w 2214394"/>
                <a:gd name="connsiteY939" fmla="*/ 1046186 h 1424653"/>
                <a:gd name="connsiteX940" fmla="*/ 1939784 w 2214394"/>
                <a:gd name="connsiteY940" fmla="*/ 1044706 h 1424653"/>
                <a:gd name="connsiteX941" fmla="*/ 1945655 w 2214394"/>
                <a:gd name="connsiteY941" fmla="*/ 1053834 h 1424653"/>
                <a:gd name="connsiteX942" fmla="*/ 1951575 w 2214394"/>
                <a:gd name="connsiteY942" fmla="*/ 1055363 h 1424653"/>
                <a:gd name="connsiteX943" fmla="*/ 1965292 w 2214394"/>
                <a:gd name="connsiteY943" fmla="*/ 1047715 h 1424653"/>
                <a:gd name="connsiteX944" fmla="*/ 1973138 w 2214394"/>
                <a:gd name="connsiteY944" fmla="*/ 1049245 h 1424653"/>
                <a:gd name="connsiteX945" fmla="*/ 1983006 w 2214394"/>
                <a:gd name="connsiteY945" fmla="*/ 1061481 h 1424653"/>
                <a:gd name="connsiteX946" fmla="*/ 1984929 w 2214394"/>
                <a:gd name="connsiteY946" fmla="*/ 1058422 h 1424653"/>
                <a:gd name="connsiteX947" fmla="*/ 1988828 w 2214394"/>
                <a:gd name="connsiteY947" fmla="*/ 1061481 h 1424653"/>
                <a:gd name="connsiteX948" fmla="*/ 1994748 w 2214394"/>
                <a:gd name="connsiteY948" fmla="*/ 1061481 h 1424653"/>
                <a:gd name="connsiteX949" fmla="*/ 1998696 w 2214394"/>
                <a:gd name="connsiteY949" fmla="*/ 1063011 h 1424653"/>
                <a:gd name="connsiteX950" fmla="*/ 1981033 w 2214394"/>
                <a:gd name="connsiteY950" fmla="*/ 1076728 h 1424653"/>
                <a:gd name="connsiteX951" fmla="*/ 1971164 w 2214394"/>
                <a:gd name="connsiteY951" fmla="*/ 1078257 h 1424653"/>
                <a:gd name="connsiteX952" fmla="*/ 1971164 w 2214394"/>
                <a:gd name="connsiteY952" fmla="*/ 1084326 h 1424653"/>
                <a:gd name="connsiteX953" fmla="*/ 1975061 w 2214394"/>
                <a:gd name="connsiteY953" fmla="*/ 1084326 h 1424653"/>
                <a:gd name="connsiteX954" fmla="*/ 1984929 w 2214394"/>
                <a:gd name="connsiteY954" fmla="*/ 1078257 h 1424653"/>
                <a:gd name="connsiteX955" fmla="*/ 1992775 w 2214394"/>
                <a:gd name="connsiteY955" fmla="*/ 1079787 h 1424653"/>
                <a:gd name="connsiteX956" fmla="*/ 1992775 w 2214394"/>
                <a:gd name="connsiteY956" fmla="*/ 1076728 h 1424653"/>
                <a:gd name="connsiteX957" fmla="*/ 1990802 w 2214394"/>
                <a:gd name="connsiteY957" fmla="*/ 1075198 h 1424653"/>
                <a:gd name="connsiteX958" fmla="*/ 1994748 w 2214394"/>
                <a:gd name="connsiteY958" fmla="*/ 1072139 h 1424653"/>
                <a:gd name="connsiteX959" fmla="*/ 2000621 w 2214394"/>
                <a:gd name="connsiteY959" fmla="*/ 1073669 h 1424653"/>
                <a:gd name="connsiteX960" fmla="*/ 2000621 w 2214394"/>
                <a:gd name="connsiteY960" fmla="*/ 1083142 h 1424653"/>
                <a:gd name="connsiteX961" fmla="*/ 2002594 w 2214394"/>
                <a:gd name="connsiteY961" fmla="*/ 1086151 h 1424653"/>
                <a:gd name="connsiteX962" fmla="*/ 1998696 w 2214394"/>
                <a:gd name="connsiteY962" fmla="*/ 1089260 h 1424653"/>
                <a:gd name="connsiteX963" fmla="*/ 1998696 w 2214394"/>
                <a:gd name="connsiteY963" fmla="*/ 1086151 h 1424653"/>
                <a:gd name="connsiteX964" fmla="*/ 1992775 w 2214394"/>
                <a:gd name="connsiteY964" fmla="*/ 1084622 h 1424653"/>
                <a:gd name="connsiteX965" fmla="*/ 1990802 w 2214394"/>
                <a:gd name="connsiteY965" fmla="*/ 1087681 h 1424653"/>
                <a:gd name="connsiteX966" fmla="*/ 1988828 w 2214394"/>
                <a:gd name="connsiteY966" fmla="*/ 1089260 h 1424653"/>
                <a:gd name="connsiteX967" fmla="*/ 1983006 w 2214394"/>
                <a:gd name="connsiteY967" fmla="*/ 1087681 h 1424653"/>
                <a:gd name="connsiteX968" fmla="*/ 1975111 w 2214394"/>
                <a:gd name="connsiteY968" fmla="*/ 1095329 h 1424653"/>
                <a:gd name="connsiteX969" fmla="*/ 1975111 w 2214394"/>
                <a:gd name="connsiteY969" fmla="*/ 1096859 h 1424653"/>
                <a:gd name="connsiteX970" fmla="*/ 1986904 w 2214394"/>
                <a:gd name="connsiteY970" fmla="*/ 1096859 h 1424653"/>
                <a:gd name="connsiteX971" fmla="*/ 1990802 w 2214394"/>
                <a:gd name="connsiteY971" fmla="*/ 1099918 h 1424653"/>
                <a:gd name="connsiteX972" fmla="*/ 1988828 w 2214394"/>
                <a:gd name="connsiteY972" fmla="*/ 1102977 h 1424653"/>
                <a:gd name="connsiteX973" fmla="*/ 1986904 w 2214394"/>
                <a:gd name="connsiteY973" fmla="*/ 1101447 h 1424653"/>
                <a:gd name="connsiteX974" fmla="*/ 1983006 w 2214394"/>
                <a:gd name="connsiteY974" fmla="*/ 1105986 h 1424653"/>
                <a:gd name="connsiteX975" fmla="*/ 1986904 w 2214394"/>
                <a:gd name="connsiteY975" fmla="*/ 1107516 h 1424653"/>
                <a:gd name="connsiteX976" fmla="*/ 1988828 w 2214394"/>
                <a:gd name="connsiteY976" fmla="*/ 1110575 h 1424653"/>
                <a:gd name="connsiteX977" fmla="*/ 1984929 w 2214394"/>
                <a:gd name="connsiteY977" fmla="*/ 1113634 h 1424653"/>
                <a:gd name="connsiteX978" fmla="*/ 1981033 w 2214394"/>
                <a:gd name="connsiteY978" fmla="*/ 1112105 h 1424653"/>
                <a:gd name="connsiteX979" fmla="*/ 1979058 w 2214394"/>
                <a:gd name="connsiteY979" fmla="*/ 1115164 h 1424653"/>
                <a:gd name="connsiteX980" fmla="*/ 1981033 w 2214394"/>
                <a:gd name="connsiteY980" fmla="*/ 1116693 h 1424653"/>
                <a:gd name="connsiteX981" fmla="*/ 1986904 w 2214394"/>
                <a:gd name="connsiteY981" fmla="*/ 1116693 h 1424653"/>
                <a:gd name="connsiteX982" fmla="*/ 1990802 w 2214394"/>
                <a:gd name="connsiteY982" fmla="*/ 1124292 h 1424653"/>
                <a:gd name="connsiteX983" fmla="*/ 1986904 w 2214394"/>
                <a:gd name="connsiteY983" fmla="*/ 1127351 h 1424653"/>
                <a:gd name="connsiteX984" fmla="*/ 1984929 w 2214394"/>
                <a:gd name="connsiteY984" fmla="*/ 1133469 h 1424653"/>
                <a:gd name="connsiteX985" fmla="*/ 1983006 w 2214394"/>
                <a:gd name="connsiteY985" fmla="*/ 1130410 h 1424653"/>
                <a:gd name="connsiteX986" fmla="*/ 1983006 w 2214394"/>
                <a:gd name="connsiteY986" fmla="*/ 1125821 h 1424653"/>
                <a:gd name="connsiteX987" fmla="*/ 1977085 w 2214394"/>
                <a:gd name="connsiteY987" fmla="*/ 1125821 h 1424653"/>
                <a:gd name="connsiteX988" fmla="*/ 1971213 w 2214394"/>
                <a:gd name="connsiteY988" fmla="*/ 1136479 h 1424653"/>
                <a:gd name="connsiteX989" fmla="*/ 1967316 w 2214394"/>
                <a:gd name="connsiteY989" fmla="*/ 1139587 h 1424653"/>
                <a:gd name="connsiteX990" fmla="*/ 1957448 w 2214394"/>
                <a:gd name="connsiteY990" fmla="*/ 1136479 h 1424653"/>
                <a:gd name="connsiteX991" fmla="*/ 1965292 w 2214394"/>
                <a:gd name="connsiteY991" fmla="*/ 1139587 h 1424653"/>
                <a:gd name="connsiteX992" fmla="*/ 1965292 w 2214394"/>
                <a:gd name="connsiteY992" fmla="*/ 1144126 h 1424653"/>
                <a:gd name="connsiteX993" fmla="*/ 1967266 w 2214394"/>
                <a:gd name="connsiteY993" fmla="*/ 1148715 h 1424653"/>
                <a:gd name="connsiteX994" fmla="*/ 1961345 w 2214394"/>
                <a:gd name="connsiteY994" fmla="*/ 1150245 h 1424653"/>
                <a:gd name="connsiteX995" fmla="*/ 1961345 w 2214394"/>
                <a:gd name="connsiteY995" fmla="*/ 1154833 h 1424653"/>
                <a:gd name="connsiteX996" fmla="*/ 1965292 w 2214394"/>
                <a:gd name="connsiteY996" fmla="*/ 1157843 h 1424653"/>
                <a:gd name="connsiteX997" fmla="*/ 1961345 w 2214394"/>
                <a:gd name="connsiteY997" fmla="*/ 1160902 h 1424653"/>
                <a:gd name="connsiteX998" fmla="*/ 1961345 w 2214394"/>
                <a:gd name="connsiteY998" fmla="*/ 1165491 h 1424653"/>
                <a:gd name="connsiteX999" fmla="*/ 1957448 w 2214394"/>
                <a:gd name="connsiteY999" fmla="*/ 1167020 h 1424653"/>
                <a:gd name="connsiteX1000" fmla="*/ 1951575 w 2214394"/>
                <a:gd name="connsiteY1000" fmla="*/ 1163961 h 1424653"/>
                <a:gd name="connsiteX1001" fmla="*/ 1949602 w 2214394"/>
                <a:gd name="connsiteY1001" fmla="*/ 1168550 h 1424653"/>
                <a:gd name="connsiteX1002" fmla="*/ 1955473 w 2214394"/>
                <a:gd name="connsiteY1002" fmla="*/ 1168550 h 1424653"/>
                <a:gd name="connsiteX1003" fmla="*/ 1959371 w 2214394"/>
                <a:gd name="connsiteY1003" fmla="*/ 1174619 h 1424653"/>
                <a:gd name="connsiteX1004" fmla="*/ 1951575 w 2214394"/>
                <a:gd name="connsiteY1004" fmla="*/ 1174619 h 1424653"/>
                <a:gd name="connsiteX1005" fmla="*/ 1951575 w 2214394"/>
                <a:gd name="connsiteY1005" fmla="*/ 1179207 h 1424653"/>
                <a:gd name="connsiteX1006" fmla="*/ 1943682 w 2214394"/>
                <a:gd name="connsiteY1006" fmla="*/ 1186806 h 1424653"/>
                <a:gd name="connsiteX1007" fmla="*/ 1939784 w 2214394"/>
                <a:gd name="connsiteY1007" fmla="*/ 1186806 h 1424653"/>
                <a:gd name="connsiteX1008" fmla="*/ 1939784 w 2214394"/>
                <a:gd name="connsiteY1008" fmla="*/ 1180737 h 1424653"/>
                <a:gd name="connsiteX1009" fmla="*/ 1933863 w 2214394"/>
                <a:gd name="connsiteY1009" fmla="*/ 1180737 h 1424653"/>
                <a:gd name="connsiteX1010" fmla="*/ 1931938 w 2214394"/>
                <a:gd name="connsiteY1010" fmla="*/ 1185326 h 1424653"/>
                <a:gd name="connsiteX1011" fmla="*/ 1926067 w 2214394"/>
                <a:gd name="connsiteY1011" fmla="*/ 1183796 h 1424653"/>
                <a:gd name="connsiteX1012" fmla="*/ 1931938 w 2214394"/>
                <a:gd name="connsiteY1012" fmla="*/ 1186806 h 1424653"/>
                <a:gd name="connsiteX1013" fmla="*/ 1926067 w 2214394"/>
                <a:gd name="connsiteY1013" fmla="*/ 1189914 h 1424653"/>
                <a:gd name="connsiteX1014" fmla="*/ 1931938 w 2214394"/>
                <a:gd name="connsiteY1014" fmla="*/ 1191444 h 1424653"/>
                <a:gd name="connsiteX1015" fmla="*/ 1937860 w 2214394"/>
                <a:gd name="connsiteY1015" fmla="*/ 1195983 h 1424653"/>
                <a:gd name="connsiteX1016" fmla="*/ 1929965 w 2214394"/>
                <a:gd name="connsiteY1016" fmla="*/ 1195983 h 1424653"/>
                <a:gd name="connsiteX1017" fmla="*/ 1937860 w 2214394"/>
                <a:gd name="connsiteY1017" fmla="*/ 1203631 h 1424653"/>
                <a:gd name="connsiteX1018" fmla="*/ 1941757 w 2214394"/>
                <a:gd name="connsiteY1018" fmla="*/ 1200572 h 1424653"/>
                <a:gd name="connsiteX1019" fmla="*/ 1945655 w 2214394"/>
                <a:gd name="connsiteY1019" fmla="*/ 1203631 h 1424653"/>
                <a:gd name="connsiteX1020" fmla="*/ 1935787 w 2214394"/>
                <a:gd name="connsiteY1020" fmla="*/ 1208170 h 1424653"/>
                <a:gd name="connsiteX1021" fmla="*/ 1925919 w 2214394"/>
                <a:gd name="connsiteY1021" fmla="*/ 1212759 h 1424653"/>
                <a:gd name="connsiteX1022" fmla="*/ 1923945 w 2214394"/>
                <a:gd name="connsiteY1022" fmla="*/ 1217348 h 1424653"/>
                <a:gd name="connsiteX1023" fmla="*/ 1929817 w 2214394"/>
                <a:gd name="connsiteY1023" fmla="*/ 1214289 h 1424653"/>
                <a:gd name="connsiteX1024" fmla="*/ 1933715 w 2214394"/>
                <a:gd name="connsiteY1024" fmla="*/ 1214289 h 1424653"/>
                <a:gd name="connsiteX1025" fmla="*/ 1937712 w 2214394"/>
                <a:gd name="connsiteY1025" fmla="*/ 1217348 h 1424653"/>
                <a:gd name="connsiteX1026" fmla="*/ 1929817 w 2214394"/>
                <a:gd name="connsiteY1026" fmla="*/ 1223416 h 1424653"/>
                <a:gd name="connsiteX1027" fmla="*/ 1935737 w 2214394"/>
                <a:gd name="connsiteY1027" fmla="*/ 1224946 h 1424653"/>
                <a:gd name="connsiteX1028" fmla="*/ 1935737 w 2214394"/>
                <a:gd name="connsiteY1028" fmla="*/ 1229584 h 1424653"/>
                <a:gd name="connsiteX1029" fmla="*/ 1929817 w 2214394"/>
                <a:gd name="connsiteY1029" fmla="*/ 1231064 h 1424653"/>
                <a:gd name="connsiteX1030" fmla="*/ 1931790 w 2214394"/>
                <a:gd name="connsiteY1030" fmla="*/ 1234123 h 1424653"/>
                <a:gd name="connsiteX1031" fmla="*/ 1935737 w 2214394"/>
                <a:gd name="connsiteY1031" fmla="*/ 1234123 h 1424653"/>
                <a:gd name="connsiteX1032" fmla="*/ 1937712 w 2214394"/>
                <a:gd name="connsiteY1032" fmla="*/ 1238712 h 1424653"/>
                <a:gd name="connsiteX1033" fmla="*/ 1937712 w 2214394"/>
                <a:gd name="connsiteY1033" fmla="*/ 1245965 h 1424653"/>
                <a:gd name="connsiteX1034" fmla="*/ 1933715 w 2214394"/>
                <a:gd name="connsiteY1034" fmla="*/ 1239896 h 1424653"/>
                <a:gd name="connsiteX1035" fmla="*/ 1929817 w 2214394"/>
                <a:gd name="connsiteY1035" fmla="*/ 1239896 h 1424653"/>
                <a:gd name="connsiteX1036" fmla="*/ 1929817 w 2214394"/>
                <a:gd name="connsiteY1036" fmla="*/ 1236837 h 1424653"/>
                <a:gd name="connsiteX1037" fmla="*/ 1923945 w 2214394"/>
                <a:gd name="connsiteY1037" fmla="*/ 1232248 h 1424653"/>
                <a:gd name="connsiteX1038" fmla="*/ 1919998 w 2214394"/>
                <a:gd name="connsiteY1038" fmla="*/ 1235308 h 1424653"/>
                <a:gd name="connsiteX1039" fmla="*/ 1918025 w 2214394"/>
                <a:gd name="connsiteY1039" fmla="*/ 1235308 h 1424653"/>
                <a:gd name="connsiteX1040" fmla="*/ 1916100 w 2214394"/>
                <a:gd name="connsiteY1040" fmla="*/ 1241426 h 1424653"/>
                <a:gd name="connsiteX1041" fmla="*/ 1921971 w 2214394"/>
                <a:gd name="connsiteY1041" fmla="*/ 1244435 h 1424653"/>
                <a:gd name="connsiteX1042" fmla="*/ 1921971 w 2214394"/>
                <a:gd name="connsiteY1042" fmla="*/ 1249024 h 1424653"/>
                <a:gd name="connsiteX1043" fmla="*/ 1919998 w 2214394"/>
                <a:gd name="connsiteY1043" fmla="*/ 1245965 h 1424653"/>
                <a:gd name="connsiteX1044" fmla="*/ 1916297 w 2214394"/>
                <a:gd name="connsiteY1044" fmla="*/ 1245965 h 1424653"/>
                <a:gd name="connsiteX1045" fmla="*/ 1914324 w 2214394"/>
                <a:gd name="connsiteY1045" fmla="*/ 1242955 h 1424653"/>
                <a:gd name="connsiteX1046" fmla="*/ 1908452 w 2214394"/>
                <a:gd name="connsiteY1046" fmla="*/ 1244435 h 1424653"/>
                <a:gd name="connsiteX1047" fmla="*/ 1912399 w 2214394"/>
                <a:gd name="connsiteY1047" fmla="*/ 1247494 h 1424653"/>
                <a:gd name="connsiteX1048" fmla="*/ 1914324 w 2214394"/>
                <a:gd name="connsiteY1048" fmla="*/ 1253613 h 1424653"/>
                <a:gd name="connsiteX1049" fmla="*/ 1918221 w 2214394"/>
                <a:gd name="connsiteY1049" fmla="*/ 1253613 h 1424653"/>
                <a:gd name="connsiteX1050" fmla="*/ 1920196 w 2214394"/>
                <a:gd name="connsiteY1050" fmla="*/ 1255142 h 1424653"/>
                <a:gd name="connsiteX1051" fmla="*/ 1916297 w 2214394"/>
                <a:gd name="connsiteY1051" fmla="*/ 1259682 h 1424653"/>
                <a:gd name="connsiteX1052" fmla="*/ 1908452 w 2214394"/>
                <a:gd name="connsiteY1052" fmla="*/ 1255142 h 1424653"/>
                <a:gd name="connsiteX1053" fmla="*/ 1908452 w 2214394"/>
                <a:gd name="connsiteY1053" fmla="*/ 1259682 h 1424653"/>
                <a:gd name="connsiteX1054" fmla="*/ 1910426 w 2214394"/>
                <a:gd name="connsiteY1054" fmla="*/ 1261211 h 1424653"/>
                <a:gd name="connsiteX1055" fmla="*/ 1916297 w 2214394"/>
                <a:gd name="connsiteY1055" fmla="*/ 1262741 h 1424653"/>
                <a:gd name="connsiteX1056" fmla="*/ 1912399 w 2214394"/>
                <a:gd name="connsiteY1056" fmla="*/ 1270388 h 1424653"/>
                <a:gd name="connsiteX1057" fmla="*/ 1904506 w 2214394"/>
                <a:gd name="connsiteY1057" fmla="*/ 1264319 h 1424653"/>
                <a:gd name="connsiteX1058" fmla="*/ 1900608 w 2214394"/>
                <a:gd name="connsiteY1058" fmla="*/ 1267329 h 1424653"/>
                <a:gd name="connsiteX1059" fmla="*/ 1896709 w 2214394"/>
                <a:gd name="connsiteY1059" fmla="*/ 1265849 h 1424653"/>
                <a:gd name="connsiteX1060" fmla="*/ 1890789 w 2214394"/>
                <a:gd name="connsiteY1060" fmla="*/ 1271918 h 1424653"/>
                <a:gd name="connsiteX1061" fmla="*/ 1879045 w 2214394"/>
                <a:gd name="connsiteY1061" fmla="*/ 1271918 h 1424653"/>
                <a:gd name="connsiteX1062" fmla="*/ 1886891 w 2214394"/>
                <a:gd name="connsiteY1062" fmla="*/ 1279566 h 1424653"/>
                <a:gd name="connsiteX1063" fmla="*/ 1892762 w 2214394"/>
                <a:gd name="connsiteY1063" fmla="*/ 1276507 h 1424653"/>
                <a:gd name="connsiteX1064" fmla="*/ 1900608 w 2214394"/>
                <a:gd name="connsiteY1064" fmla="*/ 1276507 h 1424653"/>
                <a:gd name="connsiteX1065" fmla="*/ 1898633 w 2214394"/>
                <a:gd name="connsiteY1065" fmla="*/ 1282575 h 1424653"/>
                <a:gd name="connsiteX1066" fmla="*/ 1892762 w 2214394"/>
                <a:gd name="connsiteY1066" fmla="*/ 1284105 h 1424653"/>
                <a:gd name="connsiteX1067" fmla="*/ 1890789 w 2214394"/>
                <a:gd name="connsiteY1067" fmla="*/ 1290223 h 1424653"/>
                <a:gd name="connsiteX1068" fmla="*/ 1886891 w 2214394"/>
                <a:gd name="connsiteY1068" fmla="*/ 1285634 h 1424653"/>
                <a:gd name="connsiteX1069" fmla="*/ 1882943 w 2214394"/>
                <a:gd name="connsiteY1069" fmla="*/ 1291753 h 1424653"/>
                <a:gd name="connsiteX1070" fmla="*/ 1881020 w 2214394"/>
                <a:gd name="connsiteY1070" fmla="*/ 1291753 h 1424653"/>
                <a:gd name="connsiteX1071" fmla="*/ 1881020 w 2214394"/>
                <a:gd name="connsiteY1071" fmla="*/ 1290371 h 1424653"/>
                <a:gd name="connsiteX1072" fmla="*/ 1877072 w 2214394"/>
                <a:gd name="connsiteY1072" fmla="*/ 1290371 h 1424653"/>
                <a:gd name="connsiteX1073" fmla="*/ 1877072 w 2214394"/>
                <a:gd name="connsiteY1073" fmla="*/ 1294960 h 1424653"/>
                <a:gd name="connsiteX1074" fmla="*/ 1873125 w 2214394"/>
                <a:gd name="connsiteY1074" fmla="*/ 1294960 h 1424653"/>
                <a:gd name="connsiteX1075" fmla="*/ 1871201 w 2214394"/>
                <a:gd name="connsiteY1075" fmla="*/ 1301029 h 1424653"/>
                <a:gd name="connsiteX1076" fmla="*/ 1865328 w 2214394"/>
                <a:gd name="connsiteY1076" fmla="*/ 1301029 h 1424653"/>
                <a:gd name="connsiteX1077" fmla="*/ 1863355 w 2214394"/>
                <a:gd name="connsiteY1077" fmla="*/ 1299499 h 1424653"/>
                <a:gd name="connsiteX1078" fmla="*/ 1853487 w 2214394"/>
                <a:gd name="connsiteY1078" fmla="*/ 1299499 h 1424653"/>
                <a:gd name="connsiteX1079" fmla="*/ 1851562 w 2214394"/>
                <a:gd name="connsiteY1079" fmla="*/ 1302558 h 1424653"/>
                <a:gd name="connsiteX1080" fmla="*/ 1847616 w 2214394"/>
                <a:gd name="connsiteY1080" fmla="*/ 1302558 h 1424653"/>
                <a:gd name="connsiteX1081" fmla="*/ 1851562 w 2214394"/>
                <a:gd name="connsiteY1081" fmla="*/ 1310206 h 1424653"/>
                <a:gd name="connsiteX1082" fmla="*/ 1849589 w 2214394"/>
                <a:gd name="connsiteY1082" fmla="*/ 1316324 h 1424653"/>
                <a:gd name="connsiteX1083" fmla="*/ 1845642 w 2214394"/>
                <a:gd name="connsiteY1083" fmla="*/ 1319334 h 1424653"/>
                <a:gd name="connsiteX1084" fmla="*/ 1849589 w 2214394"/>
                <a:gd name="connsiteY1084" fmla="*/ 1323923 h 1424653"/>
                <a:gd name="connsiteX1085" fmla="*/ 1843669 w 2214394"/>
                <a:gd name="connsiteY1085" fmla="*/ 1325452 h 1424653"/>
                <a:gd name="connsiteX1086" fmla="*/ 1839771 w 2214394"/>
                <a:gd name="connsiteY1086" fmla="*/ 1323923 h 1424653"/>
                <a:gd name="connsiteX1087" fmla="*/ 1837797 w 2214394"/>
                <a:gd name="connsiteY1087" fmla="*/ 1326982 h 1424653"/>
                <a:gd name="connsiteX1088" fmla="*/ 1835872 w 2214394"/>
                <a:gd name="connsiteY1088" fmla="*/ 1323923 h 1424653"/>
                <a:gd name="connsiteX1089" fmla="*/ 1833899 w 2214394"/>
                <a:gd name="connsiteY1089" fmla="*/ 1326982 h 1424653"/>
                <a:gd name="connsiteX1090" fmla="*/ 1829952 w 2214394"/>
                <a:gd name="connsiteY1090" fmla="*/ 1330041 h 1424653"/>
                <a:gd name="connsiteX1091" fmla="*/ 1820084 w 2214394"/>
                <a:gd name="connsiteY1091" fmla="*/ 1330041 h 1424653"/>
                <a:gd name="connsiteX1092" fmla="*/ 1818061 w 2214394"/>
                <a:gd name="connsiteY1092" fmla="*/ 1334580 h 1424653"/>
                <a:gd name="connsiteX1093" fmla="*/ 1812189 w 2214394"/>
                <a:gd name="connsiteY1093" fmla="*/ 1334580 h 1424653"/>
                <a:gd name="connsiteX1094" fmla="*/ 1812189 w 2214394"/>
                <a:gd name="connsiteY1094" fmla="*/ 1333051 h 1424653"/>
                <a:gd name="connsiteX1095" fmla="*/ 1808292 w 2214394"/>
                <a:gd name="connsiteY1095" fmla="*/ 1333051 h 1424653"/>
                <a:gd name="connsiteX1096" fmla="*/ 1808292 w 2214394"/>
                <a:gd name="connsiteY1096" fmla="*/ 1339169 h 1424653"/>
                <a:gd name="connsiteX1097" fmla="*/ 1804344 w 2214394"/>
                <a:gd name="connsiteY1097" fmla="*/ 1340698 h 1424653"/>
                <a:gd name="connsiteX1098" fmla="*/ 1798473 w 2214394"/>
                <a:gd name="connsiteY1098" fmla="*/ 1336110 h 1424653"/>
                <a:gd name="connsiteX1099" fmla="*/ 1796499 w 2214394"/>
                <a:gd name="connsiteY1099" fmla="*/ 1333051 h 1424653"/>
                <a:gd name="connsiteX1100" fmla="*/ 1794575 w 2214394"/>
                <a:gd name="connsiteY1100" fmla="*/ 1336110 h 1424653"/>
                <a:gd name="connsiteX1101" fmla="*/ 1788653 w 2214394"/>
                <a:gd name="connsiteY1101" fmla="*/ 1336110 h 1424653"/>
                <a:gd name="connsiteX1102" fmla="*/ 1786680 w 2214394"/>
                <a:gd name="connsiteY1102" fmla="*/ 1340698 h 1424653"/>
                <a:gd name="connsiteX1103" fmla="*/ 1782782 w 2214394"/>
                <a:gd name="connsiteY1103" fmla="*/ 1342228 h 1424653"/>
                <a:gd name="connsiteX1104" fmla="*/ 1776911 w 2214394"/>
                <a:gd name="connsiteY1104" fmla="*/ 1339169 h 1424653"/>
                <a:gd name="connsiteX1105" fmla="*/ 1772963 w 2214394"/>
                <a:gd name="connsiteY1105" fmla="*/ 1340698 h 1424653"/>
                <a:gd name="connsiteX1106" fmla="*/ 1767092 w 2214394"/>
                <a:gd name="connsiteY1106" fmla="*/ 1343758 h 1424653"/>
                <a:gd name="connsiteX1107" fmla="*/ 1767092 w 2214394"/>
                <a:gd name="connsiteY1107" fmla="*/ 1348297 h 1424653"/>
                <a:gd name="connsiteX1108" fmla="*/ 1753474 w 2214394"/>
                <a:gd name="connsiteY1108" fmla="*/ 1354514 h 1424653"/>
                <a:gd name="connsiteX1109" fmla="*/ 1751501 w 2214394"/>
                <a:gd name="connsiteY1109" fmla="*/ 1351405 h 1424653"/>
                <a:gd name="connsiteX1110" fmla="*/ 1755447 w 2214394"/>
                <a:gd name="connsiteY1110" fmla="*/ 1349876 h 1424653"/>
                <a:gd name="connsiteX1111" fmla="*/ 1761320 w 2214394"/>
                <a:gd name="connsiteY1111" fmla="*/ 1345336 h 1424653"/>
                <a:gd name="connsiteX1112" fmla="*/ 1755447 w 2214394"/>
                <a:gd name="connsiteY1112" fmla="*/ 1346866 h 1424653"/>
                <a:gd name="connsiteX1113" fmla="*/ 1747603 w 2214394"/>
                <a:gd name="connsiteY1113" fmla="*/ 1340748 h 1424653"/>
                <a:gd name="connsiteX1114" fmla="*/ 1747603 w 2214394"/>
                <a:gd name="connsiteY1114" fmla="*/ 1337689 h 1424653"/>
                <a:gd name="connsiteX1115" fmla="*/ 1737735 w 2214394"/>
                <a:gd name="connsiteY1115" fmla="*/ 1333100 h 1424653"/>
                <a:gd name="connsiteX1116" fmla="*/ 1735761 w 2214394"/>
                <a:gd name="connsiteY1116" fmla="*/ 1330090 h 1424653"/>
                <a:gd name="connsiteX1117" fmla="*/ 1737735 w 2214394"/>
                <a:gd name="connsiteY1117" fmla="*/ 1334629 h 1424653"/>
                <a:gd name="connsiteX1118" fmla="*/ 1735761 w 2214394"/>
                <a:gd name="connsiteY1118" fmla="*/ 1337689 h 1424653"/>
                <a:gd name="connsiteX1119" fmla="*/ 1737735 w 2214394"/>
                <a:gd name="connsiteY1119" fmla="*/ 1343807 h 1424653"/>
                <a:gd name="connsiteX1120" fmla="*/ 1739708 w 2214394"/>
                <a:gd name="connsiteY1120" fmla="*/ 1349876 h 1424653"/>
                <a:gd name="connsiteX1121" fmla="*/ 1733837 w 2214394"/>
                <a:gd name="connsiteY1121" fmla="*/ 1352984 h 1424653"/>
                <a:gd name="connsiteX1122" fmla="*/ 1729889 w 2214394"/>
                <a:gd name="connsiteY1122" fmla="*/ 1359053 h 1424653"/>
                <a:gd name="connsiteX1123" fmla="*/ 1727916 w 2214394"/>
                <a:gd name="connsiteY1123" fmla="*/ 1360582 h 1424653"/>
                <a:gd name="connsiteX1124" fmla="*/ 1722044 w 2214394"/>
                <a:gd name="connsiteY1124" fmla="*/ 1359053 h 1424653"/>
                <a:gd name="connsiteX1125" fmla="*/ 1720120 w 2214394"/>
                <a:gd name="connsiteY1125" fmla="*/ 1355994 h 1424653"/>
                <a:gd name="connsiteX1126" fmla="*/ 1720120 w 2214394"/>
                <a:gd name="connsiteY1126" fmla="*/ 1359053 h 1424653"/>
                <a:gd name="connsiteX1127" fmla="*/ 1716173 w 2214394"/>
                <a:gd name="connsiteY1127" fmla="*/ 1365171 h 1424653"/>
                <a:gd name="connsiteX1128" fmla="*/ 1708328 w 2214394"/>
                <a:gd name="connsiteY1128" fmla="*/ 1369711 h 1424653"/>
                <a:gd name="connsiteX1129" fmla="*/ 1702456 w 2214394"/>
                <a:gd name="connsiteY1129" fmla="*/ 1374299 h 1424653"/>
                <a:gd name="connsiteX1130" fmla="*/ 1698510 w 2214394"/>
                <a:gd name="connsiteY1130" fmla="*/ 1374299 h 1424653"/>
                <a:gd name="connsiteX1131" fmla="*/ 1690664 w 2214394"/>
                <a:gd name="connsiteY1131" fmla="*/ 1372770 h 1424653"/>
                <a:gd name="connsiteX1132" fmla="*/ 1682819 w 2214394"/>
                <a:gd name="connsiteY1132" fmla="*/ 1374299 h 1424653"/>
                <a:gd name="connsiteX1133" fmla="*/ 1676947 w 2214394"/>
                <a:gd name="connsiteY1133" fmla="*/ 1374299 h 1424653"/>
                <a:gd name="connsiteX1134" fmla="*/ 1678921 w 2214394"/>
                <a:gd name="connsiteY1134" fmla="*/ 1377358 h 1424653"/>
                <a:gd name="connsiteX1135" fmla="*/ 1673000 w 2214394"/>
                <a:gd name="connsiteY1135" fmla="*/ 1381947 h 1424653"/>
                <a:gd name="connsiteX1136" fmla="*/ 1665156 w 2214394"/>
                <a:gd name="connsiteY1136" fmla="*/ 1383476 h 1424653"/>
                <a:gd name="connsiteX1137" fmla="*/ 1661257 w 2214394"/>
                <a:gd name="connsiteY1137" fmla="*/ 1381947 h 1424653"/>
                <a:gd name="connsiteX1138" fmla="*/ 1657310 w 2214394"/>
                <a:gd name="connsiteY1138" fmla="*/ 1388016 h 1424653"/>
                <a:gd name="connsiteX1139" fmla="*/ 1649464 w 2214394"/>
                <a:gd name="connsiteY1139" fmla="*/ 1388016 h 1424653"/>
                <a:gd name="connsiteX1140" fmla="*/ 1645566 w 2214394"/>
                <a:gd name="connsiteY1140" fmla="*/ 1391124 h 1424653"/>
                <a:gd name="connsiteX1141" fmla="*/ 1643593 w 2214394"/>
                <a:gd name="connsiteY1141" fmla="*/ 1391124 h 1424653"/>
                <a:gd name="connsiteX1142" fmla="*/ 1645566 w 2214394"/>
                <a:gd name="connsiteY1142" fmla="*/ 1389545 h 1424653"/>
                <a:gd name="connsiteX1143" fmla="*/ 1641620 w 2214394"/>
                <a:gd name="connsiteY1143" fmla="*/ 1389545 h 1424653"/>
                <a:gd name="connsiteX1144" fmla="*/ 1641620 w 2214394"/>
                <a:gd name="connsiteY1144" fmla="*/ 1388016 h 1424653"/>
                <a:gd name="connsiteX1145" fmla="*/ 1643593 w 2214394"/>
                <a:gd name="connsiteY1145" fmla="*/ 1386486 h 1424653"/>
                <a:gd name="connsiteX1146" fmla="*/ 1641620 w 2214394"/>
                <a:gd name="connsiteY1146" fmla="*/ 1386486 h 1424653"/>
                <a:gd name="connsiteX1147" fmla="*/ 1639646 w 2214394"/>
                <a:gd name="connsiteY1147" fmla="*/ 1383476 h 1424653"/>
                <a:gd name="connsiteX1148" fmla="*/ 1639646 w 2214394"/>
                <a:gd name="connsiteY1148" fmla="*/ 1381947 h 1424653"/>
                <a:gd name="connsiteX1149" fmla="*/ 1637722 w 2214394"/>
                <a:gd name="connsiteY1149" fmla="*/ 1383476 h 1424653"/>
                <a:gd name="connsiteX1150" fmla="*/ 1635748 w 2214394"/>
                <a:gd name="connsiteY1150" fmla="*/ 1383476 h 1424653"/>
                <a:gd name="connsiteX1151" fmla="*/ 1635748 w 2214394"/>
                <a:gd name="connsiteY1151" fmla="*/ 1392604 h 1424653"/>
                <a:gd name="connsiteX1152" fmla="*/ 1629876 w 2214394"/>
                <a:gd name="connsiteY1152" fmla="*/ 1395664 h 1424653"/>
                <a:gd name="connsiteX1153" fmla="*/ 1627903 w 2214394"/>
                <a:gd name="connsiteY1153" fmla="*/ 1398723 h 1424653"/>
                <a:gd name="connsiteX1154" fmla="*/ 1631851 w 2214394"/>
                <a:gd name="connsiteY1154" fmla="*/ 1403311 h 1424653"/>
                <a:gd name="connsiteX1155" fmla="*/ 1635748 w 2214394"/>
                <a:gd name="connsiteY1155" fmla="*/ 1403311 h 1424653"/>
                <a:gd name="connsiteX1156" fmla="*/ 1639646 w 2214394"/>
                <a:gd name="connsiteY1156" fmla="*/ 1409380 h 1424653"/>
                <a:gd name="connsiteX1157" fmla="*/ 1639646 w 2214394"/>
                <a:gd name="connsiteY1157" fmla="*/ 1412439 h 1424653"/>
                <a:gd name="connsiteX1158" fmla="*/ 1641620 w 2214394"/>
                <a:gd name="connsiteY1158" fmla="*/ 1412439 h 1424653"/>
                <a:gd name="connsiteX1159" fmla="*/ 1643593 w 2214394"/>
                <a:gd name="connsiteY1159" fmla="*/ 1415498 h 1424653"/>
                <a:gd name="connsiteX1160" fmla="*/ 1637722 w 2214394"/>
                <a:gd name="connsiteY1160" fmla="*/ 1421567 h 1424653"/>
                <a:gd name="connsiteX1161" fmla="*/ 1633824 w 2214394"/>
                <a:gd name="connsiteY1161" fmla="*/ 1421567 h 1424653"/>
                <a:gd name="connsiteX1162" fmla="*/ 1633824 w 2214394"/>
                <a:gd name="connsiteY1162" fmla="*/ 1420087 h 1424653"/>
                <a:gd name="connsiteX1163" fmla="*/ 1625929 w 2214394"/>
                <a:gd name="connsiteY1163" fmla="*/ 1418557 h 1424653"/>
                <a:gd name="connsiteX1164" fmla="*/ 1623956 w 2214394"/>
                <a:gd name="connsiteY1164" fmla="*/ 1423097 h 1424653"/>
                <a:gd name="connsiteX1165" fmla="*/ 1622032 w 2214394"/>
                <a:gd name="connsiteY1165" fmla="*/ 1424626 h 1424653"/>
                <a:gd name="connsiteX1166" fmla="*/ 1618134 w 2214394"/>
                <a:gd name="connsiteY1166" fmla="*/ 1418557 h 1424653"/>
                <a:gd name="connsiteX1167" fmla="*/ 1622032 w 2214394"/>
                <a:gd name="connsiteY1167" fmla="*/ 1415498 h 1424653"/>
                <a:gd name="connsiteX1168" fmla="*/ 1614187 w 2214394"/>
                <a:gd name="connsiteY1168" fmla="*/ 1412439 h 1424653"/>
                <a:gd name="connsiteX1169" fmla="*/ 1606341 w 2214394"/>
                <a:gd name="connsiteY1169" fmla="*/ 1401732 h 1424653"/>
                <a:gd name="connsiteX1170" fmla="*/ 1606341 w 2214394"/>
                <a:gd name="connsiteY1170" fmla="*/ 1398920 h 1424653"/>
                <a:gd name="connsiteX1171" fmla="*/ 1610239 w 2214394"/>
                <a:gd name="connsiteY1171" fmla="*/ 1392802 h 1424653"/>
                <a:gd name="connsiteX1172" fmla="*/ 1612213 w 2214394"/>
                <a:gd name="connsiteY1172" fmla="*/ 1388213 h 1424653"/>
                <a:gd name="connsiteX1173" fmla="*/ 1616160 w 2214394"/>
                <a:gd name="connsiteY1173" fmla="*/ 1388213 h 1424653"/>
                <a:gd name="connsiteX1174" fmla="*/ 1616160 w 2214394"/>
                <a:gd name="connsiteY1174" fmla="*/ 1383674 h 1424653"/>
                <a:gd name="connsiteX1175" fmla="*/ 1612213 w 2214394"/>
                <a:gd name="connsiteY1175" fmla="*/ 1382144 h 1424653"/>
                <a:gd name="connsiteX1176" fmla="*/ 1608315 w 2214394"/>
                <a:gd name="connsiteY1176" fmla="*/ 1383674 h 1424653"/>
                <a:gd name="connsiteX1177" fmla="*/ 1602443 w 2214394"/>
                <a:gd name="connsiteY1177" fmla="*/ 1380615 h 1424653"/>
                <a:gd name="connsiteX1178" fmla="*/ 1600470 w 2214394"/>
                <a:gd name="connsiteY1178" fmla="*/ 1386684 h 1424653"/>
                <a:gd name="connsiteX1179" fmla="*/ 1592624 w 2214394"/>
                <a:gd name="connsiteY1179" fmla="*/ 1386684 h 1424653"/>
                <a:gd name="connsiteX1180" fmla="*/ 1580832 w 2214394"/>
                <a:gd name="connsiteY1180" fmla="*/ 1380615 h 1424653"/>
                <a:gd name="connsiteX1181" fmla="*/ 1578859 w 2214394"/>
                <a:gd name="connsiteY1181" fmla="*/ 1380615 h 1424653"/>
                <a:gd name="connsiteX1182" fmla="*/ 1571014 w 2214394"/>
                <a:gd name="connsiteY1182" fmla="*/ 1376026 h 1424653"/>
                <a:gd name="connsiteX1183" fmla="*/ 1569041 w 2214394"/>
                <a:gd name="connsiteY1183" fmla="*/ 1369908 h 1424653"/>
                <a:gd name="connsiteX1184" fmla="*/ 1567116 w 2214394"/>
                <a:gd name="connsiteY1184" fmla="*/ 1376026 h 1424653"/>
                <a:gd name="connsiteX1185" fmla="*/ 1567116 w 2214394"/>
                <a:gd name="connsiteY1185" fmla="*/ 1379085 h 1424653"/>
                <a:gd name="connsiteX1186" fmla="*/ 1561244 w 2214394"/>
                <a:gd name="connsiteY1186" fmla="*/ 1380615 h 1424653"/>
                <a:gd name="connsiteX1187" fmla="*/ 1557297 w 2214394"/>
                <a:gd name="connsiteY1187" fmla="*/ 1379085 h 1424653"/>
                <a:gd name="connsiteX1188" fmla="*/ 1555324 w 2214394"/>
                <a:gd name="connsiteY1188" fmla="*/ 1380615 h 1424653"/>
                <a:gd name="connsiteX1189" fmla="*/ 1553350 w 2214394"/>
                <a:gd name="connsiteY1189" fmla="*/ 1380615 h 1424653"/>
                <a:gd name="connsiteX1190" fmla="*/ 1545555 w 2214394"/>
                <a:gd name="connsiteY1190" fmla="*/ 1377556 h 1424653"/>
                <a:gd name="connsiteX1191" fmla="*/ 1541607 w 2214394"/>
                <a:gd name="connsiteY1191" fmla="*/ 1379085 h 1424653"/>
                <a:gd name="connsiteX1192" fmla="*/ 1537709 w 2214394"/>
                <a:gd name="connsiteY1192" fmla="*/ 1376026 h 1424653"/>
                <a:gd name="connsiteX1193" fmla="*/ 1531838 w 2214394"/>
                <a:gd name="connsiteY1193" fmla="*/ 1379085 h 1424653"/>
                <a:gd name="connsiteX1194" fmla="*/ 1523943 w 2214394"/>
                <a:gd name="connsiteY1194" fmla="*/ 1376026 h 1424653"/>
                <a:gd name="connsiteX1195" fmla="*/ 1516147 w 2214394"/>
                <a:gd name="connsiteY1195" fmla="*/ 1372967 h 1424653"/>
                <a:gd name="connsiteX1196" fmla="*/ 1514174 w 2214394"/>
                <a:gd name="connsiteY1196" fmla="*/ 1368428 h 1424653"/>
                <a:gd name="connsiteX1197" fmla="*/ 1500457 w 2214394"/>
                <a:gd name="connsiteY1197" fmla="*/ 1363839 h 1424653"/>
                <a:gd name="connsiteX1198" fmla="*/ 1498484 w 2214394"/>
                <a:gd name="connsiteY1198" fmla="*/ 1356191 h 1424653"/>
                <a:gd name="connsiteX1199" fmla="*/ 1494536 w 2214394"/>
                <a:gd name="connsiteY1199" fmla="*/ 1356191 h 1424653"/>
                <a:gd name="connsiteX1200" fmla="*/ 1498484 w 2214394"/>
                <a:gd name="connsiteY1200" fmla="*/ 1345534 h 1424653"/>
                <a:gd name="connsiteX1201" fmla="*/ 1502382 w 2214394"/>
                <a:gd name="connsiteY1201" fmla="*/ 1344004 h 1424653"/>
                <a:gd name="connsiteX1202" fmla="*/ 1504355 w 2214394"/>
                <a:gd name="connsiteY1202" fmla="*/ 1337886 h 1424653"/>
                <a:gd name="connsiteX1203" fmla="*/ 1498484 w 2214394"/>
                <a:gd name="connsiteY1203" fmla="*/ 1334827 h 1424653"/>
                <a:gd name="connsiteX1204" fmla="*/ 1488616 w 2214394"/>
                <a:gd name="connsiteY1204" fmla="*/ 1337886 h 1424653"/>
                <a:gd name="connsiteX1205" fmla="*/ 1486691 w 2214394"/>
                <a:gd name="connsiteY1205" fmla="*/ 1334827 h 1424653"/>
                <a:gd name="connsiteX1206" fmla="*/ 1469028 w 2214394"/>
                <a:gd name="connsiteY1206" fmla="*/ 1334827 h 1424653"/>
                <a:gd name="connsiteX1207" fmla="*/ 1465080 w 2214394"/>
                <a:gd name="connsiteY1207" fmla="*/ 1330288 h 1424653"/>
                <a:gd name="connsiteX1208" fmla="*/ 1459209 w 2214394"/>
                <a:gd name="connsiteY1208" fmla="*/ 1328758 h 1424653"/>
                <a:gd name="connsiteX1209" fmla="*/ 1459209 w 2214394"/>
                <a:gd name="connsiteY1209" fmla="*/ 1324169 h 1424653"/>
                <a:gd name="connsiteX1210" fmla="*/ 1451363 w 2214394"/>
                <a:gd name="connsiteY1210" fmla="*/ 1319581 h 1424653"/>
                <a:gd name="connsiteX1211" fmla="*/ 1443518 w 2214394"/>
                <a:gd name="connsiteY1211" fmla="*/ 1324169 h 1424653"/>
                <a:gd name="connsiteX1212" fmla="*/ 1435674 w 2214394"/>
                <a:gd name="connsiteY1212" fmla="*/ 1324169 h 1424653"/>
                <a:gd name="connsiteX1213" fmla="*/ 1427828 w 2214394"/>
                <a:gd name="connsiteY1213" fmla="*/ 1327228 h 1424653"/>
                <a:gd name="connsiteX1214" fmla="*/ 1429801 w 2214394"/>
                <a:gd name="connsiteY1214" fmla="*/ 1337886 h 1424653"/>
                <a:gd name="connsiteX1215" fmla="*/ 1418009 w 2214394"/>
                <a:gd name="connsiteY1215" fmla="*/ 1340945 h 1424653"/>
                <a:gd name="connsiteX1216" fmla="*/ 1408141 w 2214394"/>
                <a:gd name="connsiteY1216" fmla="*/ 1337886 h 1424653"/>
                <a:gd name="connsiteX1217" fmla="*/ 1400346 w 2214394"/>
                <a:gd name="connsiteY1217" fmla="*/ 1339416 h 1424653"/>
                <a:gd name="connsiteX1218" fmla="*/ 1400346 w 2214394"/>
                <a:gd name="connsiteY1218" fmla="*/ 1344004 h 1424653"/>
                <a:gd name="connsiteX1219" fmla="*/ 1392451 w 2214394"/>
                <a:gd name="connsiteY1219" fmla="*/ 1347063 h 1424653"/>
                <a:gd name="connsiteX1220" fmla="*/ 1390526 w 2214394"/>
                <a:gd name="connsiteY1220" fmla="*/ 1342475 h 1424653"/>
                <a:gd name="connsiteX1221" fmla="*/ 1386580 w 2214394"/>
                <a:gd name="connsiteY1221" fmla="*/ 1342475 h 1424653"/>
                <a:gd name="connsiteX1222" fmla="*/ 1382681 w 2214394"/>
                <a:gd name="connsiteY1222" fmla="*/ 1347063 h 1424653"/>
                <a:gd name="connsiteX1223" fmla="*/ 1374837 w 2214394"/>
                <a:gd name="connsiteY1223" fmla="*/ 1340945 h 1424653"/>
                <a:gd name="connsiteX1224" fmla="*/ 1368965 w 2214394"/>
                <a:gd name="connsiteY1224" fmla="*/ 1344004 h 1424653"/>
                <a:gd name="connsiteX1225" fmla="*/ 1366992 w 2214394"/>
                <a:gd name="connsiteY1225" fmla="*/ 1350073 h 1424653"/>
                <a:gd name="connsiteX1226" fmla="*/ 1363044 w 2214394"/>
                <a:gd name="connsiteY1226" fmla="*/ 1350073 h 1424653"/>
                <a:gd name="connsiteX1227" fmla="*/ 1359146 w 2214394"/>
                <a:gd name="connsiteY1227" fmla="*/ 1348543 h 1424653"/>
                <a:gd name="connsiteX1228" fmla="*/ 1361070 w 2214394"/>
                <a:gd name="connsiteY1228" fmla="*/ 1344004 h 1424653"/>
                <a:gd name="connsiteX1229" fmla="*/ 1355249 w 2214394"/>
                <a:gd name="connsiteY1229" fmla="*/ 1342475 h 1424653"/>
                <a:gd name="connsiteX1230" fmla="*/ 1349327 w 2214394"/>
                <a:gd name="connsiteY1230" fmla="*/ 1345534 h 1424653"/>
                <a:gd name="connsiteX1231" fmla="*/ 1343456 w 2214394"/>
                <a:gd name="connsiteY1231" fmla="*/ 1348543 h 1424653"/>
                <a:gd name="connsiteX1232" fmla="*/ 1341482 w 2214394"/>
                <a:gd name="connsiteY1232" fmla="*/ 1351602 h 1424653"/>
                <a:gd name="connsiteX1233" fmla="*/ 1339558 w 2214394"/>
                <a:gd name="connsiteY1233" fmla="*/ 1351602 h 1424653"/>
                <a:gd name="connsiteX1234" fmla="*/ 1335562 w 2214394"/>
                <a:gd name="connsiteY1234" fmla="*/ 1353181 h 1424653"/>
                <a:gd name="connsiteX1235" fmla="*/ 1337535 w 2214394"/>
                <a:gd name="connsiteY1235" fmla="*/ 1359250 h 1424653"/>
                <a:gd name="connsiteX1236" fmla="*/ 1335562 w 2214394"/>
                <a:gd name="connsiteY1236" fmla="*/ 1353181 h 1424653"/>
                <a:gd name="connsiteX1237" fmla="*/ 1323819 w 2214394"/>
                <a:gd name="connsiteY1237" fmla="*/ 1353181 h 1424653"/>
                <a:gd name="connsiteX1238" fmla="*/ 1323819 w 2214394"/>
                <a:gd name="connsiteY1238" fmla="*/ 1359250 h 1424653"/>
                <a:gd name="connsiteX1239" fmla="*/ 1317947 w 2214394"/>
                <a:gd name="connsiteY1239" fmla="*/ 1362310 h 1424653"/>
                <a:gd name="connsiteX1240" fmla="*/ 1319871 w 2214394"/>
                <a:gd name="connsiteY1240" fmla="*/ 1371437 h 1424653"/>
                <a:gd name="connsiteX1241" fmla="*/ 1321845 w 2214394"/>
                <a:gd name="connsiteY1241" fmla="*/ 1377556 h 1424653"/>
                <a:gd name="connsiteX1242" fmla="*/ 1321845 w 2214394"/>
                <a:gd name="connsiteY1242" fmla="*/ 1386684 h 1424653"/>
                <a:gd name="connsiteX1243" fmla="*/ 1323819 w 2214394"/>
                <a:gd name="connsiteY1243" fmla="*/ 1394331 h 1424653"/>
                <a:gd name="connsiteX1244" fmla="*/ 1317947 w 2214394"/>
                <a:gd name="connsiteY1244" fmla="*/ 1392802 h 1424653"/>
                <a:gd name="connsiteX1245" fmla="*/ 1308079 w 2214394"/>
                <a:gd name="connsiteY1245" fmla="*/ 1394331 h 1424653"/>
                <a:gd name="connsiteX1246" fmla="*/ 1304181 w 2214394"/>
                <a:gd name="connsiteY1246" fmla="*/ 1389743 h 1424653"/>
                <a:gd name="connsiteX1247" fmla="*/ 1300234 w 2214394"/>
                <a:gd name="connsiteY1247" fmla="*/ 1386684 h 1424653"/>
                <a:gd name="connsiteX1248" fmla="*/ 1294362 w 2214394"/>
                <a:gd name="connsiteY1248" fmla="*/ 1392802 h 1424653"/>
                <a:gd name="connsiteX1249" fmla="*/ 1302208 w 2214394"/>
                <a:gd name="connsiteY1249" fmla="*/ 1383674 h 1424653"/>
                <a:gd name="connsiteX1250" fmla="*/ 1304181 w 2214394"/>
                <a:gd name="connsiteY1250" fmla="*/ 1377556 h 1424653"/>
                <a:gd name="connsiteX1251" fmla="*/ 1296336 w 2214394"/>
                <a:gd name="connsiteY1251" fmla="*/ 1376026 h 1424653"/>
                <a:gd name="connsiteX1252" fmla="*/ 1282619 w 2214394"/>
                <a:gd name="connsiteY1252" fmla="*/ 1382144 h 1424653"/>
                <a:gd name="connsiteX1253" fmla="*/ 1272751 w 2214394"/>
                <a:gd name="connsiteY1253" fmla="*/ 1382144 h 1424653"/>
                <a:gd name="connsiteX1254" fmla="*/ 1266880 w 2214394"/>
                <a:gd name="connsiteY1254" fmla="*/ 1386684 h 1424653"/>
                <a:gd name="connsiteX1255" fmla="*/ 1258985 w 2214394"/>
                <a:gd name="connsiteY1255" fmla="*/ 1382144 h 1424653"/>
                <a:gd name="connsiteX1256" fmla="*/ 1257061 w 2214394"/>
                <a:gd name="connsiteY1256" fmla="*/ 1376026 h 1424653"/>
                <a:gd name="connsiteX1257" fmla="*/ 1258985 w 2214394"/>
                <a:gd name="connsiteY1257" fmla="*/ 1368428 h 1424653"/>
                <a:gd name="connsiteX1258" fmla="*/ 1255087 w 2214394"/>
                <a:gd name="connsiteY1258" fmla="*/ 1363839 h 1424653"/>
                <a:gd name="connsiteX1259" fmla="*/ 1249216 w 2214394"/>
                <a:gd name="connsiteY1259" fmla="*/ 1368428 h 1424653"/>
                <a:gd name="connsiteX1260" fmla="*/ 1247242 w 2214394"/>
                <a:gd name="connsiteY1260" fmla="*/ 1365369 h 1424653"/>
                <a:gd name="connsiteX1261" fmla="*/ 1235401 w 2214394"/>
                <a:gd name="connsiteY1261" fmla="*/ 1365369 h 1424653"/>
                <a:gd name="connsiteX1262" fmla="*/ 1229480 w 2214394"/>
                <a:gd name="connsiteY1262" fmla="*/ 1366898 h 1424653"/>
                <a:gd name="connsiteX1263" fmla="*/ 1229480 w 2214394"/>
                <a:gd name="connsiteY1263" fmla="*/ 1362310 h 1424653"/>
                <a:gd name="connsiteX1264" fmla="*/ 1235401 w 2214394"/>
                <a:gd name="connsiteY1264" fmla="*/ 1356191 h 1424653"/>
                <a:gd name="connsiteX1265" fmla="*/ 1245269 w 2214394"/>
                <a:gd name="connsiteY1265" fmla="*/ 1347063 h 1424653"/>
                <a:gd name="connsiteX1266" fmla="*/ 1245269 w 2214394"/>
                <a:gd name="connsiteY1266" fmla="*/ 1342475 h 1424653"/>
                <a:gd name="connsiteX1267" fmla="*/ 1247242 w 2214394"/>
                <a:gd name="connsiteY1267" fmla="*/ 1337886 h 1424653"/>
                <a:gd name="connsiteX1268" fmla="*/ 1247242 w 2214394"/>
                <a:gd name="connsiteY1268" fmla="*/ 1333297 h 1424653"/>
                <a:gd name="connsiteX1269" fmla="*/ 1239398 w 2214394"/>
                <a:gd name="connsiteY1269" fmla="*/ 1327228 h 1424653"/>
                <a:gd name="connsiteX1270" fmla="*/ 1229529 w 2214394"/>
                <a:gd name="connsiteY1270" fmla="*/ 1328758 h 1424653"/>
                <a:gd name="connsiteX1271" fmla="*/ 1227605 w 2214394"/>
                <a:gd name="connsiteY1271" fmla="*/ 1330288 h 1424653"/>
                <a:gd name="connsiteX1272" fmla="*/ 1225631 w 2214394"/>
                <a:gd name="connsiteY1272" fmla="*/ 1327228 h 1424653"/>
                <a:gd name="connsiteX1273" fmla="*/ 1227605 w 2214394"/>
                <a:gd name="connsiteY1273" fmla="*/ 1324169 h 1424653"/>
                <a:gd name="connsiteX1274" fmla="*/ 1217737 w 2214394"/>
                <a:gd name="connsiteY1274" fmla="*/ 1322640 h 1424653"/>
                <a:gd name="connsiteX1275" fmla="*/ 1213790 w 2214394"/>
                <a:gd name="connsiteY1275" fmla="*/ 1318100 h 1424653"/>
                <a:gd name="connsiteX1276" fmla="*/ 1215763 w 2214394"/>
                <a:gd name="connsiteY1276" fmla="*/ 1313462 h 1424653"/>
                <a:gd name="connsiteX1277" fmla="*/ 1213790 w 2214394"/>
                <a:gd name="connsiteY1277" fmla="*/ 1307394 h 1424653"/>
                <a:gd name="connsiteX1278" fmla="*/ 1203921 w 2214394"/>
                <a:gd name="connsiteY1278" fmla="*/ 1310453 h 1424653"/>
                <a:gd name="connsiteX1279" fmla="*/ 1200023 w 2214394"/>
                <a:gd name="connsiteY1279" fmla="*/ 1307394 h 1424653"/>
                <a:gd name="connsiteX1280" fmla="*/ 1201997 w 2214394"/>
                <a:gd name="connsiteY1280" fmla="*/ 1301276 h 1424653"/>
                <a:gd name="connsiteX1281" fmla="*/ 1200023 w 2214394"/>
                <a:gd name="connsiteY1281" fmla="*/ 1296687 h 1424653"/>
                <a:gd name="connsiteX1282" fmla="*/ 1184334 w 2214394"/>
                <a:gd name="connsiteY1282" fmla="*/ 1299746 h 1424653"/>
                <a:gd name="connsiteX1283" fmla="*/ 1176489 w 2214394"/>
                <a:gd name="connsiteY1283" fmla="*/ 1304335 h 1424653"/>
                <a:gd name="connsiteX1284" fmla="*/ 1172590 w 2214394"/>
                <a:gd name="connsiteY1284" fmla="*/ 1298216 h 1424653"/>
                <a:gd name="connsiteX1285" fmla="*/ 1172590 w 2214394"/>
                <a:gd name="connsiteY1285" fmla="*/ 1290371 h 1424653"/>
                <a:gd name="connsiteX1286" fmla="*/ 1168643 w 2214394"/>
                <a:gd name="connsiteY1286" fmla="*/ 1287312 h 1424653"/>
                <a:gd name="connsiteX1287" fmla="*/ 1164746 w 2214394"/>
                <a:gd name="connsiteY1287" fmla="*/ 1282724 h 1424653"/>
                <a:gd name="connsiteX1288" fmla="*/ 1160798 w 2214394"/>
                <a:gd name="connsiteY1288" fmla="*/ 1281243 h 1424653"/>
                <a:gd name="connsiteX1289" fmla="*/ 1160798 w 2214394"/>
                <a:gd name="connsiteY1289" fmla="*/ 1275076 h 1424653"/>
                <a:gd name="connsiteX1290" fmla="*/ 1162772 w 2214394"/>
                <a:gd name="connsiteY1290" fmla="*/ 1270536 h 1424653"/>
                <a:gd name="connsiteX1291" fmla="*/ 1160798 w 2214394"/>
                <a:gd name="connsiteY1291" fmla="*/ 1265997 h 1424653"/>
                <a:gd name="connsiteX1292" fmla="*/ 1162772 w 2214394"/>
                <a:gd name="connsiteY1292" fmla="*/ 1261359 h 1424653"/>
                <a:gd name="connsiteX1293" fmla="*/ 1166719 w 2214394"/>
                <a:gd name="connsiteY1293" fmla="*/ 1256820 h 1424653"/>
                <a:gd name="connsiteX1294" fmla="*/ 1172590 w 2214394"/>
                <a:gd name="connsiteY1294" fmla="*/ 1258349 h 1424653"/>
                <a:gd name="connsiteX1295" fmla="*/ 1176489 w 2214394"/>
                <a:gd name="connsiteY1295" fmla="*/ 1255290 h 1424653"/>
                <a:gd name="connsiteX1296" fmla="*/ 1170617 w 2214394"/>
                <a:gd name="connsiteY1296" fmla="*/ 1247643 h 1424653"/>
                <a:gd name="connsiteX1297" fmla="*/ 1172590 w 2214394"/>
                <a:gd name="connsiteY1297" fmla="*/ 1244583 h 1424653"/>
                <a:gd name="connsiteX1298" fmla="*/ 1178462 w 2214394"/>
                <a:gd name="connsiteY1298" fmla="*/ 1243103 h 1424653"/>
                <a:gd name="connsiteX1299" fmla="*/ 1178462 w 2214394"/>
                <a:gd name="connsiteY1299" fmla="*/ 1238514 h 1424653"/>
                <a:gd name="connsiteX1300" fmla="*/ 1186307 w 2214394"/>
                <a:gd name="connsiteY1300" fmla="*/ 1235455 h 1424653"/>
                <a:gd name="connsiteX1301" fmla="*/ 1186307 w 2214394"/>
                <a:gd name="connsiteY1301" fmla="*/ 1224749 h 1424653"/>
                <a:gd name="connsiteX1302" fmla="*/ 1188231 w 2214394"/>
                <a:gd name="connsiteY1302" fmla="*/ 1212561 h 1424653"/>
                <a:gd name="connsiteX1303" fmla="*/ 1188231 w 2214394"/>
                <a:gd name="connsiteY1303" fmla="*/ 1203434 h 1424653"/>
                <a:gd name="connsiteX1304" fmla="*/ 1182409 w 2214394"/>
                <a:gd name="connsiteY1304" fmla="*/ 1191246 h 1424653"/>
                <a:gd name="connsiteX1305" fmla="*/ 1182409 w 2214394"/>
                <a:gd name="connsiteY1305" fmla="*/ 1183599 h 1424653"/>
                <a:gd name="connsiteX1306" fmla="*/ 1176489 w 2214394"/>
                <a:gd name="connsiteY1306" fmla="*/ 1177530 h 1424653"/>
                <a:gd name="connsiteX1307" fmla="*/ 1168643 w 2214394"/>
                <a:gd name="connsiteY1307" fmla="*/ 1177530 h 1424653"/>
                <a:gd name="connsiteX1308" fmla="*/ 1166719 w 2214394"/>
                <a:gd name="connsiteY1308" fmla="*/ 1166823 h 1424653"/>
                <a:gd name="connsiteX1309" fmla="*/ 1160798 w 2214394"/>
                <a:gd name="connsiteY1309" fmla="*/ 1162235 h 1424653"/>
                <a:gd name="connsiteX1310" fmla="*/ 1154926 w 2214394"/>
                <a:gd name="connsiteY1310" fmla="*/ 1154636 h 1424653"/>
                <a:gd name="connsiteX1311" fmla="*/ 1147081 w 2214394"/>
                <a:gd name="connsiteY1311" fmla="*/ 1154636 h 1424653"/>
                <a:gd name="connsiteX1312" fmla="*/ 1143134 w 2214394"/>
                <a:gd name="connsiteY1312" fmla="*/ 1157646 h 1424653"/>
                <a:gd name="connsiteX1313" fmla="*/ 1133266 w 2214394"/>
                <a:gd name="connsiteY1313" fmla="*/ 1154636 h 1424653"/>
                <a:gd name="connsiteX1314" fmla="*/ 1127345 w 2214394"/>
                <a:gd name="connsiteY1314" fmla="*/ 1156165 h 1424653"/>
                <a:gd name="connsiteX1315" fmla="*/ 1121523 w 2214394"/>
                <a:gd name="connsiteY1315" fmla="*/ 1151577 h 1424653"/>
                <a:gd name="connsiteX1316" fmla="*/ 1115602 w 2214394"/>
                <a:gd name="connsiteY1316" fmla="*/ 1150047 h 1424653"/>
                <a:gd name="connsiteX1317" fmla="*/ 1111655 w 2214394"/>
                <a:gd name="connsiteY1317" fmla="*/ 1151577 h 1424653"/>
                <a:gd name="connsiteX1318" fmla="*/ 1101787 w 2214394"/>
                <a:gd name="connsiteY1318" fmla="*/ 1150047 h 1424653"/>
                <a:gd name="connsiteX1319" fmla="*/ 1099863 w 2214394"/>
                <a:gd name="connsiteY1319" fmla="*/ 1143929 h 1424653"/>
                <a:gd name="connsiteX1320" fmla="*/ 1107708 w 2214394"/>
                <a:gd name="connsiteY1320" fmla="*/ 1137860 h 1424653"/>
                <a:gd name="connsiteX1321" fmla="*/ 1107708 w 2214394"/>
                <a:gd name="connsiteY1321" fmla="*/ 1134752 h 1424653"/>
                <a:gd name="connsiteX1322" fmla="*/ 1099863 w 2214394"/>
                <a:gd name="connsiteY1322" fmla="*/ 1128683 h 1424653"/>
                <a:gd name="connsiteX1323" fmla="*/ 1099863 w 2214394"/>
                <a:gd name="connsiteY1323" fmla="*/ 1124094 h 1424653"/>
                <a:gd name="connsiteX1324" fmla="*/ 1093991 w 2214394"/>
                <a:gd name="connsiteY1324" fmla="*/ 1125624 h 1424653"/>
                <a:gd name="connsiteX1325" fmla="*/ 1090044 w 2214394"/>
                <a:gd name="connsiteY1325" fmla="*/ 1125624 h 1424653"/>
                <a:gd name="connsiteX1326" fmla="*/ 1088070 w 2214394"/>
                <a:gd name="connsiteY1326" fmla="*/ 1121035 h 1424653"/>
                <a:gd name="connsiteX1327" fmla="*/ 1092017 w 2214394"/>
                <a:gd name="connsiteY1327" fmla="*/ 1111907 h 1424653"/>
                <a:gd name="connsiteX1328" fmla="*/ 1092017 w 2214394"/>
                <a:gd name="connsiteY1328" fmla="*/ 1108848 h 1424653"/>
                <a:gd name="connsiteX1329" fmla="*/ 1086146 w 2214394"/>
                <a:gd name="connsiteY1329" fmla="*/ 1110378 h 1424653"/>
                <a:gd name="connsiteX1330" fmla="*/ 1082199 w 2214394"/>
                <a:gd name="connsiteY1330" fmla="*/ 1105789 h 1424653"/>
                <a:gd name="connsiteX1331" fmla="*/ 1078301 w 2214394"/>
                <a:gd name="connsiteY1331" fmla="*/ 1104309 h 1424653"/>
                <a:gd name="connsiteX1332" fmla="*/ 1060637 w 2214394"/>
                <a:gd name="connsiteY1332" fmla="*/ 1111907 h 1424653"/>
                <a:gd name="connsiteX1333" fmla="*/ 1062611 w 2214394"/>
                <a:gd name="connsiteY1333" fmla="*/ 1118025 h 1424653"/>
                <a:gd name="connsiteX1334" fmla="*/ 1058664 w 2214394"/>
                <a:gd name="connsiteY1334" fmla="*/ 1122565 h 1424653"/>
                <a:gd name="connsiteX1335" fmla="*/ 1044947 w 2214394"/>
                <a:gd name="connsiteY1335" fmla="*/ 1116496 h 1424653"/>
                <a:gd name="connsiteX1336" fmla="*/ 1035079 w 2214394"/>
                <a:gd name="connsiteY1336" fmla="*/ 1121035 h 1424653"/>
                <a:gd name="connsiteX1337" fmla="*/ 1029158 w 2214394"/>
                <a:gd name="connsiteY1337" fmla="*/ 1111907 h 1424653"/>
                <a:gd name="connsiteX1338" fmla="*/ 1021313 w 2214394"/>
                <a:gd name="connsiteY1338" fmla="*/ 1116496 h 1424653"/>
                <a:gd name="connsiteX1339" fmla="*/ 1015442 w 2214394"/>
                <a:gd name="connsiteY1339" fmla="*/ 1116496 h 1424653"/>
                <a:gd name="connsiteX1340" fmla="*/ 1015442 w 2214394"/>
                <a:gd name="connsiteY1340" fmla="*/ 1124094 h 1424653"/>
                <a:gd name="connsiteX1341" fmla="*/ 1009570 w 2214394"/>
                <a:gd name="connsiteY1341" fmla="*/ 1133271 h 1424653"/>
                <a:gd name="connsiteX1342" fmla="*/ 993880 w 2214394"/>
                <a:gd name="connsiteY1342" fmla="*/ 1134752 h 1424653"/>
                <a:gd name="connsiteX1343" fmla="*/ 985985 w 2214394"/>
                <a:gd name="connsiteY1343" fmla="*/ 1136281 h 1424653"/>
                <a:gd name="connsiteX1344" fmla="*/ 982087 w 2214394"/>
                <a:gd name="connsiteY1344" fmla="*/ 1142400 h 1424653"/>
                <a:gd name="connsiteX1345" fmla="*/ 978189 w 2214394"/>
                <a:gd name="connsiteY1345" fmla="*/ 1150047 h 1424653"/>
                <a:gd name="connsiteX1346" fmla="*/ 972269 w 2214394"/>
                <a:gd name="connsiteY1346" fmla="*/ 1151577 h 1424653"/>
                <a:gd name="connsiteX1347" fmla="*/ 972269 w 2214394"/>
                <a:gd name="connsiteY1347" fmla="*/ 1156165 h 1424653"/>
                <a:gd name="connsiteX1348" fmla="*/ 964473 w 2214394"/>
                <a:gd name="connsiteY1348" fmla="*/ 1154636 h 1424653"/>
                <a:gd name="connsiteX1349" fmla="*/ 958552 w 2214394"/>
                <a:gd name="connsiteY1349" fmla="*/ 1157646 h 1424653"/>
                <a:gd name="connsiteX1350" fmla="*/ 956578 w 2214394"/>
                <a:gd name="connsiteY1350" fmla="*/ 1163764 h 1424653"/>
                <a:gd name="connsiteX1351" fmla="*/ 950707 w 2214394"/>
                <a:gd name="connsiteY1351" fmla="*/ 1165294 h 1424653"/>
                <a:gd name="connsiteX1352" fmla="*/ 939359 w 2214394"/>
                <a:gd name="connsiteY1352" fmla="*/ 1167020 h 1424653"/>
                <a:gd name="connsiteX1353" fmla="*/ 931514 w 2214394"/>
                <a:gd name="connsiteY1353" fmla="*/ 1167020 h 1424653"/>
                <a:gd name="connsiteX1354" fmla="*/ 929540 w 2214394"/>
                <a:gd name="connsiteY1354" fmla="*/ 1168550 h 1424653"/>
                <a:gd name="connsiteX1355" fmla="*/ 925592 w 2214394"/>
                <a:gd name="connsiteY1355" fmla="*/ 1160902 h 1424653"/>
                <a:gd name="connsiteX1356" fmla="*/ 915724 w 2214394"/>
                <a:gd name="connsiteY1356" fmla="*/ 1160902 h 1424653"/>
                <a:gd name="connsiteX1357" fmla="*/ 907879 w 2214394"/>
                <a:gd name="connsiteY1357" fmla="*/ 1163961 h 1424653"/>
                <a:gd name="connsiteX1358" fmla="*/ 898011 w 2214394"/>
                <a:gd name="connsiteY1358" fmla="*/ 1162432 h 1424653"/>
                <a:gd name="connsiteX1359" fmla="*/ 882321 w 2214394"/>
                <a:gd name="connsiteY1359" fmla="*/ 1160902 h 1424653"/>
                <a:gd name="connsiteX1360" fmla="*/ 878423 w 2214394"/>
                <a:gd name="connsiteY1360" fmla="*/ 1154833 h 1424653"/>
                <a:gd name="connsiteX1361" fmla="*/ 868555 w 2214394"/>
                <a:gd name="connsiteY1361" fmla="*/ 1156363 h 1424653"/>
                <a:gd name="connsiteX1362" fmla="*/ 848819 w 2214394"/>
                <a:gd name="connsiteY1362" fmla="*/ 1165491 h 1424653"/>
                <a:gd name="connsiteX1363" fmla="*/ 840974 w 2214394"/>
                <a:gd name="connsiteY1363" fmla="*/ 1179207 h 1424653"/>
                <a:gd name="connsiteX1364" fmla="*/ 835102 w 2214394"/>
                <a:gd name="connsiteY1364" fmla="*/ 1182267 h 1424653"/>
                <a:gd name="connsiteX1365" fmla="*/ 835102 w 2214394"/>
                <a:gd name="connsiteY1365" fmla="*/ 1182267 h 1424653"/>
                <a:gd name="connsiteX1366" fmla="*/ 825234 w 2214394"/>
                <a:gd name="connsiteY1366" fmla="*/ 1177727 h 1424653"/>
                <a:gd name="connsiteX1367" fmla="*/ 825234 w 2214394"/>
                <a:gd name="connsiteY1367" fmla="*/ 1170079 h 1424653"/>
                <a:gd name="connsiteX1368" fmla="*/ 821336 w 2214394"/>
                <a:gd name="connsiteY1368" fmla="*/ 1163961 h 1424653"/>
                <a:gd name="connsiteX1369" fmla="*/ 813491 w 2214394"/>
                <a:gd name="connsiteY1369" fmla="*/ 1163961 h 1424653"/>
                <a:gd name="connsiteX1370" fmla="*/ 807620 w 2214394"/>
                <a:gd name="connsiteY1370" fmla="*/ 1168550 h 1424653"/>
                <a:gd name="connsiteX1371" fmla="*/ 801748 w 2214394"/>
                <a:gd name="connsiteY1371" fmla="*/ 1168550 h 1424653"/>
                <a:gd name="connsiteX1372" fmla="*/ 789956 w 2214394"/>
                <a:gd name="connsiteY1372" fmla="*/ 1170079 h 1424653"/>
                <a:gd name="connsiteX1373" fmla="*/ 786403 w 2214394"/>
                <a:gd name="connsiteY1373" fmla="*/ 1170079 h 1424653"/>
                <a:gd name="connsiteX1374" fmla="*/ 778509 w 2214394"/>
                <a:gd name="connsiteY1374" fmla="*/ 1174619 h 1424653"/>
                <a:gd name="connsiteX1375" fmla="*/ 772637 w 2214394"/>
                <a:gd name="connsiteY1375" fmla="*/ 1171560 h 1424653"/>
                <a:gd name="connsiteX1376" fmla="*/ 762769 w 2214394"/>
                <a:gd name="connsiteY1376" fmla="*/ 1163961 h 1424653"/>
                <a:gd name="connsiteX1377" fmla="*/ 752901 w 2214394"/>
                <a:gd name="connsiteY1377" fmla="*/ 1159373 h 1424653"/>
                <a:gd name="connsiteX1378" fmla="*/ 750977 w 2214394"/>
                <a:gd name="connsiteY1378" fmla="*/ 1153304 h 1424653"/>
                <a:gd name="connsiteX1379" fmla="*/ 743132 w 2214394"/>
                <a:gd name="connsiteY1379" fmla="*/ 1150245 h 1424653"/>
                <a:gd name="connsiteX1380" fmla="*/ 727442 w 2214394"/>
                <a:gd name="connsiteY1380" fmla="*/ 1148715 h 1424653"/>
                <a:gd name="connsiteX1381" fmla="*/ 721570 w 2214394"/>
                <a:gd name="connsiteY1381" fmla="*/ 1154833 h 1424653"/>
                <a:gd name="connsiteX1382" fmla="*/ 713725 w 2214394"/>
                <a:gd name="connsiteY1382" fmla="*/ 1156363 h 1424653"/>
                <a:gd name="connsiteX1383" fmla="*/ 709778 w 2214394"/>
                <a:gd name="connsiteY1383" fmla="*/ 1159373 h 1424653"/>
                <a:gd name="connsiteX1384" fmla="*/ 699910 w 2214394"/>
                <a:gd name="connsiteY1384" fmla="*/ 1154833 h 1424653"/>
                <a:gd name="connsiteX1385" fmla="*/ 693989 w 2214394"/>
                <a:gd name="connsiteY1385" fmla="*/ 1156363 h 1424653"/>
                <a:gd name="connsiteX1386" fmla="*/ 690091 w 2214394"/>
                <a:gd name="connsiteY1386" fmla="*/ 1150245 h 1424653"/>
                <a:gd name="connsiteX1387" fmla="*/ 692015 w 2214394"/>
                <a:gd name="connsiteY1387" fmla="*/ 1136479 h 1424653"/>
                <a:gd name="connsiteX1388" fmla="*/ 682147 w 2214394"/>
                <a:gd name="connsiteY1388" fmla="*/ 1134949 h 1424653"/>
                <a:gd name="connsiteX1389" fmla="*/ 672279 w 2214394"/>
                <a:gd name="connsiteY1389" fmla="*/ 1138058 h 1424653"/>
                <a:gd name="connsiteX1390" fmla="*/ 664434 w 2214394"/>
                <a:gd name="connsiteY1390" fmla="*/ 1130410 h 1424653"/>
                <a:gd name="connsiteX1391" fmla="*/ 663053 w 2214394"/>
                <a:gd name="connsiteY1391" fmla="*/ 1122614 h 1424653"/>
                <a:gd name="connsiteX1392" fmla="*/ 653185 w 2214394"/>
                <a:gd name="connsiteY1392" fmla="*/ 1118075 h 1424653"/>
                <a:gd name="connsiteX1393" fmla="*/ 647264 w 2214394"/>
                <a:gd name="connsiteY1393" fmla="*/ 1118075 h 1424653"/>
                <a:gd name="connsiteX1394" fmla="*/ 645340 w 2214394"/>
                <a:gd name="connsiteY1394" fmla="*/ 1115016 h 1424653"/>
                <a:gd name="connsiteX1395" fmla="*/ 641392 w 2214394"/>
                <a:gd name="connsiteY1395" fmla="*/ 1118075 h 1424653"/>
                <a:gd name="connsiteX1396" fmla="*/ 639468 w 2214394"/>
                <a:gd name="connsiteY1396" fmla="*/ 1128732 h 1424653"/>
                <a:gd name="connsiteX1397" fmla="*/ 635521 w 2214394"/>
                <a:gd name="connsiteY1397" fmla="*/ 1130262 h 1424653"/>
                <a:gd name="connsiteX1398" fmla="*/ 633448 w 2214394"/>
                <a:gd name="connsiteY1398" fmla="*/ 1122614 h 1424653"/>
                <a:gd name="connsiteX1399" fmla="*/ 625603 w 2214394"/>
                <a:gd name="connsiteY1399" fmla="*/ 1115016 h 1424653"/>
                <a:gd name="connsiteX1400" fmla="*/ 621656 w 2214394"/>
                <a:gd name="connsiteY1400" fmla="*/ 1111957 h 1424653"/>
                <a:gd name="connsiteX1401" fmla="*/ 615785 w 2214394"/>
                <a:gd name="connsiteY1401" fmla="*/ 1108897 h 1424653"/>
                <a:gd name="connsiteX1402" fmla="*/ 607939 w 2214394"/>
                <a:gd name="connsiteY1402" fmla="*/ 1108897 h 1424653"/>
                <a:gd name="connsiteX1403" fmla="*/ 598071 w 2214394"/>
                <a:gd name="connsiteY1403" fmla="*/ 1099769 h 1424653"/>
                <a:gd name="connsiteX1404" fmla="*/ 590177 w 2214394"/>
                <a:gd name="connsiteY1404" fmla="*/ 1096710 h 1424653"/>
                <a:gd name="connsiteX1405" fmla="*/ 582381 w 2214394"/>
                <a:gd name="connsiteY1405" fmla="*/ 1096710 h 1424653"/>
                <a:gd name="connsiteX1406" fmla="*/ 578434 w 2214394"/>
                <a:gd name="connsiteY1406" fmla="*/ 1092122 h 1424653"/>
                <a:gd name="connsiteX1407" fmla="*/ 566691 w 2214394"/>
                <a:gd name="connsiteY1407" fmla="*/ 1087533 h 1424653"/>
                <a:gd name="connsiteX1408" fmla="*/ 554898 w 2214394"/>
                <a:gd name="connsiteY1408" fmla="*/ 1087533 h 1424653"/>
                <a:gd name="connsiteX1409" fmla="*/ 551001 w 2214394"/>
                <a:gd name="connsiteY1409" fmla="*/ 1095181 h 1424653"/>
                <a:gd name="connsiteX1410" fmla="*/ 547053 w 2214394"/>
                <a:gd name="connsiteY1410" fmla="*/ 1092122 h 1424653"/>
                <a:gd name="connsiteX1411" fmla="*/ 541182 w 2214394"/>
                <a:gd name="connsiteY1411" fmla="*/ 1092122 h 1424653"/>
                <a:gd name="connsiteX1412" fmla="*/ 539258 w 2214394"/>
                <a:gd name="connsiteY1412" fmla="*/ 1089112 h 1424653"/>
                <a:gd name="connsiteX1413" fmla="*/ 529390 w 2214394"/>
                <a:gd name="connsiteY1413" fmla="*/ 1084474 h 1424653"/>
                <a:gd name="connsiteX1414" fmla="*/ 527465 w 2214394"/>
                <a:gd name="connsiteY1414" fmla="*/ 1086004 h 1424653"/>
                <a:gd name="connsiteX1415" fmla="*/ 527465 w 2214394"/>
                <a:gd name="connsiteY1415" fmla="*/ 1087533 h 1424653"/>
                <a:gd name="connsiteX1416" fmla="*/ 521594 w 2214394"/>
                <a:gd name="connsiteY1416" fmla="*/ 1081464 h 1424653"/>
                <a:gd name="connsiteX1417" fmla="*/ 515673 w 2214394"/>
                <a:gd name="connsiteY1417" fmla="*/ 1081464 h 1424653"/>
                <a:gd name="connsiteX1418" fmla="*/ 511775 w 2214394"/>
                <a:gd name="connsiteY1418" fmla="*/ 1073816 h 1424653"/>
                <a:gd name="connsiteX1419" fmla="*/ 507828 w 2214394"/>
                <a:gd name="connsiteY1419" fmla="*/ 1072287 h 1424653"/>
                <a:gd name="connsiteX1420" fmla="*/ 499982 w 2214394"/>
                <a:gd name="connsiteY1420" fmla="*/ 1064689 h 1424653"/>
                <a:gd name="connsiteX1421" fmla="*/ 492138 w 2214394"/>
                <a:gd name="connsiteY1421" fmla="*/ 1064689 h 1424653"/>
                <a:gd name="connsiteX1422" fmla="*/ 488239 w 2214394"/>
                <a:gd name="connsiteY1422" fmla="*/ 1061629 h 1424653"/>
                <a:gd name="connsiteX1423" fmla="*/ 480394 w 2214394"/>
                <a:gd name="connsiteY1423" fmla="*/ 1060100 h 1424653"/>
                <a:gd name="connsiteX1424" fmla="*/ 476448 w 2214394"/>
                <a:gd name="connsiteY1424" fmla="*/ 1067748 h 1424653"/>
                <a:gd name="connsiteX1425" fmla="*/ 468602 w 2214394"/>
                <a:gd name="connsiteY1425" fmla="*/ 1063159 h 1424653"/>
                <a:gd name="connsiteX1426" fmla="*/ 466678 w 2214394"/>
                <a:gd name="connsiteY1426" fmla="*/ 1057041 h 1424653"/>
                <a:gd name="connsiteX1427" fmla="*/ 462731 w 2214394"/>
                <a:gd name="connsiteY1427" fmla="*/ 1055511 h 1424653"/>
                <a:gd name="connsiteX1428" fmla="*/ 462731 w 2214394"/>
                <a:gd name="connsiteY1428" fmla="*/ 1050972 h 1424653"/>
                <a:gd name="connsiteX1429" fmla="*/ 458783 w 2214394"/>
                <a:gd name="connsiteY1429" fmla="*/ 1046334 h 1424653"/>
                <a:gd name="connsiteX1430" fmla="*/ 452962 w 2214394"/>
                <a:gd name="connsiteY1430" fmla="*/ 1044854 h 1424653"/>
                <a:gd name="connsiteX1431" fmla="*/ 454886 w 2214394"/>
                <a:gd name="connsiteY1431" fmla="*/ 1038785 h 1424653"/>
                <a:gd name="connsiteX1432" fmla="*/ 452962 w 2214394"/>
                <a:gd name="connsiteY1432" fmla="*/ 1034147 h 1424653"/>
                <a:gd name="connsiteX1433" fmla="*/ 452962 w 2214394"/>
                <a:gd name="connsiteY1433" fmla="*/ 1021960 h 1424653"/>
                <a:gd name="connsiteX1434" fmla="*/ 445067 w 2214394"/>
                <a:gd name="connsiteY1434" fmla="*/ 1018901 h 1424653"/>
                <a:gd name="connsiteX1435" fmla="*/ 443143 w 2214394"/>
                <a:gd name="connsiteY1435" fmla="*/ 1011253 h 1424653"/>
                <a:gd name="connsiteX1436" fmla="*/ 441169 w 2214394"/>
                <a:gd name="connsiteY1436" fmla="*/ 1008243 h 1424653"/>
                <a:gd name="connsiteX1437" fmla="*/ 441169 w 2214394"/>
                <a:gd name="connsiteY1437" fmla="*/ 1008243 h 1424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</a:cxnLst>
              <a:rect l="l" t="t" r="r" b="b"/>
              <a:pathLst>
                <a:path w="2214394" h="1424653">
                  <a:moveTo>
                    <a:pt x="264777" y="835897"/>
                  </a:moveTo>
                  <a:lnTo>
                    <a:pt x="258856" y="834318"/>
                  </a:lnTo>
                  <a:lnTo>
                    <a:pt x="270649" y="825240"/>
                  </a:lnTo>
                  <a:lnTo>
                    <a:pt x="268675" y="820602"/>
                  </a:lnTo>
                  <a:lnTo>
                    <a:pt x="252985" y="820602"/>
                  </a:lnTo>
                  <a:lnTo>
                    <a:pt x="247113" y="825240"/>
                  </a:lnTo>
                  <a:lnTo>
                    <a:pt x="235370" y="825240"/>
                  </a:lnTo>
                  <a:lnTo>
                    <a:pt x="233397" y="819072"/>
                  </a:lnTo>
                  <a:lnTo>
                    <a:pt x="223529" y="822131"/>
                  </a:lnTo>
                  <a:lnTo>
                    <a:pt x="205865" y="831309"/>
                  </a:lnTo>
                  <a:lnTo>
                    <a:pt x="201967" y="834318"/>
                  </a:lnTo>
                  <a:lnTo>
                    <a:pt x="199994" y="840486"/>
                  </a:lnTo>
                  <a:lnTo>
                    <a:pt x="194122" y="845025"/>
                  </a:lnTo>
                  <a:lnTo>
                    <a:pt x="180356" y="849614"/>
                  </a:lnTo>
                  <a:lnTo>
                    <a:pt x="180356" y="852673"/>
                  </a:lnTo>
                  <a:lnTo>
                    <a:pt x="174534" y="857212"/>
                  </a:lnTo>
                  <a:lnTo>
                    <a:pt x="164666" y="857212"/>
                  </a:lnTo>
                  <a:lnTo>
                    <a:pt x="158844" y="855683"/>
                  </a:lnTo>
                  <a:lnTo>
                    <a:pt x="158844" y="849614"/>
                  </a:lnTo>
                  <a:lnTo>
                    <a:pt x="152923" y="843496"/>
                  </a:lnTo>
                  <a:lnTo>
                    <a:pt x="152923" y="817592"/>
                  </a:lnTo>
                  <a:lnTo>
                    <a:pt x="150949" y="813003"/>
                  </a:lnTo>
                  <a:lnTo>
                    <a:pt x="143104" y="813003"/>
                  </a:lnTo>
                  <a:lnTo>
                    <a:pt x="141130" y="806885"/>
                  </a:lnTo>
                  <a:lnTo>
                    <a:pt x="143104" y="799287"/>
                  </a:lnTo>
                  <a:lnTo>
                    <a:pt x="143104" y="794698"/>
                  </a:lnTo>
                  <a:lnTo>
                    <a:pt x="135259" y="791639"/>
                  </a:lnTo>
                  <a:lnTo>
                    <a:pt x="129387" y="788629"/>
                  </a:lnTo>
                  <a:lnTo>
                    <a:pt x="121542" y="788629"/>
                  </a:lnTo>
                  <a:lnTo>
                    <a:pt x="119568" y="793168"/>
                  </a:lnTo>
                  <a:lnTo>
                    <a:pt x="117644" y="803876"/>
                  </a:lnTo>
                  <a:lnTo>
                    <a:pt x="111724" y="806885"/>
                  </a:lnTo>
                  <a:lnTo>
                    <a:pt x="107825" y="809944"/>
                  </a:lnTo>
                  <a:lnTo>
                    <a:pt x="109750" y="817592"/>
                  </a:lnTo>
                  <a:lnTo>
                    <a:pt x="105852" y="825240"/>
                  </a:lnTo>
                  <a:lnTo>
                    <a:pt x="98007" y="825240"/>
                  </a:lnTo>
                  <a:lnTo>
                    <a:pt x="98007" y="822131"/>
                  </a:lnTo>
                  <a:lnTo>
                    <a:pt x="94060" y="822131"/>
                  </a:lnTo>
                  <a:lnTo>
                    <a:pt x="90162" y="825240"/>
                  </a:lnTo>
                  <a:lnTo>
                    <a:pt x="84290" y="826720"/>
                  </a:lnTo>
                  <a:lnTo>
                    <a:pt x="82317" y="832838"/>
                  </a:lnTo>
                  <a:lnTo>
                    <a:pt x="86264" y="835897"/>
                  </a:lnTo>
                  <a:lnTo>
                    <a:pt x="86264" y="840486"/>
                  </a:lnTo>
                  <a:lnTo>
                    <a:pt x="72547" y="838956"/>
                  </a:lnTo>
                  <a:lnTo>
                    <a:pt x="68600" y="834318"/>
                  </a:lnTo>
                  <a:lnTo>
                    <a:pt x="66626" y="832838"/>
                  </a:lnTo>
                  <a:lnTo>
                    <a:pt x="62728" y="835897"/>
                  </a:lnTo>
                  <a:lnTo>
                    <a:pt x="58781" y="835897"/>
                  </a:lnTo>
                  <a:lnTo>
                    <a:pt x="54883" y="840486"/>
                  </a:lnTo>
                  <a:lnTo>
                    <a:pt x="47038" y="845025"/>
                  </a:lnTo>
                  <a:lnTo>
                    <a:pt x="33272" y="846555"/>
                  </a:lnTo>
                  <a:lnTo>
                    <a:pt x="29374" y="845025"/>
                  </a:lnTo>
                  <a:lnTo>
                    <a:pt x="21628" y="837427"/>
                  </a:lnTo>
                  <a:lnTo>
                    <a:pt x="23552" y="840486"/>
                  </a:lnTo>
                  <a:lnTo>
                    <a:pt x="27499" y="820750"/>
                  </a:lnTo>
                  <a:lnTo>
                    <a:pt x="33371" y="805504"/>
                  </a:lnTo>
                  <a:lnTo>
                    <a:pt x="37319" y="800964"/>
                  </a:lnTo>
                  <a:lnTo>
                    <a:pt x="35345" y="793317"/>
                  </a:lnTo>
                  <a:lnTo>
                    <a:pt x="29473" y="790258"/>
                  </a:lnTo>
                  <a:lnTo>
                    <a:pt x="25526" y="782610"/>
                  </a:lnTo>
                  <a:lnTo>
                    <a:pt x="29473" y="776541"/>
                  </a:lnTo>
                  <a:lnTo>
                    <a:pt x="27499" y="768893"/>
                  </a:lnTo>
                  <a:lnTo>
                    <a:pt x="17631" y="768893"/>
                  </a:lnTo>
                  <a:lnTo>
                    <a:pt x="9786" y="770423"/>
                  </a:lnTo>
                  <a:lnTo>
                    <a:pt x="-82" y="759765"/>
                  </a:lnTo>
                  <a:lnTo>
                    <a:pt x="-82" y="750637"/>
                  </a:lnTo>
                  <a:lnTo>
                    <a:pt x="7714" y="744519"/>
                  </a:lnTo>
                  <a:lnTo>
                    <a:pt x="25378" y="747578"/>
                  </a:lnTo>
                  <a:lnTo>
                    <a:pt x="31299" y="745999"/>
                  </a:lnTo>
                  <a:lnTo>
                    <a:pt x="31299" y="738253"/>
                  </a:lnTo>
                  <a:lnTo>
                    <a:pt x="46989" y="735194"/>
                  </a:lnTo>
                  <a:lnTo>
                    <a:pt x="43042" y="730654"/>
                  </a:lnTo>
                  <a:lnTo>
                    <a:pt x="39095" y="727595"/>
                  </a:lnTo>
                  <a:lnTo>
                    <a:pt x="56808" y="724536"/>
                  </a:lnTo>
                  <a:lnTo>
                    <a:pt x="68551" y="718418"/>
                  </a:lnTo>
                  <a:lnTo>
                    <a:pt x="68551" y="712349"/>
                  </a:lnTo>
                  <a:lnTo>
                    <a:pt x="56808" y="709290"/>
                  </a:lnTo>
                  <a:lnTo>
                    <a:pt x="58732" y="701642"/>
                  </a:lnTo>
                  <a:lnTo>
                    <a:pt x="66577" y="698632"/>
                  </a:lnTo>
                  <a:lnTo>
                    <a:pt x="76445" y="690985"/>
                  </a:lnTo>
                  <a:lnTo>
                    <a:pt x="84290" y="692514"/>
                  </a:lnTo>
                  <a:lnTo>
                    <a:pt x="96033" y="683337"/>
                  </a:lnTo>
                  <a:lnTo>
                    <a:pt x="101954" y="689455"/>
                  </a:lnTo>
                  <a:lnTo>
                    <a:pt x="105852" y="693994"/>
                  </a:lnTo>
                  <a:lnTo>
                    <a:pt x="123516" y="690985"/>
                  </a:lnTo>
                  <a:lnTo>
                    <a:pt x="135111" y="690985"/>
                  </a:lnTo>
                  <a:lnTo>
                    <a:pt x="144979" y="681807"/>
                  </a:lnTo>
                  <a:lnTo>
                    <a:pt x="143005" y="677268"/>
                  </a:lnTo>
                  <a:lnTo>
                    <a:pt x="127315" y="663552"/>
                  </a:lnTo>
                  <a:lnTo>
                    <a:pt x="121443" y="663552"/>
                  </a:lnTo>
                  <a:lnTo>
                    <a:pt x="121443" y="672679"/>
                  </a:lnTo>
                  <a:lnTo>
                    <a:pt x="115572" y="678798"/>
                  </a:lnTo>
                  <a:lnTo>
                    <a:pt x="107727" y="675738"/>
                  </a:lnTo>
                  <a:lnTo>
                    <a:pt x="101855" y="671150"/>
                  </a:lnTo>
                  <a:lnTo>
                    <a:pt x="86165" y="666561"/>
                  </a:lnTo>
                  <a:lnTo>
                    <a:pt x="78271" y="662022"/>
                  </a:lnTo>
                  <a:lnTo>
                    <a:pt x="84192" y="655904"/>
                  </a:lnTo>
                  <a:lnTo>
                    <a:pt x="95935" y="639128"/>
                  </a:lnTo>
                  <a:lnTo>
                    <a:pt x="95935" y="633010"/>
                  </a:lnTo>
                  <a:lnTo>
                    <a:pt x="92037" y="633010"/>
                  </a:lnTo>
                  <a:lnTo>
                    <a:pt x="92037" y="629951"/>
                  </a:lnTo>
                  <a:lnTo>
                    <a:pt x="99882" y="625411"/>
                  </a:lnTo>
                  <a:lnTo>
                    <a:pt x="97908" y="622352"/>
                  </a:lnTo>
                  <a:lnTo>
                    <a:pt x="103780" y="614704"/>
                  </a:lnTo>
                  <a:lnTo>
                    <a:pt x="117545" y="617764"/>
                  </a:lnTo>
                  <a:lnTo>
                    <a:pt x="123417" y="620823"/>
                  </a:lnTo>
                  <a:lnTo>
                    <a:pt x="150850" y="622352"/>
                  </a:lnTo>
                  <a:lnTo>
                    <a:pt x="170586" y="622352"/>
                  </a:lnTo>
                  <a:lnTo>
                    <a:pt x="184352" y="620823"/>
                  </a:lnTo>
                  <a:lnTo>
                    <a:pt x="184352" y="611695"/>
                  </a:lnTo>
                  <a:lnTo>
                    <a:pt x="180406" y="605577"/>
                  </a:lnTo>
                  <a:lnTo>
                    <a:pt x="178481" y="599458"/>
                  </a:lnTo>
                  <a:lnTo>
                    <a:pt x="184352" y="596399"/>
                  </a:lnTo>
                  <a:lnTo>
                    <a:pt x="192197" y="597929"/>
                  </a:lnTo>
                  <a:lnTo>
                    <a:pt x="200043" y="597929"/>
                  </a:lnTo>
                  <a:lnTo>
                    <a:pt x="203990" y="596399"/>
                  </a:lnTo>
                  <a:lnTo>
                    <a:pt x="213858" y="596399"/>
                  </a:lnTo>
                  <a:lnTo>
                    <a:pt x="223726" y="600988"/>
                  </a:lnTo>
                  <a:lnTo>
                    <a:pt x="237443" y="604047"/>
                  </a:lnTo>
                  <a:lnTo>
                    <a:pt x="257179" y="605577"/>
                  </a:lnTo>
                  <a:lnTo>
                    <a:pt x="263099" y="604047"/>
                  </a:lnTo>
                  <a:lnTo>
                    <a:pt x="268971" y="599458"/>
                  </a:lnTo>
                  <a:lnTo>
                    <a:pt x="276816" y="600988"/>
                  </a:lnTo>
                  <a:lnTo>
                    <a:pt x="288609" y="599458"/>
                  </a:lnTo>
                  <a:lnTo>
                    <a:pt x="304299" y="596399"/>
                  </a:lnTo>
                  <a:lnTo>
                    <a:pt x="324035" y="600988"/>
                  </a:lnTo>
                  <a:lnTo>
                    <a:pt x="333903" y="597929"/>
                  </a:lnTo>
                  <a:lnTo>
                    <a:pt x="357142" y="597929"/>
                  </a:lnTo>
                  <a:lnTo>
                    <a:pt x="370859" y="602518"/>
                  </a:lnTo>
                  <a:lnTo>
                    <a:pt x="376730" y="602518"/>
                  </a:lnTo>
                  <a:lnTo>
                    <a:pt x="392470" y="617764"/>
                  </a:lnTo>
                  <a:lnTo>
                    <a:pt x="408111" y="620823"/>
                  </a:lnTo>
                  <a:lnTo>
                    <a:pt x="413983" y="617764"/>
                  </a:lnTo>
                  <a:lnTo>
                    <a:pt x="413983" y="608586"/>
                  </a:lnTo>
                  <a:lnTo>
                    <a:pt x="419903" y="605577"/>
                  </a:lnTo>
                  <a:lnTo>
                    <a:pt x="423801" y="600988"/>
                  </a:lnTo>
                  <a:lnTo>
                    <a:pt x="427749" y="600988"/>
                  </a:lnTo>
                  <a:lnTo>
                    <a:pt x="419903" y="594870"/>
                  </a:lnTo>
                  <a:lnTo>
                    <a:pt x="423801" y="587271"/>
                  </a:lnTo>
                  <a:lnTo>
                    <a:pt x="427749" y="584212"/>
                  </a:lnTo>
                  <a:lnTo>
                    <a:pt x="423801" y="572025"/>
                  </a:lnTo>
                  <a:lnTo>
                    <a:pt x="415956" y="567436"/>
                  </a:lnTo>
                  <a:lnTo>
                    <a:pt x="413983" y="561368"/>
                  </a:lnTo>
                  <a:lnTo>
                    <a:pt x="408111" y="552190"/>
                  </a:lnTo>
                  <a:lnTo>
                    <a:pt x="406186" y="546072"/>
                  </a:lnTo>
                  <a:lnTo>
                    <a:pt x="404164" y="543013"/>
                  </a:lnTo>
                  <a:lnTo>
                    <a:pt x="402240" y="538474"/>
                  </a:lnTo>
                  <a:lnTo>
                    <a:pt x="400266" y="527767"/>
                  </a:lnTo>
                  <a:lnTo>
                    <a:pt x="404164" y="524757"/>
                  </a:lnTo>
                  <a:lnTo>
                    <a:pt x="404164" y="521698"/>
                  </a:lnTo>
                  <a:lnTo>
                    <a:pt x="396368" y="520119"/>
                  </a:lnTo>
                  <a:lnTo>
                    <a:pt x="384576" y="521698"/>
                  </a:lnTo>
                  <a:lnTo>
                    <a:pt x="378704" y="517109"/>
                  </a:lnTo>
                  <a:lnTo>
                    <a:pt x="380678" y="512521"/>
                  </a:lnTo>
                  <a:lnTo>
                    <a:pt x="386549" y="506402"/>
                  </a:lnTo>
                  <a:lnTo>
                    <a:pt x="394395" y="504873"/>
                  </a:lnTo>
                  <a:lnTo>
                    <a:pt x="398292" y="506402"/>
                  </a:lnTo>
                  <a:lnTo>
                    <a:pt x="402240" y="506402"/>
                  </a:lnTo>
                  <a:lnTo>
                    <a:pt x="412108" y="503343"/>
                  </a:lnTo>
                  <a:lnTo>
                    <a:pt x="429722" y="500334"/>
                  </a:lnTo>
                  <a:lnTo>
                    <a:pt x="437617" y="498804"/>
                  </a:lnTo>
                  <a:lnTo>
                    <a:pt x="441514" y="497275"/>
                  </a:lnTo>
                  <a:lnTo>
                    <a:pt x="445412" y="500334"/>
                  </a:lnTo>
                  <a:lnTo>
                    <a:pt x="451333" y="500334"/>
                  </a:lnTo>
                  <a:lnTo>
                    <a:pt x="455231" y="497275"/>
                  </a:lnTo>
                  <a:lnTo>
                    <a:pt x="460757" y="497275"/>
                  </a:lnTo>
                  <a:lnTo>
                    <a:pt x="462731" y="492686"/>
                  </a:lnTo>
                  <a:lnTo>
                    <a:pt x="464705" y="488147"/>
                  </a:lnTo>
                  <a:lnTo>
                    <a:pt x="454837" y="485087"/>
                  </a:lnTo>
                  <a:lnTo>
                    <a:pt x="450938" y="480499"/>
                  </a:lnTo>
                  <a:lnTo>
                    <a:pt x="452912" y="475910"/>
                  </a:lnTo>
                  <a:lnTo>
                    <a:pt x="452912" y="462193"/>
                  </a:lnTo>
                  <a:lnTo>
                    <a:pt x="458734" y="443888"/>
                  </a:lnTo>
                  <a:lnTo>
                    <a:pt x="458734" y="437770"/>
                  </a:lnTo>
                  <a:lnTo>
                    <a:pt x="462681" y="428642"/>
                  </a:lnTo>
                  <a:lnTo>
                    <a:pt x="464655" y="414876"/>
                  </a:lnTo>
                  <a:lnTo>
                    <a:pt x="476398" y="414876"/>
                  </a:lnTo>
                  <a:lnTo>
                    <a:pt x="492088" y="419465"/>
                  </a:lnTo>
                  <a:lnTo>
                    <a:pt x="501956" y="419465"/>
                  </a:lnTo>
                  <a:lnTo>
                    <a:pt x="513749" y="417935"/>
                  </a:lnTo>
                  <a:lnTo>
                    <a:pt x="519571" y="417935"/>
                  </a:lnTo>
                  <a:lnTo>
                    <a:pt x="521594" y="420994"/>
                  </a:lnTo>
                  <a:lnTo>
                    <a:pt x="531462" y="420994"/>
                  </a:lnTo>
                  <a:lnTo>
                    <a:pt x="537383" y="414876"/>
                  </a:lnTo>
                  <a:lnTo>
                    <a:pt x="545178" y="411866"/>
                  </a:lnTo>
                  <a:lnTo>
                    <a:pt x="553073" y="402689"/>
                  </a:lnTo>
                  <a:lnTo>
                    <a:pt x="554997" y="398150"/>
                  </a:lnTo>
                  <a:lnTo>
                    <a:pt x="549126" y="390502"/>
                  </a:lnTo>
                  <a:lnTo>
                    <a:pt x="541280" y="379795"/>
                  </a:lnTo>
                  <a:lnTo>
                    <a:pt x="541280" y="366079"/>
                  </a:lnTo>
                  <a:lnTo>
                    <a:pt x="543254" y="358480"/>
                  </a:lnTo>
                  <a:lnTo>
                    <a:pt x="549126" y="355421"/>
                  </a:lnTo>
                  <a:lnTo>
                    <a:pt x="560869" y="352362"/>
                  </a:lnTo>
                  <a:lnTo>
                    <a:pt x="564816" y="343185"/>
                  </a:lnTo>
                  <a:lnTo>
                    <a:pt x="562842" y="340175"/>
                  </a:lnTo>
                  <a:lnTo>
                    <a:pt x="562842" y="335586"/>
                  </a:lnTo>
                  <a:lnTo>
                    <a:pt x="572710" y="327938"/>
                  </a:lnTo>
                  <a:lnTo>
                    <a:pt x="576608" y="323399"/>
                  </a:lnTo>
                  <a:lnTo>
                    <a:pt x="584503" y="318810"/>
                  </a:lnTo>
                  <a:lnTo>
                    <a:pt x="582529" y="317281"/>
                  </a:lnTo>
                  <a:lnTo>
                    <a:pt x="586427" y="317281"/>
                  </a:lnTo>
                  <a:lnTo>
                    <a:pt x="596295" y="318810"/>
                  </a:lnTo>
                  <a:lnTo>
                    <a:pt x="598269" y="318810"/>
                  </a:lnTo>
                  <a:lnTo>
                    <a:pt x="600242" y="321869"/>
                  </a:lnTo>
                  <a:lnTo>
                    <a:pt x="600242" y="330997"/>
                  </a:lnTo>
                  <a:lnTo>
                    <a:pt x="602167" y="332527"/>
                  </a:lnTo>
                  <a:lnTo>
                    <a:pt x="604140" y="335586"/>
                  </a:lnTo>
                  <a:lnTo>
                    <a:pt x="606064" y="335586"/>
                  </a:lnTo>
                  <a:lnTo>
                    <a:pt x="606064" y="334057"/>
                  </a:lnTo>
                  <a:lnTo>
                    <a:pt x="608038" y="332527"/>
                  </a:lnTo>
                  <a:lnTo>
                    <a:pt x="610012" y="335586"/>
                  </a:lnTo>
                  <a:lnTo>
                    <a:pt x="610012" y="340175"/>
                  </a:lnTo>
                  <a:lnTo>
                    <a:pt x="611985" y="343185"/>
                  </a:lnTo>
                  <a:lnTo>
                    <a:pt x="613959" y="346293"/>
                  </a:lnTo>
                  <a:lnTo>
                    <a:pt x="617857" y="347823"/>
                  </a:lnTo>
                  <a:lnTo>
                    <a:pt x="623728" y="353891"/>
                  </a:lnTo>
                  <a:lnTo>
                    <a:pt x="633597" y="358480"/>
                  </a:lnTo>
                  <a:lnTo>
                    <a:pt x="637494" y="363069"/>
                  </a:lnTo>
                  <a:lnTo>
                    <a:pt x="637494" y="364549"/>
                  </a:lnTo>
                  <a:lnTo>
                    <a:pt x="639517" y="369138"/>
                  </a:lnTo>
                  <a:lnTo>
                    <a:pt x="645389" y="373726"/>
                  </a:lnTo>
                  <a:lnTo>
                    <a:pt x="649286" y="373726"/>
                  </a:lnTo>
                  <a:lnTo>
                    <a:pt x="651211" y="369138"/>
                  </a:lnTo>
                  <a:lnTo>
                    <a:pt x="653234" y="367608"/>
                  </a:lnTo>
                  <a:lnTo>
                    <a:pt x="659105" y="364549"/>
                  </a:lnTo>
                  <a:lnTo>
                    <a:pt x="668973" y="364549"/>
                  </a:lnTo>
                  <a:lnTo>
                    <a:pt x="668973" y="367707"/>
                  </a:lnTo>
                  <a:lnTo>
                    <a:pt x="674845" y="372295"/>
                  </a:lnTo>
                  <a:lnTo>
                    <a:pt x="678743" y="373825"/>
                  </a:lnTo>
                  <a:lnTo>
                    <a:pt x="682690" y="372295"/>
                  </a:lnTo>
                  <a:lnTo>
                    <a:pt x="686637" y="369236"/>
                  </a:lnTo>
                  <a:lnTo>
                    <a:pt x="690535" y="369236"/>
                  </a:lnTo>
                  <a:lnTo>
                    <a:pt x="698380" y="370766"/>
                  </a:lnTo>
                  <a:lnTo>
                    <a:pt x="700354" y="373825"/>
                  </a:lnTo>
                  <a:lnTo>
                    <a:pt x="706225" y="375354"/>
                  </a:lnTo>
                  <a:lnTo>
                    <a:pt x="712097" y="381423"/>
                  </a:lnTo>
                  <a:lnTo>
                    <a:pt x="716044" y="386012"/>
                  </a:lnTo>
                  <a:lnTo>
                    <a:pt x="716044" y="390601"/>
                  </a:lnTo>
                  <a:lnTo>
                    <a:pt x="717968" y="395189"/>
                  </a:lnTo>
                  <a:lnTo>
                    <a:pt x="721916" y="399778"/>
                  </a:lnTo>
                  <a:lnTo>
                    <a:pt x="723840" y="405847"/>
                  </a:lnTo>
                  <a:lnTo>
                    <a:pt x="731735" y="410435"/>
                  </a:lnTo>
                  <a:lnTo>
                    <a:pt x="735632" y="411965"/>
                  </a:lnTo>
                  <a:lnTo>
                    <a:pt x="739530" y="418034"/>
                  </a:lnTo>
                  <a:lnTo>
                    <a:pt x="743478" y="422623"/>
                  </a:lnTo>
                  <a:lnTo>
                    <a:pt x="743478" y="428741"/>
                  </a:lnTo>
                  <a:lnTo>
                    <a:pt x="741504" y="433280"/>
                  </a:lnTo>
                  <a:lnTo>
                    <a:pt x="743478" y="440928"/>
                  </a:lnTo>
                  <a:lnTo>
                    <a:pt x="747424" y="443987"/>
                  </a:lnTo>
                  <a:lnTo>
                    <a:pt x="745451" y="450105"/>
                  </a:lnTo>
                  <a:lnTo>
                    <a:pt x="741504" y="453115"/>
                  </a:lnTo>
                  <a:lnTo>
                    <a:pt x="739530" y="456174"/>
                  </a:lnTo>
                  <a:lnTo>
                    <a:pt x="739530" y="466831"/>
                  </a:lnTo>
                  <a:lnTo>
                    <a:pt x="747424" y="476009"/>
                  </a:lnTo>
                  <a:lnTo>
                    <a:pt x="755269" y="480597"/>
                  </a:lnTo>
                  <a:lnTo>
                    <a:pt x="790548" y="488245"/>
                  </a:lnTo>
                  <a:lnTo>
                    <a:pt x="806140" y="488245"/>
                  </a:lnTo>
                  <a:lnTo>
                    <a:pt x="816008" y="486716"/>
                  </a:lnTo>
                  <a:lnTo>
                    <a:pt x="817981" y="485186"/>
                  </a:lnTo>
                  <a:lnTo>
                    <a:pt x="821879" y="482078"/>
                  </a:lnTo>
                  <a:lnTo>
                    <a:pt x="845414" y="488245"/>
                  </a:lnTo>
                  <a:lnTo>
                    <a:pt x="857157" y="494314"/>
                  </a:lnTo>
                  <a:lnTo>
                    <a:pt x="859131" y="497373"/>
                  </a:lnTo>
                  <a:lnTo>
                    <a:pt x="865003" y="498903"/>
                  </a:lnTo>
                  <a:lnTo>
                    <a:pt x="870874" y="498903"/>
                  </a:lnTo>
                  <a:lnTo>
                    <a:pt x="874822" y="500432"/>
                  </a:lnTo>
                  <a:lnTo>
                    <a:pt x="886614" y="508031"/>
                  </a:lnTo>
                  <a:lnTo>
                    <a:pt x="896482" y="512619"/>
                  </a:lnTo>
                  <a:lnTo>
                    <a:pt x="912172" y="512619"/>
                  </a:lnTo>
                  <a:lnTo>
                    <a:pt x="914146" y="518688"/>
                  </a:lnTo>
                  <a:lnTo>
                    <a:pt x="914146" y="521797"/>
                  </a:lnTo>
                  <a:lnTo>
                    <a:pt x="918093" y="521797"/>
                  </a:lnTo>
                  <a:lnTo>
                    <a:pt x="923964" y="523326"/>
                  </a:lnTo>
                  <a:lnTo>
                    <a:pt x="927862" y="527866"/>
                  </a:lnTo>
                  <a:lnTo>
                    <a:pt x="927862" y="532405"/>
                  </a:lnTo>
                  <a:lnTo>
                    <a:pt x="931809" y="541582"/>
                  </a:lnTo>
                  <a:lnTo>
                    <a:pt x="939655" y="547700"/>
                  </a:lnTo>
                  <a:lnTo>
                    <a:pt x="947500" y="556828"/>
                  </a:lnTo>
                  <a:lnTo>
                    <a:pt x="951397" y="564476"/>
                  </a:lnTo>
                  <a:lnTo>
                    <a:pt x="957269" y="576663"/>
                  </a:lnTo>
                  <a:lnTo>
                    <a:pt x="963190" y="579722"/>
                  </a:lnTo>
                  <a:lnTo>
                    <a:pt x="973058" y="578193"/>
                  </a:lnTo>
                  <a:lnTo>
                    <a:pt x="986775" y="576663"/>
                  </a:lnTo>
                  <a:lnTo>
                    <a:pt x="1002514" y="578193"/>
                  </a:lnTo>
                  <a:lnTo>
                    <a:pt x="1024076" y="576663"/>
                  </a:lnTo>
                  <a:lnTo>
                    <a:pt x="1055457" y="579722"/>
                  </a:lnTo>
                  <a:lnTo>
                    <a:pt x="1071146" y="578193"/>
                  </a:lnTo>
                  <a:lnTo>
                    <a:pt x="1084863" y="573653"/>
                  </a:lnTo>
                  <a:lnTo>
                    <a:pt x="1086837" y="570545"/>
                  </a:lnTo>
                  <a:lnTo>
                    <a:pt x="1090735" y="569065"/>
                  </a:lnTo>
                  <a:lnTo>
                    <a:pt x="1094682" y="570545"/>
                  </a:lnTo>
                  <a:lnTo>
                    <a:pt x="1118168" y="569065"/>
                  </a:lnTo>
                  <a:lnTo>
                    <a:pt x="1143677" y="572124"/>
                  </a:lnTo>
                  <a:lnTo>
                    <a:pt x="1153545" y="572124"/>
                  </a:lnTo>
                  <a:lnTo>
                    <a:pt x="1165338" y="581252"/>
                  </a:lnTo>
                  <a:lnTo>
                    <a:pt x="1186899" y="591909"/>
                  </a:lnTo>
                  <a:lnTo>
                    <a:pt x="1208461" y="598027"/>
                  </a:lnTo>
                  <a:lnTo>
                    <a:pt x="1220204" y="599557"/>
                  </a:lnTo>
                  <a:lnTo>
                    <a:pt x="1233970" y="604146"/>
                  </a:lnTo>
                  <a:lnTo>
                    <a:pt x="1247686" y="602616"/>
                  </a:lnTo>
                  <a:lnTo>
                    <a:pt x="1261403" y="599557"/>
                  </a:lnTo>
                  <a:lnTo>
                    <a:pt x="1263377" y="604146"/>
                  </a:lnTo>
                  <a:lnTo>
                    <a:pt x="1263377" y="607156"/>
                  </a:lnTo>
                  <a:lnTo>
                    <a:pt x="1273245" y="610264"/>
                  </a:lnTo>
                  <a:lnTo>
                    <a:pt x="1283113" y="610264"/>
                  </a:lnTo>
                  <a:lnTo>
                    <a:pt x="1288984" y="605675"/>
                  </a:lnTo>
                  <a:lnTo>
                    <a:pt x="1302701" y="594968"/>
                  </a:lnTo>
                  <a:lnTo>
                    <a:pt x="1314493" y="584311"/>
                  </a:lnTo>
                  <a:lnTo>
                    <a:pt x="1334230" y="578193"/>
                  </a:lnTo>
                  <a:lnTo>
                    <a:pt x="1359738" y="572124"/>
                  </a:lnTo>
                  <a:lnTo>
                    <a:pt x="1371481" y="569065"/>
                  </a:lnTo>
                  <a:lnTo>
                    <a:pt x="1383274" y="566006"/>
                  </a:lnTo>
                  <a:lnTo>
                    <a:pt x="1396990" y="564476"/>
                  </a:lnTo>
                  <a:lnTo>
                    <a:pt x="1406858" y="564476"/>
                  </a:lnTo>
                  <a:lnTo>
                    <a:pt x="1418651" y="556828"/>
                  </a:lnTo>
                  <a:lnTo>
                    <a:pt x="1426496" y="550759"/>
                  </a:lnTo>
                  <a:lnTo>
                    <a:pt x="1434341" y="550759"/>
                  </a:lnTo>
                  <a:lnTo>
                    <a:pt x="1446133" y="547700"/>
                  </a:lnTo>
                  <a:lnTo>
                    <a:pt x="1453929" y="547700"/>
                  </a:lnTo>
                  <a:lnTo>
                    <a:pt x="1457877" y="538572"/>
                  </a:lnTo>
                  <a:lnTo>
                    <a:pt x="1467745" y="524856"/>
                  </a:lnTo>
                  <a:lnTo>
                    <a:pt x="1481510" y="508031"/>
                  </a:lnTo>
                  <a:lnTo>
                    <a:pt x="1489355" y="503442"/>
                  </a:lnTo>
                  <a:lnTo>
                    <a:pt x="1491330" y="497373"/>
                  </a:lnTo>
                  <a:lnTo>
                    <a:pt x="1491330" y="494314"/>
                  </a:lnTo>
                  <a:lnTo>
                    <a:pt x="1475639" y="486716"/>
                  </a:lnTo>
                  <a:lnTo>
                    <a:pt x="1459949" y="476009"/>
                  </a:lnTo>
                  <a:lnTo>
                    <a:pt x="1461922" y="472999"/>
                  </a:lnTo>
                  <a:lnTo>
                    <a:pt x="1459949" y="465351"/>
                  </a:lnTo>
                  <a:lnTo>
                    <a:pt x="1461922" y="451635"/>
                  </a:lnTo>
                  <a:lnTo>
                    <a:pt x="1465820" y="445516"/>
                  </a:lnTo>
                  <a:lnTo>
                    <a:pt x="1473665" y="440928"/>
                  </a:lnTo>
                  <a:lnTo>
                    <a:pt x="1489355" y="437869"/>
                  </a:lnTo>
                  <a:lnTo>
                    <a:pt x="1497201" y="437869"/>
                  </a:lnTo>
                  <a:lnTo>
                    <a:pt x="1505045" y="443987"/>
                  </a:lnTo>
                  <a:lnTo>
                    <a:pt x="1516838" y="447046"/>
                  </a:lnTo>
                  <a:lnTo>
                    <a:pt x="1526706" y="448576"/>
                  </a:lnTo>
                  <a:lnTo>
                    <a:pt x="1532627" y="451635"/>
                  </a:lnTo>
                  <a:lnTo>
                    <a:pt x="1536525" y="450105"/>
                  </a:lnTo>
                  <a:lnTo>
                    <a:pt x="1538498" y="445516"/>
                  </a:lnTo>
                  <a:lnTo>
                    <a:pt x="1544370" y="440928"/>
                  </a:lnTo>
                  <a:lnTo>
                    <a:pt x="1550242" y="436389"/>
                  </a:lnTo>
                  <a:lnTo>
                    <a:pt x="1560110" y="433280"/>
                  </a:lnTo>
                  <a:lnTo>
                    <a:pt x="1565981" y="419563"/>
                  </a:lnTo>
                  <a:lnTo>
                    <a:pt x="1569879" y="416504"/>
                  </a:lnTo>
                  <a:lnTo>
                    <a:pt x="1577773" y="418034"/>
                  </a:lnTo>
                  <a:lnTo>
                    <a:pt x="1585569" y="418034"/>
                  </a:lnTo>
                  <a:lnTo>
                    <a:pt x="1603283" y="410435"/>
                  </a:lnTo>
                  <a:lnTo>
                    <a:pt x="1611078" y="408906"/>
                  </a:lnTo>
                  <a:lnTo>
                    <a:pt x="1613052" y="402788"/>
                  </a:lnTo>
                  <a:lnTo>
                    <a:pt x="1613052" y="396719"/>
                  </a:lnTo>
                  <a:lnTo>
                    <a:pt x="1615025" y="387541"/>
                  </a:lnTo>
                  <a:lnTo>
                    <a:pt x="1622871" y="379894"/>
                  </a:lnTo>
                  <a:lnTo>
                    <a:pt x="1624794" y="375354"/>
                  </a:lnTo>
                  <a:lnTo>
                    <a:pt x="1634662" y="375354"/>
                  </a:lnTo>
                  <a:lnTo>
                    <a:pt x="1636587" y="372295"/>
                  </a:lnTo>
                  <a:lnTo>
                    <a:pt x="1636587" y="366177"/>
                  </a:lnTo>
                  <a:lnTo>
                    <a:pt x="1638560" y="366177"/>
                  </a:lnTo>
                  <a:lnTo>
                    <a:pt x="1644432" y="369236"/>
                  </a:lnTo>
                  <a:lnTo>
                    <a:pt x="1650304" y="366177"/>
                  </a:lnTo>
                  <a:lnTo>
                    <a:pt x="1662096" y="360108"/>
                  </a:lnTo>
                  <a:lnTo>
                    <a:pt x="1667967" y="352461"/>
                  </a:lnTo>
                  <a:lnTo>
                    <a:pt x="1673840" y="352461"/>
                  </a:lnTo>
                  <a:lnTo>
                    <a:pt x="1683708" y="355520"/>
                  </a:lnTo>
                  <a:lnTo>
                    <a:pt x="1687604" y="352461"/>
                  </a:lnTo>
                  <a:lnTo>
                    <a:pt x="1697473" y="352461"/>
                  </a:lnTo>
                  <a:lnTo>
                    <a:pt x="1699447" y="355520"/>
                  </a:lnTo>
                  <a:lnTo>
                    <a:pt x="1705367" y="355520"/>
                  </a:lnTo>
                  <a:lnTo>
                    <a:pt x="1707291" y="352461"/>
                  </a:lnTo>
                  <a:lnTo>
                    <a:pt x="1707291" y="346392"/>
                  </a:lnTo>
                  <a:lnTo>
                    <a:pt x="1711189" y="343283"/>
                  </a:lnTo>
                  <a:lnTo>
                    <a:pt x="1711189" y="338744"/>
                  </a:lnTo>
                  <a:lnTo>
                    <a:pt x="1707291" y="334155"/>
                  </a:lnTo>
                  <a:lnTo>
                    <a:pt x="1707291" y="329567"/>
                  </a:lnTo>
                  <a:lnTo>
                    <a:pt x="1694266" y="320340"/>
                  </a:lnTo>
                  <a:lnTo>
                    <a:pt x="1682474" y="309682"/>
                  </a:lnTo>
                  <a:lnTo>
                    <a:pt x="1670681" y="300505"/>
                  </a:lnTo>
                  <a:lnTo>
                    <a:pt x="1660813" y="288318"/>
                  </a:lnTo>
                  <a:lnTo>
                    <a:pt x="1643149" y="285259"/>
                  </a:lnTo>
                  <a:lnTo>
                    <a:pt x="1641176" y="288318"/>
                  </a:lnTo>
                  <a:lnTo>
                    <a:pt x="1631308" y="291328"/>
                  </a:lnTo>
                  <a:lnTo>
                    <a:pt x="1631308" y="303564"/>
                  </a:lnTo>
                  <a:lnTo>
                    <a:pt x="1623413" y="314222"/>
                  </a:lnTo>
                  <a:lnTo>
                    <a:pt x="1613545" y="309682"/>
                  </a:lnTo>
                  <a:lnTo>
                    <a:pt x="1599829" y="306574"/>
                  </a:lnTo>
                  <a:lnTo>
                    <a:pt x="1584089" y="306574"/>
                  </a:lnTo>
                  <a:lnTo>
                    <a:pt x="1572395" y="314222"/>
                  </a:lnTo>
                  <a:lnTo>
                    <a:pt x="1556656" y="308153"/>
                  </a:lnTo>
                  <a:lnTo>
                    <a:pt x="1548811" y="295966"/>
                  </a:lnTo>
                  <a:lnTo>
                    <a:pt x="1556656" y="283729"/>
                  </a:lnTo>
                  <a:lnTo>
                    <a:pt x="1554682" y="277611"/>
                  </a:lnTo>
                  <a:lnTo>
                    <a:pt x="1558629" y="268483"/>
                  </a:lnTo>
                  <a:lnTo>
                    <a:pt x="1556656" y="257826"/>
                  </a:lnTo>
                  <a:lnTo>
                    <a:pt x="1564501" y="210508"/>
                  </a:lnTo>
                  <a:lnTo>
                    <a:pt x="1562527" y="209028"/>
                  </a:lnTo>
                  <a:lnTo>
                    <a:pt x="1572395" y="209028"/>
                  </a:lnTo>
                  <a:lnTo>
                    <a:pt x="1572395" y="210508"/>
                  </a:lnTo>
                  <a:lnTo>
                    <a:pt x="1592132" y="210508"/>
                  </a:lnTo>
                  <a:lnTo>
                    <a:pt x="1596030" y="215097"/>
                  </a:lnTo>
                  <a:lnTo>
                    <a:pt x="1599976" y="213568"/>
                  </a:lnTo>
                  <a:lnTo>
                    <a:pt x="1615667" y="201380"/>
                  </a:lnTo>
                  <a:lnTo>
                    <a:pt x="1625535" y="196792"/>
                  </a:lnTo>
                  <a:lnTo>
                    <a:pt x="1637327" y="195262"/>
                  </a:lnTo>
                  <a:lnTo>
                    <a:pt x="1643198" y="189144"/>
                  </a:lnTo>
                  <a:lnTo>
                    <a:pt x="1645172" y="183075"/>
                  </a:lnTo>
                  <a:lnTo>
                    <a:pt x="1643198" y="176957"/>
                  </a:lnTo>
                  <a:lnTo>
                    <a:pt x="1641225" y="175427"/>
                  </a:lnTo>
                  <a:lnTo>
                    <a:pt x="1639252" y="176957"/>
                  </a:lnTo>
                  <a:lnTo>
                    <a:pt x="1635354" y="175427"/>
                  </a:lnTo>
                  <a:lnTo>
                    <a:pt x="1633429" y="175427"/>
                  </a:lnTo>
                  <a:lnTo>
                    <a:pt x="1631456" y="164770"/>
                  </a:lnTo>
                  <a:lnTo>
                    <a:pt x="1633429" y="163240"/>
                  </a:lnTo>
                  <a:lnTo>
                    <a:pt x="1633429" y="154063"/>
                  </a:lnTo>
                  <a:lnTo>
                    <a:pt x="1631456" y="149524"/>
                  </a:lnTo>
                  <a:lnTo>
                    <a:pt x="1633429" y="146465"/>
                  </a:lnTo>
                  <a:lnTo>
                    <a:pt x="1637327" y="143406"/>
                  </a:lnTo>
                  <a:lnTo>
                    <a:pt x="1637327" y="137287"/>
                  </a:lnTo>
                  <a:lnTo>
                    <a:pt x="1633429" y="134278"/>
                  </a:lnTo>
                  <a:lnTo>
                    <a:pt x="1631456" y="126630"/>
                  </a:lnTo>
                  <a:lnTo>
                    <a:pt x="1633429" y="123571"/>
                  </a:lnTo>
                  <a:lnTo>
                    <a:pt x="1629483" y="118982"/>
                  </a:lnTo>
                  <a:lnTo>
                    <a:pt x="1631456" y="114393"/>
                  </a:lnTo>
                  <a:lnTo>
                    <a:pt x="1635354" y="106795"/>
                  </a:lnTo>
                  <a:lnTo>
                    <a:pt x="1639252" y="103736"/>
                  </a:lnTo>
                  <a:lnTo>
                    <a:pt x="1639252" y="97667"/>
                  </a:lnTo>
                  <a:lnTo>
                    <a:pt x="1645172" y="91549"/>
                  </a:lnTo>
                  <a:lnTo>
                    <a:pt x="1649071" y="88490"/>
                  </a:lnTo>
                  <a:lnTo>
                    <a:pt x="1649071" y="80842"/>
                  </a:lnTo>
                  <a:lnTo>
                    <a:pt x="1647146" y="76303"/>
                  </a:lnTo>
                  <a:lnTo>
                    <a:pt x="1647146" y="71665"/>
                  </a:lnTo>
                  <a:lnTo>
                    <a:pt x="1643198" y="68606"/>
                  </a:lnTo>
                  <a:lnTo>
                    <a:pt x="1639252" y="64017"/>
                  </a:lnTo>
                  <a:lnTo>
                    <a:pt x="1635354" y="54889"/>
                  </a:lnTo>
                  <a:lnTo>
                    <a:pt x="1631456" y="54889"/>
                  </a:lnTo>
                  <a:lnTo>
                    <a:pt x="1625535" y="56418"/>
                  </a:lnTo>
                  <a:lnTo>
                    <a:pt x="1617739" y="61007"/>
                  </a:lnTo>
                  <a:lnTo>
                    <a:pt x="1613791" y="61007"/>
                  </a:lnTo>
                  <a:lnTo>
                    <a:pt x="1611818" y="57948"/>
                  </a:lnTo>
                  <a:lnTo>
                    <a:pt x="1611818" y="50300"/>
                  </a:lnTo>
                  <a:lnTo>
                    <a:pt x="1613791" y="47290"/>
                  </a:lnTo>
                  <a:lnTo>
                    <a:pt x="1613791" y="44231"/>
                  </a:lnTo>
                  <a:lnTo>
                    <a:pt x="1615766" y="41123"/>
                  </a:lnTo>
                  <a:lnTo>
                    <a:pt x="1617739" y="36584"/>
                  </a:lnTo>
                  <a:lnTo>
                    <a:pt x="1625535" y="28936"/>
                  </a:lnTo>
                  <a:lnTo>
                    <a:pt x="1625535" y="25877"/>
                  </a:lnTo>
                  <a:lnTo>
                    <a:pt x="1629483" y="22867"/>
                  </a:lnTo>
                  <a:lnTo>
                    <a:pt x="1637327" y="22867"/>
                  </a:lnTo>
                  <a:lnTo>
                    <a:pt x="1641225" y="21337"/>
                  </a:lnTo>
                  <a:lnTo>
                    <a:pt x="1645172" y="21337"/>
                  </a:lnTo>
                  <a:lnTo>
                    <a:pt x="1647146" y="19808"/>
                  </a:lnTo>
                  <a:lnTo>
                    <a:pt x="1653017" y="19808"/>
                  </a:lnTo>
                  <a:lnTo>
                    <a:pt x="1658889" y="18278"/>
                  </a:lnTo>
                  <a:lnTo>
                    <a:pt x="1662836" y="13690"/>
                  </a:lnTo>
                  <a:lnTo>
                    <a:pt x="1668708" y="13690"/>
                  </a:lnTo>
                  <a:lnTo>
                    <a:pt x="1672606" y="10680"/>
                  </a:lnTo>
                  <a:lnTo>
                    <a:pt x="1692342" y="10680"/>
                  </a:lnTo>
                  <a:lnTo>
                    <a:pt x="1696239" y="9150"/>
                  </a:lnTo>
                  <a:lnTo>
                    <a:pt x="1698213" y="9150"/>
                  </a:lnTo>
                  <a:lnTo>
                    <a:pt x="1700137" y="3032"/>
                  </a:lnTo>
                  <a:lnTo>
                    <a:pt x="1710005" y="1503"/>
                  </a:lnTo>
                  <a:lnTo>
                    <a:pt x="1711980" y="-27"/>
                  </a:lnTo>
                  <a:lnTo>
                    <a:pt x="1715926" y="1503"/>
                  </a:lnTo>
                  <a:lnTo>
                    <a:pt x="1721798" y="1503"/>
                  </a:lnTo>
                  <a:lnTo>
                    <a:pt x="1727669" y="4562"/>
                  </a:lnTo>
                  <a:lnTo>
                    <a:pt x="1737537" y="6091"/>
                  </a:lnTo>
                  <a:lnTo>
                    <a:pt x="1743409" y="10680"/>
                  </a:lnTo>
                  <a:lnTo>
                    <a:pt x="1743409" y="13690"/>
                  </a:lnTo>
                  <a:lnTo>
                    <a:pt x="1751254" y="13690"/>
                  </a:lnTo>
                  <a:lnTo>
                    <a:pt x="1759099" y="12160"/>
                  </a:lnTo>
                  <a:lnTo>
                    <a:pt x="1761073" y="13690"/>
                  </a:lnTo>
                  <a:lnTo>
                    <a:pt x="1766944" y="16749"/>
                  </a:lnTo>
                  <a:lnTo>
                    <a:pt x="1768917" y="15219"/>
                  </a:lnTo>
                  <a:lnTo>
                    <a:pt x="1768917" y="12456"/>
                  </a:lnTo>
                  <a:lnTo>
                    <a:pt x="1770842" y="9447"/>
                  </a:lnTo>
                  <a:lnTo>
                    <a:pt x="1774790" y="10976"/>
                  </a:lnTo>
                  <a:lnTo>
                    <a:pt x="1778737" y="10976"/>
                  </a:lnTo>
                  <a:lnTo>
                    <a:pt x="1782634" y="9447"/>
                  </a:lnTo>
                  <a:lnTo>
                    <a:pt x="1786532" y="13986"/>
                  </a:lnTo>
                  <a:lnTo>
                    <a:pt x="1788506" y="12456"/>
                  </a:lnTo>
                  <a:lnTo>
                    <a:pt x="1796351" y="13986"/>
                  </a:lnTo>
                  <a:lnTo>
                    <a:pt x="1798325" y="17045"/>
                  </a:lnTo>
                  <a:lnTo>
                    <a:pt x="1796351" y="20104"/>
                  </a:lnTo>
                  <a:lnTo>
                    <a:pt x="1798325" y="23163"/>
                  </a:lnTo>
                  <a:lnTo>
                    <a:pt x="1802222" y="23163"/>
                  </a:lnTo>
                  <a:lnTo>
                    <a:pt x="1802222" y="26173"/>
                  </a:lnTo>
                  <a:lnTo>
                    <a:pt x="1806169" y="23163"/>
                  </a:lnTo>
                  <a:lnTo>
                    <a:pt x="1812042" y="24693"/>
                  </a:lnTo>
                  <a:lnTo>
                    <a:pt x="1812042" y="26173"/>
                  </a:lnTo>
                  <a:lnTo>
                    <a:pt x="1810117" y="29232"/>
                  </a:lnTo>
                  <a:lnTo>
                    <a:pt x="1812042" y="32340"/>
                  </a:lnTo>
                  <a:lnTo>
                    <a:pt x="1817913" y="35350"/>
                  </a:lnTo>
                  <a:lnTo>
                    <a:pt x="1821861" y="35350"/>
                  </a:lnTo>
                  <a:lnTo>
                    <a:pt x="1823834" y="36880"/>
                  </a:lnTo>
                  <a:lnTo>
                    <a:pt x="1823834" y="39939"/>
                  </a:lnTo>
                  <a:lnTo>
                    <a:pt x="1829705" y="41419"/>
                  </a:lnTo>
                  <a:lnTo>
                    <a:pt x="1831630" y="44527"/>
                  </a:lnTo>
                  <a:lnTo>
                    <a:pt x="1831630" y="47587"/>
                  </a:lnTo>
                  <a:lnTo>
                    <a:pt x="1833652" y="52126"/>
                  </a:lnTo>
                  <a:lnTo>
                    <a:pt x="1833652" y="56715"/>
                  </a:lnTo>
                  <a:lnTo>
                    <a:pt x="1843520" y="56715"/>
                  </a:lnTo>
                  <a:lnTo>
                    <a:pt x="1843520" y="61303"/>
                  </a:lnTo>
                  <a:lnTo>
                    <a:pt x="1841597" y="65842"/>
                  </a:lnTo>
                  <a:lnTo>
                    <a:pt x="1843520" y="68902"/>
                  </a:lnTo>
                  <a:lnTo>
                    <a:pt x="1851415" y="73490"/>
                  </a:lnTo>
                  <a:lnTo>
                    <a:pt x="1853339" y="78030"/>
                  </a:lnTo>
                  <a:lnTo>
                    <a:pt x="1857237" y="82668"/>
                  </a:lnTo>
                  <a:lnTo>
                    <a:pt x="1861185" y="88736"/>
                  </a:lnTo>
                  <a:lnTo>
                    <a:pt x="1865131" y="88736"/>
                  </a:lnTo>
                  <a:lnTo>
                    <a:pt x="1867056" y="94855"/>
                  </a:lnTo>
                  <a:lnTo>
                    <a:pt x="1871003" y="96384"/>
                  </a:lnTo>
                  <a:lnTo>
                    <a:pt x="1871003" y="99443"/>
                  </a:lnTo>
                  <a:lnTo>
                    <a:pt x="1869029" y="102453"/>
                  </a:lnTo>
                  <a:lnTo>
                    <a:pt x="1871003" y="103982"/>
                  </a:lnTo>
                  <a:lnTo>
                    <a:pt x="1874901" y="102453"/>
                  </a:lnTo>
                  <a:lnTo>
                    <a:pt x="1878848" y="107042"/>
                  </a:lnTo>
                  <a:lnTo>
                    <a:pt x="1878848" y="110101"/>
                  </a:lnTo>
                  <a:lnTo>
                    <a:pt x="1884720" y="119229"/>
                  </a:lnTo>
                  <a:lnTo>
                    <a:pt x="1900410" y="126876"/>
                  </a:lnTo>
                  <a:lnTo>
                    <a:pt x="1902383" y="131465"/>
                  </a:lnTo>
                  <a:lnTo>
                    <a:pt x="1902383" y="137534"/>
                  </a:lnTo>
                  <a:lnTo>
                    <a:pt x="1906281" y="139064"/>
                  </a:lnTo>
                  <a:lnTo>
                    <a:pt x="1906281" y="146711"/>
                  </a:lnTo>
                  <a:lnTo>
                    <a:pt x="1910229" y="148241"/>
                  </a:lnTo>
                  <a:lnTo>
                    <a:pt x="1914127" y="149770"/>
                  </a:lnTo>
                  <a:lnTo>
                    <a:pt x="1914127" y="158898"/>
                  </a:lnTo>
                  <a:lnTo>
                    <a:pt x="1918025" y="165017"/>
                  </a:lnTo>
                  <a:lnTo>
                    <a:pt x="1925919" y="172664"/>
                  </a:lnTo>
                  <a:lnTo>
                    <a:pt x="1933715" y="174144"/>
                  </a:lnTo>
                  <a:lnTo>
                    <a:pt x="1935737" y="178733"/>
                  </a:lnTo>
                  <a:lnTo>
                    <a:pt x="1939635" y="178733"/>
                  </a:lnTo>
                  <a:lnTo>
                    <a:pt x="1943533" y="177204"/>
                  </a:lnTo>
                  <a:lnTo>
                    <a:pt x="1947481" y="178733"/>
                  </a:lnTo>
                  <a:lnTo>
                    <a:pt x="1957349" y="178733"/>
                  </a:lnTo>
                  <a:lnTo>
                    <a:pt x="1961247" y="175674"/>
                  </a:lnTo>
                  <a:lnTo>
                    <a:pt x="1967168" y="175674"/>
                  </a:lnTo>
                  <a:lnTo>
                    <a:pt x="1967168" y="177204"/>
                  </a:lnTo>
                  <a:lnTo>
                    <a:pt x="1965193" y="180213"/>
                  </a:lnTo>
                  <a:lnTo>
                    <a:pt x="1967168" y="181792"/>
                  </a:lnTo>
                  <a:lnTo>
                    <a:pt x="1974963" y="183322"/>
                  </a:lnTo>
                  <a:lnTo>
                    <a:pt x="1976937" y="184851"/>
                  </a:lnTo>
                  <a:lnTo>
                    <a:pt x="1978910" y="186381"/>
                  </a:lnTo>
                  <a:lnTo>
                    <a:pt x="1984781" y="189391"/>
                  </a:lnTo>
                  <a:lnTo>
                    <a:pt x="1984781" y="186381"/>
                  </a:lnTo>
                  <a:lnTo>
                    <a:pt x="1988679" y="184851"/>
                  </a:lnTo>
                  <a:lnTo>
                    <a:pt x="1992627" y="186381"/>
                  </a:lnTo>
                  <a:lnTo>
                    <a:pt x="1992627" y="183322"/>
                  </a:lnTo>
                  <a:lnTo>
                    <a:pt x="1998547" y="181792"/>
                  </a:lnTo>
                  <a:lnTo>
                    <a:pt x="2000472" y="184851"/>
                  </a:lnTo>
                  <a:lnTo>
                    <a:pt x="2002446" y="187861"/>
                  </a:lnTo>
                  <a:lnTo>
                    <a:pt x="2006344" y="190920"/>
                  </a:lnTo>
                  <a:lnTo>
                    <a:pt x="2010291" y="190920"/>
                  </a:lnTo>
                  <a:lnTo>
                    <a:pt x="2010291" y="195509"/>
                  </a:lnTo>
                  <a:lnTo>
                    <a:pt x="2014189" y="198568"/>
                  </a:lnTo>
                  <a:lnTo>
                    <a:pt x="2016162" y="198568"/>
                  </a:lnTo>
                  <a:lnTo>
                    <a:pt x="2020060" y="201627"/>
                  </a:lnTo>
                  <a:lnTo>
                    <a:pt x="2020060" y="204637"/>
                  </a:lnTo>
                  <a:lnTo>
                    <a:pt x="2027954" y="206166"/>
                  </a:lnTo>
                  <a:lnTo>
                    <a:pt x="2029879" y="207696"/>
                  </a:lnTo>
                  <a:lnTo>
                    <a:pt x="2033826" y="209275"/>
                  </a:lnTo>
                  <a:lnTo>
                    <a:pt x="2037725" y="210755"/>
                  </a:lnTo>
                  <a:lnTo>
                    <a:pt x="2041671" y="212285"/>
                  </a:lnTo>
                  <a:lnTo>
                    <a:pt x="2045569" y="210755"/>
                  </a:lnTo>
                  <a:lnTo>
                    <a:pt x="2049467" y="210755"/>
                  </a:lnTo>
                  <a:lnTo>
                    <a:pt x="2053464" y="207696"/>
                  </a:lnTo>
                  <a:lnTo>
                    <a:pt x="2055388" y="207696"/>
                  </a:lnTo>
                  <a:lnTo>
                    <a:pt x="2059335" y="209275"/>
                  </a:lnTo>
                  <a:lnTo>
                    <a:pt x="2057362" y="212285"/>
                  </a:lnTo>
                  <a:lnTo>
                    <a:pt x="2055388" y="215344"/>
                  </a:lnTo>
                  <a:lnTo>
                    <a:pt x="2055388" y="224472"/>
                  </a:lnTo>
                  <a:lnTo>
                    <a:pt x="2061259" y="224472"/>
                  </a:lnTo>
                  <a:lnTo>
                    <a:pt x="2063233" y="229060"/>
                  </a:lnTo>
                  <a:lnTo>
                    <a:pt x="2067181" y="235179"/>
                  </a:lnTo>
                  <a:lnTo>
                    <a:pt x="2063233" y="239718"/>
                  </a:lnTo>
                  <a:lnTo>
                    <a:pt x="2063233" y="247366"/>
                  </a:lnTo>
                  <a:lnTo>
                    <a:pt x="2071079" y="254964"/>
                  </a:lnTo>
                  <a:lnTo>
                    <a:pt x="2073052" y="256494"/>
                  </a:lnTo>
                  <a:lnTo>
                    <a:pt x="2078923" y="262612"/>
                  </a:lnTo>
                  <a:lnTo>
                    <a:pt x="2080897" y="265671"/>
                  </a:lnTo>
                  <a:lnTo>
                    <a:pt x="2086769" y="264141"/>
                  </a:lnTo>
                  <a:lnTo>
                    <a:pt x="2090667" y="261082"/>
                  </a:lnTo>
                  <a:lnTo>
                    <a:pt x="2094613" y="261082"/>
                  </a:lnTo>
                  <a:lnTo>
                    <a:pt x="2098560" y="264141"/>
                  </a:lnTo>
                  <a:lnTo>
                    <a:pt x="2102459" y="268730"/>
                  </a:lnTo>
                  <a:lnTo>
                    <a:pt x="2106357" y="267200"/>
                  </a:lnTo>
                  <a:lnTo>
                    <a:pt x="2108330" y="264141"/>
                  </a:lnTo>
                  <a:lnTo>
                    <a:pt x="2114252" y="265671"/>
                  </a:lnTo>
                  <a:lnTo>
                    <a:pt x="2118148" y="264141"/>
                  </a:lnTo>
                  <a:lnTo>
                    <a:pt x="2128017" y="262612"/>
                  </a:lnTo>
                  <a:lnTo>
                    <a:pt x="2131915" y="259602"/>
                  </a:lnTo>
                  <a:lnTo>
                    <a:pt x="2137786" y="258072"/>
                  </a:lnTo>
                  <a:lnTo>
                    <a:pt x="2135813" y="254964"/>
                  </a:lnTo>
                  <a:lnTo>
                    <a:pt x="2137786" y="250425"/>
                  </a:lnTo>
                  <a:lnTo>
                    <a:pt x="2141733" y="247366"/>
                  </a:lnTo>
                  <a:lnTo>
                    <a:pt x="2141733" y="241247"/>
                  </a:lnTo>
                  <a:lnTo>
                    <a:pt x="2143708" y="238238"/>
                  </a:lnTo>
                  <a:lnTo>
                    <a:pt x="2149579" y="236708"/>
                  </a:lnTo>
                  <a:lnTo>
                    <a:pt x="2155450" y="236708"/>
                  </a:lnTo>
                  <a:lnTo>
                    <a:pt x="2157424" y="230590"/>
                  </a:lnTo>
                  <a:lnTo>
                    <a:pt x="2161321" y="230590"/>
                  </a:lnTo>
                  <a:lnTo>
                    <a:pt x="2165269" y="229060"/>
                  </a:lnTo>
                  <a:lnTo>
                    <a:pt x="2165269" y="224472"/>
                  </a:lnTo>
                  <a:lnTo>
                    <a:pt x="2171140" y="222992"/>
                  </a:lnTo>
                  <a:lnTo>
                    <a:pt x="2177012" y="221462"/>
                  </a:lnTo>
                  <a:lnTo>
                    <a:pt x="2180959" y="216873"/>
                  </a:lnTo>
                  <a:lnTo>
                    <a:pt x="2186831" y="221462"/>
                  </a:lnTo>
                  <a:lnTo>
                    <a:pt x="2190777" y="222992"/>
                  </a:lnTo>
                  <a:lnTo>
                    <a:pt x="2196650" y="222992"/>
                  </a:lnTo>
                  <a:lnTo>
                    <a:pt x="2198623" y="226001"/>
                  </a:lnTo>
                  <a:lnTo>
                    <a:pt x="2200597" y="232119"/>
                  </a:lnTo>
                  <a:lnTo>
                    <a:pt x="2198623" y="235179"/>
                  </a:lnTo>
                  <a:lnTo>
                    <a:pt x="2198623" y="238238"/>
                  </a:lnTo>
                  <a:lnTo>
                    <a:pt x="2206468" y="242777"/>
                  </a:lnTo>
                  <a:lnTo>
                    <a:pt x="2206468" y="248895"/>
                  </a:lnTo>
                  <a:lnTo>
                    <a:pt x="2210366" y="251954"/>
                  </a:lnTo>
                  <a:lnTo>
                    <a:pt x="2214313" y="253484"/>
                  </a:lnTo>
                  <a:lnTo>
                    <a:pt x="2212340" y="259158"/>
                  </a:lnTo>
                  <a:lnTo>
                    <a:pt x="2212340" y="266756"/>
                  </a:lnTo>
                  <a:lnTo>
                    <a:pt x="2206468" y="268286"/>
                  </a:lnTo>
                  <a:lnTo>
                    <a:pt x="2200597" y="274404"/>
                  </a:lnTo>
                  <a:lnTo>
                    <a:pt x="2200597" y="275884"/>
                  </a:lnTo>
                  <a:lnTo>
                    <a:pt x="2204494" y="280473"/>
                  </a:lnTo>
                  <a:lnTo>
                    <a:pt x="2206468" y="282003"/>
                  </a:lnTo>
                  <a:lnTo>
                    <a:pt x="2206468" y="286591"/>
                  </a:lnTo>
                  <a:lnTo>
                    <a:pt x="2204494" y="291131"/>
                  </a:lnTo>
                  <a:lnTo>
                    <a:pt x="2206468" y="292660"/>
                  </a:lnTo>
                  <a:lnTo>
                    <a:pt x="2208392" y="295769"/>
                  </a:lnTo>
                  <a:lnTo>
                    <a:pt x="2208392" y="300308"/>
                  </a:lnTo>
                  <a:lnTo>
                    <a:pt x="2210366" y="301837"/>
                  </a:lnTo>
                  <a:lnTo>
                    <a:pt x="2210366" y="304847"/>
                  </a:lnTo>
                  <a:lnTo>
                    <a:pt x="2208392" y="304847"/>
                  </a:lnTo>
                  <a:lnTo>
                    <a:pt x="2206468" y="306377"/>
                  </a:lnTo>
                  <a:lnTo>
                    <a:pt x="2206468" y="312495"/>
                  </a:lnTo>
                  <a:lnTo>
                    <a:pt x="2210366" y="318613"/>
                  </a:lnTo>
                  <a:lnTo>
                    <a:pt x="2212340" y="321672"/>
                  </a:lnTo>
                  <a:lnTo>
                    <a:pt x="2212340" y="326261"/>
                  </a:lnTo>
                  <a:lnTo>
                    <a:pt x="2208392" y="327741"/>
                  </a:lnTo>
                  <a:lnTo>
                    <a:pt x="2206468" y="332330"/>
                  </a:lnTo>
                  <a:lnTo>
                    <a:pt x="2208392" y="335389"/>
                  </a:lnTo>
                  <a:lnTo>
                    <a:pt x="2208392" y="338448"/>
                  </a:lnTo>
                  <a:lnTo>
                    <a:pt x="2210366" y="341458"/>
                  </a:lnTo>
                  <a:lnTo>
                    <a:pt x="2206468" y="342987"/>
                  </a:lnTo>
                  <a:lnTo>
                    <a:pt x="2204494" y="344517"/>
                  </a:lnTo>
                  <a:lnTo>
                    <a:pt x="2206468" y="347625"/>
                  </a:lnTo>
                  <a:lnTo>
                    <a:pt x="2208392" y="353694"/>
                  </a:lnTo>
                  <a:lnTo>
                    <a:pt x="2206468" y="356753"/>
                  </a:lnTo>
                  <a:lnTo>
                    <a:pt x="2200597" y="361342"/>
                  </a:lnTo>
                  <a:lnTo>
                    <a:pt x="2204494" y="364352"/>
                  </a:lnTo>
                  <a:lnTo>
                    <a:pt x="2204494" y="373529"/>
                  </a:lnTo>
                  <a:lnTo>
                    <a:pt x="2206468" y="376588"/>
                  </a:lnTo>
                  <a:lnTo>
                    <a:pt x="2206468" y="382657"/>
                  </a:lnTo>
                  <a:lnTo>
                    <a:pt x="2204494" y="385716"/>
                  </a:lnTo>
                  <a:lnTo>
                    <a:pt x="2198623" y="385716"/>
                  </a:lnTo>
                  <a:lnTo>
                    <a:pt x="2194675" y="384236"/>
                  </a:lnTo>
                  <a:lnTo>
                    <a:pt x="2173114" y="381127"/>
                  </a:lnTo>
                  <a:lnTo>
                    <a:pt x="2169167" y="379598"/>
                  </a:lnTo>
                  <a:lnTo>
                    <a:pt x="2161321" y="376588"/>
                  </a:lnTo>
                  <a:lnTo>
                    <a:pt x="2159398" y="379598"/>
                  </a:lnTo>
                  <a:lnTo>
                    <a:pt x="2153131" y="387443"/>
                  </a:lnTo>
                  <a:lnTo>
                    <a:pt x="2151158" y="392031"/>
                  </a:lnTo>
                  <a:lnTo>
                    <a:pt x="2149233" y="395091"/>
                  </a:lnTo>
                  <a:lnTo>
                    <a:pt x="2145335" y="395091"/>
                  </a:lnTo>
                  <a:lnTo>
                    <a:pt x="2139414" y="398150"/>
                  </a:lnTo>
                  <a:lnTo>
                    <a:pt x="2139414" y="401159"/>
                  </a:lnTo>
                  <a:lnTo>
                    <a:pt x="2141389" y="407278"/>
                  </a:lnTo>
                  <a:lnTo>
                    <a:pt x="2149233" y="417935"/>
                  </a:lnTo>
                  <a:lnTo>
                    <a:pt x="2151158" y="422524"/>
                  </a:lnTo>
                  <a:lnTo>
                    <a:pt x="2153131" y="425583"/>
                  </a:lnTo>
                  <a:lnTo>
                    <a:pt x="2157079" y="430122"/>
                  </a:lnTo>
                  <a:lnTo>
                    <a:pt x="2157079" y="443888"/>
                  </a:lnTo>
                  <a:lnTo>
                    <a:pt x="2159052" y="450006"/>
                  </a:lnTo>
                  <a:lnTo>
                    <a:pt x="2159052" y="460664"/>
                  </a:lnTo>
                  <a:lnTo>
                    <a:pt x="2162950" y="463723"/>
                  </a:lnTo>
                  <a:lnTo>
                    <a:pt x="2162950" y="474381"/>
                  </a:lnTo>
                  <a:lnTo>
                    <a:pt x="2160977" y="475910"/>
                  </a:lnTo>
                  <a:lnTo>
                    <a:pt x="2160977" y="480499"/>
                  </a:lnTo>
                  <a:lnTo>
                    <a:pt x="2162950" y="485087"/>
                  </a:lnTo>
                  <a:lnTo>
                    <a:pt x="2162950" y="489627"/>
                  </a:lnTo>
                  <a:lnTo>
                    <a:pt x="2159052" y="491156"/>
                  </a:lnTo>
                  <a:lnTo>
                    <a:pt x="2151158" y="489627"/>
                  </a:lnTo>
                  <a:lnTo>
                    <a:pt x="2147260" y="491156"/>
                  </a:lnTo>
                  <a:lnTo>
                    <a:pt x="2147260" y="494215"/>
                  </a:lnTo>
                  <a:lnTo>
                    <a:pt x="2149233" y="498804"/>
                  </a:lnTo>
                  <a:lnTo>
                    <a:pt x="2151158" y="500334"/>
                  </a:lnTo>
                  <a:lnTo>
                    <a:pt x="2151158" y="504873"/>
                  </a:lnTo>
                  <a:lnTo>
                    <a:pt x="2149233" y="503343"/>
                  </a:lnTo>
                  <a:lnTo>
                    <a:pt x="2137441" y="501863"/>
                  </a:lnTo>
                  <a:lnTo>
                    <a:pt x="2135467" y="498804"/>
                  </a:lnTo>
                  <a:lnTo>
                    <a:pt x="2135467" y="492686"/>
                  </a:lnTo>
                  <a:lnTo>
                    <a:pt x="2127672" y="488147"/>
                  </a:lnTo>
                  <a:lnTo>
                    <a:pt x="2123725" y="489627"/>
                  </a:lnTo>
                  <a:lnTo>
                    <a:pt x="2123725" y="495992"/>
                  </a:lnTo>
                  <a:lnTo>
                    <a:pt x="2121750" y="502110"/>
                  </a:lnTo>
                  <a:lnTo>
                    <a:pt x="2125698" y="506649"/>
                  </a:lnTo>
                  <a:lnTo>
                    <a:pt x="2121750" y="514297"/>
                  </a:lnTo>
                  <a:lnTo>
                    <a:pt x="2115879" y="514297"/>
                  </a:lnTo>
                  <a:lnTo>
                    <a:pt x="2110008" y="520366"/>
                  </a:lnTo>
                  <a:lnTo>
                    <a:pt x="2110008" y="526484"/>
                  </a:lnTo>
                  <a:lnTo>
                    <a:pt x="2094318" y="535661"/>
                  </a:lnTo>
                  <a:lnTo>
                    <a:pt x="2086472" y="538720"/>
                  </a:lnTo>
                  <a:lnTo>
                    <a:pt x="2080601" y="541730"/>
                  </a:lnTo>
                  <a:lnTo>
                    <a:pt x="2088445" y="546319"/>
                  </a:lnTo>
                  <a:lnTo>
                    <a:pt x="2096291" y="552437"/>
                  </a:lnTo>
                  <a:lnTo>
                    <a:pt x="2096291" y="556976"/>
                  </a:lnTo>
                  <a:lnTo>
                    <a:pt x="2092343" y="566153"/>
                  </a:lnTo>
                  <a:lnTo>
                    <a:pt x="2082475" y="564624"/>
                  </a:lnTo>
                  <a:lnTo>
                    <a:pt x="2068759" y="566153"/>
                  </a:lnTo>
                  <a:lnTo>
                    <a:pt x="2060865" y="564624"/>
                  </a:lnTo>
                  <a:lnTo>
                    <a:pt x="2054994" y="566153"/>
                  </a:lnTo>
                  <a:lnTo>
                    <a:pt x="2049072" y="560035"/>
                  </a:lnTo>
                  <a:lnTo>
                    <a:pt x="2043250" y="558506"/>
                  </a:lnTo>
                  <a:lnTo>
                    <a:pt x="2037329" y="549378"/>
                  </a:lnTo>
                  <a:lnTo>
                    <a:pt x="2029484" y="556976"/>
                  </a:lnTo>
                  <a:lnTo>
                    <a:pt x="2029484" y="570693"/>
                  </a:lnTo>
                  <a:lnTo>
                    <a:pt x="2025586" y="575331"/>
                  </a:lnTo>
                  <a:lnTo>
                    <a:pt x="2021640" y="592057"/>
                  </a:lnTo>
                  <a:lnTo>
                    <a:pt x="2013794" y="593587"/>
                  </a:lnTo>
                  <a:lnTo>
                    <a:pt x="2007923" y="604294"/>
                  </a:lnTo>
                  <a:lnTo>
                    <a:pt x="2000077" y="608833"/>
                  </a:lnTo>
                  <a:lnTo>
                    <a:pt x="2000077" y="613422"/>
                  </a:lnTo>
                  <a:lnTo>
                    <a:pt x="1994206" y="622599"/>
                  </a:lnTo>
                  <a:lnTo>
                    <a:pt x="1984338" y="628668"/>
                  </a:lnTo>
                  <a:lnTo>
                    <a:pt x="1984338" y="646973"/>
                  </a:lnTo>
                  <a:lnTo>
                    <a:pt x="1982413" y="640904"/>
                  </a:lnTo>
                  <a:lnTo>
                    <a:pt x="1972545" y="651562"/>
                  </a:lnTo>
                  <a:lnTo>
                    <a:pt x="1964701" y="653091"/>
                  </a:lnTo>
                  <a:lnTo>
                    <a:pt x="1958780" y="653091"/>
                  </a:lnTo>
                  <a:lnTo>
                    <a:pt x="1956855" y="651562"/>
                  </a:lnTo>
                  <a:lnTo>
                    <a:pt x="1946987" y="656151"/>
                  </a:lnTo>
                  <a:lnTo>
                    <a:pt x="1939141" y="656151"/>
                  </a:lnTo>
                  <a:lnTo>
                    <a:pt x="1937218" y="662269"/>
                  </a:lnTo>
                  <a:lnTo>
                    <a:pt x="1933221" y="662269"/>
                  </a:lnTo>
                  <a:lnTo>
                    <a:pt x="1917531" y="672926"/>
                  </a:lnTo>
                  <a:lnTo>
                    <a:pt x="1907663" y="679044"/>
                  </a:lnTo>
                  <a:lnTo>
                    <a:pt x="1911610" y="685113"/>
                  </a:lnTo>
                  <a:lnTo>
                    <a:pt x="1909636" y="686643"/>
                  </a:lnTo>
                  <a:lnTo>
                    <a:pt x="1899768" y="689702"/>
                  </a:lnTo>
                  <a:lnTo>
                    <a:pt x="1891924" y="698879"/>
                  </a:lnTo>
                  <a:lnTo>
                    <a:pt x="1887976" y="698879"/>
                  </a:lnTo>
                  <a:lnTo>
                    <a:pt x="1884078" y="703418"/>
                  </a:lnTo>
                  <a:lnTo>
                    <a:pt x="1880180" y="703418"/>
                  </a:lnTo>
                  <a:lnTo>
                    <a:pt x="1880180" y="698879"/>
                  </a:lnTo>
                  <a:lnTo>
                    <a:pt x="1874259" y="694241"/>
                  </a:lnTo>
                  <a:lnTo>
                    <a:pt x="1876233" y="689702"/>
                  </a:lnTo>
                  <a:lnTo>
                    <a:pt x="1882105" y="689702"/>
                  </a:lnTo>
                  <a:lnTo>
                    <a:pt x="1886052" y="686643"/>
                  </a:lnTo>
                  <a:lnTo>
                    <a:pt x="1895920" y="686643"/>
                  </a:lnTo>
                  <a:lnTo>
                    <a:pt x="1897844" y="685113"/>
                  </a:lnTo>
                  <a:lnTo>
                    <a:pt x="1899817" y="682054"/>
                  </a:lnTo>
                  <a:lnTo>
                    <a:pt x="1895920" y="680525"/>
                  </a:lnTo>
                  <a:lnTo>
                    <a:pt x="1891973" y="679044"/>
                  </a:lnTo>
                  <a:lnTo>
                    <a:pt x="1901841" y="674456"/>
                  </a:lnTo>
                  <a:lnTo>
                    <a:pt x="1903765" y="668337"/>
                  </a:lnTo>
                  <a:lnTo>
                    <a:pt x="1895969" y="674456"/>
                  </a:lnTo>
                  <a:lnTo>
                    <a:pt x="1886101" y="677515"/>
                  </a:lnTo>
                  <a:lnTo>
                    <a:pt x="1884127" y="674456"/>
                  </a:lnTo>
                  <a:lnTo>
                    <a:pt x="1884127" y="668337"/>
                  </a:lnTo>
                  <a:lnTo>
                    <a:pt x="1886101" y="666808"/>
                  </a:lnTo>
                  <a:lnTo>
                    <a:pt x="1888026" y="663798"/>
                  </a:lnTo>
                  <a:lnTo>
                    <a:pt x="1880229" y="657631"/>
                  </a:lnTo>
                  <a:lnTo>
                    <a:pt x="1882154" y="650081"/>
                  </a:lnTo>
                  <a:lnTo>
                    <a:pt x="1880229" y="646973"/>
                  </a:lnTo>
                  <a:lnTo>
                    <a:pt x="1886693" y="646973"/>
                  </a:lnTo>
                  <a:lnTo>
                    <a:pt x="1888617" y="637845"/>
                  </a:lnTo>
                  <a:lnTo>
                    <a:pt x="1896512" y="630197"/>
                  </a:lnTo>
                  <a:lnTo>
                    <a:pt x="1898436" y="627188"/>
                  </a:lnTo>
                  <a:lnTo>
                    <a:pt x="1902383" y="624128"/>
                  </a:lnTo>
                  <a:lnTo>
                    <a:pt x="1902383" y="619342"/>
                  </a:lnTo>
                  <a:lnTo>
                    <a:pt x="1884720" y="610215"/>
                  </a:lnTo>
                  <a:lnTo>
                    <a:pt x="1874852" y="599508"/>
                  </a:lnTo>
                  <a:lnTo>
                    <a:pt x="1872878" y="605626"/>
                  </a:lnTo>
                  <a:lnTo>
                    <a:pt x="1866957" y="605626"/>
                  </a:lnTo>
                  <a:lnTo>
                    <a:pt x="1863059" y="602567"/>
                  </a:lnTo>
                  <a:lnTo>
                    <a:pt x="1853191" y="604096"/>
                  </a:lnTo>
                  <a:lnTo>
                    <a:pt x="1849293" y="610215"/>
                  </a:lnTo>
                  <a:lnTo>
                    <a:pt x="1847320" y="611744"/>
                  </a:lnTo>
                  <a:lnTo>
                    <a:pt x="1845347" y="619342"/>
                  </a:lnTo>
                  <a:lnTo>
                    <a:pt x="1837501" y="625461"/>
                  </a:lnTo>
                  <a:lnTo>
                    <a:pt x="1837501" y="637648"/>
                  </a:lnTo>
                  <a:lnTo>
                    <a:pt x="1833603" y="637648"/>
                  </a:lnTo>
                  <a:lnTo>
                    <a:pt x="1827682" y="648355"/>
                  </a:lnTo>
                  <a:lnTo>
                    <a:pt x="1819886" y="648355"/>
                  </a:lnTo>
                  <a:lnTo>
                    <a:pt x="1808094" y="652894"/>
                  </a:lnTo>
                  <a:lnTo>
                    <a:pt x="1804147" y="668140"/>
                  </a:lnTo>
                  <a:lnTo>
                    <a:pt x="1800249" y="672729"/>
                  </a:lnTo>
                  <a:lnTo>
                    <a:pt x="1802174" y="674258"/>
                  </a:lnTo>
                  <a:lnTo>
                    <a:pt x="1804147" y="681857"/>
                  </a:lnTo>
                  <a:lnTo>
                    <a:pt x="1800249" y="681857"/>
                  </a:lnTo>
                  <a:lnTo>
                    <a:pt x="1802174" y="684916"/>
                  </a:lnTo>
                  <a:lnTo>
                    <a:pt x="1798276" y="691034"/>
                  </a:lnTo>
                  <a:lnTo>
                    <a:pt x="1776713" y="691034"/>
                  </a:lnTo>
                  <a:lnTo>
                    <a:pt x="1762997" y="687975"/>
                  </a:lnTo>
                  <a:lnTo>
                    <a:pt x="1762997" y="691034"/>
                  </a:lnTo>
                  <a:lnTo>
                    <a:pt x="1759049" y="694044"/>
                  </a:lnTo>
                  <a:lnTo>
                    <a:pt x="1755152" y="700211"/>
                  </a:lnTo>
                  <a:lnTo>
                    <a:pt x="1755152" y="706280"/>
                  </a:lnTo>
                  <a:lnTo>
                    <a:pt x="1751205" y="709339"/>
                  </a:lnTo>
                  <a:lnTo>
                    <a:pt x="1755152" y="715457"/>
                  </a:lnTo>
                  <a:lnTo>
                    <a:pt x="1759049" y="724586"/>
                  </a:lnTo>
                  <a:lnTo>
                    <a:pt x="1764971" y="727645"/>
                  </a:lnTo>
                  <a:lnTo>
                    <a:pt x="1776713" y="733713"/>
                  </a:lnTo>
                  <a:lnTo>
                    <a:pt x="1778688" y="738302"/>
                  </a:lnTo>
                  <a:lnTo>
                    <a:pt x="1782585" y="745901"/>
                  </a:lnTo>
                  <a:lnTo>
                    <a:pt x="1784559" y="742891"/>
                  </a:lnTo>
                  <a:lnTo>
                    <a:pt x="1786483" y="745901"/>
                  </a:lnTo>
                  <a:lnTo>
                    <a:pt x="1788457" y="742891"/>
                  </a:lnTo>
                  <a:lnTo>
                    <a:pt x="1794378" y="742891"/>
                  </a:lnTo>
                  <a:lnTo>
                    <a:pt x="1794378" y="744420"/>
                  </a:lnTo>
                  <a:lnTo>
                    <a:pt x="1798276" y="742891"/>
                  </a:lnTo>
                  <a:lnTo>
                    <a:pt x="1808144" y="742891"/>
                  </a:lnTo>
                  <a:lnTo>
                    <a:pt x="1810117" y="750539"/>
                  </a:lnTo>
                  <a:lnTo>
                    <a:pt x="1810117" y="758137"/>
                  </a:lnTo>
                  <a:lnTo>
                    <a:pt x="1817913" y="773383"/>
                  </a:lnTo>
                  <a:lnTo>
                    <a:pt x="1829705" y="773383"/>
                  </a:lnTo>
                  <a:lnTo>
                    <a:pt x="1835625" y="770324"/>
                  </a:lnTo>
                  <a:lnTo>
                    <a:pt x="1843422" y="773383"/>
                  </a:lnTo>
                  <a:lnTo>
                    <a:pt x="1845395" y="770324"/>
                  </a:lnTo>
                  <a:lnTo>
                    <a:pt x="1849342" y="764255"/>
                  </a:lnTo>
                  <a:lnTo>
                    <a:pt x="1845395" y="761196"/>
                  </a:lnTo>
                  <a:lnTo>
                    <a:pt x="1845395" y="759666"/>
                  </a:lnTo>
                  <a:lnTo>
                    <a:pt x="1853240" y="756607"/>
                  </a:lnTo>
                  <a:lnTo>
                    <a:pt x="1861086" y="753548"/>
                  </a:lnTo>
                  <a:lnTo>
                    <a:pt x="1861086" y="747627"/>
                  </a:lnTo>
                  <a:lnTo>
                    <a:pt x="1855215" y="744568"/>
                  </a:lnTo>
                  <a:lnTo>
                    <a:pt x="1865083" y="744568"/>
                  </a:lnTo>
                  <a:lnTo>
                    <a:pt x="1880773" y="738450"/>
                  </a:lnTo>
                  <a:lnTo>
                    <a:pt x="1882696" y="741509"/>
                  </a:lnTo>
                  <a:lnTo>
                    <a:pt x="1886644" y="743039"/>
                  </a:lnTo>
                  <a:lnTo>
                    <a:pt x="1890542" y="747627"/>
                  </a:lnTo>
                  <a:lnTo>
                    <a:pt x="1896463" y="750686"/>
                  </a:lnTo>
                  <a:lnTo>
                    <a:pt x="1902334" y="753696"/>
                  </a:lnTo>
                  <a:lnTo>
                    <a:pt x="1923896" y="753696"/>
                  </a:lnTo>
                  <a:lnTo>
                    <a:pt x="1925869" y="750686"/>
                  </a:lnTo>
                  <a:lnTo>
                    <a:pt x="1935737" y="750686"/>
                  </a:lnTo>
                  <a:lnTo>
                    <a:pt x="1935737" y="753696"/>
                  </a:lnTo>
                  <a:lnTo>
                    <a:pt x="1943533" y="752216"/>
                  </a:lnTo>
                  <a:lnTo>
                    <a:pt x="1951428" y="750686"/>
                  </a:lnTo>
                  <a:lnTo>
                    <a:pt x="1957300" y="753696"/>
                  </a:lnTo>
                  <a:lnTo>
                    <a:pt x="1949454" y="755226"/>
                  </a:lnTo>
                  <a:lnTo>
                    <a:pt x="1949454" y="758285"/>
                  </a:lnTo>
                  <a:lnTo>
                    <a:pt x="1955325" y="765933"/>
                  </a:lnTo>
                  <a:lnTo>
                    <a:pt x="1951428" y="765933"/>
                  </a:lnTo>
                  <a:lnTo>
                    <a:pt x="1945507" y="767462"/>
                  </a:lnTo>
                  <a:lnTo>
                    <a:pt x="1947481" y="773531"/>
                  </a:lnTo>
                  <a:lnTo>
                    <a:pt x="1953352" y="776590"/>
                  </a:lnTo>
                  <a:lnTo>
                    <a:pt x="1953352" y="778120"/>
                  </a:lnTo>
                  <a:lnTo>
                    <a:pt x="1943484" y="784188"/>
                  </a:lnTo>
                  <a:lnTo>
                    <a:pt x="1935688" y="779649"/>
                  </a:lnTo>
                  <a:lnTo>
                    <a:pt x="1935688" y="776590"/>
                  </a:lnTo>
                  <a:lnTo>
                    <a:pt x="1931740" y="779649"/>
                  </a:lnTo>
                  <a:lnTo>
                    <a:pt x="1929767" y="776590"/>
                  </a:lnTo>
                  <a:lnTo>
                    <a:pt x="1919899" y="784188"/>
                  </a:lnTo>
                  <a:lnTo>
                    <a:pt x="1916297" y="784188"/>
                  </a:lnTo>
                  <a:lnTo>
                    <a:pt x="1910426" y="788826"/>
                  </a:lnTo>
                  <a:lnTo>
                    <a:pt x="1904506" y="788826"/>
                  </a:lnTo>
                  <a:lnTo>
                    <a:pt x="1902581" y="791836"/>
                  </a:lnTo>
                  <a:lnTo>
                    <a:pt x="1896709" y="788826"/>
                  </a:lnTo>
                  <a:lnTo>
                    <a:pt x="1886841" y="790307"/>
                  </a:lnTo>
                  <a:lnTo>
                    <a:pt x="1896709" y="793366"/>
                  </a:lnTo>
                  <a:lnTo>
                    <a:pt x="1896709" y="797955"/>
                  </a:lnTo>
                  <a:lnTo>
                    <a:pt x="1886841" y="799484"/>
                  </a:lnTo>
                  <a:lnTo>
                    <a:pt x="1886841" y="806836"/>
                  </a:lnTo>
                  <a:lnTo>
                    <a:pt x="1876973" y="806836"/>
                  </a:lnTo>
                  <a:lnTo>
                    <a:pt x="1871102" y="811424"/>
                  </a:lnTo>
                  <a:lnTo>
                    <a:pt x="1873026" y="816013"/>
                  </a:lnTo>
                  <a:lnTo>
                    <a:pt x="1880921" y="819023"/>
                  </a:lnTo>
                  <a:lnTo>
                    <a:pt x="1874999" y="825190"/>
                  </a:lnTo>
                  <a:lnTo>
                    <a:pt x="1871102" y="823612"/>
                  </a:lnTo>
                  <a:lnTo>
                    <a:pt x="1865230" y="832789"/>
                  </a:lnTo>
                  <a:lnTo>
                    <a:pt x="1857336" y="834269"/>
                  </a:lnTo>
                  <a:lnTo>
                    <a:pt x="1855411" y="832789"/>
                  </a:lnTo>
                  <a:lnTo>
                    <a:pt x="1853438" y="841917"/>
                  </a:lnTo>
                  <a:lnTo>
                    <a:pt x="1857336" y="848035"/>
                  </a:lnTo>
                  <a:lnTo>
                    <a:pt x="1853438" y="860222"/>
                  </a:lnTo>
                  <a:lnTo>
                    <a:pt x="1853438" y="873988"/>
                  </a:lnTo>
                  <a:lnTo>
                    <a:pt x="1857336" y="873988"/>
                  </a:lnTo>
                  <a:lnTo>
                    <a:pt x="1877072" y="883116"/>
                  </a:lnTo>
                  <a:lnTo>
                    <a:pt x="1877072" y="887705"/>
                  </a:lnTo>
                  <a:lnTo>
                    <a:pt x="1881020" y="884646"/>
                  </a:lnTo>
                  <a:lnTo>
                    <a:pt x="1902581" y="892244"/>
                  </a:lnTo>
                  <a:lnTo>
                    <a:pt x="1912449" y="911980"/>
                  </a:lnTo>
                  <a:lnTo>
                    <a:pt x="1914374" y="913559"/>
                  </a:lnTo>
                  <a:lnTo>
                    <a:pt x="1910476" y="919628"/>
                  </a:lnTo>
                  <a:lnTo>
                    <a:pt x="1918271" y="921157"/>
                  </a:lnTo>
                  <a:lnTo>
                    <a:pt x="1918271" y="930285"/>
                  </a:lnTo>
                  <a:lnTo>
                    <a:pt x="1933962" y="939463"/>
                  </a:lnTo>
                  <a:lnTo>
                    <a:pt x="1933962" y="948591"/>
                  </a:lnTo>
                  <a:lnTo>
                    <a:pt x="1941855" y="959248"/>
                  </a:lnTo>
                  <a:lnTo>
                    <a:pt x="1949701" y="963886"/>
                  </a:lnTo>
                  <a:lnTo>
                    <a:pt x="1955572" y="963886"/>
                  </a:lnTo>
                  <a:lnTo>
                    <a:pt x="1959470" y="965416"/>
                  </a:lnTo>
                  <a:lnTo>
                    <a:pt x="1959470" y="968425"/>
                  </a:lnTo>
                  <a:lnTo>
                    <a:pt x="1969338" y="976073"/>
                  </a:lnTo>
                  <a:lnTo>
                    <a:pt x="1973286" y="977603"/>
                  </a:lnTo>
                  <a:lnTo>
                    <a:pt x="1979157" y="988260"/>
                  </a:lnTo>
                  <a:lnTo>
                    <a:pt x="1975210" y="989790"/>
                  </a:lnTo>
                  <a:lnTo>
                    <a:pt x="1959520" y="983672"/>
                  </a:lnTo>
                  <a:lnTo>
                    <a:pt x="1949652" y="989790"/>
                  </a:lnTo>
                  <a:lnTo>
                    <a:pt x="1941806" y="982142"/>
                  </a:lnTo>
                  <a:lnTo>
                    <a:pt x="1937908" y="982142"/>
                  </a:lnTo>
                  <a:lnTo>
                    <a:pt x="1930014" y="977603"/>
                  </a:lnTo>
                  <a:lnTo>
                    <a:pt x="1916297" y="976073"/>
                  </a:lnTo>
                  <a:lnTo>
                    <a:pt x="1912399" y="982142"/>
                  </a:lnTo>
                  <a:lnTo>
                    <a:pt x="1906429" y="982142"/>
                  </a:lnTo>
                  <a:lnTo>
                    <a:pt x="1902531" y="979132"/>
                  </a:lnTo>
                  <a:lnTo>
                    <a:pt x="1896660" y="969955"/>
                  </a:lnTo>
                  <a:lnTo>
                    <a:pt x="1886792" y="973014"/>
                  </a:lnTo>
                  <a:lnTo>
                    <a:pt x="1880921" y="971485"/>
                  </a:lnTo>
                  <a:lnTo>
                    <a:pt x="1878946" y="973014"/>
                  </a:lnTo>
                  <a:lnTo>
                    <a:pt x="1874999" y="973014"/>
                  </a:lnTo>
                  <a:lnTo>
                    <a:pt x="1871102" y="971485"/>
                  </a:lnTo>
                  <a:lnTo>
                    <a:pt x="1865230" y="974544"/>
                  </a:lnTo>
                  <a:lnTo>
                    <a:pt x="1855362" y="989790"/>
                  </a:lnTo>
                  <a:lnTo>
                    <a:pt x="1867105" y="977603"/>
                  </a:lnTo>
                  <a:lnTo>
                    <a:pt x="1872976" y="976073"/>
                  </a:lnTo>
                  <a:lnTo>
                    <a:pt x="1882845" y="976073"/>
                  </a:lnTo>
                  <a:lnTo>
                    <a:pt x="1890690" y="974544"/>
                  </a:lnTo>
                  <a:lnTo>
                    <a:pt x="1896611" y="974544"/>
                  </a:lnTo>
                  <a:lnTo>
                    <a:pt x="1896611" y="977603"/>
                  </a:lnTo>
                  <a:lnTo>
                    <a:pt x="1904407" y="985201"/>
                  </a:lnTo>
                  <a:lnTo>
                    <a:pt x="1910327" y="988260"/>
                  </a:lnTo>
                  <a:lnTo>
                    <a:pt x="1922070" y="979132"/>
                  </a:lnTo>
                  <a:lnTo>
                    <a:pt x="1929915" y="979132"/>
                  </a:lnTo>
                  <a:lnTo>
                    <a:pt x="1943632" y="992849"/>
                  </a:lnTo>
                  <a:lnTo>
                    <a:pt x="1955424" y="998918"/>
                  </a:lnTo>
                  <a:lnTo>
                    <a:pt x="1975160" y="1008095"/>
                  </a:lnTo>
                  <a:lnTo>
                    <a:pt x="1983055" y="1020282"/>
                  </a:lnTo>
                  <a:lnTo>
                    <a:pt x="1983055" y="1024871"/>
                  </a:lnTo>
                  <a:lnTo>
                    <a:pt x="1973187" y="1026400"/>
                  </a:lnTo>
                  <a:lnTo>
                    <a:pt x="1965341" y="1033999"/>
                  </a:lnTo>
                  <a:lnTo>
                    <a:pt x="1959421" y="1032469"/>
                  </a:lnTo>
                  <a:lnTo>
                    <a:pt x="1955523" y="1035528"/>
                  </a:lnTo>
                  <a:lnTo>
                    <a:pt x="1955523" y="1043176"/>
                  </a:lnTo>
                  <a:lnTo>
                    <a:pt x="1949652" y="1044706"/>
                  </a:lnTo>
                  <a:lnTo>
                    <a:pt x="1941806" y="1041647"/>
                  </a:lnTo>
                  <a:lnTo>
                    <a:pt x="1935935" y="1044706"/>
                  </a:lnTo>
                  <a:lnTo>
                    <a:pt x="1931987" y="1044706"/>
                  </a:lnTo>
                  <a:lnTo>
                    <a:pt x="1922119" y="1049245"/>
                  </a:lnTo>
                  <a:lnTo>
                    <a:pt x="1922119" y="1056893"/>
                  </a:lnTo>
                  <a:lnTo>
                    <a:pt x="1924094" y="1050824"/>
                  </a:lnTo>
                  <a:lnTo>
                    <a:pt x="1931938" y="1046186"/>
                  </a:lnTo>
                  <a:lnTo>
                    <a:pt x="1939784" y="1044706"/>
                  </a:lnTo>
                  <a:lnTo>
                    <a:pt x="1945655" y="1053834"/>
                  </a:lnTo>
                  <a:lnTo>
                    <a:pt x="1951575" y="1055363"/>
                  </a:lnTo>
                  <a:lnTo>
                    <a:pt x="1965292" y="1047715"/>
                  </a:lnTo>
                  <a:lnTo>
                    <a:pt x="1973138" y="1049245"/>
                  </a:lnTo>
                  <a:lnTo>
                    <a:pt x="1983006" y="1061481"/>
                  </a:lnTo>
                  <a:lnTo>
                    <a:pt x="1984929" y="1058422"/>
                  </a:lnTo>
                  <a:lnTo>
                    <a:pt x="1988828" y="1061481"/>
                  </a:lnTo>
                  <a:lnTo>
                    <a:pt x="1994748" y="1061481"/>
                  </a:lnTo>
                  <a:lnTo>
                    <a:pt x="1998696" y="1063011"/>
                  </a:lnTo>
                  <a:lnTo>
                    <a:pt x="1981033" y="1076728"/>
                  </a:lnTo>
                  <a:lnTo>
                    <a:pt x="1971164" y="1078257"/>
                  </a:lnTo>
                  <a:lnTo>
                    <a:pt x="1971164" y="1084326"/>
                  </a:lnTo>
                  <a:lnTo>
                    <a:pt x="1975061" y="1084326"/>
                  </a:lnTo>
                  <a:lnTo>
                    <a:pt x="1984929" y="1078257"/>
                  </a:lnTo>
                  <a:lnTo>
                    <a:pt x="1992775" y="1079787"/>
                  </a:lnTo>
                  <a:lnTo>
                    <a:pt x="1992775" y="1076728"/>
                  </a:lnTo>
                  <a:lnTo>
                    <a:pt x="1990802" y="1075198"/>
                  </a:lnTo>
                  <a:lnTo>
                    <a:pt x="1994748" y="1072139"/>
                  </a:lnTo>
                  <a:lnTo>
                    <a:pt x="2000621" y="1073669"/>
                  </a:lnTo>
                  <a:lnTo>
                    <a:pt x="2000621" y="1083142"/>
                  </a:lnTo>
                  <a:lnTo>
                    <a:pt x="2002594" y="1086151"/>
                  </a:lnTo>
                  <a:lnTo>
                    <a:pt x="1998696" y="1089260"/>
                  </a:lnTo>
                  <a:lnTo>
                    <a:pt x="1998696" y="1086151"/>
                  </a:lnTo>
                  <a:lnTo>
                    <a:pt x="1992775" y="1084622"/>
                  </a:lnTo>
                  <a:lnTo>
                    <a:pt x="1990802" y="1087681"/>
                  </a:lnTo>
                  <a:lnTo>
                    <a:pt x="1988828" y="1089260"/>
                  </a:lnTo>
                  <a:lnTo>
                    <a:pt x="1983006" y="1087681"/>
                  </a:lnTo>
                  <a:lnTo>
                    <a:pt x="1975111" y="1095329"/>
                  </a:lnTo>
                  <a:lnTo>
                    <a:pt x="1975111" y="1096859"/>
                  </a:lnTo>
                  <a:lnTo>
                    <a:pt x="1986904" y="1096859"/>
                  </a:lnTo>
                  <a:lnTo>
                    <a:pt x="1990802" y="1099918"/>
                  </a:lnTo>
                  <a:lnTo>
                    <a:pt x="1988828" y="1102977"/>
                  </a:lnTo>
                  <a:lnTo>
                    <a:pt x="1986904" y="1101447"/>
                  </a:lnTo>
                  <a:lnTo>
                    <a:pt x="1983006" y="1105986"/>
                  </a:lnTo>
                  <a:lnTo>
                    <a:pt x="1986904" y="1107516"/>
                  </a:lnTo>
                  <a:lnTo>
                    <a:pt x="1988828" y="1110575"/>
                  </a:lnTo>
                  <a:lnTo>
                    <a:pt x="1984929" y="1113634"/>
                  </a:lnTo>
                  <a:lnTo>
                    <a:pt x="1981033" y="1112105"/>
                  </a:lnTo>
                  <a:lnTo>
                    <a:pt x="1979058" y="1115164"/>
                  </a:lnTo>
                  <a:lnTo>
                    <a:pt x="1981033" y="1116693"/>
                  </a:lnTo>
                  <a:lnTo>
                    <a:pt x="1986904" y="1116693"/>
                  </a:lnTo>
                  <a:lnTo>
                    <a:pt x="1990802" y="1124292"/>
                  </a:lnTo>
                  <a:lnTo>
                    <a:pt x="1986904" y="1127351"/>
                  </a:lnTo>
                  <a:lnTo>
                    <a:pt x="1984929" y="1133469"/>
                  </a:lnTo>
                  <a:lnTo>
                    <a:pt x="1983006" y="1130410"/>
                  </a:lnTo>
                  <a:lnTo>
                    <a:pt x="1983006" y="1125821"/>
                  </a:lnTo>
                  <a:lnTo>
                    <a:pt x="1977085" y="1125821"/>
                  </a:lnTo>
                  <a:lnTo>
                    <a:pt x="1971213" y="1136479"/>
                  </a:lnTo>
                  <a:lnTo>
                    <a:pt x="1967316" y="1139587"/>
                  </a:lnTo>
                  <a:lnTo>
                    <a:pt x="1957448" y="1136479"/>
                  </a:lnTo>
                  <a:lnTo>
                    <a:pt x="1965292" y="1139587"/>
                  </a:lnTo>
                  <a:lnTo>
                    <a:pt x="1965292" y="1144126"/>
                  </a:lnTo>
                  <a:lnTo>
                    <a:pt x="1967266" y="1148715"/>
                  </a:lnTo>
                  <a:lnTo>
                    <a:pt x="1961345" y="1150245"/>
                  </a:lnTo>
                  <a:lnTo>
                    <a:pt x="1961345" y="1154833"/>
                  </a:lnTo>
                  <a:lnTo>
                    <a:pt x="1965292" y="1157843"/>
                  </a:lnTo>
                  <a:lnTo>
                    <a:pt x="1961345" y="1160902"/>
                  </a:lnTo>
                  <a:lnTo>
                    <a:pt x="1961345" y="1165491"/>
                  </a:lnTo>
                  <a:lnTo>
                    <a:pt x="1957448" y="1167020"/>
                  </a:lnTo>
                  <a:lnTo>
                    <a:pt x="1951575" y="1163961"/>
                  </a:lnTo>
                  <a:lnTo>
                    <a:pt x="1949602" y="1168550"/>
                  </a:lnTo>
                  <a:lnTo>
                    <a:pt x="1955473" y="1168550"/>
                  </a:lnTo>
                  <a:lnTo>
                    <a:pt x="1959371" y="1174619"/>
                  </a:lnTo>
                  <a:lnTo>
                    <a:pt x="1951575" y="1174619"/>
                  </a:lnTo>
                  <a:lnTo>
                    <a:pt x="1951575" y="1179207"/>
                  </a:lnTo>
                  <a:lnTo>
                    <a:pt x="1943682" y="1186806"/>
                  </a:lnTo>
                  <a:lnTo>
                    <a:pt x="1939784" y="1186806"/>
                  </a:lnTo>
                  <a:lnTo>
                    <a:pt x="1939784" y="1180737"/>
                  </a:lnTo>
                  <a:lnTo>
                    <a:pt x="1933863" y="1180737"/>
                  </a:lnTo>
                  <a:lnTo>
                    <a:pt x="1931938" y="1185326"/>
                  </a:lnTo>
                  <a:lnTo>
                    <a:pt x="1926067" y="1183796"/>
                  </a:lnTo>
                  <a:lnTo>
                    <a:pt x="1931938" y="1186806"/>
                  </a:lnTo>
                  <a:lnTo>
                    <a:pt x="1926067" y="1189914"/>
                  </a:lnTo>
                  <a:lnTo>
                    <a:pt x="1931938" y="1191444"/>
                  </a:lnTo>
                  <a:lnTo>
                    <a:pt x="1937860" y="1195983"/>
                  </a:lnTo>
                  <a:lnTo>
                    <a:pt x="1929965" y="1195983"/>
                  </a:lnTo>
                  <a:lnTo>
                    <a:pt x="1937860" y="1203631"/>
                  </a:lnTo>
                  <a:lnTo>
                    <a:pt x="1941757" y="1200572"/>
                  </a:lnTo>
                  <a:lnTo>
                    <a:pt x="1945655" y="1203631"/>
                  </a:lnTo>
                  <a:lnTo>
                    <a:pt x="1935787" y="1208170"/>
                  </a:lnTo>
                  <a:lnTo>
                    <a:pt x="1925919" y="1212759"/>
                  </a:lnTo>
                  <a:lnTo>
                    <a:pt x="1923945" y="1217348"/>
                  </a:lnTo>
                  <a:lnTo>
                    <a:pt x="1929817" y="1214289"/>
                  </a:lnTo>
                  <a:lnTo>
                    <a:pt x="1933715" y="1214289"/>
                  </a:lnTo>
                  <a:lnTo>
                    <a:pt x="1937712" y="1217348"/>
                  </a:lnTo>
                  <a:lnTo>
                    <a:pt x="1929817" y="1223416"/>
                  </a:lnTo>
                  <a:lnTo>
                    <a:pt x="1935737" y="1224946"/>
                  </a:lnTo>
                  <a:lnTo>
                    <a:pt x="1935737" y="1229584"/>
                  </a:lnTo>
                  <a:lnTo>
                    <a:pt x="1929817" y="1231064"/>
                  </a:lnTo>
                  <a:lnTo>
                    <a:pt x="1931790" y="1234123"/>
                  </a:lnTo>
                  <a:lnTo>
                    <a:pt x="1935737" y="1234123"/>
                  </a:lnTo>
                  <a:lnTo>
                    <a:pt x="1937712" y="1238712"/>
                  </a:lnTo>
                  <a:lnTo>
                    <a:pt x="1937712" y="1245965"/>
                  </a:lnTo>
                  <a:lnTo>
                    <a:pt x="1933715" y="1239896"/>
                  </a:lnTo>
                  <a:lnTo>
                    <a:pt x="1929817" y="1239896"/>
                  </a:lnTo>
                  <a:lnTo>
                    <a:pt x="1929817" y="1236837"/>
                  </a:lnTo>
                  <a:lnTo>
                    <a:pt x="1923945" y="1232248"/>
                  </a:lnTo>
                  <a:lnTo>
                    <a:pt x="1919998" y="1235308"/>
                  </a:lnTo>
                  <a:lnTo>
                    <a:pt x="1918025" y="1235308"/>
                  </a:lnTo>
                  <a:lnTo>
                    <a:pt x="1916100" y="1241426"/>
                  </a:lnTo>
                  <a:lnTo>
                    <a:pt x="1921971" y="1244435"/>
                  </a:lnTo>
                  <a:lnTo>
                    <a:pt x="1921971" y="1249024"/>
                  </a:lnTo>
                  <a:lnTo>
                    <a:pt x="1919998" y="1245965"/>
                  </a:lnTo>
                  <a:lnTo>
                    <a:pt x="1916297" y="1245965"/>
                  </a:lnTo>
                  <a:lnTo>
                    <a:pt x="1914324" y="1242955"/>
                  </a:lnTo>
                  <a:lnTo>
                    <a:pt x="1908452" y="1244435"/>
                  </a:lnTo>
                  <a:lnTo>
                    <a:pt x="1912399" y="1247494"/>
                  </a:lnTo>
                  <a:lnTo>
                    <a:pt x="1914324" y="1253613"/>
                  </a:lnTo>
                  <a:lnTo>
                    <a:pt x="1918221" y="1253613"/>
                  </a:lnTo>
                  <a:lnTo>
                    <a:pt x="1920196" y="1255142"/>
                  </a:lnTo>
                  <a:lnTo>
                    <a:pt x="1916297" y="1259682"/>
                  </a:lnTo>
                  <a:lnTo>
                    <a:pt x="1908452" y="1255142"/>
                  </a:lnTo>
                  <a:lnTo>
                    <a:pt x="1908452" y="1259682"/>
                  </a:lnTo>
                  <a:lnTo>
                    <a:pt x="1910426" y="1261211"/>
                  </a:lnTo>
                  <a:lnTo>
                    <a:pt x="1916297" y="1262741"/>
                  </a:lnTo>
                  <a:lnTo>
                    <a:pt x="1912399" y="1270388"/>
                  </a:lnTo>
                  <a:lnTo>
                    <a:pt x="1904506" y="1264319"/>
                  </a:lnTo>
                  <a:lnTo>
                    <a:pt x="1900608" y="1267329"/>
                  </a:lnTo>
                  <a:lnTo>
                    <a:pt x="1896709" y="1265849"/>
                  </a:lnTo>
                  <a:lnTo>
                    <a:pt x="1890789" y="1271918"/>
                  </a:lnTo>
                  <a:lnTo>
                    <a:pt x="1879045" y="1271918"/>
                  </a:lnTo>
                  <a:lnTo>
                    <a:pt x="1886891" y="1279566"/>
                  </a:lnTo>
                  <a:lnTo>
                    <a:pt x="1892762" y="1276507"/>
                  </a:lnTo>
                  <a:lnTo>
                    <a:pt x="1900608" y="1276507"/>
                  </a:lnTo>
                  <a:lnTo>
                    <a:pt x="1898633" y="1282575"/>
                  </a:lnTo>
                  <a:lnTo>
                    <a:pt x="1892762" y="1284105"/>
                  </a:lnTo>
                  <a:lnTo>
                    <a:pt x="1890789" y="1290223"/>
                  </a:lnTo>
                  <a:lnTo>
                    <a:pt x="1886891" y="1285634"/>
                  </a:lnTo>
                  <a:lnTo>
                    <a:pt x="1882943" y="1291753"/>
                  </a:lnTo>
                  <a:lnTo>
                    <a:pt x="1881020" y="1291753"/>
                  </a:lnTo>
                  <a:lnTo>
                    <a:pt x="1881020" y="1290371"/>
                  </a:lnTo>
                  <a:lnTo>
                    <a:pt x="1877072" y="1290371"/>
                  </a:lnTo>
                  <a:lnTo>
                    <a:pt x="1877072" y="1294960"/>
                  </a:lnTo>
                  <a:lnTo>
                    <a:pt x="1873125" y="1294960"/>
                  </a:lnTo>
                  <a:lnTo>
                    <a:pt x="1871201" y="1301029"/>
                  </a:lnTo>
                  <a:lnTo>
                    <a:pt x="1865328" y="1301029"/>
                  </a:lnTo>
                  <a:lnTo>
                    <a:pt x="1863355" y="1299499"/>
                  </a:lnTo>
                  <a:lnTo>
                    <a:pt x="1853487" y="1299499"/>
                  </a:lnTo>
                  <a:lnTo>
                    <a:pt x="1851562" y="1302558"/>
                  </a:lnTo>
                  <a:lnTo>
                    <a:pt x="1847616" y="1302558"/>
                  </a:lnTo>
                  <a:lnTo>
                    <a:pt x="1851562" y="1310206"/>
                  </a:lnTo>
                  <a:lnTo>
                    <a:pt x="1849589" y="1316324"/>
                  </a:lnTo>
                  <a:lnTo>
                    <a:pt x="1845642" y="1319334"/>
                  </a:lnTo>
                  <a:lnTo>
                    <a:pt x="1849589" y="1323923"/>
                  </a:lnTo>
                  <a:lnTo>
                    <a:pt x="1843669" y="1325452"/>
                  </a:lnTo>
                  <a:lnTo>
                    <a:pt x="1839771" y="1323923"/>
                  </a:lnTo>
                  <a:lnTo>
                    <a:pt x="1837797" y="1326982"/>
                  </a:lnTo>
                  <a:lnTo>
                    <a:pt x="1835872" y="1323923"/>
                  </a:lnTo>
                  <a:lnTo>
                    <a:pt x="1833899" y="1326982"/>
                  </a:lnTo>
                  <a:lnTo>
                    <a:pt x="1829952" y="1330041"/>
                  </a:lnTo>
                  <a:lnTo>
                    <a:pt x="1820084" y="1330041"/>
                  </a:lnTo>
                  <a:lnTo>
                    <a:pt x="1818061" y="1334580"/>
                  </a:lnTo>
                  <a:lnTo>
                    <a:pt x="1812189" y="1334580"/>
                  </a:lnTo>
                  <a:lnTo>
                    <a:pt x="1812189" y="1333051"/>
                  </a:lnTo>
                  <a:lnTo>
                    <a:pt x="1808292" y="1333051"/>
                  </a:lnTo>
                  <a:lnTo>
                    <a:pt x="1808292" y="1339169"/>
                  </a:lnTo>
                  <a:lnTo>
                    <a:pt x="1804344" y="1340698"/>
                  </a:lnTo>
                  <a:lnTo>
                    <a:pt x="1798473" y="1336110"/>
                  </a:lnTo>
                  <a:lnTo>
                    <a:pt x="1796499" y="1333051"/>
                  </a:lnTo>
                  <a:lnTo>
                    <a:pt x="1794575" y="1336110"/>
                  </a:lnTo>
                  <a:lnTo>
                    <a:pt x="1788653" y="1336110"/>
                  </a:lnTo>
                  <a:lnTo>
                    <a:pt x="1786680" y="1340698"/>
                  </a:lnTo>
                  <a:lnTo>
                    <a:pt x="1782782" y="1342228"/>
                  </a:lnTo>
                  <a:lnTo>
                    <a:pt x="1776911" y="1339169"/>
                  </a:lnTo>
                  <a:lnTo>
                    <a:pt x="1772963" y="1340698"/>
                  </a:lnTo>
                  <a:lnTo>
                    <a:pt x="1767092" y="1343758"/>
                  </a:lnTo>
                  <a:lnTo>
                    <a:pt x="1767092" y="1348297"/>
                  </a:lnTo>
                  <a:lnTo>
                    <a:pt x="1753474" y="1354514"/>
                  </a:lnTo>
                  <a:lnTo>
                    <a:pt x="1751501" y="1351405"/>
                  </a:lnTo>
                  <a:lnTo>
                    <a:pt x="1755447" y="1349876"/>
                  </a:lnTo>
                  <a:lnTo>
                    <a:pt x="1761320" y="1345336"/>
                  </a:lnTo>
                  <a:lnTo>
                    <a:pt x="1755447" y="1346866"/>
                  </a:lnTo>
                  <a:lnTo>
                    <a:pt x="1747603" y="1340748"/>
                  </a:lnTo>
                  <a:lnTo>
                    <a:pt x="1747603" y="1337689"/>
                  </a:lnTo>
                  <a:lnTo>
                    <a:pt x="1737735" y="1333100"/>
                  </a:lnTo>
                  <a:lnTo>
                    <a:pt x="1735761" y="1330090"/>
                  </a:lnTo>
                  <a:lnTo>
                    <a:pt x="1737735" y="1334629"/>
                  </a:lnTo>
                  <a:lnTo>
                    <a:pt x="1735761" y="1337689"/>
                  </a:lnTo>
                  <a:lnTo>
                    <a:pt x="1737735" y="1343807"/>
                  </a:lnTo>
                  <a:lnTo>
                    <a:pt x="1739708" y="1349876"/>
                  </a:lnTo>
                  <a:lnTo>
                    <a:pt x="1733837" y="1352984"/>
                  </a:lnTo>
                  <a:lnTo>
                    <a:pt x="1729889" y="1359053"/>
                  </a:lnTo>
                  <a:lnTo>
                    <a:pt x="1727916" y="1360582"/>
                  </a:lnTo>
                  <a:lnTo>
                    <a:pt x="1722044" y="1359053"/>
                  </a:lnTo>
                  <a:lnTo>
                    <a:pt x="1720120" y="1355994"/>
                  </a:lnTo>
                  <a:lnTo>
                    <a:pt x="1720120" y="1359053"/>
                  </a:lnTo>
                  <a:lnTo>
                    <a:pt x="1716173" y="1365171"/>
                  </a:lnTo>
                  <a:lnTo>
                    <a:pt x="1708328" y="1369711"/>
                  </a:lnTo>
                  <a:lnTo>
                    <a:pt x="1702456" y="1374299"/>
                  </a:lnTo>
                  <a:lnTo>
                    <a:pt x="1698510" y="1374299"/>
                  </a:lnTo>
                  <a:lnTo>
                    <a:pt x="1690664" y="1372770"/>
                  </a:lnTo>
                  <a:lnTo>
                    <a:pt x="1682819" y="1374299"/>
                  </a:lnTo>
                  <a:lnTo>
                    <a:pt x="1676947" y="1374299"/>
                  </a:lnTo>
                  <a:lnTo>
                    <a:pt x="1678921" y="1377358"/>
                  </a:lnTo>
                  <a:lnTo>
                    <a:pt x="1673000" y="1381947"/>
                  </a:lnTo>
                  <a:lnTo>
                    <a:pt x="1665156" y="1383476"/>
                  </a:lnTo>
                  <a:lnTo>
                    <a:pt x="1661257" y="1381947"/>
                  </a:lnTo>
                  <a:lnTo>
                    <a:pt x="1657310" y="1388016"/>
                  </a:lnTo>
                  <a:lnTo>
                    <a:pt x="1649464" y="1388016"/>
                  </a:lnTo>
                  <a:lnTo>
                    <a:pt x="1645566" y="1391124"/>
                  </a:lnTo>
                  <a:lnTo>
                    <a:pt x="1643593" y="1391124"/>
                  </a:lnTo>
                  <a:lnTo>
                    <a:pt x="1645566" y="1389545"/>
                  </a:lnTo>
                  <a:lnTo>
                    <a:pt x="1641620" y="1389545"/>
                  </a:lnTo>
                  <a:lnTo>
                    <a:pt x="1641620" y="1388016"/>
                  </a:lnTo>
                  <a:lnTo>
                    <a:pt x="1643593" y="1386486"/>
                  </a:lnTo>
                  <a:lnTo>
                    <a:pt x="1641620" y="1386486"/>
                  </a:lnTo>
                  <a:lnTo>
                    <a:pt x="1639646" y="1383476"/>
                  </a:lnTo>
                  <a:lnTo>
                    <a:pt x="1639646" y="1381947"/>
                  </a:lnTo>
                  <a:lnTo>
                    <a:pt x="1637722" y="1383476"/>
                  </a:lnTo>
                  <a:lnTo>
                    <a:pt x="1635748" y="1383476"/>
                  </a:lnTo>
                  <a:lnTo>
                    <a:pt x="1635748" y="1392604"/>
                  </a:lnTo>
                  <a:lnTo>
                    <a:pt x="1629876" y="1395664"/>
                  </a:lnTo>
                  <a:lnTo>
                    <a:pt x="1627903" y="1398723"/>
                  </a:lnTo>
                  <a:lnTo>
                    <a:pt x="1631851" y="1403311"/>
                  </a:lnTo>
                  <a:lnTo>
                    <a:pt x="1635748" y="1403311"/>
                  </a:lnTo>
                  <a:lnTo>
                    <a:pt x="1639646" y="1409380"/>
                  </a:lnTo>
                  <a:lnTo>
                    <a:pt x="1639646" y="1412439"/>
                  </a:lnTo>
                  <a:lnTo>
                    <a:pt x="1641620" y="1412439"/>
                  </a:lnTo>
                  <a:lnTo>
                    <a:pt x="1643593" y="1415498"/>
                  </a:lnTo>
                  <a:lnTo>
                    <a:pt x="1637722" y="1421567"/>
                  </a:lnTo>
                  <a:lnTo>
                    <a:pt x="1633824" y="1421567"/>
                  </a:lnTo>
                  <a:lnTo>
                    <a:pt x="1633824" y="1420087"/>
                  </a:lnTo>
                  <a:lnTo>
                    <a:pt x="1625929" y="1418557"/>
                  </a:lnTo>
                  <a:lnTo>
                    <a:pt x="1623956" y="1423097"/>
                  </a:lnTo>
                  <a:lnTo>
                    <a:pt x="1622032" y="1424626"/>
                  </a:lnTo>
                  <a:lnTo>
                    <a:pt x="1618134" y="1418557"/>
                  </a:lnTo>
                  <a:lnTo>
                    <a:pt x="1622032" y="1415498"/>
                  </a:lnTo>
                  <a:lnTo>
                    <a:pt x="1614187" y="1412439"/>
                  </a:lnTo>
                  <a:lnTo>
                    <a:pt x="1606341" y="1401732"/>
                  </a:lnTo>
                  <a:lnTo>
                    <a:pt x="1606341" y="1398920"/>
                  </a:lnTo>
                  <a:lnTo>
                    <a:pt x="1610239" y="1392802"/>
                  </a:lnTo>
                  <a:lnTo>
                    <a:pt x="1612213" y="1388213"/>
                  </a:lnTo>
                  <a:lnTo>
                    <a:pt x="1616160" y="1388213"/>
                  </a:lnTo>
                  <a:lnTo>
                    <a:pt x="1616160" y="1383674"/>
                  </a:lnTo>
                  <a:lnTo>
                    <a:pt x="1612213" y="1382144"/>
                  </a:lnTo>
                  <a:lnTo>
                    <a:pt x="1608315" y="1383674"/>
                  </a:lnTo>
                  <a:lnTo>
                    <a:pt x="1602443" y="1380615"/>
                  </a:lnTo>
                  <a:lnTo>
                    <a:pt x="1600470" y="1386684"/>
                  </a:lnTo>
                  <a:lnTo>
                    <a:pt x="1592624" y="1386684"/>
                  </a:lnTo>
                  <a:lnTo>
                    <a:pt x="1580832" y="1380615"/>
                  </a:lnTo>
                  <a:lnTo>
                    <a:pt x="1578859" y="1380615"/>
                  </a:lnTo>
                  <a:lnTo>
                    <a:pt x="1571014" y="1376026"/>
                  </a:lnTo>
                  <a:lnTo>
                    <a:pt x="1569041" y="1369908"/>
                  </a:lnTo>
                  <a:lnTo>
                    <a:pt x="1567116" y="1376026"/>
                  </a:lnTo>
                  <a:lnTo>
                    <a:pt x="1567116" y="1379085"/>
                  </a:lnTo>
                  <a:lnTo>
                    <a:pt x="1561244" y="1380615"/>
                  </a:lnTo>
                  <a:lnTo>
                    <a:pt x="1557297" y="1379085"/>
                  </a:lnTo>
                  <a:lnTo>
                    <a:pt x="1555324" y="1380615"/>
                  </a:lnTo>
                  <a:lnTo>
                    <a:pt x="1553350" y="1380615"/>
                  </a:lnTo>
                  <a:lnTo>
                    <a:pt x="1545555" y="1377556"/>
                  </a:lnTo>
                  <a:lnTo>
                    <a:pt x="1541607" y="1379085"/>
                  </a:lnTo>
                  <a:lnTo>
                    <a:pt x="1537709" y="1376026"/>
                  </a:lnTo>
                  <a:lnTo>
                    <a:pt x="1531838" y="1379085"/>
                  </a:lnTo>
                  <a:lnTo>
                    <a:pt x="1523943" y="1376026"/>
                  </a:lnTo>
                  <a:lnTo>
                    <a:pt x="1516147" y="1372967"/>
                  </a:lnTo>
                  <a:lnTo>
                    <a:pt x="1514174" y="1368428"/>
                  </a:lnTo>
                  <a:lnTo>
                    <a:pt x="1500457" y="1363839"/>
                  </a:lnTo>
                  <a:lnTo>
                    <a:pt x="1498484" y="1356191"/>
                  </a:lnTo>
                  <a:lnTo>
                    <a:pt x="1494536" y="1356191"/>
                  </a:lnTo>
                  <a:lnTo>
                    <a:pt x="1498484" y="1345534"/>
                  </a:lnTo>
                  <a:lnTo>
                    <a:pt x="1502382" y="1344004"/>
                  </a:lnTo>
                  <a:lnTo>
                    <a:pt x="1504355" y="1337886"/>
                  </a:lnTo>
                  <a:lnTo>
                    <a:pt x="1498484" y="1334827"/>
                  </a:lnTo>
                  <a:lnTo>
                    <a:pt x="1488616" y="1337886"/>
                  </a:lnTo>
                  <a:lnTo>
                    <a:pt x="1486691" y="1334827"/>
                  </a:lnTo>
                  <a:lnTo>
                    <a:pt x="1469028" y="1334827"/>
                  </a:lnTo>
                  <a:lnTo>
                    <a:pt x="1465080" y="1330288"/>
                  </a:lnTo>
                  <a:lnTo>
                    <a:pt x="1459209" y="1328758"/>
                  </a:lnTo>
                  <a:lnTo>
                    <a:pt x="1459209" y="1324169"/>
                  </a:lnTo>
                  <a:lnTo>
                    <a:pt x="1451363" y="1319581"/>
                  </a:lnTo>
                  <a:lnTo>
                    <a:pt x="1443518" y="1324169"/>
                  </a:lnTo>
                  <a:lnTo>
                    <a:pt x="1435674" y="1324169"/>
                  </a:lnTo>
                  <a:lnTo>
                    <a:pt x="1427828" y="1327228"/>
                  </a:lnTo>
                  <a:lnTo>
                    <a:pt x="1429801" y="1337886"/>
                  </a:lnTo>
                  <a:lnTo>
                    <a:pt x="1418009" y="1340945"/>
                  </a:lnTo>
                  <a:lnTo>
                    <a:pt x="1408141" y="1337886"/>
                  </a:lnTo>
                  <a:lnTo>
                    <a:pt x="1400346" y="1339416"/>
                  </a:lnTo>
                  <a:lnTo>
                    <a:pt x="1400346" y="1344004"/>
                  </a:lnTo>
                  <a:lnTo>
                    <a:pt x="1392451" y="1347063"/>
                  </a:lnTo>
                  <a:lnTo>
                    <a:pt x="1390526" y="1342475"/>
                  </a:lnTo>
                  <a:lnTo>
                    <a:pt x="1386580" y="1342475"/>
                  </a:lnTo>
                  <a:lnTo>
                    <a:pt x="1382681" y="1347063"/>
                  </a:lnTo>
                  <a:lnTo>
                    <a:pt x="1374837" y="1340945"/>
                  </a:lnTo>
                  <a:lnTo>
                    <a:pt x="1368965" y="1344004"/>
                  </a:lnTo>
                  <a:lnTo>
                    <a:pt x="1366992" y="1350073"/>
                  </a:lnTo>
                  <a:lnTo>
                    <a:pt x="1363044" y="1350073"/>
                  </a:lnTo>
                  <a:lnTo>
                    <a:pt x="1359146" y="1348543"/>
                  </a:lnTo>
                  <a:lnTo>
                    <a:pt x="1361070" y="1344004"/>
                  </a:lnTo>
                  <a:lnTo>
                    <a:pt x="1355249" y="1342475"/>
                  </a:lnTo>
                  <a:lnTo>
                    <a:pt x="1349327" y="1345534"/>
                  </a:lnTo>
                  <a:lnTo>
                    <a:pt x="1343456" y="1348543"/>
                  </a:lnTo>
                  <a:lnTo>
                    <a:pt x="1341482" y="1351602"/>
                  </a:lnTo>
                  <a:lnTo>
                    <a:pt x="1339558" y="1351602"/>
                  </a:lnTo>
                  <a:lnTo>
                    <a:pt x="1335562" y="1353181"/>
                  </a:lnTo>
                  <a:lnTo>
                    <a:pt x="1337535" y="1359250"/>
                  </a:lnTo>
                  <a:lnTo>
                    <a:pt x="1335562" y="1353181"/>
                  </a:lnTo>
                  <a:lnTo>
                    <a:pt x="1323819" y="1353181"/>
                  </a:lnTo>
                  <a:lnTo>
                    <a:pt x="1323819" y="1359250"/>
                  </a:lnTo>
                  <a:lnTo>
                    <a:pt x="1317947" y="1362310"/>
                  </a:lnTo>
                  <a:lnTo>
                    <a:pt x="1319871" y="1371437"/>
                  </a:lnTo>
                  <a:lnTo>
                    <a:pt x="1321845" y="1377556"/>
                  </a:lnTo>
                  <a:lnTo>
                    <a:pt x="1321845" y="1386684"/>
                  </a:lnTo>
                  <a:lnTo>
                    <a:pt x="1323819" y="1394331"/>
                  </a:lnTo>
                  <a:lnTo>
                    <a:pt x="1317947" y="1392802"/>
                  </a:lnTo>
                  <a:lnTo>
                    <a:pt x="1308079" y="1394331"/>
                  </a:lnTo>
                  <a:lnTo>
                    <a:pt x="1304181" y="1389743"/>
                  </a:lnTo>
                  <a:lnTo>
                    <a:pt x="1300234" y="1386684"/>
                  </a:lnTo>
                  <a:lnTo>
                    <a:pt x="1294362" y="1392802"/>
                  </a:lnTo>
                  <a:lnTo>
                    <a:pt x="1302208" y="1383674"/>
                  </a:lnTo>
                  <a:lnTo>
                    <a:pt x="1304181" y="1377556"/>
                  </a:lnTo>
                  <a:lnTo>
                    <a:pt x="1296336" y="1376026"/>
                  </a:lnTo>
                  <a:lnTo>
                    <a:pt x="1282619" y="1382144"/>
                  </a:lnTo>
                  <a:lnTo>
                    <a:pt x="1272751" y="1382144"/>
                  </a:lnTo>
                  <a:lnTo>
                    <a:pt x="1266880" y="1386684"/>
                  </a:lnTo>
                  <a:lnTo>
                    <a:pt x="1258985" y="1382144"/>
                  </a:lnTo>
                  <a:lnTo>
                    <a:pt x="1257061" y="1376026"/>
                  </a:lnTo>
                  <a:lnTo>
                    <a:pt x="1258985" y="1368428"/>
                  </a:lnTo>
                  <a:lnTo>
                    <a:pt x="1255087" y="1363839"/>
                  </a:lnTo>
                  <a:lnTo>
                    <a:pt x="1249216" y="1368428"/>
                  </a:lnTo>
                  <a:lnTo>
                    <a:pt x="1247242" y="1365369"/>
                  </a:lnTo>
                  <a:lnTo>
                    <a:pt x="1235401" y="1365369"/>
                  </a:lnTo>
                  <a:lnTo>
                    <a:pt x="1229480" y="1366898"/>
                  </a:lnTo>
                  <a:lnTo>
                    <a:pt x="1229480" y="1362310"/>
                  </a:lnTo>
                  <a:lnTo>
                    <a:pt x="1235401" y="1356191"/>
                  </a:lnTo>
                  <a:lnTo>
                    <a:pt x="1245269" y="1347063"/>
                  </a:lnTo>
                  <a:lnTo>
                    <a:pt x="1245269" y="1342475"/>
                  </a:lnTo>
                  <a:lnTo>
                    <a:pt x="1247242" y="1337886"/>
                  </a:lnTo>
                  <a:lnTo>
                    <a:pt x="1247242" y="1333297"/>
                  </a:lnTo>
                  <a:lnTo>
                    <a:pt x="1239398" y="1327228"/>
                  </a:lnTo>
                  <a:lnTo>
                    <a:pt x="1229529" y="1328758"/>
                  </a:lnTo>
                  <a:lnTo>
                    <a:pt x="1227605" y="1330288"/>
                  </a:lnTo>
                  <a:lnTo>
                    <a:pt x="1225631" y="1327228"/>
                  </a:lnTo>
                  <a:lnTo>
                    <a:pt x="1227605" y="1324169"/>
                  </a:lnTo>
                  <a:lnTo>
                    <a:pt x="1217737" y="1322640"/>
                  </a:lnTo>
                  <a:lnTo>
                    <a:pt x="1213790" y="1318100"/>
                  </a:lnTo>
                  <a:lnTo>
                    <a:pt x="1215763" y="1313462"/>
                  </a:lnTo>
                  <a:lnTo>
                    <a:pt x="1213790" y="1307394"/>
                  </a:lnTo>
                  <a:lnTo>
                    <a:pt x="1203921" y="1310453"/>
                  </a:lnTo>
                  <a:lnTo>
                    <a:pt x="1200023" y="1307394"/>
                  </a:lnTo>
                  <a:lnTo>
                    <a:pt x="1201997" y="1301276"/>
                  </a:lnTo>
                  <a:lnTo>
                    <a:pt x="1200023" y="1296687"/>
                  </a:lnTo>
                  <a:lnTo>
                    <a:pt x="1184334" y="1299746"/>
                  </a:lnTo>
                  <a:lnTo>
                    <a:pt x="1176489" y="1304335"/>
                  </a:lnTo>
                  <a:lnTo>
                    <a:pt x="1172590" y="1298216"/>
                  </a:lnTo>
                  <a:lnTo>
                    <a:pt x="1172590" y="1290371"/>
                  </a:lnTo>
                  <a:lnTo>
                    <a:pt x="1168643" y="1287312"/>
                  </a:lnTo>
                  <a:lnTo>
                    <a:pt x="1164746" y="1282724"/>
                  </a:lnTo>
                  <a:lnTo>
                    <a:pt x="1160798" y="1281243"/>
                  </a:lnTo>
                  <a:lnTo>
                    <a:pt x="1160798" y="1275076"/>
                  </a:lnTo>
                  <a:lnTo>
                    <a:pt x="1162772" y="1270536"/>
                  </a:lnTo>
                  <a:lnTo>
                    <a:pt x="1160798" y="1265997"/>
                  </a:lnTo>
                  <a:lnTo>
                    <a:pt x="1162772" y="1261359"/>
                  </a:lnTo>
                  <a:lnTo>
                    <a:pt x="1166719" y="1256820"/>
                  </a:lnTo>
                  <a:lnTo>
                    <a:pt x="1172590" y="1258349"/>
                  </a:lnTo>
                  <a:lnTo>
                    <a:pt x="1176489" y="1255290"/>
                  </a:lnTo>
                  <a:lnTo>
                    <a:pt x="1170617" y="1247643"/>
                  </a:lnTo>
                  <a:lnTo>
                    <a:pt x="1172590" y="1244583"/>
                  </a:lnTo>
                  <a:lnTo>
                    <a:pt x="1178462" y="1243103"/>
                  </a:lnTo>
                  <a:lnTo>
                    <a:pt x="1178462" y="1238514"/>
                  </a:lnTo>
                  <a:lnTo>
                    <a:pt x="1186307" y="1235455"/>
                  </a:lnTo>
                  <a:lnTo>
                    <a:pt x="1186307" y="1224749"/>
                  </a:lnTo>
                  <a:lnTo>
                    <a:pt x="1188231" y="1212561"/>
                  </a:lnTo>
                  <a:lnTo>
                    <a:pt x="1188231" y="1203434"/>
                  </a:lnTo>
                  <a:lnTo>
                    <a:pt x="1182409" y="1191246"/>
                  </a:lnTo>
                  <a:lnTo>
                    <a:pt x="1182409" y="1183599"/>
                  </a:lnTo>
                  <a:lnTo>
                    <a:pt x="1176489" y="1177530"/>
                  </a:lnTo>
                  <a:lnTo>
                    <a:pt x="1168643" y="1177530"/>
                  </a:lnTo>
                  <a:lnTo>
                    <a:pt x="1166719" y="1166823"/>
                  </a:lnTo>
                  <a:lnTo>
                    <a:pt x="1160798" y="1162235"/>
                  </a:lnTo>
                  <a:lnTo>
                    <a:pt x="1154926" y="1154636"/>
                  </a:lnTo>
                  <a:lnTo>
                    <a:pt x="1147081" y="1154636"/>
                  </a:lnTo>
                  <a:lnTo>
                    <a:pt x="1143134" y="1157646"/>
                  </a:lnTo>
                  <a:lnTo>
                    <a:pt x="1133266" y="1154636"/>
                  </a:lnTo>
                  <a:lnTo>
                    <a:pt x="1127345" y="1156165"/>
                  </a:lnTo>
                  <a:lnTo>
                    <a:pt x="1121523" y="1151577"/>
                  </a:lnTo>
                  <a:lnTo>
                    <a:pt x="1115602" y="1150047"/>
                  </a:lnTo>
                  <a:lnTo>
                    <a:pt x="1111655" y="1151577"/>
                  </a:lnTo>
                  <a:lnTo>
                    <a:pt x="1101787" y="1150047"/>
                  </a:lnTo>
                  <a:lnTo>
                    <a:pt x="1099863" y="1143929"/>
                  </a:lnTo>
                  <a:lnTo>
                    <a:pt x="1107708" y="1137860"/>
                  </a:lnTo>
                  <a:lnTo>
                    <a:pt x="1107708" y="1134752"/>
                  </a:lnTo>
                  <a:lnTo>
                    <a:pt x="1099863" y="1128683"/>
                  </a:lnTo>
                  <a:lnTo>
                    <a:pt x="1099863" y="1124094"/>
                  </a:lnTo>
                  <a:lnTo>
                    <a:pt x="1093991" y="1125624"/>
                  </a:lnTo>
                  <a:lnTo>
                    <a:pt x="1090044" y="1125624"/>
                  </a:lnTo>
                  <a:lnTo>
                    <a:pt x="1088070" y="1121035"/>
                  </a:lnTo>
                  <a:lnTo>
                    <a:pt x="1092017" y="1111907"/>
                  </a:lnTo>
                  <a:lnTo>
                    <a:pt x="1092017" y="1108848"/>
                  </a:lnTo>
                  <a:lnTo>
                    <a:pt x="1086146" y="1110378"/>
                  </a:lnTo>
                  <a:lnTo>
                    <a:pt x="1082199" y="1105789"/>
                  </a:lnTo>
                  <a:lnTo>
                    <a:pt x="1078301" y="1104309"/>
                  </a:lnTo>
                  <a:lnTo>
                    <a:pt x="1060637" y="1111907"/>
                  </a:lnTo>
                  <a:lnTo>
                    <a:pt x="1062611" y="1118025"/>
                  </a:lnTo>
                  <a:lnTo>
                    <a:pt x="1058664" y="1122565"/>
                  </a:lnTo>
                  <a:lnTo>
                    <a:pt x="1044947" y="1116496"/>
                  </a:lnTo>
                  <a:lnTo>
                    <a:pt x="1035079" y="1121035"/>
                  </a:lnTo>
                  <a:lnTo>
                    <a:pt x="1029158" y="1111907"/>
                  </a:lnTo>
                  <a:lnTo>
                    <a:pt x="1021313" y="1116496"/>
                  </a:lnTo>
                  <a:lnTo>
                    <a:pt x="1015442" y="1116496"/>
                  </a:lnTo>
                  <a:lnTo>
                    <a:pt x="1015442" y="1124094"/>
                  </a:lnTo>
                  <a:lnTo>
                    <a:pt x="1009570" y="1133271"/>
                  </a:lnTo>
                  <a:lnTo>
                    <a:pt x="993880" y="1134752"/>
                  </a:lnTo>
                  <a:lnTo>
                    <a:pt x="985985" y="1136281"/>
                  </a:lnTo>
                  <a:lnTo>
                    <a:pt x="982087" y="1142400"/>
                  </a:lnTo>
                  <a:lnTo>
                    <a:pt x="978189" y="1150047"/>
                  </a:lnTo>
                  <a:lnTo>
                    <a:pt x="972269" y="1151577"/>
                  </a:lnTo>
                  <a:lnTo>
                    <a:pt x="972269" y="1156165"/>
                  </a:lnTo>
                  <a:lnTo>
                    <a:pt x="964473" y="1154636"/>
                  </a:lnTo>
                  <a:lnTo>
                    <a:pt x="958552" y="1157646"/>
                  </a:lnTo>
                  <a:lnTo>
                    <a:pt x="956578" y="1163764"/>
                  </a:lnTo>
                  <a:lnTo>
                    <a:pt x="950707" y="1165294"/>
                  </a:lnTo>
                  <a:lnTo>
                    <a:pt x="939359" y="1167020"/>
                  </a:lnTo>
                  <a:lnTo>
                    <a:pt x="931514" y="1167020"/>
                  </a:lnTo>
                  <a:lnTo>
                    <a:pt x="929540" y="1168550"/>
                  </a:lnTo>
                  <a:lnTo>
                    <a:pt x="925592" y="1160902"/>
                  </a:lnTo>
                  <a:lnTo>
                    <a:pt x="915724" y="1160902"/>
                  </a:lnTo>
                  <a:lnTo>
                    <a:pt x="907879" y="1163961"/>
                  </a:lnTo>
                  <a:lnTo>
                    <a:pt x="898011" y="1162432"/>
                  </a:lnTo>
                  <a:lnTo>
                    <a:pt x="882321" y="1160902"/>
                  </a:lnTo>
                  <a:lnTo>
                    <a:pt x="878423" y="1154833"/>
                  </a:lnTo>
                  <a:lnTo>
                    <a:pt x="868555" y="1156363"/>
                  </a:lnTo>
                  <a:lnTo>
                    <a:pt x="848819" y="1165491"/>
                  </a:lnTo>
                  <a:lnTo>
                    <a:pt x="840974" y="1179207"/>
                  </a:lnTo>
                  <a:lnTo>
                    <a:pt x="835102" y="1182267"/>
                  </a:lnTo>
                  <a:lnTo>
                    <a:pt x="835102" y="1182267"/>
                  </a:lnTo>
                  <a:lnTo>
                    <a:pt x="825234" y="1177727"/>
                  </a:lnTo>
                  <a:lnTo>
                    <a:pt x="825234" y="1170079"/>
                  </a:lnTo>
                  <a:lnTo>
                    <a:pt x="821336" y="1163961"/>
                  </a:lnTo>
                  <a:lnTo>
                    <a:pt x="813491" y="1163961"/>
                  </a:lnTo>
                  <a:lnTo>
                    <a:pt x="807620" y="1168550"/>
                  </a:lnTo>
                  <a:lnTo>
                    <a:pt x="801748" y="1168550"/>
                  </a:lnTo>
                  <a:lnTo>
                    <a:pt x="789956" y="1170079"/>
                  </a:lnTo>
                  <a:lnTo>
                    <a:pt x="786403" y="1170079"/>
                  </a:lnTo>
                  <a:lnTo>
                    <a:pt x="778509" y="1174619"/>
                  </a:lnTo>
                  <a:lnTo>
                    <a:pt x="772637" y="1171560"/>
                  </a:lnTo>
                  <a:lnTo>
                    <a:pt x="762769" y="1163961"/>
                  </a:lnTo>
                  <a:lnTo>
                    <a:pt x="752901" y="1159373"/>
                  </a:lnTo>
                  <a:lnTo>
                    <a:pt x="750977" y="1153304"/>
                  </a:lnTo>
                  <a:lnTo>
                    <a:pt x="743132" y="1150245"/>
                  </a:lnTo>
                  <a:lnTo>
                    <a:pt x="727442" y="1148715"/>
                  </a:lnTo>
                  <a:lnTo>
                    <a:pt x="721570" y="1154833"/>
                  </a:lnTo>
                  <a:lnTo>
                    <a:pt x="713725" y="1156363"/>
                  </a:lnTo>
                  <a:lnTo>
                    <a:pt x="709778" y="1159373"/>
                  </a:lnTo>
                  <a:lnTo>
                    <a:pt x="699910" y="1154833"/>
                  </a:lnTo>
                  <a:lnTo>
                    <a:pt x="693989" y="1156363"/>
                  </a:lnTo>
                  <a:lnTo>
                    <a:pt x="690091" y="1150245"/>
                  </a:lnTo>
                  <a:lnTo>
                    <a:pt x="692015" y="1136479"/>
                  </a:lnTo>
                  <a:lnTo>
                    <a:pt x="682147" y="1134949"/>
                  </a:lnTo>
                  <a:lnTo>
                    <a:pt x="672279" y="1138058"/>
                  </a:lnTo>
                  <a:lnTo>
                    <a:pt x="664434" y="1130410"/>
                  </a:lnTo>
                  <a:lnTo>
                    <a:pt x="663053" y="1122614"/>
                  </a:lnTo>
                  <a:lnTo>
                    <a:pt x="653185" y="1118075"/>
                  </a:lnTo>
                  <a:lnTo>
                    <a:pt x="647264" y="1118075"/>
                  </a:lnTo>
                  <a:lnTo>
                    <a:pt x="645340" y="1115016"/>
                  </a:lnTo>
                  <a:lnTo>
                    <a:pt x="641392" y="1118075"/>
                  </a:lnTo>
                  <a:lnTo>
                    <a:pt x="639468" y="1128732"/>
                  </a:lnTo>
                  <a:lnTo>
                    <a:pt x="635521" y="1130262"/>
                  </a:lnTo>
                  <a:lnTo>
                    <a:pt x="633448" y="1122614"/>
                  </a:lnTo>
                  <a:lnTo>
                    <a:pt x="625603" y="1115016"/>
                  </a:lnTo>
                  <a:lnTo>
                    <a:pt x="621656" y="1111957"/>
                  </a:lnTo>
                  <a:lnTo>
                    <a:pt x="615785" y="1108897"/>
                  </a:lnTo>
                  <a:lnTo>
                    <a:pt x="607939" y="1108897"/>
                  </a:lnTo>
                  <a:lnTo>
                    <a:pt x="598071" y="1099769"/>
                  </a:lnTo>
                  <a:lnTo>
                    <a:pt x="590177" y="1096710"/>
                  </a:lnTo>
                  <a:lnTo>
                    <a:pt x="582381" y="1096710"/>
                  </a:lnTo>
                  <a:lnTo>
                    <a:pt x="578434" y="1092122"/>
                  </a:lnTo>
                  <a:lnTo>
                    <a:pt x="566691" y="1087533"/>
                  </a:lnTo>
                  <a:lnTo>
                    <a:pt x="554898" y="1087533"/>
                  </a:lnTo>
                  <a:lnTo>
                    <a:pt x="551001" y="1095181"/>
                  </a:lnTo>
                  <a:lnTo>
                    <a:pt x="547053" y="1092122"/>
                  </a:lnTo>
                  <a:lnTo>
                    <a:pt x="541182" y="1092122"/>
                  </a:lnTo>
                  <a:lnTo>
                    <a:pt x="539258" y="1089112"/>
                  </a:lnTo>
                  <a:lnTo>
                    <a:pt x="529390" y="1084474"/>
                  </a:lnTo>
                  <a:lnTo>
                    <a:pt x="527465" y="1086004"/>
                  </a:lnTo>
                  <a:lnTo>
                    <a:pt x="527465" y="1087533"/>
                  </a:lnTo>
                  <a:lnTo>
                    <a:pt x="521594" y="1081464"/>
                  </a:lnTo>
                  <a:lnTo>
                    <a:pt x="515673" y="1081464"/>
                  </a:lnTo>
                  <a:lnTo>
                    <a:pt x="511775" y="1073816"/>
                  </a:lnTo>
                  <a:lnTo>
                    <a:pt x="507828" y="1072287"/>
                  </a:lnTo>
                  <a:lnTo>
                    <a:pt x="499982" y="1064689"/>
                  </a:lnTo>
                  <a:lnTo>
                    <a:pt x="492138" y="1064689"/>
                  </a:lnTo>
                  <a:lnTo>
                    <a:pt x="488239" y="1061629"/>
                  </a:lnTo>
                  <a:lnTo>
                    <a:pt x="480394" y="1060100"/>
                  </a:lnTo>
                  <a:lnTo>
                    <a:pt x="476448" y="1067748"/>
                  </a:lnTo>
                  <a:lnTo>
                    <a:pt x="468602" y="1063159"/>
                  </a:lnTo>
                  <a:lnTo>
                    <a:pt x="466678" y="1057041"/>
                  </a:lnTo>
                  <a:lnTo>
                    <a:pt x="462731" y="1055511"/>
                  </a:lnTo>
                  <a:lnTo>
                    <a:pt x="462731" y="1050972"/>
                  </a:lnTo>
                  <a:lnTo>
                    <a:pt x="458783" y="1046334"/>
                  </a:lnTo>
                  <a:lnTo>
                    <a:pt x="452962" y="1044854"/>
                  </a:lnTo>
                  <a:lnTo>
                    <a:pt x="454886" y="1038785"/>
                  </a:lnTo>
                  <a:lnTo>
                    <a:pt x="452962" y="1034147"/>
                  </a:lnTo>
                  <a:lnTo>
                    <a:pt x="452962" y="1021960"/>
                  </a:lnTo>
                  <a:lnTo>
                    <a:pt x="445067" y="1018901"/>
                  </a:lnTo>
                  <a:lnTo>
                    <a:pt x="443143" y="1011253"/>
                  </a:lnTo>
                  <a:lnTo>
                    <a:pt x="441169" y="1008243"/>
                  </a:lnTo>
                  <a:lnTo>
                    <a:pt x="441169" y="100824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Graphic 2">
              <a:extLst>
                <a:ext uri="{FF2B5EF4-FFF2-40B4-BE49-F238E27FC236}">
                  <a16:creationId xmlns:a16="http://schemas.microsoft.com/office/drawing/2014/main" id="{75B01670-64C2-4D49-9C5C-EC51566639F7}"/>
                </a:ext>
              </a:extLst>
            </p:cNvPr>
            <p:cNvSpPr/>
            <p:nvPr/>
          </p:nvSpPr>
          <p:spPr>
            <a:xfrm>
              <a:off x="8947588" y="4051542"/>
              <a:ext cx="81361" cy="60737"/>
            </a:xfrm>
            <a:custGeom>
              <a:avLst/>
              <a:gdLst>
                <a:gd name="connsiteX0" fmla="*/ 76692 w 89552"/>
                <a:gd name="connsiteY0" fmla="*/ 1651 h 66856"/>
                <a:gd name="connsiteX1" fmla="*/ 70278 w 89552"/>
                <a:gd name="connsiteY1" fmla="*/ -27 h 66856"/>
                <a:gd name="connsiteX2" fmla="*/ 63863 w 89552"/>
                <a:gd name="connsiteY2" fmla="*/ 3329 h 66856"/>
                <a:gd name="connsiteX3" fmla="*/ 59619 w 89552"/>
                <a:gd name="connsiteY3" fmla="*/ -27 h 66856"/>
                <a:gd name="connsiteX4" fmla="*/ 53255 w 89552"/>
                <a:gd name="connsiteY4" fmla="*/ 1651 h 66856"/>
                <a:gd name="connsiteX5" fmla="*/ 48962 w 89552"/>
                <a:gd name="connsiteY5" fmla="*/ -27 h 66856"/>
                <a:gd name="connsiteX6" fmla="*/ 44670 w 89552"/>
                <a:gd name="connsiteY6" fmla="*/ 3329 h 66856"/>
                <a:gd name="connsiteX7" fmla="*/ 36134 w 89552"/>
                <a:gd name="connsiteY7" fmla="*/ 3329 h 66856"/>
                <a:gd name="connsiteX8" fmla="*/ 29769 w 89552"/>
                <a:gd name="connsiteY8" fmla="*/ 6684 h 66856"/>
                <a:gd name="connsiteX9" fmla="*/ 23355 w 89552"/>
                <a:gd name="connsiteY9" fmla="*/ 8361 h 66856"/>
                <a:gd name="connsiteX10" fmla="*/ 21234 w 89552"/>
                <a:gd name="connsiteY10" fmla="*/ 13295 h 66856"/>
                <a:gd name="connsiteX11" fmla="*/ 10575 w 89552"/>
                <a:gd name="connsiteY11" fmla="*/ 20005 h 66856"/>
                <a:gd name="connsiteX12" fmla="*/ -82 w 89552"/>
                <a:gd name="connsiteY12" fmla="*/ 28393 h 66856"/>
                <a:gd name="connsiteX13" fmla="*/ 4161 w 89552"/>
                <a:gd name="connsiteY13" fmla="*/ 33327 h 66856"/>
                <a:gd name="connsiteX14" fmla="*/ 4161 w 89552"/>
                <a:gd name="connsiteY14" fmla="*/ 45070 h 66856"/>
                <a:gd name="connsiteX15" fmla="*/ 8454 w 89552"/>
                <a:gd name="connsiteY15" fmla="*/ 51780 h 66856"/>
                <a:gd name="connsiteX16" fmla="*/ 8454 w 89552"/>
                <a:gd name="connsiteY16" fmla="*/ 55185 h 66856"/>
                <a:gd name="connsiteX17" fmla="*/ 14819 w 89552"/>
                <a:gd name="connsiteY17" fmla="*/ 60119 h 66856"/>
                <a:gd name="connsiteX18" fmla="*/ 23355 w 89552"/>
                <a:gd name="connsiteY18" fmla="*/ 60119 h 66856"/>
                <a:gd name="connsiteX19" fmla="*/ 27647 w 89552"/>
                <a:gd name="connsiteY19" fmla="*/ 63474 h 66856"/>
                <a:gd name="connsiteX20" fmla="*/ 34012 w 89552"/>
                <a:gd name="connsiteY20" fmla="*/ 63474 h 66856"/>
                <a:gd name="connsiteX21" fmla="*/ 40426 w 89552"/>
                <a:gd name="connsiteY21" fmla="*/ 66830 h 66856"/>
                <a:gd name="connsiteX22" fmla="*/ 44670 w 89552"/>
                <a:gd name="connsiteY22" fmla="*/ 65152 h 66856"/>
                <a:gd name="connsiteX23" fmla="*/ 46791 w 89552"/>
                <a:gd name="connsiteY23" fmla="*/ 60218 h 66856"/>
                <a:gd name="connsiteX24" fmla="*/ 51083 w 89552"/>
                <a:gd name="connsiteY24" fmla="*/ 58540 h 66856"/>
                <a:gd name="connsiteX25" fmla="*/ 57498 w 89552"/>
                <a:gd name="connsiteY25" fmla="*/ 60218 h 66856"/>
                <a:gd name="connsiteX26" fmla="*/ 61742 w 89552"/>
                <a:gd name="connsiteY26" fmla="*/ 55284 h 66856"/>
                <a:gd name="connsiteX27" fmla="*/ 63863 w 89552"/>
                <a:gd name="connsiteY27" fmla="*/ 51879 h 66856"/>
                <a:gd name="connsiteX28" fmla="*/ 70278 w 89552"/>
                <a:gd name="connsiteY28" fmla="*/ 50202 h 66856"/>
                <a:gd name="connsiteX29" fmla="*/ 74520 w 89552"/>
                <a:gd name="connsiteY29" fmla="*/ 45268 h 66856"/>
                <a:gd name="connsiteX30" fmla="*/ 74520 w 89552"/>
                <a:gd name="connsiteY30" fmla="*/ 40334 h 66856"/>
                <a:gd name="connsiteX31" fmla="*/ 76692 w 89552"/>
                <a:gd name="connsiteY31" fmla="*/ 30466 h 66856"/>
                <a:gd name="connsiteX32" fmla="*/ 80935 w 89552"/>
                <a:gd name="connsiteY32" fmla="*/ 27110 h 66856"/>
                <a:gd name="connsiteX33" fmla="*/ 83105 w 89552"/>
                <a:gd name="connsiteY33" fmla="*/ 23755 h 66856"/>
                <a:gd name="connsiteX34" fmla="*/ 89470 w 89552"/>
                <a:gd name="connsiteY34" fmla="*/ 15368 h 66856"/>
                <a:gd name="connsiteX35" fmla="*/ 85228 w 89552"/>
                <a:gd name="connsiteY35" fmla="*/ 6930 h 6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9552" h="66856">
                  <a:moveTo>
                    <a:pt x="76692" y="1651"/>
                  </a:moveTo>
                  <a:lnTo>
                    <a:pt x="70278" y="-27"/>
                  </a:lnTo>
                  <a:lnTo>
                    <a:pt x="63863" y="3329"/>
                  </a:lnTo>
                  <a:lnTo>
                    <a:pt x="59619" y="-27"/>
                  </a:lnTo>
                  <a:lnTo>
                    <a:pt x="53255" y="1651"/>
                  </a:lnTo>
                  <a:lnTo>
                    <a:pt x="48962" y="-27"/>
                  </a:lnTo>
                  <a:lnTo>
                    <a:pt x="44670" y="3329"/>
                  </a:lnTo>
                  <a:lnTo>
                    <a:pt x="36134" y="3329"/>
                  </a:lnTo>
                  <a:lnTo>
                    <a:pt x="29769" y="6684"/>
                  </a:lnTo>
                  <a:lnTo>
                    <a:pt x="23355" y="8361"/>
                  </a:lnTo>
                  <a:lnTo>
                    <a:pt x="21234" y="13295"/>
                  </a:lnTo>
                  <a:lnTo>
                    <a:pt x="10575" y="20005"/>
                  </a:lnTo>
                  <a:lnTo>
                    <a:pt x="-82" y="28393"/>
                  </a:lnTo>
                  <a:lnTo>
                    <a:pt x="4161" y="33327"/>
                  </a:lnTo>
                  <a:lnTo>
                    <a:pt x="4161" y="45070"/>
                  </a:lnTo>
                  <a:lnTo>
                    <a:pt x="8454" y="51780"/>
                  </a:lnTo>
                  <a:lnTo>
                    <a:pt x="8454" y="55185"/>
                  </a:lnTo>
                  <a:lnTo>
                    <a:pt x="14819" y="60119"/>
                  </a:lnTo>
                  <a:lnTo>
                    <a:pt x="23355" y="60119"/>
                  </a:lnTo>
                  <a:lnTo>
                    <a:pt x="27647" y="63474"/>
                  </a:lnTo>
                  <a:lnTo>
                    <a:pt x="34012" y="63474"/>
                  </a:lnTo>
                  <a:lnTo>
                    <a:pt x="40426" y="66830"/>
                  </a:lnTo>
                  <a:lnTo>
                    <a:pt x="44670" y="65152"/>
                  </a:lnTo>
                  <a:lnTo>
                    <a:pt x="46791" y="60218"/>
                  </a:lnTo>
                  <a:lnTo>
                    <a:pt x="51083" y="58540"/>
                  </a:lnTo>
                  <a:lnTo>
                    <a:pt x="57498" y="60218"/>
                  </a:lnTo>
                  <a:lnTo>
                    <a:pt x="61742" y="55284"/>
                  </a:lnTo>
                  <a:lnTo>
                    <a:pt x="63863" y="51879"/>
                  </a:lnTo>
                  <a:lnTo>
                    <a:pt x="70278" y="50202"/>
                  </a:lnTo>
                  <a:lnTo>
                    <a:pt x="74520" y="45268"/>
                  </a:lnTo>
                  <a:lnTo>
                    <a:pt x="74520" y="40334"/>
                  </a:lnTo>
                  <a:lnTo>
                    <a:pt x="76692" y="30466"/>
                  </a:lnTo>
                  <a:lnTo>
                    <a:pt x="80935" y="27110"/>
                  </a:lnTo>
                  <a:lnTo>
                    <a:pt x="83105" y="23755"/>
                  </a:lnTo>
                  <a:lnTo>
                    <a:pt x="89470" y="15368"/>
                  </a:lnTo>
                  <a:lnTo>
                    <a:pt x="85228" y="693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Graphic 2">
              <a:extLst>
                <a:ext uri="{FF2B5EF4-FFF2-40B4-BE49-F238E27FC236}">
                  <a16:creationId xmlns:a16="http://schemas.microsoft.com/office/drawing/2014/main" id="{D52AFFA9-F13F-4366-BA5E-6E67AC77D532}"/>
                </a:ext>
              </a:extLst>
            </p:cNvPr>
            <p:cNvSpPr/>
            <p:nvPr/>
          </p:nvSpPr>
          <p:spPr>
            <a:xfrm>
              <a:off x="8428614" y="4255002"/>
              <a:ext cx="71140" cy="203457"/>
            </a:xfrm>
            <a:custGeom>
              <a:avLst/>
              <a:gdLst>
                <a:gd name="connsiteX0" fmla="*/ 23207 w 78303"/>
                <a:gd name="connsiteY0" fmla="*/ 40432 h 223955"/>
                <a:gd name="connsiteX1" fmla="*/ 31693 w 78303"/>
                <a:gd name="connsiteY1" fmla="*/ 35498 h 223955"/>
                <a:gd name="connsiteX2" fmla="*/ 31693 w 78303"/>
                <a:gd name="connsiteY2" fmla="*/ 27456 h 223955"/>
                <a:gd name="connsiteX3" fmla="*/ 25329 w 78303"/>
                <a:gd name="connsiteY3" fmla="*/ 24199 h 223955"/>
                <a:gd name="connsiteX4" fmla="*/ 31693 w 78303"/>
                <a:gd name="connsiteY4" fmla="*/ 17785 h 223955"/>
                <a:gd name="connsiteX5" fmla="*/ 31693 w 78303"/>
                <a:gd name="connsiteY5" fmla="*/ 11321 h 223955"/>
                <a:gd name="connsiteX6" fmla="*/ 29621 w 78303"/>
                <a:gd name="connsiteY6" fmla="*/ 8114 h 223955"/>
                <a:gd name="connsiteX7" fmla="*/ 31693 w 78303"/>
                <a:gd name="connsiteY7" fmla="*/ 3180 h 223955"/>
                <a:gd name="connsiteX8" fmla="*/ 29621 w 78303"/>
                <a:gd name="connsiteY8" fmla="*/ -27 h 223955"/>
                <a:gd name="connsiteX9" fmla="*/ 23207 w 78303"/>
                <a:gd name="connsiteY9" fmla="*/ 6387 h 223955"/>
                <a:gd name="connsiteX10" fmla="*/ 25329 w 78303"/>
                <a:gd name="connsiteY10" fmla="*/ 17686 h 223955"/>
                <a:gd name="connsiteX11" fmla="*/ 23207 w 78303"/>
                <a:gd name="connsiteY11" fmla="*/ 20893 h 223955"/>
                <a:gd name="connsiteX12" fmla="*/ 23207 w 78303"/>
                <a:gd name="connsiteY12" fmla="*/ 25827 h 223955"/>
                <a:gd name="connsiteX13" fmla="*/ 19013 w 78303"/>
                <a:gd name="connsiteY13" fmla="*/ 38705 h 223955"/>
                <a:gd name="connsiteX14" fmla="*/ 19013 w 78303"/>
                <a:gd name="connsiteY14" fmla="*/ 77487 h 223955"/>
                <a:gd name="connsiteX15" fmla="*/ 25329 w 78303"/>
                <a:gd name="connsiteY15" fmla="*/ 67619 h 223955"/>
                <a:gd name="connsiteX16" fmla="*/ 23207 w 78303"/>
                <a:gd name="connsiteY16" fmla="*/ 61155 h 223955"/>
                <a:gd name="connsiteX17" fmla="*/ 21134 w 78303"/>
                <a:gd name="connsiteY17" fmla="*/ 57948 h 223955"/>
                <a:gd name="connsiteX18" fmla="*/ 23207 w 78303"/>
                <a:gd name="connsiteY18" fmla="*/ 51484 h 223955"/>
                <a:gd name="connsiteX19" fmla="*/ 27499 w 78303"/>
                <a:gd name="connsiteY19" fmla="*/ 48277 h 223955"/>
                <a:gd name="connsiteX20" fmla="*/ 27499 w 78303"/>
                <a:gd name="connsiteY20" fmla="*/ 45070 h 223955"/>
                <a:gd name="connsiteX21" fmla="*/ 16891 w 78303"/>
                <a:gd name="connsiteY21" fmla="*/ 48277 h 223955"/>
                <a:gd name="connsiteX22" fmla="*/ 16891 w 78303"/>
                <a:gd name="connsiteY22" fmla="*/ 56320 h 223955"/>
                <a:gd name="connsiteX23" fmla="*/ 14770 w 78303"/>
                <a:gd name="connsiteY23" fmla="*/ 61254 h 223955"/>
                <a:gd name="connsiteX24" fmla="*/ 19013 w 78303"/>
                <a:gd name="connsiteY24" fmla="*/ 67718 h 223955"/>
                <a:gd name="connsiteX25" fmla="*/ 16891 w 78303"/>
                <a:gd name="connsiteY25" fmla="*/ 72652 h 223955"/>
                <a:gd name="connsiteX26" fmla="*/ -82 w 78303"/>
                <a:gd name="connsiteY26" fmla="*/ 71023 h 223955"/>
                <a:gd name="connsiteX27" fmla="*/ 8405 w 78303"/>
                <a:gd name="connsiteY27" fmla="*/ 72602 h 223955"/>
                <a:gd name="connsiteX28" fmla="*/ 4211 w 78303"/>
                <a:gd name="connsiteY28" fmla="*/ 67668 h 223955"/>
                <a:gd name="connsiteX29" fmla="*/ 12648 w 78303"/>
                <a:gd name="connsiteY29" fmla="*/ 106450 h 223955"/>
                <a:gd name="connsiteX30" fmla="*/ 19013 w 78303"/>
                <a:gd name="connsiteY30" fmla="*/ 104871 h 223955"/>
                <a:gd name="connsiteX31" fmla="*/ 23207 w 78303"/>
                <a:gd name="connsiteY31" fmla="*/ 96828 h 223955"/>
                <a:gd name="connsiteX32" fmla="*/ 21134 w 78303"/>
                <a:gd name="connsiteY32" fmla="*/ 90365 h 223955"/>
                <a:gd name="connsiteX33" fmla="*/ 12648 w 78303"/>
                <a:gd name="connsiteY33" fmla="*/ 93572 h 223955"/>
                <a:gd name="connsiteX34" fmla="*/ 12648 w 78303"/>
                <a:gd name="connsiteY34" fmla="*/ 106450 h 223955"/>
                <a:gd name="connsiteX35" fmla="*/ 33815 w 78303"/>
                <a:gd name="connsiteY35" fmla="*/ 143504 h 223955"/>
                <a:gd name="connsiteX36" fmla="*/ 27499 w 78303"/>
                <a:gd name="connsiteY36" fmla="*/ 145132 h 223955"/>
                <a:gd name="connsiteX37" fmla="*/ 31693 w 78303"/>
                <a:gd name="connsiteY37" fmla="*/ 146761 h 223955"/>
                <a:gd name="connsiteX38" fmla="*/ 42301 w 78303"/>
                <a:gd name="connsiteY38" fmla="*/ 167681 h 223955"/>
                <a:gd name="connsiteX39" fmla="*/ 48617 w 78303"/>
                <a:gd name="connsiteY39" fmla="*/ 169260 h 223955"/>
                <a:gd name="connsiteX40" fmla="*/ 50738 w 78303"/>
                <a:gd name="connsiteY40" fmla="*/ 177352 h 223955"/>
                <a:gd name="connsiteX41" fmla="*/ 44423 w 78303"/>
                <a:gd name="connsiteY41" fmla="*/ 172418 h 223955"/>
                <a:gd name="connsiteX42" fmla="*/ 61347 w 78303"/>
                <a:gd name="connsiteY42" fmla="*/ 172615 h 223955"/>
                <a:gd name="connsiteX43" fmla="*/ 59225 w 78303"/>
                <a:gd name="connsiteY43" fmla="*/ 177549 h 223955"/>
                <a:gd name="connsiteX44" fmla="*/ 61347 w 78303"/>
                <a:gd name="connsiteY44" fmla="*/ 182483 h 223955"/>
                <a:gd name="connsiteX45" fmla="*/ 65590 w 78303"/>
                <a:gd name="connsiteY45" fmla="*/ 179227 h 223955"/>
                <a:gd name="connsiteX46" fmla="*/ 65590 w 78303"/>
                <a:gd name="connsiteY46" fmla="*/ 174293 h 223955"/>
                <a:gd name="connsiteX47" fmla="*/ 52811 w 78303"/>
                <a:gd name="connsiteY47" fmla="*/ 188453 h 223955"/>
                <a:gd name="connsiteX48" fmla="*/ 57005 w 78303"/>
                <a:gd name="connsiteY48" fmla="*/ 190082 h 223955"/>
                <a:gd name="connsiteX49" fmla="*/ 61248 w 78303"/>
                <a:gd name="connsiteY49" fmla="*/ 188453 h 223955"/>
                <a:gd name="connsiteX50" fmla="*/ 57005 w 78303"/>
                <a:gd name="connsiteY50" fmla="*/ 182039 h 223955"/>
                <a:gd name="connsiteX51" fmla="*/ 50640 w 78303"/>
                <a:gd name="connsiteY51" fmla="*/ 183667 h 223955"/>
                <a:gd name="connsiteX52" fmla="*/ 65491 w 78303"/>
                <a:gd name="connsiteY52" fmla="*/ 204588 h 223955"/>
                <a:gd name="connsiteX53" fmla="*/ 71856 w 78303"/>
                <a:gd name="connsiteY53" fmla="*/ 198124 h 223955"/>
                <a:gd name="connsiteX54" fmla="*/ 67613 w 78303"/>
                <a:gd name="connsiteY54" fmla="*/ 198124 h 223955"/>
                <a:gd name="connsiteX55" fmla="*/ 63370 w 78303"/>
                <a:gd name="connsiteY55" fmla="*/ 201380 h 223955"/>
                <a:gd name="connsiteX56" fmla="*/ 71856 w 78303"/>
                <a:gd name="connsiteY56" fmla="*/ 206167 h 223955"/>
                <a:gd name="connsiteX57" fmla="*/ 67613 w 78303"/>
                <a:gd name="connsiteY57" fmla="*/ 209374 h 223955"/>
                <a:gd name="connsiteX58" fmla="*/ 67613 w 78303"/>
                <a:gd name="connsiteY58" fmla="*/ 215837 h 223955"/>
                <a:gd name="connsiteX59" fmla="*/ 69735 w 78303"/>
                <a:gd name="connsiteY59" fmla="*/ 217465 h 223955"/>
                <a:gd name="connsiteX60" fmla="*/ 73929 w 78303"/>
                <a:gd name="connsiteY60" fmla="*/ 223929 h 223955"/>
                <a:gd name="connsiteX61" fmla="*/ 78221 w 78303"/>
                <a:gd name="connsiteY61" fmla="*/ 218995 h 223955"/>
                <a:gd name="connsiteX62" fmla="*/ 76099 w 78303"/>
                <a:gd name="connsiteY62" fmla="*/ 214061 h 223955"/>
                <a:gd name="connsiteX63" fmla="*/ 76099 w 78303"/>
                <a:gd name="connsiteY63" fmla="*/ 209127 h 22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78303" h="223955">
                  <a:moveTo>
                    <a:pt x="23207" y="40432"/>
                  </a:moveTo>
                  <a:lnTo>
                    <a:pt x="31693" y="35498"/>
                  </a:lnTo>
                  <a:lnTo>
                    <a:pt x="31693" y="27456"/>
                  </a:lnTo>
                  <a:lnTo>
                    <a:pt x="25329" y="24199"/>
                  </a:lnTo>
                  <a:lnTo>
                    <a:pt x="31693" y="17785"/>
                  </a:lnTo>
                  <a:lnTo>
                    <a:pt x="31693" y="11321"/>
                  </a:lnTo>
                  <a:lnTo>
                    <a:pt x="29621" y="8114"/>
                  </a:lnTo>
                  <a:lnTo>
                    <a:pt x="31693" y="3180"/>
                  </a:lnTo>
                  <a:lnTo>
                    <a:pt x="29621" y="-27"/>
                  </a:lnTo>
                  <a:lnTo>
                    <a:pt x="23207" y="6387"/>
                  </a:lnTo>
                  <a:lnTo>
                    <a:pt x="25329" y="17686"/>
                  </a:lnTo>
                  <a:lnTo>
                    <a:pt x="23207" y="20893"/>
                  </a:lnTo>
                  <a:lnTo>
                    <a:pt x="23207" y="25827"/>
                  </a:lnTo>
                  <a:lnTo>
                    <a:pt x="19013" y="38705"/>
                  </a:lnTo>
                  <a:close/>
                  <a:moveTo>
                    <a:pt x="19013" y="77487"/>
                  </a:moveTo>
                  <a:lnTo>
                    <a:pt x="25329" y="67619"/>
                  </a:lnTo>
                  <a:lnTo>
                    <a:pt x="23207" y="61155"/>
                  </a:lnTo>
                  <a:lnTo>
                    <a:pt x="21134" y="57948"/>
                  </a:lnTo>
                  <a:lnTo>
                    <a:pt x="23207" y="51484"/>
                  </a:lnTo>
                  <a:lnTo>
                    <a:pt x="27499" y="48277"/>
                  </a:lnTo>
                  <a:lnTo>
                    <a:pt x="27499" y="45070"/>
                  </a:lnTo>
                  <a:lnTo>
                    <a:pt x="16891" y="48277"/>
                  </a:lnTo>
                  <a:lnTo>
                    <a:pt x="16891" y="56320"/>
                  </a:lnTo>
                  <a:lnTo>
                    <a:pt x="14770" y="61254"/>
                  </a:lnTo>
                  <a:lnTo>
                    <a:pt x="19013" y="67718"/>
                  </a:lnTo>
                  <a:lnTo>
                    <a:pt x="16891" y="72652"/>
                  </a:lnTo>
                  <a:close/>
                  <a:moveTo>
                    <a:pt x="-82" y="71023"/>
                  </a:moveTo>
                  <a:lnTo>
                    <a:pt x="8405" y="72602"/>
                  </a:lnTo>
                  <a:lnTo>
                    <a:pt x="4211" y="67668"/>
                  </a:lnTo>
                  <a:close/>
                  <a:moveTo>
                    <a:pt x="12648" y="106450"/>
                  </a:moveTo>
                  <a:lnTo>
                    <a:pt x="19013" y="104871"/>
                  </a:lnTo>
                  <a:lnTo>
                    <a:pt x="23207" y="96828"/>
                  </a:lnTo>
                  <a:lnTo>
                    <a:pt x="21134" y="90365"/>
                  </a:lnTo>
                  <a:lnTo>
                    <a:pt x="12648" y="93572"/>
                  </a:lnTo>
                  <a:lnTo>
                    <a:pt x="12648" y="106450"/>
                  </a:lnTo>
                  <a:close/>
                  <a:moveTo>
                    <a:pt x="33815" y="143504"/>
                  </a:moveTo>
                  <a:lnTo>
                    <a:pt x="27499" y="145132"/>
                  </a:lnTo>
                  <a:lnTo>
                    <a:pt x="31693" y="146761"/>
                  </a:lnTo>
                  <a:close/>
                  <a:moveTo>
                    <a:pt x="42301" y="167681"/>
                  </a:moveTo>
                  <a:lnTo>
                    <a:pt x="48617" y="169260"/>
                  </a:lnTo>
                  <a:lnTo>
                    <a:pt x="50738" y="177352"/>
                  </a:lnTo>
                  <a:lnTo>
                    <a:pt x="44423" y="172418"/>
                  </a:lnTo>
                  <a:close/>
                  <a:moveTo>
                    <a:pt x="61347" y="172615"/>
                  </a:moveTo>
                  <a:lnTo>
                    <a:pt x="59225" y="177549"/>
                  </a:lnTo>
                  <a:lnTo>
                    <a:pt x="61347" y="182483"/>
                  </a:lnTo>
                  <a:lnTo>
                    <a:pt x="65590" y="179227"/>
                  </a:lnTo>
                  <a:lnTo>
                    <a:pt x="65590" y="174293"/>
                  </a:lnTo>
                  <a:close/>
                  <a:moveTo>
                    <a:pt x="52811" y="188453"/>
                  </a:moveTo>
                  <a:lnTo>
                    <a:pt x="57005" y="190082"/>
                  </a:lnTo>
                  <a:lnTo>
                    <a:pt x="61248" y="188453"/>
                  </a:lnTo>
                  <a:lnTo>
                    <a:pt x="57005" y="182039"/>
                  </a:lnTo>
                  <a:lnTo>
                    <a:pt x="50640" y="183667"/>
                  </a:lnTo>
                  <a:close/>
                  <a:moveTo>
                    <a:pt x="65491" y="204588"/>
                  </a:moveTo>
                  <a:lnTo>
                    <a:pt x="71856" y="198124"/>
                  </a:lnTo>
                  <a:lnTo>
                    <a:pt x="67613" y="198124"/>
                  </a:lnTo>
                  <a:lnTo>
                    <a:pt x="63370" y="201380"/>
                  </a:lnTo>
                  <a:close/>
                  <a:moveTo>
                    <a:pt x="71856" y="206167"/>
                  </a:moveTo>
                  <a:lnTo>
                    <a:pt x="67613" y="209374"/>
                  </a:lnTo>
                  <a:lnTo>
                    <a:pt x="67613" y="215837"/>
                  </a:lnTo>
                  <a:lnTo>
                    <a:pt x="69735" y="217465"/>
                  </a:lnTo>
                  <a:cubicBezTo>
                    <a:pt x="71856" y="217465"/>
                    <a:pt x="73929" y="223929"/>
                    <a:pt x="73929" y="223929"/>
                  </a:cubicBezTo>
                  <a:lnTo>
                    <a:pt x="78221" y="218995"/>
                  </a:lnTo>
                  <a:lnTo>
                    <a:pt x="76099" y="214061"/>
                  </a:lnTo>
                  <a:lnTo>
                    <a:pt x="76099" y="2091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Graphic 2">
              <a:extLst>
                <a:ext uri="{FF2B5EF4-FFF2-40B4-BE49-F238E27FC236}">
                  <a16:creationId xmlns:a16="http://schemas.microsoft.com/office/drawing/2014/main" id="{0392F143-5F5F-4CF6-B265-6AC7B548EA34}"/>
                </a:ext>
              </a:extLst>
            </p:cNvPr>
            <p:cNvSpPr/>
            <p:nvPr/>
          </p:nvSpPr>
          <p:spPr>
            <a:xfrm>
              <a:off x="9425553" y="3065043"/>
              <a:ext cx="515547" cy="854265"/>
            </a:xfrm>
            <a:custGeom>
              <a:avLst/>
              <a:gdLst>
                <a:gd name="connsiteX0" fmla="*/ 225601 w 567463"/>
                <a:gd name="connsiteY0" fmla="*/ 451092 h 940328"/>
                <a:gd name="connsiteX1" fmla="*/ 229548 w 567463"/>
                <a:gd name="connsiteY1" fmla="*/ 454151 h 940328"/>
                <a:gd name="connsiteX2" fmla="*/ 225601 w 567463"/>
                <a:gd name="connsiteY2" fmla="*/ 455681 h 940328"/>
                <a:gd name="connsiteX3" fmla="*/ 225601 w 567463"/>
                <a:gd name="connsiteY3" fmla="*/ 451092 h 940328"/>
                <a:gd name="connsiteX4" fmla="*/ 231523 w 567463"/>
                <a:gd name="connsiteY4" fmla="*/ 451092 h 940328"/>
                <a:gd name="connsiteX5" fmla="*/ 229548 w 567463"/>
                <a:gd name="connsiteY5" fmla="*/ 449562 h 940328"/>
                <a:gd name="connsiteX6" fmla="*/ 231523 w 567463"/>
                <a:gd name="connsiteY6" fmla="*/ 445023 h 940328"/>
                <a:gd name="connsiteX7" fmla="*/ 239367 w 567463"/>
                <a:gd name="connsiteY7" fmla="*/ 445023 h 940328"/>
                <a:gd name="connsiteX8" fmla="*/ 239367 w 567463"/>
                <a:gd name="connsiteY8" fmla="*/ 449562 h 940328"/>
                <a:gd name="connsiteX9" fmla="*/ 237394 w 567463"/>
                <a:gd name="connsiteY9" fmla="*/ 451092 h 940328"/>
                <a:gd name="connsiteX10" fmla="*/ 5791 w 567463"/>
                <a:gd name="connsiteY10" fmla="*/ 938772 h 940328"/>
                <a:gd name="connsiteX11" fmla="*/ 5791 w 567463"/>
                <a:gd name="connsiteY11" fmla="*/ 932703 h 940328"/>
                <a:gd name="connsiteX12" fmla="*/ 1892 w 567463"/>
                <a:gd name="connsiteY12" fmla="*/ 932703 h 940328"/>
                <a:gd name="connsiteX13" fmla="*/ -82 w 567463"/>
                <a:gd name="connsiteY13" fmla="*/ 940301 h 940328"/>
                <a:gd name="connsiteX14" fmla="*/ 3816 w 567463"/>
                <a:gd name="connsiteY14" fmla="*/ 940301 h 940328"/>
                <a:gd name="connsiteX15" fmla="*/ 5791 w 567463"/>
                <a:gd name="connsiteY15" fmla="*/ 938772 h 940328"/>
                <a:gd name="connsiteX16" fmla="*/ 11711 w 567463"/>
                <a:gd name="connsiteY16" fmla="*/ 931223 h 940328"/>
                <a:gd name="connsiteX17" fmla="*/ 15609 w 567463"/>
                <a:gd name="connsiteY17" fmla="*/ 928164 h 940328"/>
                <a:gd name="connsiteX18" fmla="*/ 17533 w 567463"/>
                <a:gd name="connsiteY18" fmla="*/ 931223 h 940328"/>
                <a:gd name="connsiteX19" fmla="*/ 15609 w 567463"/>
                <a:gd name="connsiteY19" fmla="*/ 935762 h 940328"/>
                <a:gd name="connsiteX20" fmla="*/ 11711 w 567463"/>
                <a:gd name="connsiteY20" fmla="*/ 935762 h 940328"/>
                <a:gd name="connsiteX21" fmla="*/ 11711 w 567463"/>
                <a:gd name="connsiteY21" fmla="*/ 931223 h 940328"/>
                <a:gd name="connsiteX22" fmla="*/ 45065 w 567463"/>
                <a:gd name="connsiteY22" fmla="*/ 909957 h 940328"/>
                <a:gd name="connsiteX23" fmla="*/ 43091 w 567463"/>
                <a:gd name="connsiteY23" fmla="*/ 917506 h 940328"/>
                <a:gd name="connsiteX24" fmla="*/ 46989 w 567463"/>
                <a:gd name="connsiteY24" fmla="*/ 920565 h 940328"/>
                <a:gd name="connsiteX25" fmla="*/ 50887 w 567463"/>
                <a:gd name="connsiteY25" fmla="*/ 920565 h 940328"/>
                <a:gd name="connsiteX26" fmla="*/ 52910 w 567463"/>
                <a:gd name="connsiteY26" fmla="*/ 914496 h 940328"/>
                <a:gd name="connsiteX27" fmla="*/ 45065 w 567463"/>
                <a:gd name="connsiteY27" fmla="*/ 909957 h 940328"/>
                <a:gd name="connsiteX28" fmla="*/ 123565 w 567463"/>
                <a:gd name="connsiteY28" fmla="*/ 856867 h 940328"/>
                <a:gd name="connsiteX29" fmla="*/ 119618 w 567463"/>
                <a:gd name="connsiteY29" fmla="*/ 847739 h 940328"/>
                <a:gd name="connsiteX30" fmla="*/ 125489 w 567463"/>
                <a:gd name="connsiteY30" fmla="*/ 844680 h 940328"/>
                <a:gd name="connsiteX31" fmla="*/ 127513 w 567463"/>
                <a:gd name="connsiteY31" fmla="*/ 841670 h 940328"/>
                <a:gd name="connsiteX32" fmla="*/ 125489 w 567463"/>
                <a:gd name="connsiteY32" fmla="*/ 840141 h 940328"/>
                <a:gd name="connsiteX33" fmla="*/ 133335 w 567463"/>
                <a:gd name="connsiteY33" fmla="*/ 837131 h 940328"/>
                <a:gd name="connsiteX34" fmla="*/ 137282 w 567463"/>
                <a:gd name="connsiteY34" fmla="*/ 829533 h 940328"/>
                <a:gd name="connsiteX35" fmla="*/ 139255 w 567463"/>
                <a:gd name="connsiteY35" fmla="*/ 837131 h 940328"/>
                <a:gd name="connsiteX36" fmla="*/ 137282 w 567463"/>
                <a:gd name="connsiteY36" fmla="*/ 840141 h 940328"/>
                <a:gd name="connsiteX37" fmla="*/ 137282 w 567463"/>
                <a:gd name="connsiteY37" fmla="*/ 844680 h 940328"/>
                <a:gd name="connsiteX38" fmla="*/ 125489 w 567463"/>
                <a:gd name="connsiteY38" fmla="*/ 849269 h 940328"/>
                <a:gd name="connsiteX39" fmla="*/ 125489 w 567463"/>
                <a:gd name="connsiteY39" fmla="*/ 855337 h 940328"/>
                <a:gd name="connsiteX40" fmla="*/ 123565 w 567463"/>
                <a:gd name="connsiteY40" fmla="*/ 856867 h 940328"/>
                <a:gd name="connsiteX41" fmla="*/ 154946 w 567463"/>
                <a:gd name="connsiteY41" fmla="*/ 794600 h 940328"/>
                <a:gd name="connsiteX42" fmla="*/ 160867 w 567463"/>
                <a:gd name="connsiteY42" fmla="*/ 797609 h 940328"/>
                <a:gd name="connsiteX43" fmla="*/ 160867 w 567463"/>
                <a:gd name="connsiteY43" fmla="*/ 802148 h 940328"/>
                <a:gd name="connsiteX44" fmla="*/ 158893 w 567463"/>
                <a:gd name="connsiteY44" fmla="*/ 803678 h 940328"/>
                <a:gd name="connsiteX45" fmla="*/ 154946 w 567463"/>
                <a:gd name="connsiteY45" fmla="*/ 799139 h 940328"/>
                <a:gd name="connsiteX46" fmla="*/ 152972 w 567463"/>
                <a:gd name="connsiteY46" fmla="*/ 796080 h 940328"/>
                <a:gd name="connsiteX47" fmla="*/ 154946 w 567463"/>
                <a:gd name="connsiteY47" fmla="*/ 794600 h 940328"/>
                <a:gd name="connsiteX48" fmla="*/ 170686 w 567463"/>
                <a:gd name="connsiteY48" fmla="*/ 783942 h 940328"/>
                <a:gd name="connsiteX49" fmla="*/ 168711 w 567463"/>
                <a:gd name="connsiteY49" fmla="*/ 782412 h 940328"/>
                <a:gd name="connsiteX50" fmla="*/ 160867 w 567463"/>
                <a:gd name="connsiteY50" fmla="*/ 780883 h 940328"/>
                <a:gd name="connsiteX51" fmla="*/ 158893 w 567463"/>
                <a:gd name="connsiteY51" fmla="*/ 780883 h 940328"/>
                <a:gd name="connsiteX52" fmla="*/ 160867 w 567463"/>
                <a:gd name="connsiteY52" fmla="*/ 774814 h 940328"/>
                <a:gd name="connsiteX53" fmla="*/ 168711 w 567463"/>
                <a:gd name="connsiteY53" fmla="*/ 771755 h 940328"/>
                <a:gd name="connsiteX54" fmla="*/ 170686 w 567463"/>
                <a:gd name="connsiteY54" fmla="*/ 771755 h 940328"/>
                <a:gd name="connsiteX55" fmla="*/ 172609 w 567463"/>
                <a:gd name="connsiteY55" fmla="*/ 770225 h 940328"/>
                <a:gd name="connsiteX56" fmla="*/ 176557 w 567463"/>
                <a:gd name="connsiteY56" fmla="*/ 770225 h 940328"/>
                <a:gd name="connsiteX57" fmla="*/ 178482 w 567463"/>
                <a:gd name="connsiteY57" fmla="*/ 768745 h 940328"/>
                <a:gd name="connsiteX58" fmla="*/ 184402 w 567463"/>
                <a:gd name="connsiteY58" fmla="*/ 767216 h 940328"/>
                <a:gd name="connsiteX59" fmla="*/ 180504 w 567463"/>
                <a:gd name="connsiteY59" fmla="*/ 773284 h 940328"/>
                <a:gd name="connsiteX60" fmla="*/ 172609 w 567463"/>
                <a:gd name="connsiteY60" fmla="*/ 776344 h 940328"/>
                <a:gd name="connsiteX61" fmla="*/ 172609 w 567463"/>
                <a:gd name="connsiteY61" fmla="*/ 782412 h 940328"/>
                <a:gd name="connsiteX62" fmla="*/ 170686 w 567463"/>
                <a:gd name="connsiteY62" fmla="*/ 783942 h 940328"/>
                <a:gd name="connsiteX63" fmla="*/ 357094 w 567463"/>
                <a:gd name="connsiteY63" fmla="*/ 168619 h 940328"/>
                <a:gd name="connsiteX64" fmla="*/ 355169 w 567463"/>
                <a:gd name="connsiteY64" fmla="*/ 165559 h 940328"/>
                <a:gd name="connsiteX65" fmla="*/ 353196 w 567463"/>
                <a:gd name="connsiteY65" fmla="*/ 161020 h 940328"/>
                <a:gd name="connsiteX66" fmla="*/ 359116 w 567463"/>
                <a:gd name="connsiteY66" fmla="*/ 156431 h 940328"/>
                <a:gd name="connsiteX67" fmla="*/ 363014 w 567463"/>
                <a:gd name="connsiteY67" fmla="*/ 156431 h 940328"/>
                <a:gd name="connsiteX68" fmla="*/ 361089 w 567463"/>
                <a:gd name="connsiteY68" fmla="*/ 161020 h 940328"/>
                <a:gd name="connsiteX69" fmla="*/ 361089 w 567463"/>
                <a:gd name="connsiteY69" fmla="*/ 165559 h 940328"/>
                <a:gd name="connsiteX70" fmla="*/ 357094 w 567463"/>
                <a:gd name="connsiteY70" fmla="*/ 168619 h 940328"/>
                <a:gd name="connsiteX71" fmla="*/ 400316 w 567463"/>
                <a:gd name="connsiteY71" fmla="*/ 200542 h 940328"/>
                <a:gd name="connsiteX72" fmla="*/ 394443 w 567463"/>
                <a:gd name="connsiteY72" fmla="*/ 195953 h 940328"/>
                <a:gd name="connsiteX73" fmla="*/ 392470 w 567463"/>
                <a:gd name="connsiteY73" fmla="*/ 191414 h 940328"/>
                <a:gd name="connsiteX74" fmla="*/ 394443 w 567463"/>
                <a:gd name="connsiteY74" fmla="*/ 189884 h 940328"/>
                <a:gd name="connsiteX75" fmla="*/ 392470 w 567463"/>
                <a:gd name="connsiteY75" fmla="*/ 179276 h 940328"/>
                <a:gd name="connsiteX76" fmla="*/ 388523 w 567463"/>
                <a:gd name="connsiteY76" fmla="*/ 167089 h 940328"/>
                <a:gd name="connsiteX77" fmla="*/ 382652 w 567463"/>
                <a:gd name="connsiteY77" fmla="*/ 164079 h 940328"/>
                <a:gd name="connsiteX78" fmla="*/ 376731 w 567463"/>
                <a:gd name="connsiteY78" fmla="*/ 159491 h 940328"/>
                <a:gd name="connsiteX79" fmla="*/ 370860 w 567463"/>
                <a:gd name="connsiteY79" fmla="*/ 159491 h 940328"/>
                <a:gd name="connsiteX80" fmla="*/ 370860 w 567463"/>
                <a:gd name="connsiteY80" fmla="*/ 148882 h 940328"/>
                <a:gd name="connsiteX81" fmla="*/ 368885 w 567463"/>
                <a:gd name="connsiteY81" fmla="*/ 141284 h 940328"/>
                <a:gd name="connsiteX82" fmla="*/ 370860 w 567463"/>
                <a:gd name="connsiteY82" fmla="*/ 136695 h 940328"/>
                <a:gd name="connsiteX83" fmla="*/ 378704 w 567463"/>
                <a:gd name="connsiteY83" fmla="*/ 133685 h 940328"/>
                <a:gd name="connsiteX84" fmla="*/ 378704 w 567463"/>
                <a:gd name="connsiteY84" fmla="*/ 132156 h 940328"/>
                <a:gd name="connsiteX85" fmla="*/ 382652 w 567463"/>
                <a:gd name="connsiteY85" fmla="*/ 130626 h 940328"/>
                <a:gd name="connsiteX86" fmla="*/ 386550 w 567463"/>
                <a:gd name="connsiteY86" fmla="*/ 124557 h 940328"/>
                <a:gd name="connsiteX87" fmla="*/ 388523 w 567463"/>
                <a:gd name="connsiteY87" fmla="*/ 121498 h 940328"/>
                <a:gd name="connsiteX88" fmla="*/ 388523 w 567463"/>
                <a:gd name="connsiteY88" fmla="*/ 118439 h 940328"/>
                <a:gd name="connsiteX89" fmla="*/ 380678 w 567463"/>
                <a:gd name="connsiteY89" fmla="*/ 113900 h 940328"/>
                <a:gd name="connsiteX90" fmla="*/ 378704 w 567463"/>
                <a:gd name="connsiteY90" fmla="*/ 113900 h 940328"/>
                <a:gd name="connsiteX91" fmla="*/ 376731 w 567463"/>
                <a:gd name="connsiteY91" fmla="*/ 110890 h 940328"/>
                <a:gd name="connsiteX92" fmla="*/ 378704 w 567463"/>
                <a:gd name="connsiteY92" fmla="*/ 106351 h 940328"/>
                <a:gd name="connsiteX93" fmla="*/ 384625 w 567463"/>
                <a:gd name="connsiteY93" fmla="*/ 106351 h 940328"/>
                <a:gd name="connsiteX94" fmla="*/ 394493 w 567463"/>
                <a:gd name="connsiteY94" fmla="*/ 110890 h 940328"/>
                <a:gd name="connsiteX95" fmla="*/ 408210 w 567463"/>
                <a:gd name="connsiteY95" fmla="*/ 112420 h 940328"/>
                <a:gd name="connsiteX96" fmla="*/ 412157 w 567463"/>
                <a:gd name="connsiteY96" fmla="*/ 109361 h 940328"/>
                <a:gd name="connsiteX97" fmla="*/ 412157 w 567463"/>
                <a:gd name="connsiteY97" fmla="*/ 106351 h 940328"/>
                <a:gd name="connsiteX98" fmla="*/ 414130 w 567463"/>
                <a:gd name="connsiteY98" fmla="*/ 103292 h 940328"/>
                <a:gd name="connsiteX99" fmla="*/ 412157 w 567463"/>
                <a:gd name="connsiteY99" fmla="*/ 100233 h 940328"/>
                <a:gd name="connsiteX100" fmla="*/ 410184 w 567463"/>
                <a:gd name="connsiteY100" fmla="*/ 98703 h 940328"/>
                <a:gd name="connsiteX101" fmla="*/ 408210 w 567463"/>
                <a:gd name="connsiteY101" fmla="*/ 95693 h 940328"/>
                <a:gd name="connsiteX102" fmla="*/ 402338 w 567463"/>
                <a:gd name="connsiteY102" fmla="*/ 88095 h 940328"/>
                <a:gd name="connsiteX103" fmla="*/ 400365 w 567463"/>
                <a:gd name="connsiteY103" fmla="*/ 83556 h 940328"/>
                <a:gd name="connsiteX104" fmla="*/ 408210 w 567463"/>
                <a:gd name="connsiteY104" fmla="*/ 77438 h 940328"/>
                <a:gd name="connsiteX105" fmla="*/ 410184 w 567463"/>
                <a:gd name="connsiteY105" fmla="*/ 77438 h 940328"/>
                <a:gd name="connsiteX106" fmla="*/ 410184 w 567463"/>
                <a:gd name="connsiteY106" fmla="*/ 75957 h 940328"/>
                <a:gd name="connsiteX107" fmla="*/ 408210 w 567463"/>
                <a:gd name="connsiteY107" fmla="*/ 69888 h 940328"/>
                <a:gd name="connsiteX108" fmla="*/ 402338 w 567463"/>
                <a:gd name="connsiteY108" fmla="*/ 59231 h 940328"/>
                <a:gd name="connsiteX109" fmla="*/ 404311 w 567463"/>
                <a:gd name="connsiteY109" fmla="*/ 54692 h 940328"/>
                <a:gd name="connsiteX110" fmla="*/ 404311 w 567463"/>
                <a:gd name="connsiteY110" fmla="*/ 44034 h 940328"/>
                <a:gd name="connsiteX111" fmla="*/ 400365 w 567463"/>
                <a:gd name="connsiteY111" fmla="*/ 36436 h 940328"/>
                <a:gd name="connsiteX112" fmla="*/ 388572 w 567463"/>
                <a:gd name="connsiteY112" fmla="*/ 21239 h 940328"/>
                <a:gd name="connsiteX113" fmla="*/ 386599 w 567463"/>
                <a:gd name="connsiteY113" fmla="*/ 12160 h 940328"/>
                <a:gd name="connsiteX114" fmla="*/ 384674 w 567463"/>
                <a:gd name="connsiteY114" fmla="*/ 9101 h 940328"/>
                <a:gd name="connsiteX115" fmla="*/ 386599 w 567463"/>
                <a:gd name="connsiteY115" fmla="*/ 6042 h 940328"/>
                <a:gd name="connsiteX116" fmla="*/ 388572 w 567463"/>
                <a:gd name="connsiteY116" fmla="*/ 6042 h 940328"/>
                <a:gd name="connsiteX117" fmla="*/ 392520 w 567463"/>
                <a:gd name="connsiteY117" fmla="*/ 2983 h 940328"/>
                <a:gd name="connsiteX118" fmla="*/ 392520 w 567463"/>
                <a:gd name="connsiteY118" fmla="*/ -27 h 940328"/>
                <a:gd name="connsiteX119" fmla="*/ 400365 w 567463"/>
                <a:gd name="connsiteY119" fmla="*/ -27 h 940328"/>
                <a:gd name="connsiteX120" fmla="*/ 402338 w 567463"/>
                <a:gd name="connsiteY120" fmla="*/ 4512 h 940328"/>
                <a:gd name="connsiteX121" fmla="*/ 414130 w 567463"/>
                <a:gd name="connsiteY121" fmla="*/ 12160 h 940328"/>
                <a:gd name="connsiteX122" fmla="*/ 423998 w 567463"/>
                <a:gd name="connsiteY122" fmla="*/ 15170 h 940328"/>
                <a:gd name="connsiteX123" fmla="*/ 429821 w 567463"/>
                <a:gd name="connsiteY123" fmla="*/ 24249 h 940328"/>
                <a:gd name="connsiteX124" fmla="*/ 445561 w 567463"/>
                <a:gd name="connsiteY124" fmla="*/ 36436 h 940328"/>
                <a:gd name="connsiteX125" fmla="*/ 455429 w 567463"/>
                <a:gd name="connsiteY125" fmla="*/ 44034 h 940328"/>
                <a:gd name="connsiteX126" fmla="*/ 457402 w 567463"/>
                <a:gd name="connsiteY126" fmla="*/ 47093 h 940328"/>
                <a:gd name="connsiteX127" fmla="*/ 463274 w 567463"/>
                <a:gd name="connsiteY127" fmla="*/ 48623 h 940328"/>
                <a:gd name="connsiteX128" fmla="*/ 469145 w 567463"/>
                <a:gd name="connsiteY128" fmla="*/ 54692 h 940328"/>
                <a:gd name="connsiteX129" fmla="*/ 482862 w 567463"/>
                <a:gd name="connsiteY129" fmla="*/ 59231 h 940328"/>
                <a:gd name="connsiteX130" fmla="*/ 490756 w 567463"/>
                <a:gd name="connsiteY130" fmla="*/ 59231 h 940328"/>
                <a:gd name="connsiteX131" fmla="*/ 496678 w 567463"/>
                <a:gd name="connsiteY131" fmla="*/ 65300 h 940328"/>
                <a:gd name="connsiteX132" fmla="*/ 502499 w 567463"/>
                <a:gd name="connsiteY132" fmla="*/ 63770 h 940328"/>
                <a:gd name="connsiteX133" fmla="*/ 504473 w 567463"/>
                <a:gd name="connsiteY133" fmla="*/ 65300 h 940328"/>
                <a:gd name="connsiteX134" fmla="*/ 514341 w 567463"/>
                <a:gd name="connsiteY134" fmla="*/ 63770 h 940328"/>
                <a:gd name="connsiteX135" fmla="*/ 526134 w 567463"/>
                <a:gd name="connsiteY135" fmla="*/ 57701 h 940328"/>
                <a:gd name="connsiteX136" fmla="*/ 532005 w 567463"/>
                <a:gd name="connsiteY136" fmla="*/ 51632 h 940328"/>
                <a:gd name="connsiteX137" fmla="*/ 533978 w 567463"/>
                <a:gd name="connsiteY137" fmla="*/ 47093 h 940328"/>
                <a:gd name="connsiteX138" fmla="*/ 533978 w 567463"/>
                <a:gd name="connsiteY138" fmla="*/ 45564 h 940328"/>
                <a:gd name="connsiteX139" fmla="*/ 535903 w 567463"/>
                <a:gd name="connsiteY139" fmla="*/ 47093 h 940328"/>
                <a:gd name="connsiteX140" fmla="*/ 535903 w 567463"/>
                <a:gd name="connsiteY140" fmla="*/ 51632 h 940328"/>
                <a:gd name="connsiteX141" fmla="*/ 532005 w 567463"/>
                <a:gd name="connsiteY141" fmla="*/ 60711 h 940328"/>
                <a:gd name="connsiteX142" fmla="*/ 532005 w 567463"/>
                <a:gd name="connsiteY142" fmla="*/ 69888 h 940328"/>
                <a:gd name="connsiteX143" fmla="*/ 535903 w 567463"/>
                <a:gd name="connsiteY143" fmla="*/ 72898 h 940328"/>
                <a:gd name="connsiteX144" fmla="*/ 545771 w 567463"/>
                <a:gd name="connsiteY144" fmla="*/ 77438 h 940328"/>
                <a:gd name="connsiteX145" fmla="*/ 551692 w 567463"/>
                <a:gd name="connsiteY145" fmla="*/ 83556 h 940328"/>
                <a:gd name="connsiteX146" fmla="*/ 551692 w 567463"/>
                <a:gd name="connsiteY146" fmla="*/ 91154 h 940328"/>
                <a:gd name="connsiteX147" fmla="*/ 555590 w 567463"/>
                <a:gd name="connsiteY147" fmla="*/ 91154 h 940328"/>
                <a:gd name="connsiteX148" fmla="*/ 559537 w 567463"/>
                <a:gd name="connsiteY148" fmla="*/ 86615 h 940328"/>
                <a:gd name="connsiteX149" fmla="*/ 563483 w 567463"/>
                <a:gd name="connsiteY149" fmla="*/ 82026 h 940328"/>
                <a:gd name="connsiteX150" fmla="*/ 567382 w 567463"/>
                <a:gd name="connsiteY150" fmla="*/ 82026 h 940328"/>
                <a:gd name="connsiteX151" fmla="*/ 565408 w 567463"/>
                <a:gd name="connsiteY151" fmla="*/ 86615 h 940328"/>
                <a:gd name="connsiteX152" fmla="*/ 563483 w 567463"/>
                <a:gd name="connsiteY152" fmla="*/ 88095 h 940328"/>
                <a:gd name="connsiteX153" fmla="*/ 561510 w 567463"/>
                <a:gd name="connsiteY153" fmla="*/ 95693 h 940328"/>
                <a:gd name="connsiteX154" fmla="*/ 557563 w 567463"/>
                <a:gd name="connsiteY154" fmla="*/ 97223 h 940328"/>
                <a:gd name="connsiteX155" fmla="*/ 551692 w 567463"/>
                <a:gd name="connsiteY155" fmla="*/ 100233 h 940328"/>
                <a:gd name="connsiteX156" fmla="*/ 551692 w 567463"/>
                <a:gd name="connsiteY156" fmla="*/ 104821 h 940328"/>
                <a:gd name="connsiteX157" fmla="*/ 547744 w 567463"/>
                <a:gd name="connsiteY157" fmla="*/ 107831 h 940328"/>
                <a:gd name="connsiteX158" fmla="*/ 541873 w 567463"/>
                <a:gd name="connsiteY158" fmla="*/ 107831 h 940328"/>
                <a:gd name="connsiteX159" fmla="*/ 539948 w 567463"/>
                <a:gd name="connsiteY159" fmla="*/ 106351 h 940328"/>
                <a:gd name="connsiteX160" fmla="*/ 534027 w 567463"/>
                <a:gd name="connsiteY160" fmla="*/ 109361 h 940328"/>
                <a:gd name="connsiteX161" fmla="*/ 535952 w 567463"/>
                <a:gd name="connsiteY161" fmla="*/ 112420 h 940328"/>
                <a:gd name="connsiteX162" fmla="*/ 526084 w 567463"/>
                <a:gd name="connsiteY162" fmla="*/ 112420 h 940328"/>
                <a:gd name="connsiteX163" fmla="*/ 520212 w 567463"/>
                <a:gd name="connsiteY163" fmla="*/ 110890 h 940328"/>
                <a:gd name="connsiteX164" fmla="*/ 514291 w 567463"/>
                <a:gd name="connsiteY164" fmla="*/ 112420 h 940328"/>
                <a:gd name="connsiteX165" fmla="*/ 502499 w 567463"/>
                <a:gd name="connsiteY165" fmla="*/ 124557 h 940328"/>
                <a:gd name="connsiteX166" fmla="*/ 500575 w 567463"/>
                <a:gd name="connsiteY166" fmla="*/ 136695 h 940328"/>
                <a:gd name="connsiteX167" fmla="*/ 498601 w 567463"/>
                <a:gd name="connsiteY167" fmla="*/ 147353 h 940328"/>
                <a:gd name="connsiteX168" fmla="*/ 500575 w 567463"/>
                <a:gd name="connsiteY168" fmla="*/ 153422 h 940328"/>
                <a:gd name="connsiteX169" fmla="*/ 498601 w 567463"/>
                <a:gd name="connsiteY169" fmla="*/ 159491 h 940328"/>
                <a:gd name="connsiteX170" fmla="*/ 500575 w 567463"/>
                <a:gd name="connsiteY170" fmla="*/ 162550 h 940328"/>
                <a:gd name="connsiteX171" fmla="*/ 494654 w 567463"/>
                <a:gd name="connsiteY171" fmla="*/ 161020 h 940328"/>
                <a:gd name="connsiteX172" fmla="*/ 490756 w 567463"/>
                <a:gd name="connsiteY172" fmla="*/ 156431 h 940328"/>
                <a:gd name="connsiteX173" fmla="*/ 478964 w 567463"/>
                <a:gd name="connsiteY173" fmla="*/ 154951 h 940328"/>
                <a:gd name="connsiteX174" fmla="*/ 467220 w 567463"/>
                <a:gd name="connsiteY174" fmla="*/ 150363 h 940328"/>
                <a:gd name="connsiteX175" fmla="*/ 459327 w 567463"/>
                <a:gd name="connsiteY175" fmla="*/ 141284 h 940328"/>
                <a:gd name="connsiteX176" fmla="*/ 453455 w 567463"/>
                <a:gd name="connsiteY176" fmla="*/ 136695 h 940328"/>
                <a:gd name="connsiteX177" fmla="*/ 447583 w 567463"/>
                <a:gd name="connsiteY177" fmla="*/ 136695 h 940328"/>
                <a:gd name="connsiteX178" fmla="*/ 441662 w 567463"/>
                <a:gd name="connsiteY178" fmla="*/ 135166 h 940328"/>
                <a:gd name="connsiteX179" fmla="*/ 435791 w 567463"/>
                <a:gd name="connsiteY179" fmla="*/ 133685 h 940328"/>
                <a:gd name="connsiteX180" fmla="*/ 429871 w 567463"/>
                <a:gd name="connsiteY180" fmla="*/ 133685 h 940328"/>
                <a:gd name="connsiteX181" fmla="*/ 422074 w 567463"/>
                <a:gd name="connsiteY181" fmla="*/ 138225 h 940328"/>
                <a:gd name="connsiteX182" fmla="*/ 414229 w 567463"/>
                <a:gd name="connsiteY182" fmla="*/ 148882 h 940328"/>
                <a:gd name="connsiteX183" fmla="*/ 410283 w 567463"/>
                <a:gd name="connsiteY183" fmla="*/ 147353 h 940328"/>
                <a:gd name="connsiteX184" fmla="*/ 400415 w 567463"/>
                <a:gd name="connsiteY184" fmla="*/ 141284 h 940328"/>
                <a:gd name="connsiteX185" fmla="*/ 396467 w 567463"/>
                <a:gd name="connsiteY185" fmla="*/ 141284 h 940328"/>
                <a:gd name="connsiteX186" fmla="*/ 390596 w 567463"/>
                <a:gd name="connsiteY186" fmla="*/ 144343 h 940328"/>
                <a:gd name="connsiteX187" fmla="*/ 390596 w 567463"/>
                <a:gd name="connsiteY187" fmla="*/ 151892 h 940328"/>
                <a:gd name="connsiteX188" fmla="*/ 394542 w 567463"/>
                <a:gd name="connsiteY188" fmla="*/ 156431 h 940328"/>
                <a:gd name="connsiteX189" fmla="*/ 400415 w 567463"/>
                <a:gd name="connsiteY189" fmla="*/ 159491 h 940328"/>
                <a:gd name="connsiteX190" fmla="*/ 410283 w 567463"/>
                <a:gd name="connsiteY190" fmla="*/ 157961 h 940328"/>
                <a:gd name="connsiteX191" fmla="*/ 418127 w 567463"/>
                <a:gd name="connsiteY191" fmla="*/ 167089 h 940328"/>
                <a:gd name="connsiteX192" fmla="*/ 425973 w 567463"/>
                <a:gd name="connsiteY192" fmla="*/ 168619 h 940328"/>
                <a:gd name="connsiteX193" fmla="*/ 433866 w 567463"/>
                <a:gd name="connsiteY193" fmla="*/ 168619 h 940328"/>
                <a:gd name="connsiteX194" fmla="*/ 435791 w 567463"/>
                <a:gd name="connsiteY194" fmla="*/ 171628 h 940328"/>
                <a:gd name="connsiteX195" fmla="*/ 431844 w 567463"/>
                <a:gd name="connsiteY195" fmla="*/ 179276 h 940328"/>
                <a:gd name="connsiteX196" fmla="*/ 429871 w 567463"/>
                <a:gd name="connsiteY196" fmla="*/ 183815 h 940328"/>
                <a:gd name="connsiteX197" fmla="*/ 425824 w 567463"/>
                <a:gd name="connsiteY197" fmla="*/ 180904 h 940328"/>
                <a:gd name="connsiteX198" fmla="*/ 415956 w 567463"/>
                <a:gd name="connsiteY198" fmla="*/ 179375 h 940328"/>
                <a:gd name="connsiteX199" fmla="*/ 412058 w 567463"/>
                <a:gd name="connsiteY199" fmla="*/ 182384 h 940328"/>
                <a:gd name="connsiteX200" fmla="*/ 414033 w 567463"/>
                <a:gd name="connsiteY200" fmla="*/ 185443 h 940328"/>
                <a:gd name="connsiteX201" fmla="*/ 410085 w 567463"/>
                <a:gd name="connsiteY201" fmla="*/ 191513 h 940328"/>
                <a:gd name="connsiteX202" fmla="*/ 400217 w 567463"/>
                <a:gd name="connsiteY202" fmla="*/ 200640 h 940328"/>
                <a:gd name="connsiteX203" fmla="*/ 390448 w 567463"/>
                <a:gd name="connsiteY203" fmla="*/ 370667 h 940328"/>
                <a:gd name="connsiteX204" fmla="*/ 390448 w 567463"/>
                <a:gd name="connsiteY204" fmla="*/ 364598 h 940328"/>
                <a:gd name="connsiteX205" fmla="*/ 392421 w 567463"/>
                <a:gd name="connsiteY205" fmla="*/ 361539 h 940328"/>
                <a:gd name="connsiteX206" fmla="*/ 390448 w 567463"/>
                <a:gd name="connsiteY206" fmla="*/ 360010 h 940328"/>
                <a:gd name="connsiteX207" fmla="*/ 386500 w 567463"/>
                <a:gd name="connsiteY207" fmla="*/ 363069 h 940328"/>
                <a:gd name="connsiteX208" fmla="*/ 386500 w 567463"/>
                <a:gd name="connsiteY208" fmla="*/ 358529 h 940328"/>
                <a:gd name="connsiteX209" fmla="*/ 388473 w 567463"/>
                <a:gd name="connsiteY209" fmla="*/ 347921 h 940328"/>
                <a:gd name="connsiteX210" fmla="*/ 390448 w 567463"/>
                <a:gd name="connsiteY210" fmla="*/ 346392 h 940328"/>
                <a:gd name="connsiteX211" fmla="*/ 392421 w 567463"/>
                <a:gd name="connsiteY211" fmla="*/ 349451 h 940328"/>
                <a:gd name="connsiteX212" fmla="*/ 392421 w 567463"/>
                <a:gd name="connsiteY212" fmla="*/ 353990 h 940328"/>
                <a:gd name="connsiteX213" fmla="*/ 396319 w 567463"/>
                <a:gd name="connsiteY213" fmla="*/ 355470 h 940328"/>
                <a:gd name="connsiteX214" fmla="*/ 398292 w 567463"/>
                <a:gd name="connsiteY214" fmla="*/ 360010 h 940328"/>
                <a:gd name="connsiteX215" fmla="*/ 396319 w 567463"/>
                <a:gd name="connsiteY215" fmla="*/ 366128 h 940328"/>
                <a:gd name="connsiteX216" fmla="*/ 392421 w 567463"/>
                <a:gd name="connsiteY216" fmla="*/ 369187 h 940328"/>
                <a:gd name="connsiteX217" fmla="*/ 390448 w 567463"/>
                <a:gd name="connsiteY217" fmla="*/ 370667 h 940328"/>
                <a:gd name="connsiteX218" fmla="*/ 123516 w 567463"/>
                <a:gd name="connsiteY218" fmla="*/ 580364 h 940328"/>
                <a:gd name="connsiteX219" fmla="*/ 127463 w 567463"/>
                <a:gd name="connsiteY219" fmla="*/ 581844 h 940328"/>
                <a:gd name="connsiteX220" fmla="*/ 129387 w 567463"/>
                <a:gd name="connsiteY220" fmla="*/ 580364 h 940328"/>
                <a:gd name="connsiteX221" fmla="*/ 125441 w 567463"/>
                <a:gd name="connsiteY221" fmla="*/ 578834 h 940328"/>
                <a:gd name="connsiteX222" fmla="*/ 123516 w 567463"/>
                <a:gd name="connsiteY222" fmla="*/ 578834 h 940328"/>
                <a:gd name="connsiteX223" fmla="*/ 123516 w 567463"/>
                <a:gd name="connsiteY223" fmla="*/ 580364 h 940328"/>
                <a:gd name="connsiteX224" fmla="*/ 121543 w 567463"/>
                <a:gd name="connsiteY224" fmla="*/ 583373 h 940328"/>
                <a:gd name="connsiteX225" fmla="*/ 123516 w 567463"/>
                <a:gd name="connsiteY225" fmla="*/ 584903 h 940328"/>
                <a:gd name="connsiteX226" fmla="*/ 123516 w 567463"/>
                <a:gd name="connsiteY226" fmla="*/ 583373 h 940328"/>
                <a:gd name="connsiteX227" fmla="*/ 117645 w 567463"/>
                <a:gd name="connsiteY227" fmla="*/ 586433 h 940328"/>
                <a:gd name="connsiteX228" fmla="*/ 119568 w 567463"/>
                <a:gd name="connsiteY228" fmla="*/ 587962 h 940328"/>
                <a:gd name="connsiteX229" fmla="*/ 121543 w 567463"/>
                <a:gd name="connsiteY229" fmla="*/ 586433 h 940328"/>
                <a:gd name="connsiteX230" fmla="*/ 113697 w 567463"/>
                <a:gd name="connsiteY230" fmla="*/ 589492 h 940328"/>
                <a:gd name="connsiteX231" fmla="*/ 113697 w 567463"/>
                <a:gd name="connsiteY231" fmla="*/ 592501 h 940328"/>
                <a:gd name="connsiteX232" fmla="*/ 117645 w 567463"/>
                <a:gd name="connsiteY232" fmla="*/ 591021 h 940328"/>
                <a:gd name="connsiteX233" fmla="*/ 113697 w 567463"/>
                <a:gd name="connsiteY233" fmla="*/ 589492 h 940328"/>
                <a:gd name="connsiteX234" fmla="*/ 107826 w 567463"/>
                <a:gd name="connsiteY234" fmla="*/ 606169 h 940328"/>
                <a:gd name="connsiteX235" fmla="*/ 105852 w 567463"/>
                <a:gd name="connsiteY235" fmla="*/ 600100 h 940328"/>
                <a:gd name="connsiteX236" fmla="*/ 105852 w 567463"/>
                <a:gd name="connsiteY236" fmla="*/ 595363 h 940328"/>
                <a:gd name="connsiteX237" fmla="*/ 109750 w 567463"/>
                <a:gd name="connsiteY237" fmla="*/ 592304 h 940328"/>
                <a:gd name="connsiteX238" fmla="*/ 109750 w 567463"/>
                <a:gd name="connsiteY238" fmla="*/ 598373 h 940328"/>
                <a:gd name="connsiteX239" fmla="*/ 113697 w 567463"/>
                <a:gd name="connsiteY239" fmla="*/ 599902 h 940328"/>
                <a:gd name="connsiteX240" fmla="*/ 117645 w 567463"/>
                <a:gd name="connsiteY240" fmla="*/ 602912 h 940328"/>
                <a:gd name="connsiteX241" fmla="*/ 113697 w 567463"/>
                <a:gd name="connsiteY241" fmla="*/ 605971 h 940328"/>
                <a:gd name="connsiteX242" fmla="*/ 162741 w 567463"/>
                <a:gd name="connsiteY242" fmla="*/ 609228 h 940328"/>
                <a:gd name="connsiteX243" fmla="*/ 160818 w 567463"/>
                <a:gd name="connsiteY243" fmla="*/ 606169 h 940328"/>
                <a:gd name="connsiteX244" fmla="*/ 162741 w 567463"/>
                <a:gd name="connsiteY244" fmla="*/ 604639 h 940328"/>
                <a:gd name="connsiteX245" fmla="*/ 168662 w 567463"/>
                <a:gd name="connsiteY245" fmla="*/ 606169 h 940328"/>
                <a:gd name="connsiteX246" fmla="*/ 164716 w 567463"/>
                <a:gd name="connsiteY246" fmla="*/ 609228 h 940328"/>
                <a:gd name="connsiteX247" fmla="*/ 156870 w 567463"/>
                <a:gd name="connsiteY247" fmla="*/ 618307 h 940328"/>
                <a:gd name="connsiteX248" fmla="*/ 158843 w 567463"/>
                <a:gd name="connsiteY248" fmla="*/ 616826 h 940328"/>
                <a:gd name="connsiteX249" fmla="*/ 160818 w 567463"/>
                <a:gd name="connsiteY249" fmla="*/ 616826 h 940328"/>
                <a:gd name="connsiteX250" fmla="*/ 158843 w 567463"/>
                <a:gd name="connsiteY250" fmla="*/ 619836 h 940328"/>
                <a:gd name="connsiteX251" fmla="*/ 156870 w 567463"/>
                <a:gd name="connsiteY251" fmla="*/ 618307 h 940328"/>
                <a:gd name="connsiteX252" fmla="*/ 152923 w 567463"/>
                <a:gd name="connsiteY252" fmla="*/ 603110 h 940328"/>
                <a:gd name="connsiteX253" fmla="*/ 150999 w 567463"/>
                <a:gd name="connsiteY253" fmla="*/ 606169 h 940328"/>
                <a:gd name="connsiteX254" fmla="*/ 152923 w 567463"/>
                <a:gd name="connsiteY254" fmla="*/ 612237 h 940328"/>
                <a:gd name="connsiteX255" fmla="*/ 154897 w 567463"/>
                <a:gd name="connsiteY255" fmla="*/ 615297 h 940328"/>
                <a:gd name="connsiteX256" fmla="*/ 156870 w 567463"/>
                <a:gd name="connsiteY256" fmla="*/ 616826 h 940328"/>
                <a:gd name="connsiteX257" fmla="*/ 158843 w 567463"/>
                <a:gd name="connsiteY257" fmla="*/ 610757 h 940328"/>
                <a:gd name="connsiteX258" fmla="*/ 154897 w 567463"/>
                <a:gd name="connsiteY258" fmla="*/ 606169 h 940328"/>
                <a:gd name="connsiteX259" fmla="*/ 154897 w 567463"/>
                <a:gd name="connsiteY259" fmla="*/ 604639 h 940328"/>
                <a:gd name="connsiteX260" fmla="*/ 152923 w 567463"/>
                <a:gd name="connsiteY260" fmla="*/ 603110 h 940328"/>
                <a:gd name="connsiteX261" fmla="*/ 309973 w 567463"/>
                <a:gd name="connsiteY261" fmla="*/ 528655 h 940328"/>
                <a:gd name="connsiteX262" fmla="*/ 306075 w 567463"/>
                <a:gd name="connsiteY262" fmla="*/ 522636 h 940328"/>
                <a:gd name="connsiteX263" fmla="*/ 306075 w 567463"/>
                <a:gd name="connsiteY263" fmla="*/ 518047 h 940328"/>
                <a:gd name="connsiteX264" fmla="*/ 309973 w 567463"/>
                <a:gd name="connsiteY264" fmla="*/ 513507 h 940328"/>
                <a:gd name="connsiteX265" fmla="*/ 311946 w 567463"/>
                <a:gd name="connsiteY265" fmla="*/ 513507 h 940328"/>
                <a:gd name="connsiteX266" fmla="*/ 313871 w 567463"/>
                <a:gd name="connsiteY266" fmla="*/ 518047 h 940328"/>
                <a:gd name="connsiteX267" fmla="*/ 313871 w 567463"/>
                <a:gd name="connsiteY267" fmla="*/ 528655 h 940328"/>
                <a:gd name="connsiteX268" fmla="*/ 284465 w 567463"/>
                <a:gd name="connsiteY268" fmla="*/ 524116 h 940328"/>
                <a:gd name="connsiteX269" fmla="*/ 288362 w 567463"/>
                <a:gd name="connsiteY269" fmla="*/ 519576 h 940328"/>
                <a:gd name="connsiteX270" fmla="*/ 294234 w 567463"/>
                <a:gd name="connsiteY270" fmla="*/ 519576 h 940328"/>
                <a:gd name="connsiteX271" fmla="*/ 292309 w 567463"/>
                <a:gd name="connsiteY271" fmla="*/ 522636 h 940328"/>
                <a:gd name="connsiteX272" fmla="*/ 288362 w 567463"/>
                <a:gd name="connsiteY272" fmla="*/ 524116 h 940328"/>
                <a:gd name="connsiteX273" fmla="*/ 251061 w 567463"/>
                <a:gd name="connsiteY273" fmla="*/ 587962 h 940328"/>
                <a:gd name="connsiteX274" fmla="*/ 253034 w 567463"/>
                <a:gd name="connsiteY274" fmla="*/ 589492 h 940328"/>
                <a:gd name="connsiteX275" fmla="*/ 255008 w 567463"/>
                <a:gd name="connsiteY275" fmla="*/ 586433 h 940328"/>
                <a:gd name="connsiteX276" fmla="*/ 258955 w 567463"/>
                <a:gd name="connsiteY276" fmla="*/ 587962 h 940328"/>
                <a:gd name="connsiteX277" fmla="*/ 262853 w 567463"/>
                <a:gd name="connsiteY277" fmla="*/ 587962 h 940328"/>
                <a:gd name="connsiteX278" fmla="*/ 262853 w 567463"/>
                <a:gd name="connsiteY278" fmla="*/ 583373 h 940328"/>
                <a:gd name="connsiteX279" fmla="*/ 256982 w 567463"/>
                <a:gd name="connsiteY279" fmla="*/ 577305 h 940328"/>
                <a:gd name="connsiteX280" fmla="*/ 258955 w 567463"/>
                <a:gd name="connsiteY280" fmla="*/ 572765 h 940328"/>
                <a:gd name="connsiteX281" fmla="*/ 262853 w 567463"/>
                <a:gd name="connsiteY281" fmla="*/ 563637 h 940328"/>
                <a:gd name="connsiteX282" fmla="*/ 272721 w 567463"/>
                <a:gd name="connsiteY282" fmla="*/ 559098 h 940328"/>
                <a:gd name="connsiteX283" fmla="*/ 274695 w 567463"/>
                <a:gd name="connsiteY283" fmla="*/ 556039 h 940328"/>
                <a:gd name="connsiteX284" fmla="*/ 282737 w 567463"/>
                <a:gd name="connsiteY284" fmla="*/ 556039 h 940328"/>
                <a:gd name="connsiteX285" fmla="*/ 292605 w 567463"/>
                <a:gd name="connsiteY285" fmla="*/ 562108 h 940328"/>
                <a:gd name="connsiteX286" fmla="*/ 294529 w 567463"/>
                <a:gd name="connsiteY286" fmla="*/ 565118 h 940328"/>
                <a:gd name="connsiteX287" fmla="*/ 298477 w 567463"/>
                <a:gd name="connsiteY287" fmla="*/ 563637 h 940328"/>
                <a:gd name="connsiteX288" fmla="*/ 302424 w 567463"/>
                <a:gd name="connsiteY288" fmla="*/ 554509 h 940328"/>
                <a:gd name="connsiteX289" fmla="*/ 312292 w 567463"/>
                <a:gd name="connsiteY289" fmla="*/ 548440 h 940328"/>
                <a:gd name="connsiteX290" fmla="*/ 312292 w 567463"/>
                <a:gd name="connsiteY290" fmla="*/ 543852 h 940328"/>
                <a:gd name="connsiteX291" fmla="*/ 310319 w 567463"/>
                <a:gd name="connsiteY291" fmla="*/ 540842 h 940328"/>
                <a:gd name="connsiteX292" fmla="*/ 308345 w 567463"/>
                <a:gd name="connsiteY292" fmla="*/ 536303 h 940328"/>
                <a:gd name="connsiteX293" fmla="*/ 298477 w 567463"/>
                <a:gd name="connsiteY293" fmla="*/ 531714 h 940328"/>
                <a:gd name="connsiteX294" fmla="*/ 294529 w 567463"/>
                <a:gd name="connsiteY294" fmla="*/ 531714 h 940328"/>
                <a:gd name="connsiteX295" fmla="*/ 288658 w 567463"/>
                <a:gd name="connsiteY295" fmla="*/ 528655 h 940328"/>
                <a:gd name="connsiteX296" fmla="*/ 280814 w 567463"/>
                <a:gd name="connsiteY296" fmla="*/ 527175 h 940328"/>
                <a:gd name="connsiteX297" fmla="*/ 270946 w 567463"/>
                <a:gd name="connsiteY297" fmla="*/ 533293 h 940328"/>
                <a:gd name="connsiteX298" fmla="*/ 270946 w 567463"/>
                <a:gd name="connsiteY298" fmla="*/ 536155 h 940328"/>
                <a:gd name="connsiteX299" fmla="*/ 267047 w 567463"/>
                <a:gd name="connsiteY299" fmla="*/ 540694 h 940328"/>
                <a:gd name="connsiteX300" fmla="*/ 261127 w 567463"/>
                <a:gd name="connsiteY300" fmla="*/ 543704 h 940328"/>
                <a:gd name="connsiteX301" fmla="*/ 255254 w 567463"/>
                <a:gd name="connsiteY301" fmla="*/ 546763 h 940328"/>
                <a:gd name="connsiteX302" fmla="*/ 251307 w 567463"/>
                <a:gd name="connsiteY302" fmla="*/ 546763 h 940328"/>
                <a:gd name="connsiteX303" fmla="*/ 247410 w 567463"/>
                <a:gd name="connsiteY303" fmla="*/ 537684 h 940328"/>
                <a:gd name="connsiteX304" fmla="*/ 245436 w 567463"/>
                <a:gd name="connsiteY304" fmla="*/ 537684 h 940328"/>
                <a:gd name="connsiteX305" fmla="*/ 233693 w 567463"/>
                <a:gd name="connsiteY305" fmla="*/ 548293 h 940328"/>
                <a:gd name="connsiteX306" fmla="*/ 233693 w 567463"/>
                <a:gd name="connsiteY306" fmla="*/ 552881 h 940328"/>
                <a:gd name="connsiteX307" fmla="*/ 227773 w 567463"/>
                <a:gd name="connsiteY307" fmla="*/ 557420 h 940328"/>
                <a:gd name="connsiteX308" fmla="*/ 225798 w 567463"/>
                <a:gd name="connsiteY308" fmla="*/ 561960 h 940328"/>
                <a:gd name="connsiteX309" fmla="*/ 237591 w 567463"/>
                <a:gd name="connsiteY309" fmla="*/ 564970 h 940328"/>
                <a:gd name="connsiteX310" fmla="*/ 239565 w 567463"/>
                <a:gd name="connsiteY310" fmla="*/ 571088 h 940328"/>
                <a:gd name="connsiteX311" fmla="*/ 237591 w 567463"/>
                <a:gd name="connsiteY311" fmla="*/ 574147 h 940328"/>
                <a:gd name="connsiteX312" fmla="*/ 237591 w 567463"/>
                <a:gd name="connsiteY312" fmla="*/ 577157 h 940328"/>
                <a:gd name="connsiteX313" fmla="*/ 243512 w 567463"/>
                <a:gd name="connsiteY313" fmla="*/ 583225 h 940328"/>
                <a:gd name="connsiteX314" fmla="*/ 251307 w 567463"/>
                <a:gd name="connsiteY314" fmla="*/ 584755 h 940328"/>
                <a:gd name="connsiteX315" fmla="*/ 251307 w 567463"/>
                <a:gd name="connsiteY315" fmla="*/ 587814 h 940328"/>
                <a:gd name="connsiteX316" fmla="*/ 203990 w 567463"/>
                <a:gd name="connsiteY316" fmla="*/ 692761 h 940328"/>
                <a:gd name="connsiteX317" fmla="*/ 198070 w 567463"/>
                <a:gd name="connsiteY317" fmla="*/ 688222 h 940328"/>
                <a:gd name="connsiteX318" fmla="*/ 194172 w 567463"/>
                <a:gd name="connsiteY318" fmla="*/ 689751 h 940328"/>
                <a:gd name="connsiteX319" fmla="*/ 192197 w 567463"/>
                <a:gd name="connsiteY319" fmla="*/ 692761 h 940328"/>
                <a:gd name="connsiteX320" fmla="*/ 196145 w 567463"/>
                <a:gd name="connsiteY320" fmla="*/ 698879 h 940328"/>
                <a:gd name="connsiteX321" fmla="*/ 203990 w 567463"/>
                <a:gd name="connsiteY321" fmla="*/ 698879 h 940328"/>
                <a:gd name="connsiteX322" fmla="*/ 205914 w 567463"/>
                <a:gd name="connsiteY322" fmla="*/ 697300 h 940328"/>
                <a:gd name="connsiteX323" fmla="*/ 203990 w 567463"/>
                <a:gd name="connsiteY323" fmla="*/ 692761 h 940328"/>
                <a:gd name="connsiteX324" fmla="*/ 209862 w 567463"/>
                <a:gd name="connsiteY324" fmla="*/ 686692 h 940328"/>
                <a:gd name="connsiteX325" fmla="*/ 207888 w 567463"/>
                <a:gd name="connsiteY325" fmla="*/ 677564 h 940328"/>
                <a:gd name="connsiteX326" fmla="*/ 209862 w 567463"/>
                <a:gd name="connsiteY326" fmla="*/ 671495 h 940328"/>
                <a:gd name="connsiteX327" fmla="*/ 211835 w 567463"/>
                <a:gd name="connsiteY327" fmla="*/ 676035 h 940328"/>
                <a:gd name="connsiteX328" fmla="*/ 213809 w 567463"/>
                <a:gd name="connsiteY328" fmla="*/ 680623 h 940328"/>
                <a:gd name="connsiteX329" fmla="*/ 211835 w 567463"/>
                <a:gd name="connsiteY329" fmla="*/ 685212 h 940328"/>
                <a:gd name="connsiteX330" fmla="*/ 209862 w 567463"/>
                <a:gd name="connsiteY330" fmla="*/ 686692 h 940328"/>
                <a:gd name="connsiteX331" fmla="*/ 196145 w 567463"/>
                <a:gd name="connsiteY331" fmla="*/ 668486 h 940328"/>
                <a:gd name="connsiteX332" fmla="*/ 203990 w 567463"/>
                <a:gd name="connsiteY332" fmla="*/ 665427 h 940328"/>
                <a:gd name="connsiteX333" fmla="*/ 211835 w 567463"/>
                <a:gd name="connsiteY333" fmla="*/ 657828 h 940328"/>
                <a:gd name="connsiteX334" fmla="*/ 205914 w 567463"/>
                <a:gd name="connsiteY334" fmla="*/ 651759 h 940328"/>
                <a:gd name="connsiteX335" fmla="*/ 203990 w 567463"/>
                <a:gd name="connsiteY335" fmla="*/ 648749 h 940328"/>
                <a:gd name="connsiteX336" fmla="*/ 207888 w 567463"/>
                <a:gd name="connsiteY336" fmla="*/ 645690 h 940328"/>
                <a:gd name="connsiteX337" fmla="*/ 213809 w 567463"/>
                <a:gd name="connsiteY337" fmla="*/ 648749 h 940328"/>
                <a:gd name="connsiteX338" fmla="*/ 215733 w 567463"/>
                <a:gd name="connsiteY338" fmla="*/ 650230 h 940328"/>
                <a:gd name="connsiteX339" fmla="*/ 217707 w 567463"/>
                <a:gd name="connsiteY339" fmla="*/ 642631 h 940328"/>
                <a:gd name="connsiteX340" fmla="*/ 217707 w 567463"/>
                <a:gd name="connsiteY340" fmla="*/ 633503 h 940328"/>
                <a:gd name="connsiteX341" fmla="*/ 215733 w 567463"/>
                <a:gd name="connsiteY341" fmla="*/ 628964 h 940328"/>
                <a:gd name="connsiteX342" fmla="*/ 215733 w 567463"/>
                <a:gd name="connsiteY342" fmla="*/ 603110 h 940328"/>
                <a:gd name="connsiteX343" fmla="*/ 219680 w 567463"/>
                <a:gd name="connsiteY343" fmla="*/ 597041 h 940328"/>
                <a:gd name="connsiteX344" fmla="*/ 225551 w 567463"/>
                <a:gd name="connsiteY344" fmla="*/ 589492 h 940328"/>
                <a:gd name="connsiteX345" fmla="*/ 223628 w 567463"/>
                <a:gd name="connsiteY345" fmla="*/ 586433 h 940328"/>
                <a:gd name="connsiteX346" fmla="*/ 219680 w 567463"/>
                <a:gd name="connsiteY346" fmla="*/ 584903 h 940328"/>
                <a:gd name="connsiteX347" fmla="*/ 219680 w 567463"/>
                <a:gd name="connsiteY347" fmla="*/ 578834 h 940328"/>
                <a:gd name="connsiteX348" fmla="*/ 215733 w 567463"/>
                <a:gd name="connsiteY348" fmla="*/ 578834 h 940328"/>
                <a:gd name="connsiteX349" fmla="*/ 217707 w 567463"/>
                <a:gd name="connsiteY349" fmla="*/ 575775 h 940328"/>
                <a:gd name="connsiteX350" fmla="*/ 205914 w 567463"/>
                <a:gd name="connsiteY350" fmla="*/ 575775 h 940328"/>
                <a:gd name="connsiteX351" fmla="*/ 203990 w 567463"/>
                <a:gd name="connsiteY351" fmla="*/ 572765 h 940328"/>
                <a:gd name="connsiteX352" fmla="*/ 209862 w 567463"/>
                <a:gd name="connsiteY352" fmla="*/ 569706 h 940328"/>
                <a:gd name="connsiteX353" fmla="*/ 211835 w 567463"/>
                <a:gd name="connsiteY353" fmla="*/ 565118 h 940328"/>
                <a:gd name="connsiteX354" fmla="*/ 209862 w 567463"/>
                <a:gd name="connsiteY354" fmla="*/ 557569 h 940328"/>
                <a:gd name="connsiteX355" fmla="*/ 205914 w 567463"/>
                <a:gd name="connsiteY355" fmla="*/ 554509 h 940328"/>
                <a:gd name="connsiteX356" fmla="*/ 198070 w 567463"/>
                <a:gd name="connsiteY356" fmla="*/ 556039 h 940328"/>
                <a:gd name="connsiteX357" fmla="*/ 198070 w 567463"/>
                <a:gd name="connsiteY357" fmla="*/ 557569 h 940328"/>
                <a:gd name="connsiteX358" fmla="*/ 194172 w 567463"/>
                <a:gd name="connsiteY358" fmla="*/ 560578 h 940328"/>
                <a:gd name="connsiteX359" fmla="*/ 188251 w 567463"/>
                <a:gd name="connsiteY359" fmla="*/ 560578 h 940328"/>
                <a:gd name="connsiteX360" fmla="*/ 182379 w 567463"/>
                <a:gd name="connsiteY360" fmla="*/ 553029 h 940328"/>
                <a:gd name="connsiteX361" fmla="*/ 182379 w 567463"/>
                <a:gd name="connsiteY361" fmla="*/ 548440 h 940328"/>
                <a:gd name="connsiteX362" fmla="*/ 194172 w 567463"/>
                <a:gd name="connsiteY362" fmla="*/ 543852 h 940328"/>
                <a:gd name="connsiteX363" fmla="*/ 204040 w 567463"/>
                <a:gd name="connsiteY363" fmla="*/ 540842 h 940328"/>
                <a:gd name="connsiteX364" fmla="*/ 213908 w 567463"/>
                <a:gd name="connsiteY364" fmla="*/ 545381 h 940328"/>
                <a:gd name="connsiteX365" fmla="*/ 219779 w 567463"/>
                <a:gd name="connsiteY365" fmla="*/ 548440 h 940328"/>
                <a:gd name="connsiteX366" fmla="*/ 221752 w 567463"/>
                <a:gd name="connsiteY366" fmla="*/ 545381 h 940328"/>
                <a:gd name="connsiteX367" fmla="*/ 219779 w 567463"/>
                <a:gd name="connsiteY367" fmla="*/ 540842 h 940328"/>
                <a:gd name="connsiteX368" fmla="*/ 221752 w 567463"/>
                <a:gd name="connsiteY368" fmla="*/ 534773 h 940328"/>
                <a:gd name="connsiteX369" fmla="*/ 219779 w 567463"/>
                <a:gd name="connsiteY369" fmla="*/ 530184 h 940328"/>
                <a:gd name="connsiteX370" fmla="*/ 221752 w 567463"/>
                <a:gd name="connsiteY370" fmla="*/ 527175 h 940328"/>
                <a:gd name="connsiteX371" fmla="*/ 227625 w 567463"/>
                <a:gd name="connsiteY371" fmla="*/ 527175 h 940328"/>
                <a:gd name="connsiteX372" fmla="*/ 229598 w 567463"/>
                <a:gd name="connsiteY372" fmla="*/ 530184 h 940328"/>
                <a:gd name="connsiteX373" fmla="*/ 233545 w 567463"/>
                <a:gd name="connsiteY373" fmla="*/ 530184 h 940328"/>
                <a:gd name="connsiteX374" fmla="*/ 241341 w 567463"/>
                <a:gd name="connsiteY374" fmla="*/ 527175 h 940328"/>
                <a:gd name="connsiteX375" fmla="*/ 253133 w 567463"/>
                <a:gd name="connsiteY375" fmla="*/ 525645 h 940328"/>
                <a:gd name="connsiteX376" fmla="*/ 263001 w 567463"/>
                <a:gd name="connsiteY376" fmla="*/ 522636 h 940328"/>
                <a:gd name="connsiteX377" fmla="*/ 272869 w 567463"/>
                <a:gd name="connsiteY377" fmla="*/ 522636 h 940328"/>
                <a:gd name="connsiteX378" fmla="*/ 274842 w 567463"/>
                <a:gd name="connsiteY378" fmla="*/ 524116 h 940328"/>
                <a:gd name="connsiteX379" fmla="*/ 278790 w 567463"/>
                <a:gd name="connsiteY379" fmla="*/ 522636 h 940328"/>
                <a:gd name="connsiteX380" fmla="*/ 278790 w 567463"/>
                <a:gd name="connsiteY380" fmla="*/ 521106 h 940328"/>
                <a:gd name="connsiteX381" fmla="*/ 286635 w 567463"/>
                <a:gd name="connsiteY381" fmla="*/ 516567 h 940328"/>
                <a:gd name="connsiteX382" fmla="*/ 286635 w 567463"/>
                <a:gd name="connsiteY382" fmla="*/ 511978 h 940328"/>
                <a:gd name="connsiteX383" fmla="*/ 294432 w 567463"/>
                <a:gd name="connsiteY383" fmla="*/ 507389 h 940328"/>
                <a:gd name="connsiteX384" fmla="*/ 306273 w 567463"/>
                <a:gd name="connsiteY384" fmla="*/ 504380 h 940328"/>
                <a:gd name="connsiteX385" fmla="*/ 316141 w 567463"/>
                <a:gd name="connsiteY385" fmla="*/ 505909 h 940328"/>
                <a:gd name="connsiteX386" fmla="*/ 322061 w 567463"/>
                <a:gd name="connsiteY386" fmla="*/ 504380 h 940328"/>
                <a:gd name="connsiteX387" fmla="*/ 323986 w 567463"/>
                <a:gd name="connsiteY387" fmla="*/ 507389 h 940328"/>
                <a:gd name="connsiteX388" fmla="*/ 323986 w 567463"/>
                <a:gd name="connsiteY388" fmla="*/ 511978 h 940328"/>
                <a:gd name="connsiteX389" fmla="*/ 320088 w 567463"/>
                <a:gd name="connsiteY389" fmla="*/ 519576 h 940328"/>
                <a:gd name="connsiteX390" fmla="*/ 318114 w 567463"/>
                <a:gd name="connsiteY390" fmla="*/ 524116 h 940328"/>
                <a:gd name="connsiteX391" fmla="*/ 320088 w 567463"/>
                <a:gd name="connsiteY391" fmla="*/ 525645 h 940328"/>
                <a:gd name="connsiteX392" fmla="*/ 322061 w 567463"/>
                <a:gd name="connsiteY392" fmla="*/ 531714 h 940328"/>
                <a:gd name="connsiteX393" fmla="*/ 322061 w 567463"/>
                <a:gd name="connsiteY393" fmla="*/ 545381 h 940328"/>
                <a:gd name="connsiteX394" fmla="*/ 329907 w 567463"/>
                <a:gd name="connsiteY394" fmla="*/ 548440 h 940328"/>
                <a:gd name="connsiteX395" fmla="*/ 341699 w 567463"/>
                <a:gd name="connsiteY395" fmla="*/ 556039 h 940328"/>
                <a:gd name="connsiteX396" fmla="*/ 347570 w 567463"/>
                <a:gd name="connsiteY396" fmla="*/ 557569 h 940328"/>
                <a:gd name="connsiteX397" fmla="*/ 351518 w 567463"/>
                <a:gd name="connsiteY397" fmla="*/ 556039 h 940328"/>
                <a:gd name="connsiteX398" fmla="*/ 357341 w 567463"/>
                <a:gd name="connsiteY398" fmla="*/ 546911 h 940328"/>
                <a:gd name="connsiteX399" fmla="*/ 359363 w 567463"/>
                <a:gd name="connsiteY399" fmla="*/ 540842 h 940328"/>
                <a:gd name="connsiteX400" fmla="*/ 363261 w 567463"/>
                <a:gd name="connsiteY400" fmla="*/ 537832 h 940328"/>
                <a:gd name="connsiteX401" fmla="*/ 363261 w 567463"/>
                <a:gd name="connsiteY401" fmla="*/ 536155 h 940328"/>
                <a:gd name="connsiteX402" fmla="*/ 361336 w 567463"/>
                <a:gd name="connsiteY402" fmla="*/ 531566 h 940328"/>
                <a:gd name="connsiteX403" fmla="*/ 367159 w 567463"/>
                <a:gd name="connsiteY403" fmla="*/ 523968 h 940328"/>
                <a:gd name="connsiteX404" fmla="*/ 378951 w 567463"/>
                <a:gd name="connsiteY404" fmla="*/ 523968 h 940328"/>
                <a:gd name="connsiteX405" fmla="*/ 380924 w 567463"/>
                <a:gd name="connsiteY405" fmla="*/ 520958 h 940328"/>
                <a:gd name="connsiteX406" fmla="*/ 380924 w 567463"/>
                <a:gd name="connsiteY406" fmla="*/ 519428 h 940328"/>
                <a:gd name="connsiteX407" fmla="*/ 378951 w 567463"/>
                <a:gd name="connsiteY407" fmla="*/ 511830 h 940328"/>
                <a:gd name="connsiteX408" fmla="*/ 365234 w 567463"/>
                <a:gd name="connsiteY408" fmla="*/ 507241 h 940328"/>
                <a:gd name="connsiteX409" fmla="*/ 363261 w 567463"/>
                <a:gd name="connsiteY409" fmla="*/ 504232 h 940328"/>
                <a:gd name="connsiteX410" fmla="*/ 365234 w 567463"/>
                <a:gd name="connsiteY410" fmla="*/ 496633 h 940328"/>
                <a:gd name="connsiteX411" fmla="*/ 369132 w 567463"/>
                <a:gd name="connsiteY411" fmla="*/ 493623 h 940328"/>
                <a:gd name="connsiteX412" fmla="*/ 371106 w 567463"/>
                <a:gd name="connsiteY412" fmla="*/ 492094 h 940328"/>
                <a:gd name="connsiteX413" fmla="*/ 371106 w 567463"/>
                <a:gd name="connsiteY413" fmla="*/ 501222 h 940328"/>
                <a:gd name="connsiteX414" fmla="*/ 375053 w 567463"/>
                <a:gd name="connsiteY414" fmla="*/ 502702 h 940328"/>
                <a:gd name="connsiteX415" fmla="*/ 378951 w 567463"/>
                <a:gd name="connsiteY415" fmla="*/ 501222 h 940328"/>
                <a:gd name="connsiteX416" fmla="*/ 380924 w 567463"/>
                <a:gd name="connsiteY416" fmla="*/ 499692 h 940328"/>
                <a:gd name="connsiteX417" fmla="*/ 384872 w 567463"/>
                <a:gd name="connsiteY417" fmla="*/ 499692 h 940328"/>
                <a:gd name="connsiteX418" fmla="*/ 388770 w 567463"/>
                <a:gd name="connsiteY418" fmla="*/ 502702 h 940328"/>
                <a:gd name="connsiteX419" fmla="*/ 392717 w 567463"/>
                <a:gd name="connsiteY419" fmla="*/ 501222 h 940328"/>
                <a:gd name="connsiteX420" fmla="*/ 394690 w 567463"/>
                <a:gd name="connsiteY420" fmla="*/ 501222 h 940328"/>
                <a:gd name="connsiteX421" fmla="*/ 392717 w 567463"/>
                <a:gd name="connsiteY421" fmla="*/ 504232 h 940328"/>
                <a:gd name="connsiteX422" fmla="*/ 386797 w 567463"/>
                <a:gd name="connsiteY422" fmla="*/ 505761 h 940328"/>
                <a:gd name="connsiteX423" fmla="*/ 386797 w 567463"/>
                <a:gd name="connsiteY423" fmla="*/ 507241 h 940328"/>
                <a:gd name="connsiteX424" fmla="*/ 392717 w 567463"/>
                <a:gd name="connsiteY424" fmla="*/ 507241 h 940328"/>
                <a:gd name="connsiteX425" fmla="*/ 402585 w 567463"/>
                <a:gd name="connsiteY425" fmla="*/ 502702 h 940328"/>
                <a:gd name="connsiteX426" fmla="*/ 420200 w 567463"/>
                <a:gd name="connsiteY426" fmla="*/ 504232 h 940328"/>
                <a:gd name="connsiteX427" fmla="*/ 430068 w 567463"/>
                <a:gd name="connsiteY427" fmla="*/ 502702 h 940328"/>
                <a:gd name="connsiteX428" fmla="*/ 428143 w 567463"/>
                <a:gd name="connsiteY428" fmla="*/ 501222 h 940328"/>
                <a:gd name="connsiteX429" fmla="*/ 426170 w 567463"/>
                <a:gd name="connsiteY429" fmla="*/ 495153 h 940328"/>
                <a:gd name="connsiteX430" fmla="*/ 428143 w 567463"/>
                <a:gd name="connsiteY430" fmla="*/ 487505 h 940328"/>
                <a:gd name="connsiteX431" fmla="*/ 434064 w 567463"/>
                <a:gd name="connsiteY431" fmla="*/ 484496 h 940328"/>
                <a:gd name="connsiteX432" fmla="*/ 441860 w 567463"/>
                <a:gd name="connsiteY432" fmla="*/ 484496 h 940328"/>
                <a:gd name="connsiteX433" fmla="*/ 443833 w 567463"/>
                <a:gd name="connsiteY433" fmla="*/ 492094 h 940328"/>
                <a:gd name="connsiteX434" fmla="*/ 441860 w 567463"/>
                <a:gd name="connsiteY434" fmla="*/ 498163 h 940328"/>
                <a:gd name="connsiteX435" fmla="*/ 443833 w 567463"/>
                <a:gd name="connsiteY435" fmla="*/ 502702 h 940328"/>
                <a:gd name="connsiteX436" fmla="*/ 449706 w 567463"/>
                <a:gd name="connsiteY436" fmla="*/ 501222 h 940328"/>
                <a:gd name="connsiteX437" fmla="*/ 453652 w 567463"/>
                <a:gd name="connsiteY437" fmla="*/ 495153 h 940328"/>
                <a:gd name="connsiteX438" fmla="*/ 449706 w 567463"/>
                <a:gd name="connsiteY438" fmla="*/ 484496 h 940328"/>
                <a:gd name="connsiteX439" fmla="*/ 451679 w 567463"/>
                <a:gd name="connsiteY439" fmla="*/ 476897 h 940328"/>
                <a:gd name="connsiteX440" fmla="*/ 461547 w 567463"/>
                <a:gd name="connsiteY440" fmla="*/ 472308 h 940328"/>
                <a:gd name="connsiteX441" fmla="*/ 465494 w 567463"/>
                <a:gd name="connsiteY441" fmla="*/ 472308 h 940328"/>
                <a:gd name="connsiteX442" fmla="*/ 467467 w 567463"/>
                <a:gd name="connsiteY442" fmla="*/ 469299 h 940328"/>
                <a:gd name="connsiteX443" fmla="*/ 463520 w 567463"/>
                <a:gd name="connsiteY443" fmla="*/ 466240 h 940328"/>
                <a:gd name="connsiteX444" fmla="*/ 465494 w 567463"/>
                <a:gd name="connsiteY444" fmla="*/ 457161 h 940328"/>
                <a:gd name="connsiteX445" fmla="*/ 469392 w 567463"/>
                <a:gd name="connsiteY445" fmla="*/ 455631 h 940328"/>
                <a:gd name="connsiteX446" fmla="*/ 477286 w 567463"/>
                <a:gd name="connsiteY446" fmla="*/ 455631 h 940328"/>
                <a:gd name="connsiteX447" fmla="*/ 479211 w 567463"/>
                <a:gd name="connsiteY447" fmla="*/ 458690 h 940328"/>
                <a:gd name="connsiteX448" fmla="*/ 477286 w 567463"/>
                <a:gd name="connsiteY448" fmla="*/ 464759 h 940328"/>
                <a:gd name="connsiteX449" fmla="*/ 473290 w 567463"/>
                <a:gd name="connsiteY449" fmla="*/ 472308 h 940328"/>
                <a:gd name="connsiteX450" fmla="*/ 477286 w 567463"/>
                <a:gd name="connsiteY450" fmla="*/ 490564 h 940328"/>
                <a:gd name="connsiteX451" fmla="*/ 479211 w 567463"/>
                <a:gd name="connsiteY451" fmla="*/ 492094 h 940328"/>
                <a:gd name="connsiteX452" fmla="*/ 485082 w 567463"/>
                <a:gd name="connsiteY452" fmla="*/ 487505 h 940328"/>
                <a:gd name="connsiteX453" fmla="*/ 487105 w 567463"/>
                <a:gd name="connsiteY453" fmla="*/ 482966 h 940328"/>
                <a:gd name="connsiteX454" fmla="*/ 492928 w 567463"/>
                <a:gd name="connsiteY454" fmla="*/ 482966 h 940328"/>
                <a:gd name="connsiteX455" fmla="*/ 498848 w 567463"/>
                <a:gd name="connsiteY455" fmla="*/ 476897 h 940328"/>
                <a:gd name="connsiteX456" fmla="*/ 500821 w 567463"/>
                <a:gd name="connsiteY456" fmla="*/ 469299 h 940328"/>
                <a:gd name="connsiteX457" fmla="*/ 500821 w 567463"/>
                <a:gd name="connsiteY457" fmla="*/ 464759 h 940328"/>
                <a:gd name="connsiteX458" fmla="*/ 506693 w 567463"/>
                <a:gd name="connsiteY458" fmla="*/ 457161 h 940328"/>
                <a:gd name="connsiteX459" fmla="*/ 506693 w 567463"/>
                <a:gd name="connsiteY459" fmla="*/ 452572 h 940328"/>
                <a:gd name="connsiteX460" fmla="*/ 502746 w 567463"/>
                <a:gd name="connsiteY460" fmla="*/ 449513 h 940328"/>
                <a:gd name="connsiteX461" fmla="*/ 494901 w 567463"/>
                <a:gd name="connsiteY461" fmla="*/ 440434 h 940328"/>
                <a:gd name="connsiteX462" fmla="*/ 492928 w 567463"/>
                <a:gd name="connsiteY462" fmla="*/ 432836 h 940328"/>
                <a:gd name="connsiteX463" fmla="*/ 491003 w 567463"/>
                <a:gd name="connsiteY463" fmla="*/ 417639 h 940328"/>
                <a:gd name="connsiteX464" fmla="*/ 492928 w 567463"/>
                <a:gd name="connsiteY464" fmla="*/ 400913 h 940328"/>
                <a:gd name="connsiteX465" fmla="*/ 492928 w 567463"/>
                <a:gd name="connsiteY465" fmla="*/ 388775 h 940328"/>
                <a:gd name="connsiteX466" fmla="*/ 487105 w 567463"/>
                <a:gd name="connsiteY466" fmla="*/ 367509 h 940328"/>
                <a:gd name="connsiteX467" fmla="*/ 479211 w 567463"/>
                <a:gd name="connsiteY467" fmla="*/ 355322 h 940328"/>
                <a:gd name="connsiteX468" fmla="*/ 477286 w 567463"/>
                <a:gd name="connsiteY468" fmla="*/ 349303 h 940328"/>
                <a:gd name="connsiteX469" fmla="*/ 479211 w 567463"/>
                <a:gd name="connsiteY469" fmla="*/ 338645 h 940328"/>
                <a:gd name="connsiteX470" fmla="*/ 491003 w 567463"/>
                <a:gd name="connsiteY470" fmla="*/ 335586 h 940328"/>
                <a:gd name="connsiteX471" fmla="*/ 494901 w 567463"/>
                <a:gd name="connsiteY471" fmla="*/ 335586 h 940328"/>
                <a:gd name="connsiteX472" fmla="*/ 498848 w 567463"/>
                <a:gd name="connsiteY472" fmla="*/ 338645 h 940328"/>
                <a:gd name="connsiteX473" fmla="*/ 500821 w 567463"/>
                <a:gd name="connsiteY473" fmla="*/ 337116 h 940328"/>
                <a:gd name="connsiteX474" fmla="*/ 498848 w 567463"/>
                <a:gd name="connsiteY474" fmla="*/ 328037 h 940328"/>
                <a:gd name="connsiteX475" fmla="*/ 496923 w 567463"/>
                <a:gd name="connsiteY475" fmla="*/ 323399 h 940328"/>
                <a:gd name="connsiteX476" fmla="*/ 494901 w 567463"/>
                <a:gd name="connsiteY476" fmla="*/ 321919 h 940328"/>
                <a:gd name="connsiteX477" fmla="*/ 492928 w 567463"/>
                <a:gd name="connsiteY477" fmla="*/ 315850 h 940328"/>
                <a:gd name="connsiteX478" fmla="*/ 494901 w 567463"/>
                <a:gd name="connsiteY478" fmla="*/ 312791 h 940328"/>
                <a:gd name="connsiteX479" fmla="*/ 494901 w 567463"/>
                <a:gd name="connsiteY479" fmla="*/ 308252 h 940328"/>
                <a:gd name="connsiteX480" fmla="*/ 496923 w 567463"/>
                <a:gd name="connsiteY480" fmla="*/ 305193 h 940328"/>
                <a:gd name="connsiteX481" fmla="*/ 496923 w 567463"/>
                <a:gd name="connsiteY481" fmla="*/ 297594 h 940328"/>
                <a:gd name="connsiteX482" fmla="*/ 494901 w 567463"/>
                <a:gd name="connsiteY482" fmla="*/ 294584 h 940328"/>
                <a:gd name="connsiteX483" fmla="*/ 494901 w 567463"/>
                <a:gd name="connsiteY483" fmla="*/ 286986 h 940328"/>
                <a:gd name="connsiteX484" fmla="*/ 496923 w 567463"/>
                <a:gd name="connsiteY484" fmla="*/ 283927 h 940328"/>
                <a:gd name="connsiteX485" fmla="*/ 492928 w 567463"/>
                <a:gd name="connsiteY485" fmla="*/ 279388 h 940328"/>
                <a:gd name="connsiteX486" fmla="*/ 491003 w 567463"/>
                <a:gd name="connsiteY486" fmla="*/ 267200 h 940328"/>
                <a:gd name="connsiteX487" fmla="*/ 485082 w 567463"/>
                <a:gd name="connsiteY487" fmla="*/ 258122 h 940328"/>
                <a:gd name="connsiteX488" fmla="*/ 481184 w 567463"/>
                <a:gd name="connsiteY488" fmla="*/ 258122 h 940328"/>
                <a:gd name="connsiteX489" fmla="*/ 477286 w 567463"/>
                <a:gd name="connsiteY489" fmla="*/ 256592 h 940328"/>
                <a:gd name="connsiteX490" fmla="*/ 477286 w 567463"/>
                <a:gd name="connsiteY490" fmla="*/ 242925 h 940328"/>
                <a:gd name="connsiteX491" fmla="*/ 469392 w 567463"/>
                <a:gd name="connsiteY491" fmla="*/ 236856 h 940328"/>
                <a:gd name="connsiteX492" fmla="*/ 455676 w 567463"/>
                <a:gd name="connsiteY492" fmla="*/ 221659 h 940328"/>
                <a:gd name="connsiteX493" fmla="*/ 451728 w 567463"/>
                <a:gd name="connsiteY493" fmla="*/ 217120 h 940328"/>
                <a:gd name="connsiteX494" fmla="*/ 449755 w 567463"/>
                <a:gd name="connsiteY494" fmla="*/ 207943 h 940328"/>
                <a:gd name="connsiteX495" fmla="*/ 447830 w 567463"/>
                <a:gd name="connsiteY495" fmla="*/ 197335 h 940328"/>
                <a:gd name="connsiteX496" fmla="*/ 447830 w 567463"/>
                <a:gd name="connsiteY496" fmla="*/ 194276 h 940328"/>
                <a:gd name="connsiteX497" fmla="*/ 443883 w 567463"/>
                <a:gd name="connsiteY497" fmla="*/ 195805 h 940328"/>
                <a:gd name="connsiteX498" fmla="*/ 441909 w 567463"/>
                <a:gd name="connsiteY498" fmla="*/ 195805 h 940328"/>
                <a:gd name="connsiteX499" fmla="*/ 438011 w 567463"/>
                <a:gd name="connsiteY499" fmla="*/ 194276 h 940328"/>
                <a:gd name="connsiteX500" fmla="*/ 432091 w 567463"/>
                <a:gd name="connsiteY500" fmla="*/ 192746 h 940328"/>
                <a:gd name="connsiteX501" fmla="*/ 428193 w 567463"/>
                <a:gd name="connsiteY501" fmla="*/ 192746 h 940328"/>
                <a:gd name="connsiteX502" fmla="*/ 428193 w 567463"/>
                <a:gd name="connsiteY502" fmla="*/ 194276 h 940328"/>
                <a:gd name="connsiteX503" fmla="*/ 426219 w 567463"/>
                <a:gd name="connsiteY503" fmla="*/ 201923 h 940328"/>
                <a:gd name="connsiteX504" fmla="*/ 426219 w 567463"/>
                <a:gd name="connsiteY504" fmla="*/ 207943 h 940328"/>
                <a:gd name="connsiteX505" fmla="*/ 428193 w 567463"/>
                <a:gd name="connsiteY505" fmla="*/ 209472 h 940328"/>
                <a:gd name="connsiteX506" fmla="*/ 432091 w 567463"/>
                <a:gd name="connsiteY506" fmla="*/ 207943 h 940328"/>
                <a:gd name="connsiteX507" fmla="*/ 441959 w 567463"/>
                <a:gd name="connsiteY507" fmla="*/ 203403 h 940328"/>
                <a:gd name="connsiteX508" fmla="*/ 445906 w 567463"/>
                <a:gd name="connsiteY508" fmla="*/ 209472 h 940328"/>
                <a:gd name="connsiteX509" fmla="*/ 441959 w 567463"/>
                <a:gd name="connsiteY509" fmla="*/ 215591 h 940328"/>
                <a:gd name="connsiteX510" fmla="*/ 436088 w 567463"/>
                <a:gd name="connsiteY510" fmla="*/ 217120 h 940328"/>
                <a:gd name="connsiteX511" fmla="*/ 432140 w 567463"/>
                <a:gd name="connsiteY511" fmla="*/ 215591 h 940328"/>
                <a:gd name="connsiteX512" fmla="*/ 430166 w 567463"/>
                <a:gd name="connsiteY512" fmla="*/ 215591 h 940328"/>
                <a:gd name="connsiteX513" fmla="*/ 432140 w 567463"/>
                <a:gd name="connsiteY513" fmla="*/ 221659 h 940328"/>
                <a:gd name="connsiteX514" fmla="*/ 430166 w 567463"/>
                <a:gd name="connsiteY514" fmla="*/ 226199 h 940328"/>
                <a:gd name="connsiteX515" fmla="*/ 424344 w 567463"/>
                <a:gd name="connsiteY515" fmla="*/ 223140 h 940328"/>
                <a:gd name="connsiteX516" fmla="*/ 424344 w 567463"/>
                <a:gd name="connsiteY516" fmla="*/ 217120 h 940328"/>
                <a:gd name="connsiteX517" fmla="*/ 422371 w 567463"/>
                <a:gd name="connsiteY517" fmla="*/ 212531 h 940328"/>
                <a:gd name="connsiteX518" fmla="*/ 420347 w 567463"/>
                <a:gd name="connsiteY518" fmla="*/ 209472 h 940328"/>
                <a:gd name="connsiteX519" fmla="*/ 415956 w 567463"/>
                <a:gd name="connsiteY519" fmla="*/ 209472 h 940328"/>
                <a:gd name="connsiteX520" fmla="*/ 412058 w 567463"/>
                <a:gd name="connsiteY520" fmla="*/ 207943 h 940328"/>
                <a:gd name="connsiteX521" fmla="*/ 410085 w 567463"/>
                <a:gd name="connsiteY521" fmla="*/ 212531 h 940328"/>
                <a:gd name="connsiteX522" fmla="*/ 414033 w 567463"/>
                <a:gd name="connsiteY522" fmla="*/ 221659 h 940328"/>
                <a:gd name="connsiteX523" fmla="*/ 414033 w 567463"/>
                <a:gd name="connsiteY523" fmla="*/ 229208 h 940328"/>
                <a:gd name="connsiteX524" fmla="*/ 410085 w 567463"/>
                <a:gd name="connsiteY524" fmla="*/ 230738 h 940328"/>
                <a:gd name="connsiteX525" fmla="*/ 404214 w 567463"/>
                <a:gd name="connsiteY525" fmla="*/ 235327 h 940328"/>
                <a:gd name="connsiteX526" fmla="*/ 404214 w 567463"/>
                <a:gd name="connsiteY526" fmla="*/ 238386 h 940328"/>
                <a:gd name="connsiteX527" fmla="*/ 414082 w 567463"/>
                <a:gd name="connsiteY527" fmla="*/ 245935 h 940328"/>
                <a:gd name="connsiteX528" fmla="*/ 416006 w 567463"/>
                <a:gd name="connsiteY528" fmla="*/ 250523 h 940328"/>
                <a:gd name="connsiteX529" fmla="*/ 414082 w 567463"/>
                <a:gd name="connsiteY529" fmla="*/ 259652 h 940328"/>
                <a:gd name="connsiteX530" fmla="*/ 410134 w 567463"/>
                <a:gd name="connsiteY530" fmla="*/ 262661 h 940328"/>
                <a:gd name="connsiteX531" fmla="*/ 402289 w 567463"/>
                <a:gd name="connsiteY531" fmla="*/ 261132 h 940328"/>
                <a:gd name="connsiteX532" fmla="*/ 400316 w 567463"/>
                <a:gd name="connsiteY532" fmla="*/ 264191 h 940328"/>
                <a:gd name="connsiteX533" fmla="*/ 408160 w 567463"/>
                <a:gd name="connsiteY533" fmla="*/ 270260 h 940328"/>
                <a:gd name="connsiteX534" fmla="*/ 412108 w 567463"/>
                <a:gd name="connsiteY534" fmla="*/ 268730 h 940328"/>
                <a:gd name="connsiteX535" fmla="*/ 417979 w 567463"/>
                <a:gd name="connsiteY535" fmla="*/ 264191 h 940328"/>
                <a:gd name="connsiteX536" fmla="*/ 423901 w 567463"/>
                <a:gd name="connsiteY536" fmla="*/ 279388 h 940328"/>
                <a:gd name="connsiteX537" fmla="*/ 425824 w 567463"/>
                <a:gd name="connsiteY537" fmla="*/ 293055 h 940328"/>
                <a:gd name="connsiteX538" fmla="*/ 425824 w 567463"/>
                <a:gd name="connsiteY538" fmla="*/ 315850 h 940328"/>
                <a:gd name="connsiteX539" fmla="*/ 419904 w 567463"/>
                <a:gd name="connsiteY539" fmla="*/ 338645 h 940328"/>
                <a:gd name="connsiteX540" fmla="*/ 421926 w 567463"/>
                <a:gd name="connsiteY540" fmla="*/ 346244 h 940328"/>
                <a:gd name="connsiteX541" fmla="*/ 419904 w 567463"/>
                <a:gd name="connsiteY541" fmla="*/ 355322 h 940328"/>
                <a:gd name="connsiteX542" fmla="*/ 410036 w 567463"/>
                <a:gd name="connsiteY542" fmla="*/ 359862 h 940328"/>
                <a:gd name="connsiteX543" fmla="*/ 404165 w 567463"/>
                <a:gd name="connsiteY543" fmla="*/ 369039 h 940328"/>
                <a:gd name="connsiteX544" fmla="*/ 408061 w 567463"/>
                <a:gd name="connsiteY544" fmla="*/ 378117 h 940328"/>
                <a:gd name="connsiteX545" fmla="*/ 402190 w 567463"/>
                <a:gd name="connsiteY545" fmla="*/ 385765 h 940328"/>
                <a:gd name="connsiteX546" fmla="*/ 400217 w 567463"/>
                <a:gd name="connsiteY546" fmla="*/ 391785 h 940328"/>
                <a:gd name="connsiteX547" fmla="*/ 392371 w 567463"/>
                <a:gd name="connsiteY547" fmla="*/ 397854 h 940328"/>
                <a:gd name="connsiteX548" fmla="*/ 374707 w 567463"/>
                <a:gd name="connsiteY548" fmla="*/ 405502 h 940328"/>
                <a:gd name="connsiteX549" fmla="*/ 366814 w 567463"/>
                <a:gd name="connsiteY549" fmla="*/ 407031 h 940328"/>
                <a:gd name="connsiteX550" fmla="*/ 364889 w 567463"/>
                <a:gd name="connsiteY550" fmla="*/ 414580 h 940328"/>
                <a:gd name="connsiteX551" fmla="*/ 355021 w 567463"/>
                <a:gd name="connsiteY551" fmla="*/ 411570 h 940328"/>
                <a:gd name="connsiteX552" fmla="*/ 347176 w 567463"/>
                <a:gd name="connsiteY552" fmla="*/ 400913 h 940328"/>
                <a:gd name="connsiteX553" fmla="*/ 347176 w 567463"/>
                <a:gd name="connsiteY553" fmla="*/ 398002 h 940328"/>
                <a:gd name="connsiteX554" fmla="*/ 351124 w 567463"/>
                <a:gd name="connsiteY554" fmla="*/ 396522 h 940328"/>
                <a:gd name="connsiteX555" fmla="*/ 355021 w 567463"/>
                <a:gd name="connsiteY555" fmla="*/ 390453 h 940328"/>
                <a:gd name="connsiteX556" fmla="*/ 355021 w 567463"/>
                <a:gd name="connsiteY556" fmla="*/ 387393 h 940328"/>
                <a:gd name="connsiteX557" fmla="*/ 358968 w 567463"/>
                <a:gd name="connsiteY557" fmla="*/ 382854 h 940328"/>
                <a:gd name="connsiteX558" fmla="*/ 358968 w 567463"/>
                <a:gd name="connsiteY558" fmla="*/ 381325 h 940328"/>
                <a:gd name="connsiteX559" fmla="*/ 351124 w 567463"/>
                <a:gd name="connsiteY559" fmla="*/ 382854 h 940328"/>
                <a:gd name="connsiteX560" fmla="*/ 345202 w 567463"/>
                <a:gd name="connsiteY560" fmla="*/ 388923 h 940328"/>
                <a:gd name="connsiteX561" fmla="*/ 335334 w 567463"/>
                <a:gd name="connsiteY561" fmla="*/ 391933 h 940328"/>
                <a:gd name="connsiteX562" fmla="*/ 333361 w 567463"/>
                <a:gd name="connsiteY562" fmla="*/ 396522 h 940328"/>
                <a:gd name="connsiteX563" fmla="*/ 341256 w 567463"/>
                <a:gd name="connsiteY563" fmla="*/ 404120 h 940328"/>
                <a:gd name="connsiteX564" fmla="*/ 341256 w 567463"/>
                <a:gd name="connsiteY564" fmla="*/ 425386 h 940328"/>
                <a:gd name="connsiteX565" fmla="*/ 331387 w 567463"/>
                <a:gd name="connsiteY565" fmla="*/ 432984 h 940328"/>
                <a:gd name="connsiteX566" fmla="*/ 331387 w 567463"/>
                <a:gd name="connsiteY566" fmla="*/ 437474 h 940328"/>
                <a:gd name="connsiteX567" fmla="*/ 327440 w 567463"/>
                <a:gd name="connsiteY567" fmla="*/ 440533 h 940328"/>
                <a:gd name="connsiteX568" fmla="*/ 327440 w 567463"/>
                <a:gd name="connsiteY568" fmla="*/ 451141 h 940328"/>
                <a:gd name="connsiteX569" fmla="*/ 329413 w 567463"/>
                <a:gd name="connsiteY569" fmla="*/ 454200 h 940328"/>
                <a:gd name="connsiteX570" fmla="*/ 331387 w 567463"/>
                <a:gd name="connsiteY570" fmla="*/ 457260 h 940328"/>
                <a:gd name="connsiteX571" fmla="*/ 327440 w 567463"/>
                <a:gd name="connsiteY571" fmla="*/ 458789 h 940328"/>
                <a:gd name="connsiteX572" fmla="*/ 329413 w 567463"/>
                <a:gd name="connsiteY572" fmla="*/ 461799 h 940328"/>
                <a:gd name="connsiteX573" fmla="*/ 327440 w 567463"/>
                <a:gd name="connsiteY573" fmla="*/ 466338 h 940328"/>
                <a:gd name="connsiteX574" fmla="*/ 325466 w 567463"/>
                <a:gd name="connsiteY574" fmla="*/ 466338 h 940328"/>
                <a:gd name="connsiteX575" fmla="*/ 327440 w 567463"/>
                <a:gd name="connsiteY575" fmla="*/ 469397 h 940328"/>
                <a:gd name="connsiteX576" fmla="*/ 321569 w 567463"/>
                <a:gd name="connsiteY576" fmla="*/ 470878 h 940328"/>
                <a:gd name="connsiteX577" fmla="*/ 317621 w 567463"/>
                <a:gd name="connsiteY577" fmla="*/ 469397 h 940328"/>
                <a:gd name="connsiteX578" fmla="*/ 313674 w 567463"/>
                <a:gd name="connsiteY578" fmla="*/ 472407 h 940328"/>
                <a:gd name="connsiteX579" fmla="*/ 309776 w 567463"/>
                <a:gd name="connsiteY579" fmla="*/ 470878 h 940328"/>
                <a:gd name="connsiteX580" fmla="*/ 309776 w 567463"/>
                <a:gd name="connsiteY580" fmla="*/ 464858 h 940328"/>
                <a:gd name="connsiteX581" fmla="*/ 307803 w 567463"/>
                <a:gd name="connsiteY581" fmla="*/ 461799 h 940328"/>
                <a:gd name="connsiteX582" fmla="*/ 299957 w 567463"/>
                <a:gd name="connsiteY582" fmla="*/ 466338 h 940328"/>
                <a:gd name="connsiteX583" fmla="*/ 296059 w 567463"/>
                <a:gd name="connsiteY583" fmla="*/ 466338 h 940328"/>
                <a:gd name="connsiteX584" fmla="*/ 294037 w 567463"/>
                <a:gd name="connsiteY584" fmla="*/ 464858 h 940328"/>
                <a:gd name="connsiteX585" fmla="*/ 280320 w 567463"/>
                <a:gd name="connsiteY585" fmla="*/ 469397 h 940328"/>
                <a:gd name="connsiteX586" fmla="*/ 272474 w 567463"/>
                <a:gd name="connsiteY586" fmla="*/ 472407 h 940328"/>
                <a:gd name="connsiteX587" fmla="*/ 262606 w 567463"/>
                <a:gd name="connsiteY587" fmla="*/ 475466 h 940328"/>
                <a:gd name="connsiteX588" fmla="*/ 252738 w 567463"/>
                <a:gd name="connsiteY588" fmla="*/ 475466 h 940328"/>
                <a:gd name="connsiteX589" fmla="*/ 244894 w 567463"/>
                <a:gd name="connsiteY589" fmla="*/ 476996 h 940328"/>
                <a:gd name="connsiteX590" fmla="*/ 242969 w 567463"/>
                <a:gd name="connsiteY590" fmla="*/ 475466 h 940328"/>
                <a:gd name="connsiteX591" fmla="*/ 233101 w 567463"/>
                <a:gd name="connsiteY591" fmla="*/ 476996 h 940328"/>
                <a:gd name="connsiteX592" fmla="*/ 221309 w 567463"/>
                <a:gd name="connsiteY592" fmla="*/ 484594 h 940328"/>
                <a:gd name="connsiteX593" fmla="*/ 217361 w 567463"/>
                <a:gd name="connsiteY593" fmla="*/ 492193 h 940328"/>
                <a:gd name="connsiteX594" fmla="*/ 213463 w 567463"/>
                <a:gd name="connsiteY594" fmla="*/ 495252 h 940328"/>
                <a:gd name="connsiteX595" fmla="*/ 211490 w 567463"/>
                <a:gd name="connsiteY595" fmla="*/ 499791 h 940328"/>
                <a:gd name="connsiteX596" fmla="*/ 203645 w 567463"/>
                <a:gd name="connsiteY596" fmla="*/ 508869 h 940328"/>
                <a:gd name="connsiteX597" fmla="*/ 195799 w 567463"/>
                <a:gd name="connsiteY597" fmla="*/ 510399 h 940328"/>
                <a:gd name="connsiteX598" fmla="*/ 189928 w 567463"/>
                <a:gd name="connsiteY598" fmla="*/ 517998 h 940328"/>
                <a:gd name="connsiteX599" fmla="*/ 189928 w 567463"/>
                <a:gd name="connsiteY599" fmla="*/ 521057 h 940328"/>
                <a:gd name="connsiteX600" fmla="*/ 184007 w 567463"/>
                <a:gd name="connsiteY600" fmla="*/ 525596 h 940328"/>
                <a:gd name="connsiteX601" fmla="*/ 174139 w 567463"/>
                <a:gd name="connsiteY601" fmla="*/ 527125 h 940328"/>
                <a:gd name="connsiteX602" fmla="*/ 172166 w 567463"/>
                <a:gd name="connsiteY602" fmla="*/ 531665 h 940328"/>
                <a:gd name="connsiteX603" fmla="*/ 174139 w 567463"/>
                <a:gd name="connsiteY603" fmla="*/ 540793 h 940328"/>
                <a:gd name="connsiteX604" fmla="*/ 178037 w 567463"/>
                <a:gd name="connsiteY604" fmla="*/ 543802 h 940328"/>
                <a:gd name="connsiteX605" fmla="*/ 178037 w 567463"/>
                <a:gd name="connsiteY605" fmla="*/ 546862 h 940328"/>
                <a:gd name="connsiteX606" fmla="*/ 176112 w 567463"/>
                <a:gd name="connsiteY606" fmla="*/ 549921 h 940328"/>
                <a:gd name="connsiteX607" fmla="*/ 170241 w 567463"/>
                <a:gd name="connsiteY607" fmla="*/ 549921 h 940328"/>
                <a:gd name="connsiteX608" fmla="*/ 162347 w 567463"/>
                <a:gd name="connsiteY608" fmla="*/ 555990 h 940328"/>
                <a:gd name="connsiteX609" fmla="*/ 160422 w 567463"/>
                <a:gd name="connsiteY609" fmla="*/ 559049 h 940328"/>
                <a:gd name="connsiteX610" fmla="*/ 154502 w 567463"/>
                <a:gd name="connsiteY610" fmla="*/ 562058 h 940328"/>
                <a:gd name="connsiteX611" fmla="*/ 148631 w 567463"/>
                <a:gd name="connsiteY611" fmla="*/ 569657 h 940328"/>
                <a:gd name="connsiteX612" fmla="*/ 146656 w 567463"/>
                <a:gd name="connsiteY612" fmla="*/ 574245 h 940328"/>
                <a:gd name="connsiteX613" fmla="*/ 140785 w 567463"/>
                <a:gd name="connsiteY613" fmla="*/ 574245 h 940328"/>
                <a:gd name="connsiteX614" fmla="*/ 134864 w 567463"/>
                <a:gd name="connsiteY614" fmla="*/ 577255 h 940328"/>
                <a:gd name="connsiteX615" fmla="*/ 140785 w 567463"/>
                <a:gd name="connsiteY615" fmla="*/ 577255 h 940328"/>
                <a:gd name="connsiteX616" fmla="*/ 142710 w 567463"/>
                <a:gd name="connsiteY616" fmla="*/ 581795 h 940328"/>
                <a:gd name="connsiteX617" fmla="*/ 146656 w 567463"/>
                <a:gd name="connsiteY617" fmla="*/ 589442 h 940328"/>
                <a:gd name="connsiteX618" fmla="*/ 144683 w 567463"/>
                <a:gd name="connsiteY618" fmla="*/ 590972 h 940328"/>
                <a:gd name="connsiteX619" fmla="*/ 142710 w 567463"/>
                <a:gd name="connsiteY619" fmla="*/ 586383 h 940328"/>
                <a:gd name="connsiteX620" fmla="*/ 140785 w 567463"/>
                <a:gd name="connsiteY620" fmla="*/ 583324 h 940328"/>
                <a:gd name="connsiteX621" fmla="*/ 138812 w 567463"/>
                <a:gd name="connsiteY621" fmla="*/ 587913 h 940328"/>
                <a:gd name="connsiteX622" fmla="*/ 140785 w 567463"/>
                <a:gd name="connsiteY622" fmla="*/ 592452 h 940328"/>
                <a:gd name="connsiteX623" fmla="*/ 144683 w 567463"/>
                <a:gd name="connsiteY623" fmla="*/ 595511 h 940328"/>
                <a:gd name="connsiteX624" fmla="*/ 144683 w 567463"/>
                <a:gd name="connsiteY624" fmla="*/ 598521 h 940328"/>
                <a:gd name="connsiteX625" fmla="*/ 142710 w 567463"/>
                <a:gd name="connsiteY625" fmla="*/ 603060 h 940328"/>
                <a:gd name="connsiteX626" fmla="*/ 146656 w 567463"/>
                <a:gd name="connsiteY626" fmla="*/ 601531 h 940328"/>
                <a:gd name="connsiteX627" fmla="*/ 148631 w 567463"/>
                <a:gd name="connsiteY627" fmla="*/ 596991 h 940328"/>
                <a:gd name="connsiteX628" fmla="*/ 154502 w 567463"/>
                <a:gd name="connsiteY628" fmla="*/ 595511 h 940328"/>
                <a:gd name="connsiteX629" fmla="*/ 156475 w 567463"/>
                <a:gd name="connsiteY629" fmla="*/ 596991 h 940328"/>
                <a:gd name="connsiteX630" fmla="*/ 154502 w 567463"/>
                <a:gd name="connsiteY630" fmla="*/ 598521 h 940328"/>
                <a:gd name="connsiteX631" fmla="*/ 156475 w 567463"/>
                <a:gd name="connsiteY631" fmla="*/ 600051 h 940328"/>
                <a:gd name="connsiteX632" fmla="*/ 162347 w 567463"/>
                <a:gd name="connsiteY632" fmla="*/ 600051 h 940328"/>
                <a:gd name="connsiteX633" fmla="*/ 162347 w 567463"/>
                <a:gd name="connsiteY633" fmla="*/ 592403 h 940328"/>
                <a:gd name="connsiteX634" fmla="*/ 158449 w 567463"/>
                <a:gd name="connsiteY634" fmla="*/ 589393 h 940328"/>
                <a:gd name="connsiteX635" fmla="*/ 152529 w 567463"/>
                <a:gd name="connsiteY635" fmla="*/ 590922 h 940328"/>
                <a:gd name="connsiteX636" fmla="*/ 152529 w 567463"/>
                <a:gd name="connsiteY636" fmla="*/ 589393 h 940328"/>
                <a:gd name="connsiteX637" fmla="*/ 154502 w 567463"/>
                <a:gd name="connsiteY637" fmla="*/ 586334 h 940328"/>
                <a:gd name="connsiteX638" fmla="*/ 152529 w 567463"/>
                <a:gd name="connsiteY638" fmla="*/ 581745 h 940328"/>
                <a:gd name="connsiteX639" fmla="*/ 154502 w 567463"/>
                <a:gd name="connsiteY639" fmla="*/ 578735 h 940328"/>
                <a:gd name="connsiteX640" fmla="*/ 160422 w 567463"/>
                <a:gd name="connsiteY640" fmla="*/ 580265 h 940328"/>
                <a:gd name="connsiteX641" fmla="*/ 168268 w 567463"/>
                <a:gd name="connsiteY641" fmla="*/ 589393 h 940328"/>
                <a:gd name="connsiteX642" fmla="*/ 170241 w 567463"/>
                <a:gd name="connsiteY642" fmla="*/ 596942 h 940328"/>
                <a:gd name="connsiteX643" fmla="*/ 172166 w 567463"/>
                <a:gd name="connsiteY643" fmla="*/ 600001 h 940328"/>
                <a:gd name="connsiteX644" fmla="*/ 172166 w 567463"/>
                <a:gd name="connsiteY644" fmla="*/ 609129 h 940328"/>
                <a:gd name="connsiteX645" fmla="*/ 168268 w 567463"/>
                <a:gd name="connsiteY645" fmla="*/ 619737 h 940328"/>
                <a:gd name="connsiteX646" fmla="*/ 160422 w 567463"/>
                <a:gd name="connsiteY646" fmla="*/ 619737 h 940328"/>
                <a:gd name="connsiteX647" fmla="*/ 162347 w 567463"/>
                <a:gd name="connsiteY647" fmla="*/ 624326 h 940328"/>
                <a:gd name="connsiteX648" fmla="*/ 168268 w 567463"/>
                <a:gd name="connsiteY648" fmla="*/ 631924 h 940328"/>
                <a:gd name="connsiteX649" fmla="*/ 170241 w 567463"/>
                <a:gd name="connsiteY649" fmla="*/ 642533 h 940328"/>
                <a:gd name="connsiteX650" fmla="*/ 176112 w 567463"/>
                <a:gd name="connsiteY650" fmla="*/ 650131 h 940328"/>
                <a:gd name="connsiteX651" fmla="*/ 176112 w 567463"/>
                <a:gd name="connsiteY651" fmla="*/ 654572 h 940328"/>
                <a:gd name="connsiteX652" fmla="*/ 174139 w 567463"/>
                <a:gd name="connsiteY652" fmla="*/ 657631 h 940328"/>
                <a:gd name="connsiteX653" fmla="*/ 178037 w 567463"/>
                <a:gd name="connsiteY653" fmla="*/ 662219 h 940328"/>
                <a:gd name="connsiteX654" fmla="*/ 183958 w 567463"/>
                <a:gd name="connsiteY654" fmla="*/ 660690 h 940328"/>
                <a:gd name="connsiteX655" fmla="*/ 187856 w 567463"/>
                <a:gd name="connsiteY655" fmla="*/ 663749 h 940328"/>
                <a:gd name="connsiteX656" fmla="*/ 189878 w 567463"/>
                <a:gd name="connsiteY656" fmla="*/ 660690 h 940328"/>
                <a:gd name="connsiteX657" fmla="*/ 189878 w 567463"/>
                <a:gd name="connsiteY657" fmla="*/ 657631 h 940328"/>
                <a:gd name="connsiteX658" fmla="*/ 185931 w 567463"/>
                <a:gd name="connsiteY658" fmla="*/ 651562 h 940328"/>
                <a:gd name="connsiteX659" fmla="*/ 185931 w 567463"/>
                <a:gd name="connsiteY659" fmla="*/ 640904 h 940328"/>
                <a:gd name="connsiteX660" fmla="*/ 187856 w 567463"/>
                <a:gd name="connsiteY660" fmla="*/ 637895 h 940328"/>
                <a:gd name="connsiteX661" fmla="*/ 191803 w 567463"/>
                <a:gd name="connsiteY661" fmla="*/ 640904 h 940328"/>
                <a:gd name="connsiteX662" fmla="*/ 189878 w 567463"/>
                <a:gd name="connsiteY662" fmla="*/ 642434 h 940328"/>
                <a:gd name="connsiteX663" fmla="*/ 189878 w 567463"/>
                <a:gd name="connsiteY663" fmla="*/ 645493 h 940328"/>
                <a:gd name="connsiteX664" fmla="*/ 193777 w 567463"/>
                <a:gd name="connsiteY664" fmla="*/ 651562 h 940328"/>
                <a:gd name="connsiteX665" fmla="*/ 195751 w 567463"/>
                <a:gd name="connsiteY665" fmla="*/ 659160 h 940328"/>
                <a:gd name="connsiteX666" fmla="*/ 195751 w 567463"/>
                <a:gd name="connsiteY666" fmla="*/ 668288 h 9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</a:cxnLst>
              <a:rect l="l" t="t" r="r" b="b"/>
              <a:pathLst>
                <a:path w="567463" h="940328">
                  <a:moveTo>
                    <a:pt x="225601" y="451092"/>
                  </a:moveTo>
                  <a:lnTo>
                    <a:pt x="229548" y="454151"/>
                  </a:lnTo>
                  <a:lnTo>
                    <a:pt x="225601" y="455681"/>
                  </a:lnTo>
                  <a:lnTo>
                    <a:pt x="225601" y="451092"/>
                  </a:lnTo>
                  <a:close/>
                  <a:moveTo>
                    <a:pt x="231523" y="451092"/>
                  </a:moveTo>
                  <a:lnTo>
                    <a:pt x="229548" y="449562"/>
                  </a:lnTo>
                  <a:lnTo>
                    <a:pt x="231523" y="445023"/>
                  </a:lnTo>
                  <a:lnTo>
                    <a:pt x="239367" y="445023"/>
                  </a:lnTo>
                  <a:lnTo>
                    <a:pt x="239367" y="449562"/>
                  </a:lnTo>
                  <a:lnTo>
                    <a:pt x="237394" y="451092"/>
                  </a:lnTo>
                  <a:close/>
                  <a:moveTo>
                    <a:pt x="5791" y="938772"/>
                  </a:moveTo>
                  <a:lnTo>
                    <a:pt x="5791" y="932703"/>
                  </a:lnTo>
                  <a:lnTo>
                    <a:pt x="1892" y="932703"/>
                  </a:lnTo>
                  <a:lnTo>
                    <a:pt x="-82" y="940301"/>
                  </a:lnTo>
                  <a:lnTo>
                    <a:pt x="3816" y="940301"/>
                  </a:lnTo>
                  <a:lnTo>
                    <a:pt x="5791" y="938772"/>
                  </a:lnTo>
                  <a:close/>
                  <a:moveTo>
                    <a:pt x="11711" y="931223"/>
                  </a:moveTo>
                  <a:lnTo>
                    <a:pt x="15609" y="928164"/>
                  </a:lnTo>
                  <a:lnTo>
                    <a:pt x="17533" y="931223"/>
                  </a:lnTo>
                  <a:lnTo>
                    <a:pt x="15609" y="935762"/>
                  </a:lnTo>
                  <a:lnTo>
                    <a:pt x="11711" y="935762"/>
                  </a:lnTo>
                  <a:lnTo>
                    <a:pt x="11711" y="931223"/>
                  </a:lnTo>
                  <a:close/>
                  <a:moveTo>
                    <a:pt x="45065" y="909957"/>
                  </a:moveTo>
                  <a:lnTo>
                    <a:pt x="43091" y="917506"/>
                  </a:lnTo>
                  <a:lnTo>
                    <a:pt x="46989" y="920565"/>
                  </a:lnTo>
                  <a:lnTo>
                    <a:pt x="50887" y="920565"/>
                  </a:lnTo>
                  <a:lnTo>
                    <a:pt x="52910" y="914496"/>
                  </a:lnTo>
                  <a:lnTo>
                    <a:pt x="45065" y="909957"/>
                  </a:lnTo>
                  <a:close/>
                  <a:moveTo>
                    <a:pt x="123565" y="856867"/>
                  </a:moveTo>
                  <a:lnTo>
                    <a:pt x="119618" y="847739"/>
                  </a:lnTo>
                  <a:lnTo>
                    <a:pt x="125489" y="844680"/>
                  </a:lnTo>
                  <a:lnTo>
                    <a:pt x="127513" y="841670"/>
                  </a:lnTo>
                  <a:lnTo>
                    <a:pt x="125489" y="840141"/>
                  </a:lnTo>
                  <a:lnTo>
                    <a:pt x="133335" y="837131"/>
                  </a:lnTo>
                  <a:lnTo>
                    <a:pt x="137282" y="829533"/>
                  </a:lnTo>
                  <a:lnTo>
                    <a:pt x="139255" y="837131"/>
                  </a:lnTo>
                  <a:lnTo>
                    <a:pt x="137282" y="840141"/>
                  </a:lnTo>
                  <a:lnTo>
                    <a:pt x="137282" y="844680"/>
                  </a:lnTo>
                  <a:lnTo>
                    <a:pt x="125489" y="849269"/>
                  </a:lnTo>
                  <a:lnTo>
                    <a:pt x="125489" y="855337"/>
                  </a:lnTo>
                  <a:lnTo>
                    <a:pt x="123565" y="856867"/>
                  </a:lnTo>
                  <a:close/>
                  <a:moveTo>
                    <a:pt x="154946" y="794600"/>
                  </a:moveTo>
                  <a:lnTo>
                    <a:pt x="160867" y="797609"/>
                  </a:lnTo>
                  <a:lnTo>
                    <a:pt x="160867" y="802148"/>
                  </a:lnTo>
                  <a:lnTo>
                    <a:pt x="158893" y="803678"/>
                  </a:lnTo>
                  <a:lnTo>
                    <a:pt x="154946" y="799139"/>
                  </a:lnTo>
                  <a:lnTo>
                    <a:pt x="152972" y="796080"/>
                  </a:lnTo>
                  <a:lnTo>
                    <a:pt x="154946" y="794600"/>
                  </a:lnTo>
                  <a:close/>
                  <a:moveTo>
                    <a:pt x="170686" y="783942"/>
                  </a:moveTo>
                  <a:lnTo>
                    <a:pt x="168711" y="782412"/>
                  </a:lnTo>
                  <a:lnTo>
                    <a:pt x="160867" y="780883"/>
                  </a:lnTo>
                  <a:lnTo>
                    <a:pt x="158893" y="780883"/>
                  </a:lnTo>
                  <a:lnTo>
                    <a:pt x="160867" y="774814"/>
                  </a:lnTo>
                  <a:lnTo>
                    <a:pt x="168711" y="771755"/>
                  </a:lnTo>
                  <a:lnTo>
                    <a:pt x="170686" y="771755"/>
                  </a:lnTo>
                  <a:lnTo>
                    <a:pt x="172609" y="770225"/>
                  </a:lnTo>
                  <a:lnTo>
                    <a:pt x="176557" y="770225"/>
                  </a:lnTo>
                  <a:lnTo>
                    <a:pt x="178482" y="768745"/>
                  </a:lnTo>
                  <a:lnTo>
                    <a:pt x="184402" y="767216"/>
                  </a:lnTo>
                  <a:lnTo>
                    <a:pt x="180504" y="773284"/>
                  </a:lnTo>
                  <a:lnTo>
                    <a:pt x="172609" y="776344"/>
                  </a:lnTo>
                  <a:lnTo>
                    <a:pt x="172609" y="782412"/>
                  </a:lnTo>
                  <a:lnTo>
                    <a:pt x="170686" y="783942"/>
                  </a:lnTo>
                  <a:close/>
                  <a:moveTo>
                    <a:pt x="357094" y="168619"/>
                  </a:moveTo>
                  <a:lnTo>
                    <a:pt x="355169" y="165559"/>
                  </a:lnTo>
                  <a:lnTo>
                    <a:pt x="353196" y="161020"/>
                  </a:lnTo>
                  <a:lnTo>
                    <a:pt x="359116" y="156431"/>
                  </a:lnTo>
                  <a:lnTo>
                    <a:pt x="363014" y="156431"/>
                  </a:lnTo>
                  <a:lnTo>
                    <a:pt x="361089" y="161020"/>
                  </a:lnTo>
                  <a:lnTo>
                    <a:pt x="361089" y="165559"/>
                  </a:lnTo>
                  <a:lnTo>
                    <a:pt x="357094" y="168619"/>
                  </a:lnTo>
                  <a:close/>
                  <a:moveTo>
                    <a:pt x="400316" y="200542"/>
                  </a:moveTo>
                  <a:lnTo>
                    <a:pt x="394443" y="195953"/>
                  </a:lnTo>
                  <a:lnTo>
                    <a:pt x="392470" y="191414"/>
                  </a:lnTo>
                  <a:lnTo>
                    <a:pt x="394443" y="189884"/>
                  </a:lnTo>
                  <a:lnTo>
                    <a:pt x="392470" y="179276"/>
                  </a:lnTo>
                  <a:lnTo>
                    <a:pt x="388523" y="167089"/>
                  </a:lnTo>
                  <a:lnTo>
                    <a:pt x="382652" y="164079"/>
                  </a:lnTo>
                  <a:lnTo>
                    <a:pt x="376731" y="159491"/>
                  </a:lnTo>
                  <a:lnTo>
                    <a:pt x="370860" y="159491"/>
                  </a:lnTo>
                  <a:lnTo>
                    <a:pt x="370860" y="148882"/>
                  </a:lnTo>
                  <a:lnTo>
                    <a:pt x="368885" y="141284"/>
                  </a:lnTo>
                  <a:lnTo>
                    <a:pt x="370860" y="136695"/>
                  </a:lnTo>
                  <a:lnTo>
                    <a:pt x="378704" y="133685"/>
                  </a:lnTo>
                  <a:lnTo>
                    <a:pt x="378704" y="132156"/>
                  </a:lnTo>
                  <a:lnTo>
                    <a:pt x="382652" y="130626"/>
                  </a:lnTo>
                  <a:lnTo>
                    <a:pt x="386550" y="124557"/>
                  </a:lnTo>
                  <a:lnTo>
                    <a:pt x="388523" y="121498"/>
                  </a:lnTo>
                  <a:lnTo>
                    <a:pt x="388523" y="118439"/>
                  </a:lnTo>
                  <a:lnTo>
                    <a:pt x="380678" y="113900"/>
                  </a:lnTo>
                  <a:lnTo>
                    <a:pt x="378704" y="113900"/>
                  </a:lnTo>
                  <a:lnTo>
                    <a:pt x="376731" y="110890"/>
                  </a:lnTo>
                  <a:lnTo>
                    <a:pt x="378704" y="106351"/>
                  </a:lnTo>
                  <a:lnTo>
                    <a:pt x="384625" y="106351"/>
                  </a:lnTo>
                  <a:lnTo>
                    <a:pt x="394493" y="110890"/>
                  </a:lnTo>
                  <a:lnTo>
                    <a:pt x="408210" y="112420"/>
                  </a:lnTo>
                  <a:lnTo>
                    <a:pt x="412157" y="109361"/>
                  </a:lnTo>
                  <a:lnTo>
                    <a:pt x="412157" y="106351"/>
                  </a:lnTo>
                  <a:lnTo>
                    <a:pt x="414130" y="103292"/>
                  </a:lnTo>
                  <a:lnTo>
                    <a:pt x="412157" y="100233"/>
                  </a:lnTo>
                  <a:lnTo>
                    <a:pt x="410184" y="98703"/>
                  </a:lnTo>
                  <a:lnTo>
                    <a:pt x="408210" y="95693"/>
                  </a:lnTo>
                  <a:lnTo>
                    <a:pt x="402338" y="88095"/>
                  </a:lnTo>
                  <a:lnTo>
                    <a:pt x="400365" y="83556"/>
                  </a:lnTo>
                  <a:lnTo>
                    <a:pt x="408210" y="77438"/>
                  </a:lnTo>
                  <a:lnTo>
                    <a:pt x="410184" y="77438"/>
                  </a:lnTo>
                  <a:lnTo>
                    <a:pt x="410184" y="75957"/>
                  </a:lnTo>
                  <a:lnTo>
                    <a:pt x="408210" y="69888"/>
                  </a:lnTo>
                  <a:lnTo>
                    <a:pt x="402338" y="59231"/>
                  </a:lnTo>
                  <a:lnTo>
                    <a:pt x="404311" y="54692"/>
                  </a:lnTo>
                  <a:lnTo>
                    <a:pt x="404311" y="44034"/>
                  </a:lnTo>
                  <a:lnTo>
                    <a:pt x="400365" y="36436"/>
                  </a:lnTo>
                  <a:lnTo>
                    <a:pt x="388572" y="21239"/>
                  </a:lnTo>
                  <a:lnTo>
                    <a:pt x="386599" y="12160"/>
                  </a:lnTo>
                  <a:lnTo>
                    <a:pt x="384674" y="9101"/>
                  </a:lnTo>
                  <a:lnTo>
                    <a:pt x="386599" y="6042"/>
                  </a:lnTo>
                  <a:lnTo>
                    <a:pt x="388572" y="6042"/>
                  </a:lnTo>
                  <a:lnTo>
                    <a:pt x="392520" y="2983"/>
                  </a:lnTo>
                  <a:lnTo>
                    <a:pt x="392520" y="-27"/>
                  </a:lnTo>
                  <a:lnTo>
                    <a:pt x="400365" y="-27"/>
                  </a:lnTo>
                  <a:lnTo>
                    <a:pt x="402338" y="4512"/>
                  </a:lnTo>
                  <a:lnTo>
                    <a:pt x="414130" y="12160"/>
                  </a:lnTo>
                  <a:lnTo>
                    <a:pt x="423998" y="15170"/>
                  </a:lnTo>
                  <a:lnTo>
                    <a:pt x="429821" y="24249"/>
                  </a:lnTo>
                  <a:lnTo>
                    <a:pt x="445561" y="36436"/>
                  </a:lnTo>
                  <a:lnTo>
                    <a:pt x="455429" y="44034"/>
                  </a:lnTo>
                  <a:lnTo>
                    <a:pt x="457402" y="47093"/>
                  </a:lnTo>
                  <a:lnTo>
                    <a:pt x="463274" y="48623"/>
                  </a:lnTo>
                  <a:lnTo>
                    <a:pt x="469145" y="54692"/>
                  </a:lnTo>
                  <a:lnTo>
                    <a:pt x="482862" y="59231"/>
                  </a:lnTo>
                  <a:lnTo>
                    <a:pt x="490756" y="59231"/>
                  </a:lnTo>
                  <a:lnTo>
                    <a:pt x="496678" y="65300"/>
                  </a:lnTo>
                  <a:lnTo>
                    <a:pt x="502499" y="63770"/>
                  </a:lnTo>
                  <a:lnTo>
                    <a:pt x="504473" y="65300"/>
                  </a:lnTo>
                  <a:lnTo>
                    <a:pt x="514341" y="63770"/>
                  </a:lnTo>
                  <a:lnTo>
                    <a:pt x="526134" y="57701"/>
                  </a:lnTo>
                  <a:lnTo>
                    <a:pt x="532005" y="51632"/>
                  </a:lnTo>
                  <a:lnTo>
                    <a:pt x="533978" y="47093"/>
                  </a:lnTo>
                  <a:lnTo>
                    <a:pt x="533978" y="45564"/>
                  </a:lnTo>
                  <a:lnTo>
                    <a:pt x="535903" y="47093"/>
                  </a:lnTo>
                  <a:lnTo>
                    <a:pt x="535903" y="51632"/>
                  </a:lnTo>
                  <a:lnTo>
                    <a:pt x="532005" y="60711"/>
                  </a:lnTo>
                  <a:lnTo>
                    <a:pt x="532005" y="69888"/>
                  </a:lnTo>
                  <a:lnTo>
                    <a:pt x="535903" y="72898"/>
                  </a:lnTo>
                  <a:lnTo>
                    <a:pt x="545771" y="77438"/>
                  </a:lnTo>
                  <a:lnTo>
                    <a:pt x="551692" y="83556"/>
                  </a:lnTo>
                  <a:lnTo>
                    <a:pt x="551692" y="91154"/>
                  </a:lnTo>
                  <a:lnTo>
                    <a:pt x="555590" y="91154"/>
                  </a:lnTo>
                  <a:lnTo>
                    <a:pt x="559537" y="86615"/>
                  </a:lnTo>
                  <a:lnTo>
                    <a:pt x="563483" y="82026"/>
                  </a:lnTo>
                  <a:lnTo>
                    <a:pt x="567382" y="82026"/>
                  </a:lnTo>
                  <a:lnTo>
                    <a:pt x="565408" y="86615"/>
                  </a:lnTo>
                  <a:lnTo>
                    <a:pt x="563483" y="88095"/>
                  </a:lnTo>
                  <a:lnTo>
                    <a:pt x="561510" y="95693"/>
                  </a:lnTo>
                  <a:lnTo>
                    <a:pt x="557563" y="97223"/>
                  </a:lnTo>
                  <a:lnTo>
                    <a:pt x="551692" y="100233"/>
                  </a:lnTo>
                  <a:lnTo>
                    <a:pt x="551692" y="104821"/>
                  </a:lnTo>
                  <a:lnTo>
                    <a:pt x="547744" y="107831"/>
                  </a:lnTo>
                  <a:lnTo>
                    <a:pt x="541873" y="107831"/>
                  </a:lnTo>
                  <a:lnTo>
                    <a:pt x="539948" y="106351"/>
                  </a:lnTo>
                  <a:lnTo>
                    <a:pt x="534027" y="109361"/>
                  </a:lnTo>
                  <a:lnTo>
                    <a:pt x="535952" y="112420"/>
                  </a:lnTo>
                  <a:lnTo>
                    <a:pt x="526084" y="112420"/>
                  </a:lnTo>
                  <a:lnTo>
                    <a:pt x="520212" y="110890"/>
                  </a:lnTo>
                  <a:lnTo>
                    <a:pt x="514291" y="112420"/>
                  </a:lnTo>
                  <a:lnTo>
                    <a:pt x="502499" y="124557"/>
                  </a:lnTo>
                  <a:lnTo>
                    <a:pt x="500575" y="136695"/>
                  </a:lnTo>
                  <a:lnTo>
                    <a:pt x="498601" y="147353"/>
                  </a:lnTo>
                  <a:lnTo>
                    <a:pt x="500575" y="153422"/>
                  </a:lnTo>
                  <a:lnTo>
                    <a:pt x="498601" y="159491"/>
                  </a:lnTo>
                  <a:lnTo>
                    <a:pt x="500575" y="162550"/>
                  </a:lnTo>
                  <a:lnTo>
                    <a:pt x="494654" y="161020"/>
                  </a:lnTo>
                  <a:lnTo>
                    <a:pt x="490756" y="156431"/>
                  </a:lnTo>
                  <a:lnTo>
                    <a:pt x="478964" y="154951"/>
                  </a:lnTo>
                  <a:lnTo>
                    <a:pt x="467220" y="150363"/>
                  </a:lnTo>
                  <a:lnTo>
                    <a:pt x="459327" y="141284"/>
                  </a:lnTo>
                  <a:lnTo>
                    <a:pt x="453455" y="136695"/>
                  </a:lnTo>
                  <a:lnTo>
                    <a:pt x="447583" y="136695"/>
                  </a:lnTo>
                  <a:lnTo>
                    <a:pt x="441662" y="135166"/>
                  </a:lnTo>
                  <a:lnTo>
                    <a:pt x="435791" y="133685"/>
                  </a:lnTo>
                  <a:lnTo>
                    <a:pt x="429871" y="133685"/>
                  </a:lnTo>
                  <a:lnTo>
                    <a:pt x="422074" y="138225"/>
                  </a:lnTo>
                  <a:lnTo>
                    <a:pt x="414229" y="148882"/>
                  </a:lnTo>
                  <a:lnTo>
                    <a:pt x="410283" y="147353"/>
                  </a:lnTo>
                  <a:lnTo>
                    <a:pt x="400415" y="141284"/>
                  </a:lnTo>
                  <a:lnTo>
                    <a:pt x="396467" y="141284"/>
                  </a:lnTo>
                  <a:lnTo>
                    <a:pt x="390596" y="144343"/>
                  </a:lnTo>
                  <a:lnTo>
                    <a:pt x="390596" y="151892"/>
                  </a:lnTo>
                  <a:lnTo>
                    <a:pt x="394542" y="156431"/>
                  </a:lnTo>
                  <a:lnTo>
                    <a:pt x="400415" y="159491"/>
                  </a:lnTo>
                  <a:lnTo>
                    <a:pt x="410283" y="157961"/>
                  </a:lnTo>
                  <a:lnTo>
                    <a:pt x="418127" y="167089"/>
                  </a:lnTo>
                  <a:lnTo>
                    <a:pt x="425973" y="168619"/>
                  </a:lnTo>
                  <a:lnTo>
                    <a:pt x="433866" y="168619"/>
                  </a:lnTo>
                  <a:lnTo>
                    <a:pt x="435791" y="171628"/>
                  </a:lnTo>
                  <a:lnTo>
                    <a:pt x="431844" y="179276"/>
                  </a:lnTo>
                  <a:lnTo>
                    <a:pt x="429871" y="183815"/>
                  </a:lnTo>
                  <a:lnTo>
                    <a:pt x="425824" y="180904"/>
                  </a:lnTo>
                  <a:lnTo>
                    <a:pt x="415956" y="179375"/>
                  </a:lnTo>
                  <a:lnTo>
                    <a:pt x="412058" y="182384"/>
                  </a:lnTo>
                  <a:lnTo>
                    <a:pt x="414033" y="185443"/>
                  </a:lnTo>
                  <a:lnTo>
                    <a:pt x="410085" y="191513"/>
                  </a:lnTo>
                  <a:lnTo>
                    <a:pt x="400217" y="200640"/>
                  </a:lnTo>
                  <a:close/>
                  <a:moveTo>
                    <a:pt x="390448" y="370667"/>
                  </a:moveTo>
                  <a:lnTo>
                    <a:pt x="390448" y="364598"/>
                  </a:lnTo>
                  <a:lnTo>
                    <a:pt x="392421" y="361539"/>
                  </a:lnTo>
                  <a:lnTo>
                    <a:pt x="390448" y="360010"/>
                  </a:lnTo>
                  <a:lnTo>
                    <a:pt x="386500" y="363069"/>
                  </a:lnTo>
                  <a:lnTo>
                    <a:pt x="386500" y="358529"/>
                  </a:lnTo>
                  <a:lnTo>
                    <a:pt x="388473" y="347921"/>
                  </a:lnTo>
                  <a:lnTo>
                    <a:pt x="390448" y="346392"/>
                  </a:lnTo>
                  <a:lnTo>
                    <a:pt x="392421" y="349451"/>
                  </a:lnTo>
                  <a:lnTo>
                    <a:pt x="392421" y="353990"/>
                  </a:lnTo>
                  <a:lnTo>
                    <a:pt x="396319" y="355470"/>
                  </a:lnTo>
                  <a:lnTo>
                    <a:pt x="398292" y="360010"/>
                  </a:lnTo>
                  <a:lnTo>
                    <a:pt x="396319" y="366128"/>
                  </a:lnTo>
                  <a:lnTo>
                    <a:pt x="392421" y="369187"/>
                  </a:lnTo>
                  <a:lnTo>
                    <a:pt x="390448" y="370667"/>
                  </a:lnTo>
                  <a:close/>
                  <a:moveTo>
                    <a:pt x="123516" y="580364"/>
                  </a:moveTo>
                  <a:lnTo>
                    <a:pt x="127463" y="581844"/>
                  </a:lnTo>
                  <a:lnTo>
                    <a:pt x="129387" y="580364"/>
                  </a:lnTo>
                  <a:lnTo>
                    <a:pt x="125441" y="578834"/>
                  </a:lnTo>
                  <a:lnTo>
                    <a:pt x="123516" y="578834"/>
                  </a:lnTo>
                  <a:lnTo>
                    <a:pt x="123516" y="580364"/>
                  </a:lnTo>
                  <a:close/>
                  <a:moveTo>
                    <a:pt x="121543" y="583373"/>
                  </a:moveTo>
                  <a:lnTo>
                    <a:pt x="123516" y="584903"/>
                  </a:lnTo>
                  <a:lnTo>
                    <a:pt x="123516" y="583373"/>
                  </a:lnTo>
                  <a:close/>
                  <a:moveTo>
                    <a:pt x="117645" y="586433"/>
                  </a:moveTo>
                  <a:lnTo>
                    <a:pt x="119568" y="587962"/>
                  </a:lnTo>
                  <a:lnTo>
                    <a:pt x="121543" y="586433"/>
                  </a:lnTo>
                  <a:close/>
                  <a:moveTo>
                    <a:pt x="113697" y="589492"/>
                  </a:moveTo>
                  <a:lnTo>
                    <a:pt x="113697" y="592501"/>
                  </a:lnTo>
                  <a:lnTo>
                    <a:pt x="117645" y="591021"/>
                  </a:lnTo>
                  <a:lnTo>
                    <a:pt x="113697" y="589492"/>
                  </a:lnTo>
                  <a:close/>
                  <a:moveTo>
                    <a:pt x="107826" y="606169"/>
                  </a:moveTo>
                  <a:lnTo>
                    <a:pt x="105852" y="600100"/>
                  </a:lnTo>
                  <a:lnTo>
                    <a:pt x="105852" y="595363"/>
                  </a:lnTo>
                  <a:lnTo>
                    <a:pt x="109750" y="592304"/>
                  </a:lnTo>
                  <a:lnTo>
                    <a:pt x="109750" y="598373"/>
                  </a:lnTo>
                  <a:lnTo>
                    <a:pt x="113697" y="599902"/>
                  </a:lnTo>
                  <a:lnTo>
                    <a:pt x="117645" y="602912"/>
                  </a:lnTo>
                  <a:lnTo>
                    <a:pt x="113697" y="605971"/>
                  </a:lnTo>
                  <a:close/>
                  <a:moveTo>
                    <a:pt x="162741" y="609228"/>
                  </a:moveTo>
                  <a:lnTo>
                    <a:pt x="160818" y="606169"/>
                  </a:lnTo>
                  <a:lnTo>
                    <a:pt x="162741" y="604639"/>
                  </a:lnTo>
                  <a:lnTo>
                    <a:pt x="168662" y="606169"/>
                  </a:lnTo>
                  <a:lnTo>
                    <a:pt x="164716" y="609228"/>
                  </a:lnTo>
                  <a:close/>
                  <a:moveTo>
                    <a:pt x="156870" y="618307"/>
                  </a:moveTo>
                  <a:lnTo>
                    <a:pt x="158843" y="616826"/>
                  </a:lnTo>
                  <a:lnTo>
                    <a:pt x="160818" y="616826"/>
                  </a:lnTo>
                  <a:lnTo>
                    <a:pt x="158843" y="619836"/>
                  </a:lnTo>
                  <a:lnTo>
                    <a:pt x="156870" y="618307"/>
                  </a:lnTo>
                  <a:close/>
                  <a:moveTo>
                    <a:pt x="152923" y="603110"/>
                  </a:moveTo>
                  <a:lnTo>
                    <a:pt x="150999" y="606169"/>
                  </a:lnTo>
                  <a:lnTo>
                    <a:pt x="152923" y="612237"/>
                  </a:lnTo>
                  <a:lnTo>
                    <a:pt x="154897" y="615297"/>
                  </a:lnTo>
                  <a:lnTo>
                    <a:pt x="156870" y="616826"/>
                  </a:lnTo>
                  <a:lnTo>
                    <a:pt x="158843" y="610757"/>
                  </a:lnTo>
                  <a:lnTo>
                    <a:pt x="154897" y="606169"/>
                  </a:lnTo>
                  <a:lnTo>
                    <a:pt x="154897" y="604639"/>
                  </a:lnTo>
                  <a:lnTo>
                    <a:pt x="152923" y="603110"/>
                  </a:lnTo>
                  <a:close/>
                  <a:moveTo>
                    <a:pt x="309973" y="528655"/>
                  </a:moveTo>
                  <a:lnTo>
                    <a:pt x="306075" y="522636"/>
                  </a:lnTo>
                  <a:lnTo>
                    <a:pt x="306075" y="518047"/>
                  </a:lnTo>
                  <a:lnTo>
                    <a:pt x="309973" y="513507"/>
                  </a:lnTo>
                  <a:lnTo>
                    <a:pt x="311946" y="513507"/>
                  </a:lnTo>
                  <a:lnTo>
                    <a:pt x="313871" y="518047"/>
                  </a:lnTo>
                  <a:lnTo>
                    <a:pt x="313871" y="528655"/>
                  </a:lnTo>
                  <a:close/>
                  <a:moveTo>
                    <a:pt x="284465" y="524116"/>
                  </a:moveTo>
                  <a:lnTo>
                    <a:pt x="288362" y="519576"/>
                  </a:lnTo>
                  <a:lnTo>
                    <a:pt x="294234" y="519576"/>
                  </a:lnTo>
                  <a:lnTo>
                    <a:pt x="292309" y="522636"/>
                  </a:lnTo>
                  <a:lnTo>
                    <a:pt x="288362" y="524116"/>
                  </a:lnTo>
                  <a:close/>
                  <a:moveTo>
                    <a:pt x="251061" y="587962"/>
                  </a:moveTo>
                  <a:lnTo>
                    <a:pt x="253034" y="589492"/>
                  </a:lnTo>
                  <a:lnTo>
                    <a:pt x="255008" y="586433"/>
                  </a:lnTo>
                  <a:lnTo>
                    <a:pt x="258955" y="587962"/>
                  </a:lnTo>
                  <a:lnTo>
                    <a:pt x="262853" y="587962"/>
                  </a:lnTo>
                  <a:lnTo>
                    <a:pt x="262853" y="583373"/>
                  </a:lnTo>
                  <a:lnTo>
                    <a:pt x="256982" y="577305"/>
                  </a:lnTo>
                  <a:lnTo>
                    <a:pt x="258955" y="572765"/>
                  </a:lnTo>
                  <a:lnTo>
                    <a:pt x="262853" y="563637"/>
                  </a:lnTo>
                  <a:lnTo>
                    <a:pt x="272721" y="559098"/>
                  </a:lnTo>
                  <a:lnTo>
                    <a:pt x="274695" y="556039"/>
                  </a:lnTo>
                  <a:lnTo>
                    <a:pt x="282737" y="556039"/>
                  </a:lnTo>
                  <a:lnTo>
                    <a:pt x="292605" y="562108"/>
                  </a:lnTo>
                  <a:lnTo>
                    <a:pt x="294529" y="565118"/>
                  </a:lnTo>
                  <a:lnTo>
                    <a:pt x="298477" y="563637"/>
                  </a:lnTo>
                  <a:lnTo>
                    <a:pt x="302424" y="554509"/>
                  </a:lnTo>
                  <a:lnTo>
                    <a:pt x="312292" y="548440"/>
                  </a:lnTo>
                  <a:lnTo>
                    <a:pt x="312292" y="543852"/>
                  </a:lnTo>
                  <a:lnTo>
                    <a:pt x="310319" y="540842"/>
                  </a:lnTo>
                  <a:lnTo>
                    <a:pt x="308345" y="536303"/>
                  </a:lnTo>
                  <a:lnTo>
                    <a:pt x="298477" y="531714"/>
                  </a:lnTo>
                  <a:lnTo>
                    <a:pt x="294529" y="531714"/>
                  </a:lnTo>
                  <a:lnTo>
                    <a:pt x="288658" y="528655"/>
                  </a:lnTo>
                  <a:lnTo>
                    <a:pt x="280814" y="527175"/>
                  </a:lnTo>
                  <a:lnTo>
                    <a:pt x="270946" y="533293"/>
                  </a:lnTo>
                  <a:lnTo>
                    <a:pt x="270946" y="536155"/>
                  </a:lnTo>
                  <a:lnTo>
                    <a:pt x="267047" y="540694"/>
                  </a:lnTo>
                  <a:lnTo>
                    <a:pt x="261127" y="543704"/>
                  </a:lnTo>
                  <a:lnTo>
                    <a:pt x="255254" y="546763"/>
                  </a:lnTo>
                  <a:lnTo>
                    <a:pt x="251307" y="546763"/>
                  </a:lnTo>
                  <a:lnTo>
                    <a:pt x="247410" y="537684"/>
                  </a:lnTo>
                  <a:lnTo>
                    <a:pt x="245436" y="537684"/>
                  </a:lnTo>
                  <a:lnTo>
                    <a:pt x="233693" y="548293"/>
                  </a:lnTo>
                  <a:lnTo>
                    <a:pt x="233693" y="552881"/>
                  </a:lnTo>
                  <a:lnTo>
                    <a:pt x="227773" y="557420"/>
                  </a:lnTo>
                  <a:lnTo>
                    <a:pt x="225798" y="561960"/>
                  </a:lnTo>
                  <a:lnTo>
                    <a:pt x="237591" y="564970"/>
                  </a:lnTo>
                  <a:lnTo>
                    <a:pt x="239565" y="571088"/>
                  </a:lnTo>
                  <a:lnTo>
                    <a:pt x="237591" y="574147"/>
                  </a:lnTo>
                  <a:lnTo>
                    <a:pt x="237591" y="577157"/>
                  </a:lnTo>
                  <a:lnTo>
                    <a:pt x="243512" y="583225"/>
                  </a:lnTo>
                  <a:lnTo>
                    <a:pt x="251307" y="584755"/>
                  </a:lnTo>
                  <a:lnTo>
                    <a:pt x="251307" y="587814"/>
                  </a:lnTo>
                  <a:close/>
                  <a:moveTo>
                    <a:pt x="203990" y="692761"/>
                  </a:moveTo>
                  <a:lnTo>
                    <a:pt x="198070" y="688222"/>
                  </a:lnTo>
                  <a:lnTo>
                    <a:pt x="194172" y="689751"/>
                  </a:lnTo>
                  <a:lnTo>
                    <a:pt x="192197" y="692761"/>
                  </a:lnTo>
                  <a:lnTo>
                    <a:pt x="196145" y="698879"/>
                  </a:lnTo>
                  <a:lnTo>
                    <a:pt x="203990" y="698879"/>
                  </a:lnTo>
                  <a:lnTo>
                    <a:pt x="205914" y="697300"/>
                  </a:lnTo>
                  <a:lnTo>
                    <a:pt x="203990" y="692761"/>
                  </a:lnTo>
                  <a:close/>
                  <a:moveTo>
                    <a:pt x="209862" y="686692"/>
                  </a:moveTo>
                  <a:lnTo>
                    <a:pt x="207888" y="677564"/>
                  </a:lnTo>
                  <a:lnTo>
                    <a:pt x="209862" y="671495"/>
                  </a:lnTo>
                  <a:lnTo>
                    <a:pt x="211835" y="676035"/>
                  </a:lnTo>
                  <a:lnTo>
                    <a:pt x="213809" y="680623"/>
                  </a:lnTo>
                  <a:lnTo>
                    <a:pt x="211835" y="685212"/>
                  </a:lnTo>
                  <a:lnTo>
                    <a:pt x="209862" y="686692"/>
                  </a:lnTo>
                  <a:close/>
                  <a:moveTo>
                    <a:pt x="196145" y="668486"/>
                  </a:moveTo>
                  <a:lnTo>
                    <a:pt x="203990" y="665427"/>
                  </a:lnTo>
                  <a:lnTo>
                    <a:pt x="211835" y="657828"/>
                  </a:lnTo>
                  <a:lnTo>
                    <a:pt x="205914" y="651759"/>
                  </a:lnTo>
                  <a:lnTo>
                    <a:pt x="203990" y="648749"/>
                  </a:lnTo>
                  <a:lnTo>
                    <a:pt x="207888" y="645690"/>
                  </a:lnTo>
                  <a:lnTo>
                    <a:pt x="213809" y="648749"/>
                  </a:lnTo>
                  <a:lnTo>
                    <a:pt x="215733" y="650230"/>
                  </a:lnTo>
                  <a:lnTo>
                    <a:pt x="217707" y="642631"/>
                  </a:lnTo>
                  <a:lnTo>
                    <a:pt x="217707" y="633503"/>
                  </a:lnTo>
                  <a:lnTo>
                    <a:pt x="215733" y="628964"/>
                  </a:lnTo>
                  <a:lnTo>
                    <a:pt x="215733" y="603110"/>
                  </a:lnTo>
                  <a:lnTo>
                    <a:pt x="219680" y="597041"/>
                  </a:lnTo>
                  <a:lnTo>
                    <a:pt x="225551" y="589492"/>
                  </a:lnTo>
                  <a:lnTo>
                    <a:pt x="223628" y="586433"/>
                  </a:lnTo>
                  <a:lnTo>
                    <a:pt x="219680" y="584903"/>
                  </a:lnTo>
                  <a:lnTo>
                    <a:pt x="219680" y="578834"/>
                  </a:lnTo>
                  <a:lnTo>
                    <a:pt x="215733" y="578834"/>
                  </a:lnTo>
                  <a:lnTo>
                    <a:pt x="217707" y="575775"/>
                  </a:lnTo>
                  <a:lnTo>
                    <a:pt x="205914" y="575775"/>
                  </a:lnTo>
                  <a:lnTo>
                    <a:pt x="203990" y="572765"/>
                  </a:lnTo>
                  <a:lnTo>
                    <a:pt x="209862" y="569706"/>
                  </a:lnTo>
                  <a:lnTo>
                    <a:pt x="211835" y="565118"/>
                  </a:lnTo>
                  <a:lnTo>
                    <a:pt x="209862" y="557569"/>
                  </a:lnTo>
                  <a:lnTo>
                    <a:pt x="205914" y="554509"/>
                  </a:lnTo>
                  <a:lnTo>
                    <a:pt x="198070" y="556039"/>
                  </a:lnTo>
                  <a:lnTo>
                    <a:pt x="198070" y="557569"/>
                  </a:lnTo>
                  <a:lnTo>
                    <a:pt x="194172" y="560578"/>
                  </a:lnTo>
                  <a:lnTo>
                    <a:pt x="188251" y="560578"/>
                  </a:lnTo>
                  <a:lnTo>
                    <a:pt x="182379" y="553029"/>
                  </a:lnTo>
                  <a:lnTo>
                    <a:pt x="182379" y="548440"/>
                  </a:lnTo>
                  <a:lnTo>
                    <a:pt x="194172" y="543852"/>
                  </a:lnTo>
                  <a:lnTo>
                    <a:pt x="204040" y="540842"/>
                  </a:lnTo>
                  <a:lnTo>
                    <a:pt x="213908" y="545381"/>
                  </a:lnTo>
                  <a:lnTo>
                    <a:pt x="219779" y="548440"/>
                  </a:lnTo>
                  <a:lnTo>
                    <a:pt x="221752" y="545381"/>
                  </a:lnTo>
                  <a:lnTo>
                    <a:pt x="219779" y="540842"/>
                  </a:lnTo>
                  <a:lnTo>
                    <a:pt x="221752" y="534773"/>
                  </a:lnTo>
                  <a:lnTo>
                    <a:pt x="219779" y="530184"/>
                  </a:lnTo>
                  <a:lnTo>
                    <a:pt x="221752" y="527175"/>
                  </a:lnTo>
                  <a:lnTo>
                    <a:pt x="227625" y="527175"/>
                  </a:lnTo>
                  <a:lnTo>
                    <a:pt x="229598" y="530184"/>
                  </a:lnTo>
                  <a:lnTo>
                    <a:pt x="233545" y="530184"/>
                  </a:lnTo>
                  <a:lnTo>
                    <a:pt x="241341" y="527175"/>
                  </a:lnTo>
                  <a:lnTo>
                    <a:pt x="253133" y="525645"/>
                  </a:lnTo>
                  <a:lnTo>
                    <a:pt x="263001" y="522636"/>
                  </a:lnTo>
                  <a:lnTo>
                    <a:pt x="272869" y="522636"/>
                  </a:lnTo>
                  <a:lnTo>
                    <a:pt x="274842" y="524116"/>
                  </a:lnTo>
                  <a:lnTo>
                    <a:pt x="278790" y="522636"/>
                  </a:lnTo>
                  <a:lnTo>
                    <a:pt x="278790" y="521106"/>
                  </a:lnTo>
                  <a:lnTo>
                    <a:pt x="286635" y="516567"/>
                  </a:lnTo>
                  <a:lnTo>
                    <a:pt x="286635" y="511978"/>
                  </a:lnTo>
                  <a:lnTo>
                    <a:pt x="294432" y="507389"/>
                  </a:lnTo>
                  <a:lnTo>
                    <a:pt x="306273" y="504380"/>
                  </a:lnTo>
                  <a:lnTo>
                    <a:pt x="316141" y="505909"/>
                  </a:lnTo>
                  <a:lnTo>
                    <a:pt x="322061" y="504380"/>
                  </a:lnTo>
                  <a:lnTo>
                    <a:pt x="323986" y="507389"/>
                  </a:lnTo>
                  <a:lnTo>
                    <a:pt x="323986" y="511978"/>
                  </a:lnTo>
                  <a:lnTo>
                    <a:pt x="320088" y="519576"/>
                  </a:lnTo>
                  <a:lnTo>
                    <a:pt x="318114" y="524116"/>
                  </a:lnTo>
                  <a:lnTo>
                    <a:pt x="320088" y="525645"/>
                  </a:lnTo>
                  <a:lnTo>
                    <a:pt x="322061" y="531714"/>
                  </a:lnTo>
                  <a:lnTo>
                    <a:pt x="322061" y="545381"/>
                  </a:lnTo>
                  <a:lnTo>
                    <a:pt x="329907" y="548440"/>
                  </a:lnTo>
                  <a:lnTo>
                    <a:pt x="341699" y="556039"/>
                  </a:lnTo>
                  <a:lnTo>
                    <a:pt x="347570" y="557569"/>
                  </a:lnTo>
                  <a:lnTo>
                    <a:pt x="351518" y="556039"/>
                  </a:lnTo>
                  <a:lnTo>
                    <a:pt x="357341" y="546911"/>
                  </a:lnTo>
                  <a:lnTo>
                    <a:pt x="359363" y="540842"/>
                  </a:lnTo>
                  <a:lnTo>
                    <a:pt x="363261" y="537832"/>
                  </a:lnTo>
                  <a:lnTo>
                    <a:pt x="363261" y="536155"/>
                  </a:lnTo>
                  <a:lnTo>
                    <a:pt x="361336" y="531566"/>
                  </a:lnTo>
                  <a:lnTo>
                    <a:pt x="367159" y="523968"/>
                  </a:lnTo>
                  <a:lnTo>
                    <a:pt x="378951" y="523968"/>
                  </a:lnTo>
                  <a:lnTo>
                    <a:pt x="380924" y="520958"/>
                  </a:lnTo>
                  <a:lnTo>
                    <a:pt x="380924" y="519428"/>
                  </a:lnTo>
                  <a:lnTo>
                    <a:pt x="378951" y="511830"/>
                  </a:lnTo>
                  <a:lnTo>
                    <a:pt x="365234" y="507241"/>
                  </a:lnTo>
                  <a:lnTo>
                    <a:pt x="363261" y="504232"/>
                  </a:lnTo>
                  <a:lnTo>
                    <a:pt x="365234" y="496633"/>
                  </a:lnTo>
                  <a:lnTo>
                    <a:pt x="369132" y="493623"/>
                  </a:lnTo>
                  <a:lnTo>
                    <a:pt x="371106" y="492094"/>
                  </a:lnTo>
                  <a:lnTo>
                    <a:pt x="371106" y="501222"/>
                  </a:lnTo>
                  <a:lnTo>
                    <a:pt x="375053" y="502702"/>
                  </a:lnTo>
                  <a:lnTo>
                    <a:pt x="378951" y="501222"/>
                  </a:lnTo>
                  <a:lnTo>
                    <a:pt x="380924" y="499692"/>
                  </a:lnTo>
                  <a:lnTo>
                    <a:pt x="384872" y="499692"/>
                  </a:lnTo>
                  <a:lnTo>
                    <a:pt x="388770" y="502702"/>
                  </a:lnTo>
                  <a:lnTo>
                    <a:pt x="392717" y="501222"/>
                  </a:lnTo>
                  <a:lnTo>
                    <a:pt x="394690" y="501222"/>
                  </a:lnTo>
                  <a:lnTo>
                    <a:pt x="392717" y="504232"/>
                  </a:lnTo>
                  <a:lnTo>
                    <a:pt x="386797" y="505761"/>
                  </a:lnTo>
                  <a:lnTo>
                    <a:pt x="386797" y="507241"/>
                  </a:lnTo>
                  <a:lnTo>
                    <a:pt x="392717" y="507241"/>
                  </a:lnTo>
                  <a:lnTo>
                    <a:pt x="402585" y="502702"/>
                  </a:lnTo>
                  <a:lnTo>
                    <a:pt x="420200" y="504232"/>
                  </a:lnTo>
                  <a:lnTo>
                    <a:pt x="430068" y="502702"/>
                  </a:lnTo>
                  <a:lnTo>
                    <a:pt x="428143" y="501222"/>
                  </a:lnTo>
                  <a:lnTo>
                    <a:pt x="426170" y="495153"/>
                  </a:lnTo>
                  <a:lnTo>
                    <a:pt x="428143" y="487505"/>
                  </a:lnTo>
                  <a:lnTo>
                    <a:pt x="434064" y="484496"/>
                  </a:lnTo>
                  <a:lnTo>
                    <a:pt x="441860" y="484496"/>
                  </a:lnTo>
                  <a:lnTo>
                    <a:pt x="443833" y="492094"/>
                  </a:lnTo>
                  <a:lnTo>
                    <a:pt x="441860" y="498163"/>
                  </a:lnTo>
                  <a:lnTo>
                    <a:pt x="443833" y="502702"/>
                  </a:lnTo>
                  <a:lnTo>
                    <a:pt x="449706" y="501222"/>
                  </a:lnTo>
                  <a:lnTo>
                    <a:pt x="453652" y="495153"/>
                  </a:lnTo>
                  <a:lnTo>
                    <a:pt x="449706" y="484496"/>
                  </a:lnTo>
                  <a:lnTo>
                    <a:pt x="451679" y="476897"/>
                  </a:lnTo>
                  <a:lnTo>
                    <a:pt x="461547" y="472308"/>
                  </a:lnTo>
                  <a:lnTo>
                    <a:pt x="465494" y="472308"/>
                  </a:lnTo>
                  <a:lnTo>
                    <a:pt x="467467" y="469299"/>
                  </a:lnTo>
                  <a:lnTo>
                    <a:pt x="463520" y="466240"/>
                  </a:lnTo>
                  <a:lnTo>
                    <a:pt x="465494" y="457161"/>
                  </a:lnTo>
                  <a:lnTo>
                    <a:pt x="469392" y="455631"/>
                  </a:lnTo>
                  <a:lnTo>
                    <a:pt x="477286" y="455631"/>
                  </a:lnTo>
                  <a:lnTo>
                    <a:pt x="479211" y="458690"/>
                  </a:lnTo>
                  <a:lnTo>
                    <a:pt x="477286" y="464759"/>
                  </a:lnTo>
                  <a:lnTo>
                    <a:pt x="473290" y="472308"/>
                  </a:lnTo>
                  <a:lnTo>
                    <a:pt x="477286" y="490564"/>
                  </a:lnTo>
                  <a:lnTo>
                    <a:pt x="479211" y="492094"/>
                  </a:lnTo>
                  <a:lnTo>
                    <a:pt x="485082" y="487505"/>
                  </a:lnTo>
                  <a:lnTo>
                    <a:pt x="487105" y="482966"/>
                  </a:lnTo>
                  <a:lnTo>
                    <a:pt x="492928" y="482966"/>
                  </a:lnTo>
                  <a:lnTo>
                    <a:pt x="498848" y="476897"/>
                  </a:lnTo>
                  <a:lnTo>
                    <a:pt x="500821" y="469299"/>
                  </a:lnTo>
                  <a:lnTo>
                    <a:pt x="500821" y="464759"/>
                  </a:lnTo>
                  <a:lnTo>
                    <a:pt x="506693" y="457161"/>
                  </a:lnTo>
                  <a:lnTo>
                    <a:pt x="506693" y="452572"/>
                  </a:lnTo>
                  <a:lnTo>
                    <a:pt x="502746" y="449513"/>
                  </a:lnTo>
                  <a:lnTo>
                    <a:pt x="494901" y="440434"/>
                  </a:lnTo>
                  <a:lnTo>
                    <a:pt x="492928" y="432836"/>
                  </a:lnTo>
                  <a:lnTo>
                    <a:pt x="491003" y="417639"/>
                  </a:lnTo>
                  <a:lnTo>
                    <a:pt x="492928" y="400913"/>
                  </a:lnTo>
                  <a:lnTo>
                    <a:pt x="492928" y="388775"/>
                  </a:lnTo>
                  <a:lnTo>
                    <a:pt x="487105" y="367509"/>
                  </a:lnTo>
                  <a:lnTo>
                    <a:pt x="479211" y="355322"/>
                  </a:lnTo>
                  <a:lnTo>
                    <a:pt x="477286" y="349303"/>
                  </a:lnTo>
                  <a:lnTo>
                    <a:pt x="479211" y="338645"/>
                  </a:lnTo>
                  <a:lnTo>
                    <a:pt x="491003" y="335586"/>
                  </a:lnTo>
                  <a:lnTo>
                    <a:pt x="494901" y="335586"/>
                  </a:lnTo>
                  <a:lnTo>
                    <a:pt x="498848" y="338645"/>
                  </a:lnTo>
                  <a:lnTo>
                    <a:pt x="500821" y="337116"/>
                  </a:lnTo>
                  <a:lnTo>
                    <a:pt x="498848" y="328037"/>
                  </a:lnTo>
                  <a:lnTo>
                    <a:pt x="496923" y="323399"/>
                  </a:lnTo>
                  <a:lnTo>
                    <a:pt x="494901" y="321919"/>
                  </a:lnTo>
                  <a:lnTo>
                    <a:pt x="492928" y="315850"/>
                  </a:lnTo>
                  <a:lnTo>
                    <a:pt x="494901" y="312791"/>
                  </a:lnTo>
                  <a:lnTo>
                    <a:pt x="494901" y="308252"/>
                  </a:lnTo>
                  <a:lnTo>
                    <a:pt x="496923" y="305193"/>
                  </a:lnTo>
                  <a:lnTo>
                    <a:pt x="496923" y="297594"/>
                  </a:lnTo>
                  <a:lnTo>
                    <a:pt x="494901" y="294584"/>
                  </a:lnTo>
                  <a:lnTo>
                    <a:pt x="494901" y="286986"/>
                  </a:lnTo>
                  <a:lnTo>
                    <a:pt x="496923" y="283927"/>
                  </a:lnTo>
                  <a:lnTo>
                    <a:pt x="492928" y="279388"/>
                  </a:lnTo>
                  <a:lnTo>
                    <a:pt x="491003" y="267200"/>
                  </a:lnTo>
                  <a:lnTo>
                    <a:pt x="485082" y="258122"/>
                  </a:lnTo>
                  <a:lnTo>
                    <a:pt x="481184" y="258122"/>
                  </a:lnTo>
                  <a:lnTo>
                    <a:pt x="477286" y="256592"/>
                  </a:lnTo>
                  <a:lnTo>
                    <a:pt x="477286" y="242925"/>
                  </a:lnTo>
                  <a:lnTo>
                    <a:pt x="469392" y="236856"/>
                  </a:lnTo>
                  <a:lnTo>
                    <a:pt x="455676" y="221659"/>
                  </a:lnTo>
                  <a:lnTo>
                    <a:pt x="451728" y="217120"/>
                  </a:lnTo>
                  <a:lnTo>
                    <a:pt x="449755" y="207943"/>
                  </a:lnTo>
                  <a:lnTo>
                    <a:pt x="447830" y="197335"/>
                  </a:lnTo>
                  <a:lnTo>
                    <a:pt x="447830" y="194276"/>
                  </a:lnTo>
                  <a:lnTo>
                    <a:pt x="443883" y="195805"/>
                  </a:lnTo>
                  <a:lnTo>
                    <a:pt x="441909" y="195805"/>
                  </a:lnTo>
                  <a:lnTo>
                    <a:pt x="438011" y="194276"/>
                  </a:lnTo>
                  <a:lnTo>
                    <a:pt x="432091" y="192746"/>
                  </a:lnTo>
                  <a:lnTo>
                    <a:pt x="428193" y="192746"/>
                  </a:lnTo>
                  <a:lnTo>
                    <a:pt x="428193" y="194276"/>
                  </a:lnTo>
                  <a:lnTo>
                    <a:pt x="426219" y="201923"/>
                  </a:lnTo>
                  <a:lnTo>
                    <a:pt x="426219" y="207943"/>
                  </a:lnTo>
                  <a:lnTo>
                    <a:pt x="428193" y="209472"/>
                  </a:lnTo>
                  <a:lnTo>
                    <a:pt x="432091" y="207943"/>
                  </a:lnTo>
                  <a:lnTo>
                    <a:pt x="441959" y="203403"/>
                  </a:lnTo>
                  <a:lnTo>
                    <a:pt x="445906" y="209472"/>
                  </a:lnTo>
                  <a:lnTo>
                    <a:pt x="441959" y="215591"/>
                  </a:lnTo>
                  <a:lnTo>
                    <a:pt x="436088" y="217120"/>
                  </a:lnTo>
                  <a:lnTo>
                    <a:pt x="432140" y="215591"/>
                  </a:lnTo>
                  <a:lnTo>
                    <a:pt x="430166" y="215591"/>
                  </a:lnTo>
                  <a:lnTo>
                    <a:pt x="432140" y="221659"/>
                  </a:lnTo>
                  <a:lnTo>
                    <a:pt x="430166" y="226199"/>
                  </a:lnTo>
                  <a:lnTo>
                    <a:pt x="424344" y="223140"/>
                  </a:lnTo>
                  <a:lnTo>
                    <a:pt x="424344" y="217120"/>
                  </a:lnTo>
                  <a:lnTo>
                    <a:pt x="422371" y="212531"/>
                  </a:lnTo>
                  <a:lnTo>
                    <a:pt x="420347" y="209472"/>
                  </a:lnTo>
                  <a:lnTo>
                    <a:pt x="415956" y="209472"/>
                  </a:lnTo>
                  <a:lnTo>
                    <a:pt x="412058" y="207943"/>
                  </a:lnTo>
                  <a:lnTo>
                    <a:pt x="410085" y="212531"/>
                  </a:lnTo>
                  <a:lnTo>
                    <a:pt x="414033" y="221659"/>
                  </a:lnTo>
                  <a:lnTo>
                    <a:pt x="414033" y="229208"/>
                  </a:lnTo>
                  <a:lnTo>
                    <a:pt x="410085" y="230738"/>
                  </a:lnTo>
                  <a:lnTo>
                    <a:pt x="404214" y="235327"/>
                  </a:lnTo>
                  <a:lnTo>
                    <a:pt x="404214" y="238386"/>
                  </a:lnTo>
                  <a:lnTo>
                    <a:pt x="414082" y="245935"/>
                  </a:lnTo>
                  <a:lnTo>
                    <a:pt x="416006" y="250523"/>
                  </a:lnTo>
                  <a:lnTo>
                    <a:pt x="414082" y="259652"/>
                  </a:lnTo>
                  <a:lnTo>
                    <a:pt x="410134" y="262661"/>
                  </a:lnTo>
                  <a:lnTo>
                    <a:pt x="402289" y="261132"/>
                  </a:lnTo>
                  <a:lnTo>
                    <a:pt x="400316" y="264191"/>
                  </a:lnTo>
                  <a:lnTo>
                    <a:pt x="408160" y="270260"/>
                  </a:lnTo>
                  <a:lnTo>
                    <a:pt x="412108" y="268730"/>
                  </a:lnTo>
                  <a:lnTo>
                    <a:pt x="417979" y="264191"/>
                  </a:lnTo>
                  <a:lnTo>
                    <a:pt x="423901" y="279388"/>
                  </a:lnTo>
                  <a:lnTo>
                    <a:pt x="425824" y="293055"/>
                  </a:lnTo>
                  <a:lnTo>
                    <a:pt x="425824" y="315850"/>
                  </a:lnTo>
                  <a:lnTo>
                    <a:pt x="419904" y="338645"/>
                  </a:lnTo>
                  <a:lnTo>
                    <a:pt x="421926" y="346244"/>
                  </a:lnTo>
                  <a:lnTo>
                    <a:pt x="419904" y="355322"/>
                  </a:lnTo>
                  <a:lnTo>
                    <a:pt x="410036" y="359862"/>
                  </a:lnTo>
                  <a:lnTo>
                    <a:pt x="404165" y="369039"/>
                  </a:lnTo>
                  <a:lnTo>
                    <a:pt x="408061" y="378117"/>
                  </a:lnTo>
                  <a:lnTo>
                    <a:pt x="402190" y="385765"/>
                  </a:lnTo>
                  <a:lnTo>
                    <a:pt x="400217" y="391785"/>
                  </a:lnTo>
                  <a:lnTo>
                    <a:pt x="392371" y="397854"/>
                  </a:lnTo>
                  <a:lnTo>
                    <a:pt x="374707" y="405502"/>
                  </a:lnTo>
                  <a:lnTo>
                    <a:pt x="366814" y="407031"/>
                  </a:lnTo>
                  <a:lnTo>
                    <a:pt x="364889" y="414580"/>
                  </a:lnTo>
                  <a:lnTo>
                    <a:pt x="355021" y="411570"/>
                  </a:lnTo>
                  <a:lnTo>
                    <a:pt x="347176" y="400913"/>
                  </a:lnTo>
                  <a:lnTo>
                    <a:pt x="347176" y="398002"/>
                  </a:lnTo>
                  <a:lnTo>
                    <a:pt x="351124" y="396522"/>
                  </a:lnTo>
                  <a:lnTo>
                    <a:pt x="355021" y="390453"/>
                  </a:lnTo>
                  <a:lnTo>
                    <a:pt x="355021" y="387393"/>
                  </a:lnTo>
                  <a:lnTo>
                    <a:pt x="358968" y="382854"/>
                  </a:lnTo>
                  <a:lnTo>
                    <a:pt x="358968" y="381325"/>
                  </a:lnTo>
                  <a:lnTo>
                    <a:pt x="351124" y="382854"/>
                  </a:lnTo>
                  <a:lnTo>
                    <a:pt x="345202" y="388923"/>
                  </a:lnTo>
                  <a:lnTo>
                    <a:pt x="335334" y="391933"/>
                  </a:lnTo>
                  <a:lnTo>
                    <a:pt x="333361" y="396522"/>
                  </a:lnTo>
                  <a:lnTo>
                    <a:pt x="341256" y="404120"/>
                  </a:lnTo>
                  <a:lnTo>
                    <a:pt x="341256" y="425386"/>
                  </a:lnTo>
                  <a:lnTo>
                    <a:pt x="331387" y="432984"/>
                  </a:lnTo>
                  <a:lnTo>
                    <a:pt x="331387" y="437474"/>
                  </a:lnTo>
                  <a:lnTo>
                    <a:pt x="327440" y="440533"/>
                  </a:lnTo>
                  <a:lnTo>
                    <a:pt x="327440" y="451141"/>
                  </a:lnTo>
                  <a:lnTo>
                    <a:pt x="329413" y="454200"/>
                  </a:lnTo>
                  <a:lnTo>
                    <a:pt x="331387" y="457260"/>
                  </a:lnTo>
                  <a:lnTo>
                    <a:pt x="327440" y="458789"/>
                  </a:lnTo>
                  <a:lnTo>
                    <a:pt x="329413" y="461799"/>
                  </a:lnTo>
                  <a:lnTo>
                    <a:pt x="327440" y="466338"/>
                  </a:lnTo>
                  <a:lnTo>
                    <a:pt x="325466" y="466338"/>
                  </a:lnTo>
                  <a:lnTo>
                    <a:pt x="327440" y="469397"/>
                  </a:lnTo>
                  <a:lnTo>
                    <a:pt x="321569" y="470878"/>
                  </a:lnTo>
                  <a:lnTo>
                    <a:pt x="317621" y="469397"/>
                  </a:lnTo>
                  <a:lnTo>
                    <a:pt x="313674" y="472407"/>
                  </a:lnTo>
                  <a:lnTo>
                    <a:pt x="309776" y="470878"/>
                  </a:lnTo>
                  <a:lnTo>
                    <a:pt x="309776" y="464858"/>
                  </a:lnTo>
                  <a:lnTo>
                    <a:pt x="307803" y="461799"/>
                  </a:lnTo>
                  <a:lnTo>
                    <a:pt x="299957" y="466338"/>
                  </a:lnTo>
                  <a:lnTo>
                    <a:pt x="296059" y="466338"/>
                  </a:lnTo>
                  <a:lnTo>
                    <a:pt x="294037" y="464858"/>
                  </a:lnTo>
                  <a:lnTo>
                    <a:pt x="280320" y="469397"/>
                  </a:lnTo>
                  <a:lnTo>
                    <a:pt x="272474" y="472407"/>
                  </a:lnTo>
                  <a:lnTo>
                    <a:pt x="262606" y="475466"/>
                  </a:lnTo>
                  <a:lnTo>
                    <a:pt x="252738" y="475466"/>
                  </a:lnTo>
                  <a:lnTo>
                    <a:pt x="244894" y="476996"/>
                  </a:lnTo>
                  <a:lnTo>
                    <a:pt x="242969" y="475466"/>
                  </a:lnTo>
                  <a:lnTo>
                    <a:pt x="233101" y="476996"/>
                  </a:lnTo>
                  <a:lnTo>
                    <a:pt x="221309" y="484594"/>
                  </a:lnTo>
                  <a:lnTo>
                    <a:pt x="217361" y="492193"/>
                  </a:lnTo>
                  <a:lnTo>
                    <a:pt x="213463" y="495252"/>
                  </a:lnTo>
                  <a:lnTo>
                    <a:pt x="211490" y="499791"/>
                  </a:lnTo>
                  <a:lnTo>
                    <a:pt x="203645" y="508869"/>
                  </a:lnTo>
                  <a:lnTo>
                    <a:pt x="195799" y="510399"/>
                  </a:lnTo>
                  <a:lnTo>
                    <a:pt x="189928" y="517998"/>
                  </a:lnTo>
                  <a:lnTo>
                    <a:pt x="189928" y="521057"/>
                  </a:lnTo>
                  <a:lnTo>
                    <a:pt x="184007" y="525596"/>
                  </a:lnTo>
                  <a:lnTo>
                    <a:pt x="174139" y="527125"/>
                  </a:lnTo>
                  <a:lnTo>
                    <a:pt x="172166" y="531665"/>
                  </a:lnTo>
                  <a:lnTo>
                    <a:pt x="174139" y="540793"/>
                  </a:lnTo>
                  <a:lnTo>
                    <a:pt x="178037" y="543802"/>
                  </a:lnTo>
                  <a:lnTo>
                    <a:pt x="178037" y="546862"/>
                  </a:lnTo>
                  <a:lnTo>
                    <a:pt x="176112" y="549921"/>
                  </a:lnTo>
                  <a:lnTo>
                    <a:pt x="170241" y="549921"/>
                  </a:lnTo>
                  <a:lnTo>
                    <a:pt x="162347" y="555990"/>
                  </a:lnTo>
                  <a:lnTo>
                    <a:pt x="160422" y="559049"/>
                  </a:lnTo>
                  <a:lnTo>
                    <a:pt x="154502" y="562058"/>
                  </a:lnTo>
                  <a:lnTo>
                    <a:pt x="148631" y="569657"/>
                  </a:lnTo>
                  <a:lnTo>
                    <a:pt x="146656" y="574245"/>
                  </a:lnTo>
                  <a:lnTo>
                    <a:pt x="140785" y="574245"/>
                  </a:lnTo>
                  <a:lnTo>
                    <a:pt x="134864" y="577255"/>
                  </a:lnTo>
                  <a:lnTo>
                    <a:pt x="140785" y="577255"/>
                  </a:lnTo>
                  <a:lnTo>
                    <a:pt x="142710" y="581795"/>
                  </a:lnTo>
                  <a:lnTo>
                    <a:pt x="146656" y="589442"/>
                  </a:lnTo>
                  <a:lnTo>
                    <a:pt x="144683" y="590972"/>
                  </a:lnTo>
                  <a:lnTo>
                    <a:pt x="142710" y="586383"/>
                  </a:lnTo>
                  <a:lnTo>
                    <a:pt x="140785" y="583324"/>
                  </a:lnTo>
                  <a:lnTo>
                    <a:pt x="138812" y="587913"/>
                  </a:lnTo>
                  <a:lnTo>
                    <a:pt x="140785" y="592452"/>
                  </a:lnTo>
                  <a:lnTo>
                    <a:pt x="144683" y="595511"/>
                  </a:lnTo>
                  <a:lnTo>
                    <a:pt x="144683" y="598521"/>
                  </a:lnTo>
                  <a:lnTo>
                    <a:pt x="142710" y="603060"/>
                  </a:lnTo>
                  <a:lnTo>
                    <a:pt x="146656" y="601531"/>
                  </a:lnTo>
                  <a:lnTo>
                    <a:pt x="148631" y="596991"/>
                  </a:lnTo>
                  <a:lnTo>
                    <a:pt x="154502" y="595511"/>
                  </a:lnTo>
                  <a:lnTo>
                    <a:pt x="156475" y="596991"/>
                  </a:lnTo>
                  <a:lnTo>
                    <a:pt x="154502" y="598521"/>
                  </a:lnTo>
                  <a:lnTo>
                    <a:pt x="156475" y="600051"/>
                  </a:lnTo>
                  <a:lnTo>
                    <a:pt x="162347" y="600051"/>
                  </a:lnTo>
                  <a:lnTo>
                    <a:pt x="162347" y="592403"/>
                  </a:lnTo>
                  <a:lnTo>
                    <a:pt x="158449" y="589393"/>
                  </a:lnTo>
                  <a:lnTo>
                    <a:pt x="152529" y="590922"/>
                  </a:lnTo>
                  <a:lnTo>
                    <a:pt x="152529" y="589393"/>
                  </a:lnTo>
                  <a:lnTo>
                    <a:pt x="154502" y="586334"/>
                  </a:lnTo>
                  <a:lnTo>
                    <a:pt x="152529" y="581745"/>
                  </a:lnTo>
                  <a:lnTo>
                    <a:pt x="154502" y="578735"/>
                  </a:lnTo>
                  <a:lnTo>
                    <a:pt x="160422" y="580265"/>
                  </a:lnTo>
                  <a:lnTo>
                    <a:pt x="168268" y="589393"/>
                  </a:lnTo>
                  <a:lnTo>
                    <a:pt x="170241" y="596942"/>
                  </a:lnTo>
                  <a:lnTo>
                    <a:pt x="172166" y="600001"/>
                  </a:lnTo>
                  <a:lnTo>
                    <a:pt x="172166" y="609129"/>
                  </a:lnTo>
                  <a:lnTo>
                    <a:pt x="168268" y="619737"/>
                  </a:lnTo>
                  <a:lnTo>
                    <a:pt x="160422" y="619737"/>
                  </a:lnTo>
                  <a:lnTo>
                    <a:pt x="162347" y="624326"/>
                  </a:lnTo>
                  <a:lnTo>
                    <a:pt x="168268" y="631924"/>
                  </a:lnTo>
                  <a:lnTo>
                    <a:pt x="170241" y="642533"/>
                  </a:lnTo>
                  <a:lnTo>
                    <a:pt x="176112" y="650131"/>
                  </a:lnTo>
                  <a:lnTo>
                    <a:pt x="176112" y="654572"/>
                  </a:lnTo>
                  <a:lnTo>
                    <a:pt x="174139" y="657631"/>
                  </a:lnTo>
                  <a:lnTo>
                    <a:pt x="178037" y="662219"/>
                  </a:lnTo>
                  <a:lnTo>
                    <a:pt x="183958" y="660690"/>
                  </a:lnTo>
                  <a:lnTo>
                    <a:pt x="187856" y="663749"/>
                  </a:lnTo>
                  <a:lnTo>
                    <a:pt x="189878" y="660690"/>
                  </a:lnTo>
                  <a:lnTo>
                    <a:pt x="189878" y="657631"/>
                  </a:lnTo>
                  <a:lnTo>
                    <a:pt x="185931" y="651562"/>
                  </a:lnTo>
                  <a:lnTo>
                    <a:pt x="185931" y="640904"/>
                  </a:lnTo>
                  <a:lnTo>
                    <a:pt x="187856" y="637895"/>
                  </a:lnTo>
                  <a:lnTo>
                    <a:pt x="191803" y="640904"/>
                  </a:lnTo>
                  <a:lnTo>
                    <a:pt x="189878" y="642434"/>
                  </a:lnTo>
                  <a:lnTo>
                    <a:pt x="189878" y="645493"/>
                  </a:lnTo>
                  <a:lnTo>
                    <a:pt x="193777" y="651562"/>
                  </a:lnTo>
                  <a:lnTo>
                    <a:pt x="195751" y="659160"/>
                  </a:lnTo>
                  <a:lnTo>
                    <a:pt x="195751" y="66828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Graphic 2">
              <a:extLst>
                <a:ext uri="{FF2B5EF4-FFF2-40B4-BE49-F238E27FC236}">
                  <a16:creationId xmlns:a16="http://schemas.microsoft.com/office/drawing/2014/main" id="{B8048F63-8E19-43BE-B087-4BA2FAF4CB56}"/>
                </a:ext>
              </a:extLst>
            </p:cNvPr>
            <p:cNvSpPr/>
            <p:nvPr/>
          </p:nvSpPr>
          <p:spPr>
            <a:xfrm>
              <a:off x="9384983" y="3387065"/>
              <a:ext cx="149181" cy="203412"/>
            </a:xfrm>
            <a:custGeom>
              <a:avLst/>
              <a:gdLst>
                <a:gd name="connsiteX0" fmla="*/ 98698 w 164204"/>
                <a:gd name="connsiteY0" fmla="*/ 160329 h 223906"/>
                <a:gd name="connsiteX1" fmla="*/ 102645 w 164204"/>
                <a:gd name="connsiteY1" fmla="*/ 157270 h 223906"/>
                <a:gd name="connsiteX2" fmla="*/ 106593 w 164204"/>
                <a:gd name="connsiteY2" fmla="*/ 161859 h 223906"/>
                <a:gd name="connsiteX3" fmla="*/ 100672 w 164204"/>
                <a:gd name="connsiteY3" fmla="*/ 163339 h 223906"/>
                <a:gd name="connsiteX4" fmla="*/ 98698 w 164204"/>
                <a:gd name="connsiteY4" fmla="*/ 160329 h 223906"/>
                <a:gd name="connsiteX5" fmla="*/ 49357 w 164204"/>
                <a:gd name="connsiteY5" fmla="*/ 181496 h 223906"/>
                <a:gd name="connsiteX6" fmla="*/ 45411 w 164204"/>
                <a:gd name="connsiteY6" fmla="*/ 178486 h 223906"/>
                <a:gd name="connsiteX7" fmla="*/ 47384 w 164204"/>
                <a:gd name="connsiteY7" fmla="*/ 175477 h 223906"/>
                <a:gd name="connsiteX8" fmla="*/ 49357 w 164204"/>
                <a:gd name="connsiteY8" fmla="*/ 175477 h 223906"/>
                <a:gd name="connsiteX9" fmla="*/ 51332 w 164204"/>
                <a:gd name="connsiteY9" fmla="*/ 172418 h 223906"/>
                <a:gd name="connsiteX10" fmla="*/ 53305 w 164204"/>
                <a:gd name="connsiteY10" fmla="*/ 175477 h 223906"/>
                <a:gd name="connsiteX11" fmla="*/ 55279 w 164204"/>
                <a:gd name="connsiteY11" fmla="*/ 179967 h 223906"/>
                <a:gd name="connsiteX12" fmla="*/ 51332 w 164204"/>
                <a:gd name="connsiteY12" fmla="*/ 179967 h 223906"/>
                <a:gd name="connsiteX13" fmla="*/ 49357 w 164204"/>
                <a:gd name="connsiteY13" fmla="*/ 181496 h 223906"/>
                <a:gd name="connsiteX14" fmla="*/ 130474 w 164204"/>
                <a:gd name="connsiteY14" fmla="*/ 149771 h 223906"/>
                <a:gd name="connsiteX15" fmla="*/ 126526 w 164204"/>
                <a:gd name="connsiteY15" fmla="*/ 152780 h 223906"/>
                <a:gd name="connsiteX16" fmla="*/ 126526 w 164204"/>
                <a:gd name="connsiteY16" fmla="*/ 157270 h 223906"/>
                <a:gd name="connsiteX17" fmla="*/ 128499 w 164204"/>
                <a:gd name="connsiteY17" fmla="*/ 161859 h 223906"/>
                <a:gd name="connsiteX18" fmla="*/ 132447 w 164204"/>
                <a:gd name="connsiteY18" fmla="*/ 160329 h 223906"/>
                <a:gd name="connsiteX19" fmla="*/ 134469 w 164204"/>
                <a:gd name="connsiteY19" fmla="*/ 155790 h 223906"/>
                <a:gd name="connsiteX20" fmla="*/ 134469 w 164204"/>
                <a:gd name="connsiteY20" fmla="*/ 151251 h 223906"/>
                <a:gd name="connsiteX21" fmla="*/ 130474 w 164204"/>
                <a:gd name="connsiteY21" fmla="*/ 149771 h 223906"/>
                <a:gd name="connsiteX22" fmla="*/ 156229 w 164204"/>
                <a:gd name="connsiteY22" fmla="*/ 190575 h 223906"/>
                <a:gd name="connsiteX23" fmla="*/ 154206 w 164204"/>
                <a:gd name="connsiteY23" fmla="*/ 187565 h 223906"/>
                <a:gd name="connsiteX24" fmla="*/ 158202 w 164204"/>
                <a:gd name="connsiteY24" fmla="*/ 181496 h 223906"/>
                <a:gd name="connsiteX25" fmla="*/ 164123 w 164204"/>
                <a:gd name="connsiteY25" fmla="*/ 182977 h 223906"/>
                <a:gd name="connsiteX26" fmla="*/ 162150 w 164204"/>
                <a:gd name="connsiteY26" fmla="*/ 187565 h 223906"/>
                <a:gd name="connsiteX27" fmla="*/ 158202 w 164204"/>
                <a:gd name="connsiteY27" fmla="*/ 190575 h 223906"/>
                <a:gd name="connsiteX28" fmla="*/ 162150 w 164204"/>
                <a:gd name="connsiteY28" fmla="*/ 176957 h 223906"/>
                <a:gd name="connsiteX29" fmla="*/ 158202 w 164204"/>
                <a:gd name="connsiteY29" fmla="*/ 178486 h 223906"/>
                <a:gd name="connsiteX30" fmla="*/ 158202 w 164204"/>
                <a:gd name="connsiteY30" fmla="*/ 170888 h 223906"/>
                <a:gd name="connsiteX31" fmla="*/ 160177 w 164204"/>
                <a:gd name="connsiteY31" fmla="*/ 166349 h 223906"/>
                <a:gd name="connsiteX32" fmla="*/ 162150 w 164204"/>
                <a:gd name="connsiteY32" fmla="*/ 164869 h 223906"/>
                <a:gd name="connsiteX33" fmla="*/ 164123 w 164204"/>
                <a:gd name="connsiteY33" fmla="*/ 167878 h 223906"/>
                <a:gd name="connsiteX34" fmla="*/ 164123 w 164204"/>
                <a:gd name="connsiteY34" fmla="*/ 170888 h 223906"/>
                <a:gd name="connsiteX35" fmla="*/ 162150 w 164204"/>
                <a:gd name="connsiteY35" fmla="*/ 176957 h 223906"/>
                <a:gd name="connsiteX36" fmla="*/ 57252 w 164204"/>
                <a:gd name="connsiteY36" fmla="*/ 223880 h 223906"/>
                <a:gd name="connsiteX37" fmla="*/ 55279 w 164204"/>
                <a:gd name="connsiteY37" fmla="*/ 219291 h 223906"/>
                <a:gd name="connsiteX38" fmla="*/ 59225 w 164204"/>
                <a:gd name="connsiteY38" fmla="*/ 214801 h 223906"/>
                <a:gd name="connsiteX39" fmla="*/ 77038 w 164204"/>
                <a:gd name="connsiteY39" fmla="*/ 208732 h 223906"/>
                <a:gd name="connsiteX40" fmla="*/ 83008 w 164204"/>
                <a:gd name="connsiteY40" fmla="*/ 210262 h 223906"/>
                <a:gd name="connsiteX41" fmla="*/ 83008 w 164204"/>
                <a:gd name="connsiteY41" fmla="*/ 216232 h 223906"/>
                <a:gd name="connsiteX42" fmla="*/ 79011 w 164204"/>
                <a:gd name="connsiteY42" fmla="*/ 222301 h 223906"/>
                <a:gd name="connsiteX43" fmla="*/ 65197 w 164204"/>
                <a:gd name="connsiteY43" fmla="*/ 223830 h 223906"/>
                <a:gd name="connsiteX44" fmla="*/ -82 w 164204"/>
                <a:gd name="connsiteY44" fmla="*/ 39298 h 223906"/>
                <a:gd name="connsiteX45" fmla="*/ -82 w 164204"/>
                <a:gd name="connsiteY45" fmla="*/ 39298 h 223906"/>
                <a:gd name="connsiteX46" fmla="*/ 7813 w 164204"/>
                <a:gd name="connsiteY46" fmla="*/ 36238 h 223906"/>
                <a:gd name="connsiteX47" fmla="*/ 17681 w 164204"/>
                <a:gd name="connsiteY47" fmla="*/ 36238 h 223906"/>
                <a:gd name="connsiteX48" fmla="*/ 13684 w 164204"/>
                <a:gd name="connsiteY48" fmla="*/ 39298 h 223906"/>
                <a:gd name="connsiteX49" fmla="*/ 25576 w 164204"/>
                <a:gd name="connsiteY49" fmla="*/ 48376 h 223906"/>
                <a:gd name="connsiteX50" fmla="*/ 35444 w 164204"/>
                <a:gd name="connsiteY50" fmla="*/ 60464 h 223906"/>
                <a:gd name="connsiteX51" fmla="*/ 39440 w 164204"/>
                <a:gd name="connsiteY51" fmla="*/ 61994 h 223906"/>
                <a:gd name="connsiteX52" fmla="*/ 37467 w 164204"/>
                <a:gd name="connsiteY52" fmla="*/ 65004 h 223906"/>
                <a:gd name="connsiteX53" fmla="*/ 45362 w 164204"/>
                <a:gd name="connsiteY53" fmla="*/ 71023 h 223906"/>
                <a:gd name="connsiteX54" fmla="*/ 47335 w 164204"/>
                <a:gd name="connsiteY54" fmla="*/ 75612 h 223906"/>
                <a:gd name="connsiteX55" fmla="*/ 33470 w 164204"/>
                <a:gd name="connsiteY55" fmla="*/ 72553 h 223906"/>
                <a:gd name="connsiteX56" fmla="*/ 31497 w 164204"/>
                <a:gd name="connsiteY56" fmla="*/ 69543 h 223906"/>
                <a:gd name="connsiteX57" fmla="*/ 29522 w 164204"/>
                <a:gd name="connsiteY57" fmla="*/ 74082 h 223906"/>
                <a:gd name="connsiteX58" fmla="*/ 23602 w 164204"/>
                <a:gd name="connsiteY58" fmla="*/ 74082 h 223906"/>
                <a:gd name="connsiteX59" fmla="*/ 17681 w 164204"/>
                <a:gd name="connsiteY59" fmla="*/ 83161 h 223906"/>
                <a:gd name="connsiteX60" fmla="*/ 31497 w 164204"/>
                <a:gd name="connsiteY60" fmla="*/ 89230 h 223906"/>
                <a:gd name="connsiteX61" fmla="*/ 35444 w 164204"/>
                <a:gd name="connsiteY61" fmla="*/ 87700 h 223906"/>
                <a:gd name="connsiteX62" fmla="*/ 39440 w 164204"/>
                <a:gd name="connsiteY62" fmla="*/ 93769 h 223906"/>
                <a:gd name="connsiteX63" fmla="*/ 39440 w 164204"/>
                <a:gd name="connsiteY63" fmla="*/ 105858 h 223906"/>
                <a:gd name="connsiteX64" fmla="*/ 45362 w 164204"/>
                <a:gd name="connsiteY64" fmla="*/ 110397 h 223906"/>
                <a:gd name="connsiteX65" fmla="*/ 49308 w 164204"/>
                <a:gd name="connsiteY65" fmla="*/ 108867 h 223906"/>
                <a:gd name="connsiteX66" fmla="*/ 55230 w 164204"/>
                <a:gd name="connsiteY66" fmla="*/ 117946 h 223906"/>
                <a:gd name="connsiteX67" fmla="*/ 43387 w 164204"/>
                <a:gd name="connsiteY67" fmla="*/ 124015 h 223906"/>
                <a:gd name="connsiteX68" fmla="*/ 43387 w 164204"/>
                <a:gd name="connsiteY68" fmla="*/ 128554 h 223906"/>
                <a:gd name="connsiteX69" fmla="*/ 47335 w 164204"/>
                <a:gd name="connsiteY69" fmla="*/ 131564 h 223906"/>
                <a:gd name="connsiteX70" fmla="*/ 47335 w 164204"/>
                <a:gd name="connsiteY70" fmla="*/ 137633 h 223906"/>
                <a:gd name="connsiteX71" fmla="*/ 43387 w 164204"/>
                <a:gd name="connsiteY71" fmla="*/ 139162 h 223906"/>
                <a:gd name="connsiteX72" fmla="*/ 43387 w 164204"/>
                <a:gd name="connsiteY72" fmla="*/ 145182 h 223906"/>
                <a:gd name="connsiteX73" fmla="*/ 47335 w 164204"/>
                <a:gd name="connsiteY73" fmla="*/ 149771 h 223906"/>
                <a:gd name="connsiteX74" fmla="*/ 43387 w 164204"/>
                <a:gd name="connsiteY74" fmla="*/ 151251 h 223906"/>
                <a:gd name="connsiteX75" fmla="*/ 51282 w 164204"/>
                <a:gd name="connsiteY75" fmla="*/ 166349 h 223906"/>
                <a:gd name="connsiteX76" fmla="*/ 55230 w 164204"/>
                <a:gd name="connsiteY76" fmla="*/ 166349 h 223906"/>
                <a:gd name="connsiteX77" fmla="*/ 57203 w 164204"/>
                <a:gd name="connsiteY77" fmla="*/ 172418 h 223906"/>
                <a:gd name="connsiteX78" fmla="*/ 61200 w 164204"/>
                <a:gd name="connsiteY78" fmla="*/ 173947 h 223906"/>
                <a:gd name="connsiteX79" fmla="*/ 59176 w 164204"/>
                <a:gd name="connsiteY79" fmla="*/ 179967 h 223906"/>
                <a:gd name="connsiteX80" fmla="*/ 65147 w 164204"/>
                <a:gd name="connsiteY80" fmla="*/ 176957 h 223906"/>
                <a:gd name="connsiteX81" fmla="*/ 65147 w 164204"/>
                <a:gd name="connsiteY81" fmla="*/ 169408 h 223906"/>
                <a:gd name="connsiteX82" fmla="*/ 69093 w 164204"/>
                <a:gd name="connsiteY82" fmla="*/ 172418 h 223906"/>
                <a:gd name="connsiteX83" fmla="*/ 73041 w 164204"/>
                <a:gd name="connsiteY83" fmla="*/ 166349 h 223906"/>
                <a:gd name="connsiteX84" fmla="*/ 90903 w 164204"/>
                <a:gd name="connsiteY84" fmla="*/ 154260 h 223906"/>
                <a:gd name="connsiteX85" fmla="*/ 96823 w 164204"/>
                <a:gd name="connsiteY85" fmla="*/ 152780 h 223906"/>
                <a:gd name="connsiteX86" fmla="*/ 98796 w 164204"/>
                <a:gd name="connsiteY86" fmla="*/ 155790 h 223906"/>
                <a:gd name="connsiteX87" fmla="*/ 102744 w 164204"/>
                <a:gd name="connsiteY87" fmla="*/ 151251 h 223906"/>
                <a:gd name="connsiteX88" fmla="*/ 106691 w 164204"/>
                <a:gd name="connsiteY88" fmla="*/ 151251 h 223906"/>
                <a:gd name="connsiteX89" fmla="*/ 112661 w 164204"/>
                <a:gd name="connsiteY89" fmla="*/ 157270 h 223906"/>
                <a:gd name="connsiteX90" fmla="*/ 118582 w 164204"/>
                <a:gd name="connsiteY90" fmla="*/ 154260 h 223906"/>
                <a:gd name="connsiteX91" fmla="*/ 120556 w 164204"/>
                <a:gd name="connsiteY91" fmla="*/ 157270 h 223906"/>
                <a:gd name="connsiteX92" fmla="*/ 124503 w 164204"/>
                <a:gd name="connsiteY92" fmla="*/ 155790 h 223906"/>
                <a:gd name="connsiteX93" fmla="*/ 122529 w 164204"/>
                <a:gd name="connsiteY93" fmla="*/ 151251 h 223906"/>
                <a:gd name="connsiteX94" fmla="*/ 130424 w 164204"/>
                <a:gd name="connsiteY94" fmla="*/ 146711 h 223906"/>
                <a:gd name="connsiteX95" fmla="*/ 138367 w 164204"/>
                <a:gd name="connsiteY95" fmla="*/ 146711 h 223906"/>
                <a:gd name="connsiteX96" fmla="*/ 148236 w 164204"/>
                <a:gd name="connsiteY96" fmla="*/ 137633 h 223906"/>
                <a:gd name="connsiteX97" fmla="*/ 146262 w 164204"/>
                <a:gd name="connsiteY97" fmla="*/ 134574 h 223906"/>
                <a:gd name="connsiteX98" fmla="*/ 152183 w 164204"/>
                <a:gd name="connsiteY98" fmla="*/ 130034 h 223906"/>
                <a:gd name="connsiteX99" fmla="*/ 150210 w 164204"/>
                <a:gd name="connsiteY99" fmla="*/ 105858 h 223906"/>
                <a:gd name="connsiteX100" fmla="*/ 148236 w 164204"/>
                <a:gd name="connsiteY100" fmla="*/ 105858 h 223906"/>
                <a:gd name="connsiteX101" fmla="*/ 142315 w 164204"/>
                <a:gd name="connsiteY101" fmla="*/ 108867 h 223906"/>
                <a:gd name="connsiteX102" fmla="*/ 142315 w 164204"/>
                <a:gd name="connsiteY102" fmla="*/ 101318 h 223906"/>
                <a:gd name="connsiteX103" fmla="*/ 138367 w 164204"/>
                <a:gd name="connsiteY103" fmla="*/ 78622 h 223906"/>
                <a:gd name="connsiteX104" fmla="*/ 132397 w 164204"/>
                <a:gd name="connsiteY104" fmla="*/ 74082 h 223906"/>
                <a:gd name="connsiteX105" fmla="*/ 132397 w 164204"/>
                <a:gd name="connsiteY105" fmla="*/ 61994 h 223906"/>
                <a:gd name="connsiteX106" fmla="*/ 112661 w 164204"/>
                <a:gd name="connsiteY106" fmla="*/ 39298 h 223906"/>
                <a:gd name="connsiteX107" fmla="*/ 90903 w 164204"/>
                <a:gd name="connsiteY107" fmla="*/ 21140 h 223906"/>
                <a:gd name="connsiteX108" fmla="*/ 78961 w 164204"/>
                <a:gd name="connsiteY108" fmla="*/ -27 h 223906"/>
                <a:gd name="connsiteX109" fmla="*/ 63173 w 164204"/>
                <a:gd name="connsiteY109" fmla="*/ 9002 h 223906"/>
                <a:gd name="connsiteX110" fmla="*/ 37467 w 164204"/>
                <a:gd name="connsiteY110" fmla="*/ 10532 h 223906"/>
                <a:gd name="connsiteX111" fmla="*/ 25576 w 164204"/>
                <a:gd name="connsiteY111" fmla="*/ 19611 h 223906"/>
                <a:gd name="connsiteX112" fmla="*/ 13684 w 164204"/>
                <a:gd name="connsiteY112" fmla="*/ 22620 h 223906"/>
                <a:gd name="connsiteX113" fmla="*/ 1843 w 164204"/>
                <a:gd name="connsiteY113" fmla="*/ 31699 h 223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164204" h="223906">
                  <a:moveTo>
                    <a:pt x="98698" y="160329"/>
                  </a:moveTo>
                  <a:lnTo>
                    <a:pt x="102645" y="157270"/>
                  </a:lnTo>
                  <a:lnTo>
                    <a:pt x="106593" y="161859"/>
                  </a:lnTo>
                  <a:lnTo>
                    <a:pt x="100672" y="163339"/>
                  </a:lnTo>
                  <a:lnTo>
                    <a:pt x="98698" y="160329"/>
                  </a:lnTo>
                  <a:close/>
                  <a:moveTo>
                    <a:pt x="49357" y="181496"/>
                  </a:moveTo>
                  <a:lnTo>
                    <a:pt x="45411" y="178486"/>
                  </a:lnTo>
                  <a:lnTo>
                    <a:pt x="47384" y="175477"/>
                  </a:lnTo>
                  <a:lnTo>
                    <a:pt x="49357" y="175477"/>
                  </a:lnTo>
                  <a:lnTo>
                    <a:pt x="51332" y="172418"/>
                  </a:lnTo>
                  <a:lnTo>
                    <a:pt x="53305" y="175477"/>
                  </a:lnTo>
                  <a:lnTo>
                    <a:pt x="55279" y="179967"/>
                  </a:lnTo>
                  <a:lnTo>
                    <a:pt x="51332" y="179967"/>
                  </a:lnTo>
                  <a:lnTo>
                    <a:pt x="49357" y="181496"/>
                  </a:lnTo>
                  <a:close/>
                  <a:moveTo>
                    <a:pt x="130474" y="149771"/>
                  </a:moveTo>
                  <a:lnTo>
                    <a:pt x="126526" y="152780"/>
                  </a:lnTo>
                  <a:lnTo>
                    <a:pt x="126526" y="157270"/>
                  </a:lnTo>
                  <a:lnTo>
                    <a:pt x="128499" y="161859"/>
                  </a:lnTo>
                  <a:lnTo>
                    <a:pt x="132447" y="160329"/>
                  </a:lnTo>
                  <a:lnTo>
                    <a:pt x="134469" y="155790"/>
                  </a:lnTo>
                  <a:lnTo>
                    <a:pt x="134469" y="151251"/>
                  </a:lnTo>
                  <a:lnTo>
                    <a:pt x="130474" y="149771"/>
                  </a:lnTo>
                  <a:close/>
                  <a:moveTo>
                    <a:pt x="156229" y="190575"/>
                  </a:moveTo>
                  <a:lnTo>
                    <a:pt x="154206" y="187565"/>
                  </a:lnTo>
                  <a:lnTo>
                    <a:pt x="158202" y="181496"/>
                  </a:lnTo>
                  <a:lnTo>
                    <a:pt x="164123" y="182977"/>
                  </a:lnTo>
                  <a:lnTo>
                    <a:pt x="162150" y="187565"/>
                  </a:lnTo>
                  <a:lnTo>
                    <a:pt x="158202" y="190575"/>
                  </a:lnTo>
                  <a:close/>
                  <a:moveTo>
                    <a:pt x="162150" y="176957"/>
                  </a:moveTo>
                  <a:lnTo>
                    <a:pt x="158202" y="178486"/>
                  </a:lnTo>
                  <a:lnTo>
                    <a:pt x="158202" y="170888"/>
                  </a:lnTo>
                  <a:lnTo>
                    <a:pt x="160177" y="166349"/>
                  </a:lnTo>
                  <a:lnTo>
                    <a:pt x="162150" y="164869"/>
                  </a:lnTo>
                  <a:lnTo>
                    <a:pt x="164123" y="167878"/>
                  </a:lnTo>
                  <a:lnTo>
                    <a:pt x="164123" y="170888"/>
                  </a:lnTo>
                  <a:lnTo>
                    <a:pt x="162150" y="176957"/>
                  </a:lnTo>
                  <a:close/>
                  <a:moveTo>
                    <a:pt x="57252" y="223880"/>
                  </a:moveTo>
                  <a:lnTo>
                    <a:pt x="55279" y="219291"/>
                  </a:lnTo>
                  <a:lnTo>
                    <a:pt x="59225" y="214801"/>
                  </a:lnTo>
                  <a:lnTo>
                    <a:pt x="77038" y="208732"/>
                  </a:lnTo>
                  <a:lnTo>
                    <a:pt x="83008" y="210262"/>
                  </a:lnTo>
                  <a:lnTo>
                    <a:pt x="83008" y="216232"/>
                  </a:lnTo>
                  <a:lnTo>
                    <a:pt x="79011" y="222301"/>
                  </a:lnTo>
                  <a:lnTo>
                    <a:pt x="65197" y="223830"/>
                  </a:lnTo>
                  <a:close/>
                  <a:moveTo>
                    <a:pt x="-82" y="39298"/>
                  </a:moveTo>
                  <a:lnTo>
                    <a:pt x="-82" y="39298"/>
                  </a:lnTo>
                  <a:lnTo>
                    <a:pt x="7813" y="36238"/>
                  </a:lnTo>
                  <a:lnTo>
                    <a:pt x="17681" y="36238"/>
                  </a:lnTo>
                  <a:lnTo>
                    <a:pt x="13684" y="39298"/>
                  </a:lnTo>
                  <a:lnTo>
                    <a:pt x="25576" y="48376"/>
                  </a:lnTo>
                  <a:lnTo>
                    <a:pt x="35444" y="60464"/>
                  </a:lnTo>
                  <a:lnTo>
                    <a:pt x="39440" y="61994"/>
                  </a:lnTo>
                  <a:lnTo>
                    <a:pt x="37467" y="65004"/>
                  </a:lnTo>
                  <a:lnTo>
                    <a:pt x="45362" y="71023"/>
                  </a:lnTo>
                  <a:lnTo>
                    <a:pt x="47335" y="75612"/>
                  </a:lnTo>
                  <a:lnTo>
                    <a:pt x="33470" y="72553"/>
                  </a:lnTo>
                  <a:lnTo>
                    <a:pt x="31497" y="69543"/>
                  </a:lnTo>
                  <a:lnTo>
                    <a:pt x="29522" y="74082"/>
                  </a:lnTo>
                  <a:lnTo>
                    <a:pt x="23602" y="74082"/>
                  </a:lnTo>
                  <a:lnTo>
                    <a:pt x="17681" y="83161"/>
                  </a:lnTo>
                  <a:lnTo>
                    <a:pt x="31497" y="89230"/>
                  </a:lnTo>
                  <a:lnTo>
                    <a:pt x="35444" y="87700"/>
                  </a:lnTo>
                  <a:lnTo>
                    <a:pt x="39440" y="93769"/>
                  </a:lnTo>
                  <a:lnTo>
                    <a:pt x="39440" y="105858"/>
                  </a:lnTo>
                  <a:lnTo>
                    <a:pt x="45362" y="110397"/>
                  </a:lnTo>
                  <a:lnTo>
                    <a:pt x="49308" y="108867"/>
                  </a:lnTo>
                  <a:lnTo>
                    <a:pt x="55230" y="117946"/>
                  </a:lnTo>
                  <a:lnTo>
                    <a:pt x="43387" y="124015"/>
                  </a:lnTo>
                  <a:lnTo>
                    <a:pt x="43387" y="128554"/>
                  </a:lnTo>
                  <a:lnTo>
                    <a:pt x="47335" y="131564"/>
                  </a:lnTo>
                  <a:lnTo>
                    <a:pt x="47335" y="137633"/>
                  </a:lnTo>
                  <a:lnTo>
                    <a:pt x="43387" y="139162"/>
                  </a:lnTo>
                  <a:lnTo>
                    <a:pt x="43387" y="145182"/>
                  </a:lnTo>
                  <a:lnTo>
                    <a:pt x="47335" y="149771"/>
                  </a:lnTo>
                  <a:lnTo>
                    <a:pt x="43387" y="151251"/>
                  </a:lnTo>
                  <a:lnTo>
                    <a:pt x="51282" y="166349"/>
                  </a:lnTo>
                  <a:lnTo>
                    <a:pt x="55230" y="166349"/>
                  </a:lnTo>
                  <a:lnTo>
                    <a:pt x="57203" y="172418"/>
                  </a:lnTo>
                  <a:lnTo>
                    <a:pt x="61200" y="173947"/>
                  </a:lnTo>
                  <a:lnTo>
                    <a:pt x="59176" y="179967"/>
                  </a:lnTo>
                  <a:lnTo>
                    <a:pt x="65147" y="176957"/>
                  </a:lnTo>
                  <a:lnTo>
                    <a:pt x="65147" y="169408"/>
                  </a:lnTo>
                  <a:lnTo>
                    <a:pt x="69093" y="172418"/>
                  </a:lnTo>
                  <a:lnTo>
                    <a:pt x="73041" y="166349"/>
                  </a:lnTo>
                  <a:lnTo>
                    <a:pt x="90903" y="154260"/>
                  </a:lnTo>
                  <a:lnTo>
                    <a:pt x="96823" y="152780"/>
                  </a:lnTo>
                  <a:lnTo>
                    <a:pt x="98796" y="155790"/>
                  </a:lnTo>
                  <a:lnTo>
                    <a:pt x="102744" y="151251"/>
                  </a:lnTo>
                  <a:lnTo>
                    <a:pt x="106691" y="151251"/>
                  </a:lnTo>
                  <a:lnTo>
                    <a:pt x="112661" y="157270"/>
                  </a:lnTo>
                  <a:lnTo>
                    <a:pt x="118582" y="154260"/>
                  </a:lnTo>
                  <a:lnTo>
                    <a:pt x="120556" y="157270"/>
                  </a:lnTo>
                  <a:lnTo>
                    <a:pt x="124503" y="155790"/>
                  </a:lnTo>
                  <a:lnTo>
                    <a:pt x="122529" y="151251"/>
                  </a:lnTo>
                  <a:lnTo>
                    <a:pt x="130424" y="146711"/>
                  </a:lnTo>
                  <a:lnTo>
                    <a:pt x="138367" y="146711"/>
                  </a:lnTo>
                  <a:lnTo>
                    <a:pt x="148236" y="137633"/>
                  </a:lnTo>
                  <a:lnTo>
                    <a:pt x="146262" y="134574"/>
                  </a:lnTo>
                  <a:lnTo>
                    <a:pt x="152183" y="130034"/>
                  </a:lnTo>
                  <a:lnTo>
                    <a:pt x="150210" y="105858"/>
                  </a:lnTo>
                  <a:lnTo>
                    <a:pt x="148236" y="105858"/>
                  </a:lnTo>
                  <a:lnTo>
                    <a:pt x="142315" y="108867"/>
                  </a:lnTo>
                  <a:lnTo>
                    <a:pt x="142315" y="101318"/>
                  </a:lnTo>
                  <a:lnTo>
                    <a:pt x="138367" y="78622"/>
                  </a:lnTo>
                  <a:lnTo>
                    <a:pt x="132397" y="74082"/>
                  </a:lnTo>
                  <a:lnTo>
                    <a:pt x="132397" y="61994"/>
                  </a:lnTo>
                  <a:lnTo>
                    <a:pt x="112661" y="39298"/>
                  </a:lnTo>
                  <a:lnTo>
                    <a:pt x="90903" y="21140"/>
                  </a:lnTo>
                  <a:lnTo>
                    <a:pt x="78961" y="-27"/>
                  </a:lnTo>
                  <a:lnTo>
                    <a:pt x="63173" y="9002"/>
                  </a:lnTo>
                  <a:lnTo>
                    <a:pt x="37467" y="10532"/>
                  </a:lnTo>
                  <a:lnTo>
                    <a:pt x="25576" y="19611"/>
                  </a:lnTo>
                  <a:lnTo>
                    <a:pt x="13684" y="22620"/>
                  </a:lnTo>
                  <a:lnTo>
                    <a:pt x="1843" y="3169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Graphic 2">
              <a:extLst>
                <a:ext uri="{FF2B5EF4-FFF2-40B4-BE49-F238E27FC236}">
                  <a16:creationId xmlns:a16="http://schemas.microsoft.com/office/drawing/2014/main" id="{F560E1F5-AC85-4F5A-9B2D-174FC528F5C3}"/>
                </a:ext>
              </a:extLst>
            </p:cNvPr>
            <p:cNvSpPr/>
            <p:nvPr/>
          </p:nvSpPr>
          <p:spPr>
            <a:xfrm>
              <a:off x="10042092" y="4688725"/>
              <a:ext cx="498782" cy="312159"/>
            </a:xfrm>
            <a:custGeom>
              <a:avLst/>
              <a:gdLst>
                <a:gd name="connsiteX0" fmla="*/ 469786 w 549010"/>
                <a:gd name="connsiteY0" fmla="*/ 333859 h 343606"/>
                <a:gd name="connsiteX1" fmla="*/ 473981 w 549010"/>
                <a:gd name="connsiteY1" fmla="*/ 328925 h 343606"/>
                <a:gd name="connsiteX2" fmla="*/ 480247 w 549010"/>
                <a:gd name="connsiteY2" fmla="*/ 330553 h 343606"/>
                <a:gd name="connsiteX3" fmla="*/ 478174 w 549010"/>
                <a:gd name="connsiteY3" fmla="*/ 333810 h 343606"/>
                <a:gd name="connsiteX4" fmla="*/ 473981 w 549010"/>
                <a:gd name="connsiteY4" fmla="*/ 335389 h 343606"/>
                <a:gd name="connsiteX5" fmla="*/ 469786 w 549010"/>
                <a:gd name="connsiteY5" fmla="*/ 335389 h 343606"/>
                <a:gd name="connsiteX6" fmla="*/ 438555 w 549010"/>
                <a:gd name="connsiteY6" fmla="*/ 333859 h 343606"/>
                <a:gd name="connsiteX7" fmla="*/ 446843 w 549010"/>
                <a:gd name="connsiteY7" fmla="*/ 341951 h 343606"/>
                <a:gd name="connsiteX8" fmla="*/ 453110 w 549010"/>
                <a:gd name="connsiteY8" fmla="*/ 341951 h 343606"/>
                <a:gd name="connsiteX9" fmla="*/ 457303 w 549010"/>
                <a:gd name="connsiteY9" fmla="*/ 343579 h 343606"/>
                <a:gd name="connsiteX10" fmla="*/ 459376 w 549010"/>
                <a:gd name="connsiteY10" fmla="*/ 341951 h 343606"/>
                <a:gd name="connsiteX11" fmla="*/ 457303 w 549010"/>
                <a:gd name="connsiteY11" fmla="*/ 338695 h 343606"/>
                <a:gd name="connsiteX12" fmla="*/ 451037 w 549010"/>
                <a:gd name="connsiteY12" fmla="*/ 338695 h 343606"/>
                <a:gd name="connsiteX13" fmla="*/ 442698 w 549010"/>
                <a:gd name="connsiteY13" fmla="*/ 333761 h 343606"/>
                <a:gd name="connsiteX14" fmla="*/ 210996 w 549010"/>
                <a:gd name="connsiteY14" fmla="*/ 26123 h 343606"/>
                <a:gd name="connsiteX15" fmla="*/ 215191 w 549010"/>
                <a:gd name="connsiteY15" fmla="*/ 24495 h 343606"/>
                <a:gd name="connsiteX16" fmla="*/ 219384 w 549010"/>
                <a:gd name="connsiteY16" fmla="*/ 26123 h 343606"/>
                <a:gd name="connsiteX17" fmla="*/ 225650 w 549010"/>
                <a:gd name="connsiteY17" fmla="*/ 24495 h 343606"/>
                <a:gd name="connsiteX18" fmla="*/ 229795 w 549010"/>
                <a:gd name="connsiteY18" fmla="*/ 26123 h 343606"/>
                <a:gd name="connsiteX19" fmla="*/ 236062 w 549010"/>
                <a:gd name="connsiteY19" fmla="*/ 26123 h 343606"/>
                <a:gd name="connsiteX20" fmla="*/ 240205 w 549010"/>
                <a:gd name="connsiteY20" fmla="*/ 27752 h 343606"/>
                <a:gd name="connsiteX21" fmla="*/ 231867 w 549010"/>
                <a:gd name="connsiteY21" fmla="*/ 34215 h 343606"/>
                <a:gd name="connsiteX22" fmla="*/ 223529 w 549010"/>
                <a:gd name="connsiteY22" fmla="*/ 34215 h 343606"/>
                <a:gd name="connsiteX23" fmla="*/ 219384 w 549010"/>
                <a:gd name="connsiteY23" fmla="*/ 32636 h 343606"/>
                <a:gd name="connsiteX24" fmla="*/ 215191 w 549010"/>
                <a:gd name="connsiteY24" fmla="*/ 31008 h 343606"/>
                <a:gd name="connsiteX25" fmla="*/ 505115 w 549010"/>
                <a:gd name="connsiteY25" fmla="*/ 137879 h 343606"/>
                <a:gd name="connsiteX26" fmla="*/ 513453 w 549010"/>
                <a:gd name="connsiteY26" fmla="*/ 137879 h 343606"/>
                <a:gd name="connsiteX27" fmla="*/ 517646 w 549010"/>
                <a:gd name="connsiteY27" fmla="*/ 141086 h 343606"/>
                <a:gd name="connsiteX28" fmla="*/ 519719 w 549010"/>
                <a:gd name="connsiteY28" fmla="*/ 150954 h 343606"/>
                <a:gd name="connsiteX29" fmla="*/ 530179 w 549010"/>
                <a:gd name="connsiteY29" fmla="*/ 154211 h 343606"/>
                <a:gd name="connsiteX30" fmla="*/ 540590 w 549010"/>
                <a:gd name="connsiteY30" fmla="*/ 162303 h 343606"/>
                <a:gd name="connsiteX31" fmla="*/ 548928 w 549010"/>
                <a:gd name="connsiteY31" fmla="*/ 168717 h 343606"/>
                <a:gd name="connsiteX32" fmla="*/ 546856 w 549010"/>
                <a:gd name="connsiteY32" fmla="*/ 176858 h 343606"/>
                <a:gd name="connsiteX33" fmla="*/ 542662 w 549010"/>
                <a:gd name="connsiteY33" fmla="*/ 178486 h 343606"/>
                <a:gd name="connsiteX34" fmla="*/ 540590 w 549010"/>
                <a:gd name="connsiteY34" fmla="*/ 181694 h 343606"/>
                <a:gd name="connsiteX35" fmla="*/ 521841 w 549010"/>
                <a:gd name="connsiteY35" fmla="*/ 181694 h 343606"/>
                <a:gd name="connsiteX36" fmla="*/ 517695 w 549010"/>
                <a:gd name="connsiteY36" fmla="*/ 175230 h 343606"/>
                <a:gd name="connsiteX37" fmla="*/ 519769 w 549010"/>
                <a:gd name="connsiteY37" fmla="*/ 171973 h 343606"/>
                <a:gd name="connsiteX38" fmla="*/ 513502 w 549010"/>
                <a:gd name="connsiteY38" fmla="*/ 162105 h 343606"/>
                <a:gd name="connsiteX39" fmla="*/ 505164 w 549010"/>
                <a:gd name="connsiteY39" fmla="*/ 158849 h 343606"/>
                <a:gd name="connsiteX40" fmla="*/ 505164 w 549010"/>
                <a:gd name="connsiteY40" fmla="*/ 148981 h 343606"/>
                <a:gd name="connsiteX41" fmla="*/ 503091 w 549010"/>
                <a:gd name="connsiteY41" fmla="*/ 144047 h 343606"/>
                <a:gd name="connsiteX42" fmla="*/ 496775 w 549010"/>
                <a:gd name="connsiteY42" fmla="*/ 123077 h 343606"/>
                <a:gd name="connsiteX43" fmla="*/ 496775 w 549010"/>
                <a:gd name="connsiteY43" fmla="*/ 126284 h 343606"/>
                <a:gd name="connsiteX44" fmla="*/ 498898 w 549010"/>
                <a:gd name="connsiteY44" fmla="*/ 129541 h 343606"/>
                <a:gd name="connsiteX45" fmla="*/ 498898 w 549010"/>
                <a:gd name="connsiteY45" fmla="*/ 136004 h 343606"/>
                <a:gd name="connsiteX46" fmla="*/ 503042 w 549010"/>
                <a:gd name="connsiteY46" fmla="*/ 131070 h 343606"/>
                <a:gd name="connsiteX47" fmla="*/ 503042 w 549010"/>
                <a:gd name="connsiteY47" fmla="*/ 124607 h 343606"/>
                <a:gd name="connsiteX48" fmla="*/ 486365 w 549010"/>
                <a:gd name="connsiteY48" fmla="*/ 110101 h 343606"/>
                <a:gd name="connsiteX49" fmla="*/ 490509 w 549010"/>
                <a:gd name="connsiteY49" fmla="*/ 108522 h 343606"/>
                <a:gd name="connsiteX50" fmla="*/ 492631 w 549010"/>
                <a:gd name="connsiteY50" fmla="*/ 103588 h 343606"/>
                <a:gd name="connsiteX51" fmla="*/ 496775 w 549010"/>
                <a:gd name="connsiteY51" fmla="*/ 108522 h 343606"/>
                <a:gd name="connsiteX52" fmla="*/ 492631 w 549010"/>
                <a:gd name="connsiteY52" fmla="*/ 113456 h 343606"/>
                <a:gd name="connsiteX53" fmla="*/ 486365 w 549010"/>
                <a:gd name="connsiteY53" fmla="*/ 111828 h 343606"/>
                <a:gd name="connsiteX54" fmla="*/ 365333 w 549010"/>
                <a:gd name="connsiteY54" fmla="*/ 45317 h 343606"/>
                <a:gd name="connsiteX55" fmla="*/ 380135 w 549010"/>
                <a:gd name="connsiteY55" fmla="*/ 53409 h 343606"/>
                <a:gd name="connsiteX56" fmla="*/ 392618 w 549010"/>
                <a:gd name="connsiteY56" fmla="*/ 56665 h 343606"/>
                <a:gd name="connsiteX57" fmla="*/ 405151 w 549010"/>
                <a:gd name="connsiteY57" fmla="*/ 66533 h 343606"/>
                <a:gd name="connsiteX58" fmla="*/ 415561 w 549010"/>
                <a:gd name="connsiteY58" fmla="*/ 68161 h 343606"/>
                <a:gd name="connsiteX59" fmla="*/ 421877 w 549010"/>
                <a:gd name="connsiteY59" fmla="*/ 73096 h 343606"/>
                <a:gd name="connsiteX60" fmla="*/ 430166 w 549010"/>
                <a:gd name="connsiteY60" fmla="*/ 76352 h 343606"/>
                <a:gd name="connsiteX61" fmla="*/ 436432 w 549010"/>
                <a:gd name="connsiteY61" fmla="*/ 86220 h 343606"/>
                <a:gd name="connsiteX62" fmla="*/ 440626 w 549010"/>
                <a:gd name="connsiteY62" fmla="*/ 86220 h 343606"/>
                <a:gd name="connsiteX63" fmla="*/ 442698 w 549010"/>
                <a:gd name="connsiteY63" fmla="*/ 99147 h 343606"/>
                <a:gd name="connsiteX64" fmla="*/ 446843 w 549010"/>
                <a:gd name="connsiteY64" fmla="*/ 100775 h 343606"/>
                <a:gd name="connsiteX65" fmla="*/ 446843 w 549010"/>
                <a:gd name="connsiteY65" fmla="*/ 105709 h 343606"/>
                <a:gd name="connsiteX66" fmla="*/ 444770 w 549010"/>
                <a:gd name="connsiteY66" fmla="*/ 112173 h 343606"/>
                <a:gd name="connsiteX67" fmla="*/ 442698 w 549010"/>
                <a:gd name="connsiteY67" fmla="*/ 120265 h 343606"/>
                <a:gd name="connsiteX68" fmla="*/ 434360 w 549010"/>
                <a:gd name="connsiteY68" fmla="*/ 112173 h 343606"/>
                <a:gd name="connsiteX69" fmla="*/ 432288 w 549010"/>
                <a:gd name="connsiteY69" fmla="*/ 105709 h 343606"/>
                <a:gd name="connsiteX70" fmla="*/ 434360 w 549010"/>
                <a:gd name="connsiteY70" fmla="*/ 100775 h 343606"/>
                <a:gd name="connsiteX71" fmla="*/ 430166 w 549010"/>
                <a:gd name="connsiteY71" fmla="*/ 84592 h 343606"/>
                <a:gd name="connsiteX72" fmla="*/ 417683 w 549010"/>
                <a:gd name="connsiteY72" fmla="*/ 73243 h 343606"/>
                <a:gd name="connsiteX73" fmla="*/ 409295 w 549010"/>
                <a:gd name="connsiteY73" fmla="*/ 73243 h 343606"/>
                <a:gd name="connsiteX74" fmla="*/ 394493 w 549010"/>
                <a:gd name="connsiteY74" fmla="*/ 66780 h 343606"/>
                <a:gd name="connsiteX75" fmla="*/ 369429 w 549010"/>
                <a:gd name="connsiteY75" fmla="*/ 53803 h 343606"/>
                <a:gd name="connsiteX76" fmla="*/ 365234 w 549010"/>
                <a:gd name="connsiteY76" fmla="*/ 50547 h 343606"/>
                <a:gd name="connsiteX77" fmla="*/ 315301 w 549010"/>
                <a:gd name="connsiteY77" fmla="*/ -27 h 343606"/>
                <a:gd name="connsiteX78" fmla="*/ 321568 w 549010"/>
                <a:gd name="connsiteY78" fmla="*/ -27 h 343606"/>
                <a:gd name="connsiteX79" fmla="*/ 325713 w 549010"/>
                <a:gd name="connsiteY79" fmla="*/ 4907 h 343606"/>
                <a:gd name="connsiteX80" fmla="*/ 325713 w 549010"/>
                <a:gd name="connsiteY80" fmla="*/ 8163 h 343606"/>
                <a:gd name="connsiteX81" fmla="*/ 315301 w 549010"/>
                <a:gd name="connsiteY81" fmla="*/ 3229 h 343606"/>
                <a:gd name="connsiteX82" fmla="*/ 336173 w 549010"/>
                <a:gd name="connsiteY82" fmla="*/ 45317 h 343606"/>
                <a:gd name="connsiteX83" fmla="*/ 344512 w 549010"/>
                <a:gd name="connsiteY83" fmla="*/ 42061 h 343606"/>
                <a:gd name="connsiteX84" fmla="*/ 348655 w 549010"/>
                <a:gd name="connsiteY84" fmla="*/ 45317 h 343606"/>
                <a:gd name="connsiteX85" fmla="*/ 348655 w 549010"/>
                <a:gd name="connsiteY85" fmla="*/ 50251 h 343606"/>
                <a:gd name="connsiteX86" fmla="*/ 342438 w 549010"/>
                <a:gd name="connsiteY86" fmla="*/ 53507 h 343606"/>
                <a:gd name="connsiteX87" fmla="*/ 336173 w 549010"/>
                <a:gd name="connsiteY87" fmla="*/ 50251 h 343606"/>
                <a:gd name="connsiteX88" fmla="*/ 331979 w 549010"/>
                <a:gd name="connsiteY88" fmla="*/ 121449 h 343606"/>
                <a:gd name="connsiteX89" fmla="*/ 340367 w 549010"/>
                <a:gd name="connsiteY89" fmla="*/ 126383 h 343606"/>
                <a:gd name="connsiteX90" fmla="*/ 344512 w 549010"/>
                <a:gd name="connsiteY90" fmla="*/ 123176 h 343606"/>
                <a:gd name="connsiteX91" fmla="*/ 338245 w 549010"/>
                <a:gd name="connsiteY91" fmla="*/ 116712 h 343606"/>
                <a:gd name="connsiteX92" fmla="*/ 334100 w 549010"/>
                <a:gd name="connsiteY92" fmla="*/ 118291 h 343606"/>
                <a:gd name="connsiteX93" fmla="*/ 273609 w 549010"/>
                <a:gd name="connsiteY93" fmla="*/ 136004 h 343606"/>
                <a:gd name="connsiteX94" fmla="*/ 269416 w 549010"/>
                <a:gd name="connsiteY94" fmla="*/ 144096 h 343606"/>
                <a:gd name="connsiteX95" fmla="*/ 275682 w 549010"/>
                <a:gd name="connsiteY95" fmla="*/ 150609 h 343606"/>
                <a:gd name="connsiteX96" fmla="*/ 284020 w 549010"/>
                <a:gd name="connsiteY96" fmla="*/ 150609 h 343606"/>
                <a:gd name="connsiteX97" fmla="*/ 294430 w 549010"/>
                <a:gd name="connsiteY97" fmla="*/ 158701 h 343606"/>
                <a:gd name="connsiteX98" fmla="*/ 296553 w 549010"/>
                <a:gd name="connsiteY98" fmla="*/ 163635 h 343606"/>
                <a:gd name="connsiteX99" fmla="*/ 300697 w 549010"/>
                <a:gd name="connsiteY99" fmla="*/ 160379 h 343606"/>
                <a:gd name="connsiteX100" fmla="*/ 313229 w 549010"/>
                <a:gd name="connsiteY100" fmla="*/ 160379 h 343606"/>
                <a:gd name="connsiteX101" fmla="*/ 317374 w 549010"/>
                <a:gd name="connsiteY101" fmla="*/ 165313 h 343606"/>
                <a:gd name="connsiteX102" fmla="*/ 325713 w 549010"/>
                <a:gd name="connsiteY102" fmla="*/ 166941 h 343606"/>
                <a:gd name="connsiteX103" fmla="*/ 331979 w 549010"/>
                <a:gd name="connsiteY103" fmla="*/ 166941 h 343606"/>
                <a:gd name="connsiteX104" fmla="*/ 344512 w 549010"/>
                <a:gd name="connsiteY104" fmla="*/ 163684 h 343606"/>
                <a:gd name="connsiteX105" fmla="*/ 350778 w 549010"/>
                <a:gd name="connsiteY105" fmla="*/ 165313 h 343606"/>
                <a:gd name="connsiteX106" fmla="*/ 357044 w 549010"/>
                <a:gd name="connsiteY106" fmla="*/ 163684 h 343606"/>
                <a:gd name="connsiteX107" fmla="*/ 365333 w 549010"/>
                <a:gd name="connsiteY107" fmla="*/ 166941 h 343606"/>
                <a:gd name="connsiteX108" fmla="*/ 369526 w 549010"/>
                <a:gd name="connsiteY108" fmla="*/ 163684 h 343606"/>
                <a:gd name="connsiteX109" fmla="*/ 369526 w 549010"/>
                <a:gd name="connsiteY109" fmla="*/ 158750 h 343606"/>
                <a:gd name="connsiteX110" fmla="*/ 377915 w 549010"/>
                <a:gd name="connsiteY110" fmla="*/ 158750 h 343606"/>
                <a:gd name="connsiteX111" fmla="*/ 390398 w 549010"/>
                <a:gd name="connsiteY111" fmla="*/ 143948 h 343606"/>
                <a:gd name="connsiteX112" fmla="*/ 390398 w 549010"/>
                <a:gd name="connsiteY112" fmla="*/ 140692 h 343606"/>
                <a:gd name="connsiteX113" fmla="*/ 396663 w 549010"/>
                <a:gd name="connsiteY113" fmla="*/ 139113 h 343606"/>
                <a:gd name="connsiteX114" fmla="*/ 400858 w 549010"/>
                <a:gd name="connsiteY114" fmla="*/ 142369 h 343606"/>
                <a:gd name="connsiteX115" fmla="*/ 409147 w 549010"/>
                <a:gd name="connsiteY115" fmla="*/ 140692 h 343606"/>
                <a:gd name="connsiteX116" fmla="*/ 413341 w 549010"/>
                <a:gd name="connsiteY116" fmla="*/ 134228 h 343606"/>
                <a:gd name="connsiteX117" fmla="*/ 407075 w 549010"/>
                <a:gd name="connsiteY117" fmla="*/ 127765 h 343606"/>
                <a:gd name="connsiteX118" fmla="*/ 405003 w 549010"/>
                <a:gd name="connsiteY118" fmla="*/ 124557 h 343606"/>
                <a:gd name="connsiteX119" fmla="*/ 411269 w 549010"/>
                <a:gd name="connsiteY119" fmla="*/ 121301 h 343606"/>
                <a:gd name="connsiteX120" fmla="*/ 415413 w 549010"/>
                <a:gd name="connsiteY120" fmla="*/ 122929 h 343606"/>
                <a:gd name="connsiteX121" fmla="*/ 423752 w 549010"/>
                <a:gd name="connsiteY121" fmla="*/ 116466 h 343606"/>
                <a:gd name="connsiteX122" fmla="*/ 423752 w 549010"/>
                <a:gd name="connsiteY122" fmla="*/ 101663 h 343606"/>
                <a:gd name="connsiteX123" fmla="*/ 415413 w 549010"/>
                <a:gd name="connsiteY123" fmla="*/ 95151 h 343606"/>
                <a:gd name="connsiteX124" fmla="*/ 411269 w 549010"/>
                <a:gd name="connsiteY124" fmla="*/ 98407 h 343606"/>
                <a:gd name="connsiteX125" fmla="*/ 407075 w 549010"/>
                <a:gd name="connsiteY125" fmla="*/ 101663 h 343606"/>
                <a:gd name="connsiteX126" fmla="*/ 402880 w 549010"/>
                <a:gd name="connsiteY126" fmla="*/ 98407 h 343606"/>
                <a:gd name="connsiteX127" fmla="*/ 394592 w 549010"/>
                <a:gd name="connsiteY127" fmla="*/ 98407 h 343606"/>
                <a:gd name="connsiteX128" fmla="*/ 390398 w 549010"/>
                <a:gd name="connsiteY128" fmla="*/ 103341 h 343606"/>
                <a:gd name="connsiteX129" fmla="*/ 394592 w 549010"/>
                <a:gd name="connsiteY129" fmla="*/ 116367 h 343606"/>
                <a:gd name="connsiteX130" fmla="*/ 396663 w 549010"/>
                <a:gd name="connsiteY130" fmla="*/ 117946 h 343606"/>
                <a:gd name="connsiteX131" fmla="*/ 392470 w 549010"/>
                <a:gd name="connsiteY131" fmla="*/ 121202 h 343606"/>
                <a:gd name="connsiteX132" fmla="*/ 386204 w 549010"/>
                <a:gd name="connsiteY132" fmla="*/ 121202 h 343606"/>
                <a:gd name="connsiteX133" fmla="*/ 371649 w 549010"/>
                <a:gd name="connsiteY133" fmla="*/ 131070 h 343606"/>
                <a:gd name="connsiteX134" fmla="*/ 369526 w 549010"/>
                <a:gd name="connsiteY134" fmla="*/ 137534 h 343606"/>
                <a:gd name="connsiteX135" fmla="*/ 365333 w 549010"/>
                <a:gd name="connsiteY135" fmla="*/ 140741 h 343606"/>
                <a:gd name="connsiteX136" fmla="*/ 361188 w 549010"/>
                <a:gd name="connsiteY136" fmla="*/ 139162 h 343606"/>
                <a:gd name="connsiteX137" fmla="*/ 357044 w 549010"/>
                <a:gd name="connsiteY137" fmla="*/ 142419 h 343606"/>
                <a:gd name="connsiteX138" fmla="*/ 352850 w 549010"/>
                <a:gd name="connsiteY138" fmla="*/ 137485 h 343606"/>
                <a:gd name="connsiteX139" fmla="*/ 346583 w 549010"/>
                <a:gd name="connsiteY139" fmla="*/ 137485 h 343606"/>
                <a:gd name="connsiteX140" fmla="*/ 342438 w 549010"/>
                <a:gd name="connsiteY140" fmla="*/ 143948 h 343606"/>
                <a:gd name="connsiteX141" fmla="*/ 338245 w 549010"/>
                <a:gd name="connsiteY141" fmla="*/ 142369 h 343606"/>
                <a:gd name="connsiteX142" fmla="*/ 336173 w 549010"/>
                <a:gd name="connsiteY142" fmla="*/ 134228 h 343606"/>
                <a:gd name="connsiteX143" fmla="*/ 336173 w 549010"/>
                <a:gd name="connsiteY143" fmla="*/ 129294 h 343606"/>
                <a:gd name="connsiteX144" fmla="*/ 331979 w 549010"/>
                <a:gd name="connsiteY144" fmla="*/ 127666 h 343606"/>
                <a:gd name="connsiteX145" fmla="*/ 327834 w 549010"/>
                <a:gd name="connsiteY145" fmla="*/ 130922 h 343606"/>
                <a:gd name="connsiteX146" fmla="*/ 329907 w 549010"/>
                <a:gd name="connsiteY146" fmla="*/ 134130 h 343606"/>
                <a:gd name="connsiteX147" fmla="*/ 323690 w 549010"/>
                <a:gd name="connsiteY147" fmla="*/ 137386 h 343606"/>
                <a:gd name="connsiteX148" fmla="*/ 315301 w 549010"/>
                <a:gd name="connsiteY148" fmla="*/ 137386 h 343606"/>
                <a:gd name="connsiteX149" fmla="*/ 306963 w 549010"/>
                <a:gd name="connsiteY149" fmla="*/ 140593 h 343606"/>
                <a:gd name="connsiteX150" fmla="*/ 300697 w 549010"/>
                <a:gd name="connsiteY150" fmla="*/ 139014 h 343606"/>
                <a:gd name="connsiteX151" fmla="*/ 296553 w 549010"/>
                <a:gd name="connsiteY151" fmla="*/ 137386 h 343606"/>
                <a:gd name="connsiteX152" fmla="*/ 290287 w 549010"/>
                <a:gd name="connsiteY152" fmla="*/ 137386 h 343606"/>
                <a:gd name="connsiteX153" fmla="*/ 281947 w 549010"/>
                <a:gd name="connsiteY153" fmla="*/ 139014 h 343606"/>
                <a:gd name="connsiteX154" fmla="*/ 248545 w 549010"/>
                <a:gd name="connsiteY154" fmla="*/ 142517 h 343606"/>
                <a:gd name="connsiteX155" fmla="*/ 252738 w 549010"/>
                <a:gd name="connsiteY155" fmla="*/ 137583 h 343606"/>
                <a:gd name="connsiteX156" fmla="*/ 259004 w 549010"/>
                <a:gd name="connsiteY156" fmla="*/ 142517 h 343606"/>
                <a:gd name="connsiteX157" fmla="*/ 261076 w 549010"/>
                <a:gd name="connsiteY157" fmla="*/ 147451 h 343606"/>
                <a:gd name="connsiteX158" fmla="*/ 259004 w 549010"/>
                <a:gd name="connsiteY158" fmla="*/ 150708 h 343606"/>
                <a:gd name="connsiteX159" fmla="*/ 252738 w 549010"/>
                <a:gd name="connsiteY159" fmla="*/ 147451 h 343606"/>
                <a:gd name="connsiteX160" fmla="*/ 227673 w 549010"/>
                <a:gd name="connsiteY160" fmla="*/ 129541 h 343606"/>
                <a:gd name="connsiteX161" fmla="*/ 225650 w 549010"/>
                <a:gd name="connsiteY161" fmla="*/ 134475 h 343606"/>
                <a:gd name="connsiteX162" fmla="*/ 227673 w 549010"/>
                <a:gd name="connsiteY162" fmla="*/ 139409 h 343606"/>
                <a:gd name="connsiteX163" fmla="*/ 231867 w 549010"/>
                <a:gd name="connsiteY163" fmla="*/ 137781 h 343606"/>
                <a:gd name="connsiteX164" fmla="*/ 231867 w 549010"/>
                <a:gd name="connsiteY164" fmla="*/ 132847 h 343606"/>
                <a:gd name="connsiteX165" fmla="*/ 192247 w 549010"/>
                <a:gd name="connsiteY165" fmla="*/ 110101 h 343606"/>
                <a:gd name="connsiteX166" fmla="*/ 183909 w 549010"/>
                <a:gd name="connsiteY166" fmla="*/ 113357 h 343606"/>
                <a:gd name="connsiteX167" fmla="*/ 185980 w 549010"/>
                <a:gd name="connsiteY167" fmla="*/ 116614 h 343606"/>
                <a:gd name="connsiteX168" fmla="*/ 192247 w 549010"/>
                <a:gd name="connsiteY168" fmla="*/ 113357 h 343606"/>
                <a:gd name="connsiteX169" fmla="*/ 421729 w 549010"/>
                <a:gd name="connsiteY169" fmla="*/ 252645 h 343606"/>
                <a:gd name="connsiteX170" fmla="*/ 419607 w 549010"/>
                <a:gd name="connsiteY170" fmla="*/ 257579 h 343606"/>
                <a:gd name="connsiteX171" fmla="*/ 421729 w 549010"/>
                <a:gd name="connsiteY171" fmla="*/ 260835 h 343606"/>
                <a:gd name="connsiteX172" fmla="*/ 423752 w 549010"/>
                <a:gd name="connsiteY172" fmla="*/ 259158 h 343606"/>
                <a:gd name="connsiteX173" fmla="*/ 432140 w 549010"/>
                <a:gd name="connsiteY173" fmla="*/ 264092 h 343606"/>
                <a:gd name="connsiteX174" fmla="*/ 432140 w 549010"/>
                <a:gd name="connsiteY174" fmla="*/ 260835 h 343606"/>
                <a:gd name="connsiteX175" fmla="*/ 367454 w 549010"/>
                <a:gd name="connsiteY175" fmla="*/ 233205 h 343606"/>
                <a:gd name="connsiteX176" fmla="*/ 365333 w 549010"/>
                <a:gd name="connsiteY176" fmla="*/ 236412 h 343606"/>
                <a:gd name="connsiteX177" fmla="*/ 369526 w 549010"/>
                <a:gd name="connsiteY177" fmla="*/ 239669 h 343606"/>
                <a:gd name="connsiteX178" fmla="*/ 369526 w 549010"/>
                <a:gd name="connsiteY178" fmla="*/ 239669 h 343606"/>
                <a:gd name="connsiteX179" fmla="*/ 371649 w 549010"/>
                <a:gd name="connsiteY179" fmla="*/ 244603 h 343606"/>
                <a:gd name="connsiteX180" fmla="*/ 369526 w 549010"/>
                <a:gd name="connsiteY180" fmla="*/ 246231 h 343606"/>
                <a:gd name="connsiteX181" fmla="*/ 371649 w 549010"/>
                <a:gd name="connsiteY181" fmla="*/ 246231 h 343606"/>
                <a:gd name="connsiteX182" fmla="*/ 373721 w 549010"/>
                <a:gd name="connsiteY182" fmla="*/ 241297 h 343606"/>
                <a:gd name="connsiteX183" fmla="*/ 371649 w 549010"/>
                <a:gd name="connsiteY183" fmla="*/ 233205 h 343606"/>
                <a:gd name="connsiteX184" fmla="*/ 352652 w 549010"/>
                <a:gd name="connsiteY184" fmla="*/ 278549 h 343606"/>
                <a:gd name="connsiteX185" fmla="*/ 356847 w 549010"/>
                <a:gd name="connsiteY185" fmla="*/ 280177 h 343606"/>
                <a:gd name="connsiteX186" fmla="*/ 360990 w 549010"/>
                <a:gd name="connsiteY186" fmla="*/ 281756 h 343606"/>
                <a:gd name="connsiteX187" fmla="*/ 360990 w 549010"/>
                <a:gd name="connsiteY187" fmla="*/ 283384 h 343606"/>
                <a:gd name="connsiteX188" fmla="*/ 363064 w 549010"/>
                <a:gd name="connsiteY188" fmla="*/ 285012 h 343606"/>
                <a:gd name="connsiteX189" fmla="*/ 365136 w 549010"/>
                <a:gd name="connsiteY189" fmla="*/ 286640 h 343606"/>
                <a:gd name="connsiteX190" fmla="*/ 369330 w 549010"/>
                <a:gd name="connsiteY190" fmla="*/ 283384 h 343606"/>
                <a:gd name="connsiteX191" fmla="*/ 373523 w 549010"/>
                <a:gd name="connsiteY191" fmla="*/ 283384 h 343606"/>
                <a:gd name="connsiteX192" fmla="*/ 373523 w 549010"/>
                <a:gd name="connsiteY192" fmla="*/ 286640 h 343606"/>
                <a:gd name="connsiteX193" fmla="*/ 369330 w 549010"/>
                <a:gd name="connsiteY193" fmla="*/ 288269 h 343606"/>
                <a:gd name="connsiteX194" fmla="*/ 369330 w 549010"/>
                <a:gd name="connsiteY194" fmla="*/ 291476 h 343606"/>
                <a:gd name="connsiteX195" fmla="*/ 360990 w 549010"/>
                <a:gd name="connsiteY195" fmla="*/ 291476 h 343606"/>
                <a:gd name="connsiteX196" fmla="*/ 360990 w 549010"/>
                <a:gd name="connsiteY196" fmla="*/ 286542 h 343606"/>
                <a:gd name="connsiteX197" fmla="*/ 358919 w 549010"/>
                <a:gd name="connsiteY197" fmla="*/ 286542 h 343606"/>
                <a:gd name="connsiteX198" fmla="*/ 354724 w 549010"/>
                <a:gd name="connsiteY198" fmla="*/ 281608 h 343606"/>
                <a:gd name="connsiteX199" fmla="*/ 352652 w 549010"/>
                <a:gd name="connsiteY199" fmla="*/ 280029 h 343606"/>
                <a:gd name="connsiteX200" fmla="*/ 346386 w 549010"/>
                <a:gd name="connsiteY200" fmla="*/ 268681 h 343606"/>
                <a:gd name="connsiteX201" fmla="*/ 348459 w 549010"/>
                <a:gd name="connsiteY201" fmla="*/ 273615 h 343606"/>
                <a:gd name="connsiteX202" fmla="*/ 350580 w 549010"/>
                <a:gd name="connsiteY202" fmla="*/ 275243 h 343606"/>
                <a:gd name="connsiteX203" fmla="*/ 354724 w 549010"/>
                <a:gd name="connsiteY203" fmla="*/ 275243 h 343606"/>
                <a:gd name="connsiteX204" fmla="*/ 356847 w 549010"/>
                <a:gd name="connsiteY204" fmla="*/ 276871 h 343606"/>
                <a:gd name="connsiteX205" fmla="*/ 358919 w 549010"/>
                <a:gd name="connsiteY205" fmla="*/ 275243 h 343606"/>
                <a:gd name="connsiteX206" fmla="*/ 356847 w 549010"/>
                <a:gd name="connsiteY206" fmla="*/ 272036 h 343606"/>
                <a:gd name="connsiteX207" fmla="*/ 354724 w 549010"/>
                <a:gd name="connsiteY207" fmla="*/ 272036 h 343606"/>
                <a:gd name="connsiteX208" fmla="*/ 356847 w 549010"/>
                <a:gd name="connsiteY208" fmla="*/ 270358 h 343606"/>
                <a:gd name="connsiteX209" fmla="*/ 354724 w 549010"/>
                <a:gd name="connsiteY209" fmla="*/ 268779 h 343606"/>
                <a:gd name="connsiteX210" fmla="*/ 346386 w 549010"/>
                <a:gd name="connsiteY210" fmla="*/ 268779 h 343606"/>
                <a:gd name="connsiteX211" fmla="*/ 329709 w 549010"/>
                <a:gd name="connsiteY211" fmla="*/ 263747 h 343606"/>
                <a:gd name="connsiteX212" fmla="*/ 333903 w 549010"/>
                <a:gd name="connsiteY212" fmla="*/ 268681 h 343606"/>
                <a:gd name="connsiteX213" fmla="*/ 335976 w 549010"/>
                <a:gd name="connsiteY213" fmla="*/ 268681 h 343606"/>
                <a:gd name="connsiteX214" fmla="*/ 340169 w 549010"/>
                <a:gd name="connsiteY214" fmla="*/ 271937 h 343606"/>
                <a:gd name="connsiteX215" fmla="*/ 342242 w 549010"/>
                <a:gd name="connsiteY215" fmla="*/ 271937 h 343606"/>
                <a:gd name="connsiteX216" fmla="*/ 342242 w 549010"/>
                <a:gd name="connsiteY216" fmla="*/ 268681 h 343606"/>
                <a:gd name="connsiteX217" fmla="*/ 338048 w 549010"/>
                <a:gd name="connsiteY217" fmla="*/ 263747 h 343606"/>
                <a:gd name="connsiteX218" fmla="*/ 333903 w 549010"/>
                <a:gd name="connsiteY218" fmla="*/ 260490 h 343606"/>
                <a:gd name="connsiteX219" fmla="*/ 150307 w 549010"/>
                <a:gd name="connsiteY219" fmla="*/ 211890 h 343606"/>
                <a:gd name="connsiteX220" fmla="*/ 148236 w 549010"/>
                <a:gd name="connsiteY220" fmla="*/ 213469 h 343606"/>
                <a:gd name="connsiteX221" fmla="*/ 150307 w 549010"/>
                <a:gd name="connsiteY221" fmla="*/ 216725 h 343606"/>
                <a:gd name="connsiteX222" fmla="*/ 135505 w 549010"/>
                <a:gd name="connsiteY222" fmla="*/ 213469 h 343606"/>
                <a:gd name="connsiteX223" fmla="*/ 133433 w 549010"/>
                <a:gd name="connsiteY223" fmla="*/ 210262 h 343606"/>
                <a:gd name="connsiteX224" fmla="*/ 137627 w 549010"/>
                <a:gd name="connsiteY224" fmla="*/ 210262 h 343606"/>
                <a:gd name="connsiteX225" fmla="*/ 125095 w 549010"/>
                <a:gd name="connsiteY225" fmla="*/ 210262 h 343606"/>
                <a:gd name="connsiteX226" fmla="*/ 123022 w 549010"/>
                <a:gd name="connsiteY226" fmla="*/ 213469 h 343606"/>
                <a:gd name="connsiteX227" fmla="*/ 127216 w 549010"/>
                <a:gd name="connsiteY227" fmla="*/ 215146 h 343606"/>
                <a:gd name="connsiteX228" fmla="*/ 127216 w 549010"/>
                <a:gd name="connsiteY228" fmla="*/ 211890 h 343606"/>
                <a:gd name="connsiteX229" fmla="*/ 133433 w 549010"/>
                <a:gd name="connsiteY229" fmla="*/ 213469 h 343606"/>
                <a:gd name="connsiteX230" fmla="*/ 127216 w 549010"/>
                <a:gd name="connsiteY230" fmla="*/ 208535 h 343606"/>
                <a:gd name="connsiteX231" fmla="*/ 129239 w 549010"/>
                <a:gd name="connsiteY231" fmla="*/ 205278 h 343606"/>
                <a:gd name="connsiteX232" fmla="*/ 133433 w 549010"/>
                <a:gd name="connsiteY232" fmla="*/ 205278 h 343606"/>
                <a:gd name="connsiteX233" fmla="*/ 131362 w 549010"/>
                <a:gd name="connsiteY233" fmla="*/ 210212 h 343606"/>
                <a:gd name="connsiteX234" fmla="*/ 106346 w 549010"/>
                <a:gd name="connsiteY234" fmla="*/ 211890 h 343606"/>
                <a:gd name="connsiteX235" fmla="*/ 110489 w 549010"/>
                <a:gd name="connsiteY235" fmla="*/ 216824 h 343606"/>
                <a:gd name="connsiteX236" fmla="*/ 112563 w 549010"/>
                <a:gd name="connsiteY236" fmla="*/ 218452 h 343606"/>
                <a:gd name="connsiteX237" fmla="*/ 110489 w 549010"/>
                <a:gd name="connsiteY237" fmla="*/ 215245 h 343606"/>
                <a:gd name="connsiteX238" fmla="*/ 93813 w 549010"/>
                <a:gd name="connsiteY238" fmla="*/ 237794 h 343606"/>
                <a:gd name="connsiteX239" fmla="*/ 97958 w 549010"/>
                <a:gd name="connsiteY239" fmla="*/ 232860 h 343606"/>
                <a:gd name="connsiteX240" fmla="*/ 104224 w 549010"/>
                <a:gd name="connsiteY240" fmla="*/ 234439 h 343606"/>
                <a:gd name="connsiteX241" fmla="*/ 102151 w 549010"/>
                <a:gd name="connsiteY241" fmla="*/ 236067 h 343606"/>
                <a:gd name="connsiteX242" fmla="*/ 94356 w 549010"/>
                <a:gd name="connsiteY242" fmla="*/ 238287 h 343606"/>
                <a:gd name="connsiteX243" fmla="*/ 93813 w 549010"/>
                <a:gd name="connsiteY243" fmla="*/ 241050 h 343606"/>
                <a:gd name="connsiteX244" fmla="*/ 95885 w 549010"/>
                <a:gd name="connsiteY244" fmla="*/ 242629 h 343606"/>
                <a:gd name="connsiteX245" fmla="*/ 95885 w 549010"/>
                <a:gd name="connsiteY245" fmla="*/ 239422 h 343606"/>
                <a:gd name="connsiteX246" fmla="*/ 85475 w 549010"/>
                <a:gd name="connsiteY246" fmla="*/ 237794 h 343606"/>
                <a:gd name="connsiteX247" fmla="*/ 89619 w 549010"/>
                <a:gd name="connsiteY247" fmla="*/ 239422 h 343606"/>
                <a:gd name="connsiteX248" fmla="*/ 91692 w 549010"/>
                <a:gd name="connsiteY248" fmla="*/ 237794 h 343606"/>
                <a:gd name="connsiteX249" fmla="*/ 83402 w 549010"/>
                <a:gd name="connsiteY249" fmla="*/ 239422 h 343606"/>
                <a:gd name="connsiteX250" fmla="*/ 93813 w 549010"/>
                <a:gd name="connsiteY250" fmla="*/ 244356 h 343606"/>
                <a:gd name="connsiteX251" fmla="*/ 97958 w 549010"/>
                <a:gd name="connsiteY251" fmla="*/ 249290 h 343606"/>
                <a:gd name="connsiteX252" fmla="*/ 93813 w 549010"/>
                <a:gd name="connsiteY252" fmla="*/ 224620 h 343606"/>
                <a:gd name="connsiteX253" fmla="*/ 100079 w 549010"/>
                <a:gd name="connsiteY253" fmla="*/ 226248 h 343606"/>
                <a:gd name="connsiteX254" fmla="*/ 97958 w 549010"/>
                <a:gd name="connsiteY254" fmla="*/ 227876 h 343606"/>
                <a:gd name="connsiteX255" fmla="*/ 93813 w 549010"/>
                <a:gd name="connsiteY255" fmla="*/ 226248 h 343606"/>
                <a:gd name="connsiteX256" fmla="*/ 102151 w 549010"/>
                <a:gd name="connsiteY256" fmla="*/ 223041 h 343606"/>
                <a:gd name="connsiteX257" fmla="*/ 100079 w 549010"/>
                <a:gd name="connsiteY257" fmla="*/ 219784 h 343606"/>
                <a:gd name="connsiteX258" fmla="*/ 100079 w 549010"/>
                <a:gd name="connsiteY258" fmla="*/ 218156 h 343606"/>
                <a:gd name="connsiteX259" fmla="*/ 104224 w 549010"/>
                <a:gd name="connsiteY259" fmla="*/ 214949 h 343606"/>
                <a:gd name="connsiteX260" fmla="*/ 106346 w 549010"/>
                <a:gd name="connsiteY260" fmla="*/ 221413 h 343606"/>
                <a:gd name="connsiteX261" fmla="*/ 104224 w 549010"/>
                <a:gd name="connsiteY261" fmla="*/ 223041 h 343606"/>
                <a:gd name="connsiteX262" fmla="*/ 6184 w 549010"/>
                <a:gd name="connsiteY262" fmla="*/ 48129 h 343606"/>
                <a:gd name="connsiteX263" fmla="*/ 2039 w 549010"/>
                <a:gd name="connsiteY263" fmla="*/ 164721 h 343606"/>
                <a:gd name="connsiteX264" fmla="*/ -82 w 549010"/>
                <a:gd name="connsiteY264" fmla="*/ 174589 h 343606"/>
                <a:gd name="connsiteX265" fmla="*/ -82 w 549010"/>
                <a:gd name="connsiteY265" fmla="*/ 179523 h 343606"/>
                <a:gd name="connsiteX266" fmla="*/ 2039 w 549010"/>
                <a:gd name="connsiteY266" fmla="*/ 181151 h 343606"/>
                <a:gd name="connsiteX267" fmla="*/ -82 w 549010"/>
                <a:gd name="connsiteY267" fmla="*/ 257283 h 343606"/>
                <a:gd name="connsiteX268" fmla="*/ 10329 w 549010"/>
                <a:gd name="connsiteY268" fmla="*/ 257283 h 343606"/>
                <a:gd name="connsiteX269" fmla="*/ 14523 w 549010"/>
                <a:gd name="connsiteY269" fmla="*/ 258862 h 343606"/>
                <a:gd name="connsiteX270" fmla="*/ 20789 w 549010"/>
                <a:gd name="connsiteY270" fmla="*/ 257283 h 343606"/>
                <a:gd name="connsiteX271" fmla="*/ 41660 w 549010"/>
                <a:gd name="connsiteY271" fmla="*/ 258862 h 343606"/>
                <a:gd name="connsiteX272" fmla="*/ 45854 w 549010"/>
                <a:gd name="connsiteY272" fmla="*/ 257283 h 343606"/>
                <a:gd name="connsiteX273" fmla="*/ 47926 w 549010"/>
                <a:gd name="connsiteY273" fmla="*/ 262217 h 343606"/>
                <a:gd name="connsiteX274" fmla="*/ 52071 w 549010"/>
                <a:gd name="connsiteY274" fmla="*/ 265474 h 343606"/>
                <a:gd name="connsiteX275" fmla="*/ 58338 w 549010"/>
                <a:gd name="connsiteY275" fmla="*/ 267102 h 343606"/>
                <a:gd name="connsiteX276" fmla="*/ 64604 w 549010"/>
                <a:gd name="connsiteY276" fmla="*/ 262168 h 343606"/>
                <a:gd name="connsiteX277" fmla="*/ 79406 w 549010"/>
                <a:gd name="connsiteY277" fmla="*/ 258911 h 343606"/>
                <a:gd name="connsiteX278" fmla="*/ 79406 w 549010"/>
                <a:gd name="connsiteY278" fmla="*/ 257332 h 343606"/>
                <a:gd name="connsiteX279" fmla="*/ 83599 w 549010"/>
                <a:gd name="connsiteY279" fmla="*/ 258911 h 343606"/>
                <a:gd name="connsiteX280" fmla="*/ 85672 w 549010"/>
                <a:gd name="connsiteY280" fmla="*/ 255704 h 343606"/>
                <a:gd name="connsiteX281" fmla="*/ 85672 w 549010"/>
                <a:gd name="connsiteY281" fmla="*/ 247612 h 343606"/>
                <a:gd name="connsiteX282" fmla="*/ 75212 w 549010"/>
                <a:gd name="connsiteY282" fmla="*/ 241149 h 343606"/>
                <a:gd name="connsiteX283" fmla="*/ 64801 w 549010"/>
                <a:gd name="connsiteY283" fmla="*/ 236215 h 343606"/>
                <a:gd name="connsiteX284" fmla="*/ 56462 w 549010"/>
                <a:gd name="connsiteY284" fmla="*/ 236215 h 343606"/>
                <a:gd name="connsiteX285" fmla="*/ 52269 w 549010"/>
                <a:gd name="connsiteY285" fmla="*/ 233007 h 343606"/>
                <a:gd name="connsiteX286" fmla="*/ 48124 w 549010"/>
                <a:gd name="connsiteY286" fmla="*/ 231379 h 343606"/>
                <a:gd name="connsiteX287" fmla="*/ 46052 w 549010"/>
                <a:gd name="connsiteY287" fmla="*/ 231379 h 343606"/>
                <a:gd name="connsiteX288" fmla="*/ 41857 w 549010"/>
                <a:gd name="connsiteY288" fmla="*/ 228123 h 343606"/>
                <a:gd name="connsiteX289" fmla="*/ 39786 w 549010"/>
                <a:gd name="connsiteY289" fmla="*/ 221659 h 343606"/>
                <a:gd name="connsiteX290" fmla="*/ 33519 w 549010"/>
                <a:gd name="connsiteY290" fmla="*/ 213518 h 343606"/>
                <a:gd name="connsiteX291" fmla="*/ 27253 w 549010"/>
                <a:gd name="connsiteY291" fmla="*/ 211939 h 343606"/>
                <a:gd name="connsiteX292" fmla="*/ 25181 w 549010"/>
                <a:gd name="connsiteY292" fmla="*/ 207005 h 343606"/>
                <a:gd name="connsiteX293" fmla="*/ 20987 w 549010"/>
                <a:gd name="connsiteY293" fmla="*/ 203749 h 343606"/>
                <a:gd name="connsiteX294" fmla="*/ 27253 w 549010"/>
                <a:gd name="connsiteY294" fmla="*/ 207005 h 343606"/>
                <a:gd name="connsiteX295" fmla="*/ 27253 w 549010"/>
                <a:gd name="connsiteY295" fmla="*/ 210212 h 343606"/>
                <a:gd name="connsiteX296" fmla="*/ 33519 w 549010"/>
                <a:gd name="connsiteY296" fmla="*/ 211841 h 343606"/>
                <a:gd name="connsiteX297" fmla="*/ 39786 w 549010"/>
                <a:gd name="connsiteY297" fmla="*/ 216775 h 343606"/>
                <a:gd name="connsiteX298" fmla="*/ 41857 w 549010"/>
                <a:gd name="connsiteY298" fmla="*/ 221709 h 343606"/>
                <a:gd name="connsiteX299" fmla="*/ 41857 w 549010"/>
                <a:gd name="connsiteY299" fmla="*/ 228172 h 343606"/>
                <a:gd name="connsiteX300" fmla="*/ 46052 w 549010"/>
                <a:gd name="connsiteY300" fmla="*/ 228172 h 343606"/>
                <a:gd name="connsiteX301" fmla="*/ 54341 w 549010"/>
                <a:gd name="connsiteY301" fmla="*/ 229801 h 343606"/>
                <a:gd name="connsiteX302" fmla="*/ 58535 w 549010"/>
                <a:gd name="connsiteY302" fmla="*/ 234735 h 343606"/>
                <a:gd name="connsiteX303" fmla="*/ 62728 w 549010"/>
                <a:gd name="connsiteY303" fmla="*/ 233156 h 343606"/>
                <a:gd name="connsiteX304" fmla="*/ 71067 w 549010"/>
                <a:gd name="connsiteY304" fmla="*/ 234735 h 343606"/>
                <a:gd name="connsiteX305" fmla="*/ 81478 w 549010"/>
                <a:gd name="connsiteY305" fmla="*/ 231527 h 343606"/>
                <a:gd name="connsiteX306" fmla="*/ 89816 w 549010"/>
                <a:gd name="connsiteY306" fmla="*/ 231527 h 343606"/>
                <a:gd name="connsiteX307" fmla="*/ 96082 w 549010"/>
                <a:gd name="connsiteY307" fmla="*/ 229899 h 343606"/>
                <a:gd name="connsiteX308" fmla="*/ 94011 w 549010"/>
                <a:gd name="connsiteY308" fmla="*/ 228271 h 343606"/>
                <a:gd name="connsiteX309" fmla="*/ 87744 w 549010"/>
                <a:gd name="connsiteY309" fmla="*/ 225014 h 343606"/>
                <a:gd name="connsiteX310" fmla="*/ 85672 w 549010"/>
                <a:gd name="connsiteY310" fmla="*/ 220080 h 343606"/>
                <a:gd name="connsiteX311" fmla="*/ 81478 w 549010"/>
                <a:gd name="connsiteY311" fmla="*/ 221709 h 343606"/>
                <a:gd name="connsiteX312" fmla="*/ 77333 w 549010"/>
                <a:gd name="connsiteY312" fmla="*/ 216775 h 343606"/>
                <a:gd name="connsiteX313" fmla="*/ 81478 w 549010"/>
                <a:gd name="connsiteY313" fmla="*/ 220031 h 343606"/>
                <a:gd name="connsiteX314" fmla="*/ 89816 w 549010"/>
                <a:gd name="connsiteY314" fmla="*/ 218403 h 343606"/>
                <a:gd name="connsiteX315" fmla="*/ 94011 w 549010"/>
                <a:gd name="connsiteY315" fmla="*/ 223337 h 343606"/>
                <a:gd name="connsiteX316" fmla="*/ 100277 w 549010"/>
                <a:gd name="connsiteY316" fmla="*/ 224916 h 343606"/>
                <a:gd name="connsiteX317" fmla="*/ 98154 w 549010"/>
                <a:gd name="connsiteY317" fmla="*/ 221709 h 343606"/>
                <a:gd name="connsiteX318" fmla="*/ 98154 w 549010"/>
                <a:gd name="connsiteY318" fmla="*/ 216775 h 343606"/>
                <a:gd name="connsiteX319" fmla="*/ 102349 w 549010"/>
                <a:gd name="connsiteY319" fmla="*/ 215196 h 343606"/>
                <a:gd name="connsiteX320" fmla="*/ 102349 w 549010"/>
                <a:gd name="connsiteY320" fmla="*/ 207104 h 343606"/>
                <a:gd name="connsiteX321" fmla="*/ 96082 w 549010"/>
                <a:gd name="connsiteY321" fmla="*/ 202170 h 343606"/>
                <a:gd name="connsiteX322" fmla="*/ 96082 w 549010"/>
                <a:gd name="connsiteY322" fmla="*/ 200542 h 343606"/>
                <a:gd name="connsiteX323" fmla="*/ 102349 w 549010"/>
                <a:gd name="connsiteY323" fmla="*/ 202170 h 343606"/>
                <a:gd name="connsiteX324" fmla="*/ 104421 w 549010"/>
                <a:gd name="connsiteY324" fmla="*/ 207104 h 343606"/>
                <a:gd name="connsiteX325" fmla="*/ 110687 w 549010"/>
                <a:gd name="connsiteY325" fmla="*/ 212038 h 343606"/>
                <a:gd name="connsiteX326" fmla="*/ 116953 w 549010"/>
                <a:gd name="connsiteY326" fmla="*/ 213617 h 343606"/>
                <a:gd name="connsiteX327" fmla="*/ 116953 w 549010"/>
                <a:gd name="connsiteY327" fmla="*/ 207203 h 343606"/>
                <a:gd name="connsiteX328" fmla="*/ 119026 w 549010"/>
                <a:gd name="connsiteY328" fmla="*/ 213617 h 343606"/>
                <a:gd name="connsiteX329" fmla="*/ 123220 w 549010"/>
                <a:gd name="connsiteY329" fmla="*/ 212038 h 343606"/>
                <a:gd name="connsiteX330" fmla="*/ 123220 w 549010"/>
                <a:gd name="connsiteY330" fmla="*/ 209374 h 343606"/>
                <a:gd name="connsiteX331" fmla="*/ 121148 w 549010"/>
                <a:gd name="connsiteY331" fmla="*/ 206117 h 343606"/>
                <a:gd name="connsiteX332" fmla="*/ 123220 w 549010"/>
                <a:gd name="connsiteY332" fmla="*/ 199654 h 343606"/>
                <a:gd name="connsiteX333" fmla="*/ 125292 w 549010"/>
                <a:gd name="connsiteY333" fmla="*/ 202910 h 343606"/>
                <a:gd name="connsiteX334" fmla="*/ 135703 w 549010"/>
                <a:gd name="connsiteY334" fmla="*/ 204538 h 343606"/>
                <a:gd name="connsiteX335" fmla="*/ 137824 w 549010"/>
                <a:gd name="connsiteY335" fmla="*/ 209472 h 343606"/>
                <a:gd name="connsiteX336" fmla="*/ 146164 w 549010"/>
                <a:gd name="connsiteY336" fmla="*/ 209472 h 343606"/>
                <a:gd name="connsiteX337" fmla="*/ 148236 w 549010"/>
                <a:gd name="connsiteY337" fmla="*/ 211100 h 343606"/>
                <a:gd name="connsiteX338" fmla="*/ 152381 w 549010"/>
                <a:gd name="connsiteY338" fmla="*/ 207893 h 343606"/>
                <a:gd name="connsiteX339" fmla="*/ 150307 w 549010"/>
                <a:gd name="connsiteY339" fmla="*/ 212827 h 343606"/>
                <a:gd name="connsiteX340" fmla="*/ 152381 w 549010"/>
                <a:gd name="connsiteY340" fmla="*/ 216084 h 343606"/>
                <a:gd name="connsiteX341" fmla="*/ 154502 w 549010"/>
                <a:gd name="connsiteY341" fmla="*/ 217663 h 343606"/>
                <a:gd name="connsiteX342" fmla="*/ 160768 w 549010"/>
                <a:gd name="connsiteY342" fmla="*/ 220919 h 343606"/>
                <a:gd name="connsiteX343" fmla="*/ 179518 w 549010"/>
                <a:gd name="connsiteY343" fmla="*/ 224176 h 343606"/>
                <a:gd name="connsiteX344" fmla="*/ 185783 w 549010"/>
                <a:gd name="connsiteY344" fmla="*/ 227383 h 343606"/>
                <a:gd name="connsiteX345" fmla="*/ 189928 w 549010"/>
                <a:gd name="connsiteY345" fmla="*/ 233896 h 343606"/>
                <a:gd name="connsiteX346" fmla="*/ 194122 w 549010"/>
                <a:gd name="connsiteY346" fmla="*/ 241987 h 343606"/>
                <a:gd name="connsiteX347" fmla="*/ 202461 w 549010"/>
                <a:gd name="connsiteY347" fmla="*/ 253336 h 343606"/>
                <a:gd name="connsiteX348" fmla="*/ 204582 w 549010"/>
                <a:gd name="connsiteY348" fmla="*/ 256543 h 343606"/>
                <a:gd name="connsiteX349" fmla="*/ 210799 w 549010"/>
                <a:gd name="connsiteY349" fmla="*/ 258171 h 343606"/>
                <a:gd name="connsiteX350" fmla="*/ 214993 w 549010"/>
                <a:gd name="connsiteY350" fmla="*/ 263105 h 343606"/>
                <a:gd name="connsiteX351" fmla="*/ 217065 w 549010"/>
                <a:gd name="connsiteY351" fmla="*/ 266362 h 343606"/>
                <a:gd name="connsiteX352" fmla="*/ 233743 w 549010"/>
                <a:gd name="connsiteY352" fmla="*/ 281164 h 343606"/>
                <a:gd name="connsiteX353" fmla="*/ 233743 w 549010"/>
                <a:gd name="connsiteY353" fmla="*/ 286098 h 343606"/>
                <a:gd name="connsiteX354" fmla="*/ 240008 w 549010"/>
                <a:gd name="connsiteY354" fmla="*/ 291032 h 343606"/>
                <a:gd name="connsiteX355" fmla="*/ 250419 w 549010"/>
                <a:gd name="connsiteY355" fmla="*/ 294288 h 343606"/>
                <a:gd name="connsiteX356" fmla="*/ 254614 w 549010"/>
                <a:gd name="connsiteY356" fmla="*/ 292660 h 343606"/>
                <a:gd name="connsiteX357" fmla="*/ 258807 w 549010"/>
                <a:gd name="connsiteY357" fmla="*/ 292660 h 343606"/>
                <a:gd name="connsiteX358" fmla="*/ 265024 w 549010"/>
                <a:gd name="connsiteY358" fmla="*/ 294288 h 343606"/>
                <a:gd name="connsiteX359" fmla="*/ 275484 w 549010"/>
                <a:gd name="connsiteY359" fmla="*/ 292660 h 343606"/>
                <a:gd name="connsiteX360" fmla="*/ 283823 w 549010"/>
                <a:gd name="connsiteY360" fmla="*/ 295916 h 343606"/>
                <a:gd name="connsiteX361" fmla="*/ 290089 w 549010"/>
                <a:gd name="connsiteY361" fmla="*/ 294288 h 343606"/>
                <a:gd name="connsiteX362" fmla="*/ 300499 w 549010"/>
                <a:gd name="connsiteY362" fmla="*/ 295916 h 343606"/>
                <a:gd name="connsiteX363" fmla="*/ 304644 w 549010"/>
                <a:gd name="connsiteY363" fmla="*/ 299173 h 343606"/>
                <a:gd name="connsiteX364" fmla="*/ 313032 w 549010"/>
                <a:gd name="connsiteY364" fmla="*/ 297545 h 343606"/>
                <a:gd name="connsiteX365" fmla="*/ 317177 w 549010"/>
                <a:gd name="connsiteY365" fmla="*/ 302479 h 343606"/>
                <a:gd name="connsiteX366" fmla="*/ 325515 w 549010"/>
                <a:gd name="connsiteY366" fmla="*/ 302479 h 343606"/>
                <a:gd name="connsiteX367" fmla="*/ 325515 w 549010"/>
                <a:gd name="connsiteY367" fmla="*/ 303120 h 343606"/>
                <a:gd name="connsiteX368" fmla="*/ 321371 w 549010"/>
                <a:gd name="connsiteY368" fmla="*/ 304699 h 343606"/>
                <a:gd name="connsiteX369" fmla="*/ 329709 w 549010"/>
                <a:gd name="connsiteY369" fmla="*/ 306377 h 343606"/>
                <a:gd name="connsiteX370" fmla="*/ 338048 w 549010"/>
                <a:gd name="connsiteY370" fmla="*/ 311311 h 343606"/>
                <a:gd name="connsiteX371" fmla="*/ 344314 w 549010"/>
                <a:gd name="connsiteY371" fmla="*/ 309732 h 343606"/>
                <a:gd name="connsiteX372" fmla="*/ 346386 w 549010"/>
                <a:gd name="connsiteY372" fmla="*/ 304798 h 343606"/>
                <a:gd name="connsiteX373" fmla="*/ 338048 w 549010"/>
                <a:gd name="connsiteY373" fmla="*/ 301591 h 343606"/>
                <a:gd name="connsiteX374" fmla="*/ 335976 w 549010"/>
                <a:gd name="connsiteY374" fmla="*/ 301591 h 343606"/>
                <a:gd name="connsiteX375" fmla="*/ 335976 w 549010"/>
                <a:gd name="connsiteY375" fmla="*/ 298186 h 343606"/>
                <a:gd name="connsiteX376" fmla="*/ 342242 w 549010"/>
                <a:gd name="connsiteY376" fmla="*/ 296558 h 343606"/>
                <a:gd name="connsiteX377" fmla="*/ 348459 w 549010"/>
                <a:gd name="connsiteY377" fmla="*/ 298186 h 343606"/>
                <a:gd name="connsiteX378" fmla="*/ 354724 w 549010"/>
                <a:gd name="connsiteY378" fmla="*/ 294930 h 343606"/>
                <a:gd name="connsiteX379" fmla="*/ 340169 w 549010"/>
                <a:gd name="connsiteY379" fmla="*/ 291673 h 343606"/>
                <a:gd name="connsiteX380" fmla="*/ 325367 w 549010"/>
                <a:gd name="connsiteY380" fmla="*/ 290045 h 343606"/>
                <a:gd name="connsiteX381" fmla="*/ 314957 w 549010"/>
                <a:gd name="connsiteY381" fmla="*/ 286838 h 343606"/>
                <a:gd name="connsiteX382" fmla="*/ 312884 w 549010"/>
                <a:gd name="connsiteY382" fmla="*/ 281904 h 343606"/>
                <a:gd name="connsiteX383" fmla="*/ 321223 w 549010"/>
                <a:gd name="connsiteY383" fmla="*/ 280325 h 343606"/>
                <a:gd name="connsiteX384" fmla="*/ 325367 w 549010"/>
                <a:gd name="connsiteY384" fmla="*/ 280325 h 343606"/>
                <a:gd name="connsiteX385" fmla="*/ 329561 w 549010"/>
                <a:gd name="connsiteY385" fmla="*/ 277068 h 343606"/>
                <a:gd name="connsiteX386" fmla="*/ 323344 w 549010"/>
                <a:gd name="connsiteY386" fmla="*/ 275440 h 343606"/>
                <a:gd name="connsiteX387" fmla="*/ 310762 w 549010"/>
                <a:gd name="connsiteY387" fmla="*/ 275440 h 343606"/>
                <a:gd name="connsiteX388" fmla="*/ 300352 w 549010"/>
                <a:gd name="connsiteY388" fmla="*/ 273812 h 343606"/>
                <a:gd name="connsiteX389" fmla="*/ 296207 w 549010"/>
                <a:gd name="connsiteY389" fmla="*/ 270556 h 343606"/>
                <a:gd name="connsiteX390" fmla="*/ 296207 w 549010"/>
                <a:gd name="connsiteY390" fmla="*/ 265622 h 343606"/>
                <a:gd name="connsiteX391" fmla="*/ 298279 w 549010"/>
                <a:gd name="connsiteY391" fmla="*/ 260688 h 343606"/>
                <a:gd name="connsiteX392" fmla="*/ 300352 w 549010"/>
                <a:gd name="connsiteY392" fmla="*/ 257431 h 343606"/>
                <a:gd name="connsiteX393" fmla="*/ 298279 w 549010"/>
                <a:gd name="connsiteY393" fmla="*/ 254175 h 343606"/>
                <a:gd name="connsiteX394" fmla="*/ 292013 w 549010"/>
                <a:gd name="connsiteY394" fmla="*/ 254175 h 343606"/>
                <a:gd name="connsiteX395" fmla="*/ 289941 w 549010"/>
                <a:gd name="connsiteY395" fmla="*/ 255803 h 343606"/>
                <a:gd name="connsiteX396" fmla="*/ 283675 w 549010"/>
                <a:gd name="connsiteY396" fmla="*/ 254175 h 343606"/>
                <a:gd name="connsiteX397" fmla="*/ 280073 w 549010"/>
                <a:gd name="connsiteY397" fmla="*/ 254175 h 343606"/>
                <a:gd name="connsiteX398" fmla="*/ 273806 w 549010"/>
                <a:gd name="connsiteY398" fmla="*/ 249241 h 343606"/>
                <a:gd name="connsiteX399" fmla="*/ 273806 w 549010"/>
                <a:gd name="connsiteY399" fmla="*/ 239373 h 343606"/>
                <a:gd name="connsiteX400" fmla="*/ 267491 w 549010"/>
                <a:gd name="connsiteY400" fmla="*/ 237744 h 343606"/>
                <a:gd name="connsiteX401" fmla="*/ 261274 w 549010"/>
                <a:gd name="connsiteY401" fmla="*/ 222942 h 343606"/>
                <a:gd name="connsiteX402" fmla="*/ 257081 w 549010"/>
                <a:gd name="connsiteY402" fmla="*/ 222942 h 343606"/>
                <a:gd name="connsiteX403" fmla="*/ 255008 w 549010"/>
                <a:gd name="connsiteY403" fmla="*/ 218008 h 343606"/>
                <a:gd name="connsiteX404" fmla="*/ 248741 w 549010"/>
                <a:gd name="connsiteY404" fmla="*/ 218008 h 343606"/>
                <a:gd name="connsiteX405" fmla="*/ 242524 w 549010"/>
                <a:gd name="connsiteY405" fmla="*/ 214801 h 343606"/>
                <a:gd name="connsiteX406" fmla="*/ 238331 w 549010"/>
                <a:gd name="connsiteY406" fmla="*/ 208288 h 343606"/>
                <a:gd name="connsiteX407" fmla="*/ 232065 w 549010"/>
                <a:gd name="connsiteY407" fmla="*/ 201824 h 343606"/>
                <a:gd name="connsiteX408" fmla="*/ 229993 w 549010"/>
                <a:gd name="connsiteY408" fmla="*/ 193733 h 343606"/>
                <a:gd name="connsiteX409" fmla="*/ 223727 w 549010"/>
                <a:gd name="connsiteY409" fmla="*/ 190476 h 343606"/>
                <a:gd name="connsiteX410" fmla="*/ 219581 w 549010"/>
                <a:gd name="connsiteY410" fmla="*/ 184013 h 343606"/>
                <a:gd name="connsiteX411" fmla="*/ 221653 w 549010"/>
                <a:gd name="connsiteY411" fmla="*/ 182385 h 343606"/>
                <a:gd name="connsiteX412" fmla="*/ 236455 w 549010"/>
                <a:gd name="connsiteY412" fmla="*/ 182385 h 343606"/>
                <a:gd name="connsiteX413" fmla="*/ 248939 w 549010"/>
                <a:gd name="connsiteY413" fmla="*/ 177450 h 343606"/>
                <a:gd name="connsiteX414" fmla="*/ 253133 w 549010"/>
                <a:gd name="connsiteY414" fmla="*/ 170938 h 343606"/>
                <a:gd name="connsiteX415" fmla="*/ 251012 w 549010"/>
                <a:gd name="connsiteY415" fmla="*/ 164474 h 343606"/>
                <a:gd name="connsiteX416" fmla="*/ 240601 w 549010"/>
                <a:gd name="connsiteY416" fmla="*/ 156382 h 343606"/>
                <a:gd name="connsiteX417" fmla="*/ 234334 w 549010"/>
                <a:gd name="connsiteY417" fmla="*/ 154754 h 343606"/>
                <a:gd name="connsiteX418" fmla="*/ 230189 w 549010"/>
                <a:gd name="connsiteY418" fmla="*/ 156382 h 343606"/>
                <a:gd name="connsiteX419" fmla="*/ 221851 w 549010"/>
                <a:gd name="connsiteY419" fmla="*/ 153175 h 343606"/>
                <a:gd name="connsiteX420" fmla="*/ 209318 w 549010"/>
                <a:gd name="connsiteY420" fmla="*/ 148241 h 343606"/>
                <a:gd name="connsiteX421" fmla="*/ 203052 w 549010"/>
                <a:gd name="connsiteY421" fmla="*/ 141827 h 343606"/>
                <a:gd name="connsiteX422" fmla="*/ 196787 w 549010"/>
                <a:gd name="connsiteY422" fmla="*/ 143406 h 343606"/>
                <a:gd name="connsiteX423" fmla="*/ 178037 w 549010"/>
                <a:gd name="connsiteY423" fmla="*/ 136942 h 343606"/>
                <a:gd name="connsiteX424" fmla="*/ 175964 w 549010"/>
                <a:gd name="connsiteY424" fmla="*/ 133685 h 343606"/>
                <a:gd name="connsiteX425" fmla="*/ 182231 w 549010"/>
                <a:gd name="connsiteY425" fmla="*/ 125594 h 343606"/>
                <a:gd name="connsiteX426" fmla="*/ 182231 w 549010"/>
                <a:gd name="connsiteY426" fmla="*/ 120660 h 343606"/>
                <a:gd name="connsiteX427" fmla="*/ 178037 w 549010"/>
                <a:gd name="connsiteY427" fmla="*/ 115726 h 343606"/>
                <a:gd name="connsiteX428" fmla="*/ 163235 w 549010"/>
                <a:gd name="connsiteY428" fmla="*/ 104377 h 343606"/>
                <a:gd name="connsiteX429" fmla="*/ 161162 w 549010"/>
                <a:gd name="connsiteY429" fmla="*/ 104377 h 343606"/>
                <a:gd name="connsiteX430" fmla="*/ 156969 w 549010"/>
                <a:gd name="connsiteY430" fmla="*/ 105956 h 343606"/>
                <a:gd name="connsiteX431" fmla="*/ 154896 w 549010"/>
                <a:gd name="connsiteY431" fmla="*/ 101022 h 343606"/>
                <a:gd name="connsiteX432" fmla="*/ 146558 w 549010"/>
                <a:gd name="connsiteY432" fmla="*/ 96088 h 343606"/>
                <a:gd name="connsiteX433" fmla="*/ 144486 w 549010"/>
                <a:gd name="connsiteY433" fmla="*/ 92832 h 343606"/>
                <a:gd name="connsiteX434" fmla="*/ 138219 w 549010"/>
                <a:gd name="connsiteY434" fmla="*/ 91203 h 343606"/>
                <a:gd name="connsiteX435" fmla="*/ 134025 w 549010"/>
                <a:gd name="connsiteY435" fmla="*/ 86269 h 343606"/>
                <a:gd name="connsiteX436" fmla="*/ 129832 w 549010"/>
                <a:gd name="connsiteY436" fmla="*/ 87898 h 343606"/>
                <a:gd name="connsiteX437" fmla="*/ 123615 w 549010"/>
                <a:gd name="connsiteY437" fmla="*/ 84690 h 343606"/>
                <a:gd name="connsiteX438" fmla="*/ 115227 w 549010"/>
                <a:gd name="connsiteY438" fmla="*/ 83062 h 343606"/>
                <a:gd name="connsiteX439" fmla="*/ 108961 w 549010"/>
                <a:gd name="connsiteY439" fmla="*/ 78128 h 343606"/>
                <a:gd name="connsiteX440" fmla="*/ 100671 w 549010"/>
                <a:gd name="connsiteY440" fmla="*/ 76549 h 343606"/>
                <a:gd name="connsiteX441" fmla="*/ 88139 w 549010"/>
                <a:gd name="connsiteY441" fmla="*/ 70036 h 343606"/>
                <a:gd name="connsiteX442" fmla="*/ 67317 w 549010"/>
                <a:gd name="connsiteY442" fmla="*/ 68408 h 343606"/>
                <a:gd name="connsiteX443" fmla="*/ 61002 w 549010"/>
                <a:gd name="connsiteY443" fmla="*/ 65201 h 343606"/>
                <a:gd name="connsiteX444" fmla="*/ 56857 w 549010"/>
                <a:gd name="connsiteY444" fmla="*/ 61945 h 343606"/>
                <a:gd name="connsiteX445" fmla="*/ 52663 w 549010"/>
                <a:gd name="connsiteY445" fmla="*/ 61945 h 343606"/>
                <a:gd name="connsiteX446" fmla="*/ 50591 w 549010"/>
                <a:gd name="connsiteY446" fmla="*/ 63573 h 343606"/>
                <a:gd name="connsiteX447" fmla="*/ 35789 w 549010"/>
                <a:gd name="connsiteY447" fmla="*/ 57060 h 343606"/>
                <a:gd name="connsiteX448" fmla="*/ 33717 w 549010"/>
                <a:gd name="connsiteY448" fmla="*/ 55481 h 343606"/>
                <a:gd name="connsiteX449" fmla="*/ 25377 w 549010"/>
                <a:gd name="connsiteY449" fmla="*/ 52225 h 343606"/>
                <a:gd name="connsiteX450" fmla="*/ 12846 w 549010"/>
                <a:gd name="connsiteY450" fmla="*/ 48968 h 343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</a:cxnLst>
              <a:rect l="l" t="t" r="r" b="b"/>
              <a:pathLst>
                <a:path w="549010" h="343606">
                  <a:moveTo>
                    <a:pt x="469786" y="333859"/>
                  </a:moveTo>
                  <a:lnTo>
                    <a:pt x="473981" y="328925"/>
                  </a:lnTo>
                  <a:lnTo>
                    <a:pt x="480247" y="330553"/>
                  </a:lnTo>
                  <a:lnTo>
                    <a:pt x="478174" y="333810"/>
                  </a:lnTo>
                  <a:lnTo>
                    <a:pt x="473981" y="335389"/>
                  </a:lnTo>
                  <a:lnTo>
                    <a:pt x="469786" y="335389"/>
                  </a:lnTo>
                  <a:close/>
                  <a:moveTo>
                    <a:pt x="438555" y="333859"/>
                  </a:moveTo>
                  <a:lnTo>
                    <a:pt x="446843" y="341951"/>
                  </a:lnTo>
                  <a:lnTo>
                    <a:pt x="453110" y="341951"/>
                  </a:lnTo>
                  <a:lnTo>
                    <a:pt x="457303" y="343579"/>
                  </a:lnTo>
                  <a:lnTo>
                    <a:pt x="459376" y="341951"/>
                  </a:lnTo>
                  <a:lnTo>
                    <a:pt x="457303" y="338695"/>
                  </a:lnTo>
                  <a:lnTo>
                    <a:pt x="451037" y="338695"/>
                  </a:lnTo>
                  <a:lnTo>
                    <a:pt x="442698" y="333761"/>
                  </a:lnTo>
                  <a:close/>
                  <a:moveTo>
                    <a:pt x="210996" y="26123"/>
                  </a:moveTo>
                  <a:lnTo>
                    <a:pt x="215191" y="24495"/>
                  </a:lnTo>
                  <a:lnTo>
                    <a:pt x="219384" y="26123"/>
                  </a:lnTo>
                  <a:lnTo>
                    <a:pt x="225650" y="24495"/>
                  </a:lnTo>
                  <a:lnTo>
                    <a:pt x="229795" y="26123"/>
                  </a:lnTo>
                  <a:lnTo>
                    <a:pt x="236062" y="26123"/>
                  </a:lnTo>
                  <a:lnTo>
                    <a:pt x="240205" y="27752"/>
                  </a:lnTo>
                  <a:lnTo>
                    <a:pt x="231867" y="34215"/>
                  </a:lnTo>
                  <a:lnTo>
                    <a:pt x="223529" y="34215"/>
                  </a:lnTo>
                  <a:lnTo>
                    <a:pt x="219384" y="32636"/>
                  </a:lnTo>
                  <a:lnTo>
                    <a:pt x="215191" y="31008"/>
                  </a:lnTo>
                  <a:close/>
                  <a:moveTo>
                    <a:pt x="505115" y="137879"/>
                  </a:moveTo>
                  <a:lnTo>
                    <a:pt x="513453" y="137879"/>
                  </a:lnTo>
                  <a:lnTo>
                    <a:pt x="517646" y="141086"/>
                  </a:lnTo>
                  <a:lnTo>
                    <a:pt x="519719" y="150954"/>
                  </a:lnTo>
                  <a:lnTo>
                    <a:pt x="530179" y="154211"/>
                  </a:lnTo>
                  <a:lnTo>
                    <a:pt x="540590" y="162303"/>
                  </a:lnTo>
                  <a:lnTo>
                    <a:pt x="548928" y="168717"/>
                  </a:lnTo>
                  <a:lnTo>
                    <a:pt x="546856" y="176858"/>
                  </a:lnTo>
                  <a:lnTo>
                    <a:pt x="542662" y="178486"/>
                  </a:lnTo>
                  <a:lnTo>
                    <a:pt x="540590" y="181694"/>
                  </a:lnTo>
                  <a:lnTo>
                    <a:pt x="521841" y="181694"/>
                  </a:lnTo>
                  <a:lnTo>
                    <a:pt x="517695" y="175230"/>
                  </a:lnTo>
                  <a:lnTo>
                    <a:pt x="519769" y="171973"/>
                  </a:lnTo>
                  <a:lnTo>
                    <a:pt x="513502" y="162105"/>
                  </a:lnTo>
                  <a:lnTo>
                    <a:pt x="505164" y="158849"/>
                  </a:lnTo>
                  <a:lnTo>
                    <a:pt x="505164" y="148981"/>
                  </a:lnTo>
                  <a:lnTo>
                    <a:pt x="503091" y="144047"/>
                  </a:lnTo>
                  <a:close/>
                  <a:moveTo>
                    <a:pt x="496775" y="123077"/>
                  </a:moveTo>
                  <a:lnTo>
                    <a:pt x="496775" y="126284"/>
                  </a:lnTo>
                  <a:lnTo>
                    <a:pt x="498898" y="129541"/>
                  </a:lnTo>
                  <a:lnTo>
                    <a:pt x="498898" y="136004"/>
                  </a:lnTo>
                  <a:lnTo>
                    <a:pt x="503042" y="131070"/>
                  </a:lnTo>
                  <a:lnTo>
                    <a:pt x="503042" y="124607"/>
                  </a:lnTo>
                  <a:close/>
                  <a:moveTo>
                    <a:pt x="486365" y="110101"/>
                  </a:moveTo>
                  <a:lnTo>
                    <a:pt x="490509" y="108522"/>
                  </a:lnTo>
                  <a:lnTo>
                    <a:pt x="492631" y="103588"/>
                  </a:lnTo>
                  <a:lnTo>
                    <a:pt x="496775" y="108522"/>
                  </a:lnTo>
                  <a:lnTo>
                    <a:pt x="492631" y="113456"/>
                  </a:lnTo>
                  <a:lnTo>
                    <a:pt x="486365" y="111828"/>
                  </a:lnTo>
                  <a:close/>
                  <a:moveTo>
                    <a:pt x="365333" y="45317"/>
                  </a:moveTo>
                  <a:lnTo>
                    <a:pt x="380135" y="53409"/>
                  </a:lnTo>
                  <a:lnTo>
                    <a:pt x="392618" y="56665"/>
                  </a:lnTo>
                  <a:lnTo>
                    <a:pt x="405151" y="66533"/>
                  </a:lnTo>
                  <a:lnTo>
                    <a:pt x="415561" y="68161"/>
                  </a:lnTo>
                  <a:lnTo>
                    <a:pt x="421877" y="73096"/>
                  </a:lnTo>
                  <a:lnTo>
                    <a:pt x="430166" y="76352"/>
                  </a:lnTo>
                  <a:lnTo>
                    <a:pt x="436432" y="86220"/>
                  </a:lnTo>
                  <a:lnTo>
                    <a:pt x="440626" y="86220"/>
                  </a:lnTo>
                  <a:lnTo>
                    <a:pt x="442698" y="99147"/>
                  </a:lnTo>
                  <a:lnTo>
                    <a:pt x="446843" y="100775"/>
                  </a:lnTo>
                  <a:lnTo>
                    <a:pt x="446843" y="105709"/>
                  </a:lnTo>
                  <a:lnTo>
                    <a:pt x="444770" y="112173"/>
                  </a:lnTo>
                  <a:lnTo>
                    <a:pt x="442698" y="120265"/>
                  </a:lnTo>
                  <a:lnTo>
                    <a:pt x="434360" y="112173"/>
                  </a:lnTo>
                  <a:lnTo>
                    <a:pt x="432288" y="105709"/>
                  </a:lnTo>
                  <a:lnTo>
                    <a:pt x="434360" y="100775"/>
                  </a:lnTo>
                  <a:lnTo>
                    <a:pt x="430166" y="84592"/>
                  </a:lnTo>
                  <a:lnTo>
                    <a:pt x="417683" y="73243"/>
                  </a:lnTo>
                  <a:lnTo>
                    <a:pt x="409295" y="73243"/>
                  </a:lnTo>
                  <a:lnTo>
                    <a:pt x="394493" y="66780"/>
                  </a:lnTo>
                  <a:lnTo>
                    <a:pt x="369429" y="53803"/>
                  </a:lnTo>
                  <a:lnTo>
                    <a:pt x="365234" y="50547"/>
                  </a:lnTo>
                  <a:close/>
                  <a:moveTo>
                    <a:pt x="315301" y="-27"/>
                  </a:moveTo>
                  <a:lnTo>
                    <a:pt x="321568" y="-27"/>
                  </a:lnTo>
                  <a:lnTo>
                    <a:pt x="325713" y="4907"/>
                  </a:lnTo>
                  <a:lnTo>
                    <a:pt x="325713" y="8163"/>
                  </a:lnTo>
                  <a:lnTo>
                    <a:pt x="315301" y="3229"/>
                  </a:lnTo>
                  <a:close/>
                  <a:moveTo>
                    <a:pt x="336173" y="45317"/>
                  </a:moveTo>
                  <a:lnTo>
                    <a:pt x="344512" y="42061"/>
                  </a:lnTo>
                  <a:lnTo>
                    <a:pt x="348655" y="45317"/>
                  </a:lnTo>
                  <a:lnTo>
                    <a:pt x="348655" y="50251"/>
                  </a:lnTo>
                  <a:lnTo>
                    <a:pt x="342438" y="53507"/>
                  </a:lnTo>
                  <a:lnTo>
                    <a:pt x="336173" y="50251"/>
                  </a:lnTo>
                  <a:close/>
                  <a:moveTo>
                    <a:pt x="331979" y="121449"/>
                  </a:moveTo>
                  <a:lnTo>
                    <a:pt x="340367" y="126383"/>
                  </a:lnTo>
                  <a:lnTo>
                    <a:pt x="344512" y="123176"/>
                  </a:lnTo>
                  <a:lnTo>
                    <a:pt x="338245" y="116712"/>
                  </a:lnTo>
                  <a:lnTo>
                    <a:pt x="334100" y="118291"/>
                  </a:lnTo>
                  <a:close/>
                  <a:moveTo>
                    <a:pt x="273609" y="136004"/>
                  </a:moveTo>
                  <a:lnTo>
                    <a:pt x="269416" y="144096"/>
                  </a:lnTo>
                  <a:lnTo>
                    <a:pt x="275682" y="150609"/>
                  </a:lnTo>
                  <a:lnTo>
                    <a:pt x="284020" y="150609"/>
                  </a:lnTo>
                  <a:lnTo>
                    <a:pt x="294430" y="158701"/>
                  </a:lnTo>
                  <a:lnTo>
                    <a:pt x="296553" y="163635"/>
                  </a:lnTo>
                  <a:lnTo>
                    <a:pt x="300697" y="160379"/>
                  </a:lnTo>
                  <a:lnTo>
                    <a:pt x="313229" y="160379"/>
                  </a:lnTo>
                  <a:lnTo>
                    <a:pt x="317374" y="165313"/>
                  </a:lnTo>
                  <a:lnTo>
                    <a:pt x="325713" y="166941"/>
                  </a:lnTo>
                  <a:lnTo>
                    <a:pt x="331979" y="166941"/>
                  </a:lnTo>
                  <a:lnTo>
                    <a:pt x="344512" y="163684"/>
                  </a:lnTo>
                  <a:lnTo>
                    <a:pt x="350778" y="165313"/>
                  </a:lnTo>
                  <a:lnTo>
                    <a:pt x="357044" y="163684"/>
                  </a:lnTo>
                  <a:lnTo>
                    <a:pt x="365333" y="166941"/>
                  </a:lnTo>
                  <a:lnTo>
                    <a:pt x="369526" y="163684"/>
                  </a:lnTo>
                  <a:lnTo>
                    <a:pt x="369526" y="158750"/>
                  </a:lnTo>
                  <a:lnTo>
                    <a:pt x="377915" y="158750"/>
                  </a:lnTo>
                  <a:lnTo>
                    <a:pt x="390398" y="143948"/>
                  </a:lnTo>
                  <a:lnTo>
                    <a:pt x="390398" y="140692"/>
                  </a:lnTo>
                  <a:lnTo>
                    <a:pt x="396663" y="139113"/>
                  </a:lnTo>
                  <a:lnTo>
                    <a:pt x="400858" y="142369"/>
                  </a:lnTo>
                  <a:lnTo>
                    <a:pt x="409147" y="140692"/>
                  </a:lnTo>
                  <a:lnTo>
                    <a:pt x="413341" y="134228"/>
                  </a:lnTo>
                  <a:lnTo>
                    <a:pt x="407075" y="127765"/>
                  </a:lnTo>
                  <a:lnTo>
                    <a:pt x="405003" y="124557"/>
                  </a:lnTo>
                  <a:lnTo>
                    <a:pt x="411269" y="121301"/>
                  </a:lnTo>
                  <a:lnTo>
                    <a:pt x="415413" y="122929"/>
                  </a:lnTo>
                  <a:lnTo>
                    <a:pt x="423752" y="116466"/>
                  </a:lnTo>
                  <a:lnTo>
                    <a:pt x="423752" y="101663"/>
                  </a:lnTo>
                  <a:lnTo>
                    <a:pt x="415413" y="95151"/>
                  </a:lnTo>
                  <a:lnTo>
                    <a:pt x="411269" y="98407"/>
                  </a:lnTo>
                  <a:lnTo>
                    <a:pt x="407075" y="101663"/>
                  </a:lnTo>
                  <a:lnTo>
                    <a:pt x="402880" y="98407"/>
                  </a:lnTo>
                  <a:lnTo>
                    <a:pt x="394592" y="98407"/>
                  </a:lnTo>
                  <a:lnTo>
                    <a:pt x="390398" y="103341"/>
                  </a:lnTo>
                  <a:lnTo>
                    <a:pt x="394592" y="116367"/>
                  </a:lnTo>
                  <a:lnTo>
                    <a:pt x="396663" y="117946"/>
                  </a:lnTo>
                  <a:lnTo>
                    <a:pt x="392470" y="121202"/>
                  </a:lnTo>
                  <a:lnTo>
                    <a:pt x="386204" y="121202"/>
                  </a:lnTo>
                  <a:lnTo>
                    <a:pt x="371649" y="131070"/>
                  </a:lnTo>
                  <a:lnTo>
                    <a:pt x="369526" y="137534"/>
                  </a:lnTo>
                  <a:lnTo>
                    <a:pt x="365333" y="140741"/>
                  </a:lnTo>
                  <a:lnTo>
                    <a:pt x="361188" y="139162"/>
                  </a:lnTo>
                  <a:lnTo>
                    <a:pt x="357044" y="142419"/>
                  </a:lnTo>
                  <a:lnTo>
                    <a:pt x="352850" y="137485"/>
                  </a:lnTo>
                  <a:lnTo>
                    <a:pt x="346583" y="137485"/>
                  </a:lnTo>
                  <a:lnTo>
                    <a:pt x="342438" y="143948"/>
                  </a:lnTo>
                  <a:lnTo>
                    <a:pt x="338245" y="142369"/>
                  </a:lnTo>
                  <a:lnTo>
                    <a:pt x="336173" y="134228"/>
                  </a:lnTo>
                  <a:lnTo>
                    <a:pt x="336173" y="129294"/>
                  </a:lnTo>
                  <a:lnTo>
                    <a:pt x="331979" y="127666"/>
                  </a:lnTo>
                  <a:lnTo>
                    <a:pt x="327834" y="130922"/>
                  </a:lnTo>
                  <a:lnTo>
                    <a:pt x="329907" y="134130"/>
                  </a:lnTo>
                  <a:lnTo>
                    <a:pt x="323690" y="137386"/>
                  </a:lnTo>
                  <a:lnTo>
                    <a:pt x="315301" y="137386"/>
                  </a:lnTo>
                  <a:lnTo>
                    <a:pt x="306963" y="140593"/>
                  </a:lnTo>
                  <a:lnTo>
                    <a:pt x="300697" y="139014"/>
                  </a:lnTo>
                  <a:lnTo>
                    <a:pt x="296553" y="137386"/>
                  </a:lnTo>
                  <a:lnTo>
                    <a:pt x="290287" y="137386"/>
                  </a:lnTo>
                  <a:lnTo>
                    <a:pt x="281947" y="139014"/>
                  </a:lnTo>
                  <a:close/>
                  <a:moveTo>
                    <a:pt x="248545" y="142517"/>
                  </a:moveTo>
                  <a:lnTo>
                    <a:pt x="252738" y="137583"/>
                  </a:lnTo>
                  <a:lnTo>
                    <a:pt x="259004" y="142517"/>
                  </a:lnTo>
                  <a:lnTo>
                    <a:pt x="261076" y="147451"/>
                  </a:lnTo>
                  <a:lnTo>
                    <a:pt x="259004" y="150708"/>
                  </a:lnTo>
                  <a:lnTo>
                    <a:pt x="252738" y="147451"/>
                  </a:lnTo>
                  <a:close/>
                  <a:moveTo>
                    <a:pt x="227673" y="129541"/>
                  </a:moveTo>
                  <a:lnTo>
                    <a:pt x="225650" y="134475"/>
                  </a:lnTo>
                  <a:lnTo>
                    <a:pt x="227673" y="139409"/>
                  </a:lnTo>
                  <a:lnTo>
                    <a:pt x="231867" y="137781"/>
                  </a:lnTo>
                  <a:lnTo>
                    <a:pt x="231867" y="132847"/>
                  </a:lnTo>
                  <a:close/>
                  <a:moveTo>
                    <a:pt x="192247" y="110101"/>
                  </a:moveTo>
                  <a:lnTo>
                    <a:pt x="183909" y="113357"/>
                  </a:lnTo>
                  <a:lnTo>
                    <a:pt x="185980" y="116614"/>
                  </a:lnTo>
                  <a:lnTo>
                    <a:pt x="192247" y="113357"/>
                  </a:lnTo>
                  <a:close/>
                  <a:moveTo>
                    <a:pt x="421729" y="252645"/>
                  </a:moveTo>
                  <a:lnTo>
                    <a:pt x="419607" y="257579"/>
                  </a:lnTo>
                  <a:lnTo>
                    <a:pt x="421729" y="260835"/>
                  </a:lnTo>
                  <a:lnTo>
                    <a:pt x="423752" y="259158"/>
                  </a:lnTo>
                  <a:lnTo>
                    <a:pt x="432140" y="264092"/>
                  </a:lnTo>
                  <a:lnTo>
                    <a:pt x="432140" y="260835"/>
                  </a:lnTo>
                  <a:close/>
                  <a:moveTo>
                    <a:pt x="367454" y="233205"/>
                  </a:moveTo>
                  <a:lnTo>
                    <a:pt x="365333" y="236412"/>
                  </a:lnTo>
                  <a:lnTo>
                    <a:pt x="369526" y="239669"/>
                  </a:lnTo>
                  <a:lnTo>
                    <a:pt x="369526" y="239669"/>
                  </a:lnTo>
                  <a:lnTo>
                    <a:pt x="371649" y="244603"/>
                  </a:lnTo>
                  <a:lnTo>
                    <a:pt x="369526" y="246231"/>
                  </a:lnTo>
                  <a:lnTo>
                    <a:pt x="371649" y="246231"/>
                  </a:lnTo>
                  <a:lnTo>
                    <a:pt x="373721" y="241297"/>
                  </a:lnTo>
                  <a:lnTo>
                    <a:pt x="371649" y="233205"/>
                  </a:lnTo>
                  <a:close/>
                  <a:moveTo>
                    <a:pt x="352652" y="278549"/>
                  </a:moveTo>
                  <a:lnTo>
                    <a:pt x="356847" y="280177"/>
                  </a:lnTo>
                  <a:lnTo>
                    <a:pt x="360990" y="281756"/>
                  </a:lnTo>
                  <a:lnTo>
                    <a:pt x="360990" y="283384"/>
                  </a:lnTo>
                  <a:lnTo>
                    <a:pt x="363064" y="285012"/>
                  </a:lnTo>
                  <a:lnTo>
                    <a:pt x="365136" y="286640"/>
                  </a:lnTo>
                  <a:lnTo>
                    <a:pt x="369330" y="283384"/>
                  </a:lnTo>
                  <a:lnTo>
                    <a:pt x="373523" y="283384"/>
                  </a:lnTo>
                  <a:lnTo>
                    <a:pt x="373523" y="286640"/>
                  </a:lnTo>
                  <a:lnTo>
                    <a:pt x="369330" y="288269"/>
                  </a:lnTo>
                  <a:lnTo>
                    <a:pt x="369330" y="291476"/>
                  </a:lnTo>
                  <a:lnTo>
                    <a:pt x="360990" y="291476"/>
                  </a:lnTo>
                  <a:lnTo>
                    <a:pt x="360990" y="286542"/>
                  </a:lnTo>
                  <a:lnTo>
                    <a:pt x="358919" y="286542"/>
                  </a:lnTo>
                  <a:lnTo>
                    <a:pt x="354724" y="281608"/>
                  </a:lnTo>
                  <a:lnTo>
                    <a:pt x="352652" y="280029"/>
                  </a:lnTo>
                  <a:close/>
                  <a:moveTo>
                    <a:pt x="346386" y="268681"/>
                  </a:moveTo>
                  <a:lnTo>
                    <a:pt x="348459" y="273615"/>
                  </a:lnTo>
                  <a:lnTo>
                    <a:pt x="350580" y="275243"/>
                  </a:lnTo>
                  <a:lnTo>
                    <a:pt x="354724" y="275243"/>
                  </a:lnTo>
                  <a:lnTo>
                    <a:pt x="356847" y="276871"/>
                  </a:lnTo>
                  <a:lnTo>
                    <a:pt x="358919" y="275243"/>
                  </a:lnTo>
                  <a:lnTo>
                    <a:pt x="356847" y="272036"/>
                  </a:lnTo>
                  <a:lnTo>
                    <a:pt x="354724" y="272036"/>
                  </a:lnTo>
                  <a:lnTo>
                    <a:pt x="356847" y="270358"/>
                  </a:lnTo>
                  <a:lnTo>
                    <a:pt x="354724" y="268779"/>
                  </a:lnTo>
                  <a:lnTo>
                    <a:pt x="346386" y="268779"/>
                  </a:lnTo>
                  <a:close/>
                  <a:moveTo>
                    <a:pt x="329709" y="263747"/>
                  </a:moveTo>
                  <a:lnTo>
                    <a:pt x="333903" y="268681"/>
                  </a:lnTo>
                  <a:lnTo>
                    <a:pt x="335976" y="268681"/>
                  </a:lnTo>
                  <a:lnTo>
                    <a:pt x="340169" y="271937"/>
                  </a:lnTo>
                  <a:lnTo>
                    <a:pt x="342242" y="271937"/>
                  </a:lnTo>
                  <a:lnTo>
                    <a:pt x="342242" y="268681"/>
                  </a:lnTo>
                  <a:lnTo>
                    <a:pt x="338048" y="263747"/>
                  </a:lnTo>
                  <a:lnTo>
                    <a:pt x="333903" y="260490"/>
                  </a:lnTo>
                  <a:close/>
                  <a:moveTo>
                    <a:pt x="150307" y="211890"/>
                  </a:moveTo>
                  <a:lnTo>
                    <a:pt x="148236" y="213469"/>
                  </a:lnTo>
                  <a:lnTo>
                    <a:pt x="150307" y="216725"/>
                  </a:lnTo>
                  <a:close/>
                  <a:moveTo>
                    <a:pt x="135505" y="213469"/>
                  </a:moveTo>
                  <a:lnTo>
                    <a:pt x="133433" y="210262"/>
                  </a:lnTo>
                  <a:lnTo>
                    <a:pt x="137627" y="210262"/>
                  </a:lnTo>
                  <a:close/>
                  <a:moveTo>
                    <a:pt x="125095" y="210262"/>
                  </a:moveTo>
                  <a:lnTo>
                    <a:pt x="123022" y="213469"/>
                  </a:lnTo>
                  <a:lnTo>
                    <a:pt x="127216" y="215146"/>
                  </a:lnTo>
                  <a:lnTo>
                    <a:pt x="127216" y="211890"/>
                  </a:lnTo>
                  <a:close/>
                  <a:moveTo>
                    <a:pt x="133433" y="213469"/>
                  </a:moveTo>
                  <a:lnTo>
                    <a:pt x="127216" y="208535"/>
                  </a:lnTo>
                  <a:lnTo>
                    <a:pt x="129239" y="205278"/>
                  </a:lnTo>
                  <a:lnTo>
                    <a:pt x="133433" y="205278"/>
                  </a:lnTo>
                  <a:lnTo>
                    <a:pt x="131362" y="210212"/>
                  </a:lnTo>
                  <a:close/>
                  <a:moveTo>
                    <a:pt x="106346" y="211890"/>
                  </a:moveTo>
                  <a:lnTo>
                    <a:pt x="110489" y="216824"/>
                  </a:lnTo>
                  <a:lnTo>
                    <a:pt x="112563" y="218452"/>
                  </a:lnTo>
                  <a:lnTo>
                    <a:pt x="110489" y="215245"/>
                  </a:lnTo>
                  <a:close/>
                  <a:moveTo>
                    <a:pt x="93813" y="237794"/>
                  </a:moveTo>
                  <a:lnTo>
                    <a:pt x="97958" y="232860"/>
                  </a:lnTo>
                  <a:lnTo>
                    <a:pt x="104224" y="234439"/>
                  </a:lnTo>
                  <a:lnTo>
                    <a:pt x="102151" y="236067"/>
                  </a:lnTo>
                  <a:cubicBezTo>
                    <a:pt x="102151" y="236067"/>
                    <a:pt x="94356" y="236659"/>
                    <a:pt x="94356" y="238287"/>
                  </a:cubicBezTo>
                  <a:close/>
                  <a:moveTo>
                    <a:pt x="93813" y="241050"/>
                  </a:moveTo>
                  <a:lnTo>
                    <a:pt x="95885" y="242629"/>
                  </a:lnTo>
                  <a:lnTo>
                    <a:pt x="95885" y="239422"/>
                  </a:lnTo>
                  <a:close/>
                  <a:moveTo>
                    <a:pt x="85475" y="237794"/>
                  </a:moveTo>
                  <a:lnTo>
                    <a:pt x="89619" y="239422"/>
                  </a:lnTo>
                  <a:lnTo>
                    <a:pt x="91692" y="237794"/>
                  </a:lnTo>
                  <a:close/>
                  <a:moveTo>
                    <a:pt x="83402" y="239422"/>
                  </a:moveTo>
                  <a:lnTo>
                    <a:pt x="93813" y="244356"/>
                  </a:lnTo>
                  <a:lnTo>
                    <a:pt x="97958" y="249290"/>
                  </a:lnTo>
                  <a:close/>
                  <a:moveTo>
                    <a:pt x="93813" y="224620"/>
                  </a:moveTo>
                  <a:lnTo>
                    <a:pt x="100079" y="226248"/>
                  </a:lnTo>
                  <a:lnTo>
                    <a:pt x="97958" y="227876"/>
                  </a:lnTo>
                  <a:lnTo>
                    <a:pt x="93813" y="226248"/>
                  </a:lnTo>
                  <a:close/>
                  <a:moveTo>
                    <a:pt x="102151" y="223041"/>
                  </a:moveTo>
                  <a:lnTo>
                    <a:pt x="100079" y="219784"/>
                  </a:lnTo>
                  <a:lnTo>
                    <a:pt x="100079" y="218156"/>
                  </a:lnTo>
                  <a:lnTo>
                    <a:pt x="104224" y="214949"/>
                  </a:lnTo>
                  <a:lnTo>
                    <a:pt x="106346" y="221413"/>
                  </a:lnTo>
                  <a:lnTo>
                    <a:pt x="104224" y="223041"/>
                  </a:lnTo>
                  <a:close/>
                  <a:moveTo>
                    <a:pt x="6184" y="48129"/>
                  </a:moveTo>
                  <a:lnTo>
                    <a:pt x="2039" y="164721"/>
                  </a:lnTo>
                  <a:lnTo>
                    <a:pt x="-82" y="174589"/>
                  </a:lnTo>
                  <a:lnTo>
                    <a:pt x="-82" y="179523"/>
                  </a:lnTo>
                  <a:lnTo>
                    <a:pt x="2039" y="181151"/>
                  </a:lnTo>
                  <a:lnTo>
                    <a:pt x="-82" y="257283"/>
                  </a:lnTo>
                  <a:lnTo>
                    <a:pt x="10329" y="257283"/>
                  </a:lnTo>
                  <a:lnTo>
                    <a:pt x="14523" y="258862"/>
                  </a:lnTo>
                  <a:lnTo>
                    <a:pt x="20789" y="257283"/>
                  </a:lnTo>
                  <a:lnTo>
                    <a:pt x="41660" y="258862"/>
                  </a:lnTo>
                  <a:lnTo>
                    <a:pt x="45854" y="257283"/>
                  </a:lnTo>
                  <a:lnTo>
                    <a:pt x="47926" y="262217"/>
                  </a:lnTo>
                  <a:lnTo>
                    <a:pt x="52071" y="265474"/>
                  </a:lnTo>
                  <a:lnTo>
                    <a:pt x="58338" y="267102"/>
                  </a:lnTo>
                  <a:lnTo>
                    <a:pt x="64604" y="262168"/>
                  </a:lnTo>
                  <a:lnTo>
                    <a:pt x="79406" y="258911"/>
                  </a:lnTo>
                  <a:lnTo>
                    <a:pt x="79406" y="257332"/>
                  </a:lnTo>
                  <a:lnTo>
                    <a:pt x="83599" y="258911"/>
                  </a:lnTo>
                  <a:lnTo>
                    <a:pt x="85672" y="255704"/>
                  </a:lnTo>
                  <a:lnTo>
                    <a:pt x="85672" y="247612"/>
                  </a:lnTo>
                  <a:lnTo>
                    <a:pt x="75212" y="241149"/>
                  </a:lnTo>
                  <a:lnTo>
                    <a:pt x="64801" y="236215"/>
                  </a:lnTo>
                  <a:lnTo>
                    <a:pt x="56462" y="236215"/>
                  </a:lnTo>
                  <a:lnTo>
                    <a:pt x="52269" y="233007"/>
                  </a:lnTo>
                  <a:lnTo>
                    <a:pt x="48124" y="231379"/>
                  </a:lnTo>
                  <a:lnTo>
                    <a:pt x="46052" y="231379"/>
                  </a:lnTo>
                  <a:lnTo>
                    <a:pt x="41857" y="228123"/>
                  </a:lnTo>
                  <a:lnTo>
                    <a:pt x="39786" y="221659"/>
                  </a:lnTo>
                  <a:lnTo>
                    <a:pt x="33519" y="213518"/>
                  </a:lnTo>
                  <a:lnTo>
                    <a:pt x="27253" y="211939"/>
                  </a:lnTo>
                  <a:lnTo>
                    <a:pt x="25181" y="207005"/>
                  </a:lnTo>
                  <a:lnTo>
                    <a:pt x="20987" y="203749"/>
                  </a:lnTo>
                  <a:lnTo>
                    <a:pt x="27253" y="207005"/>
                  </a:lnTo>
                  <a:lnTo>
                    <a:pt x="27253" y="210212"/>
                  </a:lnTo>
                  <a:lnTo>
                    <a:pt x="33519" y="211841"/>
                  </a:lnTo>
                  <a:lnTo>
                    <a:pt x="39786" y="216775"/>
                  </a:lnTo>
                  <a:lnTo>
                    <a:pt x="41857" y="221709"/>
                  </a:lnTo>
                  <a:lnTo>
                    <a:pt x="41857" y="228172"/>
                  </a:lnTo>
                  <a:lnTo>
                    <a:pt x="46052" y="228172"/>
                  </a:lnTo>
                  <a:lnTo>
                    <a:pt x="54341" y="229801"/>
                  </a:lnTo>
                  <a:lnTo>
                    <a:pt x="58535" y="234735"/>
                  </a:lnTo>
                  <a:lnTo>
                    <a:pt x="62728" y="233156"/>
                  </a:lnTo>
                  <a:lnTo>
                    <a:pt x="71067" y="234735"/>
                  </a:lnTo>
                  <a:lnTo>
                    <a:pt x="81478" y="231527"/>
                  </a:lnTo>
                  <a:lnTo>
                    <a:pt x="89816" y="231527"/>
                  </a:lnTo>
                  <a:lnTo>
                    <a:pt x="96082" y="229899"/>
                  </a:lnTo>
                  <a:lnTo>
                    <a:pt x="94011" y="228271"/>
                  </a:lnTo>
                  <a:lnTo>
                    <a:pt x="87744" y="225014"/>
                  </a:lnTo>
                  <a:lnTo>
                    <a:pt x="85672" y="220080"/>
                  </a:lnTo>
                  <a:lnTo>
                    <a:pt x="81478" y="221709"/>
                  </a:lnTo>
                  <a:lnTo>
                    <a:pt x="77333" y="216775"/>
                  </a:lnTo>
                  <a:lnTo>
                    <a:pt x="81478" y="220031"/>
                  </a:lnTo>
                  <a:lnTo>
                    <a:pt x="89816" y="218403"/>
                  </a:lnTo>
                  <a:lnTo>
                    <a:pt x="94011" y="223337"/>
                  </a:lnTo>
                  <a:lnTo>
                    <a:pt x="100277" y="224916"/>
                  </a:lnTo>
                  <a:lnTo>
                    <a:pt x="98154" y="221709"/>
                  </a:lnTo>
                  <a:lnTo>
                    <a:pt x="98154" y="216775"/>
                  </a:lnTo>
                  <a:lnTo>
                    <a:pt x="102349" y="215196"/>
                  </a:lnTo>
                  <a:lnTo>
                    <a:pt x="102349" y="207104"/>
                  </a:lnTo>
                  <a:lnTo>
                    <a:pt x="96082" y="202170"/>
                  </a:lnTo>
                  <a:lnTo>
                    <a:pt x="96082" y="200542"/>
                  </a:lnTo>
                  <a:lnTo>
                    <a:pt x="102349" y="202170"/>
                  </a:lnTo>
                  <a:lnTo>
                    <a:pt x="104421" y="207104"/>
                  </a:lnTo>
                  <a:lnTo>
                    <a:pt x="110687" y="212038"/>
                  </a:lnTo>
                  <a:lnTo>
                    <a:pt x="116953" y="213617"/>
                  </a:lnTo>
                  <a:lnTo>
                    <a:pt x="116953" y="207203"/>
                  </a:lnTo>
                  <a:lnTo>
                    <a:pt x="119026" y="213617"/>
                  </a:lnTo>
                  <a:lnTo>
                    <a:pt x="123220" y="212038"/>
                  </a:lnTo>
                  <a:lnTo>
                    <a:pt x="123220" y="209374"/>
                  </a:lnTo>
                  <a:lnTo>
                    <a:pt x="121148" y="206117"/>
                  </a:lnTo>
                  <a:lnTo>
                    <a:pt x="123220" y="199654"/>
                  </a:lnTo>
                  <a:lnTo>
                    <a:pt x="125292" y="202910"/>
                  </a:lnTo>
                  <a:lnTo>
                    <a:pt x="135703" y="204538"/>
                  </a:lnTo>
                  <a:lnTo>
                    <a:pt x="137824" y="209472"/>
                  </a:lnTo>
                  <a:lnTo>
                    <a:pt x="146164" y="209472"/>
                  </a:lnTo>
                  <a:lnTo>
                    <a:pt x="148236" y="211100"/>
                  </a:lnTo>
                  <a:lnTo>
                    <a:pt x="152381" y="207893"/>
                  </a:lnTo>
                  <a:lnTo>
                    <a:pt x="150307" y="212827"/>
                  </a:lnTo>
                  <a:lnTo>
                    <a:pt x="152381" y="216084"/>
                  </a:lnTo>
                  <a:lnTo>
                    <a:pt x="154502" y="217663"/>
                  </a:lnTo>
                  <a:lnTo>
                    <a:pt x="160768" y="220919"/>
                  </a:lnTo>
                  <a:lnTo>
                    <a:pt x="179518" y="224176"/>
                  </a:lnTo>
                  <a:lnTo>
                    <a:pt x="185783" y="227383"/>
                  </a:lnTo>
                  <a:lnTo>
                    <a:pt x="189928" y="233896"/>
                  </a:lnTo>
                  <a:lnTo>
                    <a:pt x="194122" y="241987"/>
                  </a:lnTo>
                  <a:lnTo>
                    <a:pt x="202461" y="253336"/>
                  </a:lnTo>
                  <a:lnTo>
                    <a:pt x="204582" y="256543"/>
                  </a:lnTo>
                  <a:lnTo>
                    <a:pt x="210799" y="258171"/>
                  </a:lnTo>
                  <a:lnTo>
                    <a:pt x="214993" y="263105"/>
                  </a:lnTo>
                  <a:lnTo>
                    <a:pt x="217065" y="266362"/>
                  </a:lnTo>
                  <a:lnTo>
                    <a:pt x="233743" y="281164"/>
                  </a:lnTo>
                  <a:lnTo>
                    <a:pt x="233743" y="286098"/>
                  </a:lnTo>
                  <a:lnTo>
                    <a:pt x="240008" y="291032"/>
                  </a:lnTo>
                  <a:lnTo>
                    <a:pt x="250419" y="294288"/>
                  </a:lnTo>
                  <a:lnTo>
                    <a:pt x="254614" y="292660"/>
                  </a:lnTo>
                  <a:lnTo>
                    <a:pt x="258807" y="292660"/>
                  </a:lnTo>
                  <a:lnTo>
                    <a:pt x="265024" y="294288"/>
                  </a:lnTo>
                  <a:lnTo>
                    <a:pt x="275484" y="292660"/>
                  </a:lnTo>
                  <a:lnTo>
                    <a:pt x="283823" y="295916"/>
                  </a:lnTo>
                  <a:lnTo>
                    <a:pt x="290089" y="294288"/>
                  </a:lnTo>
                  <a:lnTo>
                    <a:pt x="300499" y="295916"/>
                  </a:lnTo>
                  <a:lnTo>
                    <a:pt x="304644" y="299173"/>
                  </a:lnTo>
                  <a:lnTo>
                    <a:pt x="313032" y="297545"/>
                  </a:lnTo>
                  <a:lnTo>
                    <a:pt x="317177" y="302479"/>
                  </a:lnTo>
                  <a:lnTo>
                    <a:pt x="325515" y="302479"/>
                  </a:lnTo>
                  <a:lnTo>
                    <a:pt x="325515" y="303120"/>
                  </a:lnTo>
                  <a:lnTo>
                    <a:pt x="321371" y="304699"/>
                  </a:lnTo>
                  <a:lnTo>
                    <a:pt x="329709" y="306377"/>
                  </a:lnTo>
                  <a:lnTo>
                    <a:pt x="338048" y="311311"/>
                  </a:lnTo>
                  <a:lnTo>
                    <a:pt x="344314" y="309732"/>
                  </a:lnTo>
                  <a:lnTo>
                    <a:pt x="346386" y="304798"/>
                  </a:lnTo>
                  <a:lnTo>
                    <a:pt x="338048" y="301591"/>
                  </a:lnTo>
                  <a:lnTo>
                    <a:pt x="335976" y="301591"/>
                  </a:lnTo>
                  <a:lnTo>
                    <a:pt x="335976" y="298186"/>
                  </a:lnTo>
                  <a:lnTo>
                    <a:pt x="342242" y="296558"/>
                  </a:lnTo>
                  <a:lnTo>
                    <a:pt x="348459" y="298186"/>
                  </a:lnTo>
                  <a:lnTo>
                    <a:pt x="354724" y="294930"/>
                  </a:lnTo>
                  <a:lnTo>
                    <a:pt x="340169" y="291673"/>
                  </a:lnTo>
                  <a:lnTo>
                    <a:pt x="325367" y="290045"/>
                  </a:lnTo>
                  <a:lnTo>
                    <a:pt x="314957" y="286838"/>
                  </a:lnTo>
                  <a:lnTo>
                    <a:pt x="312884" y="281904"/>
                  </a:lnTo>
                  <a:lnTo>
                    <a:pt x="321223" y="280325"/>
                  </a:lnTo>
                  <a:lnTo>
                    <a:pt x="325367" y="280325"/>
                  </a:lnTo>
                  <a:lnTo>
                    <a:pt x="329561" y="277068"/>
                  </a:lnTo>
                  <a:lnTo>
                    <a:pt x="323344" y="275440"/>
                  </a:lnTo>
                  <a:lnTo>
                    <a:pt x="310762" y="275440"/>
                  </a:lnTo>
                  <a:lnTo>
                    <a:pt x="300352" y="273812"/>
                  </a:lnTo>
                  <a:lnTo>
                    <a:pt x="296207" y="270556"/>
                  </a:lnTo>
                  <a:lnTo>
                    <a:pt x="296207" y="265622"/>
                  </a:lnTo>
                  <a:lnTo>
                    <a:pt x="298279" y="260688"/>
                  </a:lnTo>
                  <a:lnTo>
                    <a:pt x="300352" y="257431"/>
                  </a:lnTo>
                  <a:lnTo>
                    <a:pt x="298279" y="254175"/>
                  </a:lnTo>
                  <a:lnTo>
                    <a:pt x="292013" y="254175"/>
                  </a:lnTo>
                  <a:lnTo>
                    <a:pt x="289941" y="255803"/>
                  </a:lnTo>
                  <a:lnTo>
                    <a:pt x="283675" y="254175"/>
                  </a:lnTo>
                  <a:lnTo>
                    <a:pt x="280073" y="254175"/>
                  </a:lnTo>
                  <a:lnTo>
                    <a:pt x="273806" y="249241"/>
                  </a:lnTo>
                  <a:lnTo>
                    <a:pt x="273806" y="239373"/>
                  </a:lnTo>
                  <a:lnTo>
                    <a:pt x="267491" y="237744"/>
                  </a:lnTo>
                  <a:lnTo>
                    <a:pt x="261274" y="222942"/>
                  </a:lnTo>
                  <a:lnTo>
                    <a:pt x="257081" y="222942"/>
                  </a:lnTo>
                  <a:lnTo>
                    <a:pt x="255008" y="218008"/>
                  </a:lnTo>
                  <a:lnTo>
                    <a:pt x="248741" y="218008"/>
                  </a:lnTo>
                  <a:lnTo>
                    <a:pt x="242524" y="214801"/>
                  </a:lnTo>
                  <a:lnTo>
                    <a:pt x="238331" y="208288"/>
                  </a:lnTo>
                  <a:lnTo>
                    <a:pt x="232065" y="201824"/>
                  </a:lnTo>
                  <a:lnTo>
                    <a:pt x="229993" y="193733"/>
                  </a:lnTo>
                  <a:lnTo>
                    <a:pt x="223727" y="190476"/>
                  </a:lnTo>
                  <a:lnTo>
                    <a:pt x="219581" y="184013"/>
                  </a:lnTo>
                  <a:lnTo>
                    <a:pt x="221653" y="182385"/>
                  </a:lnTo>
                  <a:lnTo>
                    <a:pt x="236455" y="182385"/>
                  </a:lnTo>
                  <a:lnTo>
                    <a:pt x="248939" y="177450"/>
                  </a:lnTo>
                  <a:lnTo>
                    <a:pt x="253133" y="170938"/>
                  </a:lnTo>
                  <a:lnTo>
                    <a:pt x="251012" y="164474"/>
                  </a:lnTo>
                  <a:lnTo>
                    <a:pt x="240601" y="156382"/>
                  </a:lnTo>
                  <a:lnTo>
                    <a:pt x="234334" y="154754"/>
                  </a:lnTo>
                  <a:lnTo>
                    <a:pt x="230189" y="156382"/>
                  </a:lnTo>
                  <a:lnTo>
                    <a:pt x="221851" y="153175"/>
                  </a:lnTo>
                  <a:lnTo>
                    <a:pt x="209318" y="148241"/>
                  </a:lnTo>
                  <a:lnTo>
                    <a:pt x="203052" y="141827"/>
                  </a:lnTo>
                  <a:lnTo>
                    <a:pt x="196787" y="143406"/>
                  </a:lnTo>
                  <a:lnTo>
                    <a:pt x="178037" y="136942"/>
                  </a:lnTo>
                  <a:lnTo>
                    <a:pt x="175964" y="133685"/>
                  </a:lnTo>
                  <a:lnTo>
                    <a:pt x="182231" y="125594"/>
                  </a:lnTo>
                  <a:lnTo>
                    <a:pt x="182231" y="120660"/>
                  </a:lnTo>
                  <a:lnTo>
                    <a:pt x="178037" y="115726"/>
                  </a:lnTo>
                  <a:lnTo>
                    <a:pt x="163235" y="104377"/>
                  </a:lnTo>
                  <a:lnTo>
                    <a:pt x="161162" y="104377"/>
                  </a:lnTo>
                  <a:lnTo>
                    <a:pt x="156969" y="105956"/>
                  </a:lnTo>
                  <a:lnTo>
                    <a:pt x="154896" y="101022"/>
                  </a:lnTo>
                  <a:lnTo>
                    <a:pt x="146558" y="96088"/>
                  </a:lnTo>
                  <a:lnTo>
                    <a:pt x="144486" y="92832"/>
                  </a:lnTo>
                  <a:lnTo>
                    <a:pt x="138219" y="91203"/>
                  </a:lnTo>
                  <a:lnTo>
                    <a:pt x="134025" y="86269"/>
                  </a:lnTo>
                  <a:lnTo>
                    <a:pt x="129832" y="87898"/>
                  </a:lnTo>
                  <a:lnTo>
                    <a:pt x="123615" y="84690"/>
                  </a:lnTo>
                  <a:lnTo>
                    <a:pt x="115227" y="83062"/>
                  </a:lnTo>
                  <a:lnTo>
                    <a:pt x="108961" y="78128"/>
                  </a:lnTo>
                  <a:lnTo>
                    <a:pt x="100671" y="76549"/>
                  </a:lnTo>
                  <a:lnTo>
                    <a:pt x="88139" y="70036"/>
                  </a:lnTo>
                  <a:lnTo>
                    <a:pt x="67317" y="68408"/>
                  </a:lnTo>
                  <a:lnTo>
                    <a:pt x="61002" y="65201"/>
                  </a:lnTo>
                  <a:lnTo>
                    <a:pt x="56857" y="61945"/>
                  </a:lnTo>
                  <a:lnTo>
                    <a:pt x="52663" y="61945"/>
                  </a:lnTo>
                  <a:lnTo>
                    <a:pt x="50591" y="63573"/>
                  </a:lnTo>
                  <a:lnTo>
                    <a:pt x="35789" y="57060"/>
                  </a:lnTo>
                  <a:lnTo>
                    <a:pt x="33717" y="55481"/>
                  </a:lnTo>
                  <a:lnTo>
                    <a:pt x="25377" y="52225"/>
                  </a:lnTo>
                  <a:lnTo>
                    <a:pt x="12846" y="4896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Graphic 2">
              <a:extLst>
                <a:ext uri="{FF2B5EF4-FFF2-40B4-BE49-F238E27FC236}">
                  <a16:creationId xmlns:a16="http://schemas.microsoft.com/office/drawing/2014/main" id="{D704B7EA-DCD9-452B-94EF-B1B3DB4781F0}"/>
                </a:ext>
              </a:extLst>
            </p:cNvPr>
            <p:cNvSpPr/>
            <p:nvPr/>
          </p:nvSpPr>
          <p:spPr>
            <a:xfrm>
              <a:off x="9249428" y="4071894"/>
              <a:ext cx="325483" cy="416824"/>
            </a:xfrm>
            <a:custGeom>
              <a:avLst/>
              <a:gdLst>
                <a:gd name="connsiteX0" fmla="*/ 128056 w 358260"/>
                <a:gd name="connsiteY0" fmla="*/ 20745 h 458815"/>
                <a:gd name="connsiteX1" fmla="*/ 136147 w 358260"/>
                <a:gd name="connsiteY1" fmla="*/ 20745 h 458815"/>
                <a:gd name="connsiteX2" fmla="*/ 129980 w 358260"/>
                <a:gd name="connsiteY2" fmla="*/ 23952 h 458815"/>
                <a:gd name="connsiteX3" fmla="*/ 123911 w 358260"/>
                <a:gd name="connsiteY3" fmla="*/ 7966 h 458815"/>
                <a:gd name="connsiteX4" fmla="*/ 128056 w 358260"/>
                <a:gd name="connsiteY4" fmla="*/ 11173 h 458815"/>
                <a:gd name="connsiteX5" fmla="*/ 121889 w 358260"/>
                <a:gd name="connsiteY5" fmla="*/ 12801 h 458815"/>
                <a:gd name="connsiteX6" fmla="*/ 138466 w 358260"/>
                <a:gd name="connsiteY6" fmla="*/ -27 h 458815"/>
                <a:gd name="connsiteX7" fmla="*/ 132200 w 358260"/>
                <a:gd name="connsiteY7" fmla="*/ 3180 h 458815"/>
                <a:gd name="connsiteX8" fmla="*/ 136345 w 358260"/>
                <a:gd name="connsiteY8" fmla="*/ 6338 h 458815"/>
                <a:gd name="connsiteX9" fmla="*/ 152923 w 358260"/>
                <a:gd name="connsiteY9" fmla="*/ 14380 h 458815"/>
                <a:gd name="connsiteX10" fmla="*/ 148779 w 358260"/>
                <a:gd name="connsiteY10" fmla="*/ 19314 h 458815"/>
                <a:gd name="connsiteX11" fmla="*/ 152923 w 358260"/>
                <a:gd name="connsiteY11" fmla="*/ 22522 h 458815"/>
                <a:gd name="connsiteX12" fmla="*/ 157068 w 358260"/>
                <a:gd name="connsiteY12" fmla="*/ 17588 h 458815"/>
                <a:gd name="connsiteX13" fmla="*/ 157068 w 358260"/>
                <a:gd name="connsiteY13" fmla="*/ 171135 h 458815"/>
                <a:gd name="connsiteX14" fmla="*/ 163285 w 358260"/>
                <a:gd name="connsiteY14" fmla="*/ 174293 h 458815"/>
                <a:gd name="connsiteX15" fmla="*/ 165356 w 358260"/>
                <a:gd name="connsiteY15" fmla="*/ 180707 h 458815"/>
                <a:gd name="connsiteX16" fmla="*/ 173647 w 358260"/>
                <a:gd name="connsiteY16" fmla="*/ 182335 h 458815"/>
                <a:gd name="connsiteX17" fmla="*/ 179863 w 358260"/>
                <a:gd name="connsiteY17" fmla="*/ 180707 h 458815"/>
                <a:gd name="connsiteX18" fmla="*/ 181935 w 358260"/>
                <a:gd name="connsiteY18" fmla="*/ 175773 h 458815"/>
                <a:gd name="connsiteX19" fmla="*/ 190224 w 358260"/>
                <a:gd name="connsiteY19" fmla="*/ 169359 h 458815"/>
                <a:gd name="connsiteX20" fmla="*/ 198513 w 358260"/>
                <a:gd name="connsiteY20" fmla="*/ 169359 h 458815"/>
                <a:gd name="connsiteX21" fmla="*/ 208875 w 358260"/>
                <a:gd name="connsiteY21" fmla="*/ 175773 h 458815"/>
                <a:gd name="connsiteX22" fmla="*/ 213020 w 358260"/>
                <a:gd name="connsiteY22" fmla="*/ 182187 h 458815"/>
                <a:gd name="connsiteX23" fmla="*/ 213020 w 358260"/>
                <a:gd name="connsiteY23" fmla="*/ 188552 h 458815"/>
                <a:gd name="connsiteX24" fmla="*/ 215043 w 358260"/>
                <a:gd name="connsiteY24" fmla="*/ 191759 h 458815"/>
                <a:gd name="connsiteX25" fmla="*/ 219188 w 358260"/>
                <a:gd name="connsiteY25" fmla="*/ 188552 h 458815"/>
                <a:gd name="connsiteX26" fmla="*/ 219188 w 358260"/>
                <a:gd name="connsiteY26" fmla="*/ 183618 h 458815"/>
                <a:gd name="connsiteX27" fmla="*/ 223331 w 358260"/>
                <a:gd name="connsiteY27" fmla="*/ 180411 h 458815"/>
                <a:gd name="connsiteX28" fmla="*/ 227476 w 358260"/>
                <a:gd name="connsiteY28" fmla="*/ 186825 h 458815"/>
                <a:gd name="connsiteX29" fmla="*/ 235765 w 358260"/>
                <a:gd name="connsiteY29" fmla="*/ 186825 h 458815"/>
                <a:gd name="connsiteX30" fmla="*/ 241982 w 358260"/>
                <a:gd name="connsiteY30" fmla="*/ 191759 h 458815"/>
                <a:gd name="connsiteX31" fmla="*/ 244055 w 358260"/>
                <a:gd name="connsiteY31" fmla="*/ 193387 h 458815"/>
                <a:gd name="connsiteX32" fmla="*/ 237838 w 358260"/>
                <a:gd name="connsiteY32" fmla="*/ 193387 h 458815"/>
                <a:gd name="connsiteX33" fmla="*/ 235765 w 358260"/>
                <a:gd name="connsiteY33" fmla="*/ 191759 h 458815"/>
                <a:gd name="connsiteX34" fmla="*/ 231621 w 358260"/>
                <a:gd name="connsiteY34" fmla="*/ 193387 h 458815"/>
                <a:gd name="connsiteX35" fmla="*/ 233743 w 358260"/>
                <a:gd name="connsiteY35" fmla="*/ 199752 h 458815"/>
                <a:gd name="connsiteX36" fmla="*/ 237838 w 358260"/>
                <a:gd name="connsiteY36" fmla="*/ 209324 h 458815"/>
                <a:gd name="connsiteX37" fmla="*/ 237838 w 358260"/>
                <a:gd name="connsiteY37" fmla="*/ 214258 h 458815"/>
                <a:gd name="connsiteX38" fmla="*/ 244055 w 358260"/>
                <a:gd name="connsiteY38" fmla="*/ 214258 h 458815"/>
                <a:gd name="connsiteX39" fmla="*/ 250271 w 358260"/>
                <a:gd name="connsiteY39" fmla="*/ 215837 h 458815"/>
                <a:gd name="connsiteX40" fmla="*/ 256488 w 358260"/>
                <a:gd name="connsiteY40" fmla="*/ 215837 h 458815"/>
                <a:gd name="connsiteX41" fmla="*/ 258561 w 358260"/>
                <a:gd name="connsiteY41" fmla="*/ 219044 h 458815"/>
                <a:gd name="connsiteX42" fmla="*/ 256488 w 358260"/>
                <a:gd name="connsiteY42" fmla="*/ 222251 h 458815"/>
                <a:gd name="connsiteX43" fmla="*/ 256488 w 358260"/>
                <a:gd name="connsiteY43" fmla="*/ 225459 h 458815"/>
                <a:gd name="connsiteX44" fmla="*/ 254416 w 358260"/>
                <a:gd name="connsiteY44" fmla="*/ 235031 h 458815"/>
                <a:gd name="connsiteX45" fmla="*/ 248199 w 358260"/>
                <a:gd name="connsiteY45" fmla="*/ 233452 h 458815"/>
                <a:gd name="connsiteX46" fmla="*/ 241982 w 358260"/>
                <a:gd name="connsiteY46" fmla="*/ 227037 h 458815"/>
                <a:gd name="connsiteX47" fmla="*/ 248199 w 358260"/>
                <a:gd name="connsiteY47" fmla="*/ 223830 h 458815"/>
                <a:gd name="connsiteX48" fmla="*/ 248199 w 358260"/>
                <a:gd name="connsiteY48" fmla="*/ 220623 h 458815"/>
                <a:gd name="connsiteX49" fmla="*/ 241982 w 358260"/>
                <a:gd name="connsiteY49" fmla="*/ 220623 h 458815"/>
                <a:gd name="connsiteX50" fmla="*/ 241982 w 358260"/>
                <a:gd name="connsiteY50" fmla="*/ 222251 h 458815"/>
                <a:gd name="connsiteX51" fmla="*/ 235765 w 358260"/>
                <a:gd name="connsiteY51" fmla="*/ 223830 h 458815"/>
                <a:gd name="connsiteX52" fmla="*/ 227476 w 358260"/>
                <a:gd name="connsiteY52" fmla="*/ 215837 h 458815"/>
                <a:gd name="connsiteX53" fmla="*/ 223331 w 358260"/>
                <a:gd name="connsiteY53" fmla="*/ 214258 h 458815"/>
                <a:gd name="connsiteX54" fmla="*/ 223331 w 358260"/>
                <a:gd name="connsiteY54" fmla="*/ 207844 h 458815"/>
                <a:gd name="connsiteX55" fmla="*/ 219188 w 358260"/>
                <a:gd name="connsiteY55" fmla="*/ 201479 h 458815"/>
                <a:gd name="connsiteX56" fmla="*/ 208875 w 358260"/>
                <a:gd name="connsiteY56" fmla="*/ 198223 h 458815"/>
                <a:gd name="connsiteX57" fmla="*/ 204730 w 358260"/>
                <a:gd name="connsiteY57" fmla="*/ 191858 h 458815"/>
                <a:gd name="connsiteX58" fmla="*/ 200586 w 358260"/>
                <a:gd name="connsiteY58" fmla="*/ 188651 h 458815"/>
                <a:gd name="connsiteX59" fmla="*/ 196441 w 358260"/>
                <a:gd name="connsiteY59" fmla="*/ 185443 h 458815"/>
                <a:gd name="connsiteX60" fmla="*/ 192296 w 358260"/>
                <a:gd name="connsiteY60" fmla="*/ 185443 h 458815"/>
                <a:gd name="connsiteX61" fmla="*/ 190224 w 358260"/>
                <a:gd name="connsiteY61" fmla="*/ 188651 h 458815"/>
                <a:gd name="connsiteX62" fmla="*/ 198513 w 358260"/>
                <a:gd name="connsiteY62" fmla="*/ 199851 h 458815"/>
                <a:gd name="connsiteX63" fmla="*/ 200586 w 358260"/>
                <a:gd name="connsiteY63" fmla="*/ 209423 h 458815"/>
                <a:gd name="connsiteX64" fmla="*/ 198513 w 358260"/>
                <a:gd name="connsiteY64" fmla="*/ 209423 h 458815"/>
                <a:gd name="connsiteX65" fmla="*/ 190224 w 358260"/>
                <a:gd name="connsiteY65" fmla="*/ 199851 h 458815"/>
                <a:gd name="connsiteX66" fmla="*/ 184007 w 358260"/>
                <a:gd name="connsiteY66" fmla="*/ 194917 h 458815"/>
                <a:gd name="connsiteX67" fmla="*/ 179863 w 358260"/>
                <a:gd name="connsiteY67" fmla="*/ 189983 h 458815"/>
                <a:gd name="connsiteX68" fmla="*/ 165356 w 358260"/>
                <a:gd name="connsiteY68" fmla="*/ 185049 h 458815"/>
                <a:gd name="connsiteX69" fmla="*/ 157068 w 358260"/>
                <a:gd name="connsiteY69" fmla="*/ 185049 h 458815"/>
                <a:gd name="connsiteX70" fmla="*/ 154996 w 358260"/>
                <a:gd name="connsiteY70" fmla="*/ 189983 h 458815"/>
                <a:gd name="connsiteX71" fmla="*/ 154996 w 358260"/>
                <a:gd name="connsiteY71" fmla="*/ 193190 h 458815"/>
                <a:gd name="connsiteX72" fmla="*/ 148779 w 358260"/>
                <a:gd name="connsiteY72" fmla="*/ 198124 h 458815"/>
                <a:gd name="connsiteX73" fmla="*/ 140489 w 358260"/>
                <a:gd name="connsiteY73" fmla="*/ 190180 h 458815"/>
                <a:gd name="connsiteX74" fmla="*/ 136345 w 358260"/>
                <a:gd name="connsiteY74" fmla="*/ 195114 h 458815"/>
                <a:gd name="connsiteX75" fmla="*/ 130177 w 358260"/>
                <a:gd name="connsiteY75" fmla="*/ 195114 h 458815"/>
                <a:gd name="connsiteX76" fmla="*/ 134321 w 358260"/>
                <a:gd name="connsiteY76" fmla="*/ 190180 h 458815"/>
                <a:gd name="connsiteX77" fmla="*/ 130177 w 358260"/>
                <a:gd name="connsiteY77" fmla="*/ 185246 h 458815"/>
                <a:gd name="connsiteX78" fmla="*/ 126032 w 358260"/>
                <a:gd name="connsiteY78" fmla="*/ 186874 h 458815"/>
                <a:gd name="connsiteX79" fmla="*/ 123911 w 358260"/>
                <a:gd name="connsiteY79" fmla="*/ 191808 h 458815"/>
                <a:gd name="connsiteX80" fmla="*/ 119815 w 358260"/>
                <a:gd name="connsiteY80" fmla="*/ 185394 h 458815"/>
                <a:gd name="connsiteX81" fmla="*/ 119815 w 358260"/>
                <a:gd name="connsiteY81" fmla="*/ 174194 h 458815"/>
                <a:gd name="connsiteX82" fmla="*/ 123911 w 358260"/>
                <a:gd name="connsiteY82" fmla="*/ 171036 h 458815"/>
                <a:gd name="connsiteX83" fmla="*/ 132200 w 358260"/>
                <a:gd name="connsiteY83" fmla="*/ 162994 h 458815"/>
                <a:gd name="connsiteX84" fmla="*/ 126032 w 358260"/>
                <a:gd name="connsiteY84" fmla="*/ 158059 h 458815"/>
                <a:gd name="connsiteX85" fmla="*/ 117744 w 358260"/>
                <a:gd name="connsiteY85" fmla="*/ 158059 h 458815"/>
                <a:gd name="connsiteX86" fmla="*/ 117744 w 358260"/>
                <a:gd name="connsiteY86" fmla="*/ 161267 h 458815"/>
                <a:gd name="connsiteX87" fmla="*/ 121889 w 358260"/>
                <a:gd name="connsiteY87" fmla="*/ 164474 h 458815"/>
                <a:gd name="connsiteX88" fmla="*/ 117744 w 358260"/>
                <a:gd name="connsiteY88" fmla="*/ 169408 h 458815"/>
                <a:gd name="connsiteX89" fmla="*/ 111477 w 358260"/>
                <a:gd name="connsiteY89" fmla="*/ 169408 h 458815"/>
                <a:gd name="connsiteX90" fmla="*/ 105260 w 358260"/>
                <a:gd name="connsiteY90" fmla="*/ 161415 h 458815"/>
                <a:gd name="connsiteX91" fmla="*/ 105260 w 358260"/>
                <a:gd name="connsiteY91" fmla="*/ 155000 h 458815"/>
                <a:gd name="connsiteX92" fmla="*/ 103188 w 358260"/>
                <a:gd name="connsiteY92" fmla="*/ 155000 h 458815"/>
                <a:gd name="connsiteX93" fmla="*/ 99043 w 358260"/>
                <a:gd name="connsiteY93" fmla="*/ 156629 h 458815"/>
                <a:gd name="connsiteX94" fmla="*/ 96971 w 358260"/>
                <a:gd name="connsiteY94" fmla="*/ 155000 h 458815"/>
                <a:gd name="connsiteX95" fmla="*/ 96971 w 358260"/>
                <a:gd name="connsiteY95" fmla="*/ 143800 h 458815"/>
                <a:gd name="connsiteX96" fmla="*/ 90755 w 358260"/>
                <a:gd name="connsiteY96" fmla="*/ 134228 h 458815"/>
                <a:gd name="connsiteX97" fmla="*/ 88681 w 358260"/>
                <a:gd name="connsiteY97" fmla="*/ 126235 h 458815"/>
                <a:gd name="connsiteX98" fmla="*/ 90755 w 358260"/>
                <a:gd name="connsiteY98" fmla="*/ 121301 h 458815"/>
                <a:gd name="connsiteX99" fmla="*/ 88681 w 358260"/>
                <a:gd name="connsiteY99" fmla="*/ 119673 h 458815"/>
                <a:gd name="connsiteX100" fmla="*/ 84538 w 358260"/>
                <a:gd name="connsiteY100" fmla="*/ 119673 h 458815"/>
                <a:gd name="connsiteX101" fmla="*/ 84538 w 358260"/>
                <a:gd name="connsiteY101" fmla="*/ 105315 h 458815"/>
                <a:gd name="connsiteX102" fmla="*/ 88681 w 358260"/>
                <a:gd name="connsiteY102" fmla="*/ 110249 h 458815"/>
                <a:gd name="connsiteX103" fmla="*/ 94898 w 358260"/>
                <a:gd name="connsiteY103" fmla="*/ 111828 h 458815"/>
                <a:gd name="connsiteX104" fmla="*/ 101115 w 358260"/>
                <a:gd name="connsiteY104" fmla="*/ 108620 h 458815"/>
                <a:gd name="connsiteX105" fmla="*/ 101115 w 358260"/>
                <a:gd name="connsiteY105" fmla="*/ 105463 h 458815"/>
                <a:gd name="connsiteX106" fmla="*/ 94898 w 358260"/>
                <a:gd name="connsiteY106" fmla="*/ 94262 h 458815"/>
                <a:gd name="connsiteX107" fmla="*/ 99043 w 358260"/>
                <a:gd name="connsiteY107" fmla="*/ 87848 h 458815"/>
                <a:gd name="connsiteX108" fmla="*/ 103188 w 358260"/>
                <a:gd name="connsiteY108" fmla="*/ 71862 h 458815"/>
                <a:gd name="connsiteX109" fmla="*/ 103188 w 358260"/>
                <a:gd name="connsiteY109" fmla="*/ 59428 h 458815"/>
                <a:gd name="connsiteX110" fmla="*/ 101115 w 358260"/>
                <a:gd name="connsiteY110" fmla="*/ 53014 h 458815"/>
                <a:gd name="connsiteX111" fmla="*/ 107332 w 358260"/>
                <a:gd name="connsiteY111" fmla="*/ 40185 h 458815"/>
                <a:gd name="connsiteX112" fmla="*/ 109405 w 358260"/>
                <a:gd name="connsiteY112" fmla="*/ 33821 h 458815"/>
                <a:gd name="connsiteX113" fmla="*/ 119766 w 358260"/>
                <a:gd name="connsiteY113" fmla="*/ 30613 h 458815"/>
                <a:gd name="connsiteX114" fmla="*/ 132151 w 358260"/>
                <a:gd name="connsiteY114" fmla="*/ 32192 h 458815"/>
                <a:gd name="connsiteX115" fmla="*/ 138417 w 358260"/>
                <a:gd name="connsiteY115" fmla="*/ 38607 h 458815"/>
                <a:gd name="connsiteX116" fmla="*/ 144584 w 358260"/>
                <a:gd name="connsiteY116" fmla="*/ 40185 h 458815"/>
                <a:gd name="connsiteX117" fmla="*/ 146656 w 358260"/>
                <a:gd name="connsiteY117" fmla="*/ 38607 h 458815"/>
                <a:gd name="connsiteX118" fmla="*/ 154946 w 358260"/>
                <a:gd name="connsiteY118" fmla="*/ 38607 h 458815"/>
                <a:gd name="connsiteX119" fmla="*/ 161163 w 358260"/>
                <a:gd name="connsiteY119" fmla="*/ 33673 h 458815"/>
                <a:gd name="connsiteX120" fmla="*/ 161163 w 358260"/>
                <a:gd name="connsiteY120" fmla="*/ 32044 h 458815"/>
                <a:gd name="connsiteX121" fmla="*/ 165307 w 358260"/>
                <a:gd name="connsiteY121" fmla="*/ 30465 h 458815"/>
                <a:gd name="connsiteX122" fmla="*/ 169452 w 358260"/>
                <a:gd name="connsiteY122" fmla="*/ 35399 h 458815"/>
                <a:gd name="connsiteX123" fmla="*/ 169452 w 358260"/>
                <a:gd name="connsiteY123" fmla="*/ 40333 h 458815"/>
                <a:gd name="connsiteX124" fmla="*/ 165307 w 358260"/>
                <a:gd name="connsiteY124" fmla="*/ 45268 h 458815"/>
                <a:gd name="connsiteX125" fmla="*/ 163235 w 358260"/>
                <a:gd name="connsiteY125" fmla="*/ 56468 h 458815"/>
                <a:gd name="connsiteX126" fmla="*/ 169452 w 358260"/>
                <a:gd name="connsiteY126" fmla="*/ 66040 h 458815"/>
                <a:gd name="connsiteX127" fmla="*/ 173597 w 358260"/>
                <a:gd name="connsiteY127" fmla="*/ 67668 h 458815"/>
                <a:gd name="connsiteX128" fmla="*/ 175669 w 358260"/>
                <a:gd name="connsiteY128" fmla="*/ 75612 h 458815"/>
                <a:gd name="connsiteX129" fmla="*/ 179814 w 358260"/>
                <a:gd name="connsiteY129" fmla="*/ 78819 h 458815"/>
                <a:gd name="connsiteX130" fmla="*/ 175669 w 358260"/>
                <a:gd name="connsiteY130" fmla="*/ 93226 h 458815"/>
                <a:gd name="connsiteX131" fmla="*/ 171524 w 358260"/>
                <a:gd name="connsiteY131" fmla="*/ 101219 h 458815"/>
                <a:gd name="connsiteX132" fmla="*/ 173597 w 358260"/>
                <a:gd name="connsiteY132" fmla="*/ 109213 h 458815"/>
                <a:gd name="connsiteX133" fmla="*/ 167380 w 358260"/>
                <a:gd name="connsiteY133" fmla="*/ 117255 h 458815"/>
                <a:gd name="connsiteX134" fmla="*/ 167380 w 358260"/>
                <a:gd name="connsiteY134" fmla="*/ 113703 h 458815"/>
                <a:gd name="connsiteX135" fmla="*/ 169452 w 358260"/>
                <a:gd name="connsiteY135" fmla="*/ 108769 h 458815"/>
                <a:gd name="connsiteX136" fmla="*/ 165307 w 358260"/>
                <a:gd name="connsiteY136" fmla="*/ 111976 h 458815"/>
                <a:gd name="connsiteX137" fmla="*/ 154946 w 358260"/>
                <a:gd name="connsiteY137" fmla="*/ 119969 h 458815"/>
                <a:gd name="connsiteX138" fmla="*/ 150801 w 358260"/>
                <a:gd name="connsiteY138" fmla="*/ 126383 h 458815"/>
                <a:gd name="connsiteX139" fmla="*/ 152873 w 358260"/>
                <a:gd name="connsiteY139" fmla="*/ 132797 h 458815"/>
                <a:gd name="connsiteX140" fmla="*/ 148729 w 358260"/>
                <a:gd name="connsiteY140" fmla="*/ 137731 h 458815"/>
                <a:gd name="connsiteX141" fmla="*/ 146656 w 358260"/>
                <a:gd name="connsiteY141" fmla="*/ 145724 h 458815"/>
                <a:gd name="connsiteX142" fmla="*/ 150801 w 358260"/>
                <a:gd name="connsiteY142" fmla="*/ 147303 h 458815"/>
                <a:gd name="connsiteX143" fmla="*/ 154946 w 358260"/>
                <a:gd name="connsiteY143" fmla="*/ 155296 h 458815"/>
                <a:gd name="connsiteX144" fmla="*/ 159090 w 358260"/>
                <a:gd name="connsiteY144" fmla="*/ 160230 h 458815"/>
                <a:gd name="connsiteX145" fmla="*/ 157018 w 358260"/>
                <a:gd name="connsiteY145" fmla="*/ 163388 h 458815"/>
                <a:gd name="connsiteX146" fmla="*/ 169502 w 358260"/>
                <a:gd name="connsiteY146" fmla="*/ 172714 h 458815"/>
                <a:gd name="connsiteX147" fmla="*/ 171573 w 358260"/>
                <a:gd name="connsiteY147" fmla="*/ 177648 h 458815"/>
                <a:gd name="connsiteX148" fmla="*/ 175718 w 358260"/>
                <a:gd name="connsiteY148" fmla="*/ 180855 h 458815"/>
                <a:gd name="connsiteX149" fmla="*/ 175718 w 358260"/>
                <a:gd name="connsiteY149" fmla="*/ 175921 h 458815"/>
                <a:gd name="connsiteX150" fmla="*/ 163285 w 358260"/>
                <a:gd name="connsiteY150" fmla="*/ 148734 h 458815"/>
                <a:gd name="connsiteX151" fmla="*/ 167430 w 358260"/>
                <a:gd name="connsiteY151" fmla="*/ 158306 h 458815"/>
                <a:gd name="connsiteX152" fmla="*/ 167430 w 358260"/>
                <a:gd name="connsiteY152" fmla="*/ 164721 h 458815"/>
                <a:gd name="connsiteX153" fmla="*/ 173647 w 358260"/>
                <a:gd name="connsiteY153" fmla="*/ 159787 h 458815"/>
                <a:gd name="connsiteX154" fmla="*/ 173647 w 358260"/>
                <a:gd name="connsiteY154" fmla="*/ 151744 h 458815"/>
                <a:gd name="connsiteX155" fmla="*/ 177790 w 358260"/>
                <a:gd name="connsiteY155" fmla="*/ 148586 h 458815"/>
                <a:gd name="connsiteX156" fmla="*/ 171573 w 358260"/>
                <a:gd name="connsiteY156" fmla="*/ 145379 h 458815"/>
                <a:gd name="connsiteX157" fmla="*/ 101165 w 358260"/>
                <a:gd name="connsiteY157" fmla="*/ 188700 h 458815"/>
                <a:gd name="connsiteX158" fmla="*/ 101165 w 358260"/>
                <a:gd name="connsiteY158" fmla="*/ 191907 h 458815"/>
                <a:gd name="connsiteX159" fmla="*/ 109455 w 358260"/>
                <a:gd name="connsiteY159" fmla="*/ 195114 h 458815"/>
                <a:gd name="connsiteX160" fmla="*/ 111527 w 358260"/>
                <a:gd name="connsiteY160" fmla="*/ 193535 h 458815"/>
                <a:gd name="connsiteX161" fmla="*/ 105310 w 358260"/>
                <a:gd name="connsiteY161" fmla="*/ 188601 h 458815"/>
                <a:gd name="connsiteX162" fmla="*/ 113599 w 358260"/>
                <a:gd name="connsiteY162" fmla="*/ 201528 h 458815"/>
                <a:gd name="connsiteX163" fmla="*/ 113599 w 358260"/>
                <a:gd name="connsiteY163" fmla="*/ 204736 h 458815"/>
                <a:gd name="connsiteX164" fmla="*/ 119815 w 358260"/>
                <a:gd name="connsiteY164" fmla="*/ 204736 h 458815"/>
                <a:gd name="connsiteX165" fmla="*/ 121889 w 358260"/>
                <a:gd name="connsiteY165" fmla="*/ 211100 h 458815"/>
                <a:gd name="connsiteX166" fmla="*/ 126032 w 358260"/>
                <a:gd name="connsiteY166" fmla="*/ 212679 h 458815"/>
                <a:gd name="connsiteX167" fmla="*/ 130177 w 358260"/>
                <a:gd name="connsiteY167" fmla="*/ 219093 h 458815"/>
                <a:gd name="connsiteX168" fmla="*/ 130177 w 358260"/>
                <a:gd name="connsiteY168" fmla="*/ 227185 h 458815"/>
                <a:gd name="connsiteX169" fmla="*/ 136345 w 358260"/>
                <a:gd name="connsiteY169" fmla="*/ 230393 h 458815"/>
                <a:gd name="connsiteX170" fmla="*/ 136345 w 358260"/>
                <a:gd name="connsiteY170" fmla="*/ 236807 h 458815"/>
                <a:gd name="connsiteX171" fmla="*/ 142611 w 358260"/>
                <a:gd name="connsiteY171" fmla="*/ 243172 h 458815"/>
                <a:gd name="connsiteX172" fmla="*/ 148779 w 358260"/>
                <a:gd name="connsiteY172" fmla="*/ 244800 h 458815"/>
                <a:gd name="connsiteX173" fmla="*/ 154996 w 358260"/>
                <a:gd name="connsiteY173" fmla="*/ 239866 h 458815"/>
                <a:gd name="connsiteX174" fmla="*/ 154996 w 358260"/>
                <a:gd name="connsiteY174" fmla="*/ 234932 h 458815"/>
                <a:gd name="connsiteX175" fmla="*/ 159140 w 358260"/>
                <a:gd name="connsiteY175" fmla="*/ 233353 h 458815"/>
                <a:gd name="connsiteX176" fmla="*/ 159140 w 358260"/>
                <a:gd name="connsiteY176" fmla="*/ 227185 h 458815"/>
                <a:gd name="connsiteX177" fmla="*/ 154996 w 358260"/>
                <a:gd name="connsiteY177" fmla="*/ 222251 h 458815"/>
                <a:gd name="connsiteX178" fmla="*/ 159140 w 358260"/>
                <a:gd name="connsiteY178" fmla="*/ 219044 h 458815"/>
                <a:gd name="connsiteX179" fmla="*/ 159140 w 358260"/>
                <a:gd name="connsiteY179" fmla="*/ 212630 h 458815"/>
                <a:gd name="connsiteX180" fmla="*/ 150851 w 358260"/>
                <a:gd name="connsiteY180" fmla="*/ 211051 h 458815"/>
                <a:gd name="connsiteX181" fmla="*/ 136345 w 358260"/>
                <a:gd name="connsiteY181" fmla="*/ 199851 h 458815"/>
                <a:gd name="connsiteX182" fmla="*/ 128056 w 358260"/>
                <a:gd name="connsiteY182" fmla="*/ 201479 h 458815"/>
                <a:gd name="connsiteX183" fmla="*/ 119815 w 358260"/>
                <a:gd name="connsiteY183" fmla="*/ 198223 h 458815"/>
                <a:gd name="connsiteX184" fmla="*/ 254416 w 358260"/>
                <a:gd name="connsiteY184" fmla="*/ 180707 h 458815"/>
                <a:gd name="connsiteX185" fmla="*/ 252344 w 358260"/>
                <a:gd name="connsiteY185" fmla="*/ 182335 h 458815"/>
                <a:gd name="connsiteX186" fmla="*/ 252344 w 358260"/>
                <a:gd name="connsiteY186" fmla="*/ 188700 h 458815"/>
                <a:gd name="connsiteX187" fmla="*/ 250271 w 358260"/>
                <a:gd name="connsiteY187" fmla="*/ 193634 h 458815"/>
                <a:gd name="connsiteX188" fmla="*/ 248199 w 358260"/>
                <a:gd name="connsiteY188" fmla="*/ 195213 h 458815"/>
                <a:gd name="connsiteX189" fmla="*/ 252344 w 358260"/>
                <a:gd name="connsiteY189" fmla="*/ 198370 h 458815"/>
                <a:gd name="connsiteX190" fmla="*/ 260633 w 358260"/>
                <a:gd name="connsiteY190" fmla="*/ 196792 h 458815"/>
                <a:gd name="connsiteX191" fmla="*/ 262705 w 358260"/>
                <a:gd name="connsiteY191" fmla="*/ 190427 h 458815"/>
                <a:gd name="connsiteX192" fmla="*/ 260633 w 358260"/>
                <a:gd name="connsiteY192" fmla="*/ 185493 h 458815"/>
                <a:gd name="connsiteX193" fmla="*/ 167430 w 358260"/>
                <a:gd name="connsiteY193" fmla="*/ 204736 h 458815"/>
                <a:gd name="connsiteX194" fmla="*/ 175718 w 358260"/>
                <a:gd name="connsiteY194" fmla="*/ 209670 h 458815"/>
                <a:gd name="connsiteX195" fmla="*/ 177790 w 358260"/>
                <a:gd name="connsiteY195" fmla="*/ 206512 h 458815"/>
                <a:gd name="connsiteX196" fmla="*/ 181935 w 358260"/>
                <a:gd name="connsiteY196" fmla="*/ 203304 h 458815"/>
                <a:gd name="connsiteX197" fmla="*/ 177790 w 358260"/>
                <a:gd name="connsiteY197" fmla="*/ 198370 h 458815"/>
                <a:gd name="connsiteX198" fmla="*/ 171573 w 358260"/>
                <a:gd name="connsiteY198" fmla="*/ 196792 h 458815"/>
                <a:gd name="connsiteX199" fmla="*/ 167430 w 358260"/>
                <a:gd name="connsiteY199" fmla="*/ 201726 h 458815"/>
                <a:gd name="connsiteX200" fmla="*/ 181935 w 358260"/>
                <a:gd name="connsiteY200" fmla="*/ 228715 h 458815"/>
                <a:gd name="connsiteX201" fmla="*/ 179863 w 358260"/>
                <a:gd name="connsiteY201" fmla="*/ 235080 h 458815"/>
                <a:gd name="connsiteX202" fmla="*/ 175718 w 358260"/>
                <a:gd name="connsiteY202" fmla="*/ 240014 h 458815"/>
                <a:gd name="connsiteX203" fmla="*/ 177790 w 358260"/>
                <a:gd name="connsiteY203" fmla="*/ 248007 h 458815"/>
                <a:gd name="connsiteX204" fmla="*/ 184007 w 358260"/>
                <a:gd name="connsiteY204" fmla="*/ 246379 h 458815"/>
                <a:gd name="connsiteX205" fmla="*/ 186080 w 358260"/>
                <a:gd name="connsiteY205" fmla="*/ 238386 h 458815"/>
                <a:gd name="connsiteX206" fmla="*/ 184007 w 358260"/>
                <a:gd name="connsiteY206" fmla="*/ 233452 h 458815"/>
                <a:gd name="connsiteX207" fmla="*/ 184007 w 358260"/>
                <a:gd name="connsiteY207" fmla="*/ 225459 h 458815"/>
                <a:gd name="connsiteX208" fmla="*/ 198513 w 358260"/>
                <a:gd name="connsiteY208" fmla="*/ 233649 h 458815"/>
                <a:gd name="connsiteX209" fmla="*/ 196441 w 358260"/>
                <a:gd name="connsiteY209" fmla="*/ 235228 h 458815"/>
                <a:gd name="connsiteX210" fmla="*/ 196441 w 358260"/>
                <a:gd name="connsiteY210" fmla="*/ 238435 h 458815"/>
                <a:gd name="connsiteX211" fmla="*/ 202658 w 358260"/>
                <a:gd name="connsiteY211" fmla="*/ 238435 h 458815"/>
                <a:gd name="connsiteX212" fmla="*/ 204730 w 358260"/>
                <a:gd name="connsiteY212" fmla="*/ 235228 h 458815"/>
                <a:gd name="connsiteX213" fmla="*/ 221309 w 358260"/>
                <a:gd name="connsiteY213" fmla="*/ 217663 h 458815"/>
                <a:gd name="connsiteX214" fmla="*/ 215043 w 358260"/>
                <a:gd name="connsiteY214" fmla="*/ 211249 h 458815"/>
                <a:gd name="connsiteX215" fmla="*/ 210898 w 358260"/>
                <a:gd name="connsiteY215" fmla="*/ 212827 h 458815"/>
                <a:gd name="connsiteX216" fmla="*/ 210898 w 358260"/>
                <a:gd name="connsiteY216" fmla="*/ 216034 h 458815"/>
                <a:gd name="connsiteX217" fmla="*/ 221309 w 358260"/>
                <a:gd name="connsiteY217" fmla="*/ 224027 h 458815"/>
                <a:gd name="connsiteX218" fmla="*/ 221309 w 358260"/>
                <a:gd name="connsiteY218" fmla="*/ 217317 h 458815"/>
                <a:gd name="connsiteX219" fmla="*/ 235765 w 358260"/>
                <a:gd name="connsiteY219" fmla="*/ 230442 h 458815"/>
                <a:gd name="connsiteX220" fmla="*/ 237838 w 358260"/>
                <a:gd name="connsiteY220" fmla="*/ 233649 h 458815"/>
                <a:gd name="connsiteX221" fmla="*/ 241982 w 358260"/>
                <a:gd name="connsiteY221" fmla="*/ 238583 h 458815"/>
                <a:gd name="connsiteX222" fmla="*/ 246127 w 358260"/>
                <a:gd name="connsiteY222" fmla="*/ 238583 h 458815"/>
                <a:gd name="connsiteX223" fmla="*/ 239762 w 358260"/>
                <a:gd name="connsiteY223" fmla="*/ 232119 h 458815"/>
                <a:gd name="connsiteX224" fmla="*/ 223331 w 358260"/>
                <a:gd name="connsiteY224" fmla="*/ 252793 h 458815"/>
                <a:gd name="connsiteX225" fmla="*/ 229598 w 358260"/>
                <a:gd name="connsiteY225" fmla="*/ 243221 h 458815"/>
                <a:gd name="connsiteX226" fmla="*/ 233743 w 358260"/>
                <a:gd name="connsiteY226" fmla="*/ 243221 h 458815"/>
                <a:gd name="connsiteX227" fmla="*/ 241982 w 358260"/>
                <a:gd name="connsiteY227" fmla="*/ 251263 h 458815"/>
                <a:gd name="connsiteX228" fmla="*/ 250271 w 358260"/>
                <a:gd name="connsiteY228" fmla="*/ 254421 h 458815"/>
                <a:gd name="connsiteX229" fmla="*/ 256488 w 358260"/>
                <a:gd name="connsiteY229" fmla="*/ 254421 h 458815"/>
                <a:gd name="connsiteX230" fmla="*/ 256488 w 358260"/>
                <a:gd name="connsiteY230" fmla="*/ 251263 h 458815"/>
                <a:gd name="connsiteX231" fmla="*/ 252344 w 358260"/>
                <a:gd name="connsiteY231" fmla="*/ 246329 h 458815"/>
                <a:gd name="connsiteX232" fmla="*/ 241982 w 358260"/>
                <a:gd name="connsiteY232" fmla="*/ 239965 h 458815"/>
                <a:gd name="connsiteX233" fmla="*/ 235765 w 358260"/>
                <a:gd name="connsiteY233" fmla="*/ 238336 h 458815"/>
                <a:gd name="connsiteX234" fmla="*/ 229598 w 358260"/>
                <a:gd name="connsiteY234" fmla="*/ 233402 h 458815"/>
                <a:gd name="connsiteX235" fmla="*/ 227476 w 358260"/>
                <a:gd name="connsiteY235" fmla="*/ 233402 h 458815"/>
                <a:gd name="connsiteX236" fmla="*/ 227476 w 358260"/>
                <a:gd name="connsiteY236" fmla="*/ 232119 h 458815"/>
                <a:gd name="connsiteX237" fmla="*/ 223331 w 358260"/>
                <a:gd name="connsiteY237" fmla="*/ 230540 h 458815"/>
                <a:gd name="connsiteX238" fmla="*/ 223331 w 358260"/>
                <a:gd name="connsiteY238" fmla="*/ 238534 h 458815"/>
                <a:gd name="connsiteX239" fmla="*/ 225454 w 358260"/>
                <a:gd name="connsiteY239" fmla="*/ 243468 h 458815"/>
                <a:gd name="connsiteX240" fmla="*/ 221309 w 358260"/>
                <a:gd name="connsiteY240" fmla="*/ 245096 h 458815"/>
                <a:gd name="connsiteX241" fmla="*/ 221309 w 358260"/>
                <a:gd name="connsiteY241" fmla="*/ 248303 h 458815"/>
                <a:gd name="connsiteX242" fmla="*/ 188152 w 358260"/>
                <a:gd name="connsiteY242" fmla="*/ 296015 h 458815"/>
                <a:gd name="connsiteX243" fmla="*/ 186080 w 358260"/>
                <a:gd name="connsiteY243" fmla="*/ 299222 h 458815"/>
                <a:gd name="connsiteX244" fmla="*/ 181935 w 358260"/>
                <a:gd name="connsiteY244" fmla="*/ 300801 h 458815"/>
                <a:gd name="connsiteX245" fmla="*/ 179863 w 358260"/>
                <a:gd name="connsiteY245" fmla="*/ 289601 h 458815"/>
                <a:gd name="connsiteX246" fmla="*/ 181935 w 358260"/>
                <a:gd name="connsiteY246" fmla="*/ 283236 h 458815"/>
                <a:gd name="connsiteX247" fmla="*/ 181935 w 358260"/>
                <a:gd name="connsiteY247" fmla="*/ 272036 h 458815"/>
                <a:gd name="connsiteX248" fmla="*/ 184007 w 358260"/>
                <a:gd name="connsiteY248" fmla="*/ 267102 h 458815"/>
                <a:gd name="connsiteX249" fmla="*/ 184007 w 358260"/>
                <a:gd name="connsiteY249" fmla="*/ 260737 h 458815"/>
                <a:gd name="connsiteX250" fmla="*/ 179863 w 358260"/>
                <a:gd name="connsiteY250" fmla="*/ 259158 h 458815"/>
                <a:gd name="connsiteX251" fmla="*/ 173647 w 358260"/>
                <a:gd name="connsiteY251" fmla="*/ 257530 h 458815"/>
                <a:gd name="connsiteX252" fmla="*/ 173647 w 358260"/>
                <a:gd name="connsiteY252" fmla="*/ 254323 h 458815"/>
                <a:gd name="connsiteX253" fmla="*/ 181935 w 358260"/>
                <a:gd name="connsiteY253" fmla="*/ 252694 h 458815"/>
                <a:gd name="connsiteX254" fmla="*/ 188152 w 358260"/>
                <a:gd name="connsiteY254" fmla="*/ 257628 h 458815"/>
                <a:gd name="connsiteX255" fmla="*/ 194369 w 358260"/>
                <a:gd name="connsiteY255" fmla="*/ 259257 h 458815"/>
                <a:gd name="connsiteX256" fmla="*/ 192296 w 358260"/>
                <a:gd name="connsiteY256" fmla="*/ 262464 h 458815"/>
                <a:gd name="connsiteX257" fmla="*/ 202658 w 358260"/>
                <a:gd name="connsiteY257" fmla="*/ 262464 h 458815"/>
                <a:gd name="connsiteX258" fmla="*/ 208875 w 358260"/>
                <a:gd name="connsiteY258" fmla="*/ 263993 h 458815"/>
                <a:gd name="connsiteX259" fmla="*/ 213020 w 358260"/>
                <a:gd name="connsiteY259" fmla="*/ 268927 h 458815"/>
                <a:gd name="connsiteX260" fmla="*/ 217164 w 358260"/>
                <a:gd name="connsiteY260" fmla="*/ 263993 h 458815"/>
                <a:gd name="connsiteX261" fmla="*/ 221309 w 358260"/>
                <a:gd name="connsiteY261" fmla="*/ 262464 h 458815"/>
                <a:gd name="connsiteX262" fmla="*/ 225454 w 358260"/>
                <a:gd name="connsiteY262" fmla="*/ 265621 h 458815"/>
                <a:gd name="connsiteX263" fmla="*/ 223331 w 358260"/>
                <a:gd name="connsiteY263" fmla="*/ 272036 h 458815"/>
                <a:gd name="connsiteX264" fmla="*/ 219188 w 358260"/>
                <a:gd name="connsiteY264" fmla="*/ 273664 h 458815"/>
                <a:gd name="connsiteX265" fmla="*/ 217164 w 358260"/>
                <a:gd name="connsiteY265" fmla="*/ 280029 h 458815"/>
                <a:gd name="connsiteX266" fmla="*/ 208875 w 358260"/>
                <a:gd name="connsiteY266" fmla="*/ 286394 h 458815"/>
                <a:gd name="connsiteX267" fmla="*/ 204730 w 358260"/>
                <a:gd name="connsiteY267" fmla="*/ 291328 h 458815"/>
                <a:gd name="connsiteX268" fmla="*/ 200586 w 358260"/>
                <a:gd name="connsiteY268" fmla="*/ 291328 h 458815"/>
                <a:gd name="connsiteX269" fmla="*/ 200586 w 358260"/>
                <a:gd name="connsiteY269" fmla="*/ 292907 h 458815"/>
                <a:gd name="connsiteX270" fmla="*/ 196441 w 358260"/>
                <a:gd name="connsiteY270" fmla="*/ 292907 h 458815"/>
                <a:gd name="connsiteX271" fmla="*/ 206754 w 358260"/>
                <a:gd name="connsiteY271" fmla="*/ 292808 h 458815"/>
                <a:gd name="connsiteX272" fmla="*/ 200586 w 358260"/>
                <a:gd name="connsiteY272" fmla="*/ 294436 h 458815"/>
                <a:gd name="connsiteX273" fmla="*/ 198513 w 358260"/>
                <a:gd name="connsiteY273" fmla="*/ 300801 h 458815"/>
                <a:gd name="connsiteX274" fmla="*/ 202658 w 358260"/>
                <a:gd name="connsiteY274" fmla="*/ 304008 h 458815"/>
                <a:gd name="connsiteX275" fmla="*/ 208875 w 358260"/>
                <a:gd name="connsiteY275" fmla="*/ 297594 h 458815"/>
                <a:gd name="connsiteX276" fmla="*/ 208875 w 358260"/>
                <a:gd name="connsiteY276" fmla="*/ 294436 h 458815"/>
                <a:gd name="connsiteX277" fmla="*/ 266801 w 358260"/>
                <a:gd name="connsiteY277" fmla="*/ 291229 h 458815"/>
                <a:gd name="connsiteX278" fmla="*/ 266801 w 358260"/>
                <a:gd name="connsiteY278" fmla="*/ 297594 h 458815"/>
                <a:gd name="connsiteX279" fmla="*/ 264778 w 358260"/>
                <a:gd name="connsiteY279" fmla="*/ 294436 h 458815"/>
                <a:gd name="connsiteX280" fmla="*/ 235765 w 358260"/>
                <a:gd name="connsiteY280" fmla="*/ 332774 h 458815"/>
                <a:gd name="connsiteX281" fmla="*/ 239910 w 358260"/>
                <a:gd name="connsiteY281" fmla="*/ 326409 h 458815"/>
                <a:gd name="connsiteX282" fmla="*/ 244055 w 358260"/>
                <a:gd name="connsiteY282" fmla="*/ 313630 h 458815"/>
                <a:gd name="connsiteX283" fmla="*/ 252344 w 358260"/>
                <a:gd name="connsiteY283" fmla="*/ 303762 h 458815"/>
                <a:gd name="connsiteX284" fmla="*/ 254416 w 358260"/>
                <a:gd name="connsiteY284" fmla="*/ 297347 h 458815"/>
                <a:gd name="connsiteX285" fmla="*/ 254416 w 358260"/>
                <a:gd name="connsiteY285" fmla="*/ 292413 h 458815"/>
                <a:gd name="connsiteX286" fmla="*/ 256488 w 358260"/>
                <a:gd name="connsiteY286" fmla="*/ 289206 h 458815"/>
                <a:gd name="connsiteX287" fmla="*/ 256488 w 358260"/>
                <a:gd name="connsiteY287" fmla="*/ 276526 h 458815"/>
                <a:gd name="connsiteX288" fmla="*/ 252344 w 358260"/>
                <a:gd name="connsiteY288" fmla="*/ 278105 h 458815"/>
                <a:gd name="connsiteX289" fmla="*/ 250271 w 358260"/>
                <a:gd name="connsiteY289" fmla="*/ 289305 h 458815"/>
                <a:gd name="connsiteX290" fmla="*/ 244055 w 358260"/>
                <a:gd name="connsiteY290" fmla="*/ 299173 h 458815"/>
                <a:gd name="connsiteX291" fmla="*/ 241982 w 358260"/>
                <a:gd name="connsiteY291" fmla="*/ 305587 h 458815"/>
                <a:gd name="connsiteX292" fmla="*/ 239910 w 358260"/>
                <a:gd name="connsiteY292" fmla="*/ 315159 h 458815"/>
                <a:gd name="connsiteX293" fmla="*/ 233743 w 358260"/>
                <a:gd name="connsiteY293" fmla="*/ 320093 h 458815"/>
                <a:gd name="connsiteX294" fmla="*/ 233743 w 358260"/>
                <a:gd name="connsiteY294" fmla="*/ 326507 h 458815"/>
                <a:gd name="connsiteX295" fmla="*/ 227476 w 358260"/>
                <a:gd name="connsiteY295" fmla="*/ 329616 h 458815"/>
                <a:gd name="connsiteX296" fmla="*/ 227476 w 358260"/>
                <a:gd name="connsiteY296" fmla="*/ 316837 h 458815"/>
                <a:gd name="connsiteX297" fmla="*/ 231621 w 358260"/>
                <a:gd name="connsiteY297" fmla="*/ 299222 h 458815"/>
                <a:gd name="connsiteX298" fmla="*/ 237838 w 358260"/>
                <a:gd name="connsiteY298" fmla="*/ 294288 h 458815"/>
                <a:gd name="connsiteX299" fmla="*/ 237838 w 358260"/>
                <a:gd name="connsiteY299" fmla="*/ 289354 h 458815"/>
                <a:gd name="connsiteX300" fmla="*/ 231621 w 358260"/>
                <a:gd name="connsiteY300" fmla="*/ 284420 h 458815"/>
                <a:gd name="connsiteX301" fmla="*/ 229598 w 358260"/>
                <a:gd name="connsiteY301" fmla="*/ 285999 h 458815"/>
                <a:gd name="connsiteX302" fmla="*/ 223331 w 358260"/>
                <a:gd name="connsiteY302" fmla="*/ 284420 h 458815"/>
                <a:gd name="connsiteX303" fmla="*/ 219188 w 358260"/>
                <a:gd name="connsiteY303" fmla="*/ 287627 h 458815"/>
                <a:gd name="connsiteX304" fmla="*/ 219188 w 358260"/>
                <a:gd name="connsiteY304" fmla="*/ 294041 h 458815"/>
                <a:gd name="connsiteX305" fmla="*/ 215043 w 358260"/>
                <a:gd name="connsiteY305" fmla="*/ 298975 h 458815"/>
                <a:gd name="connsiteX306" fmla="*/ 215043 w 358260"/>
                <a:gd name="connsiteY306" fmla="*/ 306969 h 458815"/>
                <a:gd name="connsiteX307" fmla="*/ 210898 w 358260"/>
                <a:gd name="connsiteY307" fmla="*/ 314962 h 458815"/>
                <a:gd name="connsiteX308" fmla="*/ 200586 w 358260"/>
                <a:gd name="connsiteY308" fmla="*/ 316590 h 458815"/>
                <a:gd name="connsiteX309" fmla="*/ 196441 w 358260"/>
                <a:gd name="connsiteY309" fmla="*/ 321524 h 458815"/>
                <a:gd name="connsiteX310" fmla="*/ 198513 w 358260"/>
                <a:gd name="connsiteY310" fmla="*/ 331145 h 458815"/>
                <a:gd name="connsiteX311" fmla="*/ 204730 w 358260"/>
                <a:gd name="connsiteY311" fmla="*/ 331145 h 458815"/>
                <a:gd name="connsiteX312" fmla="*/ 213020 w 358260"/>
                <a:gd name="connsiteY312" fmla="*/ 336080 h 458815"/>
                <a:gd name="connsiteX313" fmla="*/ 219188 w 358260"/>
                <a:gd name="connsiteY313" fmla="*/ 336080 h 458815"/>
                <a:gd name="connsiteX314" fmla="*/ 219188 w 358260"/>
                <a:gd name="connsiteY314" fmla="*/ 344073 h 458815"/>
                <a:gd name="connsiteX315" fmla="*/ 225454 w 358260"/>
                <a:gd name="connsiteY315" fmla="*/ 345701 h 458815"/>
                <a:gd name="connsiteX316" fmla="*/ 231621 w 358260"/>
                <a:gd name="connsiteY316" fmla="*/ 342494 h 458815"/>
                <a:gd name="connsiteX317" fmla="*/ 231621 w 358260"/>
                <a:gd name="connsiteY317" fmla="*/ 337560 h 458815"/>
                <a:gd name="connsiteX318" fmla="*/ 246127 w 358260"/>
                <a:gd name="connsiteY318" fmla="*/ 339188 h 458815"/>
                <a:gd name="connsiteX319" fmla="*/ 248199 w 358260"/>
                <a:gd name="connsiteY319" fmla="*/ 340816 h 458815"/>
                <a:gd name="connsiteX320" fmla="*/ 246127 w 358260"/>
                <a:gd name="connsiteY320" fmla="*/ 343974 h 458815"/>
                <a:gd name="connsiteX321" fmla="*/ 241982 w 358260"/>
                <a:gd name="connsiteY321" fmla="*/ 345602 h 458815"/>
                <a:gd name="connsiteX322" fmla="*/ 237838 w 358260"/>
                <a:gd name="connsiteY322" fmla="*/ 343974 h 458815"/>
                <a:gd name="connsiteX323" fmla="*/ 239910 w 358260"/>
                <a:gd name="connsiteY323" fmla="*/ 339040 h 458815"/>
                <a:gd name="connsiteX324" fmla="*/ 266801 w 358260"/>
                <a:gd name="connsiteY324" fmla="*/ 310422 h 458815"/>
                <a:gd name="connsiteX325" fmla="*/ 270946 w 358260"/>
                <a:gd name="connsiteY325" fmla="*/ 310422 h 458815"/>
                <a:gd name="connsiteX326" fmla="*/ 275089 w 358260"/>
                <a:gd name="connsiteY326" fmla="*/ 313630 h 458815"/>
                <a:gd name="connsiteX327" fmla="*/ 277212 w 358260"/>
                <a:gd name="connsiteY327" fmla="*/ 319995 h 458815"/>
                <a:gd name="connsiteX328" fmla="*/ 273067 w 358260"/>
                <a:gd name="connsiteY328" fmla="*/ 324929 h 458815"/>
                <a:gd name="connsiteX329" fmla="*/ 262705 w 358260"/>
                <a:gd name="connsiteY329" fmla="*/ 328136 h 458815"/>
                <a:gd name="connsiteX330" fmla="*/ 254416 w 358260"/>
                <a:gd name="connsiteY330" fmla="*/ 329715 h 458815"/>
                <a:gd name="connsiteX331" fmla="*/ 254416 w 358260"/>
                <a:gd name="connsiteY331" fmla="*/ 326507 h 458815"/>
                <a:gd name="connsiteX332" fmla="*/ 250271 w 358260"/>
                <a:gd name="connsiteY332" fmla="*/ 321573 h 458815"/>
                <a:gd name="connsiteX333" fmla="*/ 254416 w 358260"/>
                <a:gd name="connsiteY333" fmla="*/ 316639 h 458815"/>
                <a:gd name="connsiteX334" fmla="*/ 299957 w 358260"/>
                <a:gd name="connsiteY334" fmla="*/ 312001 h 458815"/>
                <a:gd name="connsiteX335" fmla="*/ 304102 w 358260"/>
                <a:gd name="connsiteY335" fmla="*/ 316935 h 458815"/>
                <a:gd name="connsiteX336" fmla="*/ 304102 w 358260"/>
                <a:gd name="connsiteY336" fmla="*/ 321869 h 458815"/>
                <a:gd name="connsiteX337" fmla="*/ 299957 w 358260"/>
                <a:gd name="connsiteY337" fmla="*/ 316935 h 458815"/>
                <a:gd name="connsiteX338" fmla="*/ 279234 w 358260"/>
                <a:gd name="connsiteY338" fmla="*/ 335734 h 458815"/>
                <a:gd name="connsiteX339" fmla="*/ 287523 w 358260"/>
                <a:gd name="connsiteY339" fmla="*/ 340668 h 458815"/>
                <a:gd name="connsiteX340" fmla="*/ 285501 w 358260"/>
                <a:gd name="connsiteY340" fmla="*/ 345602 h 458815"/>
                <a:gd name="connsiteX341" fmla="*/ 281356 w 358260"/>
                <a:gd name="connsiteY341" fmla="*/ 342395 h 458815"/>
                <a:gd name="connsiteX342" fmla="*/ 279234 w 358260"/>
                <a:gd name="connsiteY342" fmla="*/ 339188 h 458815"/>
                <a:gd name="connsiteX343" fmla="*/ 275089 w 358260"/>
                <a:gd name="connsiteY343" fmla="*/ 262217 h 458815"/>
                <a:gd name="connsiteX344" fmla="*/ 273067 w 358260"/>
                <a:gd name="connsiteY344" fmla="*/ 268582 h 458815"/>
                <a:gd name="connsiteX345" fmla="*/ 268922 w 358260"/>
                <a:gd name="connsiteY345" fmla="*/ 268582 h 458815"/>
                <a:gd name="connsiteX346" fmla="*/ 262705 w 358260"/>
                <a:gd name="connsiteY346" fmla="*/ 265375 h 458815"/>
                <a:gd name="connsiteX347" fmla="*/ 266801 w 358260"/>
                <a:gd name="connsiteY347" fmla="*/ 263746 h 458815"/>
                <a:gd name="connsiteX348" fmla="*/ 289891 w 358260"/>
                <a:gd name="connsiteY348" fmla="*/ 271789 h 458815"/>
                <a:gd name="connsiteX349" fmla="*/ 296059 w 358260"/>
                <a:gd name="connsiteY349" fmla="*/ 274947 h 458815"/>
                <a:gd name="connsiteX350" fmla="*/ 298182 w 358260"/>
                <a:gd name="connsiteY350" fmla="*/ 278154 h 458815"/>
                <a:gd name="connsiteX351" fmla="*/ 308493 w 358260"/>
                <a:gd name="connsiteY351" fmla="*/ 278154 h 458815"/>
                <a:gd name="connsiteX352" fmla="*/ 310566 w 358260"/>
                <a:gd name="connsiteY352" fmla="*/ 279782 h 458815"/>
                <a:gd name="connsiteX353" fmla="*/ 312638 w 358260"/>
                <a:gd name="connsiteY353" fmla="*/ 278154 h 458815"/>
                <a:gd name="connsiteX354" fmla="*/ 316783 w 358260"/>
                <a:gd name="connsiteY354" fmla="*/ 279782 h 458815"/>
                <a:gd name="connsiteX355" fmla="*/ 312638 w 358260"/>
                <a:gd name="connsiteY355" fmla="*/ 276575 h 458815"/>
                <a:gd name="connsiteX356" fmla="*/ 310566 w 358260"/>
                <a:gd name="connsiteY356" fmla="*/ 270161 h 458815"/>
                <a:gd name="connsiteX357" fmla="*/ 306421 w 358260"/>
                <a:gd name="connsiteY357" fmla="*/ 266954 h 458815"/>
                <a:gd name="connsiteX358" fmla="*/ 308493 w 358260"/>
                <a:gd name="connsiteY358" fmla="*/ 259010 h 458815"/>
                <a:gd name="connsiteX359" fmla="*/ 306421 w 358260"/>
                <a:gd name="connsiteY359" fmla="*/ 247810 h 458815"/>
                <a:gd name="connsiteX360" fmla="*/ 306421 w 358260"/>
                <a:gd name="connsiteY360" fmla="*/ 244603 h 458815"/>
                <a:gd name="connsiteX361" fmla="*/ 304349 w 358260"/>
                <a:gd name="connsiteY361" fmla="*/ 242974 h 458815"/>
                <a:gd name="connsiteX362" fmla="*/ 298182 w 358260"/>
                <a:gd name="connsiteY362" fmla="*/ 234981 h 458815"/>
                <a:gd name="connsiteX363" fmla="*/ 294037 w 358260"/>
                <a:gd name="connsiteY363" fmla="*/ 230047 h 458815"/>
                <a:gd name="connsiteX364" fmla="*/ 287770 w 358260"/>
                <a:gd name="connsiteY364" fmla="*/ 230047 h 458815"/>
                <a:gd name="connsiteX365" fmla="*/ 283625 w 358260"/>
                <a:gd name="connsiteY365" fmla="*/ 228468 h 458815"/>
                <a:gd name="connsiteX366" fmla="*/ 281603 w 358260"/>
                <a:gd name="connsiteY366" fmla="*/ 230047 h 458815"/>
                <a:gd name="connsiteX367" fmla="*/ 277458 w 358260"/>
                <a:gd name="connsiteY367" fmla="*/ 231626 h 458815"/>
                <a:gd name="connsiteX368" fmla="*/ 265025 w 358260"/>
                <a:gd name="connsiteY368" fmla="*/ 231626 h 458815"/>
                <a:gd name="connsiteX369" fmla="*/ 262952 w 358260"/>
                <a:gd name="connsiteY369" fmla="*/ 230047 h 458815"/>
                <a:gd name="connsiteX370" fmla="*/ 262952 w 358260"/>
                <a:gd name="connsiteY370" fmla="*/ 234981 h 458815"/>
                <a:gd name="connsiteX371" fmla="*/ 267047 w 358260"/>
                <a:gd name="connsiteY371" fmla="*/ 244603 h 458815"/>
                <a:gd name="connsiteX372" fmla="*/ 277458 w 358260"/>
                <a:gd name="connsiteY372" fmla="*/ 251017 h 458815"/>
                <a:gd name="connsiteX373" fmla="*/ 285748 w 358260"/>
                <a:gd name="connsiteY373" fmla="*/ 259010 h 458815"/>
                <a:gd name="connsiteX374" fmla="*/ 287770 w 358260"/>
                <a:gd name="connsiteY374" fmla="*/ 260589 h 458815"/>
                <a:gd name="connsiteX375" fmla="*/ 287770 w 358260"/>
                <a:gd name="connsiteY375" fmla="*/ 263746 h 458815"/>
                <a:gd name="connsiteX376" fmla="*/ 283625 w 358260"/>
                <a:gd name="connsiteY376" fmla="*/ 266954 h 458815"/>
                <a:gd name="connsiteX377" fmla="*/ 283625 w 358260"/>
                <a:gd name="connsiteY377" fmla="*/ 268582 h 458815"/>
                <a:gd name="connsiteX378" fmla="*/ 285748 w 358260"/>
                <a:gd name="connsiteY378" fmla="*/ 266954 h 458815"/>
                <a:gd name="connsiteX379" fmla="*/ 287770 w 358260"/>
                <a:gd name="connsiteY379" fmla="*/ 270161 h 458815"/>
                <a:gd name="connsiteX380" fmla="*/ 283625 w 358260"/>
                <a:gd name="connsiteY380" fmla="*/ 271789 h 458815"/>
                <a:gd name="connsiteX381" fmla="*/ 277458 w 358260"/>
                <a:gd name="connsiteY381" fmla="*/ 273417 h 458815"/>
                <a:gd name="connsiteX382" fmla="*/ 271193 w 358260"/>
                <a:gd name="connsiteY382" fmla="*/ 271789 h 458815"/>
                <a:gd name="connsiteX383" fmla="*/ 265025 w 358260"/>
                <a:gd name="connsiteY383" fmla="*/ 271789 h 458815"/>
                <a:gd name="connsiteX384" fmla="*/ 269169 w 358260"/>
                <a:gd name="connsiteY384" fmla="*/ 278154 h 458815"/>
                <a:gd name="connsiteX385" fmla="*/ 269169 w 358260"/>
                <a:gd name="connsiteY385" fmla="*/ 284568 h 458815"/>
                <a:gd name="connsiteX386" fmla="*/ 273314 w 358260"/>
                <a:gd name="connsiteY386" fmla="*/ 287775 h 458815"/>
                <a:gd name="connsiteX387" fmla="*/ 277458 w 358260"/>
                <a:gd name="connsiteY387" fmla="*/ 284568 h 458815"/>
                <a:gd name="connsiteX388" fmla="*/ 281603 w 358260"/>
                <a:gd name="connsiteY388" fmla="*/ 287775 h 458815"/>
                <a:gd name="connsiteX389" fmla="*/ 279481 w 358260"/>
                <a:gd name="connsiteY389" fmla="*/ 295769 h 458815"/>
                <a:gd name="connsiteX390" fmla="*/ 283625 w 358260"/>
                <a:gd name="connsiteY390" fmla="*/ 300703 h 458815"/>
                <a:gd name="connsiteX391" fmla="*/ 285748 w 358260"/>
                <a:gd name="connsiteY391" fmla="*/ 310571 h 458815"/>
                <a:gd name="connsiteX392" fmla="*/ 289891 w 358260"/>
                <a:gd name="connsiteY392" fmla="*/ 313778 h 458815"/>
                <a:gd name="connsiteX393" fmla="*/ 291915 w 358260"/>
                <a:gd name="connsiteY393" fmla="*/ 305784 h 458815"/>
                <a:gd name="connsiteX394" fmla="*/ 296059 w 358260"/>
                <a:gd name="connsiteY394" fmla="*/ 310719 h 458815"/>
                <a:gd name="connsiteX395" fmla="*/ 302276 w 358260"/>
                <a:gd name="connsiteY395" fmla="*/ 309090 h 458815"/>
                <a:gd name="connsiteX396" fmla="*/ 302276 w 358260"/>
                <a:gd name="connsiteY396" fmla="*/ 304156 h 458815"/>
                <a:gd name="connsiteX397" fmla="*/ 296059 w 358260"/>
                <a:gd name="connsiteY397" fmla="*/ 294584 h 458815"/>
                <a:gd name="connsiteX398" fmla="*/ 291915 w 358260"/>
                <a:gd name="connsiteY398" fmla="*/ 291377 h 458815"/>
                <a:gd name="connsiteX399" fmla="*/ 289891 w 358260"/>
                <a:gd name="connsiteY399" fmla="*/ 281509 h 458815"/>
                <a:gd name="connsiteX400" fmla="*/ 285748 w 358260"/>
                <a:gd name="connsiteY400" fmla="*/ 275095 h 458815"/>
                <a:gd name="connsiteX401" fmla="*/ 318855 w 358260"/>
                <a:gd name="connsiteY401" fmla="*/ 287775 h 458815"/>
                <a:gd name="connsiteX402" fmla="*/ 323000 w 358260"/>
                <a:gd name="connsiteY402" fmla="*/ 286147 h 458815"/>
                <a:gd name="connsiteX403" fmla="*/ 320927 w 358260"/>
                <a:gd name="connsiteY403" fmla="*/ 284568 h 458815"/>
                <a:gd name="connsiteX404" fmla="*/ 318707 w 358260"/>
                <a:gd name="connsiteY404" fmla="*/ 284568 h 458815"/>
                <a:gd name="connsiteX405" fmla="*/ 320927 w 358260"/>
                <a:gd name="connsiteY405" fmla="*/ 292709 h 458815"/>
                <a:gd name="connsiteX406" fmla="*/ 316783 w 358260"/>
                <a:gd name="connsiteY406" fmla="*/ 291131 h 458815"/>
                <a:gd name="connsiteX407" fmla="*/ 316783 w 358260"/>
                <a:gd name="connsiteY407" fmla="*/ 294337 h 458815"/>
                <a:gd name="connsiteX408" fmla="*/ 318855 w 358260"/>
                <a:gd name="connsiteY408" fmla="*/ 295916 h 458815"/>
                <a:gd name="connsiteX409" fmla="*/ 318855 w 358260"/>
                <a:gd name="connsiteY409" fmla="*/ 323103 h 458815"/>
                <a:gd name="connsiteX410" fmla="*/ 320927 w 358260"/>
                <a:gd name="connsiteY410" fmla="*/ 315110 h 458815"/>
                <a:gd name="connsiteX411" fmla="*/ 316783 w 358260"/>
                <a:gd name="connsiteY411" fmla="*/ 310176 h 458815"/>
                <a:gd name="connsiteX412" fmla="*/ 316783 w 358260"/>
                <a:gd name="connsiteY412" fmla="*/ 305242 h 458815"/>
                <a:gd name="connsiteX413" fmla="*/ 318855 w 358260"/>
                <a:gd name="connsiteY413" fmla="*/ 303614 h 458815"/>
                <a:gd name="connsiteX414" fmla="*/ 316783 w 358260"/>
                <a:gd name="connsiteY414" fmla="*/ 300407 h 458815"/>
                <a:gd name="connsiteX415" fmla="*/ 312638 w 358260"/>
                <a:gd name="connsiteY415" fmla="*/ 300407 h 458815"/>
                <a:gd name="connsiteX416" fmla="*/ 312638 w 358260"/>
                <a:gd name="connsiteY416" fmla="*/ 308400 h 458815"/>
                <a:gd name="connsiteX417" fmla="*/ 316783 w 358260"/>
                <a:gd name="connsiteY417" fmla="*/ 314814 h 458815"/>
                <a:gd name="connsiteX418" fmla="*/ 314710 w 358260"/>
                <a:gd name="connsiteY418" fmla="*/ 319748 h 458815"/>
                <a:gd name="connsiteX419" fmla="*/ 316783 w 358260"/>
                <a:gd name="connsiteY419" fmla="*/ 322955 h 458815"/>
                <a:gd name="connsiteX420" fmla="*/ 327144 w 358260"/>
                <a:gd name="connsiteY420" fmla="*/ 324731 h 458815"/>
                <a:gd name="connsiteX421" fmla="*/ 327144 w 358260"/>
                <a:gd name="connsiteY421" fmla="*/ 327938 h 458815"/>
                <a:gd name="connsiteX422" fmla="*/ 329216 w 358260"/>
                <a:gd name="connsiteY422" fmla="*/ 331096 h 458815"/>
                <a:gd name="connsiteX423" fmla="*/ 331289 w 358260"/>
                <a:gd name="connsiteY423" fmla="*/ 327938 h 458815"/>
                <a:gd name="connsiteX424" fmla="*/ 333361 w 358260"/>
                <a:gd name="connsiteY424" fmla="*/ 311903 h 458815"/>
                <a:gd name="connsiteX425" fmla="*/ 331289 w 358260"/>
                <a:gd name="connsiteY425" fmla="*/ 318317 h 458815"/>
                <a:gd name="connsiteX426" fmla="*/ 329216 w 358260"/>
                <a:gd name="connsiteY426" fmla="*/ 319896 h 458815"/>
                <a:gd name="connsiteX427" fmla="*/ 333361 w 358260"/>
                <a:gd name="connsiteY427" fmla="*/ 324830 h 458815"/>
                <a:gd name="connsiteX428" fmla="*/ 337506 w 358260"/>
                <a:gd name="connsiteY428" fmla="*/ 323202 h 458815"/>
                <a:gd name="connsiteX429" fmla="*/ 335433 w 358260"/>
                <a:gd name="connsiteY429" fmla="*/ 316837 h 458815"/>
                <a:gd name="connsiteX430" fmla="*/ 192543 w 358260"/>
                <a:gd name="connsiteY430" fmla="*/ 419070 h 458815"/>
                <a:gd name="connsiteX431" fmla="*/ 184254 w 358260"/>
                <a:gd name="connsiteY431" fmla="*/ 411077 h 458815"/>
                <a:gd name="connsiteX432" fmla="*/ 190471 w 358260"/>
                <a:gd name="connsiteY432" fmla="*/ 403084 h 458815"/>
                <a:gd name="connsiteX433" fmla="*/ 192543 w 358260"/>
                <a:gd name="connsiteY433" fmla="*/ 393512 h 458815"/>
                <a:gd name="connsiteX434" fmla="*/ 190422 w 358260"/>
                <a:gd name="connsiteY434" fmla="*/ 390008 h 458815"/>
                <a:gd name="connsiteX435" fmla="*/ 196639 w 358260"/>
                <a:gd name="connsiteY435" fmla="*/ 383644 h 458815"/>
                <a:gd name="connsiteX436" fmla="*/ 202856 w 358260"/>
                <a:gd name="connsiteY436" fmla="*/ 382065 h 458815"/>
                <a:gd name="connsiteX437" fmla="*/ 209073 w 358260"/>
                <a:gd name="connsiteY437" fmla="*/ 377131 h 458815"/>
                <a:gd name="connsiteX438" fmla="*/ 215240 w 358260"/>
                <a:gd name="connsiteY438" fmla="*/ 378759 h 458815"/>
                <a:gd name="connsiteX439" fmla="*/ 225650 w 358260"/>
                <a:gd name="connsiteY439" fmla="*/ 377131 h 458815"/>
                <a:gd name="connsiteX440" fmla="*/ 221506 w 358260"/>
                <a:gd name="connsiteY440" fmla="*/ 372197 h 458815"/>
                <a:gd name="connsiteX441" fmla="*/ 225650 w 358260"/>
                <a:gd name="connsiteY441" fmla="*/ 365783 h 458815"/>
                <a:gd name="connsiteX442" fmla="*/ 233940 w 358260"/>
                <a:gd name="connsiteY442" fmla="*/ 362625 h 458815"/>
                <a:gd name="connsiteX443" fmla="*/ 238035 w 358260"/>
                <a:gd name="connsiteY443" fmla="*/ 357691 h 458815"/>
                <a:gd name="connsiteX444" fmla="*/ 244252 w 358260"/>
                <a:gd name="connsiteY444" fmla="*/ 357691 h 458815"/>
                <a:gd name="connsiteX445" fmla="*/ 252542 w 358260"/>
                <a:gd name="connsiteY445" fmla="*/ 364105 h 458815"/>
                <a:gd name="connsiteX446" fmla="*/ 252542 w 358260"/>
                <a:gd name="connsiteY446" fmla="*/ 373726 h 458815"/>
                <a:gd name="connsiteX447" fmla="*/ 246325 w 358260"/>
                <a:gd name="connsiteY447" fmla="*/ 383298 h 458815"/>
                <a:gd name="connsiteX448" fmla="*/ 252542 w 358260"/>
                <a:gd name="connsiteY448" fmla="*/ 378364 h 458815"/>
                <a:gd name="connsiteX449" fmla="*/ 258759 w 358260"/>
                <a:gd name="connsiteY449" fmla="*/ 376736 h 458815"/>
                <a:gd name="connsiteX450" fmla="*/ 266998 w 358260"/>
                <a:gd name="connsiteY450" fmla="*/ 373578 h 458815"/>
                <a:gd name="connsiteX451" fmla="*/ 271143 w 358260"/>
                <a:gd name="connsiteY451" fmla="*/ 362378 h 458815"/>
                <a:gd name="connsiteX452" fmla="*/ 279432 w 358260"/>
                <a:gd name="connsiteY452" fmla="*/ 360750 h 458815"/>
                <a:gd name="connsiteX453" fmla="*/ 281553 w 358260"/>
                <a:gd name="connsiteY453" fmla="*/ 367164 h 458815"/>
                <a:gd name="connsiteX454" fmla="*/ 287721 w 358260"/>
                <a:gd name="connsiteY454" fmla="*/ 365536 h 458815"/>
                <a:gd name="connsiteX455" fmla="*/ 287721 w 358260"/>
                <a:gd name="connsiteY455" fmla="*/ 360602 h 458815"/>
                <a:gd name="connsiteX456" fmla="*/ 285698 w 358260"/>
                <a:gd name="connsiteY456" fmla="*/ 359023 h 458815"/>
                <a:gd name="connsiteX457" fmla="*/ 287721 w 358260"/>
                <a:gd name="connsiteY457" fmla="*/ 346194 h 458815"/>
                <a:gd name="connsiteX458" fmla="*/ 296010 w 358260"/>
                <a:gd name="connsiteY458" fmla="*/ 349401 h 458815"/>
                <a:gd name="connsiteX459" fmla="*/ 300155 w 358260"/>
                <a:gd name="connsiteY459" fmla="*/ 352608 h 458815"/>
                <a:gd name="connsiteX460" fmla="*/ 302227 w 358260"/>
                <a:gd name="connsiteY460" fmla="*/ 349401 h 458815"/>
                <a:gd name="connsiteX461" fmla="*/ 302227 w 358260"/>
                <a:gd name="connsiteY461" fmla="*/ 341408 h 458815"/>
                <a:gd name="connsiteX462" fmla="*/ 304300 w 358260"/>
                <a:gd name="connsiteY462" fmla="*/ 341408 h 458815"/>
                <a:gd name="connsiteX463" fmla="*/ 310517 w 358260"/>
                <a:gd name="connsiteY463" fmla="*/ 346342 h 458815"/>
                <a:gd name="connsiteX464" fmla="*/ 310517 w 358260"/>
                <a:gd name="connsiteY464" fmla="*/ 341408 h 458815"/>
                <a:gd name="connsiteX465" fmla="*/ 308444 w 358260"/>
                <a:gd name="connsiteY465" fmla="*/ 328629 h 458815"/>
                <a:gd name="connsiteX466" fmla="*/ 308444 w 358260"/>
                <a:gd name="connsiteY466" fmla="*/ 322215 h 458815"/>
                <a:gd name="connsiteX467" fmla="*/ 312589 w 358260"/>
                <a:gd name="connsiteY467" fmla="*/ 323843 h 458815"/>
                <a:gd name="connsiteX468" fmla="*/ 316734 w 358260"/>
                <a:gd name="connsiteY468" fmla="*/ 323843 h 458815"/>
                <a:gd name="connsiteX469" fmla="*/ 316734 w 358260"/>
                <a:gd name="connsiteY469" fmla="*/ 328777 h 458815"/>
                <a:gd name="connsiteX470" fmla="*/ 327094 w 358260"/>
                <a:gd name="connsiteY470" fmla="*/ 335142 h 458815"/>
                <a:gd name="connsiteX471" fmla="*/ 333311 w 358260"/>
                <a:gd name="connsiteY471" fmla="*/ 341556 h 458815"/>
                <a:gd name="connsiteX472" fmla="*/ 339528 w 358260"/>
                <a:gd name="connsiteY472" fmla="*/ 338349 h 458815"/>
                <a:gd name="connsiteX473" fmla="*/ 339528 w 358260"/>
                <a:gd name="connsiteY473" fmla="*/ 341556 h 458815"/>
                <a:gd name="connsiteX474" fmla="*/ 343673 w 358260"/>
                <a:gd name="connsiteY474" fmla="*/ 349549 h 458815"/>
                <a:gd name="connsiteX475" fmla="*/ 343673 w 358260"/>
                <a:gd name="connsiteY475" fmla="*/ 355964 h 458815"/>
                <a:gd name="connsiteX476" fmla="*/ 339528 w 358260"/>
                <a:gd name="connsiteY476" fmla="*/ 355964 h 458815"/>
                <a:gd name="connsiteX477" fmla="*/ 337456 w 358260"/>
                <a:gd name="connsiteY477" fmla="*/ 359171 h 458815"/>
                <a:gd name="connsiteX478" fmla="*/ 341600 w 358260"/>
                <a:gd name="connsiteY478" fmla="*/ 364105 h 458815"/>
                <a:gd name="connsiteX479" fmla="*/ 345745 w 358260"/>
                <a:gd name="connsiteY479" fmla="*/ 364105 h 458815"/>
                <a:gd name="connsiteX480" fmla="*/ 343673 w 358260"/>
                <a:gd name="connsiteY480" fmla="*/ 367312 h 458815"/>
                <a:gd name="connsiteX481" fmla="*/ 343673 w 358260"/>
                <a:gd name="connsiteY481" fmla="*/ 375256 h 458815"/>
                <a:gd name="connsiteX482" fmla="*/ 347817 w 358260"/>
                <a:gd name="connsiteY482" fmla="*/ 372098 h 458815"/>
                <a:gd name="connsiteX483" fmla="*/ 347817 w 358260"/>
                <a:gd name="connsiteY483" fmla="*/ 384926 h 458815"/>
                <a:gd name="connsiteX484" fmla="*/ 351962 w 358260"/>
                <a:gd name="connsiteY484" fmla="*/ 391291 h 458815"/>
                <a:gd name="connsiteX485" fmla="*/ 356107 w 358260"/>
                <a:gd name="connsiteY485" fmla="*/ 396225 h 458815"/>
                <a:gd name="connsiteX486" fmla="*/ 358179 w 358260"/>
                <a:gd name="connsiteY486" fmla="*/ 405797 h 458815"/>
                <a:gd name="connsiteX487" fmla="*/ 354034 w 358260"/>
                <a:gd name="connsiteY487" fmla="*/ 413791 h 458815"/>
                <a:gd name="connsiteX488" fmla="*/ 351962 w 358260"/>
                <a:gd name="connsiteY488" fmla="*/ 413791 h 458815"/>
                <a:gd name="connsiteX489" fmla="*/ 351962 w 358260"/>
                <a:gd name="connsiteY489" fmla="*/ 418725 h 458815"/>
                <a:gd name="connsiteX490" fmla="*/ 347817 w 358260"/>
                <a:gd name="connsiteY490" fmla="*/ 413791 h 458815"/>
                <a:gd name="connsiteX491" fmla="*/ 343673 w 358260"/>
                <a:gd name="connsiteY491" fmla="*/ 415370 h 458815"/>
                <a:gd name="connsiteX492" fmla="*/ 343673 w 358260"/>
                <a:gd name="connsiteY492" fmla="*/ 418576 h 458815"/>
                <a:gd name="connsiteX493" fmla="*/ 345745 w 358260"/>
                <a:gd name="connsiteY493" fmla="*/ 426570 h 458815"/>
                <a:gd name="connsiteX494" fmla="*/ 345745 w 358260"/>
                <a:gd name="connsiteY494" fmla="*/ 437770 h 458815"/>
                <a:gd name="connsiteX495" fmla="*/ 341600 w 358260"/>
                <a:gd name="connsiteY495" fmla="*/ 434563 h 458815"/>
                <a:gd name="connsiteX496" fmla="*/ 339528 w 358260"/>
                <a:gd name="connsiteY496" fmla="*/ 424991 h 458815"/>
                <a:gd name="connsiteX497" fmla="*/ 339528 w 358260"/>
                <a:gd name="connsiteY497" fmla="*/ 418576 h 458815"/>
                <a:gd name="connsiteX498" fmla="*/ 335383 w 358260"/>
                <a:gd name="connsiteY498" fmla="*/ 415370 h 458815"/>
                <a:gd name="connsiteX499" fmla="*/ 333311 w 358260"/>
                <a:gd name="connsiteY499" fmla="*/ 408955 h 458815"/>
                <a:gd name="connsiteX500" fmla="*/ 329167 w 358260"/>
                <a:gd name="connsiteY500" fmla="*/ 402590 h 458815"/>
                <a:gd name="connsiteX501" fmla="*/ 325022 w 358260"/>
                <a:gd name="connsiteY501" fmla="*/ 404169 h 458815"/>
                <a:gd name="connsiteX502" fmla="*/ 314660 w 358260"/>
                <a:gd name="connsiteY502" fmla="*/ 418576 h 458815"/>
                <a:gd name="connsiteX503" fmla="*/ 314660 w 358260"/>
                <a:gd name="connsiteY503" fmla="*/ 423510 h 458815"/>
                <a:gd name="connsiteX504" fmla="*/ 320877 w 358260"/>
                <a:gd name="connsiteY504" fmla="*/ 426718 h 458815"/>
                <a:gd name="connsiteX505" fmla="*/ 325022 w 358260"/>
                <a:gd name="connsiteY505" fmla="*/ 434711 h 458815"/>
                <a:gd name="connsiteX506" fmla="*/ 327094 w 358260"/>
                <a:gd name="connsiteY506" fmla="*/ 439645 h 458815"/>
                <a:gd name="connsiteX507" fmla="*/ 327094 w 358260"/>
                <a:gd name="connsiteY507" fmla="*/ 446010 h 458815"/>
                <a:gd name="connsiteX508" fmla="*/ 316734 w 358260"/>
                <a:gd name="connsiteY508" fmla="*/ 455582 h 458815"/>
                <a:gd name="connsiteX509" fmla="*/ 312589 w 358260"/>
                <a:gd name="connsiteY509" fmla="*/ 458789 h 458815"/>
                <a:gd name="connsiteX510" fmla="*/ 310517 w 358260"/>
                <a:gd name="connsiteY510" fmla="*/ 457210 h 458815"/>
                <a:gd name="connsiteX511" fmla="*/ 308444 w 358260"/>
                <a:gd name="connsiteY511" fmla="*/ 450845 h 458815"/>
                <a:gd name="connsiteX512" fmla="*/ 310517 w 358260"/>
                <a:gd name="connsiteY512" fmla="*/ 447638 h 458815"/>
                <a:gd name="connsiteX513" fmla="*/ 308444 w 358260"/>
                <a:gd name="connsiteY513" fmla="*/ 446010 h 458815"/>
                <a:gd name="connsiteX514" fmla="*/ 304300 w 358260"/>
                <a:gd name="connsiteY514" fmla="*/ 447638 h 458815"/>
                <a:gd name="connsiteX515" fmla="*/ 304300 w 358260"/>
                <a:gd name="connsiteY515" fmla="*/ 450845 h 458815"/>
                <a:gd name="connsiteX516" fmla="*/ 298132 w 358260"/>
                <a:gd name="connsiteY516" fmla="*/ 454003 h 458815"/>
                <a:gd name="connsiteX517" fmla="*/ 289842 w 358260"/>
                <a:gd name="connsiteY517" fmla="*/ 450845 h 458815"/>
                <a:gd name="connsiteX518" fmla="*/ 283576 w 358260"/>
                <a:gd name="connsiteY518" fmla="*/ 445911 h 458815"/>
                <a:gd name="connsiteX519" fmla="*/ 275287 w 358260"/>
                <a:gd name="connsiteY519" fmla="*/ 445911 h 458815"/>
                <a:gd name="connsiteX520" fmla="*/ 269119 w 358260"/>
                <a:gd name="connsiteY520" fmla="*/ 439546 h 458815"/>
                <a:gd name="connsiteX521" fmla="*/ 266998 w 358260"/>
                <a:gd name="connsiteY521" fmla="*/ 434612 h 458815"/>
                <a:gd name="connsiteX522" fmla="*/ 262902 w 358260"/>
                <a:gd name="connsiteY522" fmla="*/ 428247 h 458815"/>
                <a:gd name="connsiteX523" fmla="*/ 264976 w 358260"/>
                <a:gd name="connsiteY523" fmla="*/ 425040 h 458815"/>
                <a:gd name="connsiteX524" fmla="*/ 262902 w 358260"/>
                <a:gd name="connsiteY524" fmla="*/ 420106 h 458815"/>
                <a:gd name="connsiteX525" fmla="*/ 260831 w 358260"/>
                <a:gd name="connsiteY525" fmla="*/ 416948 h 458815"/>
                <a:gd name="connsiteX526" fmla="*/ 262902 w 358260"/>
                <a:gd name="connsiteY526" fmla="*/ 412014 h 458815"/>
                <a:gd name="connsiteX527" fmla="*/ 262902 w 358260"/>
                <a:gd name="connsiteY527" fmla="*/ 408807 h 458815"/>
                <a:gd name="connsiteX528" fmla="*/ 266998 w 358260"/>
                <a:gd name="connsiteY528" fmla="*/ 408807 h 458815"/>
                <a:gd name="connsiteX529" fmla="*/ 273264 w 358260"/>
                <a:gd name="connsiteY529" fmla="*/ 410435 h 458815"/>
                <a:gd name="connsiteX530" fmla="*/ 266998 w 358260"/>
                <a:gd name="connsiteY530" fmla="*/ 405501 h 458815"/>
                <a:gd name="connsiteX531" fmla="*/ 264976 w 358260"/>
                <a:gd name="connsiteY531" fmla="*/ 400567 h 458815"/>
                <a:gd name="connsiteX532" fmla="*/ 258759 w 358260"/>
                <a:gd name="connsiteY532" fmla="*/ 395633 h 458815"/>
                <a:gd name="connsiteX533" fmla="*/ 252542 w 358260"/>
                <a:gd name="connsiteY533" fmla="*/ 394005 h 458815"/>
                <a:gd name="connsiteX534" fmla="*/ 246325 w 358260"/>
                <a:gd name="connsiteY534" fmla="*/ 389071 h 458815"/>
                <a:gd name="connsiteX535" fmla="*/ 242180 w 358260"/>
                <a:gd name="connsiteY535" fmla="*/ 389071 h 458815"/>
                <a:gd name="connsiteX536" fmla="*/ 240108 w 358260"/>
                <a:gd name="connsiteY536" fmla="*/ 390699 h 458815"/>
                <a:gd name="connsiteX537" fmla="*/ 240108 w 358260"/>
                <a:gd name="connsiteY537" fmla="*/ 394943 h 458815"/>
                <a:gd name="connsiteX538" fmla="*/ 238035 w 358260"/>
                <a:gd name="connsiteY538" fmla="*/ 398100 h 458815"/>
                <a:gd name="connsiteX539" fmla="*/ 242180 w 358260"/>
                <a:gd name="connsiteY539" fmla="*/ 403034 h 458815"/>
                <a:gd name="connsiteX540" fmla="*/ 239762 w 358260"/>
                <a:gd name="connsiteY540" fmla="*/ 403034 h 458815"/>
                <a:gd name="connsiteX541" fmla="*/ 233595 w 358260"/>
                <a:gd name="connsiteY541" fmla="*/ 398100 h 458815"/>
                <a:gd name="connsiteX542" fmla="*/ 229450 w 358260"/>
                <a:gd name="connsiteY542" fmla="*/ 399728 h 458815"/>
                <a:gd name="connsiteX543" fmla="*/ 231473 w 358260"/>
                <a:gd name="connsiteY543" fmla="*/ 394794 h 458815"/>
                <a:gd name="connsiteX544" fmla="*/ 227328 w 358260"/>
                <a:gd name="connsiteY544" fmla="*/ 394794 h 458815"/>
                <a:gd name="connsiteX545" fmla="*/ 225306 w 358260"/>
                <a:gd name="connsiteY545" fmla="*/ 396423 h 458815"/>
                <a:gd name="connsiteX546" fmla="*/ 225306 w 358260"/>
                <a:gd name="connsiteY546" fmla="*/ 401357 h 458815"/>
                <a:gd name="connsiteX547" fmla="*/ 221161 w 358260"/>
                <a:gd name="connsiteY547" fmla="*/ 399778 h 458815"/>
                <a:gd name="connsiteX548" fmla="*/ 217016 w 358260"/>
                <a:gd name="connsiteY548" fmla="*/ 401357 h 458815"/>
                <a:gd name="connsiteX549" fmla="*/ 215092 w 358260"/>
                <a:gd name="connsiteY549" fmla="*/ 399877 h 458815"/>
                <a:gd name="connsiteX550" fmla="*/ 217213 w 358260"/>
                <a:gd name="connsiteY550" fmla="*/ 393512 h 458815"/>
                <a:gd name="connsiteX551" fmla="*/ 213069 w 358260"/>
                <a:gd name="connsiteY551" fmla="*/ 388578 h 458815"/>
                <a:gd name="connsiteX552" fmla="*/ 208924 w 358260"/>
                <a:gd name="connsiteY552" fmla="*/ 390157 h 458815"/>
                <a:gd name="connsiteX553" fmla="*/ 204779 w 358260"/>
                <a:gd name="connsiteY553" fmla="*/ 398150 h 458815"/>
                <a:gd name="connsiteX554" fmla="*/ 200636 w 358260"/>
                <a:gd name="connsiteY554" fmla="*/ 401357 h 458815"/>
                <a:gd name="connsiteX555" fmla="*/ 194419 w 358260"/>
                <a:gd name="connsiteY555" fmla="*/ 414185 h 458815"/>
                <a:gd name="connsiteX556" fmla="*/ 182182 w 358260"/>
                <a:gd name="connsiteY556" fmla="*/ 425484 h 458815"/>
                <a:gd name="connsiteX557" fmla="*/ 182182 w 358260"/>
                <a:gd name="connsiteY557" fmla="*/ 428691 h 458815"/>
                <a:gd name="connsiteX558" fmla="*/ 186326 w 358260"/>
                <a:gd name="connsiteY558" fmla="*/ 435056 h 458815"/>
                <a:gd name="connsiteX559" fmla="*/ 190471 w 358260"/>
                <a:gd name="connsiteY559" fmla="*/ 435056 h 458815"/>
                <a:gd name="connsiteX560" fmla="*/ 198760 w 358260"/>
                <a:gd name="connsiteY560" fmla="*/ 428691 h 458815"/>
                <a:gd name="connsiteX561" fmla="*/ 200833 w 358260"/>
                <a:gd name="connsiteY561" fmla="*/ 427063 h 458815"/>
                <a:gd name="connsiteX562" fmla="*/ 196688 w 358260"/>
                <a:gd name="connsiteY562" fmla="*/ 425484 h 458815"/>
                <a:gd name="connsiteX563" fmla="*/ 190471 w 358260"/>
                <a:gd name="connsiteY563" fmla="*/ 422277 h 458815"/>
                <a:gd name="connsiteX564" fmla="*/ 188399 w 358260"/>
                <a:gd name="connsiteY564" fmla="*/ 425484 h 458815"/>
                <a:gd name="connsiteX565" fmla="*/ 99340 w 358260"/>
                <a:gd name="connsiteY565" fmla="*/ 249537 h 458815"/>
                <a:gd name="connsiteX566" fmla="*/ 97268 w 358260"/>
                <a:gd name="connsiteY566" fmla="*/ 246329 h 458815"/>
                <a:gd name="connsiteX567" fmla="*/ 93123 w 358260"/>
                <a:gd name="connsiteY567" fmla="*/ 241395 h 458815"/>
                <a:gd name="connsiteX568" fmla="*/ 97268 w 358260"/>
                <a:gd name="connsiteY568" fmla="*/ 239816 h 458815"/>
                <a:gd name="connsiteX569" fmla="*/ 101412 w 358260"/>
                <a:gd name="connsiteY569" fmla="*/ 239816 h 458815"/>
                <a:gd name="connsiteX570" fmla="*/ 105557 w 358260"/>
                <a:gd name="connsiteY570" fmla="*/ 244750 h 458815"/>
                <a:gd name="connsiteX571" fmla="*/ 113845 w 358260"/>
                <a:gd name="connsiteY571" fmla="*/ 244750 h 458815"/>
                <a:gd name="connsiteX572" fmla="*/ 115917 w 358260"/>
                <a:gd name="connsiteY572" fmla="*/ 247958 h 458815"/>
                <a:gd name="connsiteX573" fmla="*/ 111774 w 358260"/>
                <a:gd name="connsiteY573" fmla="*/ 251165 h 458815"/>
                <a:gd name="connsiteX574" fmla="*/ 107629 w 358260"/>
                <a:gd name="connsiteY574" fmla="*/ 249537 h 458815"/>
                <a:gd name="connsiteX575" fmla="*/ 95195 w 358260"/>
                <a:gd name="connsiteY575" fmla="*/ 252694 h 458815"/>
                <a:gd name="connsiteX576" fmla="*/ 103483 w 358260"/>
                <a:gd name="connsiteY576" fmla="*/ 254323 h 458815"/>
                <a:gd name="connsiteX577" fmla="*/ 105557 w 358260"/>
                <a:gd name="connsiteY577" fmla="*/ 259257 h 458815"/>
                <a:gd name="connsiteX578" fmla="*/ 101412 w 358260"/>
                <a:gd name="connsiteY578" fmla="*/ 260835 h 458815"/>
                <a:gd name="connsiteX579" fmla="*/ 99340 w 358260"/>
                <a:gd name="connsiteY579" fmla="*/ 262464 h 458815"/>
                <a:gd name="connsiteX580" fmla="*/ 97268 w 358260"/>
                <a:gd name="connsiteY580" fmla="*/ 262464 h 458815"/>
                <a:gd name="connsiteX581" fmla="*/ 95195 w 358260"/>
                <a:gd name="connsiteY581" fmla="*/ 256049 h 458815"/>
                <a:gd name="connsiteX582" fmla="*/ 99340 w 358260"/>
                <a:gd name="connsiteY582" fmla="*/ 299124 h 458815"/>
                <a:gd name="connsiteX583" fmla="*/ 101412 w 358260"/>
                <a:gd name="connsiteY583" fmla="*/ 297495 h 458815"/>
                <a:gd name="connsiteX584" fmla="*/ 103483 w 358260"/>
                <a:gd name="connsiteY584" fmla="*/ 294337 h 458815"/>
                <a:gd name="connsiteX585" fmla="*/ 105557 w 358260"/>
                <a:gd name="connsiteY585" fmla="*/ 297495 h 458815"/>
                <a:gd name="connsiteX586" fmla="*/ 107629 w 358260"/>
                <a:gd name="connsiteY586" fmla="*/ 299124 h 458815"/>
                <a:gd name="connsiteX587" fmla="*/ 107629 w 358260"/>
                <a:gd name="connsiteY587" fmla="*/ 302331 h 458815"/>
                <a:gd name="connsiteX588" fmla="*/ 97268 w 358260"/>
                <a:gd name="connsiteY588" fmla="*/ 302331 h 458815"/>
                <a:gd name="connsiteX589" fmla="*/ 12352 w 358260"/>
                <a:gd name="connsiteY589" fmla="*/ 366276 h 458815"/>
                <a:gd name="connsiteX590" fmla="*/ 18569 w 358260"/>
                <a:gd name="connsiteY590" fmla="*/ 361342 h 458815"/>
                <a:gd name="connsiteX591" fmla="*/ 24786 w 358260"/>
                <a:gd name="connsiteY591" fmla="*/ 361342 h 458815"/>
                <a:gd name="connsiteX592" fmla="*/ 28931 w 358260"/>
                <a:gd name="connsiteY592" fmla="*/ 356408 h 458815"/>
                <a:gd name="connsiteX593" fmla="*/ 37220 w 358260"/>
                <a:gd name="connsiteY593" fmla="*/ 354779 h 458815"/>
                <a:gd name="connsiteX594" fmla="*/ 43437 w 358260"/>
                <a:gd name="connsiteY594" fmla="*/ 343579 h 458815"/>
                <a:gd name="connsiteX595" fmla="*/ 51676 w 358260"/>
                <a:gd name="connsiteY595" fmla="*/ 342000 h 458815"/>
                <a:gd name="connsiteX596" fmla="*/ 57942 w 358260"/>
                <a:gd name="connsiteY596" fmla="*/ 337066 h 458815"/>
                <a:gd name="connsiteX597" fmla="*/ 57942 w 358260"/>
                <a:gd name="connsiteY597" fmla="*/ 333859 h 458815"/>
                <a:gd name="connsiteX598" fmla="*/ 64110 w 358260"/>
                <a:gd name="connsiteY598" fmla="*/ 328925 h 458815"/>
                <a:gd name="connsiteX599" fmla="*/ 64110 w 358260"/>
                <a:gd name="connsiteY599" fmla="*/ 319057 h 458815"/>
                <a:gd name="connsiteX600" fmla="*/ 68255 w 358260"/>
                <a:gd name="connsiteY600" fmla="*/ 315899 h 458815"/>
                <a:gd name="connsiteX601" fmla="*/ 78666 w 358260"/>
                <a:gd name="connsiteY601" fmla="*/ 314271 h 458815"/>
                <a:gd name="connsiteX602" fmla="*/ 80689 w 358260"/>
                <a:gd name="connsiteY602" fmla="*/ 307857 h 458815"/>
                <a:gd name="connsiteX603" fmla="*/ 86955 w 358260"/>
                <a:gd name="connsiteY603" fmla="*/ 304699 h 458815"/>
                <a:gd name="connsiteX604" fmla="*/ 93123 w 358260"/>
                <a:gd name="connsiteY604" fmla="*/ 303071 h 458815"/>
                <a:gd name="connsiteX605" fmla="*/ 95195 w 358260"/>
                <a:gd name="connsiteY605" fmla="*/ 298137 h 458815"/>
                <a:gd name="connsiteX606" fmla="*/ 91051 w 358260"/>
                <a:gd name="connsiteY606" fmla="*/ 290144 h 458815"/>
                <a:gd name="connsiteX607" fmla="*/ 86955 w 358260"/>
                <a:gd name="connsiteY607" fmla="*/ 285210 h 458815"/>
                <a:gd name="connsiteX608" fmla="*/ 86955 w 358260"/>
                <a:gd name="connsiteY608" fmla="*/ 270851 h 458815"/>
                <a:gd name="connsiteX609" fmla="*/ 82810 w 358260"/>
                <a:gd name="connsiteY609" fmla="*/ 270851 h 458815"/>
                <a:gd name="connsiteX610" fmla="*/ 80689 w 358260"/>
                <a:gd name="connsiteY610" fmla="*/ 280423 h 458815"/>
                <a:gd name="connsiteX611" fmla="*/ 82810 w 358260"/>
                <a:gd name="connsiteY611" fmla="*/ 290292 h 458815"/>
                <a:gd name="connsiteX612" fmla="*/ 76544 w 358260"/>
                <a:gd name="connsiteY612" fmla="*/ 287085 h 458815"/>
                <a:gd name="connsiteX613" fmla="*/ 80689 w 358260"/>
                <a:gd name="connsiteY613" fmla="*/ 293499 h 458815"/>
                <a:gd name="connsiteX614" fmla="*/ 80689 w 358260"/>
                <a:gd name="connsiteY614" fmla="*/ 296657 h 458815"/>
                <a:gd name="connsiteX615" fmla="*/ 74521 w 358260"/>
                <a:gd name="connsiteY615" fmla="*/ 303071 h 458815"/>
                <a:gd name="connsiteX616" fmla="*/ 70376 w 358260"/>
                <a:gd name="connsiteY616" fmla="*/ 303071 h 458815"/>
                <a:gd name="connsiteX617" fmla="*/ 64110 w 358260"/>
                <a:gd name="connsiteY617" fmla="*/ 309485 h 458815"/>
                <a:gd name="connsiteX618" fmla="*/ 64110 w 358260"/>
                <a:gd name="connsiteY618" fmla="*/ 314419 h 458815"/>
                <a:gd name="connsiteX619" fmla="*/ 55821 w 358260"/>
                <a:gd name="connsiteY619" fmla="*/ 317626 h 458815"/>
                <a:gd name="connsiteX620" fmla="*/ 49654 w 358260"/>
                <a:gd name="connsiteY620" fmla="*/ 330405 h 458815"/>
                <a:gd name="connsiteX621" fmla="*/ 39293 w 358260"/>
                <a:gd name="connsiteY621" fmla="*/ 338398 h 458815"/>
                <a:gd name="connsiteX622" fmla="*/ 33076 w 358260"/>
                <a:gd name="connsiteY622" fmla="*/ 340027 h 458815"/>
                <a:gd name="connsiteX623" fmla="*/ 26859 w 358260"/>
                <a:gd name="connsiteY623" fmla="*/ 348020 h 458815"/>
                <a:gd name="connsiteX624" fmla="*/ 22714 w 358260"/>
                <a:gd name="connsiteY624" fmla="*/ 349599 h 458815"/>
                <a:gd name="connsiteX625" fmla="*/ 12352 w 358260"/>
                <a:gd name="connsiteY625" fmla="*/ 360799 h 458815"/>
                <a:gd name="connsiteX626" fmla="*/ 12352 w 358260"/>
                <a:gd name="connsiteY626" fmla="*/ 365733 h 458815"/>
                <a:gd name="connsiteX627" fmla="*/ 14425 w 358260"/>
                <a:gd name="connsiteY627" fmla="*/ 369483 h 458815"/>
                <a:gd name="connsiteX628" fmla="*/ 10280 w 358260"/>
                <a:gd name="connsiteY628" fmla="*/ 372690 h 458815"/>
                <a:gd name="connsiteX629" fmla="*/ 12352 w 358260"/>
                <a:gd name="connsiteY629" fmla="*/ 372690 h 458815"/>
                <a:gd name="connsiteX630" fmla="*/ 16497 w 358260"/>
                <a:gd name="connsiteY630" fmla="*/ 371111 h 458815"/>
                <a:gd name="connsiteX631" fmla="*/ 14425 w 358260"/>
                <a:gd name="connsiteY631" fmla="*/ 372690 h 458815"/>
                <a:gd name="connsiteX632" fmla="*/ 18569 w 358260"/>
                <a:gd name="connsiteY632" fmla="*/ 374318 h 458815"/>
                <a:gd name="connsiteX633" fmla="*/ 6135 w 358260"/>
                <a:gd name="connsiteY633" fmla="*/ 377476 h 458815"/>
                <a:gd name="connsiteX634" fmla="*/ -82 w 358260"/>
                <a:gd name="connsiteY634" fmla="*/ 380683 h 458815"/>
                <a:gd name="connsiteX635" fmla="*/ -82 w 358260"/>
                <a:gd name="connsiteY635" fmla="*/ 383890 h 458815"/>
                <a:gd name="connsiteX636" fmla="*/ 4063 w 358260"/>
                <a:gd name="connsiteY636" fmla="*/ 390255 h 458815"/>
                <a:gd name="connsiteX637" fmla="*/ 8208 w 358260"/>
                <a:gd name="connsiteY637" fmla="*/ 390255 h 458815"/>
                <a:gd name="connsiteX638" fmla="*/ 8208 w 358260"/>
                <a:gd name="connsiteY638" fmla="*/ 382311 h 458815"/>
                <a:gd name="connsiteX639" fmla="*/ 10280 w 358260"/>
                <a:gd name="connsiteY639" fmla="*/ 379104 h 45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</a:cxnLst>
              <a:rect l="l" t="t" r="r" b="b"/>
              <a:pathLst>
                <a:path w="358260" h="458815">
                  <a:moveTo>
                    <a:pt x="128056" y="20745"/>
                  </a:moveTo>
                  <a:lnTo>
                    <a:pt x="136147" y="20745"/>
                  </a:lnTo>
                  <a:lnTo>
                    <a:pt x="129980" y="23952"/>
                  </a:lnTo>
                  <a:close/>
                  <a:moveTo>
                    <a:pt x="123911" y="7966"/>
                  </a:moveTo>
                  <a:lnTo>
                    <a:pt x="128056" y="11173"/>
                  </a:lnTo>
                  <a:lnTo>
                    <a:pt x="121889" y="12801"/>
                  </a:lnTo>
                  <a:close/>
                  <a:moveTo>
                    <a:pt x="138466" y="-27"/>
                  </a:moveTo>
                  <a:lnTo>
                    <a:pt x="132200" y="3180"/>
                  </a:lnTo>
                  <a:lnTo>
                    <a:pt x="136345" y="6338"/>
                  </a:lnTo>
                  <a:close/>
                  <a:moveTo>
                    <a:pt x="152923" y="14380"/>
                  </a:moveTo>
                  <a:lnTo>
                    <a:pt x="148779" y="19314"/>
                  </a:lnTo>
                  <a:lnTo>
                    <a:pt x="152923" y="22522"/>
                  </a:lnTo>
                  <a:lnTo>
                    <a:pt x="157068" y="17588"/>
                  </a:lnTo>
                  <a:close/>
                  <a:moveTo>
                    <a:pt x="157068" y="171135"/>
                  </a:moveTo>
                  <a:lnTo>
                    <a:pt x="163285" y="174293"/>
                  </a:lnTo>
                  <a:lnTo>
                    <a:pt x="165356" y="180707"/>
                  </a:lnTo>
                  <a:lnTo>
                    <a:pt x="173647" y="182335"/>
                  </a:lnTo>
                  <a:lnTo>
                    <a:pt x="179863" y="180707"/>
                  </a:lnTo>
                  <a:lnTo>
                    <a:pt x="181935" y="175773"/>
                  </a:lnTo>
                  <a:lnTo>
                    <a:pt x="190224" y="169359"/>
                  </a:lnTo>
                  <a:lnTo>
                    <a:pt x="198513" y="169359"/>
                  </a:lnTo>
                  <a:lnTo>
                    <a:pt x="208875" y="175773"/>
                  </a:lnTo>
                  <a:lnTo>
                    <a:pt x="213020" y="182187"/>
                  </a:lnTo>
                  <a:lnTo>
                    <a:pt x="213020" y="188552"/>
                  </a:lnTo>
                  <a:lnTo>
                    <a:pt x="215043" y="191759"/>
                  </a:lnTo>
                  <a:lnTo>
                    <a:pt x="219188" y="188552"/>
                  </a:lnTo>
                  <a:lnTo>
                    <a:pt x="219188" y="183618"/>
                  </a:lnTo>
                  <a:lnTo>
                    <a:pt x="223331" y="180411"/>
                  </a:lnTo>
                  <a:lnTo>
                    <a:pt x="227476" y="186825"/>
                  </a:lnTo>
                  <a:lnTo>
                    <a:pt x="235765" y="186825"/>
                  </a:lnTo>
                  <a:lnTo>
                    <a:pt x="241982" y="191759"/>
                  </a:lnTo>
                  <a:lnTo>
                    <a:pt x="244055" y="193387"/>
                  </a:lnTo>
                  <a:lnTo>
                    <a:pt x="237838" y="193387"/>
                  </a:lnTo>
                  <a:lnTo>
                    <a:pt x="235765" y="191759"/>
                  </a:lnTo>
                  <a:lnTo>
                    <a:pt x="231621" y="193387"/>
                  </a:lnTo>
                  <a:lnTo>
                    <a:pt x="233743" y="199752"/>
                  </a:lnTo>
                  <a:lnTo>
                    <a:pt x="237838" y="209324"/>
                  </a:lnTo>
                  <a:lnTo>
                    <a:pt x="237838" y="214258"/>
                  </a:lnTo>
                  <a:lnTo>
                    <a:pt x="244055" y="214258"/>
                  </a:lnTo>
                  <a:lnTo>
                    <a:pt x="250271" y="215837"/>
                  </a:lnTo>
                  <a:lnTo>
                    <a:pt x="256488" y="215837"/>
                  </a:lnTo>
                  <a:lnTo>
                    <a:pt x="258561" y="219044"/>
                  </a:lnTo>
                  <a:lnTo>
                    <a:pt x="256488" y="222251"/>
                  </a:lnTo>
                  <a:lnTo>
                    <a:pt x="256488" y="225459"/>
                  </a:lnTo>
                  <a:lnTo>
                    <a:pt x="254416" y="235031"/>
                  </a:lnTo>
                  <a:lnTo>
                    <a:pt x="248199" y="233452"/>
                  </a:lnTo>
                  <a:lnTo>
                    <a:pt x="241982" y="227037"/>
                  </a:lnTo>
                  <a:lnTo>
                    <a:pt x="248199" y="223830"/>
                  </a:lnTo>
                  <a:lnTo>
                    <a:pt x="248199" y="220623"/>
                  </a:lnTo>
                  <a:lnTo>
                    <a:pt x="241982" y="220623"/>
                  </a:lnTo>
                  <a:lnTo>
                    <a:pt x="241982" y="222251"/>
                  </a:lnTo>
                  <a:lnTo>
                    <a:pt x="235765" y="223830"/>
                  </a:lnTo>
                  <a:lnTo>
                    <a:pt x="227476" y="215837"/>
                  </a:lnTo>
                  <a:lnTo>
                    <a:pt x="223331" y="214258"/>
                  </a:lnTo>
                  <a:lnTo>
                    <a:pt x="223331" y="207844"/>
                  </a:lnTo>
                  <a:lnTo>
                    <a:pt x="219188" y="201479"/>
                  </a:lnTo>
                  <a:lnTo>
                    <a:pt x="208875" y="198223"/>
                  </a:lnTo>
                  <a:lnTo>
                    <a:pt x="204730" y="191858"/>
                  </a:lnTo>
                  <a:lnTo>
                    <a:pt x="200586" y="188651"/>
                  </a:lnTo>
                  <a:lnTo>
                    <a:pt x="196441" y="185443"/>
                  </a:lnTo>
                  <a:lnTo>
                    <a:pt x="192296" y="185443"/>
                  </a:lnTo>
                  <a:lnTo>
                    <a:pt x="190224" y="188651"/>
                  </a:lnTo>
                  <a:lnTo>
                    <a:pt x="198513" y="199851"/>
                  </a:lnTo>
                  <a:lnTo>
                    <a:pt x="200586" y="209423"/>
                  </a:lnTo>
                  <a:lnTo>
                    <a:pt x="198513" y="209423"/>
                  </a:lnTo>
                  <a:lnTo>
                    <a:pt x="190224" y="199851"/>
                  </a:lnTo>
                  <a:lnTo>
                    <a:pt x="184007" y="194917"/>
                  </a:lnTo>
                  <a:lnTo>
                    <a:pt x="179863" y="189983"/>
                  </a:lnTo>
                  <a:lnTo>
                    <a:pt x="165356" y="185049"/>
                  </a:lnTo>
                  <a:lnTo>
                    <a:pt x="157068" y="185049"/>
                  </a:lnTo>
                  <a:lnTo>
                    <a:pt x="154996" y="189983"/>
                  </a:lnTo>
                  <a:lnTo>
                    <a:pt x="154996" y="193190"/>
                  </a:lnTo>
                  <a:lnTo>
                    <a:pt x="148779" y="198124"/>
                  </a:lnTo>
                  <a:lnTo>
                    <a:pt x="140489" y="190180"/>
                  </a:lnTo>
                  <a:lnTo>
                    <a:pt x="136345" y="195114"/>
                  </a:lnTo>
                  <a:lnTo>
                    <a:pt x="130177" y="195114"/>
                  </a:lnTo>
                  <a:lnTo>
                    <a:pt x="134321" y="190180"/>
                  </a:lnTo>
                  <a:lnTo>
                    <a:pt x="130177" y="185246"/>
                  </a:lnTo>
                  <a:lnTo>
                    <a:pt x="126032" y="186874"/>
                  </a:lnTo>
                  <a:lnTo>
                    <a:pt x="123911" y="191808"/>
                  </a:lnTo>
                  <a:lnTo>
                    <a:pt x="119815" y="185394"/>
                  </a:lnTo>
                  <a:lnTo>
                    <a:pt x="119815" y="174194"/>
                  </a:lnTo>
                  <a:lnTo>
                    <a:pt x="123911" y="171036"/>
                  </a:lnTo>
                  <a:lnTo>
                    <a:pt x="132200" y="162994"/>
                  </a:lnTo>
                  <a:lnTo>
                    <a:pt x="126032" y="158059"/>
                  </a:lnTo>
                  <a:lnTo>
                    <a:pt x="117744" y="158059"/>
                  </a:lnTo>
                  <a:lnTo>
                    <a:pt x="117744" y="161267"/>
                  </a:lnTo>
                  <a:lnTo>
                    <a:pt x="121889" y="164474"/>
                  </a:lnTo>
                  <a:lnTo>
                    <a:pt x="117744" y="169408"/>
                  </a:lnTo>
                  <a:lnTo>
                    <a:pt x="111477" y="169408"/>
                  </a:lnTo>
                  <a:lnTo>
                    <a:pt x="105260" y="161415"/>
                  </a:lnTo>
                  <a:lnTo>
                    <a:pt x="105260" y="155000"/>
                  </a:lnTo>
                  <a:lnTo>
                    <a:pt x="103188" y="155000"/>
                  </a:lnTo>
                  <a:lnTo>
                    <a:pt x="99043" y="156629"/>
                  </a:lnTo>
                  <a:lnTo>
                    <a:pt x="96971" y="155000"/>
                  </a:lnTo>
                  <a:lnTo>
                    <a:pt x="96971" y="143800"/>
                  </a:lnTo>
                  <a:lnTo>
                    <a:pt x="90755" y="134228"/>
                  </a:lnTo>
                  <a:lnTo>
                    <a:pt x="88681" y="126235"/>
                  </a:lnTo>
                  <a:lnTo>
                    <a:pt x="90755" y="121301"/>
                  </a:lnTo>
                  <a:lnTo>
                    <a:pt x="88681" y="119673"/>
                  </a:lnTo>
                  <a:lnTo>
                    <a:pt x="84538" y="119673"/>
                  </a:lnTo>
                  <a:lnTo>
                    <a:pt x="84538" y="105315"/>
                  </a:lnTo>
                  <a:lnTo>
                    <a:pt x="88681" y="110249"/>
                  </a:lnTo>
                  <a:lnTo>
                    <a:pt x="94898" y="111828"/>
                  </a:lnTo>
                  <a:lnTo>
                    <a:pt x="101115" y="108620"/>
                  </a:lnTo>
                  <a:lnTo>
                    <a:pt x="101115" y="105463"/>
                  </a:lnTo>
                  <a:lnTo>
                    <a:pt x="94898" y="94262"/>
                  </a:lnTo>
                  <a:lnTo>
                    <a:pt x="99043" y="87848"/>
                  </a:lnTo>
                  <a:lnTo>
                    <a:pt x="103188" y="71862"/>
                  </a:lnTo>
                  <a:lnTo>
                    <a:pt x="103188" y="59428"/>
                  </a:lnTo>
                  <a:lnTo>
                    <a:pt x="101115" y="53014"/>
                  </a:lnTo>
                  <a:lnTo>
                    <a:pt x="107332" y="40185"/>
                  </a:lnTo>
                  <a:lnTo>
                    <a:pt x="109405" y="33821"/>
                  </a:lnTo>
                  <a:lnTo>
                    <a:pt x="119766" y="30613"/>
                  </a:lnTo>
                  <a:lnTo>
                    <a:pt x="132151" y="32192"/>
                  </a:lnTo>
                  <a:lnTo>
                    <a:pt x="138417" y="38607"/>
                  </a:lnTo>
                  <a:lnTo>
                    <a:pt x="144584" y="40185"/>
                  </a:lnTo>
                  <a:lnTo>
                    <a:pt x="146656" y="38607"/>
                  </a:lnTo>
                  <a:lnTo>
                    <a:pt x="154946" y="38607"/>
                  </a:lnTo>
                  <a:lnTo>
                    <a:pt x="161163" y="33673"/>
                  </a:lnTo>
                  <a:lnTo>
                    <a:pt x="161163" y="32044"/>
                  </a:lnTo>
                  <a:lnTo>
                    <a:pt x="165307" y="30465"/>
                  </a:lnTo>
                  <a:lnTo>
                    <a:pt x="169452" y="35399"/>
                  </a:lnTo>
                  <a:lnTo>
                    <a:pt x="169452" y="40333"/>
                  </a:lnTo>
                  <a:lnTo>
                    <a:pt x="165307" y="45268"/>
                  </a:lnTo>
                  <a:lnTo>
                    <a:pt x="163235" y="56468"/>
                  </a:lnTo>
                  <a:lnTo>
                    <a:pt x="169452" y="66040"/>
                  </a:lnTo>
                  <a:lnTo>
                    <a:pt x="173597" y="67668"/>
                  </a:lnTo>
                  <a:lnTo>
                    <a:pt x="175669" y="75612"/>
                  </a:lnTo>
                  <a:lnTo>
                    <a:pt x="179814" y="78819"/>
                  </a:lnTo>
                  <a:lnTo>
                    <a:pt x="175669" y="93226"/>
                  </a:lnTo>
                  <a:lnTo>
                    <a:pt x="171524" y="101219"/>
                  </a:lnTo>
                  <a:lnTo>
                    <a:pt x="173597" y="109213"/>
                  </a:lnTo>
                  <a:lnTo>
                    <a:pt x="167380" y="117255"/>
                  </a:lnTo>
                  <a:lnTo>
                    <a:pt x="167380" y="113703"/>
                  </a:lnTo>
                  <a:lnTo>
                    <a:pt x="169452" y="108769"/>
                  </a:lnTo>
                  <a:lnTo>
                    <a:pt x="165307" y="111976"/>
                  </a:lnTo>
                  <a:lnTo>
                    <a:pt x="154946" y="119969"/>
                  </a:lnTo>
                  <a:lnTo>
                    <a:pt x="150801" y="126383"/>
                  </a:lnTo>
                  <a:lnTo>
                    <a:pt x="152873" y="132797"/>
                  </a:lnTo>
                  <a:lnTo>
                    <a:pt x="148729" y="137731"/>
                  </a:lnTo>
                  <a:lnTo>
                    <a:pt x="146656" y="145724"/>
                  </a:lnTo>
                  <a:lnTo>
                    <a:pt x="150801" y="147303"/>
                  </a:lnTo>
                  <a:lnTo>
                    <a:pt x="154946" y="155296"/>
                  </a:lnTo>
                  <a:lnTo>
                    <a:pt x="159090" y="160230"/>
                  </a:lnTo>
                  <a:lnTo>
                    <a:pt x="157018" y="163388"/>
                  </a:lnTo>
                  <a:close/>
                  <a:moveTo>
                    <a:pt x="169502" y="172714"/>
                  </a:moveTo>
                  <a:lnTo>
                    <a:pt x="171573" y="177648"/>
                  </a:lnTo>
                  <a:lnTo>
                    <a:pt x="175718" y="180855"/>
                  </a:lnTo>
                  <a:lnTo>
                    <a:pt x="175718" y="175921"/>
                  </a:lnTo>
                  <a:close/>
                  <a:moveTo>
                    <a:pt x="163285" y="148734"/>
                  </a:moveTo>
                  <a:lnTo>
                    <a:pt x="167430" y="158306"/>
                  </a:lnTo>
                  <a:lnTo>
                    <a:pt x="167430" y="164721"/>
                  </a:lnTo>
                  <a:lnTo>
                    <a:pt x="173647" y="159787"/>
                  </a:lnTo>
                  <a:lnTo>
                    <a:pt x="173647" y="151744"/>
                  </a:lnTo>
                  <a:lnTo>
                    <a:pt x="177790" y="148586"/>
                  </a:lnTo>
                  <a:lnTo>
                    <a:pt x="171573" y="145379"/>
                  </a:lnTo>
                  <a:close/>
                  <a:moveTo>
                    <a:pt x="101165" y="188700"/>
                  </a:moveTo>
                  <a:lnTo>
                    <a:pt x="101165" y="191907"/>
                  </a:lnTo>
                  <a:lnTo>
                    <a:pt x="109455" y="195114"/>
                  </a:lnTo>
                  <a:lnTo>
                    <a:pt x="111527" y="193535"/>
                  </a:lnTo>
                  <a:lnTo>
                    <a:pt x="105310" y="188601"/>
                  </a:lnTo>
                  <a:close/>
                  <a:moveTo>
                    <a:pt x="113599" y="201528"/>
                  </a:moveTo>
                  <a:lnTo>
                    <a:pt x="113599" y="204736"/>
                  </a:lnTo>
                  <a:lnTo>
                    <a:pt x="119815" y="204736"/>
                  </a:lnTo>
                  <a:lnTo>
                    <a:pt x="121889" y="211100"/>
                  </a:lnTo>
                  <a:lnTo>
                    <a:pt x="126032" y="212679"/>
                  </a:lnTo>
                  <a:lnTo>
                    <a:pt x="130177" y="219093"/>
                  </a:lnTo>
                  <a:lnTo>
                    <a:pt x="130177" y="227185"/>
                  </a:lnTo>
                  <a:lnTo>
                    <a:pt x="136345" y="230393"/>
                  </a:lnTo>
                  <a:lnTo>
                    <a:pt x="136345" y="236807"/>
                  </a:lnTo>
                  <a:lnTo>
                    <a:pt x="142611" y="243172"/>
                  </a:lnTo>
                  <a:lnTo>
                    <a:pt x="148779" y="244800"/>
                  </a:lnTo>
                  <a:lnTo>
                    <a:pt x="154996" y="239866"/>
                  </a:lnTo>
                  <a:lnTo>
                    <a:pt x="154996" y="234932"/>
                  </a:lnTo>
                  <a:lnTo>
                    <a:pt x="159140" y="233353"/>
                  </a:lnTo>
                  <a:lnTo>
                    <a:pt x="159140" y="227185"/>
                  </a:lnTo>
                  <a:lnTo>
                    <a:pt x="154996" y="222251"/>
                  </a:lnTo>
                  <a:lnTo>
                    <a:pt x="159140" y="219044"/>
                  </a:lnTo>
                  <a:lnTo>
                    <a:pt x="159140" y="212630"/>
                  </a:lnTo>
                  <a:lnTo>
                    <a:pt x="150851" y="211051"/>
                  </a:lnTo>
                  <a:lnTo>
                    <a:pt x="136345" y="199851"/>
                  </a:lnTo>
                  <a:lnTo>
                    <a:pt x="128056" y="201479"/>
                  </a:lnTo>
                  <a:lnTo>
                    <a:pt x="119815" y="198223"/>
                  </a:lnTo>
                  <a:close/>
                  <a:moveTo>
                    <a:pt x="254416" y="180707"/>
                  </a:moveTo>
                  <a:lnTo>
                    <a:pt x="252344" y="182335"/>
                  </a:lnTo>
                  <a:lnTo>
                    <a:pt x="252344" y="188700"/>
                  </a:lnTo>
                  <a:lnTo>
                    <a:pt x="250271" y="193634"/>
                  </a:lnTo>
                  <a:lnTo>
                    <a:pt x="248199" y="195213"/>
                  </a:lnTo>
                  <a:lnTo>
                    <a:pt x="252344" y="198370"/>
                  </a:lnTo>
                  <a:lnTo>
                    <a:pt x="260633" y="196792"/>
                  </a:lnTo>
                  <a:lnTo>
                    <a:pt x="262705" y="190427"/>
                  </a:lnTo>
                  <a:lnTo>
                    <a:pt x="260633" y="185493"/>
                  </a:lnTo>
                  <a:close/>
                  <a:moveTo>
                    <a:pt x="167430" y="204736"/>
                  </a:moveTo>
                  <a:lnTo>
                    <a:pt x="175718" y="209670"/>
                  </a:lnTo>
                  <a:lnTo>
                    <a:pt x="177790" y="206512"/>
                  </a:lnTo>
                  <a:lnTo>
                    <a:pt x="181935" y="203304"/>
                  </a:lnTo>
                  <a:lnTo>
                    <a:pt x="177790" y="198370"/>
                  </a:lnTo>
                  <a:lnTo>
                    <a:pt x="171573" y="196792"/>
                  </a:lnTo>
                  <a:lnTo>
                    <a:pt x="167430" y="201726"/>
                  </a:lnTo>
                  <a:close/>
                  <a:moveTo>
                    <a:pt x="181935" y="228715"/>
                  </a:moveTo>
                  <a:lnTo>
                    <a:pt x="179863" y="235080"/>
                  </a:lnTo>
                  <a:lnTo>
                    <a:pt x="175718" y="240014"/>
                  </a:lnTo>
                  <a:lnTo>
                    <a:pt x="177790" y="248007"/>
                  </a:lnTo>
                  <a:lnTo>
                    <a:pt x="184007" y="246379"/>
                  </a:lnTo>
                  <a:lnTo>
                    <a:pt x="186080" y="238386"/>
                  </a:lnTo>
                  <a:lnTo>
                    <a:pt x="184007" y="233452"/>
                  </a:lnTo>
                  <a:lnTo>
                    <a:pt x="184007" y="225459"/>
                  </a:lnTo>
                  <a:close/>
                  <a:moveTo>
                    <a:pt x="198513" y="233649"/>
                  </a:moveTo>
                  <a:lnTo>
                    <a:pt x="196441" y="235228"/>
                  </a:lnTo>
                  <a:lnTo>
                    <a:pt x="196441" y="238435"/>
                  </a:lnTo>
                  <a:lnTo>
                    <a:pt x="202658" y="238435"/>
                  </a:lnTo>
                  <a:lnTo>
                    <a:pt x="204730" y="235228"/>
                  </a:lnTo>
                  <a:close/>
                  <a:moveTo>
                    <a:pt x="221309" y="217663"/>
                  </a:moveTo>
                  <a:lnTo>
                    <a:pt x="215043" y="211249"/>
                  </a:lnTo>
                  <a:lnTo>
                    <a:pt x="210898" y="212827"/>
                  </a:lnTo>
                  <a:lnTo>
                    <a:pt x="210898" y="216034"/>
                  </a:lnTo>
                  <a:lnTo>
                    <a:pt x="221309" y="224027"/>
                  </a:lnTo>
                  <a:lnTo>
                    <a:pt x="221309" y="217317"/>
                  </a:lnTo>
                  <a:close/>
                  <a:moveTo>
                    <a:pt x="235765" y="230442"/>
                  </a:moveTo>
                  <a:lnTo>
                    <a:pt x="237838" y="233649"/>
                  </a:lnTo>
                  <a:lnTo>
                    <a:pt x="241982" y="238583"/>
                  </a:lnTo>
                  <a:lnTo>
                    <a:pt x="246127" y="238583"/>
                  </a:lnTo>
                  <a:lnTo>
                    <a:pt x="239762" y="232119"/>
                  </a:lnTo>
                  <a:close/>
                  <a:moveTo>
                    <a:pt x="223331" y="252793"/>
                  </a:moveTo>
                  <a:lnTo>
                    <a:pt x="229598" y="243221"/>
                  </a:lnTo>
                  <a:lnTo>
                    <a:pt x="233743" y="243221"/>
                  </a:lnTo>
                  <a:lnTo>
                    <a:pt x="241982" y="251263"/>
                  </a:lnTo>
                  <a:lnTo>
                    <a:pt x="250271" y="254421"/>
                  </a:lnTo>
                  <a:lnTo>
                    <a:pt x="256488" y="254421"/>
                  </a:lnTo>
                  <a:lnTo>
                    <a:pt x="256488" y="251263"/>
                  </a:lnTo>
                  <a:lnTo>
                    <a:pt x="252344" y="246329"/>
                  </a:lnTo>
                  <a:lnTo>
                    <a:pt x="241982" y="239965"/>
                  </a:lnTo>
                  <a:lnTo>
                    <a:pt x="235765" y="238336"/>
                  </a:lnTo>
                  <a:lnTo>
                    <a:pt x="229598" y="233402"/>
                  </a:lnTo>
                  <a:lnTo>
                    <a:pt x="227476" y="233402"/>
                  </a:lnTo>
                  <a:lnTo>
                    <a:pt x="227476" y="232119"/>
                  </a:lnTo>
                  <a:lnTo>
                    <a:pt x="223331" y="230540"/>
                  </a:lnTo>
                  <a:lnTo>
                    <a:pt x="223331" y="238534"/>
                  </a:lnTo>
                  <a:lnTo>
                    <a:pt x="225454" y="243468"/>
                  </a:lnTo>
                  <a:lnTo>
                    <a:pt x="221309" y="245096"/>
                  </a:lnTo>
                  <a:lnTo>
                    <a:pt x="221309" y="248303"/>
                  </a:lnTo>
                  <a:close/>
                  <a:moveTo>
                    <a:pt x="188152" y="296015"/>
                  </a:moveTo>
                  <a:lnTo>
                    <a:pt x="186080" y="299222"/>
                  </a:lnTo>
                  <a:lnTo>
                    <a:pt x="181935" y="300801"/>
                  </a:lnTo>
                  <a:lnTo>
                    <a:pt x="179863" y="289601"/>
                  </a:lnTo>
                  <a:lnTo>
                    <a:pt x="181935" y="283236"/>
                  </a:lnTo>
                  <a:lnTo>
                    <a:pt x="181935" y="272036"/>
                  </a:lnTo>
                  <a:lnTo>
                    <a:pt x="184007" y="267102"/>
                  </a:lnTo>
                  <a:lnTo>
                    <a:pt x="184007" y="260737"/>
                  </a:lnTo>
                  <a:lnTo>
                    <a:pt x="179863" y="259158"/>
                  </a:lnTo>
                  <a:lnTo>
                    <a:pt x="173647" y="257530"/>
                  </a:lnTo>
                  <a:lnTo>
                    <a:pt x="173647" y="254323"/>
                  </a:lnTo>
                  <a:lnTo>
                    <a:pt x="181935" y="252694"/>
                  </a:lnTo>
                  <a:lnTo>
                    <a:pt x="188152" y="257628"/>
                  </a:lnTo>
                  <a:lnTo>
                    <a:pt x="194369" y="259257"/>
                  </a:lnTo>
                  <a:lnTo>
                    <a:pt x="192296" y="262464"/>
                  </a:lnTo>
                  <a:lnTo>
                    <a:pt x="202658" y="262464"/>
                  </a:lnTo>
                  <a:lnTo>
                    <a:pt x="208875" y="263993"/>
                  </a:lnTo>
                  <a:lnTo>
                    <a:pt x="213020" y="268927"/>
                  </a:lnTo>
                  <a:lnTo>
                    <a:pt x="217164" y="263993"/>
                  </a:lnTo>
                  <a:lnTo>
                    <a:pt x="221309" y="262464"/>
                  </a:lnTo>
                  <a:lnTo>
                    <a:pt x="225454" y="265621"/>
                  </a:lnTo>
                  <a:lnTo>
                    <a:pt x="223331" y="272036"/>
                  </a:lnTo>
                  <a:lnTo>
                    <a:pt x="219188" y="273664"/>
                  </a:lnTo>
                  <a:lnTo>
                    <a:pt x="217164" y="280029"/>
                  </a:lnTo>
                  <a:lnTo>
                    <a:pt x="208875" y="286394"/>
                  </a:lnTo>
                  <a:lnTo>
                    <a:pt x="204730" y="291328"/>
                  </a:lnTo>
                  <a:lnTo>
                    <a:pt x="200586" y="291328"/>
                  </a:lnTo>
                  <a:lnTo>
                    <a:pt x="200586" y="292907"/>
                  </a:lnTo>
                  <a:lnTo>
                    <a:pt x="196441" y="292907"/>
                  </a:lnTo>
                  <a:close/>
                  <a:moveTo>
                    <a:pt x="206754" y="292808"/>
                  </a:moveTo>
                  <a:lnTo>
                    <a:pt x="200586" y="294436"/>
                  </a:lnTo>
                  <a:lnTo>
                    <a:pt x="198513" y="300801"/>
                  </a:lnTo>
                  <a:lnTo>
                    <a:pt x="202658" y="304008"/>
                  </a:lnTo>
                  <a:lnTo>
                    <a:pt x="208875" y="297594"/>
                  </a:lnTo>
                  <a:lnTo>
                    <a:pt x="208875" y="294436"/>
                  </a:lnTo>
                  <a:close/>
                  <a:moveTo>
                    <a:pt x="266801" y="291229"/>
                  </a:moveTo>
                  <a:lnTo>
                    <a:pt x="266801" y="297594"/>
                  </a:lnTo>
                  <a:lnTo>
                    <a:pt x="264778" y="294436"/>
                  </a:lnTo>
                  <a:close/>
                  <a:moveTo>
                    <a:pt x="235765" y="332774"/>
                  </a:moveTo>
                  <a:lnTo>
                    <a:pt x="239910" y="326409"/>
                  </a:lnTo>
                  <a:lnTo>
                    <a:pt x="244055" y="313630"/>
                  </a:lnTo>
                  <a:lnTo>
                    <a:pt x="252344" y="303762"/>
                  </a:lnTo>
                  <a:lnTo>
                    <a:pt x="254416" y="297347"/>
                  </a:lnTo>
                  <a:lnTo>
                    <a:pt x="254416" y="292413"/>
                  </a:lnTo>
                  <a:lnTo>
                    <a:pt x="256488" y="289206"/>
                  </a:lnTo>
                  <a:lnTo>
                    <a:pt x="256488" y="276526"/>
                  </a:lnTo>
                  <a:lnTo>
                    <a:pt x="252344" y="278105"/>
                  </a:lnTo>
                  <a:lnTo>
                    <a:pt x="250271" y="289305"/>
                  </a:lnTo>
                  <a:lnTo>
                    <a:pt x="244055" y="299173"/>
                  </a:lnTo>
                  <a:lnTo>
                    <a:pt x="241982" y="305587"/>
                  </a:lnTo>
                  <a:lnTo>
                    <a:pt x="239910" y="315159"/>
                  </a:lnTo>
                  <a:lnTo>
                    <a:pt x="233743" y="320093"/>
                  </a:lnTo>
                  <a:lnTo>
                    <a:pt x="233743" y="326507"/>
                  </a:lnTo>
                  <a:close/>
                  <a:moveTo>
                    <a:pt x="227476" y="329616"/>
                  </a:moveTo>
                  <a:lnTo>
                    <a:pt x="227476" y="316837"/>
                  </a:lnTo>
                  <a:lnTo>
                    <a:pt x="231621" y="299222"/>
                  </a:lnTo>
                  <a:lnTo>
                    <a:pt x="237838" y="294288"/>
                  </a:lnTo>
                  <a:lnTo>
                    <a:pt x="237838" y="289354"/>
                  </a:lnTo>
                  <a:lnTo>
                    <a:pt x="231621" y="284420"/>
                  </a:lnTo>
                  <a:lnTo>
                    <a:pt x="229598" y="285999"/>
                  </a:lnTo>
                  <a:lnTo>
                    <a:pt x="223331" y="284420"/>
                  </a:lnTo>
                  <a:lnTo>
                    <a:pt x="219188" y="287627"/>
                  </a:lnTo>
                  <a:lnTo>
                    <a:pt x="219188" y="294041"/>
                  </a:lnTo>
                  <a:lnTo>
                    <a:pt x="215043" y="298975"/>
                  </a:lnTo>
                  <a:lnTo>
                    <a:pt x="215043" y="306969"/>
                  </a:lnTo>
                  <a:lnTo>
                    <a:pt x="210898" y="314962"/>
                  </a:lnTo>
                  <a:lnTo>
                    <a:pt x="200586" y="316590"/>
                  </a:lnTo>
                  <a:lnTo>
                    <a:pt x="196441" y="321524"/>
                  </a:lnTo>
                  <a:lnTo>
                    <a:pt x="198513" y="331145"/>
                  </a:lnTo>
                  <a:lnTo>
                    <a:pt x="204730" y="331145"/>
                  </a:lnTo>
                  <a:lnTo>
                    <a:pt x="213020" y="336080"/>
                  </a:lnTo>
                  <a:lnTo>
                    <a:pt x="219188" y="336080"/>
                  </a:lnTo>
                  <a:lnTo>
                    <a:pt x="219188" y="344073"/>
                  </a:lnTo>
                  <a:lnTo>
                    <a:pt x="225454" y="345701"/>
                  </a:lnTo>
                  <a:lnTo>
                    <a:pt x="231621" y="342494"/>
                  </a:lnTo>
                  <a:lnTo>
                    <a:pt x="231621" y="337560"/>
                  </a:lnTo>
                  <a:close/>
                  <a:moveTo>
                    <a:pt x="246127" y="339188"/>
                  </a:moveTo>
                  <a:lnTo>
                    <a:pt x="248199" y="340816"/>
                  </a:lnTo>
                  <a:lnTo>
                    <a:pt x="246127" y="343974"/>
                  </a:lnTo>
                  <a:lnTo>
                    <a:pt x="241982" y="345602"/>
                  </a:lnTo>
                  <a:lnTo>
                    <a:pt x="237838" y="343974"/>
                  </a:lnTo>
                  <a:lnTo>
                    <a:pt x="239910" y="339040"/>
                  </a:lnTo>
                  <a:close/>
                  <a:moveTo>
                    <a:pt x="266801" y="310422"/>
                  </a:moveTo>
                  <a:lnTo>
                    <a:pt x="270946" y="310422"/>
                  </a:lnTo>
                  <a:lnTo>
                    <a:pt x="275089" y="313630"/>
                  </a:lnTo>
                  <a:lnTo>
                    <a:pt x="277212" y="319995"/>
                  </a:lnTo>
                  <a:lnTo>
                    <a:pt x="273067" y="324929"/>
                  </a:lnTo>
                  <a:lnTo>
                    <a:pt x="262705" y="328136"/>
                  </a:lnTo>
                  <a:lnTo>
                    <a:pt x="254416" y="329715"/>
                  </a:lnTo>
                  <a:lnTo>
                    <a:pt x="254416" y="326507"/>
                  </a:lnTo>
                  <a:lnTo>
                    <a:pt x="250271" y="321573"/>
                  </a:lnTo>
                  <a:lnTo>
                    <a:pt x="254416" y="316639"/>
                  </a:lnTo>
                  <a:close/>
                  <a:moveTo>
                    <a:pt x="299957" y="312001"/>
                  </a:moveTo>
                  <a:lnTo>
                    <a:pt x="304102" y="316935"/>
                  </a:lnTo>
                  <a:lnTo>
                    <a:pt x="304102" y="321869"/>
                  </a:lnTo>
                  <a:lnTo>
                    <a:pt x="299957" y="316935"/>
                  </a:lnTo>
                  <a:close/>
                  <a:moveTo>
                    <a:pt x="279234" y="335734"/>
                  </a:moveTo>
                  <a:lnTo>
                    <a:pt x="287523" y="340668"/>
                  </a:lnTo>
                  <a:lnTo>
                    <a:pt x="285501" y="345602"/>
                  </a:lnTo>
                  <a:lnTo>
                    <a:pt x="281356" y="342395"/>
                  </a:lnTo>
                  <a:lnTo>
                    <a:pt x="279234" y="339188"/>
                  </a:lnTo>
                  <a:close/>
                  <a:moveTo>
                    <a:pt x="275089" y="262217"/>
                  </a:moveTo>
                  <a:lnTo>
                    <a:pt x="273067" y="268582"/>
                  </a:lnTo>
                  <a:lnTo>
                    <a:pt x="268922" y="268582"/>
                  </a:lnTo>
                  <a:lnTo>
                    <a:pt x="262705" y="265375"/>
                  </a:lnTo>
                  <a:lnTo>
                    <a:pt x="266801" y="263746"/>
                  </a:lnTo>
                  <a:close/>
                  <a:moveTo>
                    <a:pt x="289891" y="271789"/>
                  </a:moveTo>
                  <a:lnTo>
                    <a:pt x="296059" y="274947"/>
                  </a:lnTo>
                  <a:lnTo>
                    <a:pt x="298182" y="278154"/>
                  </a:lnTo>
                  <a:lnTo>
                    <a:pt x="308493" y="278154"/>
                  </a:lnTo>
                  <a:lnTo>
                    <a:pt x="310566" y="279782"/>
                  </a:lnTo>
                  <a:lnTo>
                    <a:pt x="312638" y="278154"/>
                  </a:lnTo>
                  <a:lnTo>
                    <a:pt x="316783" y="279782"/>
                  </a:lnTo>
                  <a:lnTo>
                    <a:pt x="312638" y="276575"/>
                  </a:lnTo>
                  <a:lnTo>
                    <a:pt x="310566" y="270161"/>
                  </a:lnTo>
                  <a:lnTo>
                    <a:pt x="306421" y="266954"/>
                  </a:lnTo>
                  <a:lnTo>
                    <a:pt x="308493" y="259010"/>
                  </a:lnTo>
                  <a:lnTo>
                    <a:pt x="306421" y="247810"/>
                  </a:lnTo>
                  <a:lnTo>
                    <a:pt x="306421" y="244603"/>
                  </a:lnTo>
                  <a:lnTo>
                    <a:pt x="304349" y="242974"/>
                  </a:lnTo>
                  <a:lnTo>
                    <a:pt x="298182" y="234981"/>
                  </a:lnTo>
                  <a:lnTo>
                    <a:pt x="294037" y="230047"/>
                  </a:lnTo>
                  <a:lnTo>
                    <a:pt x="287770" y="230047"/>
                  </a:lnTo>
                  <a:lnTo>
                    <a:pt x="283625" y="228468"/>
                  </a:lnTo>
                  <a:lnTo>
                    <a:pt x="281603" y="230047"/>
                  </a:lnTo>
                  <a:lnTo>
                    <a:pt x="277458" y="231626"/>
                  </a:lnTo>
                  <a:lnTo>
                    <a:pt x="265025" y="231626"/>
                  </a:lnTo>
                  <a:lnTo>
                    <a:pt x="262952" y="230047"/>
                  </a:lnTo>
                  <a:lnTo>
                    <a:pt x="262952" y="234981"/>
                  </a:lnTo>
                  <a:lnTo>
                    <a:pt x="267047" y="244603"/>
                  </a:lnTo>
                  <a:lnTo>
                    <a:pt x="277458" y="251017"/>
                  </a:lnTo>
                  <a:lnTo>
                    <a:pt x="285748" y="259010"/>
                  </a:lnTo>
                  <a:lnTo>
                    <a:pt x="287770" y="260589"/>
                  </a:lnTo>
                  <a:lnTo>
                    <a:pt x="287770" y="263746"/>
                  </a:lnTo>
                  <a:lnTo>
                    <a:pt x="283625" y="266954"/>
                  </a:lnTo>
                  <a:lnTo>
                    <a:pt x="283625" y="268582"/>
                  </a:lnTo>
                  <a:lnTo>
                    <a:pt x="285748" y="266954"/>
                  </a:lnTo>
                  <a:lnTo>
                    <a:pt x="287770" y="270161"/>
                  </a:lnTo>
                  <a:close/>
                  <a:moveTo>
                    <a:pt x="283625" y="271789"/>
                  </a:moveTo>
                  <a:lnTo>
                    <a:pt x="277458" y="273417"/>
                  </a:lnTo>
                  <a:lnTo>
                    <a:pt x="271193" y="271789"/>
                  </a:lnTo>
                  <a:lnTo>
                    <a:pt x="265025" y="271789"/>
                  </a:lnTo>
                  <a:lnTo>
                    <a:pt x="269169" y="278154"/>
                  </a:lnTo>
                  <a:lnTo>
                    <a:pt x="269169" y="284568"/>
                  </a:lnTo>
                  <a:lnTo>
                    <a:pt x="273314" y="287775"/>
                  </a:lnTo>
                  <a:lnTo>
                    <a:pt x="277458" y="284568"/>
                  </a:lnTo>
                  <a:lnTo>
                    <a:pt x="281603" y="287775"/>
                  </a:lnTo>
                  <a:lnTo>
                    <a:pt x="279481" y="295769"/>
                  </a:lnTo>
                  <a:lnTo>
                    <a:pt x="283625" y="300703"/>
                  </a:lnTo>
                  <a:lnTo>
                    <a:pt x="285748" y="310571"/>
                  </a:lnTo>
                  <a:lnTo>
                    <a:pt x="289891" y="313778"/>
                  </a:lnTo>
                  <a:lnTo>
                    <a:pt x="291915" y="305784"/>
                  </a:lnTo>
                  <a:lnTo>
                    <a:pt x="296059" y="310719"/>
                  </a:lnTo>
                  <a:lnTo>
                    <a:pt x="302276" y="309090"/>
                  </a:lnTo>
                  <a:lnTo>
                    <a:pt x="302276" y="304156"/>
                  </a:lnTo>
                  <a:lnTo>
                    <a:pt x="296059" y="294584"/>
                  </a:lnTo>
                  <a:lnTo>
                    <a:pt x="291915" y="291377"/>
                  </a:lnTo>
                  <a:lnTo>
                    <a:pt x="289891" y="281509"/>
                  </a:lnTo>
                  <a:lnTo>
                    <a:pt x="285748" y="275095"/>
                  </a:lnTo>
                  <a:close/>
                  <a:moveTo>
                    <a:pt x="318855" y="287775"/>
                  </a:moveTo>
                  <a:lnTo>
                    <a:pt x="323000" y="286147"/>
                  </a:lnTo>
                  <a:lnTo>
                    <a:pt x="320927" y="284568"/>
                  </a:lnTo>
                  <a:lnTo>
                    <a:pt x="318707" y="284568"/>
                  </a:lnTo>
                  <a:close/>
                  <a:moveTo>
                    <a:pt x="320927" y="292709"/>
                  </a:moveTo>
                  <a:lnTo>
                    <a:pt x="316783" y="291131"/>
                  </a:lnTo>
                  <a:lnTo>
                    <a:pt x="316783" y="294337"/>
                  </a:lnTo>
                  <a:lnTo>
                    <a:pt x="318855" y="295916"/>
                  </a:lnTo>
                  <a:close/>
                  <a:moveTo>
                    <a:pt x="318855" y="323103"/>
                  </a:moveTo>
                  <a:lnTo>
                    <a:pt x="320927" y="315110"/>
                  </a:lnTo>
                  <a:lnTo>
                    <a:pt x="316783" y="310176"/>
                  </a:lnTo>
                  <a:lnTo>
                    <a:pt x="316783" y="305242"/>
                  </a:lnTo>
                  <a:lnTo>
                    <a:pt x="318855" y="303614"/>
                  </a:lnTo>
                  <a:lnTo>
                    <a:pt x="316783" y="300407"/>
                  </a:lnTo>
                  <a:lnTo>
                    <a:pt x="312638" y="300407"/>
                  </a:lnTo>
                  <a:lnTo>
                    <a:pt x="312638" y="308400"/>
                  </a:lnTo>
                  <a:lnTo>
                    <a:pt x="316783" y="314814"/>
                  </a:lnTo>
                  <a:lnTo>
                    <a:pt x="314710" y="319748"/>
                  </a:lnTo>
                  <a:lnTo>
                    <a:pt x="316783" y="322955"/>
                  </a:lnTo>
                  <a:close/>
                  <a:moveTo>
                    <a:pt x="327144" y="324731"/>
                  </a:moveTo>
                  <a:lnTo>
                    <a:pt x="327144" y="327938"/>
                  </a:lnTo>
                  <a:lnTo>
                    <a:pt x="329216" y="331096"/>
                  </a:lnTo>
                  <a:lnTo>
                    <a:pt x="331289" y="327938"/>
                  </a:lnTo>
                  <a:close/>
                  <a:moveTo>
                    <a:pt x="333361" y="311903"/>
                  </a:moveTo>
                  <a:lnTo>
                    <a:pt x="331289" y="318317"/>
                  </a:lnTo>
                  <a:lnTo>
                    <a:pt x="329216" y="319896"/>
                  </a:lnTo>
                  <a:lnTo>
                    <a:pt x="333361" y="324830"/>
                  </a:lnTo>
                  <a:lnTo>
                    <a:pt x="337506" y="323202"/>
                  </a:lnTo>
                  <a:lnTo>
                    <a:pt x="335433" y="316837"/>
                  </a:lnTo>
                  <a:close/>
                  <a:moveTo>
                    <a:pt x="192543" y="419070"/>
                  </a:moveTo>
                  <a:lnTo>
                    <a:pt x="184254" y="411077"/>
                  </a:lnTo>
                  <a:lnTo>
                    <a:pt x="190471" y="403084"/>
                  </a:lnTo>
                  <a:lnTo>
                    <a:pt x="192543" y="393512"/>
                  </a:lnTo>
                  <a:lnTo>
                    <a:pt x="190422" y="390008"/>
                  </a:lnTo>
                  <a:lnTo>
                    <a:pt x="196639" y="383644"/>
                  </a:lnTo>
                  <a:lnTo>
                    <a:pt x="202856" y="382065"/>
                  </a:lnTo>
                  <a:lnTo>
                    <a:pt x="209073" y="377131"/>
                  </a:lnTo>
                  <a:lnTo>
                    <a:pt x="215240" y="378759"/>
                  </a:lnTo>
                  <a:lnTo>
                    <a:pt x="225650" y="377131"/>
                  </a:lnTo>
                  <a:lnTo>
                    <a:pt x="221506" y="372197"/>
                  </a:lnTo>
                  <a:lnTo>
                    <a:pt x="225650" y="365783"/>
                  </a:lnTo>
                  <a:lnTo>
                    <a:pt x="233940" y="362625"/>
                  </a:lnTo>
                  <a:lnTo>
                    <a:pt x="238035" y="357691"/>
                  </a:lnTo>
                  <a:lnTo>
                    <a:pt x="244252" y="357691"/>
                  </a:lnTo>
                  <a:lnTo>
                    <a:pt x="252542" y="364105"/>
                  </a:lnTo>
                  <a:lnTo>
                    <a:pt x="252542" y="373726"/>
                  </a:lnTo>
                  <a:lnTo>
                    <a:pt x="246325" y="383298"/>
                  </a:lnTo>
                  <a:lnTo>
                    <a:pt x="252542" y="378364"/>
                  </a:lnTo>
                  <a:lnTo>
                    <a:pt x="258759" y="376736"/>
                  </a:lnTo>
                  <a:lnTo>
                    <a:pt x="266998" y="373578"/>
                  </a:lnTo>
                  <a:lnTo>
                    <a:pt x="271143" y="362378"/>
                  </a:lnTo>
                  <a:lnTo>
                    <a:pt x="279432" y="360750"/>
                  </a:lnTo>
                  <a:lnTo>
                    <a:pt x="281553" y="367164"/>
                  </a:lnTo>
                  <a:lnTo>
                    <a:pt x="287721" y="365536"/>
                  </a:lnTo>
                  <a:lnTo>
                    <a:pt x="287721" y="360602"/>
                  </a:lnTo>
                  <a:lnTo>
                    <a:pt x="285698" y="359023"/>
                  </a:lnTo>
                  <a:lnTo>
                    <a:pt x="287721" y="346194"/>
                  </a:lnTo>
                  <a:lnTo>
                    <a:pt x="296010" y="349401"/>
                  </a:lnTo>
                  <a:lnTo>
                    <a:pt x="300155" y="352608"/>
                  </a:lnTo>
                  <a:lnTo>
                    <a:pt x="302227" y="349401"/>
                  </a:lnTo>
                  <a:lnTo>
                    <a:pt x="302227" y="341408"/>
                  </a:lnTo>
                  <a:lnTo>
                    <a:pt x="304300" y="341408"/>
                  </a:lnTo>
                  <a:lnTo>
                    <a:pt x="310517" y="346342"/>
                  </a:lnTo>
                  <a:lnTo>
                    <a:pt x="310517" y="341408"/>
                  </a:lnTo>
                  <a:lnTo>
                    <a:pt x="308444" y="328629"/>
                  </a:lnTo>
                  <a:lnTo>
                    <a:pt x="308444" y="322215"/>
                  </a:lnTo>
                  <a:lnTo>
                    <a:pt x="312589" y="323843"/>
                  </a:lnTo>
                  <a:lnTo>
                    <a:pt x="316734" y="323843"/>
                  </a:lnTo>
                  <a:lnTo>
                    <a:pt x="316734" y="328777"/>
                  </a:lnTo>
                  <a:lnTo>
                    <a:pt x="327094" y="335142"/>
                  </a:lnTo>
                  <a:lnTo>
                    <a:pt x="333311" y="341556"/>
                  </a:lnTo>
                  <a:lnTo>
                    <a:pt x="339528" y="338349"/>
                  </a:lnTo>
                  <a:lnTo>
                    <a:pt x="339528" y="341556"/>
                  </a:lnTo>
                  <a:lnTo>
                    <a:pt x="343673" y="349549"/>
                  </a:lnTo>
                  <a:lnTo>
                    <a:pt x="343673" y="355964"/>
                  </a:lnTo>
                  <a:lnTo>
                    <a:pt x="339528" y="355964"/>
                  </a:lnTo>
                  <a:lnTo>
                    <a:pt x="337456" y="359171"/>
                  </a:lnTo>
                  <a:lnTo>
                    <a:pt x="341600" y="364105"/>
                  </a:lnTo>
                  <a:lnTo>
                    <a:pt x="345745" y="364105"/>
                  </a:lnTo>
                  <a:lnTo>
                    <a:pt x="343673" y="367312"/>
                  </a:lnTo>
                  <a:lnTo>
                    <a:pt x="343673" y="375256"/>
                  </a:lnTo>
                  <a:lnTo>
                    <a:pt x="347817" y="372098"/>
                  </a:lnTo>
                  <a:lnTo>
                    <a:pt x="347817" y="384926"/>
                  </a:lnTo>
                  <a:lnTo>
                    <a:pt x="351962" y="391291"/>
                  </a:lnTo>
                  <a:lnTo>
                    <a:pt x="356107" y="396225"/>
                  </a:lnTo>
                  <a:lnTo>
                    <a:pt x="358179" y="405797"/>
                  </a:lnTo>
                  <a:lnTo>
                    <a:pt x="354034" y="413791"/>
                  </a:lnTo>
                  <a:lnTo>
                    <a:pt x="351962" y="413791"/>
                  </a:lnTo>
                  <a:lnTo>
                    <a:pt x="351962" y="418725"/>
                  </a:lnTo>
                  <a:lnTo>
                    <a:pt x="347817" y="413791"/>
                  </a:lnTo>
                  <a:lnTo>
                    <a:pt x="343673" y="415370"/>
                  </a:lnTo>
                  <a:lnTo>
                    <a:pt x="343673" y="418576"/>
                  </a:lnTo>
                  <a:lnTo>
                    <a:pt x="345745" y="426570"/>
                  </a:lnTo>
                  <a:lnTo>
                    <a:pt x="345745" y="437770"/>
                  </a:lnTo>
                  <a:lnTo>
                    <a:pt x="341600" y="434563"/>
                  </a:lnTo>
                  <a:lnTo>
                    <a:pt x="339528" y="424991"/>
                  </a:lnTo>
                  <a:lnTo>
                    <a:pt x="339528" y="418576"/>
                  </a:lnTo>
                  <a:lnTo>
                    <a:pt x="335383" y="415370"/>
                  </a:lnTo>
                  <a:lnTo>
                    <a:pt x="333311" y="408955"/>
                  </a:lnTo>
                  <a:lnTo>
                    <a:pt x="329167" y="402590"/>
                  </a:lnTo>
                  <a:lnTo>
                    <a:pt x="325022" y="404169"/>
                  </a:lnTo>
                  <a:lnTo>
                    <a:pt x="314660" y="418576"/>
                  </a:lnTo>
                  <a:lnTo>
                    <a:pt x="314660" y="423510"/>
                  </a:lnTo>
                  <a:lnTo>
                    <a:pt x="320877" y="426718"/>
                  </a:lnTo>
                  <a:lnTo>
                    <a:pt x="325022" y="434711"/>
                  </a:lnTo>
                  <a:lnTo>
                    <a:pt x="327094" y="439645"/>
                  </a:lnTo>
                  <a:lnTo>
                    <a:pt x="327094" y="446010"/>
                  </a:lnTo>
                  <a:lnTo>
                    <a:pt x="316734" y="455582"/>
                  </a:lnTo>
                  <a:lnTo>
                    <a:pt x="312589" y="458789"/>
                  </a:lnTo>
                  <a:lnTo>
                    <a:pt x="310517" y="457210"/>
                  </a:lnTo>
                  <a:lnTo>
                    <a:pt x="308444" y="450845"/>
                  </a:lnTo>
                  <a:lnTo>
                    <a:pt x="310517" y="447638"/>
                  </a:lnTo>
                  <a:lnTo>
                    <a:pt x="308444" y="446010"/>
                  </a:lnTo>
                  <a:lnTo>
                    <a:pt x="304300" y="447638"/>
                  </a:lnTo>
                  <a:lnTo>
                    <a:pt x="304300" y="450845"/>
                  </a:lnTo>
                  <a:lnTo>
                    <a:pt x="298132" y="454003"/>
                  </a:lnTo>
                  <a:lnTo>
                    <a:pt x="289842" y="450845"/>
                  </a:lnTo>
                  <a:lnTo>
                    <a:pt x="283576" y="445911"/>
                  </a:lnTo>
                  <a:lnTo>
                    <a:pt x="275287" y="445911"/>
                  </a:lnTo>
                  <a:lnTo>
                    <a:pt x="269119" y="439546"/>
                  </a:lnTo>
                  <a:lnTo>
                    <a:pt x="266998" y="434612"/>
                  </a:lnTo>
                  <a:lnTo>
                    <a:pt x="262902" y="428247"/>
                  </a:lnTo>
                  <a:lnTo>
                    <a:pt x="264976" y="425040"/>
                  </a:lnTo>
                  <a:lnTo>
                    <a:pt x="262902" y="420106"/>
                  </a:lnTo>
                  <a:lnTo>
                    <a:pt x="260831" y="416948"/>
                  </a:lnTo>
                  <a:lnTo>
                    <a:pt x="262902" y="412014"/>
                  </a:lnTo>
                  <a:lnTo>
                    <a:pt x="262902" y="408807"/>
                  </a:lnTo>
                  <a:lnTo>
                    <a:pt x="266998" y="408807"/>
                  </a:lnTo>
                  <a:lnTo>
                    <a:pt x="273264" y="410435"/>
                  </a:lnTo>
                  <a:lnTo>
                    <a:pt x="266998" y="405501"/>
                  </a:lnTo>
                  <a:lnTo>
                    <a:pt x="264976" y="400567"/>
                  </a:lnTo>
                  <a:lnTo>
                    <a:pt x="258759" y="395633"/>
                  </a:lnTo>
                  <a:lnTo>
                    <a:pt x="252542" y="394005"/>
                  </a:lnTo>
                  <a:lnTo>
                    <a:pt x="246325" y="389071"/>
                  </a:lnTo>
                  <a:lnTo>
                    <a:pt x="242180" y="389071"/>
                  </a:lnTo>
                  <a:lnTo>
                    <a:pt x="240108" y="390699"/>
                  </a:lnTo>
                  <a:lnTo>
                    <a:pt x="240108" y="394943"/>
                  </a:lnTo>
                  <a:lnTo>
                    <a:pt x="238035" y="398100"/>
                  </a:lnTo>
                  <a:lnTo>
                    <a:pt x="242180" y="403034"/>
                  </a:lnTo>
                  <a:lnTo>
                    <a:pt x="239762" y="403034"/>
                  </a:lnTo>
                  <a:lnTo>
                    <a:pt x="233595" y="398100"/>
                  </a:lnTo>
                  <a:lnTo>
                    <a:pt x="229450" y="399728"/>
                  </a:lnTo>
                  <a:lnTo>
                    <a:pt x="231473" y="394794"/>
                  </a:lnTo>
                  <a:lnTo>
                    <a:pt x="227328" y="394794"/>
                  </a:lnTo>
                  <a:lnTo>
                    <a:pt x="225306" y="396423"/>
                  </a:lnTo>
                  <a:lnTo>
                    <a:pt x="225306" y="401357"/>
                  </a:lnTo>
                  <a:lnTo>
                    <a:pt x="221161" y="399778"/>
                  </a:lnTo>
                  <a:lnTo>
                    <a:pt x="217016" y="401357"/>
                  </a:lnTo>
                  <a:lnTo>
                    <a:pt x="215092" y="399877"/>
                  </a:lnTo>
                  <a:lnTo>
                    <a:pt x="217213" y="393512"/>
                  </a:lnTo>
                  <a:lnTo>
                    <a:pt x="213069" y="388578"/>
                  </a:lnTo>
                  <a:lnTo>
                    <a:pt x="208924" y="390157"/>
                  </a:lnTo>
                  <a:lnTo>
                    <a:pt x="204779" y="398150"/>
                  </a:lnTo>
                  <a:lnTo>
                    <a:pt x="200636" y="401357"/>
                  </a:lnTo>
                  <a:lnTo>
                    <a:pt x="194419" y="414185"/>
                  </a:lnTo>
                  <a:close/>
                  <a:moveTo>
                    <a:pt x="182182" y="425484"/>
                  </a:moveTo>
                  <a:lnTo>
                    <a:pt x="182182" y="428691"/>
                  </a:lnTo>
                  <a:lnTo>
                    <a:pt x="186326" y="435056"/>
                  </a:lnTo>
                  <a:lnTo>
                    <a:pt x="190471" y="435056"/>
                  </a:lnTo>
                  <a:lnTo>
                    <a:pt x="198760" y="428691"/>
                  </a:lnTo>
                  <a:lnTo>
                    <a:pt x="200833" y="427063"/>
                  </a:lnTo>
                  <a:lnTo>
                    <a:pt x="196688" y="425484"/>
                  </a:lnTo>
                  <a:lnTo>
                    <a:pt x="190471" y="422277"/>
                  </a:lnTo>
                  <a:lnTo>
                    <a:pt x="188399" y="425484"/>
                  </a:lnTo>
                  <a:close/>
                  <a:moveTo>
                    <a:pt x="99340" y="249537"/>
                  </a:moveTo>
                  <a:lnTo>
                    <a:pt x="97268" y="246329"/>
                  </a:lnTo>
                  <a:lnTo>
                    <a:pt x="93123" y="241395"/>
                  </a:lnTo>
                  <a:lnTo>
                    <a:pt x="97268" y="239816"/>
                  </a:lnTo>
                  <a:lnTo>
                    <a:pt x="101412" y="239816"/>
                  </a:lnTo>
                  <a:lnTo>
                    <a:pt x="105557" y="244750"/>
                  </a:lnTo>
                  <a:lnTo>
                    <a:pt x="113845" y="244750"/>
                  </a:lnTo>
                  <a:lnTo>
                    <a:pt x="115917" y="247958"/>
                  </a:lnTo>
                  <a:lnTo>
                    <a:pt x="111774" y="251165"/>
                  </a:lnTo>
                  <a:lnTo>
                    <a:pt x="107629" y="249537"/>
                  </a:lnTo>
                  <a:close/>
                  <a:moveTo>
                    <a:pt x="95195" y="252694"/>
                  </a:moveTo>
                  <a:lnTo>
                    <a:pt x="103483" y="254323"/>
                  </a:lnTo>
                  <a:lnTo>
                    <a:pt x="105557" y="259257"/>
                  </a:lnTo>
                  <a:lnTo>
                    <a:pt x="101412" y="260835"/>
                  </a:lnTo>
                  <a:lnTo>
                    <a:pt x="99340" y="262464"/>
                  </a:lnTo>
                  <a:lnTo>
                    <a:pt x="97268" y="262464"/>
                  </a:lnTo>
                  <a:lnTo>
                    <a:pt x="95195" y="256049"/>
                  </a:lnTo>
                  <a:close/>
                  <a:moveTo>
                    <a:pt x="99340" y="299124"/>
                  </a:moveTo>
                  <a:lnTo>
                    <a:pt x="101412" y="297495"/>
                  </a:lnTo>
                  <a:lnTo>
                    <a:pt x="103483" y="294337"/>
                  </a:lnTo>
                  <a:lnTo>
                    <a:pt x="105557" y="297495"/>
                  </a:lnTo>
                  <a:lnTo>
                    <a:pt x="107629" y="299124"/>
                  </a:lnTo>
                  <a:lnTo>
                    <a:pt x="107629" y="302331"/>
                  </a:lnTo>
                  <a:lnTo>
                    <a:pt x="97268" y="302331"/>
                  </a:lnTo>
                  <a:close/>
                  <a:moveTo>
                    <a:pt x="12352" y="366276"/>
                  </a:moveTo>
                  <a:lnTo>
                    <a:pt x="18569" y="361342"/>
                  </a:lnTo>
                  <a:lnTo>
                    <a:pt x="24786" y="361342"/>
                  </a:lnTo>
                  <a:lnTo>
                    <a:pt x="28931" y="356408"/>
                  </a:lnTo>
                  <a:lnTo>
                    <a:pt x="37220" y="354779"/>
                  </a:lnTo>
                  <a:lnTo>
                    <a:pt x="43437" y="343579"/>
                  </a:lnTo>
                  <a:lnTo>
                    <a:pt x="51676" y="342000"/>
                  </a:lnTo>
                  <a:lnTo>
                    <a:pt x="57942" y="337066"/>
                  </a:lnTo>
                  <a:lnTo>
                    <a:pt x="57942" y="333859"/>
                  </a:lnTo>
                  <a:lnTo>
                    <a:pt x="64110" y="328925"/>
                  </a:lnTo>
                  <a:lnTo>
                    <a:pt x="64110" y="319057"/>
                  </a:lnTo>
                  <a:lnTo>
                    <a:pt x="68255" y="315899"/>
                  </a:lnTo>
                  <a:lnTo>
                    <a:pt x="78666" y="314271"/>
                  </a:lnTo>
                  <a:lnTo>
                    <a:pt x="80689" y="307857"/>
                  </a:lnTo>
                  <a:lnTo>
                    <a:pt x="86955" y="304699"/>
                  </a:lnTo>
                  <a:lnTo>
                    <a:pt x="93123" y="303071"/>
                  </a:lnTo>
                  <a:lnTo>
                    <a:pt x="95195" y="298137"/>
                  </a:lnTo>
                  <a:lnTo>
                    <a:pt x="91051" y="290144"/>
                  </a:lnTo>
                  <a:lnTo>
                    <a:pt x="86955" y="285210"/>
                  </a:lnTo>
                  <a:lnTo>
                    <a:pt x="86955" y="270851"/>
                  </a:lnTo>
                  <a:lnTo>
                    <a:pt x="82810" y="270851"/>
                  </a:lnTo>
                  <a:lnTo>
                    <a:pt x="80689" y="280423"/>
                  </a:lnTo>
                  <a:lnTo>
                    <a:pt x="82810" y="290292"/>
                  </a:lnTo>
                  <a:lnTo>
                    <a:pt x="76544" y="287085"/>
                  </a:lnTo>
                  <a:lnTo>
                    <a:pt x="80689" y="293499"/>
                  </a:lnTo>
                  <a:lnTo>
                    <a:pt x="80689" y="296657"/>
                  </a:lnTo>
                  <a:lnTo>
                    <a:pt x="74521" y="303071"/>
                  </a:lnTo>
                  <a:lnTo>
                    <a:pt x="70376" y="303071"/>
                  </a:lnTo>
                  <a:lnTo>
                    <a:pt x="64110" y="309485"/>
                  </a:lnTo>
                  <a:lnTo>
                    <a:pt x="64110" y="314419"/>
                  </a:lnTo>
                  <a:lnTo>
                    <a:pt x="55821" y="317626"/>
                  </a:lnTo>
                  <a:lnTo>
                    <a:pt x="49654" y="330405"/>
                  </a:lnTo>
                  <a:lnTo>
                    <a:pt x="39293" y="338398"/>
                  </a:lnTo>
                  <a:lnTo>
                    <a:pt x="33076" y="340027"/>
                  </a:lnTo>
                  <a:lnTo>
                    <a:pt x="26859" y="348020"/>
                  </a:lnTo>
                  <a:lnTo>
                    <a:pt x="22714" y="349599"/>
                  </a:lnTo>
                  <a:lnTo>
                    <a:pt x="12352" y="360799"/>
                  </a:lnTo>
                  <a:lnTo>
                    <a:pt x="12352" y="365733"/>
                  </a:lnTo>
                  <a:close/>
                  <a:moveTo>
                    <a:pt x="14425" y="369483"/>
                  </a:moveTo>
                  <a:lnTo>
                    <a:pt x="10280" y="372690"/>
                  </a:lnTo>
                  <a:lnTo>
                    <a:pt x="12352" y="372690"/>
                  </a:lnTo>
                  <a:close/>
                  <a:moveTo>
                    <a:pt x="16497" y="371111"/>
                  </a:moveTo>
                  <a:lnTo>
                    <a:pt x="14425" y="372690"/>
                  </a:lnTo>
                  <a:lnTo>
                    <a:pt x="18569" y="374318"/>
                  </a:lnTo>
                  <a:close/>
                  <a:moveTo>
                    <a:pt x="6135" y="377476"/>
                  </a:moveTo>
                  <a:lnTo>
                    <a:pt x="-82" y="380683"/>
                  </a:lnTo>
                  <a:lnTo>
                    <a:pt x="-82" y="383890"/>
                  </a:lnTo>
                  <a:lnTo>
                    <a:pt x="4063" y="390255"/>
                  </a:lnTo>
                  <a:lnTo>
                    <a:pt x="8208" y="390255"/>
                  </a:lnTo>
                  <a:lnTo>
                    <a:pt x="8208" y="382311"/>
                  </a:lnTo>
                  <a:lnTo>
                    <a:pt x="10280" y="37910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Graphic 2">
              <a:extLst>
                <a:ext uri="{FF2B5EF4-FFF2-40B4-BE49-F238E27FC236}">
                  <a16:creationId xmlns:a16="http://schemas.microsoft.com/office/drawing/2014/main" id="{8D350837-6ECF-496E-B55B-5B7DB32FA7B0}"/>
                </a:ext>
              </a:extLst>
            </p:cNvPr>
            <p:cNvSpPr/>
            <p:nvPr/>
          </p:nvSpPr>
          <p:spPr>
            <a:xfrm>
              <a:off x="8548884" y="4464601"/>
              <a:ext cx="1509214" cy="512523"/>
            </a:xfrm>
            <a:custGeom>
              <a:avLst/>
              <a:gdLst>
                <a:gd name="connsiteX0" fmla="*/ 1660862 w 1661191"/>
                <a:gd name="connsiteY0" fmla="*/ 294880 h 564157"/>
                <a:gd name="connsiteX1" fmla="*/ 1656668 w 1661191"/>
                <a:gd name="connsiteY1" fmla="*/ 410830 h 564157"/>
                <a:gd name="connsiteX2" fmla="*/ 1654596 w 1661191"/>
                <a:gd name="connsiteY2" fmla="*/ 420452 h 564157"/>
                <a:gd name="connsiteX3" fmla="*/ 1654596 w 1661191"/>
                <a:gd name="connsiteY3" fmla="*/ 425386 h 564157"/>
                <a:gd name="connsiteX4" fmla="*/ 1656668 w 1661191"/>
                <a:gd name="connsiteY4" fmla="*/ 426964 h 564157"/>
                <a:gd name="connsiteX5" fmla="*/ 1654596 w 1661191"/>
                <a:gd name="connsiteY5" fmla="*/ 502653 h 564157"/>
                <a:gd name="connsiteX6" fmla="*/ 1650451 w 1661191"/>
                <a:gd name="connsiteY6" fmla="*/ 502653 h 564157"/>
                <a:gd name="connsiteX7" fmla="*/ 1642113 w 1661191"/>
                <a:gd name="connsiteY7" fmla="*/ 499396 h 564157"/>
                <a:gd name="connsiteX8" fmla="*/ 1631703 w 1661191"/>
                <a:gd name="connsiteY8" fmla="*/ 491403 h 564157"/>
                <a:gd name="connsiteX9" fmla="*/ 1629630 w 1661191"/>
                <a:gd name="connsiteY9" fmla="*/ 486469 h 564157"/>
                <a:gd name="connsiteX10" fmla="*/ 1629630 w 1661191"/>
                <a:gd name="connsiteY10" fmla="*/ 484841 h 564157"/>
                <a:gd name="connsiteX11" fmla="*/ 1623363 w 1661191"/>
                <a:gd name="connsiteY11" fmla="*/ 478377 h 564157"/>
                <a:gd name="connsiteX12" fmla="*/ 1619219 w 1661191"/>
                <a:gd name="connsiteY12" fmla="*/ 476798 h 564157"/>
                <a:gd name="connsiteX13" fmla="*/ 1619219 w 1661191"/>
                <a:gd name="connsiteY13" fmla="*/ 471864 h 564157"/>
                <a:gd name="connsiteX14" fmla="*/ 1621291 w 1661191"/>
                <a:gd name="connsiteY14" fmla="*/ 466930 h 564157"/>
                <a:gd name="connsiteX15" fmla="*/ 1621291 w 1661191"/>
                <a:gd name="connsiteY15" fmla="*/ 461009 h 564157"/>
                <a:gd name="connsiteX16" fmla="*/ 1619219 w 1661191"/>
                <a:gd name="connsiteY16" fmla="*/ 467424 h 564157"/>
                <a:gd name="connsiteX17" fmla="*/ 1615074 w 1661191"/>
                <a:gd name="connsiteY17" fmla="*/ 470680 h 564157"/>
                <a:gd name="connsiteX18" fmla="*/ 1604664 w 1661191"/>
                <a:gd name="connsiteY18" fmla="*/ 469052 h 564157"/>
                <a:gd name="connsiteX19" fmla="*/ 1598398 w 1661191"/>
                <a:gd name="connsiteY19" fmla="*/ 472259 h 564157"/>
                <a:gd name="connsiteX20" fmla="*/ 1592181 w 1661191"/>
                <a:gd name="connsiteY20" fmla="*/ 472259 h 564157"/>
                <a:gd name="connsiteX21" fmla="*/ 1590108 w 1661191"/>
                <a:gd name="connsiteY21" fmla="*/ 469052 h 564157"/>
                <a:gd name="connsiteX22" fmla="*/ 1581770 w 1661191"/>
                <a:gd name="connsiteY22" fmla="*/ 473986 h 564157"/>
                <a:gd name="connsiteX23" fmla="*/ 1577576 w 1661191"/>
                <a:gd name="connsiteY23" fmla="*/ 469052 h 564157"/>
                <a:gd name="connsiteX24" fmla="*/ 1579698 w 1661191"/>
                <a:gd name="connsiteY24" fmla="*/ 467424 h 564157"/>
                <a:gd name="connsiteX25" fmla="*/ 1581770 w 1661191"/>
                <a:gd name="connsiteY25" fmla="*/ 462489 h 564157"/>
                <a:gd name="connsiteX26" fmla="*/ 1581770 w 1661191"/>
                <a:gd name="connsiteY26" fmla="*/ 459283 h 564157"/>
                <a:gd name="connsiteX27" fmla="*/ 1583842 w 1661191"/>
                <a:gd name="connsiteY27" fmla="*/ 457704 h 564157"/>
                <a:gd name="connsiteX28" fmla="*/ 1585915 w 1661191"/>
                <a:gd name="connsiteY28" fmla="*/ 449612 h 564157"/>
                <a:gd name="connsiteX29" fmla="*/ 1581770 w 1661191"/>
                <a:gd name="connsiteY29" fmla="*/ 448033 h 564157"/>
                <a:gd name="connsiteX30" fmla="*/ 1577576 w 1661191"/>
                <a:gd name="connsiteY30" fmla="*/ 443099 h 564157"/>
                <a:gd name="connsiteX31" fmla="*/ 1581770 w 1661191"/>
                <a:gd name="connsiteY31" fmla="*/ 441520 h 564157"/>
                <a:gd name="connsiteX32" fmla="*/ 1583842 w 1661191"/>
                <a:gd name="connsiteY32" fmla="*/ 443099 h 564157"/>
                <a:gd name="connsiteX33" fmla="*/ 1592181 w 1661191"/>
                <a:gd name="connsiteY33" fmla="*/ 439892 h 564157"/>
                <a:gd name="connsiteX34" fmla="*/ 1596325 w 1661191"/>
                <a:gd name="connsiteY34" fmla="*/ 439892 h 564157"/>
                <a:gd name="connsiteX35" fmla="*/ 1590108 w 1661191"/>
                <a:gd name="connsiteY35" fmla="*/ 438313 h 564157"/>
                <a:gd name="connsiteX36" fmla="*/ 1581770 w 1661191"/>
                <a:gd name="connsiteY36" fmla="*/ 439892 h 564157"/>
                <a:gd name="connsiteX37" fmla="*/ 1575553 w 1661191"/>
                <a:gd name="connsiteY37" fmla="*/ 436685 h 564157"/>
                <a:gd name="connsiteX38" fmla="*/ 1571360 w 1661191"/>
                <a:gd name="connsiteY38" fmla="*/ 433428 h 564157"/>
                <a:gd name="connsiteX39" fmla="*/ 1571360 w 1661191"/>
                <a:gd name="connsiteY39" fmla="*/ 428494 h 564157"/>
                <a:gd name="connsiteX40" fmla="*/ 1575553 w 1661191"/>
                <a:gd name="connsiteY40" fmla="*/ 428494 h 564157"/>
                <a:gd name="connsiteX41" fmla="*/ 1581770 w 1661191"/>
                <a:gd name="connsiteY41" fmla="*/ 430073 h 564157"/>
                <a:gd name="connsiteX42" fmla="*/ 1577576 w 1661191"/>
                <a:gd name="connsiteY42" fmla="*/ 426866 h 564157"/>
                <a:gd name="connsiteX43" fmla="*/ 1569286 w 1661191"/>
                <a:gd name="connsiteY43" fmla="*/ 420402 h 564157"/>
                <a:gd name="connsiteX44" fmla="*/ 1563020 w 1661191"/>
                <a:gd name="connsiteY44" fmla="*/ 417195 h 564157"/>
                <a:gd name="connsiteX45" fmla="*/ 1560948 w 1661191"/>
                <a:gd name="connsiteY45" fmla="*/ 412261 h 564157"/>
                <a:gd name="connsiteX46" fmla="*/ 1563020 w 1661191"/>
                <a:gd name="connsiteY46" fmla="*/ 405797 h 564157"/>
                <a:gd name="connsiteX47" fmla="*/ 1554731 w 1661191"/>
                <a:gd name="connsiteY47" fmla="*/ 399334 h 564157"/>
                <a:gd name="connsiteX48" fmla="*/ 1554731 w 1661191"/>
                <a:gd name="connsiteY48" fmla="*/ 396127 h 564157"/>
                <a:gd name="connsiteX49" fmla="*/ 1560948 w 1661191"/>
                <a:gd name="connsiteY49" fmla="*/ 391193 h 564157"/>
                <a:gd name="connsiteX50" fmla="*/ 1554731 w 1661191"/>
                <a:gd name="connsiteY50" fmla="*/ 391193 h 564157"/>
                <a:gd name="connsiteX51" fmla="*/ 1550537 w 1661191"/>
                <a:gd name="connsiteY51" fmla="*/ 389565 h 564157"/>
                <a:gd name="connsiteX52" fmla="*/ 1552610 w 1661191"/>
                <a:gd name="connsiteY52" fmla="*/ 386308 h 564157"/>
                <a:gd name="connsiteX53" fmla="*/ 1548465 w 1661191"/>
                <a:gd name="connsiteY53" fmla="*/ 384729 h 564157"/>
                <a:gd name="connsiteX54" fmla="*/ 1554731 w 1661191"/>
                <a:gd name="connsiteY54" fmla="*/ 379795 h 564157"/>
                <a:gd name="connsiteX55" fmla="*/ 1546393 w 1661191"/>
                <a:gd name="connsiteY55" fmla="*/ 381423 h 564157"/>
                <a:gd name="connsiteX56" fmla="*/ 1544321 w 1661191"/>
                <a:gd name="connsiteY56" fmla="*/ 379795 h 564157"/>
                <a:gd name="connsiteX57" fmla="*/ 1540176 w 1661191"/>
                <a:gd name="connsiteY57" fmla="*/ 381423 h 564157"/>
                <a:gd name="connsiteX58" fmla="*/ 1538055 w 1661191"/>
                <a:gd name="connsiteY58" fmla="*/ 378216 h 564157"/>
                <a:gd name="connsiteX59" fmla="*/ 1542199 w 1661191"/>
                <a:gd name="connsiteY59" fmla="*/ 373282 h 564157"/>
                <a:gd name="connsiteX60" fmla="*/ 1538055 w 1661191"/>
                <a:gd name="connsiteY60" fmla="*/ 374910 h 564157"/>
                <a:gd name="connsiteX61" fmla="*/ 1531838 w 1661191"/>
                <a:gd name="connsiteY61" fmla="*/ 376489 h 564157"/>
                <a:gd name="connsiteX62" fmla="*/ 1521427 w 1661191"/>
                <a:gd name="connsiteY62" fmla="*/ 371555 h 564157"/>
                <a:gd name="connsiteX63" fmla="*/ 1519355 w 1661191"/>
                <a:gd name="connsiteY63" fmla="*/ 366621 h 564157"/>
                <a:gd name="connsiteX64" fmla="*/ 1508943 w 1661191"/>
                <a:gd name="connsiteY64" fmla="*/ 363365 h 564157"/>
                <a:gd name="connsiteX65" fmla="*/ 1502677 w 1661191"/>
                <a:gd name="connsiteY65" fmla="*/ 364993 h 564157"/>
                <a:gd name="connsiteX66" fmla="*/ 1481855 w 1661191"/>
                <a:gd name="connsiteY66" fmla="*/ 358579 h 564157"/>
                <a:gd name="connsiteX67" fmla="*/ 1459011 w 1661191"/>
                <a:gd name="connsiteY67" fmla="*/ 352115 h 564157"/>
                <a:gd name="connsiteX68" fmla="*/ 1448600 w 1661191"/>
                <a:gd name="connsiteY68" fmla="*/ 352115 h 564157"/>
                <a:gd name="connsiteX69" fmla="*/ 1440262 w 1661191"/>
                <a:gd name="connsiteY69" fmla="*/ 348908 h 564157"/>
                <a:gd name="connsiteX70" fmla="*/ 1438190 w 1661191"/>
                <a:gd name="connsiteY70" fmla="*/ 345701 h 564157"/>
                <a:gd name="connsiteX71" fmla="*/ 1438190 w 1661191"/>
                <a:gd name="connsiteY71" fmla="*/ 344073 h 564157"/>
                <a:gd name="connsiteX72" fmla="*/ 1429851 w 1661191"/>
                <a:gd name="connsiteY72" fmla="*/ 342444 h 564157"/>
                <a:gd name="connsiteX73" fmla="*/ 1429851 w 1661191"/>
                <a:gd name="connsiteY73" fmla="*/ 337510 h 564157"/>
                <a:gd name="connsiteX74" fmla="*/ 1438190 w 1661191"/>
                <a:gd name="connsiteY74" fmla="*/ 337510 h 564157"/>
                <a:gd name="connsiteX75" fmla="*/ 1438190 w 1661191"/>
                <a:gd name="connsiteY75" fmla="*/ 335932 h 564157"/>
                <a:gd name="connsiteX76" fmla="*/ 1431924 w 1661191"/>
                <a:gd name="connsiteY76" fmla="*/ 335932 h 564157"/>
                <a:gd name="connsiteX77" fmla="*/ 1425707 w 1661191"/>
                <a:gd name="connsiteY77" fmla="*/ 337510 h 564157"/>
                <a:gd name="connsiteX78" fmla="*/ 1421512 w 1661191"/>
                <a:gd name="connsiteY78" fmla="*/ 335932 h 564157"/>
                <a:gd name="connsiteX79" fmla="*/ 1419440 w 1661191"/>
                <a:gd name="connsiteY79" fmla="*/ 332724 h 564157"/>
                <a:gd name="connsiteX80" fmla="*/ 1417367 w 1661191"/>
                <a:gd name="connsiteY80" fmla="*/ 332724 h 564157"/>
                <a:gd name="connsiteX81" fmla="*/ 1415295 w 1661191"/>
                <a:gd name="connsiteY81" fmla="*/ 335932 h 564157"/>
                <a:gd name="connsiteX82" fmla="*/ 1413223 w 1661191"/>
                <a:gd name="connsiteY82" fmla="*/ 329468 h 564157"/>
                <a:gd name="connsiteX83" fmla="*/ 1411102 w 1661191"/>
                <a:gd name="connsiteY83" fmla="*/ 327889 h 564157"/>
                <a:gd name="connsiteX84" fmla="*/ 1406957 w 1661191"/>
                <a:gd name="connsiteY84" fmla="*/ 329468 h 564157"/>
                <a:gd name="connsiteX85" fmla="*/ 1404885 w 1661191"/>
                <a:gd name="connsiteY85" fmla="*/ 332724 h 564157"/>
                <a:gd name="connsiteX86" fmla="*/ 1400691 w 1661191"/>
                <a:gd name="connsiteY86" fmla="*/ 327790 h 564157"/>
                <a:gd name="connsiteX87" fmla="*/ 1398668 w 1661191"/>
                <a:gd name="connsiteY87" fmla="*/ 319699 h 564157"/>
                <a:gd name="connsiteX88" fmla="*/ 1396546 w 1661191"/>
                <a:gd name="connsiteY88" fmla="*/ 313284 h 564157"/>
                <a:gd name="connsiteX89" fmla="*/ 1400691 w 1661191"/>
                <a:gd name="connsiteY89" fmla="*/ 308350 h 564157"/>
                <a:gd name="connsiteX90" fmla="*/ 1400691 w 1661191"/>
                <a:gd name="connsiteY90" fmla="*/ 303120 h 564157"/>
                <a:gd name="connsiteX91" fmla="*/ 1396546 w 1661191"/>
                <a:gd name="connsiteY91" fmla="*/ 309534 h 564157"/>
                <a:gd name="connsiteX92" fmla="*/ 1394474 w 1661191"/>
                <a:gd name="connsiteY92" fmla="*/ 315998 h 564157"/>
                <a:gd name="connsiteX93" fmla="*/ 1392353 w 1661191"/>
                <a:gd name="connsiteY93" fmla="*/ 320932 h 564157"/>
                <a:gd name="connsiteX94" fmla="*/ 1390329 w 1661191"/>
                <a:gd name="connsiteY94" fmla="*/ 320932 h 564157"/>
                <a:gd name="connsiteX95" fmla="*/ 1384063 w 1661191"/>
                <a:gd name="connsiteY95" fmla="*/ 330800 h 564157"/>
                <a:gd name="connsiteX96" fmla="*/ 1386136 w 1661191"/>
                <a:gd name="connsiteY96" fmla="*/ 335734 h 564157"/>
                <a:gd name="connsiteX97" fmla="*/ 1377797 w 1661191"/>
                <a:gd name="connsiteY97" fmla="*/ 343777 h 564157"/>
                <a:gd name="connsiteX98" fmla="*/ 1371580 w 1661191"/>
                <a:gd name="connsiteY98" fmla="*/ 345405 h 564157"/>
                <a:gd name="connsiteX99" fmla="*/ 1363241 w 1661191"/>
                <a:gd name="connsiteY99" fmla="*/ 342198 h 564157"/>
                <a:gd name="connsiteX100" fmla="*/ 1359097 w 1661191"/>
                <a:gd name="connsiteY100" fmla="*/ 332330 h 564157"/>
                <a:gd name="connsiteX101" fmla="*/ 1359097 w 1661191"/>
                <a:gd name="connsiteY101" fmla="*/ 329123 h 564157"/>
                <a:gd name="connsiteX102" fmla="*/ 1361169 w 1661191"/>
                <a:gd name="connsiteY102" fmla="*/ 327494 h 564157"/>
                <a:gd name="connsiteX103" fmla="*/ 1363241 w 1661191"/>
                <a:gd name="connsiteY103" fmla="*/ 322560 h 564157"/>
                <a:gd name="connsiteX104" fmla="*/ 1361169 w 1661191"/>
                <a:gd name="connsiteY104" fmla="*/ 319353 h 564157"/>
                <a:gd name="connsiteX105" fmla="*/ 1356975 w 1661191"/>
                <a:gd name="connsiteY105" fmla="*/ 319353 h 564157"/>
                <a:gd name="connsiteX106" fmla="*/ 1354952 w 1661191"/>
                <a:gd name="connsiteY106" fmla="*/ 317725 h 564157"/>
                <a:gd name="connsiteX107" fmla="*/ 1350758 w 1661191"/>
                <a:gd name="connsiteY107" fmla="*/ 309683 h 564157"/>
                <a:gd name="connsiteX108" fmla="*/ 1344541 w 1661191"/>
                <a:gd name="connsiteY108" fmla="*/ 308054 h 564157"/>
                <a:gd name="connsiteX109" fmla="*/ 1336203 w 1661191"/>
                <a:gd name="connsiteY109" fmla="*/ 306475 h 564157"/>
                <a:gd name="connsiteX110" fmla="*/ 1334131 w 1661191"/>
                <a:gd name="connsiteY110" fmla="*/ 303268 h 564157"/>
                <a:gd name="connsiteX111" fmla="*/ 1338276 w 1661191"/>
                <a:gd name="connsiteY111" fmla="*/ 298334 h 564157"/>
                <a:gd name="connsiteX112" fmla="*/ 1346614 w 1661191"/>
                <a:gd name="connsiteY112" fmla="*/ 298334 h 564157"/>
                <a:gd name="connsiteX113" fmla="*/ 1348686 w 1661191"/>
                <a:gd name="connsiteY113" fmla="*/ 300012 h 564157"/>
                <a:gd name="connsiteX114" fmla="*/ 1356975 w 1661191"/>
                <a:gd name="connsiteY114" fmla="*/ 301591 h 564157"/>
                <a:gd name="connsiteX115" fmla="*/ 1363241 w 1661191"/>
                <a:gd name="connsiteY115" fmla="*/ 303219 h 564157"/>
                <a:gd name="connsiteX116" fmla="*/ 1369507 w 1661191"/>
                <a:gd name="connsiteY116" fmla="*/ 300012 h 564157"/>
                <a:gd name="connsiteX117" fmla="*/ 1371580 w 1661191"/>
                <a:gd name="connsiteY117" fmla="*/ 291920 h 564157"/>
                <a:gd name="connsiteX118" fmla="*/ 1377797 w 1661191"/>
                <a:gd name="connsiteY118" fmla="*/ 290341 h 564157"/>
                <a:gd name="connsiteX119" fmla="*/ 1388257 w 1661191"/>
                <a:gd name="connsiteY119" fmla="*/ 295275 h 564157"/>
                <a:gd name="connsiteX120" fmla="*/ 1392353 w 1661191"/>
                <a:gd name="connsiteY120" fmla="*/ 301739 h 564157"/>
                <a:gd name="connsiteX121" fmla="*/ 1396546 w 1661191"/>
                <a:gd name="connsiteY121" fmla="*/ 295275 h 564157"/>
                <a:gd name="connsiteX122" fmla="*/ 1400691 w 1661191"/>
                <a:gd name="connsiteY122" fmla="*/ 290341 h 564157"/>
                <a:gd name="connsiteX123" fmla="*/ 1402763 w 1661191"/>
                <a:gd name="connsiteY123" fmla="*/ 291920 h 564157"/>
                <a:gd name="connsiteX124" fmla="*/ 1404885 w 1661191"/>
                <a:gd name="connsiteY124" fmla="*/ 285456 h 564157"/>
                <a:gd name="connsiteX125" fmla="*/ 1402763 w 1661191"/>
                <a:gd name="connsiteY125" fmla="*/ 280522 h 564157"/>
                <a:gd name="connsiteX126" fmla="*/ 1384063 w 1661191"/>
                <a:gd name="connsiteY126" fmla="*/ 278894 h 564157"/>
                <a:gd name="connsiteX127" fmla="*/ 1386136 w 1661191"/>
                <a:gd name="connsiteY127" fmla="*/ 282101 h 564157"/>
                <a:gd name="connsiteX128" fmla="*/ 1381991 w 1661191"/>
                <a:gd name="connsiteY128" fmla="*/ 283729 h 564157"/>
                <a:gd name="connsiteX129" fmla="*/ 1379919 w 1661191"/>
                <a:gd name="connsiteY129" fmla="*/ 282101 h 564157"/>
                <a:gd name="connsiteX130" fmla="*/ 1367386 w 1661191"/>
                <a:gd name="connsiteY130" fmla="*/ 283729 h 564157"/>
                <a:gd name="connsiteX131" fmla="*/ 1363241 w 1661191"/>
                <a:gd name="connsiteY131" fmla="*/ 282101 h 564157"/>
                <a:gd name="connsiteX132" fmla="*/ 1359097 w 1661191"/>
                <a:gd name="connsiteY132" fmla="*/ 283729 h 564157"/>
                <a:gd name="connsiteX133" fmla="*/ 1354952 w 1661191"/>
                <a:gd name="connsiteY133" fmla="*/ 282101 h 564157"/>
                <a:gd name="connsiteX134" fmla="*/ 1348686 w 1661191"/>
                <a:gd name="connsiteY134" fmla="*/ 283729 h 564157"/>
                <a:gd name="connsiteX135" fmla="*/ 1342420 w 1661191"/>
                <a:gd name="connsiteY135" fmla="*/ 282101 h 564157"/>
                <a:gd name="connsiteX136" fmla="*/ 1334131 w 1661191"/>
                <a:gd name="connsiteY136" fmla="*/ 277167 h 564157"/>
                <a:gd name="connsiteX137" fmla="*/ 1332009 w 1661191"/>
                <a:gd name="connsiteY137" fmla="*/ 270704 h 564157"/>
                <a:gd name="connsiteX138" fmla="*/ 1334131 w 1661191"/>
                <a:gd name="connsiteY138" fmla="*/ 269075 h 564157"/>
                <a:gd name="connsiteX139" fmla="*/ 1329936 w 1661191"/>
                <a:gd name="connsiteY139" fmla="*/ 262661 h 564157"/>
                <a:gd name="connsiteX140" fmla="*/ 1319576 w 1661191"/>
                <a:gd name="connsiteY140" fmla="*/ 257727 h 564157"/>
                <a:gd name="connsiteX141" fmla="*/ 1315381 w 1661191"/>
                <a:gd name="connsiteY141" fmla="*/ 254520 h 564157"/>
                <a:gd name="connsiteX142" fmla="*/ 1313309 w 1661191"/>
                <a:gd name="connsiteY142" fmla="*/ 256099 h 564157"/>
                <a:gd name="connsiteX143" fmla="*/ 1307043 w 1661191"/>
                <a:gd name="connsiteY143" fmla="*/ 259355 h 564157"/>
                <a:gd name="connsiteX144" fmla="*/ 1298754 w 1661191"/>
                <a:gd name="connsiteY144" fmla="*/ 257727 h 564157"/>
                <a:gd name="connsiteX145" fmla="*/ 1300826 w 1661191"/>
                <a:gd name="connsiteY145" fmla="*/ 254520 h 564157"/>
                <a:gd name="connsiteX146" fmla="*/ 1309164 w 1661191"/>
                <a:gd name="connsiteY146" fmla="*/ 249586 h 564157"/>
                <a:gd name="connsiteX147" fmla="*/ 1311236 w 1661191"/>
                <a:gd name="connsiteY147" fmla="*/ 244652 h 564157"/>
                <a:gd name="connsiteX148" fmla="*/ 1307043 w 1661191"/>
                <a:gd name="connsiteY148" fmla="*/ 241395 h 564157"/>
                <a:gd name="connsiteX149" fmla="*/ 1313309 w 1661191"/>
                <a:gd name="connsiteY149" fmla="*/ 236461 h 564157"/>
                <a:gd name="connsiteX150" fmla="*/ 1323719 w 1661191"/>
                <a:gd name="connsiteY150" fmla="*/ 236461 h 564157"/>
                <a:gd name="connsiteX151" fmla="*/ 1327864 w 1661191"/>
                <a:gd name="connsiteY151" fmla="*/ 233254 h 564157"/>
                <a:gd name="connsiteX152" fmla="*/ 1334131 w 1661191"/>
                <a:gd name="connsiteY152" fmla="*/ 231626 h 564157"/>
                <a:gd name="connsiteX153" fmla="*/ 1342420 w 1661191"/>
                <a:gd name="connsiteY153" fmla="*/ 225163 h 564157"/>
                <a:gd name="connsiteX154" fmla="*/ 1346614 w 1661191"/>
                <a:gd name="connsiteY154" fmla="*/ 223584 h 564157"/>
                <a:gd name="connsiteX155" fmla="*/ 1356975 w 1661191"/>
                <a:gd name="connsiteY155" fmla="*/ 220376 h 564157"/>
                <a:gd name="connsiteX156" fmla="*/ 1375724 w 1661191"/>
                <a:gd name="connsiteY156" fmla="*/ 226791 h 564157"/>
                <a:gd name="connsiteX157" fmla="*/ 1386136 w 1661191"/>
                <a:gd name="connsiteY157" fmla="*/ 233254 h 564157"/>
                <a:gd name="connsiteX158" fmla="*/ 1411102 w 1661191"/>
                <a:gd name="connsiteY158" fmla="*/ 233254 h 564157"/>
                <a:gd name="connsiteX159" fmla="*/ 1413223 w 1661191"/>
                <a:gd name="connsiteY159" fmla="*/ 236461 h 564157"/>
                <a:gd name="connsiteX160" fmla="*/ 1411102 w 1661191"/>
                <a:gd name="connsiteY160" fmla="*/ 239669 h 564157"/>
                <a:gd name="connsiteX161" fmla="*/ 1411102 w 1661191"/>
                <a:gd name="connsiteY161" fmla="*/ 247711 h 564157"/>
                <a:gd name="connsiteX162" fmla="*/ 1417367 w 1661191"/>
                <a:gd name="connsiteY162" fmla="*/ 252645 h 564157"/>
                <a:gd name="connsiteX163" fmla="*/ 1419440 w 1661191"/>
                <a:gd name="connsiteY163" fmla="*/ 257579 h 564157"/>
                <a:gd name="connsiteX164" fmla="*/ 1415295 w 1661191"/>
                <a:gd name="connsiteY164" fmla="*/ 263993 h 564157"/>
                <a:gd name="connsiteX165" fmla="*/ 1411102 w 1661191"/>
                <a:gd name="connsiteY165" fmla="*/ 268927 h 564157"/>
                <a:gd name="connsiteX166" fmla="*/ 1413223 w 1661191"/>
                <a:gd name="connsiteY166" fmla="*/ 277019 h 564157"/>
                <a:gd name="connsiteX167" fmla="*/ 1415295 w 1661191"/>
                <a:gd name="connsiteY167" fmla="*/ 291476 h 564157"/>
                <a:gd name="connsiteX168" fmla="*/ 1419440 w 1661191"/>
                <a:gd name="connsiteY168" fmla="*/ 297890 h 564157"/>
                <a:gd name="connsiteX169" fmla="*/ 1423634 w 1661191"/>
                <a:gd name="connsiteY169" fmla="*/ 302824 h 564157"/>
                <a:gd name="connsiteX170" fmla="*/ 1425707 w 1661191"/>
                <a:gd name="connsiteY170" fmla="*/ 302824 h 564157"/>
                <a:gd name="connsiteX171" fmla="*/ 1425707 w 1661191"/>
                <a:gd name="connsiteY171" fmla="*/ 294732 h 564157"/>
                <a:gd name="connsiteX172" fmla="*/ 1429851 w 1661191"/>
                <a:gd name="connsiteY172" fmla="*/ 291525 h 564157"/>
                <a:gd name="connsiteX173" fmla="*/ 1434045 w 1661191"/>
                <a:gd name="connsiteY173" fmla="*/ 294732 h 564157"/>
                <a:gd name="connsiteX174" fmla="*/ 1431924 w 1661191"/>
                <a:gd name="connsiteY174" fmla="*/ 301196 h 564157"/>
                <a:gd name="connsiteX175" fmla="*/ 1436067 w 1661191"/>
                <a:gd name="connsiteY175" fmla="*/ 306130 h 564157"/>
                <a:gd name="connsiteX176" fmla="*/ 1438190 w 1661191"/>
                <a:gd name="connsiteY176" fmla="*/ 306130 h 564157"/>
                <a:gd name="connsiteX177" fmla="*/ 1440262 w 1661191"/>
                <a:gd name="connsiteY177" fmla="*/ 311064 h 564157"/>
                <a:gd name="connsiteX178" fmla="*/ 1448600 w 1661191"/>
                <a:gd name="connsiteY178" fmla="*/ 317478 h 564157"/>
                <a:gd name="connsiteX179" fmla="*/ 1452745 w 1661191"/>
                <a:gd name="connsiteY179" fmla="*/ 320685 h 564157"/>
                <a:gd name="connsiteX180" fmla="*/ 1459011 w 1661191"/>
                <a:gd name="connsiteY180" fmla="*/ 320685 h 564157"/>
                <a:gd name="connsiteX181" fmla="*/ 1465228 w 1661191"/>
                <a:gd name="connsiteY181" fmla="*/ 317478 h 564157"/>
                <a:gd name="connsiteX182" fmla="*/ 1467300 w 1661191"/>
                <a:gd name="connsiteY182" fmla="*/ 312544 h 564157"/>
                <a:gd name="connsiteX183" fmla="*/ 1471445 w 1661191"/>
                <a:gd name="connsiteY183" fmla="*/ 309288 h 564157"/>
                <a:gd name="connsiteX184" fmla="*/ 1475639 w 1661191"/>
                <a:gd name="connsiteY184" fmla="*/ 307659 h 564157"/>
                <a:gd name="connsiteX185" fmla="*/ 1475639 w 1661191"/>
                <a:gd name="connsiteY185" fmla="*/ 301245 h 564157"/>
                <a:gd name="connsiteX186" fmla="*/ 1479784 w 1661191"/>
                <a:gd name="connsiteY186" fmla="*/ 294782 h 564157"/>
                <a:gd name="connsiteX187" fmla="*/ 1486050 w 1661191"/>
                <a:gd name="connsiteY187" fmla="*/ 293203 h 564157"/>
                <a:gd name="connsiteX188" fmla="*/ 1492267 w 1661191"/>
                <a:gd name="connsiteY188" fmla="*/ 289996 h 564157"/>
                <a:gd name="connsiteX189" fmla="*/ 1494388 w 1661191"/>
                <a:gd name="connsiteY189" fmla="*/ 285062 h 564157"/>
                <a:gd name="connsiteX190" fmla="*/ 1496460 w 1661191"/>
                <a:gd name="connsiteY190" fmla="*/ 281855 h 564157"/>
                <a:gd name="connsiteX191" fmla="*/ 1504799 w 1661191"/>
                <a:gd name="connsiteY191" fmla="*/ 281855 h 564157"/>
                <a:gd name="connsiteX192" fmla="*/ 1511016 w 1661191"/>
                <a:gd name="connsiteY192" fmla="*/ 280276 h 564157"/>
                <a:gd name="connsiteX193" fmla="*/ 1521427 w 1661191"/>
                <a:gd name="connsiteY193" fmla="*/ 278647 h 564157"/>
                <a:gd name="connsiteX194" fmla="*/ 1523498 w 1661191"/>
                <a:gd name="connsiteY194" fmla="*/ 273713 h 564157"/>
                <a:gd name="connsiteX195" fmla="*/ 1519355 w 1661191"/>
                <a:gd name="connsiteY195" fmla="*/ 268779 h 564157"/>
                <a:gd name="connsiteX196" fmla="*/ 1521427 w 1661191"/>
                <a:gd name="connsiteY196" fmla="*/ 265572 h 564157"/>
                <a:gd name="connsiteX197" fmla="*/ 1538055 w 1661191"/>
                <a:gd name="connsiteY197" fmla="*/ 257530 h 564157"/>
                <a:gd name="connsiteX198" fmla="*/ 1546393 w 1661191"/>
                <a:gd name="connsiteY198" fmla="*/ 257530 h 564157"/>
                <a:gd name="connsiteX199" fmla="*/ 1552610 w 1661191"/>
                <a:gd name="connsiteY199" fmla="*/ 262464 h 564157"/>
                <a:gd name="connsiteX200" fmla="*/ 1563020 w 1661191"/>
                <a:gd name="connsiteY200" fmla="*/ 265671 h 564157"/>
                <a:gd name="connsiteX201" fmla="*/ 1577822 w 1661191"/>
                <a:gd name="connsiteY201" fmla="*/ 268878 h 564157"/>
                <a:gd name="connsiteX202" fmla="*/ 1584089 w 1661191"/>
                <a:gd name="connsiteY202" fmla="*/ 273812 h 564157"/>
                <a:gd name="connsiteX203" fmla="*/ 1590355 w 1661191"/>
                <a:gd name="connsiteY203" fmla="*/ 273812 h 564157"/>
                <a:gd name="connsiteX204" fmla="*/ 1600766 w 1661191"/>
                <a:gd name="connsiteY204" fmla="*/ 277068 h 564157"/>
                <a:gd name="connsiteX205" fmla="*/ 1621538 w 1661191"/>
                <a:gd name="connsiteY205" fmla="*/ 285062 h 564157"/>
                <a:gd name="connsiteX206" fmla="*/ 1625733 w 1661191"/>
                <a:gd name="connsiteY206" fmla="*/ 283483 h 564157"/>
                <a:gd name="connsiteX207" fmla="*/ 1631948 w 1661191"/>
                <a:gd name="connsiteY207" fmla="*/ 285062 h 564157"/>
                <a:gd name="connsiteX208" fmla="*/ 1640288 w 1661191"/>
                <a:gd name="connsiteY208" fmla="*/ 286690 h 564157"/>
                <a:gd name="connsiteX209" fmla="*/ 1646554 w 1661191"/>
                <a:gd name="connsiteY209" fmla="*/ 286690 h 564157"/>
                <a:gd name="connsiteX210" fmla="*/ 1652771 w 1661191"/>
                <a:gd name="connsiteY210" fmla="*/ 289946 h 564157"/>
                <a:gd name="connsiteX211" fmla="*/ 1650698 w 1661191"/>
                <a:gd name="connsiteY211" fmla="*/ 291525 h 564157"/>
                <a:gd name="connsiteX212" fmla="*/ 1650698 w 1661191"/>
                <a:gd name="connsiteY212" fmla="*/ 294732 h 564157"/>
                <a:gd name="connsiteX213" fmla="*/ 1654843 w 1661191"/>
                <a:gd name="connsiteY213" fmla="*/ 296361 h 564157"/>
                <a:gd name="connsiteX214" fmla="*/ 1661109 w 1661191"/>
                <a:gd name="connsiteY214" fmla="*/ 294732 h 564157"/>
                <a:gd name="connsiteX215" fmla="*/ 1232145 w 1661191"/>
                <a:gd name="connsiteY215" fmla="*/ 209374 h 564157"/>
                <a:gd name="connsiteX216" fmla="*/ 1246947 w 1661191"/>
                <a:gd name="connsiteY216" fmla="*/ 215788 h 564157"/>
                <a:gd name="connsiteX217" fmla="*/ 1246947 w 1661191"/>
                <a:gd name="connsiteY217" fmla="*/ 219242 h 564157"/>
                <a:gd name="connsiteX218" fmla="*/ 1238657 w 1661191"/>
                <a:gd name="connsiteY218" fmla="*/ 214308 h 564157"/>
                <a:gd name="connsiteX219" fmla="*/ 1304971 w 1661191"/>
                <a:gd name="connsiteY219" fmla="*/ 222251 h 564157"/>
                <a:gd name="connsiteX220" fmla="*/ 1309164 w 1661191"/>
                <a:gd name="connsiteY220" fmla="*/ 223880 h 564157"/>
                <a:gd name="connsiteX221" fmla="*/ 1315381 w 1661191"/>
                <a:gd name="connsiteY221" fmla="*/ 222251 h 564157"/>
                <a:gd name="connsiteX222" fmla="*/ 1313309 w 1661191"/>
                <a:gd name="connsiteY222" fmla="*/ 217317 h 564157"/>
                <a:gd name="connsiteX223" fmla="*/ 1304971 w 1661191"/>
                <a:gd name="connsiteY223" fmla="*/ 212383 h 564157"/>
                <a:gd name="connsiteX224" fmla="*/ 1292488 w 1661191"/>
                <a:gd name="connsiteY224" fmla="*/ 212383 h 564157"/>
                <a:gd name="connsiteX225" fmla="*/ 1288343 w 1661191"/>
                <a:gd name="connsiteY225" fmla="*/ 215590 h 564157"/>
                <a:gd name="connsiteX226" fmla="*/ 1280005 w 1661191"/>
                <a:gd name="connsiteY226" fmla="*/ 215590 h 564157"/>
                <a:gd name="connsiteX227" fmla="*/ 1277931 w 1661191"/>
                <a:gd name="connsiteY227" fmla="*/ 217219 h 564157"/>
                <a:gd name="connsiteX228" fmla="*/ 1280005 w 1661191"/>
                <a:gd name="connsiteY228" fmla="*/ 218797 h 564157"/>
                <a:gd name="connsiteX229" fmla="*/ 1275859 w 1661191"/>
                <a:gd name="connsiteY229" fmla="*/ 220475 h 564157"/>
                <a:gd name="connsiteX230" fmla="*/ 1286221 w 1661191"/>
                <a:gd name="connsiteY230" fmla="*/ 222054 h 564157"/>
                <a:gd name="connsiteX231" fmla="*/ 1292488 w 1661191"/>
                <a:gd name="connsiteY231" fmla="*/ 225261 h 564157"/>
                <a:gd name="connsiteX232" fmla="*/ 1298754 w 1661191"/>
                <a:gd name="connsiteY232" fmla="*/ 223682 h 564157"/>
                <a:gd name="connsiteX233" fmla="*/ 1298754 w 1661191"/>
                <a:gd name="connsiteY233" fmla="*/ 222054 h 564157"/>
                <a:gd name="connsiteX234" fmla="*/ 1292488 w 1661191"/>
                <a:gd name="connsiteY234" fmla="*/ 218797 h 564157"/>
                <a:gd name="connsiteX235" fmla="*/ 1292488 w 1661191"/>
                <a:gd name="connsiteY235" fmla="*/ 218797 h 564157"/>
                <a:gd name="connsiteX236" fmla="*/ 1294560 w 1661191"/>
                <a:gd name="connsiteY236" fmla="*/ 217219 h 564157"/>
                <a:gd name="connsiteX237" fmla="*/ 1292488 w 1661191"/>
                <a:gd name="connsiteY237" fmla="*/ 239965 h 564157"/>
                <a:gd name="connsiteX238" fmla="*/ 1286221 w 1661191"/>
                <a:gd name="connsiteY238" fmla="*/ 238336 h 564157"/>
                <a:gd name="connsiteX239" fmla="*/ 1277931 w 1661191"/>
                <a:gd name="connsiteY239" fmla="*/ 239965 h 564157"/>
                <a:gd name="connsiteX240" fmla="*/ 1284198 w 1661191"/>
                <a:gd name="connsiteY240" fmla="*/ 241544 h 564157"/>
                <a:gd name="connsiteX241" fmla="*/ 1298754 w 1661191"/>
                <a:gd name="connsiteY241" fmla="*/ 235031 h 564157"/>
                <a:gd name="connsiteX242" fmla="*/ 1294560 w 1661191"/>
                <a:gd name="connsiteY242" fmla="*/ 239965 h 564157"/>
                <a:gd name="connsiteX243" fmla="*/ 1292488 w 1661191"/>
                <a:gd name="connsiteY243" fmla="*/ 236757 h 564157"/>
                <a:gd name="connsiteX244" fmla="*/ 1296632 w 1661191"/>
                <a:gd name="connsiteY244" fmla="*/ 239965 h 564157"/>
                <a:gd name="connsiteX245" fmla="*/ 1288343 w 1661191"/>
                <a:gd name="connsiteY245" fmla="*/ 244899 h 564157"/>
                <a:gd name="connsiteX246" fmla="*/ 1290415 w 1661191"/>
                <a:gd name="connsiteY246" fmla="*/ 252941 h 564157"/>
                <a:gd name="connsiteX247" fmla="*/ 1296632 w 1661191"/>
                <a:gd name="connsiteY247" fmla="*/ 254569 h 564157"/>
                <a:gd name="connsiteX248" fmla="*/ 1300826 w 1661191"/>
                <a:gd name="connsiteY248" fmla="*/ 252941 h 564157"/>
                <a:gd name="connsiteX249" fmla="*/ 1302898 w 1661191"/>
                <a:gd name="connsiteY249" fmla="*/ 241642 h 564157"/>
                <a:gd name="connsiteX250" fmla="*/ 1140569 w 1661191"/>
                <a:gd name="connsiteY250" fmla="*/ 67668 h 564157"/>
                <a:gd name="connsiteX251" fmla="*/ 1142690 w 1661191"/>
                <a:gd name="connsiteY251" fmla="*/ 75760 h 564157"/>
                <a:gd name="connsiteX252" fmla="*/ 1142690 w 1661191"/>
                <a:gd name="connsiteY252" fmla="*/ 80694 h 564157"/>
                <a:gd name="connsiteX253" fmla="*/ 1146835 w 1661191"/>
                <a:gd name="connsiteY253" fmla="*/ 79115 h 564157"/>
                <a:gd name="connsiteX254" fmla="*/ 1148907 w 1661191"/>
                <a:gd name="connsiteY254" fmla="*/ 74181 h 564157"/>
                <a:gd name="connsiteX255" fmla="*/ 1148907 w 1661191"/>
                <a:gd name="connsiteY255" fmla="*/ 67717 h 564157"/>
                <a:gd name="connsiteX256" fmla="*/ 1142690 w 1661191"/>
                <a:gd name="connsiteY256" fmla="*/ 66138 h 564157"/>
                <a:gd name="connsiteX257" fmla="*/ 1140569 w 1661191"/>
                <a:gd name="connsiteY257" fmla="*/ 82174 h 564157"/>
                <a:gd name="connsiteX258" fmla="*/ 1142690 w 1661191"/>
                <a:gd name="connsiteY258" fmla="*/ 83753 h 564157"/>
                <a:gd name="connsiteX259" fmla="*/ 1146835 w 1661191"/>
                <a:gd name="connsiteY259" fmla="*/ 88687 h 564157"/>
                <a:gd name="connsiteX260" fmla="*/ 1142690 w 1661191"/>
                <a:gd name="connsiteY260" fmla="*/ 88687 h 564157"/>
                <a:gd name="connsiteX261" fmla="*/ 1196767 w 1661191"/>
                <a:gd name="connsiteY261" fmla="*/ 140297 h 564157"/>
                <a:gd name="connsiteX262" fmla="*/ 1198840 w 1661191"/>
                <a:gd name="connsiteY262" fmla="*/ 150165 h 564157"/>
                <a:gd name="connsiteX263" fmla="*/ 1203033 w 1661191"/>
                <a:gd name="connsiteY263" fmla="*/ 146958 h 564157"/>
                <a:gd name="connsiteX264" fmla="*/ 1209250 w 1661191"/>
                <a:gd name="connsiteY264" fmla="*/ 146958 h 564157"/>
                <a:gd name="connsiteX265" fmla="*/ 1213444 w 1661191"/>
                <a:gd name="connsiteY265" fmla="*/ 143751 h 564157"/>
                <a:gd name="connsiteX266" fmla="*/ 1211322 w 1661191"/>
                <a:gd name="connsiteY266" fmla="*/ 138817 h 564157"/>
                <a:gd name="connsiteX267" fmla="*/ 1207178 w 1661191"/>
                <a:gd name="connsiteY267" fmla="*/ 135610 h 564157"/>
                <a:gd name="connsiteX268" fmla="*/ 1203033 w 1661191"/>
                <a:gd name="connsiteY268" fmla="*/ 138817 h 564157"/>
                <a:gd name="connsiteX269" fmla="*/ 1190500 w 1661191"/>
                <a:gd name="connsiteY269" fmla="*/ 222449 h 564157"/>
                <a:gd name="connsiteX270" fmla="*/ 1192623 w 1661191"/>
                <a:gd name="connsiteY270" fmla="*/ 230491 h 564157"/>
                <a:gd name="connsiteX271" fmla="*/ 1203033 w 1661191"/>
                <a:gd name="connsiteY271" fmla="*/ 238534 h 564157"/>
                <a:gd name="connsiteX272" fmla="*/ 1205106 w 1661191"/>
                <a:gd name="connsiteY272" fmla="*/ 241741 h 564157"/>
                <a:gd name="connsiteX273" fmla="*/ 1203280 w 1661191"/>
                <a:gd name="connsiteY273" fmla="*/ 241741 h 564157"/>
                <a:gd name="connsiteX274" fmla="*/ 1201159 w 1661191"/>
                <a:gd name="connsiteY274" fmla="*/ 246675 h 564157"/>
                <a:gd name="connsiteX275" fmla="*/ 1201159 w 1661191"/>
                <a:gd name="connsiteY275" fmla="*/ 241741 h 564157"/>
                <a:gd name="connsiteX276" fmla="*/ 1194942 w 1661191"/>
                <a:gd name="connsiteY276" fmla="*/ 238534 h 564157"/>
                <a:gd name="connsiteX277" fmla="*/ 1188675 w 1661191"/>
                <a:gd name="connsiteY277" fmla="*/ 228665 h 564157"/>
                <a:gd name="connsiteX278" fmla="*/ 1180337 w 1661191"/>
                <a:gd name="connsiteY278" fmla="*/ 223731 h 564157"/>
                <a:gd name="connsiteX279" fmla="*/ 1176192 w 1661191"/>
                <a:gd name="connsiteY279" fmla="*/ 217268 h 564157"/>
                <a:gd name="connsiteX280" fmla="*/ 1178314 w 1661191"/>
                <a:gd name="connsiteY280" fmla="*/ 210854 h 564157"/>
                <a:gd name="connsiteX281" fmla="*/ 1178314 w 1661191"/>
                <a:gd name="connsiteY281" fmla="*/ 204390 h 564157"/>
                <a:gd name="connsiteX282" fmla="*/ 1172047 w 1661191"/>
                <a:gd name="connsiteY282" fmla="*/ 199456 h 564157"/>
                <a:gd name="connsiteX283" fmla="*/ 1172047 w 1661191"/>
                <a:gd name="connsiteY283" fmla="*/ 193042 h 564157"/>
                <a:gd name="connsiteX284" fmla="*/ 1176192 w 1661191"/>
                <a:gd name="connsiteY284" fmla="*/ 188108 h 564157"/>
                <a:gd name="connsiteX285" fmla="*/ 1172047 w 1661191"/>
                <a:gd name="connsiteY285" fmla="*/ 181644 h 564157"/>
                <a:gd name="connsiteX286" fmla="*/ 1167903 w 1661191"/>
                <a:gd name="connsiteY286" fmla="*/ 178437 h 564157"/>
                <a:gd name="connsiteX287" fmla="*/ 1169975 w 1661191"/>
                <a:gd name="connsiteY287" fmla="*/ 170395 h 564157"/>
                <a:gd name="connsiteX288" fmla="*/ 1174120 w 1661191"/>
                <a:gd name="connsiteY288" fmla="*/ 167188 h 564157"/>
                <a:gd name="connsiteX289" fmla="*/ 1174120 w 1661191"/>
                <a:gd name="connsiteY289" fmla="*/ 159096 h 564157"/>
                <a:gd name="connsiteX290" fmla="*/ 1176192 w 1661191"/>
                <a:gd name="connsiteY290" fmla="*/ 151053 h 564157"/>
                <a:gd name="connsiteX291" fmla="*/ 1186604 w 1661191"/>
                <a:gd name="connsiteY291" fmla="*/ 141432 h 564157"/>
                <a:gd name="connsiteX292" fmla="*/ 1190747 w 1661191"/>
                <a:gd name="connsiteY292" fmla="*/ 141432 h 564157"/>
                <a:gd name="connsiteX293" fmla="*/ 1190747 w 1661191"/>
                <a:gd name="connsiteY293" fmla="*/ 146366 h 564157"/>
                <a:gd name="connsiteX294" fmla="*/ 1184530 w 1661191"/>
                <a:gd name="connsiteY294" fmla="*/ 151300 h 564157"/>
                <a:gd name="connsiteX295" fmla="*/ 1186604 w 1661191"/>
                <a:gd name="connsiteY295" fmla="*/ 154556 h 564157"/>
                <a:gd name="connsiteX296" fmla="*/ 1192869 w 1661191"/>
                <a:gd name="connsiteY296" fmla="*/ 156135 h 564157"/>
                <a:gd name="connsiteX297" fmla="*/ 1192869 w 1661191"/>
                <a:gd name="connsiteY297" fmla="*/ 166003 h 564157"/>
                <a:gd name="connsiteX298" fmla="*/ 1188675 w 1661191"/>
                <a:gd name="connsiteY298" fmla="*/ 174046 h 564157"/>
                <a:gd name="connsiteX299" fmla="*/ 1184530 w 1661191"/>
                <a:gd name="connsiteY299" fmla="*/ 174046 h 564157"/>
                <a:gd name="connsiteX300" fmla="*/ 1178314 w 1661191"/>
                <a:gd name="connsiteY300" fmla="*/ 178980 h 564157"/>
                <a:gd name="connsiteX301" fmla="*/ 1182459 w 1661191"/>
                <a:gd name="connsiteY301" fmla="*/ 183914 h 564157"/>
                <a:gd name="connsiteX302" fmla="*/ 1186604 w 1661191"/>
                <a:gd name="connsiteY302" fmla="*/ 183914 h 564157"/>
                <a:gd name="connsiteX303" fmla="*/ 1188675 w 1661191"/>
                <a:gd name="connsiteY303" fmla="*/ 178980 h 564157"/>
                <a:gd name="connsiteX304" fmla="*/ 1194942 w 1661191"/>
                <a:gd name="connsiteY304" fmla="*/ 175773 h 564157"/>
                <a:gd name="connsiteX305" fmla="*/ 1197014 w 1661191"/>
                <a:gd name="connsiteY305" fmla="*/ 172516 h 564157"/>
                <a:gd name="connsiteX306" fmla="*/ 1192869 w 1661191"/>
                <a:gd name="connsiteY306" fmla="*/ 172516 h 564157"/>
                <a:gd name="connsiteX307" fmla="*/ 1194942 w 1661191"/>
                <a:gd name="connsiteY307" fmla="*/ 167582 h 564157"/>
                <a:gd name="connsiteX308" fmla="*/ 1205352 w 1661191"/>
                <a:gd name="connsiteY308" fmla="*/ 162648 h 564157"/>
                <a:gd name="connsiteX309" fmla="*/ 1217835 w 1661191"/>
                <a:gd name="connsiteY309" fmla="*/ 159441 h 564157"/>
                <a:gd name="connsiteX310" fmla="*/ 1221980 w 1661191"/>
                <a:gd name="connsiteY310" fmla="*/ 164375 h 564157"/>
                <a:gd name="connsiteX311" fmla="*/ 1221980 w 1661191"/>
                <a:gd name="connsiteY311" fmla="*/ 167582 h 564157"/>
                <a:gd name="connsiteX312" fmla="*/ 1215714 w 1661191"/>
                <a:gd name="connsiteY312" fmla="*/ 178832 h 564157"/>
                <a:gd name="connsiteX313" fmla="*/ 1203280 w 1661191"/>
                <a:gd name="connsiteY313" fmla="*/ 183766 h 564157"/>
                <a:gd name="connsiteX314" fmla="*/ 1199086 w 1661191"/>
                <a:gd name="connsiteY314" fmla="*/ 186973 h 564157"/>
                <a:gd name="connsiteX315" fmla="*/ 1201159 w 1661191"/>
                <a:gd name="connsiteY315" fmla="*/ 191907 h 564157"/>
                <a:gd name="connsiteX316" fmla="*/ 1205352 w 1661191"/>
                <a:gd name="connsiteY316" fmla="*/ 191907 h 564157"/>
                <a:gd name="connsiteX317" fmla="*/ 1215714 w 1661191"/>
                <a:gd name="connsiteY317" fmla="*/ 198371 h 564157"/>
                <a:gd name="connsiteX318" fmla="*/ 1215714 w 1661191"/>
                <a:gd name="connsiteY318" fmla="*/ 203305 h 564157"/>
                <a:gd name="connsiteX319" fmla="*/ 1219908 w 1661191"/>
                <a:gd name="connsiteY319" fmla="*/ 204933 h 564157"/>
                <a:gd name="connsiteX320" fmla="*/ 1213691 w 1661191"/>
                <a:gd name="connsiteY320" fmla="*/ 204933 h 564157"/>
                <a:gd name="connsiteX321" fmla="*/ 1207425 w 1661191"/>
                <a:gd name="connsiteY321" fmla="*/ 201726 h 564157"/>
                <a:gd name="connsiteX322" fmla="*/ 1199086 w 1661191"/>
                <a:gd name="connsiteY322" fmla="*/ 201726 h 564157"/>
                <a:gd name="connsiteX323" fmla="*/ 1190747 w 1661191"/>
                <a:gd name="connsiteY323" fmla="*/ 200098 h 564157"/>
                <a:gd name="connsiteX324" fmla="*/ 1184530 w 1661191"/>
                <a:gd name="connsiteY324" fmla="*/ 201726 h 564157"/>
                <a:gd name="connsiteX325" fmla="*/ 1184530 w 1661191"/>
                <a:gd name="connsiteY325" fmla="*/ 212975 h 564157"/>
                <a:gd name="connsiteX326" fmla="*/ 1161390 w 1661191"/>
                <a:gd name="connsiteY326" fmla="*/ 236955 h 564157"/>
                <a:gd name="connsiteX327" fmla="*/ 1163462 w 1661191"/>
                <a:gd name="connsiteY327" fmla="*/ 241889 h 564157"/>
                <a:gd name="connsiteX328" fmla="*/ 1157245 w 1661191"/>
                <a:gd name="connsiteY328" fmla="*/ 238682 h 564157"/>
                <a:gd name="connsiteX329" fmla="*/ 1159318 w 1661191"/>
                <a:gd name="connsiteY329" fmla="*/ 235474 h 564157"/>
                <a:gd name="connsiteX330" fmla="*/ 1161390 w 1661191"/>
                <a:gd name="connsiteY330" fmla="*/ 224077 h 564157"/>
                <a:gd name="connsiteX331" fmla="*/ 1157245 w 1661191"/>
                <a:gd name="connsiteY331" fmla="*/ 224077 h 564157"/>
                <a:gd name="connsiteX332" fmla="*/ 1155124 w 1661191"/>
                <a:gd name="connsiteY332" fmla="*/ 230491 h 564157"/>
                <a:gd name="connsiteX333" fmla="*/ 1159318 w 1661191"/>
                <a:gd name="connsiteY333" fmla="*/ 232119 h 564157"/>
                <a:gd name="connsiteX334" fmla="*/ 1161390 w 1661191"/>
                <a:gd name="connsiteY334" fmla="*/ 227185 h 564157"/>
                <a:gd name="connsiteX335" fmla="*/ 1167656 w 1661191"/>
                <a:gd name="connsiteY335" fmla="*/ 227284 h 564157"/>
                <a:gd name="connsiteX336" fmla="*/ 1165535 w 1661191"/>
                <a:gd name="connsiteY336" fmla="*/ 228863 h 564157"/>
                <a:gd name="connsiteX337" fmla="*/ 1165535 w 1661191"/>
                <a:gd name="connsiteY337" fmla="*/ 233797 h 564157"/>
                <a:gd name="connsiteX338" fmla="*/ 1169728 w 1661191"/>
                <a:gd name="connsiteY338" fmla="*/ 238731 h 564157"/>
                <a:gd name="connsiteX339" fmla="*/ 1175945 w 1661191"/>
                <a:gd name="connsiteY339" fmla="*/ 238731 h 564157"/>
                <a:gd name="connsiteX340" fmla="*/ 1180090 w 1661191"/>
                <a:gd name="connsiteY340" fmla="*/ 241938 h 564157"/>
                <a:gd name="connsiteX341" fmla="*/ 1182212 w 1661191"/>
                <a:gd name="connsiteY341" fmla="*/ 238731 h 564157"/>
                <a:gd name="connsiteX342" fmla="*/ 1182212 w 1661191"/>
                <a:gd name="connsiteY342" fmla="*/ 235524 h 564157"/>
                <a:gd name="connsiteX343" fmla="*/ 1175945 w 1661191"/>
                <a:gd name="connsiteY343" fmla="*/ 233945 h 564157"/>
                <a:gd name="connsiteX344" fmla="*/ 1175945 w 1661191"/>
                <a:gd name="connsiteY344" fmla="*/ 229011 h 564157"/>
                <a:gd name="connsiteX345" fmla="*/ 1171801 w 1661191"/>
                <a:gd name="connsiteY345" fmla="*/ 227432 h 564157"/>
                <a:gd name="connsiteX346" fmla="*/ 1165535 w 1661191"/>
                <a:gd name="connsiteY346" fmla="*/ 262710 h 564157"/>
                <a:gd name="connsiteX347" fmla="*/ 1175945 w 1661191"/>
                <a:gd name="connsiteY347" fmla="*/ 256247 h 564157"/>
                <a:gd name="connsiteX348" fmla="*/ 1184284 w 1661191"/>
                <a:gd name="connsiteY348" fmla="*/ 257875 h 564157"/>
                <a:gd name="connsiteX349" fmla="*/ 1194695 w 1661191"/>
                <a:gd name="connsiteY349" fmla="*/ 264289 h 564157"/>
                <a:gd name="connsiteX350" fmla="*/ 1192623 w 1661191"/>
                <a:gd name="connsiteY350" fmla="*/ 269223 h 564157"/>
                <a:gd name="connsiteX351" fmla="*/ 1175945 w 1661191"/>
                <a:gd name="connsiteY351" fmla="*/ 269223 h 564157"/>
                <a:gd name="connsiteX352" fmla="*/ 1169728 w 1661191"/>
                <a:gd name="connsiteY352" fmla="*/ 267644 h 564157"/>
                <a:gd name="connsiteX353" fmla="*/ 1269593 w 1661191"/>
                <a:gd name="connsiteY353" fmla="*/ 265918 h 564157"/>
                <a:gd name="connsiteX354" fmla="*/ 1257110 w 1661191"/>
                <a:gd name="connsiteY354" fmla="*/ 269125 h 564157"/>
                <a:gd name="connsiteX355" fmla="*/ 1252966 w 1661191"/>
                <a:gd name="connsiteY355" fmla="*/ 272332 h 564157"/>
                <a:gd name="connsiteX356" fmla="*/ 1255038 w 1661191"/>
                <a:gd name="connsiteY356" fmla="*/ 273960 h 564157"/>
                <a:gd name="connsiteX357" fmla="*/ 1267521 w 1661191"/>
                <a:gd name="connsiteY357" fmla="*/ 277217 h 564157"/>
                <a:gd name="connsiteX358" fmla="*/ 1275859 w 1661191"/>
                <a:gd name="connsiteY358" fmla="*/ 275588 h 564157"/>
                <a:gd name="connsiteX359" fmla="*/ 1273788 w 1661191"/>
                <a:gd name="connsiteY359" fmla="*/ 273960 h 564157"/>
                <a:gd name="connsiteX360" fmla="*/ 1273788 w 1661191"/>
                <a:gd name="connsiteY360" fmla="*/ 269026 h 564157"/>
                <a:gd name="connsiteX361" fmla="*/ 1209250 w 1661191"/>
                <a:gd name="connsiteY361" fmla="*/ 327100 h 564157"/>
                <a:gd name="connsiteX362" fmla="*/ 1211322 w 1661191"/>
                <a:gd name="connsiteY362" fmla="*/ 325521 h 564157"/>
                <a:gd name="connsiteX363" fmla="*/ 1213444 w 1661191"/>
                <a:gd name="connsiteY363" fmla="*/ 328728 h 564157"/>
                <a:gd name="connsiteX364" fmla="*/ 1209250 w 1661191"/>
                <a:gd name="connsiteY364" fmla="*/ 328728 h 564157"/>
                <a:gd name="connsiteX365" fmla="*/ 1200912 w 1661191"/>
                <a:gd name="connsiteY365" fmla="*/ 327100 h 564157"/>
                <a:gd name="connsiteX366" fmla="*/ 1205106 w 1661191"/>
                <a:gd name="connsiteY366" fmla="*/ 327100 h 564157"/>
                <a:gd name="connsiteX367" fmla="*/ 1205106 w 1661191"/>
                <a:gd name="connsiteY367" fmla="*/ 330307 h 564157"/>
                <a:gd name="connsiteX368" fmla="*/ 1203280 w 1661191"/>
                <a:gd name="connsiteY368" fmla="*/ 330307 h 564157"/>
                <a:gd name="connsiteX369" fmla="*/ 1182212 w 1661191"/>
                <a:gd name="connsiteY369" fmla="*/ 330307 h 564157"/>
                <a:gd name="connsiteX370" fmla="*/ 1190500 w 1661191"/>
                <a:gd name="connsiteY370" fmla="*/ 327100 h 564157"/>
                <a:gd name="connsiteX371" fmla="*/ 1194695 w 1661191"/>
                <a:gd name="connsiteY371" fmla="*/ 325521 h 564157"/>
                <a:gd name="connsiteX372" fmla="*/ 1198840 w 1661191"/>
                <a:gd name="connsiteY372" fmla="*/ 327100 h 564157"/>
                <a:gd name="connsiteX373" fmla="*/ 1194695 w 1661191"/>
                <a:gd name="connsiteY373" fmla="*/ 333563 h 564157"/>
                <a:gd name="connsiteX374" fmla="*/ 1192623 w 1661191"/>
                <a:gd name="connsiteY374" fmla="*/ 330307 h 564157"/>
                <a:gd name="connsiteX375" fmla="*/ 1188429 w 1661191"/>
                <a:gd name="connsiteY375" fmla="*/ 333563 h 564157"/>
                <a:gd name="connsiteX376" fmla="*/ 1180090 w 1661191"/>
                <a:gd name="connsiteY376" fmla="*/ 311015 h 564157"/>
                <a:gd name="connsiteX377" fmla="*/ 1175945 w 1661191"/>
                <a:gd name="connsiteY377" fmla="*/ 314222 h 564157"/>
                <a:gd name="connsiteX378" fmla="*/ 1180090 w 1661191"/>
                <a:gd name="connsiteY378" fmla="*/ 314222 h 564157"/>
                <a:gd name="connsiteX379" fmla="*/ 1188429 w 1661191"/>
                <a:gd name="connsiteY379" fmla="*/ 304551 h 564157"/>
                <a:gd name="connsiteX380" fmla="*/ 1182212 w 1661191"/>
                <a:gd name="connsiteY380" fmla="*/ 304551 h 564157"/>
                <a:gd name="connsiteX381" fmla="*/ 1184284 w 1661191"/>
                <a:gd name="connsiteY381" fmla="*/ 307758 h 564157"/>
                <a:gd name="connsiteX382" fmla="*/ 1186357 w 1661191"/>
                <a:gd name="connsiteY382" fmla="*/ 307758 h 564157"/>
                <a:gd name="connsiteX383" fmla="*/ 1190500 w 1661191"/>
                <a:gd name="connsiteY383" fmla="*/ 322264 h 564157"/>
                <a:gd name="connsiteX384" fmla="*/ 1196767 w 1661191"/>
                <a:gd name="connsiteY384" fmla="*/ 312396 h 564157"/>
                <a:gd name="connsiteX385" fmla="*/ 1200912 w 1661191"/>
                <a:gd name="connsiteY385" fmla="*/ 318810 h 564157"/>
                <a:gd name="connsiteX386" fmla="*/ 1205106 w 1661191"/>
                <a:gd name="connsiteY386" fmla="*/ 322018 h 564157"/>
                <a:gd name="connsiteX387" fmla="*/ 1211322 w 1661191"/>
                <a:gd name="connsiteY387" fmla="*/ 322018 h 564157"/>
                <a:gd name="connsiteX388" fmla="*/ 1217588 w 1661191"/>
                <a:gd name="connsiteY388" fmla="*/ 315603 h 564157"/>
                <a:gd name="connsiteX389" fmla="*/ 1221733 w 1661191"/>
                <a:gd name="connsiteY389" fmla="*/ 315603 h 564157"/>
                <a:gd name="connsiteX390" fmla="*/ 1225878 w 1661191"/>
                <a:gd name="connsiteY390" fmla="*/ 322018 h 564157"/>
                <a:gd name="connsiteX391" fmla="*/ 1242555 w 1661191"/>
                <a:gd name="connsiteY391" fmla="*/ 323646 h 564157"/>
                <a:gd name="connsiteX392" fmla="*/ 1244627 w 1661191"/>
                <a:gd name="connsiteY392" fmla="*/ 318712 h 564157"/>
                <a:gd name="connsiteX393" fmla="*/ 1252966 w 1661191"/>
                <a:gd name="connsiteY393" fmla="*/ 318712 h 564157"/>
                <a:gd name="connsiteX394" fmla="*/ 1267521 w 1661191"/>
                <a:gd name="connsiteY394" fmla="*/ 326754 h 564157"/>
                <a:gd name="connsiteX395" fmla="*/ 1273788 w 1661191"/>
                <a:gd name="connsiteY395" fmla="*/ 328382 h 564157"/>
                <a:gd name="connsiteX396" fmla="*/ 1282076 w 1661191"/>
                <a:gd name="connsiteY396" fmla="*/ 334797 h 564157"/>
                <a:gd name="connsiteX397" fmla="*/ 1288343 w 1661191"/>
                <a:gd name="connsiteY397" fmla="*/ 334797 h 564157"/>
                <a:gd name="connsiteX398" fmla="*/ 1292488 w 1661191"/>
                <a:gd name="connsiteY398" fmla="*/ 329863 h 564157"/>
                <a:gd name="connsiteX399" fmla="*/ 1288343 w 1661191"/>
                <a:gd name="connsiteY399" fmla="*/ 316985 h 564157"/>
                <a:gd name="connsiteX400" fmla="*/ 1269593 w 1661191"/>
                <a:gd name="connsiteY400" fmla="*/ 308942 h 564157"/>
                <a:gd name="connsiteX401" fmla="*/ 1254791 w 1661191"/>
                <a:gd name="connsiteY401" fmla="*/ 305735 h 564157"/>
                <a:gd name="connsiteX402" fmla="*/ 1248574 w 1661191"/>
                <a:gd name="connsiteY402" fmla="*/ 300801 h 564157"/>
                <a:gd name="connsiteX403" fmla="*/ 1240236 w 1661191"/>
                <a:gd name="connsiteY403" fmla="*/ 300801 h 564157"/>
                <a:gd name="connsiteX404" fmla="*/ 1233970 w 1661191"/>
                <a:gd name="connsiteY404" fmla="*/ 305735 h 564157"/>
                <a:gd name="connsiteX405" fmla="*/ 1225631 w 1661191"/>
                <a:gd name="connsiteY405" fmla="*/ 304107 h 564157"/>
                <a:gd name="connsiteX406" fmla="*/ 1221486 w 1661191"/>
                <a:gd name="connsiteY406" fmla="*/ 302528 h 564157"/>
                <a:gd name="connsiteX407" fmla="*/ 1211076 w 1661191"/>
                <a:gd name="connsiteY407" fmla="*/ 304107 h 564157"/>
                <a:gd name="connsiteX408" fmla="*/ 1196274 w 1661191"/>
                <a:gd name="connsiteY408" fmla="*/ 304107 h 564157"/>
                <a:gd name="connsiteX409" fmla="*/ 1192129 w 1661191"/>
                <a:gd name="connsiteY409" fmla="*/ 307314 h 564157"/>
                <a:gd name="connsiteX410" fmla="*/ 1192129 w 1661191"/>
                <a:gd name="connsiteY410" fmla="*/ 310571 h 564157"/>
                <a:gd name="connsiteX411" fmla="*/ 1185863 w 1661191"/>
                <a:gd name="connsiteY411" fmla="*/ 312199 h 564157"/>
                <a:gd name="connsiteX412" fmla="*/ 1183791 w 1661191"/>
                <a:gd name="connsiteY412" fmla="*/ 317133 h 564157"/>
                <a:gd name="connsiteX413" fmla="*/ 1185863 w 1661191"/>
                <a:gd name="connsiteY413" fmla="*/ 322067 h 564157"/>
                <a:gd name="connsiteX414" fmla="*/ 1119747 w 1661191"/>
                <a:gd name="connsiteY414" fmla="*/ 312396 h 564157"/>
                <a:gd name="connsiteX415" fmla="*/ 1126013 w 1661191"/>
                <a:gd name="connsiteY415" fmla="*/ 313975 h 564157"/>
                <a:gd name="connsiteX416" fmla="*/ 1132280 w 1661191"/>
                <a:gd name="connsiteY416" fmla="*/ 310768 h 564157"/>
                <a:gd name="connsiteX417" fmla="*/ 1144712 w 1661191"/>
                <a:gd name="connsiteY417" fmla="*/ 310768 h 564157"/>
                <a:gd name="connsiteX418" fmla="*/ 1155124 w 1661191"/>
                <a:gd name="connsiteY418" fmla="*/ 313975 h 564157"/>
                <a:gd name="connsiteX419" fmla="*/ 1155124 w 1661191"/>
                <a:gd name="connsiteY419" fmla="*/ 318909 h 564157"/>
                <a:gd name="connsiteX420" fmla="*/ 1161390 w 1661191"/>
                <a:gd name="connsiteY420" fmla="*/ 323843 h 564157"/>
                <a:gd name="connsiteX421" fmla="*/ 1161390 w 1661191"/>
                <a:gd name="connsiteY421" fmla="*/ 328777 h 564157"/>
                <a:gd name="connsiteX422" fmla="*/ 1155124 w 1661191"/>
                <a:gd name="connsiteY422" fmla="*/ 328777 h 564157"/>
                <a:gd name="connsiteX423" fmla="*/ 1148907 w 1661191"/>
                <a:gd name="connsiteY423" fmla="*/ 335191 h 564157"/>
                <a:gd name="connsiteX424" fmla="*/ 1140569 w 1661191"/>
                <a:gd name="connsiteY424" fmla="*/ 333613 h 564157"/>
                <a:gd name="connsiteX425" fmla="*/ 1132280 w 1661191"/>
                <a:gd name="connsiteY425" fmla="*/ 335191 h 564157"/>
                <a:gd name="connsiteX426" fmla="*/ 1128085 w 1661191"/>
                <a:gd name="connsiteY426" fmla="*/ 331984 h 564157"/>
                <a:gd name="connsiteX427" fmla="*/ 1117674 w 1661191"/>
                <a:gd name="connsiteY427" fmla="*/ 330356 h 564157"/>
                <a:gd name="connsiteX428" fmla="*/ 1111457 w 1661191"/>
                <a:gd name="connsiteY428" fmla="*/ 323942 h 564157"/>
                <a:gd name="connsiteX429" fmla="*/ 1113530 w 1661191"/>
                <a:gd name="connsiteY429" fmla="*/ 315900 h 564157"/>
                <a:gd name="connsiteX430" fmla="*/ 919968 w 1661191"/>
                <a:gd name="connsiteY430" fmla="*/ 439546 h 564157"/>
                <a:gd name="connsiteX431" fmla="*/ 913751 w 1661191"/>
                <a:gd name="connsiteY431" fmla="*/ 436339 h 564157"/>
                <a:gd name="connsiteX432" fmla="*/ 911678 w 1661191"/>
                <a:gd name="connsiteY432" fmla="*/ 439546 h 564157"/>
                <a:gd name="connsiteX433" fmla="*/ 915823 w 1661191"/>
                <a:gd name="connsiteY433" fmla="*/ 442753 h 564157"/>
                <a:gd name="connsiteX434" fmla="*/ 911678 w 1661191"/>
                <a:gd name="connsiteY434" fmla="*/ 396078 h 564157"/>
                <a:gd name="connsiteX435" fmla="*/ 917895 w 1661191"/>
                <a:gd name="connsiteY435" fmla="*/ 405946 h 564157"/>
                <a:gd name="connsiteX436" fmla="*/ 915823 w 1661191"/>
                <a:gd name="connsiteY436" fmla="*/ 410880 h 564157"/>
                <a:gd name="connsiteX437" fmla="*/ 911678 w 1661191"/>
                <a:gd name="connsiteY437" fmla="*/ 417294 h 564157"/>
                <a:gd name="connsiteX438" fmla="*/ 911678 w 1661191"/>
                <a:gd name="connsiteY438" fmla="*/ 412360 h 564157"/>
                <a:gd name="connsiteX439" fmla="*/ 907485 w 1661191"/>
                <a:gd name="connsiteY439" fmla="*/ 409103 h 564157"/>
                <a:gd name="connsiteX440" fmla="*/ 909557 w 1661191"/>
                <a:gd name="connsiteY440" fmla="*/ 404169 h 564157"/>
                <a:gd name="connsiteX441" fmla="*/ 909557 w 1661191"/>
                <a:gd name="connsiteY441" fmla="*/ 399235 h 564157"/>
                <a:gd name="connsiteX442" fmla="*/ 1111457 w 1661191"/>
                <a:gd name="connsiteY442" fmla="*/ 276970 h 564157"/>
                <a:gd name="connsiteX443" fmla="*/ 1111457 w 1661191"/>
                <a:gd name="connsiteY443" fmla="*/ 281904 h 564157"/>
                <a:gd name="connsiteX444" fmla="*/ 1117674 w 1661191"/>
                <a:gd name="connsiteY444" fmla="*/ 289996 h 564157"/>
                <a:gd name="connsiteX445" fmla="*/ 1117674 w 1661191"/>
                <a:gd name="connsiteY445" fmla="*/ 291574 h 564157"/>
                <a:gd name="connsiteX446" fmla="*/ 1113530 w 1661191"/>
                <a:gd name="connsiteY446" fmla="*/ 291574 h 564157"/>
                <a:gd name="connsiteX447" fmla="*/ 1111457 w 1661191"/>
                <a:gd name="connsiteY447" fmla="*/ 283532 h 564157"/>
                <a:gd name="connsiteX448" fmla="*/ 1109336 w 1661191"/>
                <a:gd name="connsiteY448" fmla="*/ 278598 h 564157"/>
                <a:gd name="connsiteX449" fmla="*/ 1092709 w 1661191"/>
                <a:gd name="connsiteY449" fmla="*/ 270506 h 564157"/>
                <a:gd name="connsiteX450" fmla="*/ 1096902 w 1661191"/>
                <a:gd name="connsiteY450" fmla="*/ 268878 h 564157"/>
                <a:gd name="connsiteX451" fmla="*/ 1101047 w 1661191"/>
                <a:gd name="connsiteY451" fmla="*/ 270506 h 564157"/>
                <a:gd name="connsiteX452" fmla="*/ 1107313 w 1661191"/>
                <a:gd name="connsiteY452" fmla="*/ 268878 h 564157"/>
                <a:gd name="connsiteX453" fmla="*/ 1119747 w 1661191"/>
                <a:gd name="connsiteY453" fmla="*/ 270506 h 564157"/>
                <a:gd name="connsiteX454" fmla="*/ 1128085 w 1661191"/>
                <a:gd name="connsiteY454" fmla="*/ 270506 h 564157"/>
                <a:gd name="connsiteX455" fmla="*/ 1119747 w 1661191"/>
                <a:gd name="connsiteY455" fmla="*/ 272085 h 564157"/>
                <a:gd name="connsiteX456" fmla="*/ 1103119 w 1661191"/>
                <a:gd name="connsiteY456" fmla="*/ 275342 h 564157"/>
                <a:gd name="connsiteX457" fmla="*/ 1094781 w 1661191"/>
                <a:gd name="connsiteY457" fmla="*/ 273713 h 564157"/>
                <a:gd name="connsiteX458" fmla="*/ 1094781 w 1661191"/>
                <a:gd name="connsiteY458" fmla="*/ 272085 h 564157"/>
                <a:gd name="connsiteX459" fmla="*/ 1057331 w 1661191"/>
                <a:gd name="connsiteY459" fmla="*/ 270506 h 564157"/>
                <a:gd name="connsiteX460" fmla="*/ 1061525 w 1661191"/>
                <a:gd name="connsiteY460" fmla="*/ 267299 h 564157"/>
                <a:gd name="connsiteX461" fmla="*/ 1065621 w 1661191"/>
                <a:gd name="connsiteY461" fmla="*/ 267299 h 564157"/>
                <a:gd name="connsiteX462" fmla="*/ 1069814 w 1661191"/>
                <a:gd name="connsiteY462" fmla="*/ 265671 h 564157"/>
                <a:gd name="connsiteX463" fmla="*/ 1076031 w 1661191"/>
                <a:gd name="connsiteY463" fmla="*/ 267299 h 564157"/>
                <a:gd name="connsiteX464" fmla="*/ 1080225 w 1661191"/>
                <a:gd name="connsiteY464" fmla="*/ 268878 h 564157"/>
                <a:gd name="connsiteX465" fmla="*/ 1084369 w 1661191"/>
                <a:gd name="connsiteY465" fmla="*/ 267299 h 564157"/>
                <a:gd name="connsiteX466" fmla="*/ 1090636 w 1661191"/>
                <a:gd name="connsiteY466" fmla="*/ 267299 h 564157"/>
                <a:gd name="connsiteX467" fmla="*/ 1090636 w 1661191"/>
                <a:gd name="connsiteY467" fmla="*/ 273713 h 564157"/>
                <a:gd name="connsiteX468" fmla="*/ 1084369 w 1661191"/>
                <a:gd name="connsiteY468" fmla="*/ 272085 h 564157"/>
                <a:gd name="connsiteX469" fmla="*/ 1078152 w 1661191"/>
                <a:gd name="connsiteY469" fmla="*/ 275342 h 564157"/>
                <a:gd name="connsiteX470" fmla="*/ 1073959 w 1661191"/>
                <a:gd name="connsiteY470" fmla="*/ 273713 h 564157"/>
                <a:gd name="connsiteX471" fmla="*/ 1065621 w 1661191"/>
                <a:gd name="connsiteY471" fmla="*/ 278647 h 564157"/>
                <a:gd name="connsiteX472" fmla="*/ 1059404 w 1661191"/>
                <a:gd name="connsiteY472" fmla="*/ 277068 h 564157"/>
                <a:gd name="connsiteX473" fmla="*/ 1055259 w 1661191"/>
                <a:gd name="connsiteY473" fmla="*/ 273812 h 564157"/>
                <a:gd name="connsiteX474" fmla="*/ 992844 w 1661191"/>
                <a:gd name="connsiteY474" fmla="*/ 384828 h 564157"/>
                <a:gd name="connsiteX475" fmla="*/ 999061 w 1661191"/>
                <a:gd name="connsiteY475" fmla="*/ 374960 h 564157"/>
                <a:gd name="connsiteX476" fmla="*/ 1003205 w 1661191"/>
                <a:gd name="connsiteY476" fmla="*/ 365092 h 564157"/>
                <a:gd name="connsiteX477" fmla="*/ 1003205 w 1661191"/>
                <a:gd name="connsiteY477" fmla="*/ 355224 h 564157"/>
                <a:gd name="connsiteX478" fmla="*/ 1005278 w 1661191"/>
                <a:gd name="connsiteY478" fmla="*/ 353546 h 564157"/>
                <a:gd name="connsiteX479" fmla="*/ 1011543 w 1661191"/>
                <a:gd name="connsiteY479" fmla="*/ 353546 h 564157"/>
                <a:gd name="connsiteX480" fmla="*/ 1011543 w 1661191"/>
                <a:gd name="connsiteY480" fmla="*/ 358480 h 564157"/>
                <a:gd name="connsiteX481" fmla="*/ 1013616 w 1661191"/>
                <a:gd name="connsiteY481" fmla="*/ 361687 h 564157"/>
                <a:gd name="connsiteX482" fmla="*/ 1013616 w 1661191"/>
                <a:gd name="connsiteY482" fmla="*/ 364894 h 564157"/>
                <a:gd name="connsiteX483" fmla="*/ 1011543 w 1661191"/>
                <a:gd name="connsiteY483" fmla="*/ 363266 h 564157"/>
                <a:gd name="connsiteX484" fmla="*/ 1009471 w 1661191"/>
                <a:gd name="connsiteY484" fmla="*/ 364894 h 564157"/>
                <a:gd name="connsiteX485" fmla="*/ 1005278 w 1661191"/>
                <a:gd name="connsiteY485" fmla="*/ 368151 h 564157"/>
                <a:gd name="connsiteX486" fmla="*/ 1003205 w 1661191"/>
                <a:gd name="connsiteY486" fmla="*/ 369730 h 564157"/>
                <a:gd name="connsiteX487" fmla="*/ 1005278 w 1661191"/>
                <a:gd name="connsiteY487" fmla="*/ 374664 h 564157"/>
                <a:gd name="connsiteX488" fmla="*/ 1011543 w 1661191"/>
                <a:gd name="connsiteY488" fmla="*/ 376243 h 564157"/>
                <a:gd name="connsiteX489" fmla="*/ 1011543 w 1661191"/>
                <a:gd name="connsiteY489" fmla="*/ 379499 h 564157"/>
                <a:gd name="connsiteX490" fmla="*/ 1009471 w 1661191"/>
                <a:gd name="connsiteY490" fmla="*/ 381127 h 564157"/>
                <a:gd name="connsiteX491" fmla="*/ 1005278 w 1661191"/>
                <a:gd name="connsiteY491" fmla="*/ 382706 h 564157"/>
                <a:gd name="connsiteX492" fmla="*/ 1001133 w 1661191"/>
                <a:gd name="connsiteY492" fmla="*/ 389170 h 564157"/>
                <a:gd name="connsiteX493" fmla="*/ 996988 w 1661191"/>
                <a:gd name="connsiteY493" fmla="*/ 390798 h 564157"/>
                <a:gd name="connsiteX494" fmla="*/ 992844 w 1661191"/>
                <a:gd name="connsiteY494" fmla="*/ 389170 h 564157"/>
                <a:gd name="connsiteX495" fmla="*/ 976166 w 1661191"/>
                <a:gd name="connsiteY495" fmla="*/ 378414 h 564157"/>
                <a:gd name="connsiteX496" fmla="*/ 976166 w 1661191"/>
                <a:gd name="connsiteY496" fmla="*/ 382065 h 564157"/>
                <a:gd name="connsiteX497" fmla="*/ 980311 w 1661191"/>
                <a:gd name="connsiteY497" fmla="*/ 383644 h 564157"/>
                <a:gd name="connsiteX498" fmla="*/ 986578 w 1661191"/>
                <a:gd name="connsiteY498" fmla="*/ 382065 h 564157"/>
                <a:gd name="connsiteX499" fmla="*/ 986578 w 1661191"/>
                <a:gd name="connsiteY499" fmla="*/ 380436 h 564157"/>
                <a:gd name="connsiteX500" fmla="*/ 988649 w 1661191"/>
                <a:gd name="connsiteY500" fmla="*/ 378858 h 564157"/>
                <a:gd name="connsiteX501" fmla="*/ 990721 w 1661191"/>
                <a:gd name="connsiteY501" fmla="*/ 373923 h 564157"/>
                <a:gd name="connsiteX502" fmla="*/ 994866 w 1661191"/>
                <a:gd name="connsiteY502" fmla="*/ 370717 h 564157"/>
                <a:gd name="connsiteX503" fmla="*/ 994866 w 1661191"/>
                <a:gd name="connsiteY503" fmla="*/ 367263 h 564157"/>
                <a:gd name="connsiteX504" fmla="*/ 990721 w 1661191"/>
                <a:gd name="connsiteY504" fmla="*/ 360799 h 564157"/>
                <a:gd name="connsiteX505" fmla="*/ 986578 w 1661191"/>
                <a:gd name="connsiteY505" fmla="*/ 364006 h 564157"/>
                <a:gd name="connsiteX506" fmla="*/ 980311 w 1661191"/>
                <a:gd name="connsiteY506" fmla="*/ 368940 h 564157"/>
                <a:gd name="connsiteX507" fmla="*/ 982433 w 1661191"/>
                <a:gd name="connsiteY507" fmla="*/ 372147 h 564157"/>
                <a:gd name="connsiteX508" fmla="*/ 961611 w 1661191"/>
                <a:gd name="connsiteY508" fmla="*/ 373480 h 564157"/>
                <a:gd name="connsiteX509" fmla="*/ 959490 w 1661191"/>
                <a:gd name="connsiteY509" fmla="*/ 378414 h 564157"/>
                <a:gd name="connsiteX510" fmla="*/ 957466 w 1661191"/>
                <a:gd name="connsiteY510" fmla="*/ 379993 h 564157"/>
                <a:gd name="connsiteX511" fmla="*/ 961611 w 1661191"/>
                <a:gd name="connsiteY511" fmla="*/ 386407 h 564157"/>
                <a:gd name="connsiteX512" fmla="*/ 963683 w 1661191"/>
                <a:gd name="connsiteY512" fmla="*/ 388035 h 564157"/>
                <a:gd name="connsiteX513" fmla="*/ 969900 w 1661191"/>
                <a:gd name="connsiteY513" fmla="*/ 384828 h 564157"/>
                <a:gd name="connsiteX514" fmla="*/ 967828 w 1661191"/>
                <a:gd name="connsiteY514" fmla="*/ 378414 h 564157"/>
                <a:gd name="connsiteX515" fmla="*/ 963683 w 1661191"/>
                <a:gd name="connsiteY515" fmla="*/ 371950 h 564157"/>
                <a:gd name="connsiteX516" fmla="*/ 1013616 w 1661191"/>
                <a:gd name="connsiteY516" fmla="*/ 272036 h 564157"/>
                <a:gd name="connsiteX517" fmla="*/ 1007399 w 1661191"/>
                <a:gd name="connsiteY517" fmla="*/ 275292 h 564157"/>
                <a:gd name="connsiteX518" fmla="*/ 1011543 w 1661191"/>
                <a:gd name="connsiteY518" fmla="*/ 276921 h 564157"/>
                <a:gd name="connsiteX519" fmla="*/ 1019882 w 1661191"/>
                <a:gd name="connsiteY519" fmla="*/ 268829 h 564157"/>
                <a:gd name="connsiteX520" fmla="*/ 1017809 w 1661191"/>
                <a:gd name="connsiteY520" fmla="*/ 270457 h 564157"/>
                <a:gd name="connsiteX521" fmla="*/ 1021954 w 1661191"/>
                <a:gd name="connsiteY521" fmla="*/ 272036 h 564157"/>
                <a:gd name="connsiteX522" fmla="*/ 1030243 w 1661191"/>
                <a:gd name="connsiteY522" fmla="*/ 262414 h 564157"/>
                <a:gd name="connsiteX523" fmla="*/ 1026099 w 1661191"/>
                <a:gd name="connsiteY523" fmla="*/ 265622 h 564157"/>
                <a:gd name="connsiteX524" fmla="*/ 1032366 w 1661191"/>
                <a:gd name="connsiteY524" fmla="*/ 267250 h 564157"/>
                <a:gd name="connsiteX525" fmla="*/ 999061 w 1661191"/>
                <a:gd name="connsiteY525" fmla="*/ 255951 h 564157"/>
                <a:gd name="connsiteX526" fmla="*/ 1007399 w 1661191"/>
                <a:gd name="connsiteY526" fmla="*/ 251017 h 564157"/>
                <a:gd name="connsiteX527" fmla="*/ 1017809 w 1661191"/>
                <a:gd name="connsiteY527" fmla="*/ 251017 h 564157"/>
                <a:gd name="connsiteX528" fmla="*/ 1017809 w 1661191"/>
                <a:gd name="connsiteY528" fmla="*/ 254273 h 564157"/>
                <a:gd name="connsiteX529" fmla="*/ 1015688 w 1661191"/>
                <a:gd name="connsiteY529" fmla="*/ 257480 h 564157"/>
                <a:gd name="connsiteX530" fmla="*/ 1021954 w 1661191"/>
                <a:gd name="connsiteY530" fmla="*/ 257480 h 564157"/>
                <a:gd name="connsiteX531" fmla="*/ 1024026 w 1661191"/>
                <a:gd name="connsiteY531" fmla="*/ 252546 h 564157"/>
                <a:gd name="connsiteX532" fmla="*/ 1030243 w 1661191"/>
                <a:gd name="connsiteY532" fmla="*/ 255754 h 564157"/>
                <a:gd name="connsiteX533" fmla="*/ 1028221 w 1661191"/>
                <a:gd name="connsiteY533" fmla="*/ 260688 h 564157"/>
                <a:gd name="connsiteX534" fmla="*/ 1021954 w 1661191"/>
                <a:gd name="connsiteY534" fmla="*/ 262316 h 564157"/>
                <a:gd name="connsiteX535" fmla="*/ 1019882 w 1661191"/>
                <a:gd name="connsiteY535" fmla="*/ 260688 h 564157"/>
                <a:gd name="connsiteX536" fmla="*/ 1015688 w 1661191"/>
                <a:gd name="connsiteY536" fmla="*/ 263895 h 564157"/>
                <a:gd name="connsiteX537" fmla="*/ 1009471 w 1661191"/>
                <a:gd name="connsiteY537" fmla="*/ 260688 h 564157"/>
                <a:gd name="connsiteX538" fmla="*/ 1005278 w 1661191"/>
                <a:gd name="connsiteY538" fmla="*/ 263895 h 564157"/>
                <a:gd name="connsiteX539" fmla="*/ 1001133 w 1661191"/>
                <a:gd name="connsiteY539" fmla="*/ 260688 h 564157"/>
                <a:gd name="connsiteX540" fmla="*/ 961611 w 1661191"/>
                <a:gd name="connsiteY540" fmla="*/ 225360 h 564157"/>
                <a:gd name="connsiteX541" fmla="*/ 967828 w 1661191"/>
                <a:gd name="connsiteY541" fmla="*/ 226988 h 564157"/>
                <a:gd name="connsiteX542" fmla="*/ 967828 w 1661191"/>
                <a:gd name="connsiteY542" fmla="*/ 224176 h 564157"/>
                <a:gd name="connsiteX543" fmla="*/ 957466 w 1661191"/>
                <a:gd name="connsiteY543" fmla="*/ 226988 h 564157"/>
                <a:gd name="connsiteX544" fmla="*/ 959490 w 1661191"/>
                <a:gd name="connsiteY544" fmla="*/ 226988 h 564157"/>
                <a:gd name="connsiteX545" fmla="*/ 965756 w 1661191"/>
                <a:gd name="connsiteY545" fmla="*/ 228567 h 564157"/>
                <a:gd name="connsiteX546" fmla="*/ 959490 w 1661191"/>
                <a:gd name="connsiteY546" fmla="*/ 230195 h 564157"/>
                <a:gd name="connsiteX547" fmla="*/ 911678 w 1661191"/>
                <a:gd name="connsiteY547" fmla="*/ 199604 h 564157"/>
                <a:gd name="connsiteX548" fmla="*/ 919968 w 1661191"/>
                <a:gd name="connsiteY548" fmla="*/ 196397 h 564157"/>
                <a:gd name="connsiteX549" fmla="*/ 930378 w 1661191"/>
                <a:gd name="connsiteY549" fmla="*/ 201331 h 564157"/>
                <a:gd name="connsiteX550" fmla="*/ 940790 w 1661191"/>
                <a:gd name="connsiteY550" fmla="*/ 201331 h 564157"/>
                <a:gd name="connsiteX551" fmla="*/ 955345 w 1661191"/>
                <a:gd name="connsiteY551" fmla="*/ 196397 h 564157"/>
                <a:gd name="connsiteX552" fmla="*/ 963683 w 1661191"/>
                <a:gd name="connsiteY552" fmla="*/ 196397 h 564157"/>
                <a:gd name="connsiteX553" fmla="*/ 965756 w 1661191"/>
                <a:gd name="connsiteY553" fmla="*/ 199604 h 564157"/>
                <a:gd name="connsiteX554" fmla="*/ 974094 w 1661191"/>
                <a:gd name="connsiteY554" fmla="*/ 199604 h 564157"/>
                <a:gd name="connsiteX555" fmla="*/ 978238 w 1661191"/>
                <a:gd name="connsiteY555" fmla="*/ 198025 h 564157"/>
                <a:gd name="connsiteX556" fmla="*/ 993040 w 1661191"/>
                <a:gd name="connsiteY556" fmla="*/ 199604 h 564157"/>
                <a:gd name="connsiteX557" fmla="*/ 1000985 w 1661191"/>
                <a:gd name="connsiteY557" fmla="*/ 199604 h 564157"/>
                <a:gd name="connsiteX558" fmla="*/ 1003056 w 1661191"/>
                <a:gd name="connsiteY558" fmla="*/ 198025 h 564157"/>
                <a:gd name="connsiteX559" fmla="*/ 1011396 w 1661191"/>
                <a:gd name="connsiteY559" fmla="*/ 198025 h 564157"/>
                <a:gd name="connsiteX560" fmla="*/ 1017661 w 1661191"/>
                <a:gd name="connsiteY560" fmla="*/ 199604 h 564157"/>
                <a:gd name="connsiteX561" fmla="*/ 1019734 w 1661191"/>
                <a:gd name="connsiteY561" fmla="*/ 202811 h 564157"/>
                <a:gd name="connsiteX562" fmla="*/ 1025951 w 1661191"/>
                <a:gd name="connsiteY562" fmla="*/ 206018 h 564157"/>
                <a:gd name="connsiteX563" fmla="*/ 1053039 w 1661191"/>
                <a:gd name="connsiteY563" fmla="*/ 199604 h 564157"/>
                <a:gd name="connsiteX564" fmla="*/ 1065473 w 1661191"/>
                <a:gd name="connsiteY564" fmla="*/ 193190 h 564157"/>
                <a:gd name="connsiteX565" fmla="*/ 1067594 w 1661191"/>
                <a:gd name="connsiteY565" fmla="*/ 188256 h 564157"/>
                <a:gd name="connsiteX566" fmla="*/ 1073811 w 1661191"/>
                <a:gd name="connsiteY566" fmla="*/ 188256 h 564157"/>
                <a:gd name="connsiteX567" fmla="*/ 1075883 w 1661191"/>
                <a:gd name="connsiteY567" fmla="*/ 183322 h 564157"/>
                <a:gd name="connsiteX568" fmla="*/ 1082149 w 1661191"/>
                <a:gd name="connsiteY568" fmla="*/ 180115 h 564157"/>
                <a:gd name="connsiteX569" fmla="*/ 1084222 w 1661191"/>
                <a:gd name="connsiteY569" fmla="*/ 175181 h 564157"/>
                <a:gd name="connsiteX570" fmla="*/ 1086344 w 1661191"/>
                <a:gd name="connsiteY570" fmla="*/ 170247 h 564157"/>
                <a:gd name="connsiteX571" fmla="*/ 1090487 w 1661191"/>
                <a:gd name="connsiteY571" fmla="*/ 168618 h 564157"/>
                <a:gd name="connsiteX572" fmla="*/ 1086344 w 1661191"/>
                <a:gd name="connsiteY572" fmla="*/ 165411 h 564157"/>
                <a:gd name="connsiteX573" fmla="*/ 1086344 w 1661191"/>
                <a:gd name="connsiteY573" fmla="*/ 162155 h 564157"/>
                <a:gd name="connsiteX574" fmla="*/ 1075883 w 1661191"/>
                <a:gd name="connsiteY574" fmla="*/ 160576 h 564157"/>
                <a:gd name="connsiteX575" fmla="*/ 1069666 w 1661191"/>
                <a:gd name="connsiteY575" fmla="*/ 162155 h 564157"/>
                <a:gd name="connsiteX576" fmla="*/ 1067594 w 1661191"/>
                <a:gd name="connsiteY576" fmla="*/ 168618 h 564157"/>
                <a:gd name="connsiteX577" fmla="*/ 1063449 w 1661191"/>
                <a:gd name="connsiteY577" fmla="*/ 171826 h 564157"/>
                <a:gd name="connsiteX578" fmla="*/ 1061377 w 1661191"/>
                <a:gd name="connsiteY578" fmla="*/ 175082 h 564157"/>
                <a:gd name="connsiteX579" fmla="*/ 1055111 w 1661191"/>
                <a:gd name="connsiteY579" fmla="*/ 180016 h 564157"/>
                <a:gd name="connsiteX580" fmla="*/ 1048845 w 1661191"/>
                <a:gd name="connsiteY580" fmla="*/ 180016 h 564157"/>
                <a:gd name="connsiteX581" fmla="*/ 1044701 w 1661191"/>
                <a:gd name="connsiteY581" fmla="*/ 184950 h 564157"/>
                <a:gd name="connsiteX582" fmla="*/ 1036361 w 1661191"/>
                <a:gd name="connsiteY582" fmla="*/ 186578 h 564157"/>
                <a:gd name="connsiteX583" fmla="*/ 1019734 w 1661191"/>
                <a:gd name="connsiteY583" fmla="*/ 183371 h 564157"/>
                <a:gd name="connsiteX584" fmla="*/ 1004932 w 1661191"/>
                <a:gd name="connsiteY584" fmla="*/ 183371 h 564157"/>
                <a:gd name="connsiteX585" fmla="*/ 1002859 w 1661191"/>
                <a:gd name="connsiteY585" fmla="*/ 186578 h 564157"/>
                <a:gd name="connsiteX586" fmla="*/ 998715 w 1661191"/>
                <a:gd name="connsiteY586" fmla="*/ 186578 h 564157"/>
                <a:gd name="connsiteX587" fmla="*/ 992498 w 1661191"/>
                <a:gd name="connsiteY587" fmla="*/ 181644 h 564157"/>
                <a:gd name="connsiteX588" fmla="*/ 986232 w 1661191"/>
                <a:gd name="connsiteY588" fmla="*/ 180065 h 564157"/>
                <a:gd name="connsiteX589" fmla="*/ 973749 w 1661191"/>
                <a:gd name="connsiteY589" fmla="*/ 180065 h 564157"/>
                <a:gd name="connsiteX590" fmla="*/ 963338 w 1661191"/>
                <a:gd name="connsiteY590" fmla="*/ 178437 h 564157"/>
                <a:gd name="connsiteX591" fmla="*/ 959144 w 1661191"/>
                <a:gd name="connsiteY591" fmla="*/ 180065 h 564157"/>
                <a:gd name="connsiteX592" fmla="*/ 952927 w 1661191"/>
                <a:gd name="connsiteY592" fmla="*/ 178437 h 564157"/>
                <a:gd name="connsiteX593" fmla="*/ 946710 w 1661191"/>
                <a:gd name="connsiteY593" fmla="*/ 171973 h 564157"/>
                <a:gd name="connsiteX594" fmla="*/ 936299 w 1661191"/>
                <a:gd name="connsiteY594" fmla="*/ 170395 h 564157"/>
                <a:gd name="connsiteX595" fmla="*/ 930034 w 1661191"/>
                <a:gd name="connsiteY595" fmla="*/ 170395 h 564157"/>
                <a:gd name="connsiteX596" fmla="*/ 930034 w 1661191"/>
                <a:gd name="connsiteY596" fmla="*/ 176858 h 564157"/>
                <a:gd name="connsiteX597" fmla="*/ 923767 w 1661191"/>
                <a:gd name="connsiteY597" fmla="*/ 180065 h 564157"/>
                <a:gd name="connsiteX598" fmla="*/ 921744 w 1661191"/>
                <a:gd name="connsiteY598" fmla="*/ 186480 h 564157"/>
                <a:gd name="connsiteX599" fmla="*/ 915477 w 1661191"/>
                <a:gd name="connsiteY599" fmla="*/ 189687 h 564157"/>
                <a:gd name="connsiteX600" fmla="*/ 907139 w 1661191"/>
                <a:gd name="connsiteY600" fmla="*/ 186480 h 564157"/>
                <a:gd name="connsiteX601" fmla="*/ 898801 w 1661191"/>
                <a:gd name="connsiteY601" fmla="*/ 189687 h 564157"/>
                <a:gd name="connsiteX602" fmla="*/ 894656 w 1661191"/>
                <a:gd name="connsiteY602" fmla="*/ 192943 h 564157"/>
                <a:gd name="connsiteX603" fmla="*/ 894656 w 1661191"/>
                <a:gd name="connsiteY603" fmla="*/ 194522 h 564157"/>
                <a:gd name="connsiteX604" fmla="*/ 886367 w 1661191"/>
                <a:gd name="connsiteY604" fmla="*/ 202565 h 564157"/>
                <a:gd name="connsiteX605" fmla="*/ 886367 w 1661191"/>
                <a:gd name="connsiteY605" fmla="*/ 210656 h 564157"/>
                <a:gd name="connsiteX606" fmla="*/ 888390 w 1661191"/>
                <a:gd name="connsiteY606" fmla="*/ 215590 h 564157"/>
                <a:gd name="connsiteX607" fmla="*/ 888390 w 1661191"/>
                <a:gd name="connsiteY607" fmla="*/ 226889 h 564157"/>
                <a:gd name="connsiteX608" fmla="*/ 886367 w 1661191"/>
                <a:gd name="connsiteY608" fmla="*/ 230097 h 564157"/>
                <a:gd name="connsiteX609" fmla="*/ 890512 w 1661191"/>
                <a:gd name="connsiteY609" fmla="*/ 236560 h 564157"/>
                <a:gd name="connsiteX610" fmla="*/ 890512 w 1661191"/>
                <a:gd name="connsiteY610" fmla="*/ 243024 h 564157"/>
                <a:gd name="connsiteX611" fmla="*/ 888390 w 1661191"/>
                <a:gd name="connsiteY611" fmla="*/ 239767 h 564157"/>
                <a:gd name="connsiteX612" fmla="*/ 886367 w 1661191"/>
                <a:gd name="connsiteY612" fmla="*/ 234833 h 564157"/>
                <a:gd name="connsiteX613" fmla="*/ 880101 w 1661191"/>
                <a:gd name="connsiteY613" fmla="*/ 236461 h 564157"/>
                <a:gd name="connsiteX614" fmla="*/ 875956 w 1661191"/>
                <a:gd name="connsiteY614" fmla="*/ 241395 h 564157"/>
                <a:gd name="connsiteX615" fmla="*/ 869689 w 1661191"/>
                <a:gd name="connsiteY615" fmla="*/ 243073 h 564157"/>
                <a:gd name="connsiteX616" fmla="*/ 869689 w 1661191"/>
                <a:gd name="connsiteY616" fmla="*/ 257530 h 564157"/>
                <a:gd name="connsiteX617" fmla="*/ 867617 w 1661191"/>
                <a:gd name="connsiteY617" fmla="*/ 262464 h 564157"/>
                <a:gd name="connsiteX618" fmla="*/ 869689 w 1661191"/>
                <a:gd name="connsiteY618" fmla="*/ 275342 h 564157"/>
                <a:gd name="connsiteX619" fmla="*/ 867617 w 1661191"/>
                <a:gd name="connsiteY619" fmla="*/ 276970 h 564157"/>
                <a:gd name="connsiteX620" fmla="*/ 867617 w 1661191"/>
                <a:gd name="connsiteY620" fmla="*/ 283384 h 564157"/>
                <a:gd name="connsiteX621" fmla="*/ 861351 w 1661191"/>
                <a:gd name="connsiteY621" fmla="*/ 284963 h 564157"/>
                <a:gd name="connsiteX622" fmla="*/ 861351 w 1661191"/>
                <a:gd name="connsiteY622" fmla="*/ 291427 h 564157"/>
                <a:gd name="connsiteX623" fmla="*/ 853013 w 1661191"/>
                <a:gd name="connsiteY623" fmla="*/ 297841 h 564157"/>
                <a:gd name="connsiteX624" fmla="*/ 850990 w 1661191"/>
                <a:gd name="connsiteY624" fmla="*/ 305933 h 564157"/>
                <a:gd name="connsiteX625" fmla="*/ 853013 w 1661191"/>
                <a:gd name="connsiteY625" fmla="*/ 307512 h 564157"/>
                <a:gd name="connsiteX626" fmla="*/ 848868 w 1661191"/>
                <a:gd name="connsiteY626" fmla="*/ 312446 h 564157"/>
                <a:gd name="connsiteX627" fmla="*/ 853013 w 1661191"/>
                <a:gd name="connsiteY627" fmla="*/ 322314 h 564157"/>
                <a:gd name="connsiteX628" fmla="*/ 857207 w 1661191"/>
                <a:gd name="connsiteY628" fmla="*/ 327248 h 564157"/>
                <a:gd name="connsiteX629" fmla="*/ 859279 w 1661191"/>
                <a:gd name="connsiteY629" fmla="*/ 325669 h 564157"/>
                <a:gd name="connsiteX630" fmla="*/ 865546 w 1661191"/>
                <a:gd name="connsiteY630" fmla="*/ 325669 h 564157"/>
                <a:gd name="connsiteX631" fmla="*/ 869689 w 1661191"/>
                <a:gd name="connsiteY631" fmla="*/ 324040 h 564157"/>
                <a:gd name="connsiteX632" fmla="*/ 873834 w 1661191"/>
                <a:gd name="connsiteY632" fmla="*/ 325669 h 564157"/>
                <a:gd name="connsiteX633" fmla="*/ 875956 w 1661191"/>
                <a:gd name="connsiteY633" fmla="*/ 333711 h 564157"/>
                <a:gd name="connsiteX634" fmla="*/ 882173 w 1661191"/>
                <a:gd name="connsiteY634" fmla="*/ 348168 h 564157"/>
                <a:gd name="connsiteX635" fmla="*/ 880101 w 1661191"/>
                <a:gd name="connsiteY635" fmla="*/ 351375 h 564157"/>
                <a:gd name="connsiteX636" fmla="*/ 878029 w 1661191"/>
                <a:gd name="connsiteY636" fmla="*/ 359467 h 564157"/>
                <a:gd name="connsiteX637" fmla="*/ 871762 w 1661191"/>
                <a:gd name="connsiteY637" fmla="*/ 365881 h 564157"/>
                <a:gd name="connsiteX638" fmla="*/ 871762 w 1661191"/>
                <a:gd name="connsiteY638" fmla="*/ 390058 h 564157"/>
                <a:gd name="connsiteX639" fmla="*/ 875956 w 1661191"/>
                <a:gd name="connsiteY639" fmla="*/ 390058 h 564157"/>
                <a:gd name="connsiteX640" fmla="*/ 880101 w 1661191"/>
                <a:gd name="connsiteY640" fmla="*/ 391686 h 564157"/>
                <a:gd name="connsiteX641" fmla="*/ 888390 w 1661191"/>
                <a:gd name="connsiteY641" fmla="*/ 391686 h 564157"/>
                <a:gd name="connsiteX642" fmla="*/ 892584 w 1661191"/>
                <a:gd name="connsiteY642" fmla="*/ 388430 h 564157"/>
                <a:gd name="connsiteX643" fmla="*/ 898801 w 1661191"/>
                <a:gd name="connsiteY643" fmla="*/ 390058 h 564157"/>
                <a:gd name="connsiteX644" fmla="*/ 905067 w 1661191"/>
                <a:gd name="connsiteY644" fmla="*/ 388430 h 564157"/>
                <a:gd name="connsiteX645" fmla="*/ 909211 w 1661191"/>
                <a:gd name="connsiteY645" fmla="*/ 391686 h 564157"/>
                <a:gd name="connsiteX646" fmla="*/ 911334 w 1661191"/>
                <a:gd name="connsiteY646" fmla="*/ 386752 h 564157"/>
                <a:gd name="connsiteX647" fmla="*/ 909211 w 1661191"/>
                <a:gd name="connsiteY647" fmla="*/ 380338 h 564157"/>
                <a:gd name="connsiteX648" fmla="*/ 905067 w 1661191"/>
                <a:gd name="connsiteY648" fmla="*/ 377081 h 564157"/>
                <a:gd name="connsiteX649" fmla="*/ 902994 w 1661191"/>
                <a:gd name="connsiteY649" fmla="*/ 369088 h 564157"/>
                <a:gd name="connsiteX650" fmla="*/ 907139 w 1661191"/>
                <a:gd name="connsiteY650" fmla="*/ 364154 h 564157"/>
                <a:gd name="connsiteX651" fmla="*/ 909211 w 1661191"/>
                <a:gd name="connsiteY651" fmla="*/ 354286 h 564157"/>
                <a:gd name="connsiteX652" fmla="*/ 907139 w 1661191"/>
                <a:gd name="connsiteY652" fmla="*/ 344665 h 564157"/>
                <a:gd name="connsiteX653" fmla="*/ 905067 w 1661191"/>
                <a:gd name="connsiteY653" fmla="*/ 341458 h 564157"/>
                <a:gd name="connsiteX654" fmla="*/ 911334 w 1661191"/>
                <a:gd name="connsiteY654" fmla="*/ 331590 h 564157"/>
                <a:gd name="connsiteX655" fmla="*/ 913405 w 1661191"/>
                <a:gd name="connsiteY655" fmla="*/ 323547 h 564157"/>
                <a:gd name="connsiteX656" fmla="*/ 911334 w 1661191"/>
                <a:gd name="connsiteY656" fmla="*/ 315505 h 564157"/>
                <a:gd name="connsiteX657" fmla="*/ 907139 w 1661191"/>
                <a:gd name="connsiteY657" fmla="*/ 310571 h 564157"/>
                <a:gd name="connsiteX658" fmla="*/ 907139 w 1661191"/>
                <a:gd name="connsiteY658" fmla="*/ 308942 h 564157"/>
                <a:gd name="connsiteX659" fmla="*/ 915477 w 1661191"/>
                <a:gd name="connsiteY659" fmla="*/ 304008 h 564157"/>
                <a:gd name="connsiteX660" fmla="*/ 917550 w 1661191"/>
                <a:gd name="connsiteY660" fmla="*/ 299074 h 564157"/>
                <a:gd name="connsiteX661" fmla="*/ 925889 w 1661191"/>
                <a:gd name="connsiteY661" fmla="*/ 297397 h 564157"/>
                <a:gd name="connsiteX662" fmla="*/ 932106 w 1661191"/>
                <a:gd name="connsiteY662" fmla="*/ 300653 h 564157"/>
                <a:gd name="connsiteX663" fmla="*/ 932106 w 1661191"/>
                <a:gd name="connsiteY663" fmla="*/ 303860 h 564157"/>
                <a:gd name="connsiteX664" fmla="*/ 936299 w 1661191"/>
                <a:gd name="connsiteY664" fmla="*/ 308794 h 564157"/>
                <a:gd name="connsiteX665" fmla="*/ 936299 w 1661191"/>
                <a:gd name="connsiteY665" fmla="*/ 315258 h 564157"/>
                <a:gd name="connsiteX666" fmla="*/ 930034 w 1661191"/>
                <a:gd name="connsiteY666" fmla="*/ 320192 h 564157"/>
                <a:gd name="connsiteX667" fmla="*/ 927961 w 1661191"/>
                <a:gd name="connsiteY667" fmla="*/ 326656 h 564157"/>
                <a:gd name="connsiteX668" fmla="*/ 932106 w 1661191"/>
                <a:gd name="connsiteY668" fmla="*/ 333119 h 564157"/>
                <a:gd name="connsiteX669" fmla="*/ 936299 w 1661191"/>
                <a:gd name="connsiteY669" fmla="*/ 333119 h 564157"/>
                <a:gd name="connsiteX670" fmla="*/ 942516 w 1661191"/>
                <a:gd name="connsiteY670" fmla="*/ 338053 h 564157"/>
                <a:gd name="connsiteX671" fmla="*/ 950855 w 1661191"/>
                <a:gd name="connsiteY671" fmla="*/ 342987 h 564157"/>
                <a:gd name="connsiteX672" fmla="*/ 950855 w 1661191"/>
                <a:gd name="connsiteY672" fmla="*/ 347921 h 564157"/>
                <a:gd name="connsiteX673" fmla="*/ 948782 w 1661191"/>
                <a:gd name="connsiteY673" fmla="*/ 347921 h 564157"/>
                <a:gd name="connsiteX674" fmla="*/ 946710 w 1661191"/>
                <a:gd name="connsiteY674" fmla="*/ 359220 h 564157"/>
                <a:gd name="connsiteX675" fmla="*/ 948782 w 1661191"/>
                <a:gd name="connsiteY675" fmla="*/ 365634 h 564157"/>
                <a:gd name="connsiteX676" fmla="*/ 954999 w 1661191"/>
                <a:gd name="connsiteY676" fmla="*/ 367263 h 564157"/>
                <a:gd name="connsiteX677" fmla="*/ 959144 w 1661191"/>
                <a:gd name="connsiteY677" fmla="*/ 365634 h 564157"/>
                <a:gd name="connsiteX678" fmla="*/ 965410 w 1661191"/>
                <a:gd name="connsiteY678" fmla="*/ 368891 h 564157"/>
                <a:gd name="connsiteX679" fmla="*/ 971677 w 1661191"/>
                <a:gd name="connsiteY679" fmla="*/ 367263 h 564157"/>
                <a:gd name="connsiteX680" fmla="*/ 971677 w 1661191"/>
                <a:gd name="connsiteY680" fmla="*/ 365634 h 564157"/>
                <a:gd name="connsiteX681" fmla="*/ 969554 w 1661191"/>
                <a:gd name="connsiteY681" fmla="*/ 360700 h 564157"/>
                <a:gd name="connsiteX682" fmla="*/ 975821 w 1661191"/>
                <a:gd name="connsiteY682" fmla="*/ 355766 h 564157"/>
                <a:gd name="connsiteX683" fmla="*/ 982087 w 1661191"/>
                <a:gd name="connsiteY683" fmla="*/ 354089 h 564157"/>
                <a:gd name="connsiteX684" fmla="*/ 990377 w 1661191"/>
                <a:gd name="connsiteY684" fmla="*/ 350882 h 564157"/>
                <a:gd name="connsiteX685" fmla="*/ 1000985 w 1661191"/>
                <a:gd name="connsiteY685" fmla="*/ 350882 h 564157"/>
                <a:gd name="connsiteX686" fmla="*/ 1005130 w 1661191"/>
                <a:gd name="connsiteY686" fmla="*/ 347675 h 564157"/>
                <a:gd name="connsiteX687" fmla="*/ 1007251 w 1661191"/>
                <a:gd name="connsiteY687" fmla="*/ 349303 h 564157"/>
                <a:gd name="connsiteX688" fmla="*/ 1013468 w 1661191"/>
                <a:gd name="connsiteY688" fmla="*/ 349303 h 564157"/>
                <a:gd name="connsiteX689" fmla="*/ 1015540 w 1661191"/>
                <a:gd name="connsiteY689" fmla="*/ 344369 h 564157"/>
                <a:gd name="connsiteX690" fmla="*/ 1015540 w 1661191"/>
                <a:gd name="connsiteY690" fmla="*/ 341162 h 564157"/>
                <a:gd name="connsiteX691" fmla="*/ 1005130 w 1661191"/>
                <a:gd name="connsiteY691" fmla="*/ 341162 h 564157"/>
                <a:gd name="connsiteX692" fmla="*/ 1003056 w 1661191"/>
                <a:gd name="connsiteY692" fmla="*/ 342741 h 564157"/>
                <a:gd name="connsiteX693" fmla="*/ 1000985 w 1661191"/>
                <a:gd name="connsiteY693" fmla="*/ 341162 h 564157"/>
                <a:gd name="connsiteX694" fmla="*/ 992696 w 1661191"/>
                <a:gd name="connsiteY694" fmla="*/ 341162 h 564157"/>
                <a:gd name="connsiteX695" fmla="*/ 992696 w 1661191"/>
                <a:gd name="connsiteY695" fmla="*/ 337905 h 564157"/>
                <a:gd name="connsiteX696" fmla="*/ 990573 w 1661191"/>
                <a:gd name="connsiteY696" fmla="*/ 336326 h 564157"/>
                <a:gd name="connsiteX697" fmla="*/ 990573 w 1661191"/>
                <a:gd name="connsiteY697" fmla="*/ 334698 h 564157"/>
                <a:gd name="connsiteX698" fmla="*/ 986429 w 1661191"/>
                <a:gd name="connsiteY698" fmla="*/ 333119 h 564157"/>
                <a:gd name="connsiteX699" fmla="*/ 984356 w 1661191"/>
                <a:gd name="connsiteY699" fmla="*/ 334698 h 564157"/>
                <a:gd name="connsiteX700" fmla="*/ 984356 w 1661191"/>
                <a:gd name="connsiteY700" fmla="*/ 331491 h 564157"/>
                <a:gd name="connsiteX701" fmla="*/ 978091 w 1661191"/>
                <a:gd name="connsiteY701" fmla="*/ 329863 h 564157"/>
                <a:gd name="connsiteX702" fmla="*/ 976018 w 1661191"/>
                <a:gd name="connsiteY702" fmla="*/ 326656 h 564157"/>
                <a:gd name="connsiteX703" fmla="*/ 980163 w 1661191"/>
                <a:gd name="connsiteY703" fmla="*/ 323448 h 564157"/>
                <a:gd name="connsiteX704" fmla="*/ 980163 w 1661191"/>
                <a:gd name="connsiteY704" fmla="*/ 320192 h 564157"/>
                <a:gd name="connsiteX705" fmla="*/ 984356 w 1661191"/>
                <a:gd name="connsiteY705" fmla="*/ 320192 h 564157"/>
                <a:gd name="connsiteX706" fmla="*/ 982284 w 1661191"/>
                <a:gd name="connsiteY706" fmla="*/ 316985 h 564157"/>
                <a:gd name="connsiteX707" fmla="*/ 984356 w 1661191"/>
                <a:gd name="connsiteY707" fmla="*/ 316985 h 564157"/>
                <a:gd name="connsiteX708" fmla="*/ 986429 w 1661191"/>
                <a:gd name="connsiteY708" fmla="*/ 313778 h 564157"/>
                <a:gd name="connsiteX709" fmla="*/ 982284 w 1661191"/>
                <a:gd name="connsiteY709" fmla="*/ 310571 h 564157"/>
                <a:gd name="connsiteX710" fmla="*/ 978091 w 1661191"/>
                <a:gd name="connsiteY710" fmla="*/ 308942 h 564157"/>
                <a:gd name="connsiteX711" fmla="*/ 980163 w 1661191"/>
                <a:gd name="connsiteY711" fmla="*/ 305735 h 564157"/>
                <a:gd name="connsiteX712" fmla="*/ 978091 w 1661191"/>
                <a:gd name="connsiteY712" fmla="*/ 302528 h 564157"/>
                <a:gd name="connsiteX713" fmla="*/ 971874 w 1661191"/>
                <a:gd name="connsiteY713" fmla="*/ 299321 h 564157"/>
                <a:gd name="connsiteX714" fmla="*/ 967680 w 1661191"/>
                <a:gd name="connsiteY714" fmla="*/ 299321 h 564157"/>
                <a:gd name="connsiteX715" fmla="*/ 967680 w 1661191"/>
                <a:gd name="connsiteY715" fmla="*/ 293252 h 564157"/>
                <a:gd name="connsiteX716" fmla="*/ 957318 w 1661191"/>
                <a:gd name="connsiteY716" fmla="*/ 283384 h 564157"/>
                <a:gd name="connsiteX717" fmla="*/ 951052 w 1661191"/>
                <a:gd name="connsiteY717" fmla="*/ 280177 h 564157"/>
                <a:gd name="connsiteX718" fmla="*/ 946908 w 1661191"/>
                <a:gd name="connsiteY718" fmla="*/ 275243 h 564157"/>
                <a:gd name="connsiteX719" fmla="*/ 948980 w 1661191"/>
                <a:gd name="connsiteY719" fmla="*/ 271986 h 564157"/>
                <a:gd name="connsiteX720" fmla="*/ 951052 w 1661191"/>
                <a:gd name="connsiteY720" fmla="*/ 271986 h 564157"/>
                <a:gd name="connsiteX721" fmla="*/ 953125 w 1661191"/>
                <a:gd name="connsiteY721" fmla="*/ 275243 h 564157"/>
                <a:gd name="connsiteX722" fmla="*/ 959342 w 1661191"/>
                <a:gd name="connsiteY722" fmla="*/ 275243 h 564157"/>
                <a:gd name="connsiteX723" fmla="*/ 965608 w 1661191"/>
                <a:gd name="connsiteY723" fmla="*/ 271986 h 564157"/>
                <a:gd name="connsiteX724" fmla="*/ 965608 w 1661191"/>
                <a:gd name="connsiteY724" fmla="*/ 268779 h 564157"/>
                <a:gd name="connsiteX725" fmla="*/ 980163 w 1661191"/>
                <a:gd name="connsiteY725" fmla="*/ 263845 h 564157"/>
                <a:gd name="connsiteX726" fmla="*/ 990573 w 1661191"/>
                <a:gd name="connsiteY726" fmla="*/ 257431 h 564157"/>
                <a:gd name="connsiteX727" fmla="*/ 996840 w 1661191"/>
                <a:gd name="connsiteY727" fmla="*/ 249389 h 564157"/>
                <a:gd name="connsiteX728" fmla="*/ 1003056 w 1661191"/>
                <a:gd name="connsiteY728" fmla="*/ 246182 h 564157"/>
                <a:gd name="connsiteX729" fmla="*/ 1003056 w 1661191"/>
                <a:gd name="connsiteY729" fmla="*/ 242974 h 564157"/>
                <a:gd name="connsiteX730" fmla="*/ 1011396 w 1661191"/>
                <a:gd name="connsiteY730" fmla="*/ 241297 h 564157"/>
                <a:gd name="connsiteX731" fmla="*/ 1017661 w 1661191"/>
                <a:gd name="connsiteY731" fmla="*/ 244553 h 564157"/>
                <a:gd name="connsiteX732" fmla="*/ 1021806 w 1661191"/>
                <a:gd name="connsiteY732" fmla="*/ 244553 h 564157"/>
                <a:gd name="connsiteX733" fmla="*/ 1028072 w 1661191"/>
                <a:gd name="connsiteY733" fmla="*/ 236511 h 564157"/>
                <a:gd name="connsiteX734" fmla="*/ 1028072 w 1661191"/>
                <a:gd name="connsiteY734" fmla="*/ 231577 h 564157"/>
                <a:gd name="connsiteX735" fmla="*/ 1019734 w 1661191"/>
                <a:gd name="connsiteY735" fmla="*/ 229948 h 564157"/>
                <a:gd name="connsiteX736" fmla="*/ 1004932 w 1661191"/>
                <a:gd name="connsiteY736" fmla="*/ 231577 h 564157"/>
                <a:gd name="connsiteX737" fmla="*/ 996643 w 1661191"/>
                <a:gd name="connsiteY737" fmla="*/ 234784 h 564157"/>
                <a:gd name="connsiteX738" fmla="*/ 986232 w 1661191"/>
                <a:gd name="connsiteY738" fmla="*/ 234784 h 564157"/>
                <a:gd name="connsiteX739" fmla="*/ 982087 w 1661191"/>
                <a:gd name="connsiteY739" fmla="*/ 236412 h 564157"/>
                <a:gd name="connsiteX740" fmla="*/ 976314 w 1661191"/>
                <a:gd name="connsiteY740" fmla="*/ 243419 h 564157"/>
                <a:gd name="connsiteX741" fmla="*/ 970048 w 1661191"/>
                <a:gd name="connsiteY741" fmla="*/ 241741 h 564157"/>
                <a:gd name="connsiteX742" fmla="*/ 963831 w 1661191"/>
                <a:gd name="connsiteY742" fmla="*/ 243419 h 564157"/>
                <a:gd name="connsiteX743" fmla="*/ 957614 w 1661191"/>
                <a:gd name="connsiteY743" fmla="*/ 240162 h 564157"/>
                <a:gd name="connsiteX744" fmla="*/ 951348 w 1661191"/>
                <a:gd name="connsiteY744" fmla="*/ 238534 h 564157"/>
                <a:gd name="connsiteX745" fmla="*/ 943010 w 1661191"/>
                <a:gd name="connsiteY745" fmla="*/ 246625 h 564157"/>
                <a:gd name="connsiteX746" fmla="*/ 938865 w 1661191"/>
                <a:gd name="connsiteY746" fmla="*/ 256494 h 564157"/>
                <a:gd name="connsiteX747" fmla="*/ 932598 w 1661191"/>
                <a:gd name="connsiteY747" fmla="*/ 259750 h 564157"/>
                <a:gd name="connsiteX748" fmla="*/ 924260 w 1661191"/>
                <a:gd name="connsiteY748" fmla="*/ 258122 h 564157"/>
                <a:gd name="connsiteX749" fmla="*/ 922238 w 1661191"/>
                <a:gd name="connsiteY749" fmla="*/ 256494 h 564157"/>
                <a:gd name="connsiteX750" fmla="*/ 913899 w 1661191"/>
                <a:gd name="connsiteY750" fmla="*/ 246625 h 564157"/>
                <a:gd name="connsiteX751" fmla="*/ 903488 w 1661191"/>
                <a:gd name="connsiteY751" fmla="*/ 240162 h 564157"/>
                <a:gd name="connsiteX752" fmla="*/ 899294 w 1661191"/>
                <a:gd name="connsiteY752" fmla="*/ 228863 h 564157"/>
                <a:gd name="connsiteX753" fmla="*/ 899294 w 1661191"/>
                <a:gd name="connsiteY753" fmla="*/ 215985 h 564157"/>
                <a:gd name="connsiteX754" fmla="*/ 905560 w 1661191"/>
                <a:gd name="connsiteY754" fmla="*/ 204736 h 564157"/>
                <a:gd name="connsiteX755" fmla="*/ 917895 w 1661191"/>
                <a:gd name="connsiteY755" fmla="*/ -27 h 564157"/>
                <a:gd name="connsiteX756" fmla="*/ 913751 w 1661191"/>
                <a:gd name="connsiteY756" fmla="*/ 4907 h 564157"/>
                <a:gd name="connsiteX757" fmla="*/ 917895 w 1661191"/>
                <a:gd name="connsiteY757" fmla="*/ 6585 h 564157"/>
                <a:gd name="connsiteX758" fmla="*/ 919968 w 1661191"/>
                <a:gd name="connsiteY758" fmla="*/ 3328 h 564157"/>
                <a:gd name="connsiteX759" fmla="*/ 874180 w 1661191"/>
                <a:gd name="connsiteY759" fmla="*/ 51484 h 564157"/>
                <a:gd name="connsiteX760" fmla="*/ 872107 w 1661191"/>
                <a:gd name="connsiteY760" fmla="*/ 56418 h 564157"/>
                <a:gd name="connsiteX761" fmla="*/ 874180 w 1661191"/>
                <a:gd name="connsiteY761" fmla="*/ 61353 h 564157"/>
                <a:gd name="connsiteX762" fmla="*/ 874180 w 1661191"/>
                <a:gd name="connsiteY762" fmla="*/ 51484 h 564157"/>
                <a:gd name="connsiteX763" fmla="*/ 811764 w 1661191"/>
                <a:gd name="connsiteY763" fmla="*/ 78868 h 564157"/>
                <a:gd name="connsiteX764" fmla="*/ 813837 w 1661191"/>
                <a:gd name="connsiteY764" fmla="*/ 82076 h 564157"/>
                <a:gd name="connsiteX765" fmla="*/ 809692 w 1661191"/>
                <a:gd name="connsiteY765" fmla="*/ 80447 h 564157"/>
                <a:gd name="connsiteX766" fmla="*/ 811764 w 1661191"/>
                <a:gd name="connsiteY766" fmla="*/ 75661 h 564157"/>
                <a:gd name="connsiteX767" fmla="*/ 811764 w 1661191"/>
                <a:gd name="connsiteY767" fmla="*/ 77240 h 564157"/>
                <a:gd name="connsiteX768" fmla="*/ 813837 w 1661191"/>
                <a:gd name="connsiteY768" fmla="*/ 80447 h 564157"/>
                <a:gd name="connsiteX769" fmla="*/ 820103 w 1661191"/>
                <a:gd name="connsiteY769" fmla="*/ 80447 h 564157"/>
                <a:gd name="connsiteX770" fmla="*/ 820103 w 1661191"/>
                <a:gd name="connsiteY770" fmla="*/ 78868 h 564157"/>
                <a:gd name="connsiteX771" fmla="*/ 815958 w 1661191"/>
                <a:gd name="connsiteY771" fmla="*/ 93325 h 564157"/>
                <a:gd name="connsiteX772" fmla="*/ 807620 w 1661191"/>
                <a:gd name="connsiteY772" fmla="*/ 94953 h 564157"/>
                <a:gd name="connsiteX773" fmla="*/ 813837 w 1661191"/>
                <a:gd name="connsiteY773" fmla="*/ 96582 h 564157"/>
                <a:gd name="connsiteX774" fmla="*/ 807620 w 1661191"/>
                <a:gd name="connsiteY774" fmla="*/ 99789 h 564157"/>
                <a:gd name="connsiteX775" fmla="*/ 811764 w 1661191"/>
                <a:gd name="connsiteY775" fmla="*/ 101417 h 564157"/>
                <a:gd name="connsiteX776" fmla="*/ 811764 w 1661191"/>
                <a:gd name="connsiteY776" fmla="*/ 106351 h 564157"/>
                <a:gd name="connsiteX777" fmla="*/ 809692 w 1661191"/>
                <a:gd name="connsiteY777" fmla="*/ 106351 h 564157"/>
                <a:gd name="connsiteX778" fmla="*/ 763904 w 1661191"/>
                <a:gd name="connsiteY778" fmla="*/ 321820 h 564157"/>
                <a:gd name="connsiteX779" fmla="*/ 763904 w 1661191"/>
                <a:gd name="connsiteY779" fmla="*/ 331688 h 564157"/>
                <a:gd name="connsiteX780" fmla="*/ 761832 w 1661191"/>
                <a:gd name="connsiteY780" fmla="*/ 331688 h 564157"/>
                <a:gd name="connsiteX781" fmla="*/ 761832 w 1661191"/>
                <a:gd name="connsiteY781" fmla="*/ 325274 h 564157"/>
                <a:gd name="connsiteX782" fmla="*/ 759760 w 1661191"/>
                <a:gd name="connsiteY782" fmla="*/ 321820 h 564157"/>
                <a:gd name="connsiteX783" fmla="*/ 759760 w 1661191"/>
                <a:gd name="connsiteY783" fmla="*/ 333119 h 564157"/>
                <a:gd name="connsiteX784" fmla="*/ 757638 w 1661191"/>
                <a:gd name="connsiteY784" fmla="*/ 339533 h 564157"/>
                <a:gd name="connsiteX785" fmla="*/ 753494 w 1661191"/>
                <a:gd name="connsiteY785" fmla="*/ 342741 h 564157"/>
                <a:gd name="connsiteX786" fmla="*/ 749299 w 1661191"/>
                <a:gd name="connsiteY786" fmla="*/ 339533 h 564157"/>
                <a:gd name="connsiteX787" fmla="*/ 751421 w 1661191"/>
                <a:gd name="connsiteY787" fmla="*/ 329665 h 564157"/>
                <a:gd name="connsiteX788" fmla="*/ 755566 w 1661191"/>
                <a:gd name="connsiteY788" fmla="*/ 321623 h 564157"/>
                <a:gd name="connsiteX789" fmla="*/ 757638 w 1661191"/>
                <a:gd name="connsiteY789" fmla="*/ 319995 h 564157"/>
                <a:gd name="connsiteX790" fmla="*/ 509999 w 1661191"/>
                <a:gd name="connsiteY790" fmla="*/ 225212 h 564157"/>
                <a:gd name="connsiteX791" fmla="*/ 518337 w 1661191"/>
                <a:gd name="connsiteY791" fmla="*/ 226840 h 564157"/>
                <a:gd name="connsiteX792" fmla="*/ 520410 w 1661191"/>
                <a:gd name="connsiteY792" fmla="*/ 228419 h 564157"/>
                <a:gd name="connsiteX793" fmla="*/ 516265 w 1661191"/>
                <a:gd name="connsiteY793" fmla="*/ 230047 h 564157"/>
                <a:gd name="connsiteX794" fmla="*/ 509999 w 1661191"/>
                <a:gd name="connsiteY794" fmla="*/ 228419 h 564157"/>
                <a:gd name="connsiteX795" fmla="*/ 509999 w 1661191"/>
                <a:gd name="connsiteY795" fmla="*/ 225212 h 564157"/>
                <a:gd name="connsiteX796" fmla="*/ 514193 w 1661191"/>
                <a:gd name="connsiteY796" fmla="*/ 238090 h 564157"/>
                <a:gd name="connsiteX797" fmla="*/ 522482 w 1661191"/>
                <a:gd name="connsiteY797" fmla="*/ 239718 h 564157"/>
                <a:gd name="connsiteX798" fmla="*/ 526627 w 1661191"/>
                <a:gd name="connsiteY798" fmla="*/ 242974 h 564157"/>
                <a:gd name="connsiteX799" fmla="*/ 530820 w 1661191"/>
                <a:gd name="connsiteY799" fmla="*/ 242974 h 564157"/>
                <a:gd name="connsiteX800" fmla="*/ 530820 w 1661191"/>
                <a:gd name="connsiteY800" fmla="*/ 246182 h 564157"/>
                <a:gd name="connsiteX801" fmla="*/ 518337 w 1661191"/>
                <a:gd name="connsiteY801" fmla="*/ 246182 h 564157"/>
                <a:gd name="connsiteX802" fmla="*/ 512071 w 1661191"/>
                <a:gd name="connsiteY802" fmla="*/ 241248 h 564157"/>
                <a:gd name="connsiteX803" fmla="*/ 520410 w 1661191"/>
                <a:gd name="connsiteY803" fmla="*/ 247958 h 564157"/>
                <a:gd name="connsiteX804" fmla="*/ 530820 w 1661191"/>
                <a:gd name="connsiteY804" fmla="*/ 247958 h 564157"/>
                <a:gd name="connsiteX805" fmla="*/ 534965 w 1661191"/>
                <a:gd name="connsiteY805" fmla="*/ 251165 h 564157"/>
                <a:gd name="connsiteX806" fmla="*/ 528748 w 1661191"/>
                <a:gd name="connsiteY806" fmla="*/ 257629 h 564157"/>
                <a:gd name="connsiteX807" fmla="*/ 524603 w 1661191"/>
                <a:gd name="connsiteY807" fmla="*/ 259257 h 564157"/>
                <a:gd name="connsiteX808" fmla="*/ 520410 w 1661191"/>
                <a:gd name="connsiteY808" fmla="*/ 256000 h 564157"/>
                <a:gd name="connsiteX809" fmla="*/ 522482 w 1661191"/>
                <a:gd name="connsiteY809" fmla="*/ 251066 h 564157"/>
                <a:gd name="connsiteX810" fmla="*/ 503782 w 1661191"/>
                <a:gd name="connsiteY810" fmla="*/ 173947 h 564157"/>
                <a:gd name="connsiteX811" fmla="*/ 509999 w 1661191"/>
                <a:gd name="connsiteY811" fmla="*/ 165905 h 564157"/>
                <a:gd name="connsiteX812" fmla="*/ 518337 w 1661191"/>
                <a:gd name="connsiteY812" fmla="*/ 156037 h 564157"/>
                <a:gd name="connsiteX813" fmla="*/ 522482 w 1661191"/>
                <a:gd name="connsiteY813" fmla="*/ 151103 h 564157"/>
                <a:gd name="connsiteX814" fmla="*/ 526627 w 1661191"/>
                <a:gd name="connsiteY814" fmla="*/ 149474 h 564157"/>
                <a:gd name="connsiteX815" fmla="*/ 534965 w 1661191"/>
                <a:gd name="connsiteY815" fmla="*/ 160773 h 564157"/>
                <a:gd name="connsiteX816" fmla="*/ 547448 w 1661191"/>
                <a:gd name="connsiteY816" fmla="*/ 167237 h 564157"/>
                <a:gd name="connsiteX817" fmla="*/ 547448 w 1661191"/>
                <a:gd name="connsiteY817" fmla="*/ 170444 h 564157"/>
                <a:gd name="connsiteX818" fmla="*/ 555787 w 1661191"/>
                <a:gd name="connsiteY818" fmla="*/ 176908 h 564157"/>
                <a:gd name="connsiteX819" fmla="*/ 557859 w 1661191"/>
                <a:gd name="connsiteY819" fmla="*/ 181842 h 564157"/>
                <a:gd name="connsiteX820" fmla="*/ 564125 w 1661191"/>
                <a:gd name="connsiteY820" fmla="*/ 183470 h 564157"/>
                <a:gd name="connsiteX821" fmla="*/ 574536 w 1661191"/>
                <a:gd name="connsiteY821" fmla="*/ 180263 h 564157"/>
                <a:gd name="connsiteX822" fmla="*/ 576608 w 1661191"/>
                <a:gd name="connsiteY822" fmla="*/ 177056 h 564157"/>
                <a:gd name="connsiteX823" fmla="*/ 584946 w 1661191"/>
                <a:gd name="connsiteY823" fmla="*/ 177056 h 564157"/>
                <a:gd name="connsiteX824" fmla="*/ 589091 w 1661191"/>
                <a:gd name="connsiteY824" fmla="*/ 175427 h 564157"/>
                <a:gd name="connsiteX825" fmla="*/ 609913 w 1661191"/>
                <a:gd name="connsiteY825" fmla="*/ 175427 h 564157"/>
                <a:gd name="connsiteX826" fmla="*/ 628613 w 1661191"/>
                <a:gd name="connsiteY826" fmla="*/ 168964 h 564157"/>
                <a:gd name="connsiteX827" fmla="*/ 634879 w 1661191"/>
                <a:gd name="connsiteY827" fmla="*/ 165757 h 564157"/>
                <a:gd name="connsiteX828" fmla="*/ 651507 w 1661191"/>
                <a:gd name="connsiteY828" fmla="*/ 164178 h 564157"/>
                <a:gd name="connsiteX829" fmla="*/ 661918 w 1661191"/>
                <a:gd name="connsiteY829" fmla="*/ 169112 h 564157"/>
                <a:gd name="connsiteX830" fmla="*/ 663990 w 1661191"/>
                <a:gd name="connsiteY830" fmla="*/ 172319 h 564157"/>
                <a:gd name="connsiteX831" fmla="*/ 672328 w 1661191"/>
                <a:gd name="connsiteY831" fmla="*/ 172319 h 564157"/>
                <a:gd name="connsiteX832" fmla="*/ 687130 w 1661191"/>
                <a:gd name="connsiteY832" fmla="*/ 165905 h 564157"/>
                <a:gd name="connsiteX833" fmla="*/ 705880 w 1661191"/>
                <a:gd name="connsiteY833" fmla="*/ 162648 h 564157"/>
                <a:gd name="connsiteX834" fmla="*/ 703758 w 1661191"/>
                <a:gd name="connsiteY834" fmla="*/ 157714 h 564157"/>
                <a:gd name="connsiteX835" fmla="*/ 718560 w 1661191"/>
                <a:gd name="connsiteY835" fmla="*/ 139952 h 564157"/>
                <a:gd name="connsiteX836" fmla="*/ 724777 w 1661191"/>
                <a:gd name="connsiteY836" fmla="*/ 127074 h 564157"/>
                <a:gd name="connsiteX837" fmla="*/ 735237 w 1661191"/>
                <a:gd name="connsiteY837" fmla="*/ 112617 h 564157"/>
                <a:gd name="connsiteX838" fmla="*/ 743527 w 1661191"/>
                <a:gd name="connsiteY838" fmla="*/ 88490 h 564157"/>
                <a:gd name="connsiteX839" fmla="*/ 743527 w 1661191"/>
                <a:gd name="connsiteY839" fmla="*/ 83556 h 564157"/>
                <a:gd name="connsiteX840" fmla="*/ 747671 w 1661191"/>
                <a:gd name="connsiteY840" fmla="*/ 78622 h 564157"/>
                <a:gd name="connsiteX841" fmla="*/ 745648 w 1661191"/>
                <a:gd name="connsiteY841" fmla="*/ 75414 h 564157"/>
                <a:gd name="connsiteX842" fmla="*/ 753937 w 1661191"/>
                <a:gd name="connsiteY842" fmla="*/ 67323 h 564157"/>
                <a:gd name="connsiteX843" fmla="*/ 760203 w 1661191"/>
                <a:gd name="connsiteY843" fmla="*/ 68951 h 564157"/>
                <a:gd name="connsiteX844" fmla="*/ 787242 w 1661191"/>
                <a:gd name="connsiteY844" fmla="*/ 68951 h 564157"/>
                <a:gd name="connsiteX845" fmla="*/ 791387 w 1661191"/>
                <a:gd name="connsiteY845" fmla="*/ 70530 h 564157"/>
                <a:gd name="connsiteX846" fmla="*/ 801797 w 1661191"/>
                <a:gd name="connsiteY846" fmla="*/ 70530 h 564157"/>
                <a:gd name="connsiteX847" fmla="*/ 808063 w 1661191"/>
                <a:gd name="connsiteY847" fmla="*/ 72158 h 564157"/>
                <a:gd name="connsiteX848" fmla="*/ 808063 w 1661191"/>
                <a:gd name="connsiteY848" fmla="*/ 73786 h 564157"/>
                <a:gd name="connsiteX849" fmla="*/ 803870 w 1661191"/>
                <a:gd name="connsiteY849" fmla="*/ 75414 h 564157"/>
                <a:gd name="connsiteX850" fmla="*/ 805991 w 1661191"/>
                <a:gd name="connsiteY850" fmla="*/ 78622 h 564157"/>
                <a:gd name="connsiteX851" fmla="*/ 803870 w 1661191"/>
                <a:gd name="connsiteY851" fmla="*/ 81829 h 564157"/>
                <a:gd name="connsiteX852" fmla="*/ 810136 w 1661191"/>
                <a:gd name="connsiteY852" fmla="*/ 83407 h 564157"/>
                <a:gd name="connsiteX853" fmla="*/ 818425 w 1661191"/>
                <a:gd name="connsiteY853" fmla="*/ 89871 h 564157"/>
                <a:gd name="connsiteX854" fmla="*/ 810136 w 1661191"/>
                <a:gd name="connsiteY854" fmla="*/ 93078 h 564157"/>
                <a:gd name="connsiteX855" fmla="*/ 801797 w 1661191"/>
                <a:gd name="connsiteY855" fmla="*/ 91499 h 564157"/>
                <a:gd name="connsiteX856" fmla="*/ 797653 w 1661191"/>
                <a:gd name="connsiteY856" fmla="*/ 93078 h 564157"/>
                <a:gd name="connsiteX857" fmla="*/ 803870 w 1661191"/>
                <a:gd name="connsiteY857" fmla="*/ 99542 h 564157"/>
                <a:gd name="connsiteX858" fmla="*/ 805991 w 1661191"/>
                <a:gd name="connsiteY858" fmla="*/ 99542 h 564157"/>
                <a:gd name="connsiteX859" fmla="*/ 808063 w 1661191"/>
                <a:gd name="connsiteY859" fmla="*/ 104476 h 564157"/>
                <a:gd name="connsiteX860" fmla="*/ 803623 w 1661191"/>
                <a:gd name="connsiteY860" fmla="*/ 104476 h 564157"/>
                <a:gd name="connsiteX861" fmla="*/ 801551 w 1661191"/>
                <a:gd name="connsiteY861" fmla="*/ 109410 h 564157"/>
                <a:gd name="connsiteX862" fmla="*/ 807818 w 1661191"/>
                <a:gd name="connsiteY862" fmla="*/ 114344 h 564157"/>
                <a:gd name="connsiteX863" fmla="*/ 809890 w 1661191"/>
                <a:gd name="connsiteY863" fmla="*/ 120758 h 564157"/>
                <a:gd name="connsiteX864" fmla="*/ 822373 w 1661191"/>
                <a:gd name="connsiteY864" fmla="*/ 130626 h 564157"/>
                <a:gd name="connsiteX865" fmla="*/ 826517 w 1661191"/>
                <a:gd name="connsiteY865" fmla="*/ 135560 h 564157"/>
                <a:gd name="connsiteX866" fmla="*/ 824445 w 1661191"/>
                <a:gd name="connsiteY866" fmla="*/ 142024 h 564157"/>
                <a:gd name="connsiteX867" fmla="*/ 814035 w 1661191"/>
                <a:gd name="connsiteY867" fmla="*/ 143603 h 564157"/>
                <a:gd name="connsiteX868" fmla="*/ 814035 w 1661191"/>
                <a:gd name="connsiteY868" fmla="*/ 146810 h 564157"/>
                <a:gd name="connsiteX869" fmla="*/ 816156 w 1661191"/>
                <a:gd name="connsiteY869" fmla="*/ 148438 h 564157"/>
                <a:gd name="connsiteX870" fmla="*/ 818178 w 1661191"/>
                <a:gd name="connsiteY870" fmla="*/ 154902 h 564157"/>
                <a:gd name="connsiteX871" fmla="*/ 822373 w 1661191"/>
                <a:gd name="connsiteY871" fmla="*/ 156481 h 564157"/>
                <a:gd name="connsiteX872" fmla="*/ 839000 w 1661191"/>
                <a:gd name="connsiteY872" fmla="*/ 169359 h 564157"/>
                <a:gd name="connsiteX873" fmla="*/ 843194 w 1661191"/>
                <a:gd name="connsiteY873" fmla="*/ 169359 h 564157"/>
                <a:gd name="connsiteX874" fmla="*/ 849411 w 1661191"/>
                <a:gd name="connsiteY874" fmla="*/ 175822 h 564157"/>
                <a:gd name="connsiteX875" fmla="*/ 851532 w 1661191"/>
                <a:gd name="connsiteY875" fmla="*/ 179029 h 564157"/>
                <a:gd name="connsiteX876" fmla="*/ 857749 w 1661191"/>
                <a:gd name="connsiteY876" fmla="*/ 180657 h 564157"/>
                <a:gd name="connsiteX877" fmla="*/ 855677 w 1661191"/>
                <a:gd name="connsiteY877" fmla="*/ 185591 h 564157"/>
                <a:gd name="connsiteX878" fmla="*/ 851532 w 1661191"/>
                <a:gd name="connsiteY878" fmla="*/ 187220 h 564157"/>
                <a:gd name="connsiteX879" fmla="*/ 847339 w 1661191"/>
                <a:gd name="connsiteY879" fmla="*/ 185591 h 564157"/>
                <a:gd name="connsiteX880" fmla="*/ 841122 w 1661191"/>
                <a:gd name="connsiteY880" fmla="*/ 188848 h 564157"/>
                <a:gd name="connsiteX881" fmla="*/ 832783 w 1661191"/>
                <a:gd name="connsiteY881" fmla="*/ 188848 h 564157"/>
                <a:gd name="connsiteX882" fmla="*/ 820300 w 1661191"/>
                <a:gd name="connsiteY882" fmla="*/ 177598 h 564157"/>
                <a:gd name="connsiteX883" fmla="*/ 824445 w 1661191"/>
                <a:gd name="connsiteY883" fmla="*/ 187466 h 564157"/>
                <a:gd name="connsiteX884" fmla="*/ 822373 w 1661191"/>
                <a:gd name="connsiteY884" fmla="*/ 190674 h 564157"/>
                <a:gd name="connsiteX885" fmla="*/ 818178 w 1661191"/>
                <a:gd name="connsiteY885" fmla="*/ 185740 h 564157"/>
                <a:gd name="connsiteX886" fmla="*/ 809890 w 1661191"/>
                <a:gd name="connsiteY886" fmla="*/ 192203 h 564157"/>
                <a:gd name="connsiteX887" fmla="*/ 809890 w 1661191"/>
                <a:gd name="connsiteY887" fmla="*/ 197137 h 564157"/>
                <a:gd name="connsiteX888" fmla="*/ 807818 w 1661191"/>
                <a:gd name="connsiteY888" fmla="*/ 200344 h 564157"/>
                <a:gd name="connsiteX889" fmla="*/ 805744 w 1661191"/>
                <a:gd name="connsiteY889" fmla="*/ 211643 h 564157"/>
                <a:gd name="connsiteX890" fmla="*/ 803623 w 1661191"/>
                <a:gd name="connsiteY890" fmla="*/ 216577 h 564157"/>
                <a:gd name="connsiteX891" fmla="*/ 799478 w 1661191"/>
                <a:gd name="connsiteY891" fmla="*/ 227876 h 564157"/>
                <a:gd name="connsiteX892" fmla="*/ 791140 w 1661191"/>
                <a:gd name="connsiteY892" fmla="*/ 234340 h 564157"/>
                <a:gd name="connsiteX893" fmla="*/ 793212 w 1661191"/>
                <a:gd name="connsiteY893" fmla="*/ 242333 h 564157"/>
                <a:gd name="connsiteX894" fmla="*/ 789068 w 1661191"/>
                <a:gd name="connsiteY894" fmla="*/ 247267 h 564157"/>
                <a:gd name="connsiteX895" fmla="*/ 782802 w 1661191"/>
                <a:gd name="connsiteY895" fmla="*/ 252201 h 564157"/>
                <a:gd name="connsiteX896" fmla="*/ 780779 w 1661191"/>
                <a:gd name="connsiteY896" fmla="*/ 247267 h 564157"/>
                <a:gd name="connsiteX897" fmla="*/ 776585 w 1661191"/>
                <a:gd name="connsiteY897" fmla="*/ 245639 h 564157"/>
                <a:gd name="connsiteX898" fmla="*/ 778657 w 1661191"/>
                <a:gd name="connsiteY898" fmla="*/ 248846 h 564157"/>
                <a:gd name="connsiteX899" fmla="*/ 778657 w 1661191"/>
                <a:gd name="connsiteY899" fmla="*/ 256888 h 564157"/>
                <a:gd name="connsiteX900" fmla="*/ 772440 w 1661191"/>
                <a:gd name="connsiteY900" fmla="*/ 261822 h 564157"/>
                <a:gd name="connsiteX901" fmla="*/ 770368 w 1661191"/>
                <a:gd name="connsiteY901" fmla="*/ 268286 h 564157"/>
                <a:gd name="connsiteX902" fmla="*/ 764102 w 1661191"/>
                <a:gd name="connsiteY902" fmla="*/ 269865 h 564157"/>
                <a:gd name="connsiteX903" fmla="*/ 759956 w 1661191"/>
                <a:gd name="connsiteY903" fmla="*/ 269865 h 564157"/>
                <a:gd name="connsiteX904" fmla="*/ 759956 w 1661191"/>
                <a:gd name="connsiteY904" fmla="*/ 271493 h 564157"/>
                <a:gd name="connsiteX905" fmla="*/ 757835 w 1661191"/>
                <a:gd name="connsiteY905" fmla="*/ 274700 h 564157"/>
                <a:gd name="connsiteX906" fmla="*/ 766173 w 1661191"/>
                <a:gd name="connsiteY906" fmla="*/ 274700 h 564157"/>
                <a:gd name="connsiteX907" fmla="*/ 768247 w 1661191"/>
                <a:gd name="connsiteY907" fmla="*/ 276328 h 564157"/>
                <a:gd name="connsiteX908" fmla="*/ 766173 w 1661191"/>
                <a:gd name="connsiteY908" fmla="*/ 281262 h 564157"/>
                <a:gd name="connsiteX909" fmla="*/ 762030 w 1661191"/>
                <a:gd name="connsiteY909" fmla="*/ 284469 h 564157"/>
                <a:gd name="connsiteX910" fmla="*/ 766173 w 1661191"/>
                <a:gd name="connsiteY910" fmla="*/ 286048 h 564157"/>
                <a:gd name="connsiteX911" fmla="*/ 770368 w 1661191"/>
                <a:gd name="connsiteY911" fmla="*/ 286048 h 564157"/>
                <a:gd name="connsiteX912" fmla="*/ 770368 w 1661191"/>
                <a:gd name="connsiteY912" fmla="*/ 288318 h 564157"/>
                <a:gd name="connsiteX913" fmla="*/ 768247 w 1661191"/>
                <a:gd name="connsiteY913" fmla="*/ 293252 h 564157"/>
                <a:gd name="connsiteX914" fmla="*/ 762030 w 1661191"/>
                <a:gd name="connsiteY914" fmla="*/ 291624 h 564157"/>
                <a:gd name="connsiteX915" fmla="*/ 762030 w 1661191"/>
                <a:gd name="connsiteY915" fmla="*/ 291624 h 564157"/>
                <a:gd name="connsiteX916" fmla="*/ 762030 w 1661191"/>
                <a:gd name="connsiteY916" fmla="*/ 293252 h 564157"/>
                <a:gd name="connsiteX917" fmla="*/ 764102 w 1661191"/>
                <a:gd name="connsiteY917" fmla="*/ 296459 h 564157"/>
                <a:gd name="connsiteX918" fmla="*/ 766173 w 1661191"/>
                <a:gd name="connsiteY918" fmla="*/ 298038 h 564157"/>
                <a:gd name="connsiteX919" fmla="*/ 762030 w 1661191"/>
                <a:gd name="connsiteY919" fmla="*/ 307906 h 564157"/>
                <a:gd name="connsiteX920" fmla="*/ 757835 w 1661191"/>
                <a:gd name="connsiteY920" fmla="*/ 307906 h 564157"/>
                <a:gd name="connsiteX921" fmla="*/ 755763 w 1661191"/>
                <a:gd name="connsiteY921" fmla="*/ 304699 h 564157"/>
                <a:gd name="connsiteX922" fmla="*/ 753690 w 1661191"/>
                <a:gd name="connsiteY922" fmla="*/ 312791 h 564157"/>
                <a:gd name="connsiteX923" fmla="*/ 753690 w 1661191"/>
                <a:gd name="connsiteY923" fmla="*/ 317725 h 564157"/>
                <a:gd name="connsiteX924" fmla="*/ 745401 w 1661191"/>
                <a:gd name="connsiteY924" fmla="*/ 329024 h 564157"/>
                <a:gd name="connsiteX925" fmla="*/ 732869 w 1661191"/>
                <a:gd name="connsiteY925" fmla="*/ 337066 h 564157"/>
                <a:gd name="connsiteX926" fmla="*/ 722459 w 1661191"/>
                <a:gd name="connsiteY926" fmla="*/ 338645 h 564157"/>
                <a:gd name="connsiteX927" fmla="*/ 707656 w 1661191"/>
                <a:gd name="connsiteY927" fmla="*/ 343579 h 564157"/>
                <a:gd name="connsiteX928" fmla="*/ 701440 w 1661191"/>
                <a:gd name="connsiteY928" fmla="*/ 345208 h 564157"/>
                <a:gd name="connsiteX929" fmla="*/ 699318 w 1661191"/>
                <a:gd name="connsiteY929" fmla="*/ 337165 h 564157"/>
                <a:gd name="connsiteX930" fmla="*/ 701440 w 1661191"/>
                <a:gd name="connsiteY930" fmla="*/ 332231 h 564157"/>
                <a:gd name="connsiteX931" fmla="*/ 697245 w 1661191"/>
                <a:gd name="connsiteY931" fmla="*/ 327297 h 564157"/>
                <a:gd name="connsiteX932" fmla="*/ 695173 w 1661191"/>
                <a:gd name="connsiteY932" fmla="*/ 324090 h 564157"/>
                <a:gd name="connsiteX933" fmla="*/ 693101 w 1661191"/>
                <a:gd name="connsiteY933" fmla="*/ 325718 h 564157"/>
                <a:gd name="connsiteX934" fmla="*/ 688907 w 1661191"/>
                <a:gd name="connsiteY934" fmla="*/ 322462 h 564157"/>
                <a:gd name="connsiteX935" fmla="*/ 678496 w 1661191"/>
                <a:gd name="connsiteY935" fmla="*/ 322462 h 564157"/>
                <a:gd name="connsiteX936" fmla="*/ 676424 w 1661191"/>
                <a:gd name="connsiteY936" fmla="*/ 317528 h 564157"/>
                <a:gd name="connsiteX937" fmla="*/ 674352 w 1661191"/>
                <a:gd name="connsiteY937" fmla="*/ 322462 h 564157"/>
                <a:gd name="connsiteX938" fmla="*/ 676424 w 1661191"/>
                <a:gd name="connsiteY938" fmla="*/ 325718 h 564157"/>
                <a:gd name="connsiteX939" fmla="*/ 670207 w 1661191"/>
                <a:gd name="connsiteY939" fmla="*/ 324090 h 564157"/>
                <a:gd name="connsiteX940" fmla="*/ 666063 w 1661191"/>
                <a:gd name="connsiteY940" fmla="*/ 320834 h 564157"/>
                <a:gd name="connsiteX941" fmla="*/ 666063 w 1661191"/>
                <a:gd name="connsiteY941" fmla="*/ 315900 h 564157"/>
                <a:gd name="connsiteX942" fmla="*/ 661868 w 1661191"/>
                <a:gd name="connsiteY942" fmla="*/ 312692 h 564157"/>
                <a:gd name="connsiteX943" fmla="*/ 657723 w 1661191"/>
                <a:gd name="connsiteY943" fmla="*/ 315900 h 564157"/>
                <a:gd name="connsiteX944" fmla="*/ 651457 w 1661191"/>
                <a:gd name="connsiteY944" fmla="*/ 312692 h 564157"/>
                <a:gd name="connsiteX945" fmla="*/ 647313 w 1661191"/>
                <a:gd name="connsiteY945" fmla="*/ 312692 h 564157"/>
                <a:gd name="connsiteX946" fmla="*/ 643119 w 1661191"/>
                <a:gd name="connsiteY946" fmla="*/ 317626 h 564157"/>
                <a:gd name="connsiteX947" fmla="*/ 634830 w 1661191"/>
                <a:gd name="connsiteY947" fmla="*/ 319255 h 564157"/>
                <a:gd name="connsiteX948" fmla="*/ 632709 w 1661191"/>
                <a:gd name="connsiteY948" fmla="*/ 322462 h 564157"/>
                <a:gd name="connsiteX949" fmla="*/ 626492 w 1661191"/>
                <a:gd name="connsiteY949" fmla="*/ 322462 h 564157"/>
                <a:gd name="connsiteX950" fmla="*/ 622347 w 1661191"/>
                <a:gd name="connsiteY950" fmla="*/ 319255 h 564157"/>
                <a:gd name="connsiteX951" fmla="*/ 618152 w 1661191"/>
                <a:gd name="connsiteY951" fmla="*/ 320834 h 564157"/>
                <a:gd name="connsiteX952" fmla="*/ 609864 w 1661191"/>
                <a:gd name="connsiteY952" fmla="*/ 328925 h 564157"/>
                <a:gd name="connsiteX953" fmla="*/ 605669 w 1661191"/>
                <a:gd name="connsiteY953" fmla="*/ 328925 h 564157"/>
                <a:gd name="connsiteX954" fmla="*/ 605669 w 1661191"/>
                <a:gd name="connsiteY954" fmla="*/ 314419 h 564157"/>
                <a:gd name="connsiteX955" fmla="*/ 601525 w 1661191"/>
                <a:gd name="connsiteY955" fmla="*/ 306377 h 564157"/>
                <a:gd name="connsiteX956" fmla="*/ 603597 w 1661191"/>
                <a:gd name="connsiteY956" fmla="*/ 301443 h 564157"/>
                <a:gd name="connsiteX957" fmla="*/ 601525 w 1661191"/>
                <a:gd name="connsiteY957" fmla="*/ 296508 h 564157"/>
                <a:gd name="connsiteX958" fmla="*/ 601525 w 1661191"/>
                <a:gd name="connsiteY958" fmla="*/ 299765 h 564157"/>
                <a:gd name="connsiteX959" fmla="*/ 599453 w 1661191"/>
                <a:gd name="connsiteY959" fmla="*/ 306179 h 564157"/>
                <a:gd name="connsiteX960" fmla="*/ 595308 w 1661191"/>
                <a:gd name="connsiteY960" fmla="*/ 309387 h 564157"/>
                <a:gd name="connsiteX961" fmla="*/ 589042 w 1661191"/>
                <a:gd name="connsiteY961" fmla="*/ 306179 h 564157"/>
                <a:gd name="connsiteX962" fmla="*/ 582776 w 1661191"/>
                <a:gd name="connsiteY962" fmla="*/ 309387 h 564157"/>
                <a:gd name="connsiteX963" fmla="*/ 574487 w 1661191"/>
                <a:gd name="connsiteY963" fmla="*/ 311015 h 564157"/>
                <a:gd name="connsiteX964" fmla="*/ 568221 w 1661191"/>
                <a:gd name="connsiteY964" fmla="*/ 309387 h 564157"/>
                <a:gd name="connsiteX965" fmla="*/ 561954 w 1661191"/>
                <a:gd name="connsiteY965" fmla="*/ 307758 h 564157"/>
                <a:gd name="connsiteX966" fmla="*/ 559932 w 1661191"/>
                <a:gd name="connsiteY966" fmla="*/ 304551 h 564157"/>
                <a:gd name="connsiteX967" fmla="*/ 553665 w 1661191"/>
                <a:gd name="connsiteY967" fmla="*/ 309485 h 564157"/>
                <a:gd name="connsiteX968" fmla="*/ 549520 w 1661191"/>
                <a:gd name="connsiteY968" fmla="*/ 309485 h 564157"/>
                <a:gd name="connsiteX969" fmla="*/ 545326 w 1661191"/>
                <a:gd name="connsiteY969" fmla="*/ 299864 h 564157"/>
                <a:gd name="connsiteX970" fmla="*/ 545326 w 1661191"/>
                <a:gd name="connsiteY970" fmla="*/ 293252 h 564157"/>
                <a:gd name="connsiteX971" fmla="*/ 543254 w 1661191"/>
                <a:gd name="connsiteY971" fmla="*/ 278746 h 564157"/>
                <a:gd name="connsiteX972" fmla="*/ 536988 w 1661191"/>
                <a:gd name="connsiteY972" fmla="*/ 275539 h 564157"/>
                <a:gd name="connsiteX973" fmla="*/ 534916 w 1661191"/>
                <a:gd name="connsiteY973" fmla="*/ 272283 h 564157"/>
                <a:gd name="connsiteX974" fmla="*/ 539109 w 1661191"/>
                <a:gd name="connsiteY974" fmla="*/ 267348 h 564157"/>
                <a:gd name="connsiteX975" fmla="*/ 545326 w 1661191"/>
                <a:gd name="connsiteY975" fmla="*/ 260885 h 564157"/>
                <a:gd name="connsiteX976" fmla="*/ 543254 w 1661191"/>
                <a:gd name="connsiteY976" fmla="*/ 255951 h 564157"/>
                <a:gd name="connsiteX977" fmla="*/ 539109 w 1661191"/>
                <a:gd name="connsiteY977" fmla="*/ 249537 h 564157"/>
                <a:gd name="connsiteX978" fmla="*/ 528699 w 1661191"/>
                <a:gd name="connsiteY978" fmla="*/ 241445 h 564157"/>
                <a:gd name="connsiteX979" fmla="*/ 520361 w 1661191"/>
                <a:gd name="connsiteY979" fmla="*/ 236511 h 564157"/>
                <a:gd name="connsiteX980" fmla="*/ 512021 w 1661191"/>
                <a:gd name="connsiteY980" fmla="*/ 234882 h 564157"/>
                <a:gd name="connsiteX981" fmla="*/ 512021 w 1661191"/>
                <a:gd name="connsiteY981" fmla="*/ 233303 h 564157"/>
                <a:gd name="connsiteX982" fmla="*/ 518288 w 1661191"/>
                <a:gd name="connsiteY982" fmla="*/ 231675 h 564157"/>
                <a:gd name="connsiteX983" fmla="*/ 524554 w 1661191"/>
                <a:gd name="connsiteY983" fmla="*/ 228419 h 564157"/>
                <a:gd name="connsiteX984" fmla="*/ 536988 w 1661191"/>
                <a:gd name="connsiteY984" fmla="*/ 225212 h 564157"/>
                <a:gd name="connsiteX985" fmla="*/ 545326 w 1661191"/>
                <a:gd name="connsiteY985" fmla="*/ 218748 h 564157"/>
                <a:gd name="connsiteX986" fmla="*/ 551592 w 1661191"/>
                <a:gd name="connsiteY986" fmla="*/ 220426 h 564157"/>
                <a:gd name="connsiteX987" fmla="*/ 545326 w 1661191"/>
                <a:gd name="connsiteY987" fmla="*/ 218748 h 564157"/>
                <a:gd name="connsiteX988" fmla="*/ 536988 w 1661191"/>
                <a:gd name="connsiteY988" fmla="*/ 223682 h 564157"/>
                <a:gd name="connsiteX989" fmla="*/ 524554 w 1661191"/>
                <a:gd name="connsiteY989" fmla="*/ 225261 h 564157"/>
                <a:gd name="connsiteX990" fmla="*/ 520361 w 1661191"/>
                <a:gd name="connsiteY990" fmla="*/ 225261 h 564157"/>
                <a:gd name="connsiteX991" fmla="*/ 512021 w 1661191"/>
                <a:gd name="connsiteY991" fmla="*/ 223682 h 564157"/>
                <a:gd name="connsiteX992" fmla="*/ 507877 w 1661191"/>
                <a:gd name="connsiteY992" fmla="*/ 217219 h 564157"/>
                <a:gd name="connsiteX993" fmla="*/ 509949 w 1661191"/>
                <a:gd name="connsiteY993" fmla="*/ 215590 h 564157"/>
                <a:gd name="connsiteX994" fmla="*/ 514144 w 1661191"/>
                <a:gd name="connsiteY994" fmla="*/ 217219 h 564157"/>
                <a:gd name="connsiteX995" fmla="*/ 512021 w 1661191"/>
                <a:gd name="connsiteY995" fmla="*/ 212285 h 564157"/>
                <a:gd name="connsiteX996" fmla="*/ 501611 w 1661191"/>
                <a:gd name="connsiteY996" fmla="*/ 201035 h 564157"/>
                <a:gd name="connsiteX997" fmla="*/ 499539 w 1661191"/>
                <a:gd name="connsiteY997" fmla="*/ 188157 h 564157"/>
                <a:gd name="connsiteX998" fmla="*/ 503732 w 1661191"/>
                <a:gd name="connsiteY998" fmla="*/ 186529 h 564157"/>
                <a:gd name="connsiteX999" fmla="*/ 505804 w 1661191"/>
                <a:gd name="connsiteY999" fmla="*/ 181595 h 564157"/>
                <a:gd name="connsiteX1000" fmla="*/ 503732 w 1661191"/>
                <a:gd name="connsiteY1000" fmla="*/ 178388 h 564157"/>
                <a:gd name="connsiteX1001" fmla="*/ 1438190 w 1661191"/>
                <a:gd name="connsiteY1001" fmla="*/ 241544 h 564157"/>
                <a:gd name="connsiteX1002" fmla="*/ 1434045 w 1661191"/>
                <a:gd name="connsiteY1002" fmla="*/ 241544 h 564157"/>
                <a:gd name="connsiteX1003" fmla="*/ 1438190 w 1661191"/>
                <a:gd name="connsiteY1003" fmla="*/ 246478 h 564157"/>
                <a:gd name="connsiteX1004" fmla="*/ 1442334 w 1661191"/>
                <a:gd name="connsiteY1004" fmla="*/ 244849 h 564157"/>
                <a:gd name="connsiteX1005" fmla="*/ 1452745 w 1661191"/>
                <a:gd name="connsiteY1005" fmla="*/ 260885 h 564157"/>
                <a:gd name="connsiteX1006" fmla="*/ 1444407 w 1661191"/>
                <a:gd name="connsiteY1006" fmla="*/ 260885 h 564157"/>
                <a:gd name="connsiteX1007" fmla="*/ 1448600 w 1661191"/>
                <a:gd name="connsiteY1007" fmla="*/ 262513 h 564157"/>
                <a:gd name="connsiteX1008" fmla="*/ 1459011 w 1661191"/>
                <a:gd name="connsiteY1008" fmla="*/ 262513 h 564157"/>
                <a:gd name="connsiteX1009" fmla="*/ 1461083 w 1661191"/>
                <a:gd name="connsiteY1009" fmla="*/ 265720 h 564157"/>
                <a:gd name="connsiteX1010" fmla="*/ 1473567 w 1661191"/>
                <a:gd name="connsiteY1010" fmla="*/ 268927 h 564157"/>
                <a:gd name="connsiteX1011" fmla="*/ 1490194 w 1661191"/>
                <a:gd name="connsiteY1011" fmla="*/ 270556 h 564157"/>
                <a:gd name="connsiteX1012" fmla="*/ 1504996 w 1661191"/>
                <a:gd name="connsiteY1012" fmla="*/ 268927 h 564157"/>
                <a:gd name="connsiteX1013" fmla="*/ 1509141 w 1661191"/>
                <a:gd name="connsiteY1013" fmla="*/ 267348 h 564157"/>
                <a:gd name="connsiteX1014" fmla="*/ 1496658 w 1661191"/>
                <a:gd name="connsiteY1014" fmla="*/ 264092 h 564157"/>
                <a:gd name="connsiteX1015" fmla="*/ 1490391 w 1661191"/>
                <a:gd name="connsiteY1015" fmla="*/ 265720 h 564157"/>
                <a:gd name="connsiteX1016" fmla="*/ 1479981 w 1661191"/>
                <a:gd name="connsiteY1016" fmla="*/ 264092 h 564157"/>
                <a:gd name="connsiteX1017" fmla="*/ 1471642 w 1661191"/>
                <a:gd name="connsiteY1017" fmla="*/ 265720 h 564157"/>
                <a:gd name="connsiteX1018" fmla="*/ 1459011 w 1661191"/>
                <a:gd name="connsiteY1018" fmla="*/ 233550 h 564157"/>
                <a:gd name="connsiteX1019" fmla="*/ 1465228 w 1661191"/>
                <a:gd name="connsiteY1019" fmla="*/ 238484 h 564157"/>
                <a:gd name="connsiteX1020" fmla="*/ 1465228 w 1661191"/>
                <a:gd name="connsiteY1020" fmla="*/ 235277 h 564157"/>
                <a:gd name="connsiteX1021" fmla="*/ 1469422 w 1661191"/>
                <a:gd name="connsiteY1021" fmla="*/ 235277 h 564157"/>
                <a:gd name="connsiteX1022" fmla="*/ 1475639 w 1661191"/>
                <a:gd name="connsiteY1022" fmla="*/ 241691 h 564157"/>
                <a:gd name="connsiteX1023" fmla="*/ 1473567 w 1661191"/>
                <a:gd name="connsiteY1023" fmla="*/ 246625 h 564157"/>
                <a:gd name="connsiteX1024" fmla="*/ 1481855 w 1661191"/>
                <a:gd name="connsiteY1024" fmla="*/ 246625 h 564157"/>
                <a:gd name="connsiteX1025" fmla="*/ 1483977 w 1661191"/>
                <a:gd name="connsiteY1025" fmla="*/ 248204 h 564157"/>
                <a:gd name="connsiteX1026" fmla="*/ 1492267 w 1661191"/>
                <a:gd name="connsiteY1026" fmla="*/ 246625 h 564157"/>
                <a:gd name="connsiteX1027" fmla="*/ 1490194 w 1661191"/>
                <a:gd name="connsiteY1027" fmla="*/ 244997 h 564157"/>
                <a:gd name="connsiteX1028" fmla="*/ 1483977 w 1661191"/>
                <a:gd name="connsiteY1028" fmla="*/ 241741 h 564157"/>
                <a:gd name="connsiteX1029" fmla="*/ 1479784 w 1661191"/>
                <a:gd name="connsiteY1029" fmla="*/ 235327 h 564157"/>
                <a:gd name="connsiteX1030" fmla="*/ 1473567 w 1661191"/>
                <a:gd name="connsiteY1030" fmla="*/ 232119 h 564157"/>
                <a:gd name="connsiteX1031" fmla="*/ 1467300 w 1661191"/>
                <a:gd name="connsiteY1031" fmla="*/ 232119 h 564157"/>
                <a:gd name="connsiteX1032" fmla="*/ 1456889 w 1661191"/>
                <a:gd name="connsiteY1032" fmla="*/ 230491 h 564157"/>
                <a:gd name="connsiteX1033" fmla="*/ 1354952 w 1661191"/>
                <a:gd name="connsiteY1033" fmla="*/ 388084 h 564157"/>
                <a:gd name="connsiteX1034" fmla="*/ 1356975 w 1661191"/>
                <a:gd name="connsiteY1034" fmla="*/ 393018 h 564157"/>
                <a:gd name="connsiteX1035" fmla="*/ 1356975 w 1661191"/>
                <a:gd name="connsiteY1035" fmla="*/ 397952 h 564157"/>
                <a:gd name="connsiteX1036" fmla="*/ 1359097 w 1661191"/>
                <a:gd name="connsiteY1036" fmla="*/ 401159 h 564157"/>
                <a:gd name="connsiteX1037" fmla="*/ 1359097 w 1661191"/>
                <a:gd name="connsiteY1037" fmla="*/ 393117 h 564157"/>
                <a:gd name="connsiteX1038" fmla="*/ 1373652 w 1661191"/>
                <a:gd name="connsiteY1038" fmla="*/ 381670 h 564157"/>
                <a:gd name="connsiteX1039" fmla="*/ 1367386 w 1661191"/>
                <a:gd name="connsiteY1039" fmla="*/ 384877 h 564157"/>
                <a:gd name="connsiteX1040" fmla="*/ 1363241 w 1661191"/>
                <a:gd name="connsiteY1040" fmla="*/ 397755 h 564157"/>
                <a:gd name="connsiteX1041" fmla="*/ 1361169 w 1661191"/>
                <a:gd name="connsiteY1041" fmla="*/ 400962 h 564157"/>
                <a:gd name="connsiteX1042" fmla="*/ 1365314 w 1661191"/>
                <a:gd name="connsiteY1042" fmla="*/ 399334 h 564157"/>
                <a:gd name="connsiteX1043" fmla="*/ 1369507 w 1661191"/>
                <a:gd name="connsiteY1043" fmla="*/ 386456 h 564157"/>
                <a:gd name="connsiteX1044" fmla="*/ 1429851 w 1661191"/>
                <a:gd name="connsiteY1044" fmla="*/ 421882 h 564157"/>
                <a:gd name="connsiteX1045" fmla="*/ 1427779 w 1661191"/>
                <a:gd name="connsiteY1045" fmla="*/ 425139 h 564157"/>
                <a:gd name="connsiteX1046" fmla="*/ 1429851 w 1661191"/>
                <a:gd name="connsiteY1046" fmla="*/ 426718 h 564157"/>
                <a:gd name="connsiteX1047" fmla="*/ 1431924 w 1661191"/>
                <a:gd name="connsiteY1047" fmla="*/ 425139 h 564157"/>
                <a:gd name="connsiteX1048" fmla="*/ 1409029 w 1661191"/>
                <a:gd name="connsiteY1048" fmla="*/ 412014 h 564157"/>
                <a:gd name="connsiteX1049" fmla="*/ 1406957 w 1661191"/>
                <a:gd name="connsiteY1049" fmla="*/ 408758 h 564157"/>
                <a:gd name="connsiteX1050" fmla="*/ 1406957 w 1661191"/>
                <a:gd name="connsiteY1050" fmla="*/ 418626 h 564157"/>
                <a:gd name="connsiteX1051" fmla="*/ 1411102 w 1661191"/>
                <a:gd name="connsiteY1051" fmla="*/ 420205 h 564157"/>
                <a:gd name="connsiteX1052" fmla="*/ 1411102 w 1661191"/>
                <a:gd name="connsiteY1052" fmla="*/ 425139 h 564157"/>
                <a:gd name="connsiteX1053" fmla="*/ 1409029 w 1661191"/>
                <a:gd name="connsiteY1053" fmla="*/ 421882 h 564157"/>
                <a:gd name="connsiteX1054" fmla="*/ 1406957 w 1661191"/>
                <a:gd name="connsiteY1054" fmla="*/ 421882 h 564157"/>
                <a:gd name="connsiteX1055" fmla="*/ 1406957 w 1661191"/>
                <a:gd name="connsiteY1055" fmla="*/ 428346 h 564157"/>
                <a:gd name="connsiteX1056" fmla="*/ 1409029 w 1661191"/>
                <a:gd name="connsiteY1056" fmla="*/ 429925 h 564157"/>
                <a:gd name="connsiteX1057" fmla="*/ 1413223 w 1661191"/>
                <a:gd name="connsiteY1057" fmla="*/ 429925 h 564157"/>
                <a:gd name="connsiteX1058" fmla="*/ 1419440 w 1661191"/>
                <a:gd name="connsiteY1058" fmla="*/ 424991 h 564157"/>
                <a:gd name="connsiteX1059" fmla="*/ 1421512 w 1661191"/>
                <a:gd name="connsiteY1059" fmla="*/ 421734 h 564157"/>
                <a:gd name="connsiteX1060" fmla="*/ 1417367 w 1661191"/>
                <a:gd name="connsiteY1060" fmla="*/ 420106 h 564157"/>
                <a:gd name="connsiteX1061" fmla="*/ 1415295 w 1661191"/>
                <a:gd name="connsiteY1061" fmla="*/ 416899 h 564157"/>
                <a:gd name="connsiteX1062" fmla="*/ 1421512 w 1661191"/>
                <a:gd name="connsiteY1062" fmla="*/ 413593 h 564157"/>
                <a:gd name="connsiteX1063" fmla="*/ 1419440 w 1661191"/>
                <a:gd name="connsiteY1063" fmla="*/ 415221 h 564157"/>
                <a:gd name="connsiteX1064" fmla="*/ 1419440 w 1661191"/>
                <a:gd name="connsiteY1064" fmla="*/ 418429 h 564157"/>
                <a:gd name="connsiteX1065" fmla="*/ 1423634 w 1661191"/>
                <a:gd name="connsiteY1065" fmla="*/ 420008 h 564157"/>
                <a:gd name="connsiteX1066" fmla="*/ 1427779 w 1661191"/>
                <a:gd name="connsiteY1066" fmla="*/ 418429 h 564157"/>
                <a:gd name="connsiteX1067" fmla="*/ 1425707 w 1661191"/>
                <a:gd name="connsiteY1067" fmla="*/ 416800 h 564157"/>
                <a:gd name="connsiteX1068" fmla="*/ 1413223 w 1661191"/>
                <a:gd name="connsiteY1068" fmla="*/ 403725 h 564157"/>
                <a:gd name="connsiteX1069" fmla="*/ 1409029 w 1661191"/>
                <a:gd name="connsiteY1069" fmla="*/ 403725 h 564157"/>
                <a:gd name="connsiteX1070" fmla="*/ 1406957 w 1661191"/>
                <a:gd name="connsiteY1070" fmla="*/ 406932 h 564157"/>
                <a:gd name="connsiteX1071" fmla="*/ 1413223 w 1661191"/>
                <a:gd name="connsiteY1071" fmla="*/ 411866 h 564157"/>
                <a:gd name="connsiteX1072" fmla="*/ 1417367 w 1661191"/>
                <a:gd name="connsiteY1072" fmla="*/ 413445 h 564157"/>
                <a:gd name="connsiteX1073" fmla="*/ 1419440 w 1661191"/>
                <a:gd name="connsiteY1073" fmla="*/ 411866 h 564157"/>
                <a:gd name="connsiteX1074" fmla="*/ 1413223 w 1661191"/>
                <a:gd name="connsiteY1074" fmla="*/ 406932 h 564157"/>
                <a:gd name="connsiteX1075" fmla="*/ 1425707 w 1661191"/>
                <a:gd name="connsiteY1075" fmla="*/ 398791 h 564157"/>
                <a:gd name="connsiteX1076" fmla="*/ 1419440 w 1661191"/>
                <a:gd name="connsiteY1076" fmla="*/ 402048 h 564157"/>
                <a:gd name="connsiteX1077" fmla="*/ 1415295 w 1661191"/>
                <a:gd name="connsiteY1077" fmla="*/ 405255 h 564157"/>
                <a:gd name="connsiteX1078" fmla="*/ 1415295 w 1661191"/>
                <a:gd name="connsiteY1078" fmla="*/ 406883 h 564157"/>
                <a:gd name="connsiteX1079" fmla="*/ 1423634 w 1661191"/>
                <a:gd name="connsiteY1079" fmla="*/ 410090 h 564157"/>
                <a:gd name="connsiteX1080" fmla="*/ 1425707 w 1661191"/>
                <a:gd name="connsiteY1080" fmla="*/ 411718 h 564157"/>
                <a:gd name="connsiteX1081" fmla="*/ 1429851 w 1661191"/>
                <a:gd name="connsiteY1081" fmla="*/ 408462 h 564157"/>
                <a:gd name="connsiteX1082" fmla="*/ 1429851 w 1661191"/>
                <a:gd name="connsiteY1082" fmla="*/ 402048 h 564157"/>
                <a:gd name="connsiteX1083" fmla="*/ 1427779 w 1661191"/>
                <a:gd name="connsiteY1083" fmla="*/ 400419 h 564157"/>
                <a:gd name="connsiteX1084" fmla="*/ 1410905 w 1661191"/>
                <a:gd name="connsiteY1084" fmla="*/ 392377 h 564157"/>
                <a:gd name="connsiteX1085" fmla="*/ 1408831 w 1661191"/>
                <a:gd name="connsiteY1085" fmla="*/ 392377 h 564157"/>
                <a:gd name="connsiteX1086" fmla="*/ 1408831 w 1661191"/>
                <a:gd name="connsiteY1086" fmla="*/ 394005 h 564157"/>
                <a:gd name="connsiteX1087" fmla="*/ 1410905 w 1661191"/>
                <a:gd name="connsiteY1087" fmla="*/ 394005 h 564157"/>
                <a:gd name="connsiteX1088" fmla="*/ 1423437 w 1661191"/>
                <a:gd name="connsiteY1088" fmla="*/ 384335 h 564157"/>
                <a:gd name="connsiteX1089" fmla="*/ 1425509 w 1661191"/>
                <a:gd name="connsiteY1089" fmla="*/ 387541 h 564157"/>
                <a:gd name="connsiteX1090" fmla="*/ 1429653 w 1661191"/>
                <a:gd name="connsiteY1090" fmla="*/ 387541 h 564157"/>
                <a:gd name="connsiteX1091" fmla="*/ 1425509 w 1661191"/>
                <a:gd name="connsiteY1091" fmla="*/ 384335 h 564157"/>
                <a:gd name="connsiteX1092" fmla="*/ 1421315 w 1661191"/>
                <a:gd name="connsiteY1092" fmla="*/ 385913 h 564157"/>
                <a:gd name="connsiteX1093" fmla="*/ 1417171 w 1661191"/>
                <a:gd name="connsiteY1093" fmla="*/ 385913 h 564157"/>
                <a:gd name="connsiteX1094" fmla="*/ 1415098 w 1661191"/>
                <a:gd name="connsiteY1094" fmla="*/ 390847 h 564157"/>
                <a:gd name="connsiteX1095" fmla="*/ 1410905 w 1661191"/>
                <a:gd name="connsiteY1095" fmla="*/ 390847 h 564157"/>
                <a:gd name="connsiteX1096" fmla="*/ 1415098 w 1661191"/>
                <a:gd name="connsiteY1096" fmla="*/ 392426 h 564157"/>
                <a:gd name="connsiteX1097" fmla="*/ 1415098 w 1661191"/>
                <a:gd name="connsiteY1097" fmla="*/ 394054 h 564157"/>
                <a:gd name="connsiteX1098" fmla="*/ 1419243 w 1661191"/>
                <a:gd name="connsiteY1098" fmla="*/ 394054 h 564157"/>
                <a:gd name="connsiteX1099" fmla="*/ 1415098 w 1661191"/>
                <a:gd name="connsiteY1099" fmla="*/ 397262 h 564157"/>
                <a:gd name="connsiteX1100" fmla="*/ 1415098 w 1661191"/>
                <a:gd name="connsiteY1100" fmla="*/ 400469 h 564157"/>
                <a:gd name="connsiteX1101" fmla="*/ 1417171 w 1661191"/>
                <a:gd name="connsiteY1101" fmla="*/ 400469 h 564157"/>
                <a:gd name="connsiteX1102" fmla="*/ 1423437 w 1661191"/>
                <a:gd name="connsiteY1102" fmla="*/ 397262 h 564157"/>
                <a:gd name="connsiteX1103" fmla="*/ 1427581 w 1661191"/>
                <a:gd name="connsiteY1103" fmla="*/ 397262 h 564157"/>
                <a:gd name="connsiteX1104" fmla="*/ 1429653 w 1661191"/>
                <a:gd name="connsiteY1104" fmla="*/ 394054 h 564157"/>
                <a:gd name="connsiteX1105" fmla="*/ 1429653 w 1661191"/>
                <a:gd name="connsiteY1105" fmla="*/ 389120 h 564157"/>
                <a:gd name="connsiteX1106" fmla="*/ 1425509 w 1661191"/>
                <a:gd name="connsiteY1106" fmla="*/ 389120 h 564157"/>
                <a:gd name="connsiteX1107" fmla="*/ 1327568 w 1661191"/>
                <a:gd name="connsiteY1107" fmla="*/ 434267 h 564157"/>
                <a:gd name="connsiteX1108" fmla="*/ 1331713 w 1661191"/>
                <a:gd name="connsiteY1108" fmla="*/ 431010 h 564157"/>
                <a:gd name="connsiteX1109" fmla="*/ 1331713 w 1661191"/>
                <a:gd name="connsiteY1109" fmla="*/ 431010 h 564157"/>
                <a:gd name="connsiteX1110" fmla="*/ 1321302 w 1661191"/>
                <a:gd name="connsiteY1110" fmla="*/ 437474 h 564157"/>
                <a:gd name="connsiteX1111" fmla="*/ 1329641 w 1661191"/>
                <a:gd name="connsiteY1111" fmla="*/ 440681 h 564157"/>
                <a:gd name="connsiteX1112" fmla="*/ 1327568 w 1661191"/>
                <a:gd name="connsiteY1112" fmla="*/ 437474 h 564157"/>
                <a:gd name="connsiteX1113" fmla="*/ 1290120 w 1661191"/>
                <a:gd name="connsiteY1113" fmla="*/ 450352 h 564157"/>
                <a:gd name="connsiteX1114" fmla="*/ 1285925 w 1661191"/>
                <a:gd name="connsiteY1114" fmla="*/ 451931 h 564157"/>
                <a:gd name="connsiteX1115" fmla="*/ 1288046 w 1661191"/>
                <a:gd name="connsiteY1115" fmla="*/ 451931 h 564157"/>
                <a:gd name="connsiteX1116" fmla="*/ 1298458 w 1661191"/>
                <a:gd name="connsiteY1116" fmla="*/ 447145 h 564157"/>
                <a:gd name="connsiteX1117" fmla="*/ 1290120 w 1661191"/>
                <a:gd name="connsiteY1117" fmla="*/ 447145 h 564157"/>
                <a:gd name="connsiteX1118" fmla="*/ 1294263 w 1661191"/>
                <a:gd name="connsiteY1118" fmla="*/ 448724 h 564157"/>
                <a:gd name="connsiteX1119" fmla="*/ 1298458 w 1661191"/>
                <a:gd name="connsiteY1119" fmla="*/ 448724 h 564157"/>
                <a:gd name="connsiteX1120" fmla="*/ 1298458 w 1661191"/>
                <a:gd name="connsiteY1120" fmla="*/ 469693 h 564157"/>
                <a:gd name="connsiteX1121" fmla="*/ 1296336 w 1661191"/>
                <a:gd name="connsiteY1121" fmla="*/ 468065 h 564157"/>
                <a:gd name="connsiteX1122" fmla="*/ 1288046 w 1661191"/>
                <a:gd name="connsiteY1122" fmla="*/ 472999 h 564157"/>
                <a:gd name="connsiteX1123" fmla="*/ 1288046 w 1661191"/>
                <a:gd name="connsiteY1123" fmla="*/ 474578 h 564157"/>
                <a:gd name="connsiteX1124" fmla="*/ 1292191 w 1661191"/>
                <a:gd name="connsiteY1124" fmla="*/ 474578 h 564157"/>
                <a:gd name="connsiteX1125" fmla="*/ 1298458 w 1661191"/>
                <a:gd name="connsiteY1125" fmla="*/ 471371 h 564157"/>
                <a:gd name="connsiteX1126" fmla="*/ 1310941 w 1661191"/>
                <a:gd name="connsiteY1126" fmla="*/ 443888 h 564157"/>
                <a:gd name="connsiteX1127" fmla="*/ 1300530 w 1661191"/>
                <a:gd name="connsiteY1127" fmla="*/ 450352 h 564157"/>
                <a:gd name="connsiteX1128" fmla="*/ 1300530 w 1661191"/>
                <a:gd name="connsiteY1128" fmla="*/ 453559 h 564157"/>
                <a:gd name="connsiteX1129" fmla="*/ 1302602 w 1661191"/>
                <a:gd name="connsiteY1129" fmla="*/ 456816 h 564157"/>
                <a:gd name="connsiteX1130" fmla="*/ 1298458 w 1661191"/>
                <a:gd name="connsiteY1130" fmla="*/ 458394 h 564157"/>
                <a:gd name="connsiteX1131" fmla="*/ 1298458 w 1661191"/>
                <a:gd name="connsiteY1131" fmla="*/ 463328 h 564157"/>
                <a:gd name="connsiteX1132" fmla="*/ 1302602 w 1661191"/>
                <a:gd name="connsiteY1132" fmla="*/ 466535 h 564157"/>
                <a:gd name="connsiteX1133" fmla="*/ 1306747 w 1661191"/>
                <a:gd name="connsiteY1133" fmla="*/ 466535 h 564157"/>
                <a:gd name="connsiteX1134" fmla="*/ 1315085 w 1661191"/>
                <a:gd name="connsiteY1134" fmla="*/ 456667 h 564157"/>
                <a:gd name="connsiteX1135" fmla="*/ 1319279 w 1661191"/>
                <a:gd name="connsiteY1135" fmla="*/ 450204 h 564157"/>
                <a:gd name="connsiteX1136" fmla="*/ 1317158 w 1661191"/>
                <a:gd name="connsiteY1136" fmla="*/ 445270 h 564157"/>
                <a:gd name="connsiteX1137" fmla="*/ 1319279 w 1661191"/>
                <a:gd name="connsiteY1137" fmla="*/ 442013 h 564157"/>
                <a:gd name="connsiteX1138" fmla="*/ 1319279 w 1661191"/>
                <a:gd name="connsiteY1138" fmla="*/ 438806 h 564157"/>
                <a:gd name="connsiteX1139" fmla="*/ 1315085 w 1661191"/>
                <a:gd name="connsiteY1139" fmla="*/ 438806 h 564157"/>
                <a:gd name="connsiteX1140" fmla="*/ 1310941 w 1661191"/>
                <a:gd name="connsiteY1140" fmla="*/ 440434 h 564157"/>
                <a:gd name="connsiteX1141" fmla="*/ 1256667 w 1661191"/>
                <a:gd name="connsiteY1141" fmla="*/ 413297 h 564157"/>
                <a:gd name="connsiteX1142" fmla="*/ 1260810 w 1661191"/>
                <a:gd name="connsiteY1142" fmla="*/ 410090 h 564157"/>
                <a:gd name="connsiteX1143" fmla="*/ 1256667 w 1661191"/>
                <a:gd name="connsiteY1143" fmla="*/ 408462 h 564157"/>
                <a:gd name="connsiteX1144" fmla="*/ 1240038 w 1661191"/>
                <a:gd name="connsiteY1144" fmla="*/ 423165 h 564157"/>
                <a:gd name="connsiteX1145" fmla="*/ 1235845 w 1661191"/>
                <a:gd name="connsiteY1145" fmla="*/ 424793 h 564157"/>
                <a:gd name="connsiteX1146" fmla="*/ 1240038 w 1661191"/>
                <a:gd name="connsiteY1146" fmla="*/ 424793 h 564157"/>
                <a:gd name="connsiteX1147" fmla="*/ 1252522 w 1661191"/>
                <a:gd name="connsiteY1147" fmla="*/ 469891 h 564157"/>
                <a:gd name="connsiteX1148" fmla="*/ 1246255 w 1661191"/>
                <a:gd name="connsiteY1148" fmla="*/ 473098 h 564157"/>
                <a:gd name="connsiteX1149" fmla="*/ 1250400 w 1661191"/>
                <a:gd name="connsiteY1149" fmla="*/ 473098 h 564157"/>
                <a:gd name="connsiteX1150" fmla="*/ 1240038 w 1661191"/>
                <a:gd name="connsiteY1150" fmla="*/ 460022 h 564157"/>
                <a:gd name="connsiteX1151" fmla="*/ 1244183 w 1661191"/>
                <a:gd name="connsiteY1151" fmla="*/ 458394 h 564157"/>
                <a:gd name="connsiteX1152" fmla="*/ 1250400 w 1661191"/>
                <a:gd name="connsiteY1152" fmla="*/ 460022 h 564157"/>
                <a:gd name="connsiteX1153" fmla="*/ 1250400 w 1661191"/>
                <a:gd name="connsiteY1153" fmla="*/ 464956 h 564157"/>
                <a:gd name="connsiteX1154" fmla="*/ 1246255 w 1661191"/>
                <a:gd name="connsiteY1154" fmla="*/ 466585 h 564157"/>
                <a:gd name="connsiteX1155" fmla="*/ 1242111 w 1661191"/>
                <a:gd name="connsiteY1155" fmla="*/ 463378 h 564157"/>
                <a:gd name="connsiteX1156" fmla="*/ 1203280 w 1661191"/>
                <a:gd name="connsiteY1156" fmla="*/ 439793 h 564157"/>
                <a:gd name="connsiteX1157" fmla="*/ 1205352 w 1661191"/>
                <a:gd name="connsiteY1157" fmla="*/ 438214 h 564157"/>
                <a:gd name="connsiteX1158" fmla="*/ 1209497 w 1661191"/>
                <a:gd name="connsiteY1158" fmla="*/ 439793 h 564157"/>
                <a:gd name="connsiteX1159" fmla="*/ 1207425 w 1661191"/>
                <a:gd name="connsiteY1159" fmla="*/ 443000 h 564157"/>
                <a:gd name="connsiteX1160" fmla="*/ 1203280 w 1661191"/>
                <a:gd name="connsiteY1160" fmla="*/ 441273 h 564157"/>
                <a:gd name="connsiteX1161" fmla="*/ 1211569 w 1661191"/>
                <a:gd name="connsiteY1161" fmla="*/ 475219 h 564157"/>
                <a:gd name="connsiteX1162" fmla="*/ 1217835 w 1661191"/>
                <a:gd name="connsiteY1162" fmla="*/ 475219 h 564157"/>
                <a:gd name="connsiteX1163" fmla="*/ 1219908 w 1661191"/>
                <a:gd name="connsiteY1163" fmla="*/ 476848 h 564157"/>
                <a:gd name="connsiteX1164" fmla="*/ 1213691 w 1661191"/>
                <a:gd name="connsiteY1164" fmla="*/ 476848 h 564157"/>
                <a:gd name="connsiteX1165" fmla="*/ 1155371 w 1661191"/>
                <a:gd name="connsiteY1165" fmla="*/ 454299 h 564157"/>
                <a:gd name="connsiteX1166" fmla="*/ 1161637 w 1661191"/>
                <a:gd name="connsiteY1166" fmla="*/ 451092 h 564157"/>
                <a:gd name="connsiteX1167" fmla="*/ 1157492 w 1661191"/>
                <a:gd name="connsiteY1167" fmla="*/ 449464 h 564157"/>
                <a:gd name="connsiteX1168" fmla="*/ 1155371 w 1661191"/>
                <a:gd name="connsiteY1168" fmla="*/ 451092 h 564157"/>
                <a:gd name="connsiteX1169" fmla="*/ 1174120 w 1661191"/>
                <a:gd name="connsiteY1169" fmla="*/ 472012 h 564157"/>
                <a:gd name="connsiteX1170" fmla="*/ 1190747 w 1661191"/>
                <a:gd name="connsiteY1170" fmla="*/ 472012 h 564157"/>
                <a:gd name="connsiteX1171" fmla="*/ 1190747 w 1661191"/>
                <a:gd name="connsiteY1171" fmla="*/ 475219 h 564157"/>
                <a:gd name="connsiteX1172" fmla="*/ 1182459 w 1661191"/>
                <a:gd name="connsiteY1172" fmla="*/ 476848 h 564157"/>
                <a:gd name="connsiteX1173" fmla="*/ 1176192 w 1661191"/>
                <a:gd name="connsiteY1173" fmla="*/ 475219 h 564157"/>
                <a:gd name="connsiteX1174" fmla="*/ 1163709 w 1661191"/>
                <a:gd name="connsiteY1174" fmla="*/ 475219 h 564157"/>
                <a:gd name="connsiteX1175" fmla="*/ 1169975 w 1661191"/>
                <a:gd name="connsiteY1175" fmla="*/ 473640 h 564157"/>
                <a:gd name="connsiteX1176" fmla="*/ 1169975 w 1661191"/>
                <a:gd name="connsiteY1176" fmla="*/ 476848 h 564157"/>
                <a:gd name="connsiteX1177" fmla="*/ 1147082 w 1661191"/>
                <a:gd name="connsiteY1177" fmla="*/ 472012 h 564157"/>
                <a:gd name="connsiteX1178" fmla="*/ 1153299 w 1661191"/>
                <a:gd name="connsiteY1178" fmla="*/ 470433 h 564157"/>
                <a:gd name="connsiteX1179" fmla="*/ 1155371 w 1661191"/>
                <a:gd name="connsiteY1179" fmla="*/ 473640 h 564157"/>
                <a:gd name="connsiteX1180" fmla="*/ 1151226 w 1661191"/>
                <a:gd name="connsiteY1180" fmla="*/ 475219 h 564157"/>
                <a:gd name="connsiteX1181" fmla="*/ 1013863 w 1661191"/>
                <a:gd name="connsiteY1181" fmla="*/ 538030 h 564157"/>
                <a:gd name="connsiteX1182" fmla="*/ 1011790 w 1661191"/>
                <a:gd name="connsiteY1182" fmla="*/ 544444 h 564157"/>
                <a:gd name="connsiteX1183" fmla="*/ 1013863 w 1661191"/>
                <a:gd name="connsiteY1183" fmla="*/ 546072 h 564157"/>
                <a:gd name="connsiteX1184" fmla="*/ 1026345 w 1661191"/>
                <a:gd name="connsiteY1184" fmla="*/ 546072 h 564157"/>
                <a:gd name="connsiteX1185" fmla="*/ 1036756 w 1661191"/>
                <a:gd name="connsiteY1185" fmla="*/ 539658 h 564157"/>
                <a:gd name="connsiteX1186" fmla="*/ 1043023 w 1661191"/>
                <a:gd name="connsiteY1186" fmla="*/ 538030 h 564157"/>
                <a:gd name="connsiteX1187" fmla="*/ 1049240 w 1661191"/>
                <a:gd name="connsiteY1187" fmla="*/ 539658 h 564157"/>
                <a:gd name="connsiteX1188" fmla="*/ 1055506 w 1661191"/>
                <a:gd name="connsiteY1188" fmla="*/ 534724 h 564157"/>
                <a:gd name="connsiteX1189" fmla="*/ 1059650 w 1661191"/>
                <a:gd name="connsiteY1189" fmla="*/ 528310 h 564157"/>
                <a:gd name="connsiteX1190" fmla="*/ 1074206 w 1661191"/>
                <a:gd name="connsiteY1190" fmla="*/ 520267 h 564157"/>
                <a:gd name="connsiteX1191" fmla="*/ 1076278 w 1661191"/>
                <a:gd name="connsiteY1191" fmla="*/ 517060 h 564157"/>
                <a:gd name="connsiteX1192" fmla="*/ 1080472 w 1661191"/>
                <a:gd name="connsiteY1192" fmla="*/ 515432 h 564157"/>
                <a:gd name="connsiteX1193" fmla="*/ 1072182 w 1661191"/>
                <a:gd name="connsiteY1193" fmla="*/ 508968 h 564157"/>
                <a:gd name="connsiteX1194" fmla="*/ 1063844 w 1661191"/>
                <a:gd name="connsiteY1194" fmla="*/ 500926 h 564157"/>
                <a:gd name="connsiteX1195" fmla="*/ 1061772 w 1661191"/>
                <a:gd name="connsiteY1195" fmla="*/ 502554 h 564157"/>
                <a:gd name="connsiteX1196" fmla="*/ 1055506 w 1661191"/>
                <a:gd name="connsiteY1196" fmla="*/ 504182 h 564157"/>
                <a:gd name="connsiteX1197" fmla="*/ 1055506 w 1661191"/>
                <a:gd name="connsiteY1197" fmla="*/ 512175 h 564157"/>
                <a:gd name="connsiteX1198" fmla="*/ 1049240 w 1661191"/>
                <a:gd name="connsiteY1198" fmla="*/ 512175 h 564157"/>
                <a:gd name="connsiteX1199" fmla="*/ 1040457 w 1661191"/>
                <a:gd name="connsiteY1199" fmla="*/ 515284 h 564157"/>
                <a:gd name="connsiteX1200" fmla="*/ 1034240 w 1661191"/>
                <a:gd name="connsiteY1200" fmla="*/ 510350 h 564157"/>
                <a:gd name="connsiteX1201" fmla="*/ 1032168 w 1661191"/>
                <a:gd name="connsiteY1201" fmla="*/ 511929 h 564157"/>
                <a:gd name="connsiteX1202" fmla="*/ 1025902 w 1661191"/>
                <a:gd name="connsiteY1202" fmla="*/ 515185 h 564157"/>
                <a:gd name="connsiteX1203" fmla="*/ 1023829 w 1661191"/>
                <a:gd name="connsiteY1203" fmla="*/ 521599 h 564157"/>
                <a:gd name="connsiteX1204" fmla="*/ 1017613 w 1661191"/>
                <a:gd name="connsiteY1204" fmla="*/ 531468 h 564157"/>
                <a:gd name="connsiteX1205" fmla="*/ 1015490 w 1661191"/>
                <a:gd name="connsiteY1205" fmla="*/ 534674 h 564157"/>
                <a:gd name="connsiteX1206" fmla="*/ 1017613 w 1661191"/>
                <a:gd name="connsiteY1206" fmla="*/ 536352 h 564157"/>
                <a:gd name="connsiteX1207" fmla="*/ 1019685 w 1661191"/>
                <a:gd name="connsiteY1207" fmla="*/ 539559 h 564157"/>
                <a:gd name="connsiteX1208" fmla="*/ 1015787 w 1661191"/>
                <a:gd name="connsiteY1208" fmla="*/ 539559 h 564157"/>
                <a:gd name="connsiteX1209" fmla="*/ 1005524 w 1661191"/>
                <a:gd name="connsiteY1209" fmla="*/ 544444 h 564157"/>
                <a:gd name="connsiteX1210" fmla="*/ 1009718 w 1661191"/>
                <a:gd name="connsiteY1210" fmla="*/ 538030 h 564157"/>
                <a:gd name="connsiteX1211" fmla="*/ 1005524 w 1661191"/>
                <a:gd name="connsiteY1211" fmla="*/ 538030 h 564157"/>
                <a:gd name="connsiteX1212" fmla="*/ 1003452 w 1661191"/>
                <a:gd name="connsiteY1212" fmla="*/ 542964 h 564157"/>
                <a:gd name="connsiteX1213" fmla="*/ 1007646 w 1661191"/>
                <a:gd name="connsiteY1213" fmla="*/ 549378 h 564157"/>
                <a:gd name="connsiteX1214" fmla="*/ 999307 w 1661191"/>
                <a:gd name="connsiteY1214" fmla="*/ 551006 h 564157"/>
                <a:gd name="connsiteX1215" fmla="*/ 1001380 w 1661191"/>
                <a:gd name="connsiteY1215" fmla="*/ 552634 h 564157"/>
                <a:gd name="connsiteX1216" fmla="*/ 990968 w 1661191"/>
                <a:gd name="connsiteY1216" fmla="*/ 557568 h 564157"/>
                <a:gd name="connsiteX1217" fmla="*/ 984751 w 1661191"/>
                <a:gd name="connsiteY1217" fmla="*/ 562502 h 564157"/>
                <a:gd name="connsiteX1218" fmla="*/ 990968 w 1661191"/>
                <a:gd name="connsiteY1218" fmla="*/ 564131 h 564157"/>
                <a:gd name="connsiteX1219" fmla="*/ 1005524 w 1661191"/>
                <a:gd name="connsiteY1219" fmla="*/ 557667 h 564157"/>
                <a:gd name="connsiteX1220" fmla="*/ 1009718 w 1661191"/>
                <a:gd name="connsiteY1220" fmla="*/ 552733 h 564157"/>
                <a:gd name="connsiteX1221" fmla="*/ 953372 w 1661191"/>
                <a:gd name="connsiteY1221" fmla="*/ 547799 h 564157"/>
                <a:gd name="connsiteX1222" fmla="*/ 957565 w 1661191"/>
                <a:gd name="connsiteY1222" fmla="*/ 549378 h 564157"/>
                <a:gd name="connsiteX1223" fmla="*/ 957565 w 1661191"/>
                <a:gd name="connsiteY1223" fmla="*/ 552634 h 564157"/>
                <a:gd name="connsiteX1224" fmla="*/ 953372 w 1661191"/>
                <a:gd name="connsiteY1224" fmla="*/ 554213 h 564157"/>
                <a:gd name="connsiteX1225" fmla="*/ 947155 w 1661191"/>
                <a:gd name="connsiteY1225" fmla="*/ 554213 h 564157"/>
                <a:gd name="connsiteX1226" fmla="*/ 951299 w 1661191"/>
                <a:gd name="connsiteY1226" fmla="*/ 549279 h 564157"/>
                <a:gd name="connsiteX1227" fmla="*/ 849312 w 1661191"/>
                <a:gd name="connsiteY1227" fmla="*/ 514001 h 564157"/>
                <a:gd name="connsiteX1228" fmla="*/ 864114 w 1661191"/>
                <a:gd name="connsiteY1228" fmla="*/ 507537 h 564157"/>
                <a:gd name="connsiteX1229" fmla="*/ 874526 w 1661191"/>
                <a:gd name="connsiteY1229" fmla="*/ 514001 h 564157"/>
                <a:gd name="connsiteX1230" fmla="*/ 880791 w 1661191"/>
                <a:gd name="connsiteY1230" fmla="*/ 514001 h 564157"/>
                <a:gd name="connsiteX1231" fmla="*/ 887057 w 1661191"/>
                <a:gd name="connsiteY1231" fmla="*/ 510744 h 564157"/>
                <a:gd name="connsiteX1232" fmla="*/ 895347 w 1661191"/>
                <a:gd name="connsiteY1232" fmla="*/ 514001 h 564157"/>
                <a:gd name="connsiteX1233" fmla="*/ 897419 w 1661191"/>
                <a:gd name="connsiteY1233" fmla="*/ 520415 h 564157"/>
                <a:gd name="connsiteX1234" fmla="*/ 905757 w 1661191"/>
                <a:gd name="connsiteY1234" fmla="*/ 520415 h 564157"/>
                <a:gd name="connsiteX1235" fmla="*/ 912024 w 1661191"/>
                <a:gd name="connsiteY1235" fmla="*/ 528458 h 564157"/>
                <a:gd name="connsiteX1236" fmla="*/ 918241 w 1661191"/>
                <a:gd name="connsiteY1236" fmla="*/ 533392 h 564157"/>
                <a:gd name="connsiteX1237" fmla="*/ 918241 w 1661191"/>
                <a:gd name="connsiteY1237" fmla="*/ 536648 h 564157"/>
                <a:gd name="connsiteX1238" fmla="*/ 907831 w 1661191"/>
                <a:gd name="connsiteY1238" fmla="*/ 541582 h 564157"/>
                <a:gd name="connsiteX1239" fmla="*/ 897419 w 1661191"/>
                <a:gd name="connsiteY1239" fmla="*/ 541582 h 564157"/>
                <a:gd name="connsiteX1240" fmla="*/ 889081 w 1661191"/>
                <a:gd name="connsiteY1240" fmla="*/ 538375 h 564157"/>
                <a:gd name="connsiteX1241" fmla="*/ 884936 w 1661191"/>
                <a:gd name="connsiteY1241" fmla="*/ 531911 h 564157"/>
                <a:gd name="connsiteX1242" fmla="*/ 878719 w 1661191"/>
                <a:gd name="connsiteY1242" fmla="*/ 530332 h 564157"/>
                <a:gd name="connsiteX1243" fmla="*/ 872453 w 1661191"/>
                <a:gd name="connsiteY1243" fmla="*/ 523869 h 564157"/>
                <a:gd name="connsiteX1244" fmla="*/ 864114 w 1661191"/>
                <a:gd name="connsiteY1244" fmla="*/ 525497 h 564157"/>
                <a:gd name="connsiteX1245" fmla="*/ 853703 w 1661191"/>
                <a:gd name="connsiteY1245" fmla="*/ 523869 h 564157"/>
                <a:gd name="connsiteX1246" fmla="*/ 849559 w 1661191"/>
                <a:gd name="connsiteY1246" fmla="*/ 518935 h 564157"/>
                <a:gd name="connsiteX1247" fmla="*/ 736964 w 1661191"/>
                <a:gd name="connsiteY1247" fmla="*/ 443099 h 564157"/>
                <a:gd name="connsiteX1248" fmla="*/ 743181 w 1661191"/>
                <a:gd name="connsiteY1248" fmla="*/ 444727 h 564157"/>
                <a:gd name="connsiteX1249" fmla="*/ 745303 w 1661191"/>
                <a:gd name="connsiteY1249" fmla="*/ 443099 h 564157"/>
                <a:gd name="connsiteX1250" fmla="*/ 743181 w 1661191"/>
                <a:gd name="connsiteY1250" fmla="*/ 444727 h 564157"/>
                <a:gd name="connsiteX1251" fmla="*/ 738987 w 1661191"/>
                <a:gd name="connsiteY1251" fmla="*/ 444727 h 564157"/>
                <a:gd name="connsiteX1252" fmla="*/ 716143 w 1661191"/>
                <a:gd name="connsiteY1252" fmla="*/ 435106 h 564157"/>
                <a:gd name="connsiteX1253" fmla="*/ 722360 w 1661191"/>
                <a:gd name="connsiteY1253" fmla="*/ 438313 h 564157"/>
                <a:gd name="connsiteX1254" fmla="*/ 726553 w 1661191"/>
                <a:gd name="connsiteY1254" fmla="*/ 433379 h 564157"/>
                <a:gd name="connsiteX1255" fmla="*/ 728626 w 1661191"/>
                <a:gd name="connsiteY1255" fmla="*/ 435056 h 564157"/>
                <a:gd name="connsiteX1256" fmla="*/ 732770 w 1661191"/>
                <a:gd name="connsiteY1256" fmla="*/ 435056 h 564157"/>
                <a:gd name="connsiteX1257" fmla="*/ 730698 w 1661191"/>
                <a:gd name="connsiteY1257" fmla="*/ 433379 h 564157"/>
                <a:gd name="connsiteX1258" fmla="*/ 726553 w 1661191"/>
                <a:gd name="connsiteY1258" fmla="*/ 431800 h 564157"/>
                <a:gd name="connsiteX1259" fmla="*/ 720288 w 1661191"/>
                <a:gd name="connsiteY1259" fmla="*/ 430172 h 564157"/>
                <a:gd name="connsiteX1260" fmla="*/ 716143 w 1661191"/>
                <a:gd name="connsiteY1260" fmla="*/ 433379 h 564157"/>
                <a:gd name="connsiteX1261" fmla="*/ 1103218 w 1661191"/>
                <a:gd name="connsiteY1261" fmla="*/ 465647 h 564157"/>
                <a:gd name="connsiteX1262" fmla="*/ 1111556 w 1661191"/>
                <a:gd name="connsiteY1262" fmla="*/ 462440 h 564157"/>
                <a:gd name="connsiteX1263" fmla="*/ 1124039 w 1661191"/>
                <a:gd name="connsiteY1263" fmla="*/ 464068 h 564157"/>
                <a:gd name="connsiteX1264" fmla="*/ 1128184 w 1661191"/>
                <a:gd name="connsiteY1264" fmla="*/ 467276 h 564157"/>
                <a:gd name="connsiteX1265" fmla="*/ 1128184 w 1661191"/>
                <a:gd name="connsiteY1265" fmla="*/ 464068 h 564157"/>
                <a:gd name="connsiteX1266" fmla="*/ 1134204 w 1661191"/>
                <a:gd name="connsiteY1266" fmla="*/ 461009 h 564157"/>
                <a:gd name="connsiteX1267" fmla="*/ 1140420 w 1661191"/>
                <a:gd name="connsiteY1267" fmla="*/ 457802 h 564157"/>
                <a:gd name="connsiteX1268" fmla="*/ 1138349 w 1661191"/>
                <a:gd name="connsiteY1268" fmla="*/ 454546 h 564157"/>
                <a:gd name="connsiteX1269" fmla="*/ 1132132 w 1661191"/>
                <a:gd name="connsiteY1269" fmla="*/ 452917 h 564157"/>
                <a:gd name="connsiteX1270" fmla="*/ 1125865 w 1661191"/>
                <a:gd name="connsiteY1270" fmla="*/ 456125 h 564157"/>
                <a:gd name="connsiteX1271" fmla="*/ 1115454 w 1661191"/>
                <a:gd name="connsiteY1271" fmla="*/ 457802 h 564157"/>
                <a:gd name="connsiteX1272" fmla="*/ 1111310 w 1661191"/>
                <a:gd name="connsiteY1272" fmla="*/ 454546 h 564157"/>
                <a:gd name="connsiteX1273" fmla="*/ 1105044 w 1661191"/>
                <a:gd name="connsiteY1273" fmla="*/ 456125 h 564157"/>
                <a:gd name="connsiteX1274" fmla="*/ 1102971 w 1661191"/>
                <a:gd name="connsiteY1274" fmla="*/ 462588 h 564157"/>
                <a:gd name="connsiteX1275" fmla="*/ 1092808 w 1661191"/>
                <a:gd name="connsiteY1275" fmla="*/ 473739 h 564157"/>
                <a:gd name="connsiteX1276" fmla="*/ 1090734 w 1661191"/>
                <a:gd name="connsiteY1276" fmla="*/ 476946 h 564157"/>
                <a:gd name="connsiteX1277" fmla="*/ 1090734 w 1661191"/>
                <a:gd name="connsiteY1277" fmla="*/ 478525 h 564157"/>
                <a:gd name="connsiteX1278" fmla="*/ 1094879 w 1661191"/>
                <a:gd name="connsiteY1278" fmla="*/ 476946 h 564157"/>
                <a:gd name="connsiteX1279" fmla="*/ 1059503 w 1661191"/>
                <a:gd name="connsiteY1279" fmla="*/ 473739 h 564157"/>
                <a:gd name="connsiteX1280" fmla="*/ 1053286 w 1661191"/>
                <a:gd name="connsiteY1280" fmla="*/ 476946 h 564157"/>
                <a:gd name="connsiteX1281" fmla="*/ 1055358 w 1661191"/>
                <a:gd name="connsiteY1281" fmla="*/ 478525 h 564157"/>
                <a:gd name="connsiteX1282" fmla="*/ 1053286 w 1661191"/>
                <a:gd name="connsiteY1282" fmla="*/ 480153 h 564157"/>
                <a:gd name="connsiteX1283" fmla="*/ 1053286 w 1661191"/>
                <a:gd name="connsiteY1283" fmla="*/ 481782 h 564157"/>
                <a:gd name="connsiteX1284" fmla="*/ 1059503 w 1661191"/>
                <a:gd name="connsiteY1284" fmla="*/ 483361 h 564157"/>
                <a:gd name="connsiteX1285" fmla="*/ 1072034 w 1661191"/>
                <a:gd name="connsiteY1285" fmla="*/ 480153 h 564157"/>
                <a:gd name="connsiteX1286" fmla="*/ 1076130 w 1661191"/>
                <a:gd name="connsiteY1286" fmla="*/ 476946 h 564157"/>
                <a:gd name="connsiteX1287" fmla="*/ 1072034 w 1661191"/>
                <a:gd name="connsiteY1287" fmla="*/ 473739 h 564157"/>
                <a:gd name="connsiteX1288" fmla="*/ 1063696 w 1661191"/>
                <a:gd name="connsiteY1288" fmla="*/ 475318 h 564157"/>
                <a:gd name="connsiteX1289" fmla="*/ 1032463 w 1661191"/>
                <a:gd name="connsiteY1289" fmla="*/ 484989 h 564157"/>
                <a:gd name="connsiteX1290" fmla="*/ 1038680 w 1661191"/>
                <a:gd name="connsiteY1290" fmla="*/ 484989 h 564157"/>
                <a:gd name="connsiteX1291" fmla="*/ 1042874 w 1661191"/>
                <a:gd name="connsiteY1291" fmla="*/ 488196 h 564157"/>
                <a:gd name="connsiteX1292" fmla="*/ 1047020 w 1661191"/>
                <a:gd name="connsiteY1292" fmla="*/ 481782 h 564157"/>
                <a:gd name="connsiteX1293" fmla="*/ 1047020 w 1661191"/>
                <a:gd name="connsiteY1293" fmla="*/ 478525 h 564157"/>
                <a:gd name="connsiteX1294" fmla="*/ 1042874 w 1661191"/>
                <a:gd name="connsiteY1294" fmla="*/ 481782 h 564157"/>
                <a:gd name="connsiteX1295" fmla="*/ 1036608 w 1661191"/>
                <a:gd name="connsiteY1295" fmla="*/ 483361 h 564157"/>
                <a:gd name="connsiteX1296" fmla="*/ 1011642 w 1661191"/>
                <a:gd name="connsiteY1296" fmla="*/ 486617 h 564157"/>
                <a:gd name="connsiteX1297" fmla="*/ 1017908 w 1661191"/>
                <a:gd name="connsiteY1297" fmla="*/ 481683 h 564157"/>
                <a:gd name="connsiteX1298" fmla="*/ 1015787 w 1661191"/>
                <a:gd name="connsiteY1298" fmla="*/ 480055 h 564157"/>
                <a:gd name="connsiteX1299" fmla="*/ 1019981 w 1661191"/>
                <a:gd name="connsiteY1299" fmla="*/ 478427 h 564157"/>
                <a:gd name="connsiteX1300" fmla="*/ 1024125 w 1661191"/>
                <a:gd name="connsiteY1300" fmla="*/ 478427 h 564157"/>
                <a:gd name="connsiteX1301" fmla="*/ 1030342 w 1661191"/>
                <a:gd name="connsiteY1301" fmla="*/ 476848 h 564157"/>
                <a:gd name="connsiteX1302" fmla="*/ 1032463 w 1661191"/>
                <a:gd name="connsiteY1302" fmla="*/ 478427 h 564157"/>
                <a:gd name="connsiteX1303" fmla="*/ 1026198 w 1661191"/>
                <a:gd name="connsiteY1303" fmla="*/ 483361 h 564157"/>
                <a:gd name="connsiteX1304" fmla="*/ 1022053 w 1661191"/>
                <a:gd name="connsiteY1304" fmla="*/ 488295 h 564157"/>
                <a:gd name="connsiteX1305" fmla="*/ 1013715 w 1661191"/>
                <a:gd name="connsiteY1305" fmla="*/ 488295 h 564157"/>
                <a:gd name="connsiteX1306" fmla="*/ 1005375 w 1661191"/>
                <a:gd name="connsiteY1306" fmla="*/ 484989 h 564157"/>
                <a:gd name="connsiteX1307" fmla="*/ 997086 w 1661191"/>
                <a:gd name="connsiteY1307" fmla="*/ 486617 h 564157"/>
                <a:gd name="connsiteX1308" fmla="*/ 994965 w 1661191"/>
                <a:gd name="connsiteY1308" fmla="*/ 491551 h 564157"/>
                <a:gd name="connsiteX1309" fmla="*/ 999158 w 1661191"/>
                <a:gd name="connsiteY1309" fmla="*/ 486617 h 564157"/>
                <a:gd name="connsiteX1310" fmla="*/ 1009570 w 1661191"/>
                <a:gd name="connsiteY1310" fmla="*/ 475121 h 564157"/>
                <a:gd name="connsiteX1311" fmla="*/ 1003303 w 1661191"/>
                <a:gd name="connsiteY1311" fmla="*/ 478328 h 564157"/>
                <a:gd name="connsiteX1312" fmla="*/ 1007498 w 1661191"/>
                <a:gd name="connsiteY1312" fmla="*/ 481584 h 564157"/>
                <a:gd name="connsiteX1313" fmla="*/ 1009570 w 1661191"/>
                <a:gd name="connsiteY1313" fmla="*/ 478328 h 564157"/>
                <a:gd name="connsiteX1314" fmla="*/ 880545 w 1661191"/>
                <a:gd name="connsiteY1314" fmla="*/ 487998 h 564157"/>
                <a:gd name="connsiteX1315" fmla="*/ 882617 w 1661191"/>
                <a:gd name="connsiteY1315" fmla="*/ 483064 h 564157"/>
                <a:gd name="connsiteX1316" fmla="*/ 893028 w 1661191"/>
                <a:gd name="connsiteY1316" fmla="*/ 478130 h 564157"/>
                <a:gd name="connsiteX1317" fmla="*/ 911777 w 1661191"/>
                <a:gd name="connsiteY1317" fmla="*/ 474923 h 564157"/>
                <a:gd name="connsiteX1318" fmla="*/ 920067 w 1661191"/>
                <a:gd name="connsiteY1318" fmla="*/ 478130 h 564157"/>
                <a:gd name="connsiteX1319" fmla="*/ 924211 w 1661191"/>
                <a:gd name="connsiteY1319" fmla="*/ 476552 h 564157"/>
                <a:gd name="connsiteX1320" fmla="*/ 934622 w 1661191"/>
                <a:gd name="connsiteY1320" fmla="*/ 478130 h 564157"/>
                <a:gd name="connsiteX1321" fmla="*/ 945032 w 1661191"/>
                <a:gd name="connsiteY1321" fmla="*/ 484594 h 564157"/>
                <a:gd name="connsiteX1322" fmla="*/ 951299 w 1661191"/>
                <a:gd name="connsiteY1322" fmla="*/ 481387 h 564157"/>
                <a:gd name="connsiteX1323" fmla="*/ 961512 w 1661191"/>
                <a:gd name="connsiteY1323" fmla="*/ 481387 h 564157"/>
                <a:gd name="connsiteX1324" fmla="*/ 967729 w 1661191"/>
                <a:gd name="connsiteY1324" fmla="*/ 484594 h 564157"/>
                <a:gd name="connsiteX1325" fmla="*/ 973996 w 1661191"/>
                <a:gd name="connsiteY1325" fmla="*/ 484594 h 564157"/>
                <a:gd name="connsiteX1326" fmla="*/ 978141 w 1661191"/>
                <a:gd name="connsiteY1326" fmla="*/ 479660 h 564157"/>
                <a:gd name="connsiteX1327" fmla="*/ 984406 w 1661191"/>
                <a:gd name="connsiteY1327" fmla="*/ 478032 h 564157"/>
                <a:gd name="connsiteX1328" fmla="*/ 988551 w 1661191"/>
                <a:gd name="connsiteY1328" fmla="*/ 473098 h 564157"/>
                <a:gd name="connsiteX1329" fmla="*/ 986479 w 1661191"/>
                <a:gd name="connsiteY1329" fmla="*/ 471469 h 564157"/>
                <a:gd name="connsiteX1330" fmla="*/ 992745 w 1661191"/>
                <a:gd name="connsiteY1330" fmla="*/ 468262 h 564157"/>
                <a:gd name="connsiteX1331" fmla="*/ 1001034 w 1661191"/>
                <a:gd name="connsiteY1331" fmla="*/ 471469 h 564157"/>
                <a:gd name="connsiteX1332" fmla="*/ 1001034 w 1661191"/>
                <a:gd name="connsiteY1332" fmla="*/ 476403 h 564157"/>
                <a:gd name="connsiteX1333" fmla="*/ 996889 w 1661191"/>
                <a:gd name="connsiteY1333" fmla="*/ 481338 h 564157"/>
                <a:gd name="connsiteX1334" fmla="*/ 992745 w 1661191"/>
                <a:gd name="connsiteY1334" fmla="*/ 482916 h 564157"/>
                <a:gd name="connsiteX1335" fmla="*/ 988551 w 1661191"/>
                <a:gd name="connsiteY1335" fmla="*/ 489380 h 564157"/>
                <a:gd name="connsiteX1336" fmla="*/ 980212 w 1661191"/>
                <a:gd name="connsiteY1336" fmla="*/ 491008 h 564157"/>
                <a:gd name="connsiteX1337" fmla="*/ 978141 w 1661191"/>
                <a:gd name="connsiteY1337" fmla="*/ 492587 h 564157"/>
                <a:gd name="connsiteX1338" fmla="*/ 971924 w 1661191"/>
                <a:gd name="connsiteY1338" fmla="*/ 491008 h 564157"/>
                <a:gd name="connsiteX1339" fmla="*/ 961512 w 1661191"/>
                <a:gd name="connsiteY1339" fmla="*/ 491008 h 564157"/>
                <a:gd name="connsiteX1340" fmla="*/ 951101 w 1661191"/>
                <a:gd name="connsiteY1340" fmla="*/ 495942 h 564157"/>
                <a:gd name="connsiteX1341" fmla="*/ 938619 w 1661191"/>
                <a:gd name="connsiteY1341" fmla="*/ 494363 h 564157"/>
                <a:gd name="connsiteX1342" fmla="*/ 932353 w 1661191"/>
                <a:gd name="connsiteY1342" fmla="*/ 495942 h 564157"/>
                <a:gd name="connsiteX1343" fmla="*/ 930279 w 1661191"/>
                <a:gd name="connsiteY1343" fmla="*/ 497570 h 564157"/>
                <a:gd name="connsiteX1344" fmla="*/ 924013 w 1661191"/>
                <a:gd name="connsiteY1344" fmla="*/ 497570 h 564157"/>
                <a:gd name="connsiteX1345" fmla="*/ 919869 w 1661191"/>
                <a:gd name="connsiteY1345" fmla="*/ 495942 h 564157"/>
                <a:gd name="connsiteX1346" fmla="*/ 913652 w 1661191"/>
                <a:gd name="connsiteY1346" fmla="*/ 499149 h 564157"/>
                <a:gd name="connsiteX1347" fmla="*/ 909458 w 1661191"/>
                <a:gd name="connsiteY1347" fmla="*/ 495942 h 564157"/>
                <a:gd name="connsiteX1348" fmla="*/ 903241 w 1661191"/>
                <a:gd name="connsiteY1348" fmla="*/ 494363 h 564157"/>
                <a:gd name="connsiteX1349" fmla="*/ 899048 w 1661191"/>
                <a:gd name="connsiteY1349" fmla="*/ 495942 h 564157"/>
                <a:gd name="connsiteX1350" fmla="*/ 892831 w 1661191"/>
                <a:gd name="connsiteY1350" fmla="*/ 494363 h 564157"/>
                <a:gd name="connsiteX1351" fmla="*/ 882568 w 1661191"/>
                <a:gd name="connsiteY1351" fmla="*/ 494363 h 564157"/>
                <a:gd name="connsiteX1352" fmla="*/ 876400 w 1661191"/>
                <a:gd name="connsiteY1352" fmla="*/ 487998 h 564157"/>
                <a:gd name="connsiteX1353" fmla="*/ 874279 w 1661191"/>
                <a:gd name="connsiteY1353" fmla="*/ 494462 h 564157"/>
                <a:gd name="connsiteX1354" fmla="*/ 878472 w 1661191"/>
                <a:gd name="connsiteY1354" fmla="*/ 492834 h 564157"/>
                <a:gd name="connsiteX1355" fmla="*/ 878472 w 1661191"/>
                <a:gd name="connsiteY1355" fmla="*/ 489627 h 564157"/>
                <a:gd name="connsiteX1356" fmla="*/ 872206 w 1661191"/>
                <a:gd name="connsiteY1356" fmla="*/ 484791 h 564157"/>
                <a:gd name="connsiteX1357" fmla="*/ 865989 w 1661191"/>
                <a:gd name="connsiteY1357" fmla="*/ 483163 h 564157"/>
                <a:gd name="connsiteX1358" fmla="*/ 863868 w 1661191"/>
                <a:gd name="connsiteY1358" fmla="*/ 489627 h 564157"/>
                <a:gd name="connsiteX1359" fmla="*/ 868062 w 1661191"/>
                <a:gd name="connsiteY1359" fmla="*/ 494561 h 564157"/>
                <a:gd name="connsiteX1360" fmla="*/ 870134 w 1661191"/>
                <a:gd name="connsiteY1360" fmla="*/ 486518 h 564157"/>
                <a:gd name="connsiteX1361" fmla="*/ 770269 w 1661191"/>
                <a:gd name="connsiteY1361" fmla="*/ 489725 h 564157"/>
                <a:gd name="connsiteX1362" fmla="*/ 768148 w 1661191"/>
                <a:gd name="connsiteY1362" fmla="*/ 492932 h 564157"/>
                <a:gd name="connsiteX1363" fmla="*/ 772341 w 1661191"/>
                <a:gd name="connsiteY1363" fmla="*/ 494561 h 564157"/>
                <a:gd name="connsiteX1364" fmla="*/ 770269 w 1661191"/>
                <a:gd name="connsiteY1364" fmla="*/ 497768 h 564157"/>
                <a:gd name="connsiteX1365" fmla="*/ 772341 w 1661191"/>
                <a:gd name="connsiteY1365" fmla="*/ 500975 h 564157"/>
                <a:gd name="connsiteX1366" fmla="*/ 778558 w 1661191"/>
                <a:gd name="connsiteY1366" fmla="*/ 504232 h 564157"/>
                <a:gd name="connsiteX1367" fmla="*/ 788969 w 1661191"/>
                <a:gd name="connsiteY1367" fmla="*/ 500975 h 564157"/>
                <a:gd name="connsiteX1368" fmla="*/ 793114 w 1661191"/>
                <a:gd name="connsiteY1368" fmla="*/ 504232 h 564157"/>
                <a:gd name="connsiteX1369" fmla="*/ 801452 w 1661191"/>
                <a:gd name="connsiteY1369" fmla="*/ 500975 h 564157"/>
                <a:gd name="connsiteX1370" fmla="*/ 803524 w 1661191"/>
                <a:gd name="connsiteY1370" fmla="*/ 497768 h 564157"/>
                <a:gd name="connsiteX1371" fmla="*/ 811863 w 1661191"/>
                <a:gd name="connsiteY1371" fmla="*/ 499347 h 564157"/>
                <a:gd name="connsiteX1372" fmla="*/ 818080 w 1661191"/>
                <a:gd name="connsiteY1372" fmla="*/ 496140 h 564157"/>
                <a:gd name="connsiteX1373" fmla="*/ 826419 w 1661191"/>
                <a:gd name="connsiteY1373" fmla="*/ 497768 h 564157"/>
                <a:gd name="connsiteX1374" fmla="*/ 832684 w 1661191"/>
                <a:gd name="connsiteY1374" fmla="*/ 491354 h 564157"/>
                <a:gd name="connsiteX1375" fmla="*/ 836829 w 1661191"/>
                <a:gd name="connsiteY1375" fmla="*/ 496288 h 564157"/>
                <a:gd name="connsiteX1376" fmla="*/ 853457 w 1661191"/>
                <a:gd name="connsiteY1376" fmla="*/ 496288 h 564157"/>
                <a:gd name="connsiteX1377" fmla="*/ 847240 w 1661191"/>
                <a:gd name="connsiteY1377" fmla="*/ 493081 h 564157"/>
                <a:gd name="connsiteX1378" fmla="*/ 857651 w 1661191"/>
                <a:gd name="connsiteY1378" fmla="*/ 493081 h 564157"/>
                <a:gd name="connsiteX1379" fmla="*/ 857651 w 1661191"/>
                <a:gd name="connsiteY1379" fmla="*/ 486666 h 564157"/>
                <a:gd name="connsiteX1380" fmla="*/ 855579 w 1661191"/>
                <a:gd name="connsiteY1380" fmla="*/ 489873 h 564157"/>
                <a:gd name="connsiteX1381" fmla="*/ 853457 w 1661191"/>
                <a:gd name="connsiteY1381" fmla="*/ 483410 h 564157"/>
                <a:gd name="connsiteX1382" fmla="*/ 853457 w 1661191"/>
                <a:gd name="connsiteY1382" fmla="*/ 478476 h 564157"/>
                <a:gd name="connsiteX1383" fmla="*/ 847240 w 1661191"/>
                <a:gd name="connsiteY1383" fmla="*/ 476897 h 564157"/>
                <a:gd name="connsiteX1384" fmla="*/ 847240 w 1661191"/>
                <a:gd name="connsiteY1384" fmla="*/ 481831 h 564157"/>
                <a:gd name="connsiteX1385" fmla="*/ 845167 w 1661191"/>
                <a:gd name="connsiteY1385" fmla="*/ 483410 h 564157"/>
                <a:gd name="connsiteX1386" fmla="*/ 843095 w 1661191"/>
                <a:gd name="connsiteY1386" fmla="*/ 478476 h 564157"/>
                <a:gd name="connsiteX1387" fmla="*/ 836829 w 1661191"/>
                <a:gd name="connsiteY1387" fmla="*/ 473542 h 564157"/>
                <a:gd name="connsiteX1388" fmla="*/ 828491 w 1661191"/>
                <a:gd name="connsiteY1388" fmla="*/ 476749 h 564157"/>
                <a:gd name="connsiteX1389" fmla="*/ 822274 w 1661191"/>
                <a:gd name="connsiteY1389" fmla="*/ 473542 h 564157"/>
                <a:gd name="connsiteX1390" fmla="*/ 816057 w 1661191"/>
                <a:gd name="connsiteY1390" fmla="*/ 470335 h 564157"/>
                <a:gd name="connsiteX1391" fmla="*/ 807719 w 1661191"/>
                <a:gd name="connsiteY1391" fmla="*/ 475269 h 564157"/>
                <a:gd name="connsiteX1392" fmla="*/ 807719 w 1661191"/>
                <a:gd name="connsiteY1392" fmla="*/ 478476 h 564157"/>
                <a:gd name="connsiteX1393" fmla="*/ 822521 w 1661191"/>
                <a:gd name="connsiteY1393" fmla="*/ 483410 h 564157"/>
                <a:gd name="connsiteX1394" fmla="*/ 828738 w 1661191"/>
                <a:gd name="connsiteY1394" fmla="*/ 488344 h 564157"/>
                <a:gd name="connsiteX1395" fmla="*/ 818327 w 1661191"/>
                <a:gd name="connsiteY1395" fmla="*/ 489972 h 564157"/>
                <a:gd name="connsiteX1396" fmla="*/ 812110 w 1661191"/>
                <a:gd name="connsiteY1396" fmla="*/ 491600 h 564157"/>
                <a:gd name="connsiteX1397" fmla="*/ 803771 w 1661191"/>
                <a:gd name="connsiteY1397" fmla="*/ 486666 h 564157"/>
                <a:gd name="connsiteX1398" fmla="*/ 801699 w 1661191"/>
                <a:gd name="connsiteY1398" fmla="*/ 481732 h 564157"/>
                <a:gd name="connsiteX1399" fmla="*/ 797554 w 1661191"/>
                <a:gd name="connsiteY1399" fmla="*/ 480104 h 564157"/>
                <a:gd name="connsiteX1400" fmla="*/ 791288 w 1661191"/>
                <a:gd name="connsiteY1400" fmla="*/ 481732 h 564157"/>
                <a:gd name="connsiteX1401" fmla="*/ 785071 w 1661191"/>
                <a:gd name="connsiteY1401" fmla="*/ 480104 h 564157"/>
                <a:gd name="connsiteX1402" fmla="*/ 774660 w 1661191"/>
                <a:gd name="connsiteY1402" fmla="*/ 483311 h 564157"/>
                <a:gd name="connsiteX1403" fmla="*/ 749398 w 1661191"/>
                <a:gd name="connsiteY1403" fmla="*/ 481683 h 564157"/>
                <a:gd name="connsiteX1404" fmla="*/ 755665 w 1661191"/>
                <a:gd name="connsiteY1404" fmla="*/ 476749 h 564157"/>
                <a:gd name="connsiteX1405" fmla="*/ 768148 w 1661191"/>
                <a:gd name="connsiteY1405" fmla="*/ 479956 h 564157"/>
                <a:gd name="connsiteX1406" fmla="*/ 766075 w 1661191"/>
                <a:gd name="connsiteY1406" fmla="*/ 486420 h 564157"/>
                <a:gd name="connsiteX1407" fmla="*/ 761931 w 1661191"/>
                <a:gd name="connsiteY1407" fmla="*/ 491354 h 564157"/>
                <a:gd name="connsiteX1408" fmla="*/ 764003 w 1661191"/>
                <a:gd name="connsiteY1408" fmla="*/ 496288 h 564157"/>
                <a:gd name="connsiteX1409" fmla="*/ 757736 w 1661191"/>
                <a:gd name="connsiteY1409" fmla="*/ 494709 h 564157"/>
                <a:gd name="connsiteX1410" fmla="*/ 751519 w 1661191"/>
                <a:gd name="connsiteY1410" fmla="*/ 497916 h 564157"/>
                <a:gd name="connsiteX1411" fmla="*/ 738987 w 1661191"/>
                <a:gd name="connsiteY1411" fmla="*/ 494709 h 564157"/>
                <a:gd name="connsiteX1412" fmla="*/ 736964 w 1661191"/>
                <a:gd name="connsiteY1412" fmla="*/ 491502 h 564157"/>
                <a:gd name="connsiteX1413" fmla="*/ 741109 w 1661191"/>
                <a:gd name="connsiteY1413" fmla="*/ 489873 h 564157"/>
                <a:gd name="connsiteX1414" fmla="*/ 747326 w 1661191"/>
                <a:gd name="connsiteY1414" fmla="*/ 489873 h 564157"/>
                <a:gd name="connsiteX1415" fmla="*/ 724432 w 1661191"/>
                <a:gd name="connsiteY1415" fmla="*/ 491551 h 564157"/>
                <a:gd name="connsiteX1416" fmla="*/ 728626 w 1661191"/>
                <a:gd name="connsiteY1416" fmla="*/ 488295 h 564157"/>
                <a:gd name="connsiteX1417" fmla="*/ 730698 w 1661191"/>
                <a:gd name="connsiteY1417" fmla="*/ 491551 h 564157"/>
                <a:gd name="connsiteX1418" fmla="*/ 726553 w 1661191"/>
                <a:gd name="connsiteY1418" fmla="*/ 493130 h 564157"/>
                <a:gd name="connsiteX1419" fmla="*/ 691176 w 1661191"/>
                <a:gd name="connsiteY1419" fmla="*/ 472210 h 564157"/>
                <a:gd name="connsiteX1420" fmla="*/ 691176 w 1661191"/>
                <a:gd name="connsiteY1420" fmla="*/ 477144 h 564157"/>
                <a:gd name="connsiteX1421" fmla="*/ 695321 w 1661191"/>
                <a:gd name="connsiteY1421" fmla="*/ 480351 h 564157"/>
                <a:gd name="connsiteX1422" fmla="*/ 703610 w 1661191"/>
                <a:gd name="connsiteY1422" fmla="*/ 483558 h 564157"/>
                <a:gd name="connsiteX1423" fmla="*/ 714022 w 1661191"/>
                <a:gd name="connsiteY1423" fmla="*/ 488492 h 564157"/>
                <a:gd name="connsiteX1424" fmla="*/ 714022 w 1661191"/>
                <a:gd name="connsiteY1424" fmla="*/ 491748 h 564157"/>
                <a:gd name="connsiteX1425" fmla="*/ 718215 w 1661191"/>
                <a:gd name="connsiteY1425" fmla="*/ 488492 h 564157"/>
                <a:gd name="connsiteX1426" fmla="*/ 724432 w 1661191"/>
                <a:gd name="connsiteY1426" fmla="*/ 485285 h 564157"/>
                <a:gd name="connsiteX1427" fmla="*/ 726553 w 1661191"/>
                <a:gd name="connsiteY1427" fmla="*/ 483657 h 564157"/>
                <a:gd name="connsiteX1428" fmla="*/ 732770 w 1661191"/>
                <a:gd name="connsiteY1428" fmla="*/ 482078 h 564157"/>
                <a:gd name="connsiteX1429" fmla="*/ 734892 w 1661191"/>
                <a:gd name="connsiteY1429" fmla="*/ 478821 h 564157"/>
                <a:gd name="connsiteX1430" fmla="*/ 726553 w 1661191"/>
                <a:gd name="connsiteY1430" fmla="*/ 470828 h 564157"/>
                <a:gd name="connsiteX1431" fmla="*/ 716143 w 1661191"/>
                <a:gd name="connsiteY1431" fmla="*/ 469200 h 564157"/>
                <a:gd name="connsiteX1432" fmla="*/ 707805 w 1661191"/>
                <a:gd name="connsiteY1432" fmla="*/ 472407 h 564157"/>
                <a:gd name="connsiteX1433" fmla="*/ 699465 w 1661191"/>
                <a:gd name="connsiteY1433" fmla="*/ 470828 h 564157"/>
                <a:gd name="connsiteX1434" fmla="*/ 1567313 w 1661191"/>
                <a:gd name="connsiteY1434" fmla="*/ 477144 h 564157"/>
                <a:gd name="connsiteX1435" fmla="*/ 1569385 w 1661191"/>
                <a:gd name="connsiteY1435" fmla="*/ 477144 h 564157"/>
                <a:gd name="connsiteX1436" fmla="*/ 1575651 w 1661191"/>
                <a:gd name="connsiteY1436" fmla="*/ 478723 h 564157"/>
                <a:gd name="connsiteX1437" fmla="*/ 1577674 w 1661191"/>
                <a:gd name="connsiteY1437" fmla="*/ 477144 h 564157"/>
                <a:gd name="connsiteX1438" fmla="*/ 1575651 w 1661191"/>
                <a:gd name="connsiteY1438" fmla="*/ 470729 h 564157"/>
                <a:gd name="connsiteX1439" fmla="*/ 1573333 w 1661191"/>
                <a:gd name="connsiteY1439" fmla="*/ 470729 h 564157"/>
                <a:gd name="connsiteX1440" fmla="*/ 1569188 w 1661191"/>
                <a:gd name="connsiteY1440" fmla="*/ 472308 h 564157"/>
                <a:gd name="connsiteX1441" fmla="*/ 1531937 w 1661191"/>
                <a:gd name="connsiteY1441" fmla="*/ 478723 h 564157"/>
                <a:gd name="connsiteX1442" fmla="*/ 1544419 w 1661191"/>
                <a:gd name="connsiteY1442" fmla="*/ 477144 h 564157"/>
                <a:gd name="connsiteX1443" fmla="*/ 1556902 w 1661191"/>
                <a:gd name="connsiteY1443" fmla="*/ 477144 h 564157"/>
                <a:gd name="connsiteX1444" fmla="*/ 1563119 w 1661191"/>
                <a:gd name="connsiteY1444" fmla="*/ 475515 h 564157"/>
                <a:gd name="connsiteX1445" fmla="*/ 1569385 w 1661191"/>
                <a:gd name="connsiteY1445" fmla="*/ 469101 h 564157"/>
                <a:gd name="connsiteX1446" fmla="*/ 1575651 w 1661191"/>
                <a:gd name="connsiteY1446" fmla="*/ 469101 h 564157"/>
                <a:gd name="connsiteX1447" fmla="*/ 1577674 w 1661191"/>
                <a:gd name="connsiteY1447" fmla="*/ 465845 h 564157"/>
                <a:gd name="connsiteX1448" fmla="*/ 1577674 w 1661191"/>
                <a:gd name="connsiteY1448" fmla="*/ 462638 h 564157"/>
                <a:gd name="connsiteX1449" fmla="*/ 1579797 w 1661191"/>
                <a:gd name="connsiteY1449" fmla="*/ 461059 h 564157"/>
                <a:gd name="connsiteX1450" fmla="*/ 1579797 w 1661191"/>
                <a:gd name="connsiteY1450" fmla="*/ 454595 h 564157"/>
                <a:gd name="connsiteX1451" fmla="*/ 1581868 w 1661191"/>
                <a:gd name="connsiteY1451" fmla="*/ 452967 h 564157"/>
                <a:gd name="connsiteX1452" fmla="*/ 1575651 w 1661191"/>
                <a:gd name="connsiteY1452" fmla="*/ 449760 h 564157"/>
                <a:gd name="connsiteX1453" fmla="*/ 1573530 w 1661191"/>
                <a:gd name="connsiteY1453" fmla="*/ 448181 h 564157"/>
                <a:gd name="connsiteX1454" fmla="*/ 1561047 w 1661191"/>
                <a:gd name="connsiteY1454" fmla="*/ 446553 h 564157"/>
                <a:gd name="connsiteX1455" fmla="*/ 1552709 w 1661191"/>
                <a:gd name="connsiteY1455" fmla="*/ 449760 h 564157"/>
                <a:gd name="connsiteX1456" fmla="*/ 1548564 w 1661191"/>
                <a:gd name="connsiteY1456" fmla="*/ 459628 h 564157"/>
                <a:gd name="connsiteX1457" fmla="*/ 1546492 w 1661191"/>
                <a:gd name="connsiteY1457" fmla="*/ 466042 h 564157"/>
                <a:gd name="connsiteX1458" fmla="*/ 637050 w 1661191"/>
                <a:gd name="connsiteY1458" fmla="*/ 430418 h 564157"/>
                <a:gd name="connsiteX1459" fmla="*/ 630833 w 1661191"/>
                <a:gd name="connsiteY1459" fmla="*/ 436882 h 564157"/>
                <a:gd name="connsiteX1460" fmla="*/ 639122 w 1661191"/>
                <a:gd name="connsiteY1460" fmla="*/ 443296 h 564157"/>
                <a:gd name="connsiteX1461" fmla="*/ 643267 w 1661191"/>
                <a:gd name="connsiteY1461" fmla="*/ 444924 h 564157"/>
                <a:gd name="connsiteX1462" fmla="*/ 647461 w 1661191"/>
                <a:gd name="connsiteY1462" fmla="*/ 441717 h 564157"/>
                <a:gd name="connsiteX1463" fmla="*/ 659944 w 1661191"/>
                <a:gd name="connsiteY1463" fmla="*/ 443296 h 564157"/>
                <a:gd name="connsiteX1464" fmla="*/ 666210 w 1661191"/>
                <a:gd name="connsiteY1464" fmla="*/ 440089 h 564157"/>
                <a:gd name="connsiteX1465" fmla="*/ 674500 w 1661191"/>
                <a:gd name="connsiteY1465" fmla="*/ 440089 h 564157"/>
                <a:gd name="connsiteX1466" fmla="*/ 678644 w 1661191"/>
                <a:gd name="connsiteY1466" fmla="*/ 435155 h 564157"/>
                <a:gd name="connsiteX1467" fmla="*/ 674500 w 1661191"/>
                <a:gd name="connsiteY1467" fmla="*/ 433477 h 564157"/>
                <a:gd name="connsiteX1468" fmla="*/ 664089 w 1661191"/>
                <a:gd name="connsiteY1468" fmla="*/ 435155 h 564157"/>
                <a:gd name="connsiteX1469" fmla="*/ 659944 w 1661191"/>
                <a:gd name="connsiteY1469" fmla="*/ 433477 h 564157"/>
                <a:gd name="connsiteX1470" fmla="*/ 639122 w 1661191"/>
                <a:gd name="connsiteY1470" fmla="*/ 433477 h 564157"/>
                <a:gd name="connsiteX1471" fmla="*/ 364445 w 1661191"/>
                <a:gd name="connsiteY1471" fmla="*/ 420550 h 564157"/>
                <a:gd name="connsiteX1472" fmla="*/ 364445 w 1661191"/>
                <a:gd name="connsiteY1472" fmla="*/ 423807 h 564157"/>
                <a:gd name="connsiteX1473" fmla="*/ 368590 w 1661191"/>
                <a:gd name="connsiteY1473" fmla="*/ 423807 h 564157"/>
                <a:gd name="connsiteX1474" fmla="*/ 368590 w 1661191"/>
                <a:gd name="connsiteY1474" fmla="*/ 420550 h 564157"/>
                <a:gd name="connsiteX1475" fmla="*/ 370662 w 1661191"/>
                <a:gd name="connsiteY1475" fmla="*/ 425484 h 564157"/>
                <a:gd name="connsiteX1476" fmla="*/ 372734 w 1661191"/>
                <a:gd name="connsiteY1476" fmla="*/ 427063 h 564157"/>
                <a:gd name="connsiteX1477" fmla="*/ 379000 w 1661191"/>
                <a:gd name="connsiteY1477" fmla="*/ 425484 h 564157"/>
                <a:gd name="connsiteX1478" fmla="*/ 379000 w 1661191"/>
                <a:gd name="connsiteY1478" fmla="*/ 419021 h 564157"/>
                <a:gd name="connsiteX1479" fmla="*/ 387290 w 1661191"/>
                <a:gd name="connsiteY1479" fmla="*/ 419021 h 564157"/>
                <a:gd name="connsiteX1480" fmla="*/ 389411 w 1661191"/>
                <a:gd name="connsiteY1480" fmla="*/ 412606 h 564157"/>
                <a:gd name="connsiteX1481" fmla="*/ 389411 w 1661191"/>
                <a:gd name="connsiteY1481" fmla="*/ 406143 h 564157"/>
                <a:gd name="connsiteX1482" fmla="*/ 395628 w 1661191"/>
                <a:gd name="connsiteY1482" fmla="*/ 398100 h 564157"/>
                <a:gd name="connsiteX1483" fmla="*/ 399821 w 1661191"/>
                <a:gd name="connsiteY1483" fmla="*/ 401308 h 564157"/>
                <a:gd name="connsiteX1484" fmla="*/ 408161 w 1661191"/>
                <a:gd name="connsiteY1484" fmla="*/ 401308 h 564157"/>
                <a:gd name="connsiteX1485" fmla="*/ 420595 w 1661191"/>
                <a:gd name="connsiteY1485" fmla="*/ 402936 h 564157"/>
                <a:gd name="connsiteX1486" fmla="*/ 424788 w 1661191"/>
                <a:gd name="connsiteY1486" fmla="*/ 406143 h 564157"/>
                <a:gd name="connsiteX1487" fmla="*/ 428933 w 1661191"/>
                <a:gd name="connsiteY1487" fmla="*/ 404564 h 564157"/>
                <a:gd name="connsiteX1488" fmla="*/ 431005 w 1661191"/>
                <a:gd name="connsiteY1488" fmla="*/ 401308 h 564157"/>
                <a:gd name="connsiteX1489" fmla="*/ 443439 w 1661191"/>
                <a:gd name="connsiteY1489" fmla="*/ 401308 h 564157"/>
                <a:gd name="connsiteX1490" fmla="*/ 449656 w 1661191"/>
                <a:gd name="connsiteY1490" fmla="*/ 406242 h 564157"/>
                <a:gd name="connsiteX1491" fmla="*/ 462139 w 1661191"/>
                <a:gd name="connsiteY1491" fmla="*/ 409449 h 564157"/>
                <a:gd name="connsiteX1492" fmla="*/ 478815 w 1661191"/>
                <a:gd name="connsiteY1492" fmla="*/ 411077 h 564157"/>
                <a:gd name="connsiteX1493" fmla="*/ 482960 w 1661191"/>
                <a:gd name="connsiteY1493" fmla="*/ 417491 h 564157"/>
                <a:gd name="connsiteX1494" fmla="*/ 480888 w 1661191"/>
                <a:gd name="connsiteY1494" fmla="*/ 423955 h 564157"/>
                <a:gd name="connsiteX1495" fmla="*/ 482960 w 1661191"/>
                <a:gd name="connsiteY1495" fmla="*/ 425583 h 564157"/>
                <a:gd name="connsiteX1496" fmla="*/ 495444 w 1661191"/>
                <a:gd name="connsiteY1496" fmla="*/ 430517 h 564157"/>
                <a:gd name="connsiteX1497" fmla="*/ 518337 w 1661191"/>
                <a:gd name="connsiteY1497" fmla="*/ 430517 h 564157"/>
                <a:gd name="connsiteX1498" fmla="*/ 537037 w 1661191"/>
                <a:gd name="connsiteY1498" fmla="*/ 433724 h 564157"/>
                <a:gd name="connsiteX1499" fmla="*/ 553715 w 1661191"/>
                <a:gd name="connsiteY1499" fmla="*/ 430517 h 564157"/>
                <a:gd name="connsiteX1500" fmla="*/ 557859 w 1661191"/>
                <a:gd name="connsiteY1500" fmla="*/ 425583 h 564157"/>
                <a:gd name="connsiteX1501" fmla="*/ 559981 w 1661191"/>
                <a:gd name="connsiteY1501" fmla="*/ 414284 h 564157"/>
                <a:gd name="connsiteX1502" fmla="*/ 566197 w 1661191"/>
                <a:gd name="connsiteY1502" fmla="*/ 412705 h 564157"/>
                <a:gd name="connsiteX1503" fmla="*/ 576608 w 1661191"/>
                <a:gd name="connsiteY1503" fmla="*/ 420698 h 564157"/>
                <a:gd name="connsiteX1504" fmla="*/ 587020 w 1661191"/>
                <a:gd name="connsiteY1504" fmla="*/ 420698 h 564157"/>
                <a:gd name="connsiteX1505" fmla="*/ 593236 w 1661191"/>
                <a:gd name="connsiteY1505" fmla="*/ 422326 h 564157"/>
                <a:gd name="connsiteX1506" fmla="*/ 599502 w 1661191"/>
                <a:gd name="connsiteY1506" fmla="*/ 428790 h 564157"/>
                <a:gd name="connsiteX1507" fmla="*/ 605719 w 1661191"/>
                <a:gd name="connsiteY1507" fmla="*/ 428790 h 564157"/>
                <a:gd name="connsiteX1508" fmla="*/ 611985 w 1661191"/>
                <a:gd name="connsiteY1508" fmla="*/ 433724 h 564157"/>
                <a:gd name="connsiteX1509" fmla="*/ 616130 w 1661191"/>
                <a:gd name="connsiteY1509" fmla="*/ 430517 h 564157"/>
                <a:gd name="connsiteX1510" fmla="*/ 626541 w 1661191"/>
                <a:gd name="connsiteY1510" fmla="*/ 430517 h 564157"/>
                <a:gd name="connsiteX1511" fmla="*/ 626541 w 1661191"/>
                <a:gd name="connsiteY1511" fmla="*/ 440385 h 564157"/>
                <a:gd name="connsiteX1512" fmla="*/ 632758 w 1661191"/>
                <a:gd name="connsiteY1512" fmla="*/ 446849 h 564157"/>
                <a:gd name="connsiteX1513" fmla="*/ 634879 w 1661191"/>
                <a:gd name="connsiteY1513" fmla="*/ 451783 h 564157"/>
                <a:gd name="connsiteX1514" fmla="*/ 639023 w 1661191"/>
                <a:gd name="connsiteY1514" fmla="*/ 456717 h 564157"/>
                <a:gd name="connsiteX1515" fmla="*/ 647363 w 1661191"/>
                <a:gd name="connsiteY1515" fmla="*/ 459973 h 564157"/>
                <a:gd name="connsiteX1516" fmla="*/ 655701 w 1661191"/>
                <a:gd name="connsiteY1516" fmla="*/ 458394 h 564157"/>
                <a:gd name="connsiteX1517" fmla="*/ 659846 w 1661191"/>
                <a:gd name="connsiteY1517" fmla="*/ 461601 h 564157"/>
                <a:gd name="connsiteX1518" fmla="*/ 666111 w 1661191"/>
                <a:gd name="connsiteY1518" fmla="*/ 459973 h 564157"/>
                <a:gd name="connsiteX1519" fmla="*/ 670256 w 1661191"/>
                <a:gd name="connsiteY1519" fmla="*/ 458394 h 564157"/>
                <a:gd name="connsiteX1520" fmla="*/ 676473 w 1661191"/>
                <a:gd name="connsiteY1520" fmla="*/ 458394 h 564157"/>
                <a:gd name="connsiteX1521" fmla="*/ 678545 w 1661191"/>
                <a:gd name="connsiteY1521" fmla="*/ 459973 h 564157"/>
                <a:gd name="connsiteX1522" fmla="*/ 684811 w 1661191"/>
                <a:gd name="connsiteY1522" fmla="*/ 461601 h 564157"/>
                <a:gd name="connsiteX1523" fmla="*/ 688956 w 1661191"/>
                <a:gd name="connsiteY1523" fmla="*/ 464809 h 564157"/>
                <a:gd name="connsiteX1524" fmla="*/ 686884 w 1661191"/>
                <a:gd name="connsiteY1524" fmla="*/ 477686 h 564157"/>
                <a:gd name="connsiteX1525" fmla="*/ 682739 w 1661191"/>
                <a:gd name="connsiteY1525" fmla="*/ 482620 h 564157"/>
                <a:gd name="connsiteX1526" fmla="*/ 686884 w 1661191"/>
                <a:gd name="connsiteY1526" fmla="*/ 484199 h 564157"/>
                <a:gd name="connsiteX1527" fmla="*/ 688956 w 1661191"/>
                <a:gd name="connsiteY1527" fmla="*/ 494067 h 564157"/>
                <a:gd name="connsiteX1528" fmla="*/ 684811 w 1661191"/>
                <a:gd name="connsiteY1528" fmla="*/ 495696 h 564157"/>
                <a:gd name="connsiteX1529" fmla="*/ 678545 w 1661191"/>
                <a:gd name="connsiteY1529" fmla="*/ 490762 h 564157"/>
                <a:gd name="connsiteX1530" fmla="*/ 670404 w 1661191"/>
                <a:gd name="connsiteY1530" fmla="*/ 490762 h 564157"/>
                <a:gd name="connsiteX1531" fmla="*/ 662066 w 1661191"/>
                <a:gd name="connsiteY1531" fmla="*/ 484298 h 564157"/>
                <a:gd name="connsiteX1532" fmla="*/ 653728 w 1661191"/>
                <a:gd name="connsiteY1532" fmla="*/ 482719 h 564157"/>
                <a:gd name="connsiteX1533" fmla="*/ 647511 w 1661191"/>
                <a:gd name="connsiteY1533" fmla="*/ 476256 h 564157"/>
                <a:gd name="connsiteX1534" fmla="*/ 643316 w 1661191"/>
                <a:gd name="connsiteY1534" fmla="*/ 476256 h 564157"/>
                <a:gd name="connsiteX1535" fmla="*/ 632905 w 1661191"/>
                <a:gd name="connsiteY1535" fmla="*/ 481190 h 564157"/>
                <a:gd name="connsiteX1536" fmla="*/ 620471 w 1661191"/>
                <a:gd name="connsiteY1536" fmla="*/ 481190 h 564157"/>
                <a:gd name="connsiteX1537" fmla="*/ 612133 w 1661191"/>
                <a:gd name="connsiteY1537" fmla="*/ 476256 h 564157"/>
                <a:gd name="connsiteX1538" fmla="*/ 601723 w 1661191"/>
                <a:gd name="connsiteY1538" fmla="*/ 474677 h 564157"/>
                <a:gd name="connsiteX1539" fmla="*/ 593383 w 1661191"/>
                <a:gd name="connsiteY1539" fmla="*/ 481091 h 564157"/>
                <a:gd name="connsiteX1540" fmla="*/ 585095 w 1661191"/>
                <a:gd name="connsiteY1540" fmla="*/ 476157 h 564157"/>
                <a:gd name="connsiteX1541" fmla="*/ 572562 w 1661191"/>
                <a:gd name="connsiteY1541" fmla="*/ 474578 h 564157"/>
                <a:gd name="connsiteX1542" fmla="*/ 564273 w 1661191"/>
                <a:gd name="connsiteY1542" fmla="*/ 477785 h 564157"/>
                <a:gd name="connsiteX1543" fmla="*/ 545524 w 1661191"/>
                <a:gd name="connsiteY1543" fmla="*/ 472851 h 564157"/>
                <a:gd name="connsiteX1544" fmla="*/ 528896 w 1661191"/>
                <a:gd name="connsiteY1544" fmla="*/ 462983 h 564157"/>
                <a:gd name="connsiteX1545" fmla="*/ 516413 w 1661191"/>
                <a:gd name="connsiteY1545" fmla="*/ 462983 h 564157"/>
                <a:gd name="connsiteX1546" fmla="*/ 508075 w 1661191"/>
                <a:gd name="connsiteY1546" fmla="*/ 458049 h 564157"/>
                <a:gd name="connsiteX1547" fmla="*/ 503930 w 1661191"/>
                <a:gd name="connsiteY1547" fmla="*/ 458049 h 564157"/>
                <a:gd name="connsiteX1548" fmla="*/ 499736 w 1661191"/>
                <a:gd name="connsiteY1548" fmla="*/ 462983 h 564157"/>
                <a:gd name="connsiteX1549" fmla="*/ 491397 w 1661191"/>
                <a:gd name="connsiteY1549" fmla="*/ 461404 h 564157"/>
                <a:gd name="connsiteX1550" fmla="*/ 487252 w 1661191"/>
                <a:gd name="connsiteY1550" fmla="*/ 456470 h 564157"/>
                <a:gd name="connsiteX1551" fmla="*/ 481037 w 1661191"/>
                <a:gd name="connsiteY1551" fmla="*/ 456470 h 564157"/>
                <a:gd name="connsiteX1552" fmla="*/ 474770 w 1661191"/>
                <a:gd name="connsiteY1552" fmla="*/ 462934 h 564157"/>
                <a:gd name="connsiteX1553" fmla="*/ 458142 w 1661191"/>
                <a:gd name="connsiteY1553" fmla="*/ 459726 h 564157"/>
                <a:gd name="connsiteX1554" fmla="*/ 447732 w 1661191"/>
                <a:gd name="connsiteY1554" fmla="*/ 451684 h 564157"/>
                <a:gd name="connsiteX1555" fmla="*/ 437320 w 1661191"/>
                <a:gd name="connsiteY1555" fmla="*/ 451684 h 564157"/>
                <a:gd name="connsiteX1556" fmla="*/ 431054 w 1661191"/>
                <a:gd name="connsiteY1556" fmla="*/ 448477 h 564157"/>
                <a:gd name="connsiteX1557" fmla="*/ 424837 w 1661191"/>
                <a:gd name="connsiteY1557" fmla="*/ 451684 h 564157"/>
                <a:gd name="connsiteX1558" fmla="*/ 416499 w 1661191"/>
                <a:gd name="connsiteY1558" fmla="*/ 450056 h 564157"/>
                <a:gd name="connsiteX1559" fmla="*/ 408210 w 1661191"/>
                <a:gd name="connsiteY1559" fmla="*/ 448477 h 564157"/>
                <a:gd name="connsiteX1560" fmla="*/ 404016 w 1661191"/>
                <a:gd name="connsiteY1560" fmla="*/ 445220 h 564157"/>
                <a:gd name="connsiteX1561" fmla="*/ 408210 w 1661191"/>
                <a:gd name="connsiteY1561" fmla="*/ 438806 h 564157"/>
                <a:gd name="connsiteX1562" fmla="*/ 412305 w 1661191"/>
                <a:gd name="connsiteY1562" fmla="*/ 435599 h 564157"/>
                <a:gd name="connsiteX1563" fmla="*/ 408210 w 1661191"/>
                <a:gd name="connsiteY1563" fmla="*/ 435599 h 564157"/>
                <a:gd name="connsiteX1564" fmla="*/ 401944 w 1661191"/>
                <a:gd name="connsiteY1564" fmla="*/ 437178 h 564157"/>
                <a:gd name="connsiteX1565" fmla="*/ 397749 w 1661191"/>
                <a:gd name="connsiteY1565" fmla="*/ 435599 h 564157"/>
                <a:gd name="connsiteX1566" fmla="*/ 395678 w 1661191"/>
                <a:gd name="connsiteY1566" fmla="*/ 429135 h 564157"/>
                <a:gd name="connsiteX1567" fmla="*/ 387338 w 1661191"/>
                <a:gd name="connsiteY1567" fmla="*/ 432343 h 564157"/>
                <a:gd name="connsiteX1568" fmla="*/ 372783 w 1661191"/>
                <a:gd name="connsiteY1568" fmla="*/ 432343 h 564157"/>
                <a:gd name="connsiteX1569" fmla="*/ 368639 w 1661191"/>
                <a:gd name="connsiteY1569" fmla="*/ 429135 h 564157"/>
                <a:gd name="connsiteX1570" fmla="*/ 366566 w 1661191"/>
                <a:gd name="connsiteY1570" fmla="*/ 425928 h 564157"/>
                <a:gd name="connsiteX1571" fmla="*/ 319841 w 1661191"/>
                <a:gd name="connsiteY1571" fmla="*/ 191216 h 564157"/>
                <a:gd name="connsiteX1572" fmla="*/ 326058 w 1661191"/>
                <a:gd name="connsiteY1572" fmla="*/ 194423 h 564157"/>
                <a:gd name="connsiteX1573" fmla="*/ 330252 w 1661191"/>
                <a:gd name="connsiteY1573" fmla="*/ 188009 h 564157"/>
                <a:gd name="connsiteX1574" fmla="*/ 328130 w 1661191"/>
                <a:gd name="connsiteY1574" fmla="*/ 183075 h 564157"/>
                <a:gd name="connsiteX1575" fmla="*/ 336469 w 1661191"/>
                <a:gd name="connsiteY1575" fmla="*/ 186282 h 564157"/>
                <a:gd name="connsiteX1576" fmla="*/ 334396 w 1661191"/>
                <a:gd name="connsiteY1576" fmla="*/ 191216 h 564157"/>
                <a:gd name="connsiteX1577" fmla="*/ 340613 w 1661191"/>
                <a:gd name="connsiteY1577" fmla="*/ 194423 h 564157"/>
                <a:gd name="connsiteX1578" fmla="*/ 342686 w 1661191"/>
                <a:gd name="connsiteY1578" fmla="*/ 200887 h 564157"/>
                <a:gd name="connsiteX1579" fmla="*/ 348952 w 1661191"/>
                <a:gd name="connsiteY1579" fmla="*/ 199259 h 564157"/>
                <a:gd name="connsiteX1580" fmla="*/ 351024 w 1661191"/>
                <a:gd name="connsiteY1580" fmla="*/ 191216 h 564157"/>
                <a:gd name="connsiteX1581" fmla="*/ 346879 w 1661191"/>
                <a:gd name="connsiteY1581" fmla="*/ 188009 h 564157"/>
                <a:gd name="connsiteX1582" fmla="*/ 348952 w 1661191"/>
                <a:gd name="connsiteY1582" fmla="*/ 183075 h 564157"/>
                <a:gd name="connsiteX1583" fmla="*/ 344758 w 1661191"/>
                <a:gd name="connsiteY1583" fmla="*/ 183075 h 564157"/>
                <a:gd name="connsiteX1584" fmla="*/ 342637 w 1661191"/>
                <a:gd name="connsiteY1584" fmla="*/ 186282 h 564157"/>
                <a:gd name="connsiteX1585" fmla="*/ 497713 w 1661191"/>
                <a:gd name="connsiteY1585" fmla="*/ 265918 h 564157"/>
                <a:gd name="connsiteX1586" fmla="*/ 497713 w 1661191"/>
                <a:gd name="connsiteY1586" fmla="*/ 269125 h 564157"/>
                <a:gd name="connsiteX1587" fmla="*/ 503979 w 1661191"/>
                <a:gd name="connsiteY1587" fmla="*/ 270753 h 564157"/>
                <a:gd name="connsiteX1588" fmla="*/ 506051 w 1661191"/>
                <a:gd name="connsiteY1588" fmla="*/ 269125 h 564157"/>
                <a:gd name="connsiteX1589" fmla="*/ 501858 w 1661191"/>
                <a:gd name="connsiteY1589" fmla="*/ 265918 h 564157"/>
                <a:gd name="connsiteX1590" fmla="*/ 449853 w 1661191"/>
                <a:gd name="connsiteY1590" fmla="*/ 294880 h 564157"/>
                <a:gd name="connsiteX1591" fmla="*/ 451925 w 1661191"/>
                <a:gd name="connsiteY1591" fmla="*/ 299814 h 564157"/>
                <a:gd name="connsiteX1592" fmla="*/ 451925 w 1661191"/>
                <a:gd name="connsiteY1592" fmla="*/ 303120 h 564157"/>
                <a:gd name="connsiteX1593" fmla="*/ 445708 w 1661191"/>
                <a:gd name="connsiteY1593" fmla="*/ 304699 h 564157"/>
                <a:gd name="connsiteX1594" fmla="*/ 443636 w 1661191"/>
                <a:gd name="connsiteY1594" fmla="*/ 307906 h 564157"/>
                <a:gd name="connsiteX1595" fmla="*/ 447780 w 1661191"/>
                <a:gd name="connsiteY1595" fmla="*/ 307906 h 564157"/>
                <a:gd name="connsiteX1596" fmla="*/ 447780 w 1661191"/>
                <a:gd name="connsiteY1596" fmla="*/ 306327 h 564157"/>
                <a:gd name="connsiteX1597" fmla="*/ 451925 w 1661191"/>
                <a:gd name="connsiteY1597" fmla="*/ 304699 h 564157"/>
                <a:gd name="connsiteX1598" fmla="*/ 451925 w 1661191"/>
                <a:gd name="connsiteY1598" fmla="*/ 312791 h 564157"/>
                <a:gd name="connsiteX1599" fmla="*/ 458191 w 1661191"/>
                <a:gd name="connsiteY1599" fmla="*/ 317725 h 564157"/>
                <a:gd name="connsiteX1600" fmla="*/ 464408 w 1661191"/>
                <a:gd name="connsiteY1600" fmla="*/ 309683 h 564157"/>
                <a:gd name="connsiteX1601" fmla="*/ 468603 w 1661191"/>
                <a:gd name="connsiteY1601" fmla="*/ 314617 h 564157"/>
                <a:gd name="connsiteX1602" fmla="*/ 472747 w 1661191"/>
                <a:gd name="connsiteY1602" fmla="*/ 314617 h 564157"/>
                <a:gd name="connsiteX1603" fmla="*/ 474820 w 1661191"/>
                <a:gd name="connsiteY1603" fmla="*/ 311409 h 564157"/>
                <a:gd name="connsiteX1604" fmla="*/ 481085 w 1661191"/>
                <a:gd name="connsiteY1604" fmla="*/ 308153 h 564157"/>
                <a:gd name="connsiteX1605" fmla="*/ 479013 w 1661191"/>
                <a:gd name="connsiteY1605" fmla="*/ 303219 h 564157"/>
                <a:gd name="connsiteX1606" fmla="*/ 466480 w 1661191"/>
                <a:gd name="connsiteY1606" fmla="*/ 295127 h 564157"/>
                <a:gd name="connsiteX1607" fmla="*/ 454046 w 1661191"/>
                <a:gd name="connsiteY1607" fmla="*/ 293548 h 564157"/>
                <a:gd name="connsiteX1608" fmla="*/ 426959 w 1661191"/>
                <a:gd name="connsiteY1608" fmla="*/ 306179 h 564157"/>
                <a:gd name="connsiteX1609" fmla="*/ 424887 w 1661191"/>
                <a:gd name="connsiteY1609" fmla="*/ 311113 h 564157"/>
                <a:gd name="connsiteX1610" fmla="*/ 431104 w 1661191"/>
                <a:gd name="connsiteY1610" fmla="*/ 307857 h 564157"/>
                <a:gd name="connsiteX1611" fmla="*/ 374955 w 1661191"/>
                <a:gd name="connsiteY1611" fmla="*/ 267546 h 564157"/>
                <a:gd name="connsiteX1612" fmla="*/ 374955 w 1661191"/>
                <a:gd name="connsiteY1612" fmla="*/ 272480 h 564157"/>
                <a:gd name="connsiteX1613" fmla="*/ 368688 w 1661191"/>
                <a:gd name="connsiteY1613" fmla="*/ 275736 h 564157"/>
                <a:gd name="connsiteX1614" fmla="*/ 372832 w 1661191"/>
                <a:gd name="connsiteY1614" fmla="*/ 282151 h 564157"/>
                <a:gd name="connsiteX1615" fmla="*/ 385316 w 1661191"/>
                <a:gd name="connsiteY1615" fmla="*/ 282151 h 564157"/>
                <a:gd name="connsiteX1616" fmla="*/ 389510 w 1661191"/>
                <a:gd name="connsiteY1616" fmla="*/ 285358 h 564157"/>
                <a:gd name="connsiteX1617" fmla="*/ 389510 w 1661191"/>
                <a:gd name="connsiteY1617" fmla="*/ 291821 h 564157"/>
                <a:gd name="connsiteX1618" fmla="*/ 393654 w 1661191"/>
                <a:gd name="connsiteY1618" fmla="*/ 293449 h 564157"/>
                <a:gd name="connsiteX1619" fmla="*/ 395727 w 1661191"/>
                <a:gd name="connsiteY1619" fmla="*/ 301492 h 564157"/>
                <a:gd name="connsiteX1620" fmla="*/ 404065 w 1661191"/>
                <a:gd name="connsiteY1620" fmla="*/ 306426 h 564157"/>
                <a:gd name="connsiteX1621" fmla="*/ 410331 w 1661191"/>
                <a:gd name="connsiteY1621" fmla="*/ 306426 h 564157"/>
                <a:gd name="connsiteX1622" fmla="*/ 412354 w 1661191"/>
                <a:gd name="connsiteY1622" fmla="*/ 311360 h 564157"/>
                <a:gd name="connsiteX1623" fmla="*/ 416548 w 1661191"/>
                <a:gd name="connsiteY1623" fmla="*/ 314567 h 564157"/>
                <a:gd name="connsiteX1624" fmla="*/ 420692 w 1661191"/>
                <a:gd name="connsiteY1624" fmla="*/ 309633 h 564157"/>
                <a:gd name="connsiteX1625" fmla="*/ 418670 w 1661191"/>
                <a:gd name="connsiteY1625" fmla="*/ 303219 h 564157"/>
                <a:gd name="connsiteX1626" fmla="*/ 420692 w 1661191"/>
                <a:gd name="connsiteY1626" fmla="*/ 295127 h 564157"/>
                <a:gd name="connsiteX1627" fmla="*/ 410331 w 1661191"/>
                <a:gd name="connsiteY1627" fmla="*/ 293548 h 564157"/>
                <a:gd name="connsiteX1628" fmla="*/ 401993 w 1661191"/>
                <a:gd name="connsiteY1628" fmla="*/ 285456 h 564157"/>
                <a:gd name="connsiteX1629" fmla="*/ 399920 w 1661191"/>
                <a:gd name="connsiteY1629" fmla="*/ 272579 h 564157"/>
                <a:gd name="connsiteX1630" fmla="*/ 395727 w 1661191"/>
                <a:gd name="connsiteY1630" fmla="*/ 269371 h 564157"/>
                <a:gd name="connsiteX1631" fmla="*/ 395727 w 1661191"/>
                <a:gd name="connsiteY1631" fmla="*/ 264437 h 564157"/>
                <a:gd name="connsiteX1632" fmla="*/ 389510 w 1661191"/>
                <a:gd name="connsiteY1632" fmla="*/ 262859 h 564157"/>
                <a:gd name="connsiteX1633" fmla="*/ 385316 w 1661191"/>
                <a:gd name="connsiteY1633" fmla="*/ 262859 h 564157"/>
                <a:gd name="connsiteX1634" fmla="*/ 387387 w 1661191"/>
                <a:gd name="connsiteY1634" fmla="*/ 267793 h 564157"/>
                <a:gd name="connsiteX1635" fmla="*/ 389510 w 1661191"/>
                <a:gd name="connsiteY1635" fmla="*/ 272727 h 564157"/>
                <a:gd name="connsiteX1636" fmla="*/ 381171 w 1661191"/>
                <a:gd name="connsiteY1636" fmla="*/ 269519 h 564157"/>
                <a:gd name="connsiteX1637" fmla="*/ 376977 w 1661191"/>
                <a:gd name="connsiteY1637" fmla="*/ 266312 h 564157"/>
                <a:gd name="connsiteX1638" fmla="*/ 339577 w 1661191"/>
                <a:gd name="connsiteY1638" fmla="*/ 228863 h 564157"/>
                <a:gd name="connsiteX1639" fmla="*/ 337456 w 1661191"/>
                <a:gd name="connsiteY1639" fmla="*/ 233797 h 564157"/>
                <a:gd name="connsiteX1640" fmla="*/ 341601 w 1661191"/>
                <a:gd name="connsiteY1640" fmla="*/ 238731 h 564157"/>
                <a:gd name="connsiteX1641" fmla="*/ 347866 w 1661191"/>
                <a:gd name="connsiteY1641" fmla="*/ 235524 h 564157"/>
                <a:gd name="connsiteX1642" fmla="*/ 345794 w 1661191"/>
                <a:gd name="connsiteY1642" fmla="*/ 229060 h 564157"/>
                <a:gd name="connsiteX1643" fmla="*/ 345794 w 1661191"/>
                <a:gd name="connsiteY1643" fmla="*/ 215985 h 564157"/>
                <a:gd name="connsiteX1644" fmla="*/ 341601 w 1661191"/>
                <a:gd name="connsiteY1644" fmla="*/ 220919 h 564157"/>
                <a:gd name="connsiteX1645" fmla="*/ 345794 w 1661191"/>
                <a:gd name="connsiteY1645" fmla="*/ 225853 h 564157"/>
                <a:gd name="connsiteX1646" fmla="*/ 352011 w 1661191"/>
                <a:gd name="connsiteY1646" fmla="*/ 224274 h 564157"/>
                <a:gd name="connsiteX1647" fmla="*/ 360349 w 1661191"/>
                <a:gd name="connsiteY1647" fmla="*/ 227481 h 564157"/>
                <a:gd name="connsiteX1648" fmla="*/ 362422 w 1661191"/>
                <a:gd name="connsiteY1648" fmla="*/ 225853 h 564157"/>
                <a:gd name="connsiteX1649" fmla="*/ 352011 w 1661191"/>
                <a:gd name="connsiteY1649" fmla="*/ 215985 h 564157"/>
                <a:gd name="connsiteX1650" fmla="*/ 275040 w 1661191"/>
                <a:gd name="connsiteY1650" fmla="*/ 174144 h 564157"/>
                <a:gd name="connsiteX1651" fmla="*/ 268823 w 1661191"/>
                <a:gd name="connsiteY1651" fmla="*/ 182187 h 564157"/>
                <a:gd name="connsiteX1652" fmla="*/ 270846 w 1661191"/>
                <a:gd name="connsiteY1652" fmla="*/ 187121 h 564157"/>
                <a:gd name="connsiteX1653" fmla="*/ 283379 w 1661191"/>
                <a:gd name="connsiteY1653" fmla="*/ 188749 h 564157"/>
                <a:gd name="connsiteX1654" fmla="*/ 291668 w 1661191"/>
                <a:gd name="connsiteY1654" fmla="*/ 191956 h 564157"/>
                <a:gd name="connsiteX1655" fmla="*/ 293789 w 1661191"/>
                <a:gd name="connsiteY1655" fmla="*/ 190328 h 564157"/>
                <a:gd name="connsiteX1656" fmla="*/ 291668 w 1661191"/>
                <a:gd name="connsiteY1656" fmla="*/ 182286 h 564157"/>
                <a:gd name="connsiteX1657" fmla="*/ 283379 w 1661191"/>
                <a:gd name="connsiteY1657" fmla="*/ 175872 h 564157"/>
                <a:gd name="connsiteX1658" fmla="*/ 254219 w 1661191"/>
                <a:gd name="connsiteY1658" fmla="*/ 164276 h 564157"/>
                <a:gd name="connsiteX1659" fmla="*/ 258412 w 1661191"/>
                <a:gd name="connsiteY1659" fmla="*/ 164276 h 564157"/>
                <a:gd name="connsiteX1660" fmla="*/ 266702 w 1661191"/>
                <a:gd name="connsiteY1660" fmla="*/ 167484 h 564157"/>
                <a:gd name="connsiteX1661" fmla="*/ 270846 w 1661191"/>
                <a:gd name="connsiteY1661" fmla="*/ 172418 h 564157"/>
                <a:gd name="connsiteX1662" fmla="*/ 266702 w 1661191"/>
                <a:gd name="connsiteY1662" fmla="*/ 178881 h 564157"/>
                <a:gd name="connsiteX1663" fmla="*/ 262557 w 1661191"/>
                <a:gd name="connsiteY1663" fmla="*/ 175674 h 564157"/>
                <a:gd name="connsiteX1664" fmla="*/ 229252 w 1661191"/>
                <a:gd name="connsiteY1664" fmla="*/ 149721 h 564157"/>
                <a:gd name="connsiteX1665" fmla="*/ 233446 w 1661191"/>
                <a:gd name="connsiteY1665" fmla="*/ 159589 h 564157"/>
                <a:gd name="connsiteX1666" fmla="*/ 239663 w 1661191"/>
                <a:gd name="connsiteY1666" fmla="*/ 158010 h 564157"/>
                <a:gd name="connsiteX1667" fmla="*/ 245880 w 1661191"/>
                <a:gd name="connsiteY1667" fmla="*/ 151547 h 564157"/>
                <a:gd name="connsiteX1668" fmla="*/ 239663 w 1661191"/>
                <a:gd name="connsiteY1668" fmla="*/ 145132 h 564157"/>
                <a:gd name="connsiteX1669" fmla="*/ 235469 w 1661191"/>
                <a:gd name="connsiteY1669" fmla="*/ 148340 h 564157"/>
                <a:gd name="connsiteX1670" fmla="*/ 254219 w 1661191"/>
                <a:gd name="connsiteY1670" fmla="*/ 379993 h 564157"/>
                <a:gd name="connsiteX1671" fmla="*/ 262557 w 1661191"/>
                <a:gd name="connsiteY1671" fmla="*/ 386407 h 564157"/>
                <a:gd name="connsiteX1672" fmla="*/ 262557 w 1661191"/>
                <a:gd name="connsiteY1672" fmla="*/ 381473 h 564157"/>
                <a:gd name="connsiteX1673" fmla="*/ 258412 w 1661191"/>
                <a:gd name="connsiteY1673" fmla="*/ 378265 h 564157"/>
                <a:gd name="connsiteX1674" fmla="*/ 187461 w 1661191"/>
                <a:gd name="connsiteY1674" fmla="*/ 303120 h 564157"/>
                <a:gd name="connsiteX1675" fmla="*/ 183267 w 1661191"/>
                <a:gd name="connsiteY1675" fmla="*/ 309534 h 564157"/>
                <a:gd name="connsiteX1676" fmla="*/ 195750 w 1661191"/>
                <a:gd name="connsiteY1676" fmla="*/ 319402 h 564157"/>
                <a:gd name="connsiteX1677" fmla="*/ 193678 w 1661191"/>
                <a:gd name="connsiteY1677" fmla="*/ 312988 h 564157"/>
                <a:gd name="connsiteX1678" fmla="*/ 193678 w 1661191"/>
                <a:gd name="connsiteY1678" fmla="*/ 308054 h 564157"/>
                <a:gd name="connsiteX1679" fmla="*/ 177050 w 1661191"/>
                <a:gd name="connsiteY1679" fmla="*/ 296657 h 564157"/>
                <a:gd name="connsiteX1680" fmla="*/ 183267 w 1661191"/>
                <a:gd name="connsiteY1680" fmla="*/ 299913 h 564157"/>
                <a:gd name="connsiteX1681" fmla="*/ 177050 w 1661191"/>
                <a:gd name="connsiteY1681" fmla="*/ 304847 h 564157"/>
                <a:gd name="connsiteX1682" fmla="*/ 162248 w 1661191"/>
                <a:gd name="connsiteY1682" fmla="*/ 277365 h 564157"/>
                <a:gd name="connsiteX1683" fmla="*/ 160126 w 1661191"/>
                <a:gd name="connsiteY1683" fmla="*/ 280572 h 564157"/>
                <a:gd name="connsiteX1684" fmla="*/ 164271 w 1661191"/>
                <a:gd name="connsiteY1684" fmla="*/ 285506 h 564157"/>
                <a:gd name="connsiteX1685" fmla="*/ 170537 w 1661191"/>
                <a:gd name="connsiteY1685" fmla="*/ 288762 h 564157"/>
                <a:gd name="connsiteX1686" fmla="*/ 122776 w 1661191"/>
                <a:gd name="connsiteY1686" fmla="*/ 249981 h 564157"/>
                <a:gd name="connsiteX1687" fmla="*/ 122776 w 1661191"/>
                <a:gd name="connsiteY1687" fmla="*/ 254915 h 564157"/>
                <a:gd name="connsiteX1688" fmla="*/ 131114 w 1661191"/>
                <a:gd name="connsiteY1688" fmla="*/ 256494 h 564157"/>
                <a:gd name="connsiteX1689" fmla="*/ 141525 w 1661191"/>
                <a:gd name="connsiteY1689" fmla="*/ 269371 h 564157"/>
                <a:gd name="connsiteX1690" fmla="*/ 149814 w 1661191"/>
                <a:gd name="connsiteY1690" fmla="*/ 271000 h 564157"/>
                <a:gd name="connsiteX1691" fmla="*/ 149814 w 1661191"/>
                <a:gd name="connsiteY1691" fmla="*/ 259750 h 564157"/>
                <a:gd name="connsiteX1692" fmla="*/ 139403 w 1661191"/>
                <a:gd name="connsiteY1692" fmla="*/ 246872 h 564157"/>
                <a:gd name="connsiteX1693" fmla="*/ 131114 w 1661191"/>
                <a:gd name="connsiteY1693" fmla="*/ 245244 h 564157"/>
                <a:gd name="connsiteX1694" fmla="*/ 118631 w 1661191"/>
                <a:gd name="connsiteY1694" fmla="*/ 227432 h 564157"/>
                <a:gd name="connsiteX1695" fmla="*/ 114437 w 1661191"/>
                <a:gd name="connsiteY1695" fmla="*/ 233896 h 564157"/>
                <a:gd name="connsiteX1696" fmla="*/ 118631 w 1661191"/>
                <a:gd name="connsiteY1696" fmla="*/ 237103 h 564157"/>
                <a:gd name="connsiteX1697" fmla="*/ 124848 w 1661191"/>
                <a:gd name="connsiteY1697" fmla="*/ 233896 h 564157"/>
                <a:gd name="connsiteX1698" fmla="*/ 124848 w 1661191"/>
                <a:gd name="connsiteY1698" fmla="*/ 228962 h 564157"/>
                <a:gd name="connsiteX1699" fmla="*/ 122726 w 1661191"/>
                <a:gd name="connsiteY1699" fmla="*/ 209374 h 564157"/>
                <a:gd name="connsiteX1700" fmla="*/ 133137 w 1661191"/>
                <a:gd name="connsiteY1700" fmla="*/ 209374 h 564157"/>
                <a:gd name="connsiteX1701" fmla="*/ 135210 w 1661191"/>
                <a:gd name="connsiteY1701" fmla="*/ 211002 h 564157"/>
                <a:gd name="connsiteX1702" fmla="*/ 135210 w 1661191"/>
                <a:gd name="connsiteY1702" fmla="*/ 207745 h 564157"/>
                <a:gd name="connsiteX1703" fmla="*/ 126920 w 1661191"/>
                <a:gd name="connsiteY1703" fmla="*/ 204538 h 564157"/>
                <a:gd name="connsiteX1704" fmla="*/ 72794 w 1661191"/>
                <a:gd name="connsiteY1704" fmla="*/ 167533 h 564157"/>
                <a:gd name="connsiteX1705" fmla="*/ 79011 w 1661191"/>
                <a:gd name="connsiteY1705" fmla="*/ 167533 h 564157"/>
                <a:gd name="connsiteX1706" fmla="*/ 83205 w 1661191"/>
                <a:gd name="connsiteY1706" fmla="*/ 164326 h 564157"/>
                <a:gd name="connsiteX1707" fmla="*/ 87349 w 1661191"/>
                <a:gd name="connsiteY1707" fmla="*/ 165905 h 564157"/>
                <a:gd name="connsiteX1708" fmla="*/ 93566 w 1661191"/>
                <a:gd name="connsiteY1708" fmla="*/ 175773 h 564157"/>
                <a:gd name="connsiteX1709" fmla="*/ 101905 w 1661191"/>
                <a:gd name="connsiteY1709" fmla="*/ 180707 h 564157"/>
                <a:gd name="connsiteX1710" fmla="*/ 99832 w 1661191"/>
                <a:gd name="connsiteY1710" fmla="*/ 185641 h 564157"/>
                <a:gd name="connsiteX1711" fmla="*/ 97760 w 1661191"/>
                <a:gd name="connsiteY1711" fmla="*/ 193733 h 564157"/>
                <a:gd name="connsiteX1712" fmla="*/ 93566 w 1661191"/>
                <a:gd name="connsiteY1712" fmla="*/ 193733 h 564157"/>
                <a:gd name="connsiteX1713" fmla="*/ 87349 w 1661191"/>
                <a:gd name="connsiteY1713" fmla="*/ 183865 h 564157"/>
                <a:gd name="connsiteX1714" fmla="*/ 83205 w 1661191"/>
                <a:gd name="connsiteY1714" fmla="*/ 182236 h 564157"/>
                <a:gd name="connsiteX1715" fmla="*/ 81132 w 1661191"/>
                <a:gd name="connsiteY1715" fmla="*/ 175822 h 564157"/>
                <a:gd name="connsiteX1716" fmla="*/ 72794 w 1661191"/>
                <a:gd name="connsiteY1716" fmla="*/ 144984 h 564157"/>
                <a:gd name="connsiteX1717" fmla="*/ 81132 w 1661191"/>
                <a:gd name="connsiteY1717" fmla="*/ 146563 h 564157"/>
                <a:gd name="connsiteX1718" fmla="*/ 76938 w 1661191"/>
                <a:gd name="connsiteY1718" fmla="*/ 143356 h 564157"/>
                <a:gd name="connsiteX1719" fmla="*/ 22812 w 1661191"/>
                <a:gd name="connsiteY1719" fmla="*/ 117601 h 564157"/>
                <a:gd name="connsiteX1720" fmla="*/ 20740 w 1661191"/>
                <a:gd name="connsiteY1720" fmla="*/ 120808 h 564157"/>
                <a:gd name="connsiteX1721" fmla="*/ 18668 w 1661191"/>
                <a:gd name="connsiteY1721" fmla="*/ 124015 h 564157"/>
                <a:gd name="connsiteX1722" fmla="*/ 24885 w 1661191"/>
                <a:gd name="connsiteY1722" fmla="*/ 127222 h 564157"/>
                <a:gd name="connsiteX1723" fmla="*/ 33223 w 1661191"/>
                <a:gd name="connsiteY1723" fmla="*/ 127222 h 564157"/>
                <a:gd name="connsiteX1724" fmla="*/ 29078 w 1661191"/>
                <a:gd name="connsiteY1724" fmla="*/ 120808 h 564157"/>
                <a:gd name="connsiteX1725" fmla="*/ 2040 w 1661191"/>
                <a:gd name="connsiteY1725" fmla="*/ 30663 h 564157"/>
                <a:gd name="connsiteX1726" fmla="*/ -82 w 1661191"/>
                <a:gd name="connsiteY1726" fmla="*/ 33870 h 564157"/>
                <a:gd name="connsiteX1727" fmla="*/ 2040 w 1661191"/>
                <a:gd name="connsiteY1727" fmla="*/ 43738 h 564157"/>
                <a:gd name="connsiteX1728" fmla="*/ 12451 w 1661191"/>
                <a:gd name="connsiteY1728" fmla="*/ 59823 h 564157"/>
                <a:gd name="connsiteX1729" fmla="*/ 16595 w 1661191"/>
                <a:gd name="connsiteY1729" fmla="*/ 63079 h 564157"/>
                <a:gd name="connsiteX1730" fmla="*/ 33223 w 1661191"/>
                <a:gd name="connsiteY1730" fmla="*/ 77536 h 564157"/>
                <a:gd name="connsiteX1731" fmla="*/ 37417 w 1661191"/>
                <a:gd name="connsiteY1731" fmla="*/ 77536 h 564157"/>
                <a:gd name="connsiteX1732" fmla="*/ 47827 w 1661191"/>
                <a:gd name="connsiteY1732" fmla="*/ 87404 h 564157"/>
                <a:gd name="connsiteX1733" fmla="*/ 51972 w 1661191"/>
                <a:gd name="connsiteY1733" fmla="*/ 89032 h 564157"/>
                <a:gd name="connsiteX1734" fmla="*/ 58189 w 1661191"/>
                <a:gd name="connsiteY1734" fmla="*/ 87404 h 564157"/>
                <a:gd name="connsiteX1735" fmla="*/ 68600 w 1661191"/>
                <a:gd name="connsiteY1735" fmla="*/ 95447 h 564157"/>
                <a:gd name="connsiteX1736" fmla="*/ 81132 w 1661191"/>
                <a:gd name="connsiteY1736" fmla="*/ 113160 h 564157"/>
                <a:gd name="connsiteX1737" fmla="*/ 93566 w 1661191"/>
                <a:gd name="connsiteY1737" fmla="*/ 124410 h 564157"/>
                <a:gd name="connsiteX1738" fmla="*/ 97760 w 1661191"/>
                <a:gd name="connsiteY1738" fmla="*/ 124410 h 564157"/>
                <a:gd name="connsiteX1739" fmla="*/ 97760 w 1661191"/>
                <a:gd name="connsiteY1739" fmla="*/ 132501 h 564157"/>
                <a:gd name="connsiteX1740" fmla="*/ 101905 w 1661191"/>
                <a:gd name="connsiteY1740" fmla="*/ 134080 h 564157"/>
                <a:gd name="connsiteX1741" fmla="*/ 101905 w 1661191"/>
                <a:gd name="connsiteY1741" fmla="*/ 142172 h 564157"/>
                <a:gd name="connsiteX1742" fmla="*/ 108171 w 1661191"/>
                <a:gd name="connsiteY1742" fmla="*/ 145379 h 564157"/>
                <a:gd name="connsiteX1743" fmla="*/ 114388 w 1661191"/>
                <a:gd name="connsiteY1743" fmla="*/ 145379 h 564157"/>
                <a:gd name="connsiteX1744" fmla="*/ 124799 w 1661191"/>
                <a:gd name="connsiteY1744" fmla="*/ 156629 h 564157"/>
                <a:gd name="connsiteX1745" fmla="*/ 128943 w 1661191"/>
                <a:gd name="connsiteY1745" fmla="*/ 158257 h 564157"/>
                <a:gd name="connsiteX1746" fmla="*/ 133137 w 1661191"/>
                <a:gd name="connsiteY1746" fmla="*/ 158257 h 564157"/>
                <a:gd name="connsiteX1747" fmla="*/ 135210 w 1661191"/>
                <a:gd name="connsiteY1747" fmla="*/ 161464 h 564157"/>
                <a:gd name="connsiteX1748" fmla="*/ 131065 w 1661191"/>
                <a:gd name="connsiteY1748" fmla="*/ 166398 h 564157"/>
                <a:gd name="connsiteX1749" fmla="*/ 137282 w 1661191"/>
                <a:gd name="connsiteY1749" fmla="*/ 169605 h 564157"/>
                <a:gd name="connsiteX1750" fmla="*/ 139354 w 1661191"/>
                <a:gd name="connsiteY1750" fmla="*/ 177697 h 564157"/>
                <a:gd name="connsiteX1751" fmla="*/ 139354 w 1661191"/>
                <a:gd name="connsiteY1751" fmla="*/ 179276 h 564157"/>
                <a:gd name="connsiteX1752" fmla="*/ 147693 w 1661191"/>
                <a:gd name="connsiteY1752" fmla="*/ 196989 h 564157"/>
                <a:gd name="connsiteX1753" fmla="*/ 149765 w 1661191"/>
                <a:gd name="connsiteY1753" fmla="*/ 205032 h 564157"/>
                <a:gd name="connsiteX1754" fmla="*/ 160176 w 1661191"/>
                <a:gd name="connsiteY1754" fmla="*/ 208239 h 564157"/>
                <a:gd name="connsiteX1755" fmla="*/ 170586 w 1661191"/>
                <a:gd name="connsiteY1755" fmla="*/ 213173 h 564157"/>
                <a:gd name="connsiteX1756" fmla="*/ 170586 w 1661191"/>
                <a:gd name="connsiteY1756" fmla="*/ 219242 h 564157"/>
                <a:gd name="connsiteX1757" fmla="*/ 178925 w 1661191"/>
                <a:gd name="connsiteY1757" fmla="*/ 232169 h 564157"/>
                <a:gd name="connsiteX1758" fmla="*/ 187263 w 1661191"/>
                <a:gd name="connsiteY1758" fmla="*/ 237103 h 564157"/>
                <a:gd name="connsiteX1759" fmla="*/ 189336 w 1661191"/>
                <a:gd name="connsiteY1759" fmla="*/ 253188 h 564157"/>
                <a:gd name="connsiteX1760" fmla="*/ 201819 w 1661191"/>
                <a:gd name="connsiteY1760" fmla="*/ 274108 h 564157"/>
                <a:gd name="connsiteX1761" fmla="*/ 201819 w 1661191"/>
                <a:gd name="connsiteY1761" fmla="*/ 282151 h 564157"/>
                <a:gd name="connsiteX1762" fmla="*/ 205963 w 1661191"/>
                <a:gd name="connsiteY1762" fmla="*/ 290242 h 564157"/>
                <a:gd name="connsiteX1763" fmla="*/ 218447 w 1661191"/>
                <a:gd name="connsiteY1763" fmla="*/ 298236 h 564157"/>
                <a:gd name="connsiteX1764" fmla="*/ 230930 w 1661191"/>
                <a:gd name="connsiteY1764" fmla="*/ 312791 h 564157"/>
                <a:gd name="connsiteX1765" fmla="*/ 235074 w 1661191"/>
                <a:gd name="connsiteY1765" fmla="*/ 320784 h 564157"/>
                <a:gd name="connsiteX1766" fmla="*/ 245485 w 1661191"/>
                <a:gd name="connsiteY1766" fmla="*/ 322412 h 564157"/>
                <a:gd name="connsiteX1767" fmla="*/ 249679 w 1661191"/>
                <a:gd name="connsiteY1767" fmla="*/ 325669 h 564157"/>
                <a:gd name="connsiteX1768" fmla="*/ 258018 w 1661191"/>
                <a:gd name="connsiteY1768" fmla="*/ 330603 h 564157"/>
                <a:gd name="connsiteX1769" fmla="*/ 258018 w 1661191"/>
                <a:gd name="connsiteY1769" fmla="*/ 340471 h 564157"/>
                <a:gd name="connsiteX1770" fmla="*/ 266307 w 1661191"/>
                <a:gd name="connsiteY1770" fmla="*/ 343678 h 564157"/>
                <a:gd name="connsiteX1771" fmla="*/ 276717 w 1661191"/>
                <a:gd name="connsiteY1771" fmla="*/ 353546 h 564157"/>
                <a:gd name="connsiteX1772" fmla="*/ 291273 w 1661191"/>
                <a:gd name="connsiteY1772" fmla="*/ 361588 h 564157"/>
                <a:gd name="connsiteX1773" fmla="*/ 295467 w 1661191"/>
                <a:gd name="connsiteY1773" fmla="*/ 368052 h 564157"/>
                <a:gd name="connsiteX1774" fmla="*/ 305829 w 1661191"/>
                <a:gd name="connsiteY1774" fmla="*/ 371259 h 564157"/>
                <a:gd name="connsiteX1775" fmla="*/ 326650 w 1661191"/>
                <a:gd name="connsiteY1775" fmla="*/ 387344 h 564157"/>
                <a:gd name="connsiteX1776" fmla="*/ 328772 w 1661191"/>
                <a:gd name="connsiteY1776" fmla="*/ 393808 h 564157"/>
                <a:gd name="connsiteX1777" fmla="*/ 334989 w 1661191"/>
                <a:gd name="connsiteY1777" fmla="*/ 395436 h 564157"/>
                <a:gd name="connsiteX1778" fmla="*/ 339183 w 1661191"/>
                <a:gd name="connsiteY1778" fmla="*/ 401850 h 564157"/>
                <a:gd name="connsiteX1779" fmla="*/ 341206 w 1661191"/>
                <a:gd name="connsiteY1779" fmla="*/ 400222 h 564157"/>
                <a:gd name="connsiteX1780" fmla="*/ 341206 w 1661191"/>
                <a:gd name="connsiteY1780" fmla="*/ 393808 h 564157"/>
                <a:gd name="connsiteX1781" fmla="*/ 339183 w 1661191"/>
                <a:gd name="connsiteY1781" fmla="*/ 390601 h 564157"/>
                <a:gd name="connsiteX1782" fmla="*/ 339183 w 1661191"/>
                <a:gd name="connsiteY1782" fmla="*/ 387344 h 564157"/>
                <a:gd name="connsiteX1783" fmla="*/ 345399 w 1661191"/>
                <a:gd name="connsiteY1783" fmla="*/ 388973 h 564157"/>
                <a:gd name="connsiteX1784" fmla="*/ 359955 w 1661191"/>
                <a:gd name="connsiteY1784" fmla="*/ 400222 h 564157"/>
                <a:gd name="connsiteX1785" fmla="*/ 362027 w 1661191"/>
                <a:gd name="connsiteY1785" fmla="*/ 397015 h 564157"/>
                <a:gd name="connsiteX1786" fmla="*/ 364148 w 1661191"/>
                <a:gd name="connsiteY1786" fmla="*/ 388973 h 564157"/>
                <a:gd name="connsiteX1787" fmla="*/ 366221 w 1661191"/>
                <a:gd name="connsiteY1787" fmla="*/ 385765 h 564157"/>
                <a:gd name="connsiteX1788" fmla="*/ 372438 w 1661191"/>
                <a:gd name="connsiteY1788" fmla="*/ 387344 h 564157"/>
                <a:gd name="connsiteX1789" fmla="*/ 378704 w 1661191"/>
                <a:gd name="connsiteY1789" fmla="*/ 395436 h 564157"/>
                <a:gd name="connsiteX1790" fmla="*/ 382898 w 1661191"/>
                <a:gd name="connsiteY1790" fmla="*/ 397015 h 564157"/>
                <a:gd name="connsiteX1791" fmla="*/ 386994 w 1661191"/>
                <a:gd name="connsiteY1791" fmla="*/ 392081 h 564157"/>
                <a:gd name="connsiteX1792" fmla="*/ 386994 w 1661191"/>
                <a:gd name="connsiteY1792" fmla="*/ 379203 h 564157"/>
                <a:gd name="connsiteX1793" fmla="*/ 391187 w 1661191"/>
                <a:gd name="connsiteY1793" fmla="*/ 361441 h 564157"/>
                <a:gd name="connsiteX1794" fmla="*/ 386994 w 1661191"/>
                <a:gd name="connsiteY1794" fmla="*/ 350191 h 564157"/>
                <a:gd name="connsiteX1795" fmla="*/ 393260 w 1661191"/>
                <a:gd name="connsiteY1795" fmla="*/ 338892 h 564157"/>
                <a:gd name="connsiteX1796" fmla="*/ 389115 w 1661191"/>
                <a:gd name="connsiteY1796" fmla="*/ 333958 h 564157"/>
                <a:gd name="connsiteX1797" fmla="*/ 389115 w 1661191"/>
                <a:gd name="connsiteY1797" fmla="*/ 324090 h 564157"/>
                <a:gd name="connsiteX1798" fmla="*/ 395332 w 1661191"/>
                <a:gd name="connsiteY1798" fmla="*/ 320834 h 564157"/>
                <a:gd name="connsiteX1799" fmla="*/ 399526 w 1661191"/>
                <a:gd name="connsiteY1799" fmla="*/ 315900 h 564157"/>
                <a:gd name="connsiteX1800" fmla="*/ 397404 w 1661191"/>
                <a:gd name="connsiteY1800" fmla="*/ 310965 h 564157"/>
                <a:gd name="connsiteX1801" fmla="*/ 393260 w 1661191"/>
                <a:gd name="connsiteY1801" fmla="*/ 307709 h 564157"/>
                <a:gd name="connsiteX1802" fmla="*/ 386994 w 1661191"/>
                <a:gd name="connsiteY1802" fmla="*/ 304502 h 564157"/>
                <a:gd name="connsiteX1803" fmla="*/ 382898 w 1661191"/>
                <a:gd name="connsiteY1803" fmla="*/ 296459 h 564157"/>
                <a:gd name="connsiteX1804" fmla="*/ 378704 w 1661191"/>
                <a:gd name="connsiteY1804" fmla="*/ 294831 h 564157"/>
                <a:gd name="connsiteX1805" fmla="*/ 376582 w 1661191"/>
                <a:gd name="connsiteY1805" fmla="*/ 289897 h 564157"/>
                <a:gd name="connsiteX1806" fmla="*/ 370365 w 1661191"/>
                <a:gd name="connsiteY1806" fmla="*/ 286640 h 564157"/>
                <a:gd name="connsiteX1807" fmla="*/ 359955 w 1661191"/>
                <a:gd name="connsiteY1807" fmla="*/ 288269 h 564157"/>
                <a:gd name="connsiteX1808" fmla="*/ 351616 w 1661191"/>
                <a:gd name="connsiteY1808" fmla="*/ 286640 h 564157"/>
                <a:gd name="connsiteX1809" fmla="*/ 351616 w 1661191"/>
                <a:gd name="connsiteY1809" fmla="*/ 278598 h 564157"/>
                <a:gd name="connsiteX1810" fmla="*/ 345399 w 1661191"/>
                <a:gd name="connsiteY1810" fmla="*/ 272134 h 564157"/>
                <a:gd name="connsiteX1811" fmla="*/ 341206 w 1661191"/>
                <a:gd name="connsiteY1811" fmla="*/ 275391 h 564157"/>
                <a:gd name="connsiteX1812" fmla="*/ 345399 w 1661191"/>
                <a:gd name="connsiteY1812" fmla="*/ 268927 h 564157"/>
                <a:gd name="connsiteX1813" fmla="*/ 341206 w 1661191"/>
                <a:gd name="connsiteY1813" fmla="*/ 262513 h 564157"/>
                <a:gd name="connsiteX1814" fmla="*/ 341206 w 1661191"/>
                <a:gd name="connsiteY1814" fmla="*/ 246428 h 564157"/>
                <a:gd name="connsiteX1815" fmla="*/ 332917 w 1661191"/>
                <a:gd name="connsiteY1815" fmla="*/ 249635 h 564157"/>
                <a:gd name="connsiteX1816" fmla="*/ 328772 w 1661191"/>
                <a:gd name="connsiteY1816" fmla="*/ 246428 h 564157"/>
                <a:gd name="connsiteX1817" fmla="*/ 313970 w 1661191"/>
                <a:gd name="connsiteY1817" fmla="*/ 246428 h 564157"/>
                <a:gd name="connsiteX1818" fmla="*/ 301486 w 1661191"/>
                <a:gd name="connsiteY1818" fmla="*/ 239965 h 564157"/>
                <a:gd name="connsiteX1819" fmla="*/ 301486 w 1661191"/>
                <a:gd name="connsiteY1819" fmla="*/ 235031 h 564157"/>
                <a:gd name="connsiteX1820" fmla="*/ 309825 w 1661191"/>
                <a:gd name="connsiteY1820" fmla="*/ 231823 h 564157"/>
                <a:gd name="connsiteX1821" fmla="*/ 318164 w 1661191"/>
                <a:gd name="connsiteY1821" fmla="*/ 226889 h 564157"/>
                <a:gd name="connsiteX1822" fmla="*/ 311898 w 1661191"/>
                <a:gd name="connsiteY1822" fmla="*/ 225261 h 564157"/>
                <a:gd name="connsiteX1823" fmla="*/ 305631 w 1661191"/>
                <a:gd name="connsiteY1823" fmla="*/ 225261 h 564157"/>
                <a:gd name="connsiteX1824" fmla="*/ 301486 w 1661191"/>
                <a:gd name="connsiteY1824" fmla="*/ 223682 h 564157"/>
                <a:gd name="connsiteX1825" fmla="*/ 293198 w 1661191"/>
                <a:gd name="connsiteY1825" fmla="*/ 226889 h 564157"/>
                <a:gd name="connsiteX1826" fmla="*/ 297341 w 1661191"/>
                <a:gd name="connsiteY1826" fmla="*/ 221955 h 564157"/>
                <a:gd name="connsiteX1827" fmla="*/ 307753 w 1661191"/>
                <a:gd name="connsiteY1827" fmla="*/ 217021 h 564157"/>
                <a:gd name="connsiteX1828" fmla="*/ 318164 w 1661191"/>
                <a:gd name="connsiteY1828" fmla="*/ 215393 h 564157"/>
                <a:gd name="connsiteX1829" fmla="*/ 316042 w 1661191"/>
                <a:gd name="connsiteY1829" fmla="*/ 208979 h 564157"/>
                <a:gd name="connsiteX1830" fmla="*/ 303608 w 1661191"/>
                <a:gd name="connsiteY1830" fmla="*/ 199111 h 564157"/>
                <a:gd name="connsiteX1831" fmla="*/ 297341 w 1661191"/>
                <a:gd name="connsiteY1831" fmla="*/ 197532 h 564157"/>
                <a:gd name="connsiteX1832" fmla="*/ 289003 w 1661191"/>
                <a:gd name="connsiteY1832" fmla="*/ 202466 h 564157"/>
                <a:gd name="connsiteX1833" fmla="*/ 282786 w 1661191"/>
                <a:gd name="connsiteY1833" fmla="*/ 207400 h 564157"/>
                <a:gd name="connsiteX1834" fmla="*/ 272375 w 1661191"/>
                <a:gd name="connsiteY1834" fmla="*/ 207400 h 564157"/>
                <a:gd name="connsiteX1835" fmla="*/ 278592 w 1661191"/>
                <a:gd name="connsiteY1835" fmla="*/ 205772 h 564157"/>
                <a:gd name="connsiteX1836" fmla="*/ 282786 w 1661191"/>
                <a:gd name="connsiteY1836" fmla="*/ 204193 h 564157"/>
                <a:gd name="connsiteX1837" fmla="*/ 284859 w 1661191"/>
                <a:gd name="connsiteY1837" fmla="*/ 202565 h 564157"/>
                <a:gd name="connsiteX1838" fmla="*/ 289003 w 1661191"/>
                <a:gd name="connsiteY1838" fmla="*/ 197631 h 564157"/>
                <a:gd name="connsiteX1839" fmla="*/ 286931 w 1661191"/>
                <a:gd name="connsiteY1839" fmla="*/ 194374 h 564157"/>
                <a:gd name="connsiteX1840" fmla="*/ 278592 w 1661191"/>
                <a:gd name="connsiteY1840" fmla="*/ 191167 h 564157"/>
                <a:gd name="connsiteX1841" fmla="*/ 266110 w 1661191"/>
                <a:gd name="connsiteY1841" fmla="*/ 191167 h 564157"/>
                <a:gd name="connsiteX1842" fmla="*/ 257820 w 1661191"/>
                <a:gd name="connsiteY1842" fmla="*/ 184703 h 564157"/>
                <a:gd name="connsiteX1843" fmla="*/ 257820 w 1661191"/>
                <a:gd name="connsiteY1843" fmla="*/ 181496 h 564157"/>
                <a:gd name="connsiteX1844" fmla="*/ 255698 w 1661191"/>
                <a:gd name="connsiteY1844" fmla="*/ 173454 h 564157"/>
                <a:gd name="connsiteX1845" fmla="*/ 240896 w 1661191"/>
                <a:gd name="connsiteY1845" fmla="*/ 160576 h 564157"/>
                <a:gd name="connsiteX1846" fmla="*/ 236752 w 1661191"/>
                <a:gd name="connsiteY1846" fmla="*/ 158948 h 564157"/>
                <a:gd name="connsiteX1847" fmla="*/ 230486 w 1661191"/>
                <a:gd name="connsiteY1847" fmla="*/ 160576 h 564157"/>
                <a:gd name="connsiteX1848" fmla="*/ 224269 w 1661191"/>
                <a:gd name="connsiteY1848" fmla="*/ 157369 h 564157"/>
                <a:gd name="connsiteX1849" fmla="*/ 224269 w 1661191"/>
                <a:gd name="connsiteY1849" fmla="*/ 145231 h 564157"/>
                <a:gd name="connsiteX1850" fmla="*/ 213858 w 1661191"/>
                <a:gd name="connsiteY1850" fmla="*/ 137139 h 564157"/>
                <a:gd name="connsiteX1851" fmla="*/ 199056 w 1661191"/>
                <a:gd name="connsiteY1851" fmla="*/ 130725 h 564157"/>
                <a:gd name="connsiteX1852" fmla="*/ 191803 w 1661191"/>
                <a:gd name="connsiteY1852" fmla="*/ 130725 h 564157"/>
                <a:gd name="connsiteX1853" fmla="*/ 189730 w 1661191"/>
                <a:gd name="connsiteY1853" fmla="*/ 132353 h 564157"/>
                <a:gd name="connsiteX1854" fmla="*/ 185537 w 1661191"/>
                <a:gd name="connsiteY1854" fmla="*/ 130725 h 564157"/>
                <a:gd name="connsiteX1855" fmla="*/ 183465 w 1661191"/>
                <a:gd name="connsiteY1855" fmla="*/ 122683 h 564157"/>
                <a:gd name="connsiteX1856" fmla="*/ 179320 w 1661191"/>
                <a:gd name="connsiteY1856" fmla="*/ 125890 h 564157"/>
                <a:gd name="connsiteX1857" fmla="*/ 175126 w 1661191"/>
                <a:gd name="connsiteY1857" fmla="*/ 122683 h 564157"/>
                <a:gd name="connsiteX1858" fmla="*/ 175126 w 1661191"/>
                <a:gd name="connsiteY1858" fmla="*/ 112814 h 564157"/>
                <a:gd name="connsiteX1859" fmla="*/ 168909 w 1661191"/>
                <a:gd name="connsiteY1859" fmla="*/ 106351 h 564157"/>
                <a:gd name="connsiteX1860" fmla="*/ 160571 w 1661191"/>
                <a:gd name="connsiteY1860" fmla="*/ 104772 h 564157"/>
                <a:gd name="connsiteX1861" fmla="*/ 158498 w 1661191"/>
                <a:gd name="connsiteY1861" fmla="*/ 99838 h 564157"/>
                <a:gd name="connsiteX1862" fmla="*/ 137677 w 1661191"/>
                <a:gd name="connsiteY1862" fmla="*/ 88588 h 564157"/>
                <a:gd name="connsiteX1863" fmla="*/ 129338 w 1661191"/>
                <a:gd name="connsiteY1863" fmla="*/ 86960 h 564157"/>
                <a:gd name="connsiteX1864" fmla="*/ 121049 w 1661191"/>
                <a:gd name="connsiteY1864" fmla="*/ 78918 h 564157"/>
                <a:gd name="connsiteX1865" fmla="*/ 112710 w 1661191"/>
                <a:gd name="connsiteY1865" fmla="*/ 78918 h 564157"/>
                <a:gd name="connsiteX1866" fmla="*/ 110638 w 1661191"/>
                <a:gd name="connsiteY1866" fmla="*/ 73984 h 564157"/>
                <a:gd name="connsiteX1867" fmla="*/ 108566 w 1661191"/>
                <a:gd name="connsiteY1867" fmla="*/ 64116 h 564157"/>
                <a:gd name="connsiteX1868" fmla="*/ 102299 w 1661191"/>
                <a:gd name="connsiteY1868" fmla="*/ 60859 h 564157"/>
                <a:gd name="connsiteX1869" fmla="*/ 98155 w 1661191"/>
                <a:gd name="connsiteY1869" fmla="*/ 52866 h 564157"/>
                <a:gd name="connsiteX1870" fmla="*/ 93961 w 1661191"/>
                <a:gd name="connsiteY1870" fmla="*/ 51238 h 564157"/>
                <a:gd name="connsiteX1871" fmla="*/ 89816 w 1661191"/>
                <a:gd name="connsiteY1871" fmla="*/ 43195 h 564157"/>
                <a:gd name="connsiteX1872" fmla="*/ 81527 w 1661191"/>
                <a:gd name="connsiteY1872" fmla="*/ 41567 h 564157"/>
                <a:gd name="connsiteX1873" fmla="*/ 73188 w 1661191"/>
                <a:gd name="connsiteY1873" fmla="*/ 41567 h 564157"/>
                <a:gd name="connsiteX1874" fmla="*/ 68995 w 1661191"/>
                <a:gd name="connsiteY1874" fmla="*/ 43195 h 564157"/>
                <a:gd name="connsiteX1875" fmla="*/ 64850 w 1661191"/>
                <a:gd name="connsiteY1875" fmla="*/ 39988 h 564157"/>
                <a:gd name="connsiteX1876" fmla="*/ 54439 w 1661191"/>
                <a:gd name="connsiteY1876" fmla="*/ 39988 h 564157"/>
                <a:gd name="connsiteX1877" fmla="*/ 44029 w 1661191"/>
                <a:gd name="connsiteY1877" fmla="*/ 43195 h 564157"/>
                <a:gd name="connsiteX1878" fmla="*/ 39884 w 1661191"/>
                <a:gd name="connsiteY1878" fmla="*/ 39988 h 564157"/>
                <a:gd name="connsiteX1879" fmla="*/ 23207 w 1661191"/>
                <a:gd name="connsiteY1879" fmla="*/ 30120 h 564157"/>
                <a:gd name="connsiteX1880" fmla="*/ 8405 w 1661191"/>
                <a:gd name="connsiteY1880" fmla="*/ 28492 h 56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</a:cxnLst>
              <a:rect l="l" t="t" r="r" b="b"/>
              <a:pathLst>
                <a:path w="1661191" h="564157">
                  <a:moveTo>
                    <a:pt x="1660862" y="294880"/>
                  </a:moveTo>
                  <a:lnTo>
                    <a:pt x="1656668" y="410830"/>
                  </a:lnTo>
                  <a:lnTo>
                    <a:pt x="1654596" y="420452"/>
                  </a:lnTo>
                  <a:lnTo>
                    <a:pt x="1654596" y="425386"/>
                  </a:lnTo>
                  <a:lnTo>
                    <a:pt x="1656668" y="426964"/>
                  </a:lnTo>
                  <a:lnTo>
                    <a:pt x="1654596" y="502653"/>
                  </a:lnTo>
                  <a:lnTo>
                    <a:pt x="1650451" y="502653"/>
                  </a:lnTo>
                  <a:lnTo>
                    <a:pt x="1642113" y="499396"/>
                  </a:lnTo>
                  <a:lnTo>
                    <a:pt x="1631703" y="491403"/>
                  </a:lnTo>
                  <a:lnTo>
                    <a:pt x="1629630" y="486469"/>
                  </a:lnTo>
                  <a:lnTo>
                    <a:pt x="1629630" y="484841"/>
                  </a:lnTo>
                  <a:lnTo>
                    <a:pt x="1623363" y="478377"/>
                  </a:lnTo>
                  <a:lnTo>
                    <a:pt x="1619219" y="476798"/>
                  </a:lnTo>
                  <a:lnTo>
                    <a:pt x="1619219" y="471864"/>
                  </a:lnTo>
                  <a:lnTo>
                    <a:pt x="1621291" y="466930"/>
                  </a:lnTo>
                  <a:lnTo>
                    <a:pt x="1621291" y="461009"/>
                  </a:lnTo>
                  <a:lnTo>
                    <a:pt x="1619219" y="467424"/>
                  </a:lnTo>
                  <a:lnTo>
                    <a:pt x="1615074" y="470680"/>
                  </a:lnTo>
                  <a:lnTo>
                    <a:pt x="1604664" y="469052"/>
                  </a:lnTo>
                  <a:lnTo>
                    <a:pt x="1598398" y="472259"/>
                  </a:lnTo>
                  <a:lnTo>
                    <a:pt x="1592181" y="472259"/>
                  </a:lnTo>
                  <a:lnTo>
                    <a:pt x="1590108" y="469052"/>
                  </a:lnTo>
                  <a:lnTo>
                    <a:pt x="1581770" y="473986"/>
                  </a:lnTo>
                  <a:lnTo>
                    <a:pt x="1577576" y="469052"/>
                  </a:lnTo>
                  <a:lnTo>
                    <a:pt x="1579698" y="467424"/>
                  </a:lnTo>
                  <a:lnTo>
                    <a:pt x="1581770" y="462489"/>
                  </a:lnTo>
                  <a:lnTo>
                    <a:pt x="1581770" y="459283"/>
                  </a:lnTo>
                  <a:lnTo>
                    <a:pt x="1583842" y="457704"/>
                  </a:lnTo>
                  <a:lnTo>
                    <a:pt x="1585915" y="449612"/>
                  </a:lnTo>
                  <a:lnTo>
                    <a:pt x="1581770" y="448033"/>
                  </a:lnTo>
                  <a:lnTo>
                    <a:pt x="1577576" y="443099"/>
                  </a:lnTo>
                  <a:lnTo>
                    <a:pt x="1581770" y="441520"/>
                  </a:lnTo>
                  <a:lnTo>
                    <a:pt x="1583842" y="443099"/>
                  </a:lnTo>
                  <a:lnTo>
                    <a:pt x="1592181" y="439892"/>
                  </a:lnTo>
                  <a:lnTo>
                    <a:pt x="1596325" y="439892"/>
                  </a:lnTo>
                  <a:lnTo>
                    <a:pt x="1590108" y="438313"/>
                  </a:lnTo>
                  <a:lnTo>
                    <a:pt x="1581770" y="439892"/>
                  </a:lnTo>
                  <a:lnTo>
                    <a:pt x="1575553" y="436685"/>
                  </a:lnTo>
                  <a:lnTo>
                    <a:pt x="1571360" y="433428"/>
                  </a:lnTo>
                  <a:lnTo>
                    <a:pt x="1571360" y="428494"/>
                  </a:lnTo>
                  <a:lnTo>
                    <a:pt x="1575553" y="428494"/>
                  </a:lnTo>
                  <a:lnTo>
                    <a:pt x="1581770" y="430073"/>
                  </a:lnTo>
                  <a:lnTo>
                    <a:pt x="1577576" y="426866"/>
                  </a:lnTo>
                  <a:lnTo>
                    <a:pt x="1569286" y="420402"/>
                  </a:lnTo>
                  <a:lnTo>
                    <a:pt x="1563020" y="417195"/>
                  </a:lnTo>
                  <a:lnTo>
                    <a:pt x="1560948" y="412261"/>
                  </a:lnTo>
                  <a:lnTo>
                    <a:pt x="1563020" y="405797"/>
                  </a:lnTo>
                  <a:lnTo>
                    <a:pt x="1554731" y="399334"/>
                  </a:lnTo>
                  <a:lnTo>
                    <a:pt x="1554731" y="396127"/>
                  </a:lnTo>
                  <a:lnTo>
                    <a:pt x="1560948" y="391193"/>
                  </a:lnTo>
                  <a:lnTo>
                    <a:pt x="1554731" y="391193"/>
                  </a:lnTo>
                  <a:lnTo>
                    <a:pt x="1550537" y="389565"/>
                  </a:lnTo>
                  <a:lnTo>
                    <a:pt x="1552610" y="386308"/>
                  </a:lnTo>
                  <a:lnTo>
                    <a:pt x="1548465" y="384729"/>
                  </a:lnTo>
                  <a:lnTo>
                    <a:pt x="1554731" y="379795"/>
                  </a:lnTo>
                  <a:lnTo>
                    <a:pt x="1546393" y="381423"/>
                  </a:lnTo>
                  <a:lnTo>
                    <a:pt x="1544321" y="379795"/>
                  </a:lnTo>
                  <a:lnTo>
                    <a:pt x="1540176" y="381423"/>
                  </a:lnTo>
                  <a:lnTo>
                    <a:pt x="1538055" y="378216"/>
                  </a:lnTo>
                  <a:lnTo>
                    <a:pt x="1542199" y="373282"/>
                  </a:lnTo>
                  <a:lnTo>
                    <a:pt x="1538055" y="374910"/>
                  </a:lnTo>
                  <a:lnTo>
                    <a:pt x="1531838" y="376489"/>
                  </a:lnTo>
                  <a:lnTo>
                    <a:pt x="1521427" y="371555"/>
                  </a:lnTo>
                  <a:lnTo>
                    <a:pt x="1519355" y="366621"/>
                  </a:lnTo>
                  <a:lnTo>
                    <a:pt x="1508943" y="363365"/>
                  </a:lnTo>
                  <a:lnTo>
                    <a:pt x="1502677" y="364993"/>
                  </a:lnTo>
                  <a:lnTo>
                    <a:pt x="1481855" y="358579"/>
                  </a:lnTo>
                  <a:lnTo>
                    <a:pt x="1459011" y="352115"/>
                  </a:lnTo>
                  <a:lnTo>
                    <a:pt x="1448600" y="352115"/>
                  </a:lnTo>
                  <a:lnTo>
                    <a:pt x="1440262" y="348908"/>
                  </a:lnTo>
                  <a:lnTo>
                    <a:pt x="1438190" y="345701"/>
                  </a:lnTo>
                  <a:lnTo>
                    <a:pt x="1438190" y="344073"/>
                  </a:lnTo>
                  <a:lnTo>
                    <a:pt x="1429851" y="342444"/>
                  </a:lnTo>
                  <a:lnTo>
                    <a:pt x="1429851" y="337510"/>
                  </a:lnTo>
                  <a:lnTo>
                    <a:pt x="1438190" y="337510"/>
                  </a:lnTo>
                  <a:lnTo>
                    <a:pt x="1438190" y="335932"/>
                  </a:lnTo>
                  <a:lnTo>
                    <a:pt x="1431924" y="335932"/>
                  </a:lnTo>
                  <a:lnTo>
                    <a:pt x="1425707" y="337510"/>
                  </a:lnTo>
                  <a:lnTo>
                    <a:pt x="1421512" y="335932"/>
                  </a:lnTo>
                  <a:lnTo>
                    <a:pt x="1419440" y="332724"/>
                  </a:lnTo>
                  <a:lnTo>
                    <a:pt x="1417367" y="332724"/>
                  </a:lnTo>
                  <a:lnTo>
                    <a:pt x="1415295" y="335932"/>
                  </a:lnTo>
                  <a:lnTo>
                    <a:pt x="1413223" y="329468"/>
                  </a:lnTo>
                  <a:lnTo>
                    <a:pt x="1411102" y="327889"/>
                  </a:lnTo>
                  <a:lnTo>
                    <a:pt x="1406957" y="329468"/>
                  </a:lnTo>
                  <a:lnTo>
                    <a:pt x="1404885" y="332724"/>
                  </a:lnTo>
                  <a:lnTo>
                    <a:pt x="1400691" y="327790"/>
                  </a:lnTo>
                  <a:lnTo>
                    <a:pt x="1398668" y="319699"/>
                  </a:lnTo>
                  <a:lnTo>
                    <a:pt x="1396546" y="313284"/>
                  </a:lnTo>
                  <a:lnTo>
                    <a:pt x="1400691" y="308350"/>
                  </a:lnTo>
                  <a:lnTo>
                    <a:pt x="1400691" y="303120"/>
                  </a:lnTo>
                  <a:lnTo>
                    <a:pt x="1396546" y="309534"/>
                  </a:lnTo>
                  <a:lnTo>
                    <a:pt x="1394474" y="315998"/>
                  </a:lnTo>
                  <a:lnTo>
                    <a:pt x="1392353" y="320932"/>
                  </a:lnTo>
                  <a:lnTo>
                    <a:pt x="1390329" y="320932"/>
                  </a:lnTo>
                  <a:lnTo>
                    <a:pt x="1384063" y="330800"/>
                  </a:lnTo>
                  <a:lnTo>
                    <a:pt x="1386136" y="335734"/>
                  </a:lnTo>
                  <a:lnTo>
                    <a:pt x="1377797" y="343777"/>
                  </a:lnTo>
                  <a:lnTo>
                    <a:pt x="1371580" y="345405"/>
                  </a:lnTo>
                  <a:lnTo>
                    <a:pt x="1363241" y="342198"/>
                  </a:lnTo>
                  <a:lnTo>
                    <a:pt x="1359097" y="332330"/>
                  </a:lnTo>
                  <a:lnTo>
                    <a:pt x="1359097" y="329123"/>
                  </a:lnTo>
                  <a:lnTo>
                    <a:pt x="1361169" y="327494"/>
                  </a:lnTo>
                  <a:lnTo>
                    <a:pt x="1363241" y="322560"/>
                  </a:lnTo>
                  <a:lnTo>
                    <a:pt x="1361169" y="319353"/>
                  </a:lnTo>
                  <a:lnTo>
                    <a:pt x="1356975" y="319353"/>
                  </a:lnTo>
                  <a:lnTo>
                    <a:pt x="1354952" y="317725"/>
                  </a:lnTo>
                  <a:lnTo>
                    <a:pt x="1350758" y="309683"/>
                  </a:lnTo>
                  <a:lnTo>
                    <a:pt x="1344541" y="308054"/>
                  </a:lnTo>
                  <a:lnTo>
                    <a:pt x="1336203" y="306475"/>
                  </a:lnTo>
                  <a:lnTo>
                    <a:pt x="1334131" y="303268"/>
                  </a:lnTo>
                  <a:lnTo>
                    <a:pt x="1338276" y="298334"/>
                  </a:lnTo>
                  <a:lnTo>
                    <a:pt x="1346614" y="298334"/>
                  </a:lnTo>
                  <a:lnTo>
                    <a:pt x="1348686" y="300012"/>
                  </a:lnTo>
                  <a:lnTo>
                    <a:pt x="1356975" y="301591"/>
                  </a:lnTo>
                  <a:lnTo>
                    <a:pt x="1363241" y="303219"/>
                  </a:lnTo>
                  <a:lnTo>
                    <a:pt x="1369507" y="300012"/>
                  </a:lnTo>
                  <a:lnTo>
                    <a:pt x="1371580" y="291920"/>
                  </a:lnTo>
                  <a:lnTo>
                    <a:pt x="1377797" y="290341"/>
                  </a:lnTo>
                  <a:lnTo>
                    <a:pt x="1388257" y="295275"/>
                  </a:lnTo>
                  <a:lnTo>
                    <a:pt x="1392353" y="301739"/>
                  </a:lnTo>
                  <a:lnTo>
                    <a:pt x="1396546" y="295275"/>
                  </a:lnTo>
                  <a:lnTo>
                    <a:pt x="1400691" y="290341"/>
                  </a:lnTo>
                  <a:lnTo>
                    <a:pt x="1402763" y="291920"/>
                  </a:lnTo>
                  <a:lnTo>
                    <a:pt x="1404885" y="285456"/>
                  </a:lnTo>
                  <a:lnTo>
                    <a:pt x="1402763" y="280522"/>
                  </a:lnTo>
                  <a:lnTo>
                    <a:pt x="1384063" y="278894"/>
                  </a:lnTo>
                  <a:lnTo>
                    <a:pt x="1386136" y="282101"/>
                  </a:lnTo>
                  <a:lnTo>
                    <a:pt x="1381991" y="283729"/>
                  </a:lnTo>
                  <a:lnTo>
                    <a:pt x="1379919" y="282101"/>
                  </a:lnTo>
                  <a:lnTo>
                    <a:pt x="1367386" y="283729"/>
                  </a:lnTo>
                  <a:lnTo>
                    <a:pt x="1363241" y="282101"/>
                  </a:lnTo>
                  <a:lnTo>
                    <a:pt x="1359097" y="283729"/>
                  </a:lnTo>
                  <a:lnTo>
                    <a:pt x="1354952" y="282101"/>
                  </a:lnTo>
                  <a:lnTo>
                    <a:pt x="1348686" y="283729"/>
                  </a:lnTo>
                  <a:lnTo>
                    <a:pt x="1342420" y="282101"/>
                  </a:lnTo>
                  <a:lnTo>
                    <a:pt x="1334131" y="277167"/>
                  </a:lnTo>
                  <a:lnTo>
                    <a:pt x="1332009" y="270704"/>
                  </a:lnTo>
                  <a:lnTo>
                    <a:pt x="1334131" y="269075"/>
                  </a:lnTo>
                  <a:lnTo>
                    <a:pt x="1329936" y="262661"/>
                  </a:lnTo>
                  <a:lnTo>
                    <a:pt x="1319576" y="257727"/>
                  </a:lnTo>
                  <a:lnTo>
                    <a:pt x="1315381" y="254520"/>
                  </a:lnTo>
                  <a:lnTo>
                    <a:pt x="1313309" y="256099"/>
                  </a:lnTo>
                  <a:lnTo>
                    <a:pt x="1307043" y="259355"/>
                  </a:lnTo>
                  <a:lnTo>
                    <a:pt x="1298754" y="257727"/>
                  </a:lnTo>
                  <a:lnTo>
                    <a:pt x="1300826" y="254520"/>
                  </a:lnTo>
                  <a:lnTo>
                    <a:pt x="1309164" y="249586"/>
                  </a:lnTo>
                  <a:lnTo>
                    <a:pt x="1311236" y="244652"/>
                  </a:lnTo>
                  <a:lnTo>
                    <a:pt x="1307043" y="241395"/>
                  </a:lnTo>
                  <a:lnTo>
                    <a:pt x="1313309" y="236461"/>
                  </a:lnTo>
                  <a:lnTo>
                    <a:pt x="1323719" y="236461"/>
                  </a:lnTo>
                  <a:lnTo>
                    <a:pt x="1327864" y="233254"/>
                  </a:lnTo>
                  <a:lnTo>
                    <a:pt x="1334131" y="231626"/>
                  </a:lnTo>
                  <a:lnTo>
                    <a:pt x="1342420" y="225163"/>
                  </a:lnTo>
                  <a:lnTo>
                    <a:pt x="1346614" y="223584"/>
                  </a:lnTo>
                  <a:lnTo>
                    <a:pt x="1356975" y="220376"/>
                  </a:lnTo>
                  <a:lnTo>
                    <a:pt x="1375724" y="226791"/>
                  </a:lnTo>
                  <a:lnTo>
                    <a:pt x="1386136" y="233254"/>
                  </a:lnTo>
                  <a:lnTo>
                    <a:pt x="1411102" y="233254"/>
                  </a:lnTo>
                  <a:lnTo>
                    <a:pt x="1413223" y="236461"/>
                  </a:lnTo>
                  <a:lnTo>
                    <a:pt x="1411102" y="239669"/>
                  </a:lnTo>
                  <a:lnTo>
                    <a:pt x="1411102" y="247711"/>
                  </a:lnTo>
                  <a:lnTo>
                    <a:pt x="1417367" y="252645"/>
                  </a:lnTo>
                  <a:lnTo>
                    <a:pt x="1419440" y="257579"/>
                  </a:lnTo>
                  <a:lnTo>
                    <a:pt x="1415295" y="263993"/>
                  </a:lnTo>
                  <a:lnTo>
                    <a:pt x="1411102" y="268927"/>
                  </a:lnTo>
                  <a:lnTo>
                    <a:pt x="1413223" y="277019"/>
                  </a:lnTo>
                  <a:lnTo>
                    <a:pt x="1415295" y="291476"/>
                  </a:lnTo>
                  <a:lnTo>
                    <a:pt x="1419440" y="297890"/>
                  </a:lnTo>
                  <a:lnTo>
                    <a:pt x="1423634" y="302824"/>
                  </a:lnTo>
                  <a:lnTo>
                    <a:pt x="1425707" y="302824"/>
                  </a:lnTo>
                  <a:lnTo>
                    <a:pt x="1425707" y="294732"/>
                  </a:lnTo>
                  <a:lnTo>
                    <a:pt x="1429851" y="291525"/>
                  </a:lnTo>
                  <a:lnTo>
                    <a:pt x="1434045" y="294732"/>
                  </a:lnTo>
                  <a:lnTo>
                    <a:pt x="1431924" y="301196"/>
                  </a:lnTo>
                  <a:lnTo>
                    <a:pt x="1436067" y="306130"/>
                  </a:lnTo>
                  <a:lnTo>
                    <a:pt x="1438190" y="306130"/>
                  </a:lnTo>
                  <a:lnTo>
                    <a:pt x="1440262" y="311064"/>
                  </a:lnTo>
                  <a:lnTo>
                    <a:pt x="1448600" y="317478"/>
                  </a:lnTo>
                  <a:lnTo>
                    <a:pt x="1452745" y="320685"/>
                  </a:lnTo>
                  <a:lnTo>
                    <a:pt x="1459011" y="320685"/>
                  </a:lnTo>
                  <a:lnTo>
                    <a:pt x="1465228" y="317478"/>
                  </a:lnTo>
                  <a:lnTo>
                    <a:pt x="1467300" y="312544"/>
                  </a:lnTo>
                  <a:lnTo>
                    <a:pt x="1471445" y="309288"/>
                  </a:lnTo>
                  <a:lnTo>
                    <a:pt x="1475639" y="307659"/>
                  </a:lnTo>
                  <a:lnTo>
                    <a:pt x="1475639" y="301245"/>
                  </a:lnTo>
                  <a:lnTo>
                    <a:pt x="1479784" y="294782"/>
                  </a:lnTo>
                  <a:lnTo>
                    <a:pt x="1486050" y="293203"/>
                  </a:lnTo>
                  <a:lnTo>
                    <a:pt x="1492267" y="289996"/>
                  </a:lnTo>
                  <a:lnTo>
                    <a:pt x="1494388" y="285062"/>
                  </a:lnTo>
                  <a:lnTo>
                    <a:pt x="1496460" y="281855"/>
                  </a:lnTo>
                  <a:lnTo>
                    <a:pt x="1504799" y="281855"/>
                  </a:lnTo>
                  <a:lnTo>
                    <a:pt x="1511016" y="280276"/>
                  </a:lnTo>
                  <a:lnTo>
                    <a:pt x="1521427" y="278647"/>
                  </a:lnTo>
                  <a:lnTo>
                    <a:pt x="1523498" y="273713"/>
                  </a:lnTo>
                  <a:lnTo>
                    <a:pt x="1519355" y="268779"/>
                  </a:lnTo>
                  <a:lnTo>
                    <a:pt x="1521427" y="265572"/>
                  </a:lnTo>
                  <a:lnTo>
                    <a:pt x="1538055" y="257530"/>
                  </a:lnTo>
                  <a:lnTo>
                    <a:pt x="1546393" y="257530"/>
                  </a:lnTo>
                  <a:lnTo>
                    <a:pt x="1552610" y="262464"/>
                  </a:lnTo>
                  <a:lnTo>
                    <a:pt x="1563020" y="265671"/>
                  </a:lnTo>
                  <a:lnTo>
                    <a:pt x="1577822" y="268878"/>
                  </a:lnTo>
                  <a:lnTo>
                    <a:pt x="1584089" y="273812"/>
                  </a:lnTo>
                  <a:lnTo>
                    <a:pt x="1590355" y="273812"/>
                  </a:lnTo>
                  <a:lnTo>
                    <a:pt x="1600766" y="277068"/>
                  </a:lnTo>
                  <a:lnTo>
                    <a:pt x="1621538" y="285062"/>
                  </a:lnTo>
                  <a:lnTo>
                    <a:pt x="1625733" y="283483"/>
                  </a:lnTo>
                  <a:lnTo>
                    <a:pt x="1631948" y="285062"/>
                  </a:lnTo>
                  <a:lnTo>
                    <a:pt x="1640288" y="286690"/>
                  </a:lnTo>
                  <a:lnTo>
                    <a:pt x="1646554" y="286690"/>
                  </a:lnTo>
                  <a:lnTo>
                    <a:pt x="1652771" y="289946"/>
                  </a:lnTo>
                  <a:lnTo>
                    <a:pt x="1650698" y="291525"/>
                  </a:lnTo>
                  <a:lnTo>
                    <a:pt x="1650698" y="294732"/>
                  </a:lnTo>
                  <a:lnTo>
                    <a:pt x="1654843" y="296361"/>
                  </a:lnTo>
                  <a:lnTo>
                    <a:pt x="1661109" y="294732"/>
                  </a:lnTo>
                  <a:close/>
                  <a:moveTo>
                    <a:pt x="1232145" y="209374"/>
                  </a:moveTo>
                  <a:lnTo>
                    <a:pt x="1246947" y="215788"/>
                  </a:lnTo>
                  <a:lnTo>
                    <a:pt x="1246947" y="219242"/>
                  </a:lnTo>
                  <a:lnTo>
                    <a:pt x="1238657" y="214308"/>
                  </a:lnTo>
                  <a:close/>
                  <a:moveTo>
                    <a:pt x="1304971" y="222251"/>
                  </a:moveTo>
                  <a:lnTo>
                    <a:pt x="1309164" y="223880"/>
                  </a:lnTo>
                  <a:lnTo>
                    <a:pt x="1315381" y="222251"/>
                  </a:lnTo>
                  <a:lnTo>
                    <a:pt x="1313309" y="217317"/>
                  </a:lnTo>
                  <a:lnTo>
                    <a:pt x="1304971" y="212383"/>
                  </a:lnTo>
                  <a:lnTo>
                    <a:pt x="1292488" y="212383"/>
                  </a:lnTo>
                  <a:lnTo>
                    <a:pt x="1288343" y="215590"/>
                  </a:lnTo>
                  <a:lnTo>
                    <a:pt x="1280005" y="215590"/>
                  </a:lnTo>
                  <a:lnTo>
                    <a:pt x="1277931" y="217219"/>
                  </a:lnTo>
                  <a:lnTo>
                    <a:pt x="1280005" y="218797"/>
                  </a:lnTo>
                  <a:lnTo>
                    <a:pt x="1275859" y="220475"/>
                  </a:lnTo>
                  <a:lnTo>
                    <a:pt x="1286221" y="222054"/>
                  </a:lnTo>
                  <a:lnTo>
                    <a:pt x="1292488" y="225261"/>
                  </a:lnTo>
                  <a:lnTo>
                    <a:pt x="1298754" y="223682"/>
                  </a:lnTo>
                  <a:lnTo>
                    <a:pt x="1298754" y="222054"/>
                  </a:lnTo>
                  <a:lnTo>
                    <a:pt x="1292488" y="218797"/>
                  </a:lnTo>
                  <a:lnTo>
                    <a:pt x="1292488" y="218797"/>
                  </a:lnTo>
                  <a:lnTo>
                    <a:pt x="1294560" y="217219"/>
                  </a:lnTo>
                  <a:close/>
                  <a:moveTo>
                    <a:pt x="1292488" y="239965"/>
                  </a:moveTo>
                  <a:lnTo>
                    <a:pt x="1286221" y="238336"/>
                  </a:lnTo>
                  <a:lnTo>
                    <a:pt x="1277931" y="239965"/>
                  </a:lnTo>
                  <a:lnTo>
                    <a:pt x="1284198" y="241544"/>
                  </a:lnTo>
                  <a:close/>
                  <a:moveTo>
                    <a:pt x="1298754" y="235031"/>
                  </a:moveTo>
                  <a:lnTo>
                    <a:pt x="1294560" y="239965"/>
                  </a:lnTo>
                  <a:lnTo>
                    <a:pt x="1292488" y="236757"/>
                  </a:lnTo>
                  <a:close/>
                  <a:moveTo>
                    <a:pt x="1296632" y="239965"/>
                  </a:moveTo>
                  <a:lnTo>
                    <a:pt x="1288343" y="244899"/>
                  </a:lnTo>
                  <a:lnTo>
                    <a:pt x="1290415" y="252941"/>
                  </a:lnTo>
                  <a:lnTo>
                    <a:pt x="1296632" y="254569"/>
                  </a:lnTo>
                  <a:lnTo>
                    <a:pt x="1300826" y="252941"/>
                  </a:lnTo>
                  <a:lnTo>
                    <a:pt x="1302898" y="241642"/>
                  </a:lnTo>
                  <a:close/>
                  <a:moveTo>
                    <a:pt x="1140569" y="67668"/>
                  </a:moveTo>
                  <a:lnTo>
                    <a:pt x="1142690" y="75760"/>
                  </a:lnTo>
                  <a:lnTo>
                    <a:pt x="1142690" y="80694"/>
                  </a:lnTo>
                  <a:lnTo>
                    <a:pt x="1146835" y="79115"/>
                  </a:lnTo>
                  <a:lnTo>
                    <a:pt x="1148907" y="74181"/>
                  </a:lnTo>
                  <a:lnTo>
                    <a:pt x="1148907" y="67717"/>
                  </a:lnTo>
                  <a:lnTo>
                    <a:pt x="1142690" y="66138"/>
                  </a:lnTo>
                  <a:close/>
                  <a:moveTo>
                    <a:pt x="1140569" y="82174"/>
                  </a:moveTo>
                  <a:lnTo>
                    <a:pt x="1142690" y="83753"/>
                  </a:lnTo>
                  <a:lnTo>
                    <a:pt x="1146835" y="88687"/>
                  </a:lnTo>
                  <a:lnTo>
                    <a:pt x="1142690" y="88687"/>
                  </a:lnTo>
                  <a:close/>
                  <a:moveTo>
                    <a:pt x="1196767" y="140297"/>
                  </a:moveTo>
                  <a:lnTo>
                    <a:pt x="1198840" y="150165"/>
                  </a:lnTo>
                  <a:lnTo>
                    <a:pt x="1203033" y="146958"/>
                  </a:lnTo>
                  <a:lnTo>
                    <a:pt x="1209250" y="146958"/>
                  </a:lnTo>
                  <a:lnTo>
                    <a:pt x="1213444" y="143751"/>
                  </a:lnTo>
                  <a:lnTo>
                    <a:pt x="1211322" y="138817"/>
                  </a:lnTo>
                  <a:lnTo>
                    <a:pt x="1207178" y="135610"/>
                  </a:lnTo>
                  <a:lnTo>
                    <a:pt x="1203033" y="138817"/>
                  </a:lnTo>
                  <a:close/>
                  <a:moveTo>
                    <a:pt x="1190500" y="222449"/>
                  </a:moveTo>
                  <a:lnTo>
                    <a:pt x="1192623" y="230491"/>
                  </a:lnTo>
                  <a:lnTo>
                    <a:pt x="1203033" y="238534"/>
                  </a:lnTo>
                  <a:lnTo>
                    <a:pt x="1205106" y="241741"/>
                  </a:lnTo>
                  <a:lnTo>
                    <a:pt x="1203280" y="241741"/>
                  </a:lnTo>
                  <a:lnTo>
                    <a:pt x="1201159" y="246675"/>
                  </a:lnTo>
                  <a:lnTo>
                    <a:pt x="1201159" y="241741"/>
                  </a:lnTo>
                  <a:lnTo>
                    <a:pt x="1194942" y="238534"/>
                  </a:lnTo>
                  <a:lnTo>
                    <a:pt x="1188675" y="228665"/>
                  </a:lnTo>
                  <a:lnTo>
                    <a:pt x="1180337" y="223731"/>
                  </a:lnTo>
                  <a:lnTo>
                    <a:pt x="1176192" y="217268"/>
                  </a:lnTo>
                  <a:lnTo>
                    <a:pt x="1178314" y="210854"/>
                  </a:lnTo>
                  <a:lnTo>
                    <a:pt x="1178314" y="204390"/>
                  </a:lnTo>
                  <a:lnTo>
                    <a:pt x="1172047" y="199456"/>
                  </a:lnTo>
                  <a:lnTo>
                    <a:pt x="1172047" y="193042"/>
                  </a:lnTo>
                  <a:lnTo>
                    <a:pt x="1176192" y="188108"/>
                  </a:lnTo>
                  <a:lnTo>
                    <a:pt x="1172047" y="181644"/>
                  </a:lnTo>
                  <a:lnTo>
                    <a:pt x="1167903" y="178437"/>
                  </a:lnTo>
                  <a:lnTo>
                    <a:pt x="1169975" y="170395"/>
                  </a:lnTo>
                  <a:lnTo>
                    <a:pt x="1174120" y="167188"/>
                  </a:lnTo>
                  <a:lnTo>
                    <a:pt x="1174120" y="159096"/>
                  </a:lnTo>
                  <a:lnTo>
                    <a:pt x="1176192" y="151053"/>
                  </a:lnTo>
                  <a:lnTo>
                    <a:pt x="1186604" y="141432"/>
                  </a:lnTo>
                  <a:lnTo>
                    <a:pt x="1190747" y="141432"/>
                  </a:lnTo>
                  <a:lnTo>
                    <a:pt x="1190747" y="146366"/>
                  </a:lnTo>
                  <a:lnTo>
                    <a:pt x="1184530" y="151300"/>
                  </a:lnTo>
                  <a:lnTo>
                    <a:pt x="1186604" y="154556"/>
                  </a:lnTo>
                  <a:lnTo>
                    <a:pt x="1192869" y="156135"/>
                  </a:lnTo>
                  <a:lnTo>
                    <a:pt x="1192869" y="166003"/>
                  </a:lnTo>
                  <a:lnTo>
                    <a:pt x="1188675" y="174046"/>
                  </a:lnTo>
                  <a:lnTo>
                    <a:pt x="1184530" y="174046"/>
                  </a:lnTo>
                  <a:lnTo>
                    <a:pt x="1178314" y="178980"/>
                  </a:lnTo>
                  <a:lnTo>
                    <a:pt x="1182459" y="183914"/>
                  </a:lnTo>
                  <a:lnTo>
                    <a:pt x="1186604" y="183914"/>
                  </a:lnTo>
                  <a:lnTo>
                    <a:pt x="1188675" y="178980"/>
                  </a:lnTo>
                  <a:lnTo>
                    <a:pt x="1194942" y="175773"/>
                  </a:lnTo>
                  <a:lnTo>
                    <a:pt x="1197014" y="172516"/>
                  </a:lnTo>
                  <a:lnTo>
                    <a:pt x="1192869" y="172516"/>
                  </a:lnTo>
                  <a:lnTo>
                    <a:pt x="1194942" y="167582"/>
                  </a:lnTo>
                  <a:lnTo>
                    <a:pt x="1205352" y="162648"/>
                  </a:lnTo>
                  <a:lnTo>
                    <a:pt x="1217835" y="159441"/>
                  </a:lnTo>
                  <a:lnTo>
                    <a:pt x="1221980" y="164375"/>
                  </a:lnTo>
                  <a:lnTo>
                    <a:pt x="1221980" y="167582"/>
                  </a:lnTo>
                  <a:lnTo>
                    <a:pt x="1215714" y="178832"/>
                  </a:lnTo>
                  <a:lnTo>
                    <a:pt x="1203280" y="183766"/>
                  </a:lnTo>
                  <a:lnTo>
                    <a:pt x="1199086" y="186973"/>
                  </a:lnTo>
                  <a:lnTo>
                    <a:pt x="1201159" y="191907"/>
                  </a:lnTo>
                  <a:lnTo>
                    <a:pt x="1205352" y="191907"/>
                  </a:lnTo>
                  <a:lnTo>
                    <a:pt x="1215714" y="198371"/>
                  </a:lnTo>
                  <a:lnTo>
                    <a:pt x="1215714" y="203305"/>
                  </a:lnTo>
                  <a:lnTo>
                    <a:pt x="1219908" y="204933"/>
                  </a:lnTo>
                  <a:lnTo>
                    <a:pt x="1213691" y="204933"/>
                  </a:lnTo>
                  <a:lnTo>
                    <a:pt x="1207425" y="201726"/>
                  </a:lnTo>
                  <a:lnTo>
                    <a:pt x="1199086" y="201726"/>
                  </a:lnTo>
                  <a:lnTo>
                    <a:pt x="1190747" y="200098"/>
                  </a:lnTo>
                  <a:lnTo>
                    <a:pt x="1184530" y="201726"/>
                  </a:lnTo>
                  <a:lnTo>
                    <a:pt x="1184530" y="212975"/>
                  </a:lnTo>
                  <a:close/>
                  <a:moveTo>
                    <a:pt x="1161390" y="236955"/>
                  </a:moveTo>
                  <a:lnTo>
                    <a:pt x="1163462" y="241889"/>
                  </a:lnTo>
                  <a:lnTo>
                    <a:pt x="1157245" y="238682"/>
                  </a:lnTo>
                  <a:lnTo>
                    <a:pt x="1159318" y="235474"/>
                  </a:lnTo>
                  <a:close/>
                  <a:moveTo>
                    <a:pt x="1161390" y="224077"/>
                  </a:moveTo>
                  <a:lnTo>
                    <a:pt x="1157245" y="224077"/>
                  </a:lnTo>
                  <a:lnTo>
                    <a:pt x="1155124" y="230491"/>
                  </a:lnTo>
                  <a:lnTo>
                    <a:pt x="1159318" y="232119"/>
                  </a:lnTo>
                  <a:lnTo>
                    <a:pt x="1161390" y="227185"/>
                  </a:lnTo>
                  <a:close/>
                  <a:moveTo>
                    <a:pt x="1167656" y="227284"/>
                  </a:moveTo>
                  <a:lnTo>
                    <a:pt x="1165535" y="228863"/>
                  </a:lnTo>
                  <a:lnTo>
                    <a:pt x="1165535" y="233797"/>
                  </a:lnTo>
                  <a:lnTo>
                    <a:pt x="1169728" y="238731"/>
                  </a:lnTo>
                  <a:lnTo>
                    <a:pt x="1175945" y="238731"/>
                  </a:lnTo>
                  <a:lnTo>
                    <a:pt x="1180090" y="241938"/>
                  </a:lnTo>
                  <a:lnTo>
                    <a:pt x="1182212" y="238731"/>
                  </a:lnTo>
                  <a:lnTo>
                    <a:pt x="1182212" y="235524"/>
                  </a:lnTo>
                  <a:lnTo>
                    <a:pt x="1175945" y="233945"/>
                  </a:lnTo>
                  <a:lnTo>
                    <a:pt x="1175945" y="229011"/>
                  </a:lnTo>
                  <a:lnTo>
                    <a:pt x="1171801" y="227432"/>
                  </a:lnTo>
                  <a:close/>
                  <a:moveTo>
                    <a:pt x="1165535" y="262710"/>
                  </a:moveTo>
                  <a:lnTo>
                    <a:pt x="1175945" y="256247"/>
                  </a:lnTo>
                  <a:lnTo>
                    <a:pt x="1184284" y="257875"/>
                  </a:lnTo>
                  <a:lnTo>
                    <a:pt x="1194695" y="264289"/>
                  </a:lnTo>
                  <a:lnTo>
                    <a:pt x="1192623" y="269223"/>
                  </a:lnTo>
                  <a:lnTo>
                    <a:pt x="1175945" y="269223"/>
                  </a:lnTo>
                  <a:lnTo>
                    <a:pt x="1169728" y="267644"/>
                  </a:lnTo>
                  <a:close/>
                  <a:moveTo>
                    <a:pt x="1269593" y="265918"/>
                  </a:moveTo>
                  <a:lnTo>
                    <a:pt x="1257110" y="269125"/>
                  </a:lnTo>
                  <a:lnTo>
                    <a:pt x="1252966" y="272332"/>
                  </a:lnTo>
                  <a:lnTo>
                    <a:pt x="1255038" y="273960"/>
                  </a:lnTo>
                  <a:lnTo>
                    <a:pt x="1267521" y="277217"/>
                  </a:lnTo>
                  <a:lnTo>
                    <a:pt x="1275859" y="275588"/>
                  </a:lnTo>
                  <a:lnTo>
                    <a:pt x="1273788" y="273960"/>
                  </a:lnTo>
                  <a:lnTo>
                    <a:pt x="1273788" y="269026"/>
                  </a:lnTo>
                  <a:close/>
                  <a:moveTo>
                    <a:pt x="1209250" y="327100"/>
                  </a:moveTo>
                  <a:lnTo>
                    <a:pt x="1211322" y="325521"/>
                  </a:lnTo>
                  <a:lnTo>
                    <a:pt x="1213444" y="328728"/>
                  </a:lnTo>
                  <a:lnTo>
                    <a:pt x="1209250" y="328728"/>
                  </a:lnTo>
                  <a:close/>
                  <a:moveTo>
                    <a:pt x="1200912" y="327100"/>
                  </a:moveTo>
                  <a:lnTo>
                    <a:pt x="1205106" y="327100"/>
                  </a:lnTo>
                  <a:lnTo>
                    <a:pt x="1205106" y="330307"/>
                  </a:lnTo>
                  <a:lnTo>
                    <a:pt x="1203280" y="330307"/>
                  </a:lnTo>
                  <a:close/>
                  <a:moveTo>
                    <a:pt x="1182212" y="330307"/>
                  </a:moveTo>
                  <a:lnTo>
                    <a:pt x="1190500" y="327100"/>
                  </a:lnTo>
                  <a:lnTo>
                    <a:pt x="1194695" y="325521"/>
                  </a:lnTo>
                  <a:lnTo>
                    <a:pt x="1198840" y="327100"/>
                  </a:lnTo>
                  <a:lnTo>
                    <a:pt x="1194695" y="333563"/>
                  </a:lnTo>
                  <a:lnTo>
                    <a:pt x="1192623" y="330307"/>
                  </a:lnTo>
                  <a:lnTo>
                    <a:pt x="1188429" y="333563"/>
                  </a:lnTo>
                  <a:close/>
                  <a:moveTo>
                    <a:pt x="1180090" y="311015"/>
                  </a:moveTo>
                  <a:lnTo>
                    <a:pt x="1175945" y="314222"/>
                  </a:lnTo>
                  <a:lnTo>
                    <a:pt x="1180090" y="314222"/>
                  </a:lnTo>
                  <a:close/>
                  <a:moveTo>
                    <a:pt x="1188429" y="304551"/>
                  </a:moveTo>
                  <a:lnTo>
                    <a:pt x="1182212" y="304551"/>
                  </a:lnTo>
                  <a:lnTo>
                    <a:pt x="1184284" y="307758"/>
                  </a:lnTo>
                  <a:lnTo>
                    <a:pt x="1186357" y="307758"/>
                  </a:lnTo>
                  <a:close/>
                  <a:moveTo>
                    <a:pt x="1190500" y="322264"/>
                  </a:moveTo>
                  <a:lnTo>
                    <a:pt x="1196767" y="312396"/>
                  </a:lnTo>
                  <a:lnTo>
                    <a:pt x="1200912" y="318810"/>
                  </a:lnTo>
                  <a:lnTo>
                    <a:pt x="1205106" y="322018"/>
                  </a:lnTo>
                  <a:lnTo>
                    <a:pt x="1211322" y="322018"/>
                  </a:lnTo>
                  <a:lnTo>
                    <a:pt x="1217588" y="315603"/>
                  </a:lnTo>
                  <a:lnTo>
                    <a:pt x="1221733" y="315603"/>
                  </a:lnTo>
                  <a:lnTo>
                    <a:pt x="1225878" y="322018"/>
                  </a:lnTo>
                  <a:lnTo>
                    <a:pt x="1242555" y="323646"/>
                  </a:lnTo>
                  <a:lnTo>
                    <a:pt x="1244627" y="318712"/>
                  </a:lnTo>
                  <a:lnTo>
                    <a:pt x="1252966" y="318712"/>
                  </a:lnTo>
                  <a:lnTo>
                    <a:pt x="1267521" y="326754"/>
                  </a:lnTo>
                  <a:lnTo>
                    <a:pt x="1273788" y="328382"/>
                  </a:lnTo>
                  <a:lnTo>
                    <a:pt x="1282076" y="334797"/>
                  </a:lnTo>
                  <a:lnTo>
                    <a:pt x="1288343" y="334797"/>
                  </a:lnTo>
                  <a:lnTo>
                    <a:pt x="1292488" y="329863"/>
                  </a:lnTo>
                  <a:lnTo>
                    <a:pt x="1288343" y="316985"/>
                  </a:lnTo>
                  <a:lnTo>
                    <a:pt x="1269593" y="308942"/>
                  </a:lnTo>
                  <a:lnTo>
                    <a:pt x="1254791" y="305735"/>
                  </a:lnTo>
                  <a:lnTo>
                    <a:pt x="1248574" y="300801"/>
                  </a:lnTo>
                  <a:lnTo>
                    <a:pt x="1240236" y="300801"/>
                  </a:lnTo>
                  <a:lnTo>
                    <a:pt x="1233970" y="305735"/>
                  </a:lnTo>
                  <a:lnTo>
                    <a:pt x="1225631" y="304107"/>
                  </a:lnTo>
                  <a:lnTo>
                    <a:pt x="1221486" y="302528"/>
                  </a:lnTo>
                  <a:lnTo>
                    <a:pt x="1211076" y="304107"/>
                  </a:lnTo>
                  <a:lnTo>
                    <a:pt x="1196274" y="304107"/>
                  </a:lnTo>
                  <a:lnTo>
                    <a:pt x="1192129" y="307314"/>
                  </a:lnTo>
                  <a:lnTo>
                    <a:pt x="1192129" y="310571"/>
                  </a:lnTo>
                  <a:lnTo>
                    <a:pt x="1185863" y="312199"/>
                  </a:lnTo>
                  <a:lnTo>
                    <a:pt x="1183791" y="317133"/>
                  </a:lnTo>
                  <a:lnTo>
                    <a:pt x="1185863" y="322067"/>
                  </a:lnTo>
                  <a:close/>
                  <a:moveTo>
                    <a:pt x="1119747" y="312396"/>
                  </a:moveTo>
                  <a:lnTo>
                    <a:pt x="1126013" y="313975"/>
                  </a:lnTo>
                  <a:lnTo>
                    <a:pt x="1132280" y="310768"/>
                  </a:lnTo>
                  <a:lnTo>
                    <a:pt x="1144712" y="310768"/>
                  </a:lnTo>
                  <a:lnTo>
                    <a:pt x="1155124" y="313975"/>
                  </a:lnTo>
                  <a:lnTo>
                    <a:pt x="1155124" y="318909"/>
                  </a:lnTo>
                  <a:lnTo>
                    <a:pt x="1161390" y="323843"/>
                  </a:lnTo>
                  <a:lnTo>
                    <a:pt x="1161390" y="328777"/>
                  </a:lnTo>
                  <a:lnTo>
                    <a:pt x="1155124" y="328777"/>
                  </a:lnTo>
                  <a:lnTo>
                    <a:pt x="1148907" y="335191"/>
                  </a:lnTo>
                  <a:lnTo>
                    <a:pt x="1140569" y="333613"/>
                  </a:lnTo>
                  <a:lnTo>
                    <a:pt x="1132280" y="335191"/>
                  </a:lnTo>
                  <a:lnTo>
                    <a:pt x="1128085" y="331984"/>
                  </a:lnTo>
                  <a:lnTo>
                    <a:pt x="1117674" y="330356"/>
                  </a:lnTo>
                  <a:lnTo>
                    <a:pt x="1111457" y="323942"/>
                  </a:lnTo>
                  <a:lnTo>
                    <a:pt x="1113530" y="315900"/>
                  </a:lnTo>
                  <a:close/>
                  <a:moveTo>
                    <a:pt x="919968" y="439546"/>
                  </a:moveTo>
                  <a:lnTo>
                    <a:pt x="913751" y="436339"/>
                  </a:lnTo>
                  <a:lnTo>
                    <a:pt x="911678" y="439546"/>
                  </a:lnTo>
                  <a:lnTo>
                    <a:pt x="915823" y="442753"/>
                  </a:lnTo>
                  <a:close/>
                  <a:moveTo>
                    <a:pt x="911678" y="396078"/>
                  </a:moveTo>
                  <a:lnTo>
                    <a:pt x="917895" y="405946"/>
                  </a:lnTo>
                  <a:lnTo>
                    <a:pt x="915823" y="410880"/>
                  </a:lnTo>
                  <a:lnTo>
                    <a:pt x="911678" y="417294"/>
                  </a:lnTo>
                  <a:lnTo>
                    <a:pt x="911678" y="412360"/>
                  </a:lnTo>
                  <a:lnTo>
                    <a:pt x="907485" y="409103"/>
                  </a:lnTo>
                  <a:lnTo>
                    <a:pt x="909557" y="404169"/>
                  </a:lnTo>
                  <a:lnTo>
                    <a:pt x="909557" y="399235"/>
                  </a:lnTo>
                  <a:close/>
                  <a:moveTo>
                    <a:pt x="1111457" y="276970"/>
                  </a:moveTo>
                  <a:lnTo>
                    <a:pt x="1111457" y="281904"/>
                  </a:lnTo>
                  <a:lnTo>
                    <a:pt x="1117674" y="289996"/>
                  </a:lnTo>
                  <a:lnTo>
                    <a:pt x="1117674" y="291574"/>
                  </a:lnTo>
                  <a:lnTo>
                    <a:pt x="1113530" y="291574"/>
                  </a:lnTo>
                  <a:lnTo>
                    <a:pt x="1111457" y="283532"/>
                  </a:lnTo>
                  <a:lnTo>
                    <a:pt x="1109336" y="278598"/>
                  </a:lnTo>
                  <a:close/>
                  <a:moveTo>
                    <a:pt x="1092709" y="270506"/>
                  </a:moveTo>
                  <a:lnTo>
                    <a:pt x="1096902" y="268878"/>
                  </a:lnTo>
                  <a:lnTo>
                    <a:pt x="1101047" y="270506"/>
                  </a:lnTo>
                  <a:lnTo>
                    <a:pt x="1107313" y="268878"/>
                  </a:lnTo>
                  <a:lnTo>
                    <a:pt x="1119747" y="270506"/>
                  </a:lnTo>
                  <a:lnTo>
                    <a:pt x="1128085" y="270506"/>
                  </a:lnTo>
                  <a:lnTo>
                    <a:pt x="1119747" y="272085"/>
                  </a:lnTo>
                  <a:lnTo>
                    <a:pt x="1103119" y="275342"/>
                  </a:lnTo>
                  <a:lnTo>
                    <a:pt x="1094781" y="273713"/>
                  </a:lnTo>
                  <a:lnTo>
                    <a:pt x="1094781" y="272085"/>
                  </a:lnTo>
                  <a:close/>
                  <a:moveTo>
                    <a:pt x="1057331" y="270506"/>
                  </a:moveTo>
                  <a:lnTo>
                    <a:pt x="1061525" y="267299"/>
                  </a:lnTo>
                  <a:lnTo>
                    <a:pt x="1065621" y="267299"/>
                  </a:lnTo>
                  <a:lnTo>
                    <a:pt x="1069814" y="265671"/>
                  </a:lnTo>
                  <a:lnTo>
                    <a:pt x="1076031" y="267299"/>
                  </a:lnTo>
                  <a:lnTo>
                    <a:pt x="1080225" y="268878"/>
                  </a:lnTo>
                  <a:lnTo>
                    <a:pt x="1084369" y="267299"/>
                  </a:lnTo>
                  <a:lnTo>
                    <a:pt x="1090636" y="267299"/>
                  </a:lnTo>
                  <a:lnTo>
                    <a:pt x="1090636" y="273713"/>
                  </a:lnTo>
                  <a:lnTo>
                    <a:pt x="1084369" y="272085"/>
                  </a:lnTo>
                  <a:lnTo>
                    <a:pt x="1078152" y="275342"/>
                  </a:lnTo>
                  <a:lnTo>
                    <a:pt x="1073959" y="273713"/>
                  </a:lnTo>
                  <a:lnTo>
                    <a:pt x="1065621" y="278647"/>
                  </a:lnTo>
                  <a:lnTo>
                    <a:pt x="1059404" y="277068"/>
                  </a:lnTo>
                  <a:lnTo>
                    <a:pt x="1055259" y="273812"/>
                  </a:lnTo>
                  <a:close/>
                  <a:moveTo>
                    <a:pt x="992844" y="384828"/>
                  </a:moveTo>
                  <a:lnTo>
                    <a:pt x="999061" y="374960"/>
                  </a:lnTo>
                  <a:lnTo>
                    <a:pt x="1003205" y="365092"/>
                  </a:lnTo>
                  <a:lnTo>
                    <a:pt x="1003205" y="355224"/>
                  </a:lnTo>
                  <a:lnTo>
                    <a:pt x="1005278" y="353546"/>
                  </a:lnTo>
                  <a:lnTo>
                    <a:pt x="1011543" y="353546"/>
                  </a:lnTo>
                  <a:lnTo>
                    <a:pt x="1011543" y="358480"/>
                  </a:lnTo>
                  <a:lnTo>
                    <a:pt x="1013616" y="361687"/>
                  </a:lnTo>
                  <a:lnTo>
                    <a:pt x="1013616" y="364894"/>
                  </a:lnTo>
                  <a:lnTo>
                    <a:pt x="1011543" y="363266"/>
                  </a:lnTo>
                  <a:lnTo>
                    <a:pt x="1009471" y="364894"/>
                  </a:lnTo>
                  <a:lnTo>
                    <a:pt x="1005278" y="368151"/>
                  </a:lnTo>
                  <a:lnTo>
                    <a:pt x="1003205" y="369730"/>
                  </a:lnTo>
                  <a:lnTo>
                    <a:pt x="1005278" y="374664"/>
                  </a:lnTo>
                  <a:lnTo>
                    <a:pt x="1011543" y="376243"/>
                  </a:lnTo>
                  <a:lnTo>
                    <a:pt x="1011543" y="379499"/>
                  </a:lnTo>
                  <a:lnTo>
                    <a:pt x="1009471" y="381127"/>
                  </a:lnTo>
                  <a:lnTo>
                    <a:pt x="1005278" y="382706"/>
                  </a:lnTo>
                  <a:lnTo>
                    <a:pt x="1001133" y="389170"/>
                  </a:lnTo>
                  <a:lnTo>
                    <a:pt x="996988" y="390798"/>
                  </a:lnTo>
                  <a:lnTo>
                    <a:pt x="992844" y="389170"/>
                  </a:lnTo>
                  <a:close/>
                  <a:moveTo>
                    <a:pt x="976166" y="378414"/>
                  </a:moveTo>
                  <a:lnTo>
                    <a:pt x="976166" y="382065"/>
                  </a:lnTo>
                  <a:lnTo>
                    <a:pt x="980311" y="383644"/>
                  </a:lnTo>
                  <a:lnTo>
                    <a:pt x="986578" y="382065"/>
                  </a:lnTo>
                  <a:lnTo>
                    <a:pt x="986578" y="380436"/>
                  </a:lnTo>
                  <a:lnTo>
                    <a:pt x="988649" y="378858"/>
                  </a:lnTo>
                  <a:lnTo>
                    <a:pt x="990721" y="373923"/>
                  </a:lnTo>
                  <a:lnTo>
                    <a:pt x="994866" y="370717"/>
                  </a:lnTo>
                  <a:lnTo>
                    <a:pt x="994866" y="367263"/>
                  </a:lnTo>
                  <a:lnTo>
                    <a:pt x="990721" y="360799"/>
                  </a:lnTo>
                  <a:lnTo>
                    <a:pt x="986578" y="364006"/>
                  </a:lnTo>
                  <a:lnTo>
                    <a:pt x="980311" y="368940"/>
                  </a:lnTo>
                  <a:lnTo>
                    <a:pt x="982433" y="372147"/>
                  </a:lnTo>
                  <a:close/>
                  <a:moveTo>
                    <a:pt x="961611" y="373480"/>
                  </a:moveTo>
                  <a:lnTo>
                    <a:pt x="959490" y="378414"/>
                  </a:lnTo>
                  <a:lnTo>
                    <a:pt x="957466" y="379993"/>
                  </a:lnTo>
                  <a:lnTo>
                    <a:pt x="961611" y="386407"/>
                  </a:lnTo>
                  <a:lnTo>
                    <a:pt x="963683" y="388035"/>
                  </a:lnTo>
                  <a:lnTo>
                    <a:pt x="969900" y="384828"/>
                  </a:lnTo>
                  <a:lnTo>
                    <a:pt x="967828" y="378414"/>
                  </a:lnTo>
                  <a:lnTo>
                    <a:pt x="963683" y="371950"/>
                  </a:lnTo>
                  <a:close/>
                  <a:moveTo>
                    <a:pt x="1013616" y="272036"/>
                  </a:moveTo>
                  <a:lnTo>
                    <a:pt x="1007399" y="275292"/>
                  </a:lnTo>
                  <a:lnTo>
                    <a:pt x="1011543" y="276921"/>
                  </a:lnTo>
                  <a:close/>
                  <a:moveTo>
                    <a:pt x="1019882" y="268829"/>
                  </a:moveTo>
                  <a:lnTo>
                    <a:pt x="1017809" y="270457"/>
                  </a:lnTo>
                  <a:lnTo>
                    <a:pt x="1021954" y="272036"/>
                  </a:lnTo>
                  <a:close/>
                  <a:moveTo>
                    <a:pt x="1030243" y="262414"/>
                  </a:moveTo>
                  <a:lnTo>
                    <a:pt x="1026099" y="265622"/>
                  </a:lnTo>
                  <a:lnTo>
                    <a:pt x="1032366" y="267250"/>
                  </a:lnTo>
                  <a:close/>
                  <a:moveTo>
                    <a:pt x="999061" y="255951"/>
                  </a:moveTo>
                  <a:lnTo>
                    <a:pt x="1007399" y="251017"/>
                  </a:lnTo>
                  <a:lnTo>
                    <a:pt x="1017809" y="251017"/>
                  </a:lnTo>
                  <a:lnTo>
                    <a:pt x="1017809" y="254273"/>
                  </a:lnTo>
                  <a:lnTo>
                    <a:pt x="1015688" y="257480"/>
                  </a:lnTo>
                  <a:lnTo>
                    <a:pt x="1021954" y="257480"/>
                  </a:lnTo>
                  <a:lnTo>
                    <a:pt x="1024026" y="252546"/>
                  </a:lnTo>
                  <a:lnTo>
                    <a:pt x="1030243" y="255754"/>
                  </a:lnTo>
                  <a:lnTo>
                    <a:pt x="1028221" y="260688"/>
                  </a:lnTo>
                  <a:lnTo>
                    <a:pt x="1021954" y="262316"/>
                  </a:lnTo>
                  <a:lnTo>
                    <a:pt x="1019882" y="260688"/>
                  </a:lnTo>
                  <a:lnTo>
                    <a:pt x="1015688" y="263895"/>
                  </a:lnTo>
                  <a:lnTo>
                    <a:pt x="1009471" y="260688"/>
                  </a:lnTo>
                  <a:lnTo>
                    <a:pt x="1005278" y="263895"/>
                  </a:lnTo>
                  <a:lnTo>
                    <a:pt x="1001133" y="260688"/>
                  </a:lnTo>
                  <a:close/>
                  <a:moveTo>
                    <a:pt x="961611" y="225360"/>
                  </a:moveTo>
                  <a:lnTo>
                    <a:pt x="967828" y="226988"/>
                  </a:lnTo>
                  <a:lnTo>
                    <a:pt x="967828" y="224176"/>
                  </a:lnTo>
                  <a:close/>
                  <a:moveTo>
                    <a:pt x="957466" y="226988"/>
                  </a:moveTo>
                  <a:lnTo>
                    <a:pt x="959490" y="226988"/>
                  </a:lnTo>
                  <a:lnTo>
                    <a:pt x="965756" y="228567"/>
                  </a:lnTo>
                  <a:lnTo>
                    <a:pt x="959490" y="230195"/>
                  </a:lnTo>
                  <a:close/>
                  <a:moveTo>
                    <a:pt x="911678" y="199604"/>
                  </a:moveTo>
                  <a:lnTo>
                    <a:pt x="919968" y="196397"/>
                  </a:lnTo>
                  <a:lnTo>
                    <a:pt x="930378" y="201331"/>
                  </a:lnTo>
                  <a:lnTo>
                    <a:pt x="940790" y="201331"/>
                  </a:lnTo>
                  <a:lnTo>
                    <a:pt x="955345" y="196397"/>
                  </a:lnTo>
                  <a:lnTo>
                    <a:pt x="963683" y="196397"/>
                  </a:lnTo>
                  <a:lnTo>
                    <a:pt x="965756" y="199604"/>
                  </a:lnTo>
                  <a:lnTo>
                    <a:pt x="974094" y="199604"/>
                  </a:lnTo>
                  <a:lnTo>
                    <a:pt x="978238" y="198025"/>
                  </a:lnTo>
                  <a:lnTo>
                    <a:pt x="993040" y="199604"/>
                  </a:lnTo>
                  <a:lnTo>
                    <a:pt x="1000985" y="199604"/>
                  </a:lnTo>
                  <a:lnTo>
                    <a:pt x="1003056" y="198025"/>
                  </a:lnTo>
                  <a:lnTo>
                    <a:pt x="1011396" y="198025"/>
                  </a:lnTo>
                  <a:lnTo>
                    <a:pt x="1017661" y="199604"/>
                  </a:lnTo>
                  <a:lnTo>
                    <a:pt x="1019734" y="202811"/>
                  </a:lnTo>
                  <a:lnTo>
                    <a:pt x="1025951" y="206018"/>
                  </a:lnTo>
                  <a:lnTo>
                    <a:pt x="1053039" y="199604"/>
                  </a:lnTo>
                  <a:lnTo>
                    <a:pt x="1065473" y="193190"/>
                  </a:lnTo>
                  <a:lnTo>
                    <a:pt x="1067594" y="188256"/>
                  </a:lnTo>
                  <a:lnTo>
                    <a:pt x="1073811" y="188256"/>
                  </a:lnTo>
                  <a:lnTo>
                    <a:pt x="1075883" y="183322"/>
                  </a:lnTo>
                  <a:lnTo>
                    <a:pt x="1082149" y="180115"/>
                  </a:lnTo>
                  <a:lnTo>
                    <a:pt x="1084222" y="175181"/>
                  </a:lnTo>
                  <a:lnTo>
                    <a:pt x="1086344" y="170247"/>
                  </a:lnTo>
                  <a:lnTo>
                    <a:pt x="1090487" y="168618"/>
                  </a:lnTo>
                  <a:lnTo>
                    <a:pt x="1086344" y="165411"/>
                  </a:lnTo>
                  <a:lnTo>
                    <a:pt x="1086344" y="162155"/>
                  </a:lnTo>
                  <a:lnTo>
                    <a:pt x="1075883" y="160576"/>
                  </a:lnTo>
                  <a:lnTo>
                    <a:pt x="1069666" y="162155"/>
                  </a:lnTo>
                  <a:lnTo>
                    <a:pt x="1067594" y="168618"/>
                  </a:lnTo>
                  <a:lnTo>
                    <a:pt x="1063449" y="171826"/>
                  </a:lnTo>
                  <a:lnTo>
                    <a:pt x="1061377" y="175082"/>
                  </a:lnTo>
                  <a:lnTo>
                    <a:pt x="1055111" y="180016"/>
                  </a:lnTo>
                  <a:lnTo>
                    <a:pt x="1048845" y="180016"/>
                  </a:lnTo>
                  <a:lnTo>
                    <a:pt x="1044701" y="184950"/>
                  </a:lnTo>
                  <a:lnTo>
                    <a:pt x="1036361" y="186578"/>
                  </a:lnTo>
                  <a:lnTo>
                    <a:pt x="1019734" y="183371"/>
                  </a:lnTo>
                  <a:lnTo>
                    <a:pt x="1004932" y="183371"/>
                  </a:lnTo>
                  <a:lnTo>
                    <a:pt x="1002859" y="186578"/>
                  </a:lnTo>
                  <a:lnTo>
                    <a:pt x="998715" y="186578"/>
                  </a:lnTo>
                  <a:lnTo>
                    <a:pt x="992498" y="181644"/>
                  </a:lnTo>
                  <a:lnTo>
                    <a:pt x="986232" y="180065"/>
                  </a:lnTo>
                  <a:lnTo>
                    <a:pt x="973749" y="180065"/>
                  </a:lnTo>
                  <a:lnTo>
                    <a:pt x="963338" y="178437"/>
                  </a:lnTo>
                  <a:lnTo>
                    <a:pt x="959144" y="180065"/>
                  </a:lnTo>
                  <a:lnTo>
                    <a:pt x="952927" y="178437"/>
                  </a:lnTo>
                  <a:lnTo>
                    <a:pt x="946710" y="171973"/>
                  </a:lnTo>
                  <a:lnTo>
                    <a:pt x="936299" y="170395"/>
                  </a:lnTo>
                  <a:lnTo>
                    <a:pt x="930034" y="170395"/>
                  </a:lnTo>
                  <a:lnTo>
                    <a:pt x="930034" y="176858"/>
                  </a:lnTo>
                  <a:lnTo>
                    <a:pt x="923767" y="180065"/>
                  </a:lnTo>
                  <a:lnTo>
                    <a:pt x="921744" y="186480"/>
                  </a:lnTo>
                  <a:lnTo>
                    <a:pt x="915477" y="189687"/>
                  </a:lnTo>
                  <a:lnTo>
                    <a:pt x="907139" y="186480"/>
                  </a:lnTo>
                  <a:lnTo>
                    <a:pt x="898801" y="189687"/>
                  </a:lnTo>
                  <a:lnTo>
                    <a:pt x="894656" y="192943"/>
                  </a:lnTo>
                  <a:lnTo>
                    <a:pt x="894656" y="194522"/>
                  </a:lnTo>
                  <a:lnTo>
                    <a:pt x="886367" y="202565"/>
                  </a:lnTo>
                  <a:lnTo>
                    <a:pt x="886367" y="210656"/>
                  </a:lnTo>
                  <a:lnTo>
                    <a:pt x="888390" y="215590"/>
                  </a:lnTo>
                  <a:lnTo>
                    <a:pt x="888390" y="226889"/>
                  </a:lnTo>
                  <a:lnTo>
                    <a:pt x="886367" y="230097"/>
                  </a:lnTo>
                  <a:lnTo>
                    <a:pt x="890512" y="236560"/>
                  </a:lnTo>
                  <a:lnTo>
                    <a:pt x="890512" y="243024"/>
                  </a:lnTo>
                  <a:lnTo>
                    <a:pt x="888390" y="239767"/>
                  </a:lnTo>
                  <a:lnTo>
                    <a:pt x="886367" y="234833"/>
                  </a:lnTo>
                  <a:lnTo>
                    <a:pt x="880101" y="236461"/>
                  </a:lnTo>
                  <a:lnTo>
                    <a:pt x="875956" y="241395"/>
                  </a:lnTo>
                  <a:lnTo>
                    <a:pt x="869689" y="243073"/>
                  </a:lnTo>
                  <a:lnTo>
                    <a:pt x="869689" y="257530"/>
                  </a:lnTo>
                  <a:lnTo>
                    <a:pt x="867617" y="262464"/>
                  </a:lnTo>
                  <a:lnTo>
                    <a:pt x="869689" y="275342"/>
                  </a:lnTo>
                  <a:lnTo>
                    <a:pt x="867617" y="276970"/>
                  </a:lnTo>
                  <a:lnTo>
                    <a:pt x="867617" y="283384"/>
                  </a:lnTo>
                  <a:lnTo>
                    <a:pt x="861351" y="284963"/>
                  </a:lnTo>
                  <a:lnTo>
                    <a:pt x="861351" y="291427"/>
                  </a:lnTo>
                  <a:lnTo>
                    <a:pt x="853013" y="297841"/>
                  </a:lnTo>
                  <a:lnTo>
                    <a:pt x="850990" y="305933"/>
                  </a:lnTo>
                  <a:lnTo>
                    <a:pt x="853013" y="307512"/>
                  </a:lnTo>
                  <a:lnTo>
                    <a:pt x="848868" y="312446"/>
                  </a:lnTo>
                  <a:lnTo>
                    <a:pt x="853013" y="322314"/>
                  </a:lnTo>
                  <a:lnTo>
                    <a:pt x="857207" y="327248"/>
                  </a:lnTo>
                  <a:lnTo>
                    <a:pt x="859279" y="325669"/>
                  </a:lnTo>
                  <a:lnTo>
                    <a:pt x="865546" y="325669"/>
                  </a:lnTo>
                  <a:lnTo>
                    <a:pt x="869689" y="324040"/>
                  </a:lnTo>
                  <a:lnTo>
                    <a:pt x="873834" y="325669"/>
                  </a:lnTo>
                  <a:lnTo>
                    <a:pt x="875956" y="333711"/>
                  </a:lnTo>
                  <a:lnTo>
                    <a:pt x="882173" y="348168"/>
                  </a:lnTo>
                  <a:lnTo>
                    <a:pt x="880101" y="351375"/>
                  </a:lnTo>
                  <a:lnTo>
                    <a:pt x="878029" y="359467"/>
                  </a:lnTo>
                  <a:lnTo>
                    <a:pt x="871762" y="365881"/>
                  </a:lnTo>
                  <a:lnTo>
                    <a:pt x="871762" y="390058"/>
                  </a:lnTo>
                  <a:lnTo>
                    <a:pt x="875956" y="390058"/>
                  </a:lnTo>
                  <a:lnTo>
                    <a:pt x="880101" y="391686"/>
                  </a:lnTo>
                  <a:lnTo>
                    <a:pt x="888390" y="391686"/>
                  </a:lnTo>
                  <a:lnTo>
                    <a:pt x="892584" y="388430"/>
                  </a:lnTo>
                  <a:lnTo>
                    <a:pt x="898801" y="390058"/>
                  </a:lnTo>
                  <a:lnTo>
                    <a:pt x="905067" y="388430"/>
                  </a:lnTo>
                  <a:lnTo>
                    <a:pt x="909211" y="391686"/>
                  </a:lnTo>
                  <a:lnTo>
                    <a:pt x="911334" y="386752"/>
                  </a:lnTo>
                  <a:lnTo>
                    <a:pt x="909211" y="380338"/>
                  </a:lnTo>
                  <a:lnTo>
                    <a:pt x="905067" y="377081"/>
                  </a:lnTo>
                  <a:lnTo>
                    <a:pt x="902994" y="369088"/>
                  </a:lnTo>
                  <a:lnTo>
                    <a:pt x="907139" y="364154"/>
                  </a:lnTo>
                  <a:lnTo>
                    <a:pt x="909211" y="354286"/>
                  </a:lnTo>
                  <a:lnTo>
                    <a:pt x="907139" y="344665"/>
                  </a:lnTo>
                  <a:lnTo>
                    <a:pt x="905067" y="341458"/>
                  </a:lnTo>
                  <a:lnTo>
                    <a:pt x="911334" y="331590"/>
                  </a:lnTo>
                  <a:lnTo>
                    <a:pt x="913405" y="323547"/>
                  </a:lnTo>
                  <a:lnTo>
                    <a:pt x="911334" y="315505"/>
                  </a:lnTo>
                  <a:lnTo>
                    <a:pt x="907139" y="310571"/>
                  </a:lnTo>
                  <a:lnTo>
                    <a:pt x="907139" y="308942"/>
                  </a:lnTo>
                  <a:lnTo>
                    <a:pt x="915477" y="304008"/>
                  </a:lnTo>
                  <a:lnTo>
                    <a:pt x="917550" y="299074"/>
                  </a:lnTo>
                  <a:lnTo>
                    <a:pt x="925889" y="297397"/>
                  </a:lnTo>
                  <a:lnTo>
                    <a:pt x="932106" y="300653"/>
                  </a:lnTo>
                  <a:lnTo>
                    <a:pt x="932106" y="303860"/>
                  </a:lnTo>
                  <a:lnTo>
                    <a:pt x="936299" y="308794"/>
                  </a:lnTo>
                  <a:lnTo>
                    <a:pt x="936299" y="315258"/>
                  </a:lnTo>
                  <a:lnTo>
                    <a:pt x="930034" y="320192"/>
                  </a:lnTo>
                  <a:lnTo>
                    <a:pt x="927961" y="326656"/>
                  </a:lnTo>
                  <a:lnTo>
                    <a:pt x="932106" y="333119"/>
                  </a:lnTo>
                  <a:lnTo>
                    <a:pt x="936299" y="333119"/>
                  </a:lnTo>
                  <a:lnTo>
                    <a:pt x="942516" y="338053"/>
                  </a:lnTo>
                  <a:lnTo>
                    <a:pt x="950855" y="342987"/>
                  </a:lnTo>
                  <a:lnTo>
                    <a:pt x="950855" y="347921"/>
                  </a:lnTo>
                  <a:lnTo>
                    <a:pt x="948782" y="347921"/>
                  </a:lnTo>
                  <a:lnTo>
                    <a:pt x="946710" y="359220"/>
                  </a:lnTo>
                  <a:lnTo>
                    <a:pt x="948782" y="365634"/>
                  </a:lnTo>
                  <a:lnTo>
                    <a:pt x="954999" y="367263"/>
                  </a:lnTo>
                  <a:lnTo>
                    <a:pt x="959144" y="365634"/>
                  </a:lnTo>
                  <a:lnTo>
                    <a:pt x="965410" y="368891"/>
                  </a:lnTo>
                  <a:lnTo>
                    <a:pt x="971677" y="367263"/>
                  </a:lnTo>
                  <a:lnTo>
                    <a:pt x="971677" y="365634"/>
                  </a:lnTo>
                  <a:lnTo>
                    <a:pt x="969554" y="360700"/>
                  </a:lnTo>
                  <a:lnTo>
                    <a:pt x="975821" y="355766"/>
                  </a:lnTo>
                  <a:lnTo>
                    <a:pt x="982087" y="354089"/>
                  </a:lnTo>
                  <a:lnTo>
                    <a:pt x="990377" y="350882"/>
                  </a:lnTo>
                  <a:lnTo>
                    <a:pt x="1000985" y="350882"/>
                  </a:lnTo>
                  <a:lnTo>
                    <a:pt x="1005130" y="347675"/>
                  </a:lnTo>
                  <a:lnTo>
                    <a:pt x="1007251" y="349303"/>
                  </a:lnTo>
                  <a:lnTo>
                    <a:pt x="1013468" y="349303"/>
                  </a:lnTo>
                  <a:lnTo>
                    <a:pt x="1015540" y="344369"/>
                  </a:lnTo>
                  <a:lnTo>
                    <a:pt x="1015540" y="341162"/>
                  </a:lnTo>
                  <a:lnTo>
                    <a:pt x="1005130" y="341162"/>
                  </a:lnTo>
                  <a:lnTo>
                    <a:pt x="1003056" y="342741"/>
                  </a:lnTo>
                  <a:lnTo>
                    <a:pt x="1000985" y="341162"/>
                  </a:lnTo>
                  <a:lnTo>
                    <a:pt x="992696" y="341162"/>
                  </a:lnTo>
                  <a:lnTo>
                    <a:pt x="992696" y="337905"/>
                  </a:lnTo>
                  <a:lnTo>
                    <a:pt x="990573" y="336326"/>
                  </a:lnTo>
                  <a:lnTo>
                    <a:pt x="990573" y="334698"/>
                  </a:lnTo>
                  <a:lnTo>
                    <a:pt x="986429" y="333119"/>
                  </a:lnTo>
                  <a:lnTo>
                    <a:pt x="984356" y="334698"/>
                  </a:lnTo>
                  <a:lnTo>
                    <a:pt x="984356" y="331491"/>
                  </a:lnTo>
                  <a:lnTo>
                    <a:pt x="978091" y="329863"/>
                  </a:lnTo>
                  <a:lnTo>
                    <a:pt x="976018" y="326656"/>
                  </a:lnTo>
                  <a:lnTo>
                    <a:pt x="980163" y="323448"/>
                  </a:lnTo>
                  <a:lnTo>
                    <a:pt x="980163" y="320192"/>
                  </a:lnTo>
                  <a:lnTo>
                    <a:pt x="984356" y="320192"/>
                  </a:lnTo>
                  <a:lnTo>
                    <a:pt x="982284" y="316985"/>
                  </a:lnTo>
                  <a:lnTo>
                    <a:pt x="984356" y="316985"/>
                  </a:lnTo>
                  <a:lnTo>
                    <a:pt x="986429" y="313778"/>
                  </a:lnTo>
                  <a:lnTo>
                    <a:pt x="982284" y="310571"/>
                  </a:lnTo>
                  <a:lnTo>
                    <a:pt x="978091" y="308942"/>
                  </a:lnTo>
                  <a:lnTo>
                    <a:pt x="980163" y="305735"/>
                  </a:lnTo>
                  <a:lnTo>
                    <a:pt x="978091" y="302528"/>
                  </a:lnTo>
                  <a:lnTo>
                    <a:pt x="971874" y="299321"/>
                  </a:lnTo>
                  <a:lnTo>
                    <a:pt x="967680" y="299321"/>
                  </a:lnTo>
                  <a:lnTo>
                    <a:pt x="967680" y="293252"/>
                  </a:lnTo>
                  <a:lnTo>
                    <a:pt x="957318" y="283384"/>
                  </a:lnTo>
                  <a:lnTo>
                    <a:pt x="951052" y="280177"/>
                  </a:lnTo>
                  <a:lnTo>
                    <a:pt x="946908" y="275243"/>
                  </a:lnTo>
                  <a:lnTo>
                    <a:pt x="948980" y="271986"/>
                  </a:lnTo>
                  <a:lnTo>
                    <a:pt x="951052" y="271986"/>
                  </a:lnTo>
                  <a:lnTo>
                    <a:pt x="953125" y="275243"/>
                  </a:lnTo>
                  <a:lnTo>
                    <a:pt x="959342" y="275243"/>
                  </a:lnTo>
                  <a:lnTo>
                    <a:pt x="965608" y="271986"/>
                  </a:lnTo>
                  <a:lnTo>
                    <a:pt x="965608" y="268779"/>
                  </a:lnTo>
                  <a:lnTo>
                    <a:pt x="980163" y="263845"/>
                  </a:lnTo>
                  <a:lnTo>
                    <a:pt x="990573" y="257431"/>
                  </a:lnTo>
                  <a:lnTo>
                    <a:pt x="996840" y="249389"/>
                  </a:lnTo>
                  <a:lnTo>
                    <a:pt x="1003056" y="246182"/>
                  </a:lnTo>
                  <a:lnTo>
                    <a:pt x="1003056" y="242974"/>
                  </a:lnTo>
                  <a:lnTo>
                    <a:pt x="1011396" y="241297"/>
                  </a:lnTo>
                  <a:lnTo>
                    <a:pt x="1017661" y="244553"/>
                  </a:lnTo>
                  <a:lnTo>
                    <a:pt x="1021806" y="244553"/>
                  </a:lnTo>
                  <a:lnTo>
                    <a:pt x="1028072" y="236511"/>
                  </a:lnTo>
                  <a:lnTo>
                    <a:pt x="1028072" y="231577"/>
                  </a:lnTo>
                  <a:lnTo>
                    <a:pt x="1019734" y="229948"/>
                  </a:lnTo>
                  <a:lnTo>
                    <a:pt x="1004932" y="231577"/>
                  </a:lnTo>
                  <a:lnTo>
                    <a:pt x="996643" y="234784"/>
                  </a:lnTo>
                  <a:lnTo>
                    <a:pt x="986232" y="234784"/>
                  </a:lnTo>
                  <a:lnTo>
                    <a:pt x="982087" y="236412"/>
                  </a:lnTo>
                  <a:lnTo>
                    <a:pt x="976314" y="243419"/>
                  </a:lnTo>
                  <a:lnTo>
                    <a:pt x="970048" y="241741"/>
                  </a:lnTo>
                  <a:lnTo>
                    <a:pt x="963831" y="243419"/>
                  </a:lnTo>
                  <a:lnTo>
                    <a:pt x="957614" y="240162"/>
                  </a:lnTo>
                  <a:lnTo>
                    <a:pt x="951348" y="238534"/>
                  </a:lnTo>
                  <a:lnTo>
                    <a:pt x="943010" y="246625"/>
                  </a:lnTo>
                  <a:lnTo>
                    <a:pt x="938865" y="256494"/>
                  </a:lnTo>
                  <a:lnTo>
                    <a:pt x="932598" y="259750"/>
                  </a:lnTo>
                  <a:lnTo>
                    <a:pt x="924260" y="258122"/>
                  </a:lnTo>
                  <a:lnTo>
                    <a:pt x="922238" y="256494"/>
                  </a:lnTo>
                  <a:lnTo>
                    <a:pt x="913899" y="246625"/>
                  </a:lnTo>
                  <a:lnTo>
                    <a:pt x="903488" y="240162"/>
                  </a:lnTo>
                  <a:lnTo>
                    <a:pt x="899294" y="228863"/>
                  </a:lnTo>
                  <a:lnTo>
                    <a:pt x="899294" y="215985"/>
                  </a:lnTo>
                  <a:lnTo>
                    <a:pt x="905560" y="204736"/>
                  </a:lnTo>
                  <a:close/>
                  <a:moveTo>
                    <a:pt x="917895" y="-27"/>
                  </a:moveTo>
                  <a:lnTo>
                    <a:pt x="913751" y="4907"/>
                  </a:lnTo>
                  <a:lnTo>
                    <a:pt x="917895" y="6585"/>
                  </a:lnTo>
                  <a:lnTo>
                    <a:pt x="919968" y="3328"/>
                  </a:lnTo>
                  <a:close/>
                  <a:moveTo>
                    <a:pt x="874180" y="51484"/>
                  </a:moveTo>
                  <a:lnTo>
                    <a:pt x="872107" y="56418"/>
                  </a:lnTo>
                  <a:lnTo>
                    <a:pt x="874180" y="61353"/>
                  </a:lnTo>
                  <a:lnTo>
                    <a:pt x="874180" y="51484"/>
                  </a:lnTo>
                  <a:close/>
                  <a:moveTo>
                    <a:pt x="811764" y="78868"/>
                  </a:moveTo>
                  <a:lnTo>
                    <a:pt x="813837" y="82076"/>
                  </a:lnTo>
                  <a:lnTo>
                    <a:pt x="809692" y="80447"/>
                  </a:lnTo>
                  <a:close/>
                  <a:moveTo>
                    <a:pt x="811764" y="75661"/>
                  </a:moveTo>
                  <a:lnTo>
                    <a:pt x="811764" y="77240"/>
                  </a:lnTo>
                  <a:lnTo>
                    <a:pt x="813837" y="80447"/>
                  </a:lnTo>
                  <a:lnTo>
                    <a:pt x="820103" y="80447"/>
                  </a:lnTo>
                  <a:lnTo>
                    <a:pt x="820103" y="78868"/>
                  </a:lnTo>
                  <a:close/>
                  <a:moveTo>
                    <a:pt x="815958" y="93325"/>
                  </a:moveTo>
                  <a:lnTo>
                    <a:pt x="807620" y="94953"/>
                  </a:lnTo>
                  <a:lnTo>
                    <a:pt x="813837" y="96582"/>
                  </a:lnTo>
                  <a:close/>
                  <a:moveTo>
                    <a:pt x="807620" y="99789"/>
                  </a:moveTo>
                  <a:lnTo>
                    <a:pt x="811764" y="101417"/>
                  </a:lnTo>
                  <a:lnTo>
                    <a:pt x="811764" y="106351"/>
                  </a:lnTo>
                  <a:lnTo>
                    <a:pt x="809692" y="106351"/>
                  </a:lnTo>
                  <a:close/>
                  <a:moveTo>
                    <a:pt x="763904" y="321820"/>
                  </a:moveTo>
                  <a:lnTo>
                    <a:pt x="763904" y="331688"/>
                  </a:lnTo>
                  <a:lnTo>
                    <a:pt x="761832" y="331688"/>
                  </a:lnTo>
                  <a:lnTo>
                    <a:pt x="761832" y="325274"/>
                  </a:lnTo>
                  <a:close/>
                  <a:moveTo>
                    <a:pt x="759760" y="321820"/>
                  </a:moveTo>
                  <a:lnTo>
                    <a:pt x="759760" y="333119"/>
                  </a:lnTo>
                  <a:lnTo>
                    <a:pt x="757638" y="339533"/>
                  </a:lnTo>
                  <a:lnTo>
                    <a:pt x="753494" y="342741"/>
                  </a:lnTo>
                  <a:lnTo>
                    <a:pt x="749299" y="339533"/>
                  </a:lnTo>
                  <a:lnTo>
                    <a:pt x="751421" y="329665"/>
                  </a:lnTo>
                  <a:lnTo>
                    <a:pt x="755566" y="321623"/>
                  </a:lnTo>
                  <a:lnTo>
                    <a:pt x="757638" y="319995"/>
                  </a:lnTo>
                  <a:close/>
                  <a:moveTo>
                    <a:pt x="509999" y="225212"/>
                  </a:moveTo>
                  <a:lnTo>
                    <a:pt x="518337" y="226840"/>
                  </a:lnTo>
                  <a:lnTo>
                    <a:pt x="520410" y="228419"/>
                  </a:lnTo>
                  <a:lnTo>
                    <a:pt x="516265" y="230047"/>
                  </a:lnTo>
                  <a:lnTo>
                    <a:pt x="509999" y="228419"/>
                  </a:lnTo>
                  <a:lnTo>
                    <a:pt x="509999" y="225212"/>
                  </a:lnTo>
                  <a:close/>
                  <a:moveTo>
                    <a:pt x="514193" y="238090"/>
                  </a:moveTo>
                  <a:lnTo>
                    <a:pt x="522482" y="239718"/>
                  </a:lnTo>
                  <a:lnTo>
                    <a:pt x="526627" y="242974"/>
                  </a:lnTo>
                  <a:lnTo>
                    <a:pt x="530820" y="242974"/>
                  </a:lnTo>
                  <a:lnTo>
                    <a:pt x="530820" y="246182"/>
                  </a:lnTo>
                  <a:lnTo>
                    <a:pt x="518337" y="246182"/>
                  </a:lnTo>
                  <a:lnTo>
                    <a:pt x="512071" y="241248"/>
                  </a:lnTo>
                  <a:close/>
                  <a:moveTo>
                    <a:pt x="520410" y="247958"/>
                  </a:moveTo>
                  <a:lnTo>
                    <a:pt x="530820" y="247958"/>
                  </a:lnTo>
                  <a:lnTo>
                    <a:pt x="534965" y="251165"/>
                  </a:lnTo>
                  <a:lnTo>
                    <a:pt x="528748" y="257629"/>
                  </a:lnTo>
                  <a:lnTo>
                    <a:pt x="524603" y="259257"/>
                  </a:lnTo>
                  <a:lnTo>
                    <a:pt x="520410" y="256000"/>
                  </a:lnTo>
                  <a:lnTo>
                    <a:pt x="522482" y="251066"/>
                  </a:lnTo>
                  <a:close/>
                  <a:moveTo>
                    <a:pt x="503782" y="173947"/>
                  </a:moveTo>
                  <a:lnTo>
                    <a:pt x="509999" y="165905"/>
                  </a:lnTo>
                  <a:lnTo>
                    <a:pt x="518337" y="156037"/>
                  </a:lnTo>
                  <a:lnTo>
                    <a:pt x="522482" y="151103"/>
                  </a:lnTo>
                  <a:lnTo>
                    <a:pt x="526627" y="149474"/>
                  </a:lnTo>
                  <a:lnTo>
                    <a:pt x="534965" y="160773"/>
                  </a:lnTo>
                  <a:lnTo>
                    <a:pt x="547448" y="167237"/>
                  </a:lnTo>
                  <a:lnTo>
                    <a:pt x="547448" y="170444"/>
                  </a:lnTo>
                  <a:lnTo>
                    <a:pt x="555787" y="176908"/>
                  </a:lnTo>
                  <a:lnTo>
                    <a:pt x="557859" y="181842"/>
                  </a:lnTo>
                  <a:lnTo>
                    <a:pt x="564125" y="183470"/>
                  </a:lnTo>
                  <a:lnTo>
                    <a:pt x="574536" y="180263"/>
                  </a:lnTo>
                  <a:lnTo>
                    <a:pt x="576608" y="177056"/>
                  </a:lnTo>
                  <a:lnTo>
                    <a:pt x="584946" y="177056"/>
                  </a:lnTo>
                  <a:lnTo>
                    <a:pt x="589091" y="175427"/>
                  </a:lnTo>
                  <a:lnTo>
                    <a:pt x="609913" y="175427"/>
                  </a:lnTo>
                  <a:lnTo>
                    <a:pt x="628613" y="168964"/>
                  </a:lnTo>
                  <a:lnTo>
                    <a:pt x="634879" y="165757"/>
                  </a:lnTo>
                  <a:lnTo>
                    <a:pt x="651507" y="164178"/>
                  </a:lnTo>
                  <a:lnTo>
                    <a:pt x="661918" y="169112"/>
                  </a:lnTo>
                  <a:lnTo>
                    <a:pt x="663990" y="172319"/>
                  </a:lnTo>
                  <a:lnTo>
                    <a:pt x="672328" y="172319"/>
                  </a:lnTo>
                  <a:lnTo>
                    <a:pt x="687130" y="165905"/>
                  </a:lnTo>
                  <a:lnTo>
                    <a:pt x="705880" y="162648"/>
                  </a:lnTo>
                  <a:lnTo>
                    <a:pt x="703758" y="157714"/>
                  </a:lnTo>
                  <a:lnTo>
                    <a:pt x="718560" y="139952"/>
                  </a:lnTo>
                  <a:lnTo>
                    <a:pt x="724777" y="127074"/>
                  </a:lnTo>
                  <a:lnTo>
                    <a:pt x="735237" y="112617"/>
                  </a:lnTo>
                  <a:lnTo>
                    <a:pt x="743527" y="88490"/>
                  </a:lnTo>
                  <a:lnTo>
                    <a:pt x="743527" y="83556"/>
                  </a:lnTo>
                  <a:lnTo>
                    <a:pt x="747671" y="78622"/>
                  </a:lnTo>
                  <a:lnTo>
                    <a:pt x="745648" y="75414"/>
                  </a:lnTo>
                  <a:lnTo>
                    <a:pt x="753937" y="67323"/>
                  </a:lnTo>
                  <a:lnTo>
                    <a:pt x="760203" y="68951"/>
                  </a:lnTo>
                  <a:lnTo>
                    <a:pt x="787242" y="68951"/>
                  </a:lnTo>
                  <a:lnTo>
                    <a:pt x="791387" y="70530"/>
                  </a:lnTo>
                  <a:lnTo>
                    <a:pt x="801797" y="70530"/>
                  </a:lnTo>
                  <a:lnTo>
                    <a:pt x="808063" y="72158"/>
                  </a:lnTo>
                  <a:lnTo>
                    <a:pt x="808063" y="73786"/>
                  </a:lnTo>
                  <a:lnTo>
                    <a:pt x="803870" y="75414"/>
                  </a:lnTo>
                  <a:lnTo>
                    <a:pt x="805991" y="78622"/>
                  </a:lnTo>
                  <a:lnTo>
                    <a:pt x="803870" y="81829"/>
                  </a:lnTo>
                  <a:lnTo>
                    <a:pt x="810136" y="83407"/>
                  </a:lnTo>
                  <a:lnTo>
                    <a:pt x="818425" y="89871"/>
                  </a:lnTo>
                  <a:lnTo>
                    <a:pt x="810136" y="93078"/>
                  </a:lnTo>
                  <a:lnTo>
                    <a:pt x="801797" y="91499"/>
                  </a:lnTo>
                  <a:lnTo>
                    <a:pt x="797653" y="93078"/>
                  </a:lnTo>
                  <a:lnTo>
                    <a:pt x="803870" y="99542"/>
                  </a:lnTo>
                  <a:lnTo>
                    <a:pt x="805991" y="99542"/>
                  </a:lnTo>
                  <a:lnTo>
                    <a:pt x="808063" y="104476"/>
                  </a:lnTo>
                  <a:lnTo>
                    <a:pt x="803623" y="104476"/>
                  </a:lnTo>
                  <a:lnTo>
                    <a:pt x="801551" y="109410"/>
                  </a:lnTo>
                  <a:lnTo>
                    <a:pt x="807818" y="114344"/>
                  </a:lnTo>
                  <a:lnTo>
                    <a:pt x="809890" y="120758"/>
                  </a:lnTo>
                  <a:lnTo>
                    <a:pt x="822373" y="130626"/>
                  </a:lnTo>
                  <a:lnTo>
                    <a:pt x="826517" y="135560"/>
                  </a:lnTo>
                  <a:lnTo>
                    <a:pt x="824445" y="142024"/>
                  </a:lnTo>
                  <a:lnTo>
                    <a:pt x="814035" y="143603"/>
                  </a:lnTo>
                  <a:lnTo>
                    <a:pt x="814035" y="146810"/>
                  </a:lnTo>
                  <a:lnTo>
                    <a:pt x="816156" y="148438"/>
                  </a:lnTo>
                  <a:lnTo>
                    <a:pt x="818178" y="154902"/>
                  </a:lnTo>
                  <a:lnTo>
                    <a:pt x="822373" y="156481"/>
                  </a:lnTo>
                  <a:lnTo>
                    <a:pt x="839000" y="169359"/>
                  </a:lnTo>
                  <a:lnTo>
                    <a:pt x="843194" y="169359"/>
                  </a:lnTo>
                  <a:lnTo>
                    <a:pt x="849411" y="175822"/>
                  </a:lnTo>
                  <a:lnTo>
                    <a:pt x="851532" y="179029"/>
                  </a:lnTo>
                  <a:lnTo>
                    <a:pt x="857749" y="180657"/>
                  </a:lnTo>
                  <a:lnTo>
                    <a:pt x="855677" y="185591"/>
                  </a:lnTo>
                  <a:lnTo>
                    <a:pt x="851532" y="187220"/>
                  </a:lnTo>
                  <a:lnTo>
                    <a:pt x="847339" y="185591"/>
                  </a:lnTo>
                  <a:lnTo>
                    <a:pt x="841122" y="188848"/>
                  </a:lnTo>
                  <a:lnTo>
                    <a:pt x="832783" y="188848"/>
                  </a:lnTo>
                  <a:lnTo>
                    <a:pt x="820300" y="177598"/>
                  </a:lnTo>
                  <a:lnTo>
                    <a:pt x="824445" y="187466"/>
                  </a:lnTo>
                  <a:lnTo>
                    <a:pt x="822373" y="190674"/>
                  </a:lnTo>
                  <a:lnTo>
                    <a:pt x="818178" y="185740"/>
                  </a:lnTo>
                  <a:lnTo>
                    <a:pt x="809890" y="192203"/>
                  </a:lnTo>
                  <a:lnTo>
                    <a:pt x="809890" y="197137"/>
                  </a:lnTo>
                  <a:lnTo>
                    <a:pt x="807818" y="200344"/>
                  </a:lnTo>
                  <a:lnTo>
                    <a:pt x="805744" y="211643"/>
                  </a:lnTo>
                  <a:lnTo>
                    <a:pt x="803623" y="216577"/>
                  </a:lnTo>
                  <a:lnTo>
                    <a:pt x="799478" y="227876"/>
                  </a:lnTo>
                  <a:lnTo>
                    <a:pt x="791140" y="234340"/>
                  </a:lnTo>
                  <a:lnTo>
                    <a:pt x="793212" y="242333"/>
                  </a:lnTo>
                  <a:lnTo>
                    <a:pt x="789068" y="247267"/>
                  </a:lnTo>
                  <a:lnTo>
                    <a:pt x="782802" y="252201"/>
                  </a:lnTo>
                  <a:lnTo>
                    <a:pt x="780779" y="247267"/>
                  </a:lnTo>
                  <a:lnTo>
                    <a:pt x="776585" y="245639"/>
                  </a:lnTo>
                  <a:lnTo>
                    <a:pt x="778657" y="248846"/>
                  </a:lnTo>
                  <a:lnTo>
                    <a:pt x="778657" y="256888"/>
                  </a:lnTo>
                  <a:lnTo>
                    <a:pt x="772440" y="261822"/>
                  </a:lnTo>
                  <a:lnTo>
                    <a:pt x="770368" y="268286"/>
                  </a:lnTo>
                  <a:lnTo>
                    <a:pt x="764102" y="269865"/>
                  </a:lnTo>
                  <a:lnTo>
                    <a:pt x="759956" y="269865"/>
                  </a:lnTo>
                  <a:lnTo>
                    <a:pt x="759956" y="271493"/>
                  </a:lnTo>
                  <a:lnTo>
                    <a:pt x="757835" y="274700"/>
                  </a:lnTo>
                  <a:lnTo>
                    <a:pt x="766173" y="274700"/>
                  </a:lnTo>
                  <a:lnTo>
                    <a:pt x="768247" y="276328"/>
                  </a:lnTo>
                  <a:lnTo>
                    <a:pt x="766173" y="281262"/>
                  </a:lnTo>
                  <a:lnTo>
                    <a:pt x="762030" y="284469"/>
                  </a:lnTo>
                  <a:lnTo>
                    <a:pt x="766173" y="286048"/>
                  </a:lnTo>
                  <a:lnTo>
                    <a:pt x="770368" y="286048"/>
                  </a:lnTo>
                  <a:lnTo>
                    <a:pt x="770368" y="288318"/>
                  </a:lnTo>
                  <a:lnTo>
                    <a:pt x="768247" y="293252"/>
                  </a:lnTo>
                  <a:lnTo>
                    <a:pt x="762030" y="291624"/>
                  </a:lnTo>
                  <a:lnTo>
                    <a:pt x="762030" y="291624"/>
                  </a:lnTo>
                  <a:lnTo>
                    <a:pt x="762030" y="293252"/>
                  </a:lnTo>
                  <a:lnTo>
                    <a:pt x="764102" y="296459"/>
                  </a:lnTo>
                  <a:lnTo>
                    <a:pt x="766173" y="298038"/>
                  </a:lnTo>
                  <a:lnTo>
                    <a:pt x="762030" y="307906"/>
                  </a:lnTo>
                  <a:lnTo>
                    <a:pt x="757835" y="307906"/>
                  </a:lnTo>
                  <a:lnTo>
                    <a:pt x="755763" y="304699"/>
                  </a:lnTo>
                  <a:lnTo>
                    <a:pt x="753690" y="312791"/>
                  </a:lnTo>
                  <a:lnTo>
                    <a:pt x="753690" y="317725"/>
                  </a:lnTo>
                  <a:lnTo>
                    <a:pt x="745401" y="329024"/>
                  </a:lnTo>
                  <a:lnTo>
                    <a:pt x="732869" y="337066"/>
                  </a:lnTo>
                  <a:lnTo>
                    <a:pt x="722459" y="338645"/>
                  </a:lnTo>
                  <a:lnTo>
                    <a:pt x="707656" y="343579"/>
                  </a:lnTo>
                  <a:lnTo>
                    <a:pt x="701440" y="345208"/>
                  </a:lnTo>
                  <a:lnTo>
                    <a:pt x="699318" y="337165"/>
                  </a:lnTo>
                  <a:lnTo>
                    <a:pt x="701440" y="332231"/>
                  </a:lnTo>
                  <a:lnTo>
                    <a:pt x="697245" y="327297"/>
                  </a:lnTo>
                  <a:lnTo>
                    <a:pt x="695173" y="324090"/>
                  </a:lnTo>
                  <a:lnTo>
                    <a:pt x="693101" y="325718"/>
                  </a:lnTo>
                  <a:lnTo>
                    <a:pt x="688907" y="322462"/>
                  </a:lnTo>
                  <a:lnTo>
                    <a:pt x="678496" y="322462"/>
                  </a:lnTo>
                  <a:lnTo>
                    <a:pt x="676424" y="317528"/>
                  </a:lnTo>
                  <a:lnTo>
                    <a:pt x="674352" y="322462"/>
                  </a:lnTo>
                  <a:lnTo>
                    <a:pt x="676424" y="325718"/>
                  </a:lnTo>
                  <a:lnTo>
                    <a:pt x="670207" y="324090"/>
                  </a:lnTo>
                  <a:lnTo>
                    <a:pt x="666063" y="320834"/>
                  </a:lnTo>
                  <a:lnTo>
                    <a:pt x="666063" y="315900"/>
                  </a:lnTo>
                  <a:lnTo>
                    <a:pt x="661868" y="312692"/>
                  </a:lnTo>
                  <a:lnTo>
                    <a:pt x="657723" y="315900"/>
                  </a:lnTo>
                  <a:lnTo>
                    <a:pt x="651457" y="312692"/>
                  </a:lnTo>
                  <a:lnTo>
                    <a:pt x="647313" y="312692"/>
                  </a:lnTo>
                  <a:lnTo>
                    <a:pt x="643119" y="317626"/>
                  </a:lnTo>
                  <a:lnTo>
                    <a:pt x="634830" y="319255"/>
                  </a:lnTo>
                  <a:lnTo>
                    <a:pt x="632709" y="322462"/>
                  </a:lnTo>
                  <a:lnTo>
                    <a:pt x="626492" y="322462"/>
                  </a:lnTo>
                  <a:lnTo>
                    <a:pt x="622347" y="319255"/>
                  </a:lnTo>
                  <a:lnTo>
                    <a:pt x="618152" y="320834"/>
                  </a:lnTo>
                  <a:lnTo>
                    <a:pt x="609864" y="328925"/>
                  </a:lnTo>
                  <a:lnTo>
                    <a:pt x="605669" y="328925"/>
                  </a:lnTo>
                  <a:lnTo>
                    <a:pt x="605669" y="314419"/>
                  </a:lnTo>
                  <a:lnTo>
                    <a:pt x="601525" y="306377"/>
                  </a:lnTo>
                  <a:lnTo>
                    <a:pt x="603597" y="301443"/>
                  </a:lnTo>
                  <a:lnTo>
                    <a:pt x="601525" y="296508"/>
                  </a:lnTo>
                  <a:lnTo>
                    <a:pt x="601525" y="299765"/>
                  </a:lnTo>
                  <a:lnTo>
                    <a:pt x="599453" y="306179"/>
                  </a:lnTo>
                  <a:lnTo>
                    <a:pt x="595308" y="309387"/>
                  </a:lnTo>
                  <a:lnTo>
                    <a:pt x="589042" y="306179"/>
                  </a:lnTo>
                  <a:lnTo>
                    <a:pt x="582776" y="309387"/>
                  </a:lnTo>
                  <a:lnTo>
                    <a:pt x="574487" y="311015"/>
                  </a:lnTo>
                  <a:lnTo>
                    <a:pt x="568221" y="309387"/>
                  </a:lnTo>
                  <a:lnTo>
                    <a:pt x="561954" y="307758"/>
                  </a:lnTo>
                  <a:lnTo>
                    <a:pt x="559932" y="304551"/>
                  </a:lnTo>
                  <a:lnTo>
                    <a:pt x="553665" y="309485"/>
                  </a:lnTo>
                  <a:lnTo>
                    <a:pt x="549520" y="309485"/>
                  </a:lnTo>
                  <a:lnTo>
                    <a:pt x="545326" y="299864"/>
                  </a:lnTo>
                  <a:lnTo>
                    <a:pt x="545326" y="293252"/>
                  </a:lnTo>
                  <a:lnTo>
                    <a:pt x="543254" y="278746"/>
                  </a:lnTo>
                  <a:lnTo>
                    <a:pt x="536988" y="275539"/>
                  </a:lnTo>
                  <a:lnTo>
                    <a:pt x="534916" y="272283"/>
                  </a:lnTo>
                  <a:lnTo>
                    <a:pt x="539109" y="267348"/>
                  </a:lnTo>
                  <a:lnTo>
                    <a:pt x="545326" y="260885"/>
                  </a:lnTo>
                  <a:lnTo>
                    <a:pt x="543254" y="255951"/>
                  </a:lnTo>
                  <a:lnTo>
                    <a:pt x="539109" y="249537"/>
                  </a:lnTo>
                  <a:lnTo>
                    <a:pt x="528699" y="241445"/>
                  </a:lnTo>
                  <a:lnTo>
                    <a:pt x="520361" y="236511"/>
                  </a:lnTo>
                  <a:lnTo>
                    <a:pt x="512021" y="234882"/>
                  </a:lnTo>
                  <a:lnTo>
                    <a:pt x="512021" y="233303"/>
                  </a:lnTo>
                  <a:lnTo>
                    <a:pt x="518288" y="231675"/>
                  </a:lnTo>
                  <a:lnTo>
                    <a:pt x="524554" y="228419"/>
                  </a:lnTo>
                  <a:lnTo>
                    <a:pt x="536988" y="225212"/>
                  </a:lnTo>
                  <a:lnTo>
                    <a:pt x="545326" y="218748"/>
                  </a:lnTo>
                  <a:lnTo>
                    <a:pt x="551592" y="220426"/>
                  </a:lnTo>
                  <a:lnTo>
                    <a:pt x="545326" y="218748"/>
                  </a:lnTo>
                  <a:lnTo>
                    <a:pt x="536988" y="223682"/>
                  </a:lnTo>
                  <a:lnTo>
                    <a:pt x="524554" y="225261"/>
                  </a:lnTo>
                  <a:lnTo>
                    <a:pt x="520361" y="225261"/>
                  </a:lnTo>
                  <a:lnTo>
                    <a:pt x="512021" y="223682"/>
                  </a:lnTo>
                  <a:lnTo>
                    <a:pt x="507877" y="217219"/>
                  </a:lnTo>
                  <a:lnTo>
                    <a:pt x="509949" y="215590"/>
                  </a:lnTo>
                  <a:lnTo>
                    <a:pt x="514144" y="217219"/>
                  </a:lnTo>
                  <a:lnTo>
                    <a:pt x="512021" y="212285"/>
                  </a:lnTo>
                  <a:lnTo>
                    <a:pt x="501611" y="201035"/>
                  </a:lnTo>
                  <a:lnTo>
                    <a:pt x="499539" y="188157"/>
                  </a:lnTo>
                  <a:lnTo>
                    <a:pt x="503732" y="186529"/>
                  </a:lnTo>
                  <a:lnTo>
                    <a:pt x="505804" y="181595"/>
                  </a:lnTo>
                  <a:lnTo>
                    <a:pt x="503732" y="178388"/>
                  </a:lnTo>
                  <a:close/>
                  <a:moveTo>
                    <a:pt x="1438190" y="241544"/>
                  </a:moveTo>
                  <a:lnTo>
                    <a:pt x="1434045" y="241544"/>
                  </a:lnTo>
                  <a:lnTo>
                    <a:pt x="1438190" y="246478"/>
                  </a:lnTo>
                  <a:lnTo>
                    <a:pt x="1442334" y="244849"/>
                  </a:lnTo>
                  <a:close/>
                  <a:moveTo>
                    <a:pt x="1452745" y="260885"/>
                  </a:moveTo>
                  <a:lnTo>
                    <a:pt x="1444407" y="260885"/>
                  </a:lnTo>
                  <a:lnTo>
                    <a:pt x="1448600" y="262513"/>
                  </a:lnTo>
                  <a:close/>
                  <a:moveTo>
                    <a:pt x="1459011" y="262513"/>
                  </a:moveTo>
                  <a:lnTo>
                    <a:pt x="1461083" y="265720"/>
                  </a:lnTo>
                  <a:lnTo>
                    <a:pt x="1473567" y="268927"/>
                  </a:lnTo>
                  <a:lnTo>
                    <a:pt x="1490194" y="270556"/>
                  </a:lnTo>
                  <a:lnTo>
                    <a:pt x="1504996" y="268927"/>
                  </a:lnTo>
                  <a:lnTo>
                    <a:pt x="1509141" y="267348"/>
                  </a:lnTo>
                  <a:lnTo>
                    <a:pt x="1496658" y="264092"/>
                  </a:lnTo>
                  <a:lnTo>
                    <a:pt x="1490391" y="265720"/>
                  </a:lnTo>
                  <a:lnTo>
                    <a:pt x="1479981" y="264092"/>
                  </a:lnTo>
                  <a:lnTo>
                    <a:pt x="1471642" y="265720"/>
                  </a:lnTo>
                  <a:close/>
                  <a:moveTo>
                    <a:pt x="1459011" y="233550"/>
                  </a:moveTo>
                  <a:lnTo>
                    <a:pt x="1465228" y="238484"/>
                  </a:lnTo>
                  <a:lnTo>
                    <a:pt x="1465228" y="235277"/>
                  </a:lnTo>
                  <a:lnTo>
                    <a:pt x="1469422" y="235277"/>
                  </a:lnTo>
                  <a:lnTo>
                    <a:pt x="1475639" y="241691"/>
                  </a:lnTo>
                  <a:lnTo>
                    <a:pt x="1473567" y="246625"/>
                  </a:lnTo>
                  <a:lnTo>
                    <a:pt x="1481855" y="246625"/>
                  </a:lnTo>
                  <a:lnTo>
                    <a:pt x="1483977" y="248204"/>
                  </a:lnTo>
                  <a:lnTo>
                    <a:pt x="1492267" y="246625"/>
                  </a:lnTo>
                  <a:lnTo>
                    <a:pt x="1490194" y="244997"/>
                  </a:lnTo>
                  <a:lnTo>
                    <a:pt x="1483977" y="241741"/>
                  </a:lnTo>
                  <a:lnTo>
                    <a:pt x="1479784" y="235327"/>
                  </a:lnTo>
                  <a:lnTo>
                    <a:pt x="1473567" y="232119"/>
                  </a:lnTo>
                  <a:lnTo>
                    <a:pt x="1467300" y="232119"/>
                  </a:lnTo>
                  <a:lnTo>
                    <a:pt x="1456889" y="230491"/>
                  </a:lnTo>
                  <a:close/>
                  <a:moveTo>
                    <a:pt x="1354952" y="388084"/>
                  </a:moveTo>
                  <a:lnTo>
                    <a:pt x="1356975" y="393018"/>
                  </a:lnTo>
                  <a:lnTo>
                    <a:pt x="1356975" y="397952"/>
                  </a:lnTo>
                  <a:lnTo>
                    <a:pt x="1359097" y="401159"/>
                  </a:lnTo>
                  <a:lnTo>
                    <a:pt x="1359097" y="393117"/>
                  </a:lnTo>
                  <a:close/>
                  <a:moveTo>
                    <a:pt x="1373652" y="381670"/>
                  </a:moveTo>
                  <a:lnTo>
                    <a:pt x="1367386" y="384877"/>
                  </a:lnTo>
                  <a:lnTo>
                    <a:pt x="1363241" y="397755"/>
                  </a:lnTo>
                  <a:lnTo>
                    <a:pt x="1361169" y="400962"/>
                  </a:lnTo>
                  <a:lnTo>
                    <a:pt x="1365314" y="399334"/>
                  </a:lnTo>
                  <a:lnTo>
                    <a:pt x="1369507" y="386456"/>
                  </a:lnTo>
                  <a:close/>
                  <a:moveTo>
                    <a:pt x="1429851" y="421882"/>
                  </a:moveTo>
                  <a:lnTo>
                    <a:pt x="1427779" y="425139"/>
                  </a:lnTo>
                  <a:lnTo>
                    <a:pt x="1429851" y="426718"/>
                  </a:lnTo>
                  <a:lnTo>
                    <a:pt x="1431924" y="425139"/>
                  </a:lnTo>
                  <a:close/>
                  <a:moveTo>
                    <a:pt x="1409029" y="412014"/>
                  </a:moveTo>
                  <a:lnTo>
                    <a:pt x="1406957" y="408758"/>
                  </a:lnTo>
                  <a:lnTo>
                    <a:pt x="1406957" y="418626"/>
                  </a:lnTo>
                  <a:lnTo>
                    <a:pt x="1411102" y="420205"/>
                  </a:lnTo>
                  <a:lnTo>
                    <a:pt x="1411102" y="425139"/>
                  </a:lnTo>
                  <a:lnTo>
                    <a:pt x="1409029" y="421882"/>
                  </a:lnTo>
                  <a:lnTo>
                    <a:pt x="1406957" y="421882"/>
                  </a:lnTo>
                  <a:lnTo>
                    <a:pt x="1406957" y="428346"/>
                  </a:lnTo>
                  <a:lnTo>
                    <a:pt x="1409029" y="429925"/>
                  </a:lnTo>
                  <a:lnTo>
                    <a:pt x="1413223" y="429925"/>
                  </a:lnTo>
                  <a:lnTo>
                    <a:pt x="1419440" y="424991"/>
                  </a:lnTo>
                  <a:lnTo>
                    <a:pt x="1421512" y="421734"/>
                  </a:lnTo>
                  <a:lnTo>
                    <a:pt x="1417367" y="420106"/>
                  </a:lnTo>
                  <a:lnTo>
                    <a:pt x="1415295" y="416899"/>
                  </a:lnTo>
                  <a:close/>
                  <a:moveTo>
                    <a:pt x="1421512" y="413593"/>
                  </a:moveTo>
                  <a:lnTo>
                    <a:pt x="1419440" y="415221"/>
                  </a:lnTo>
                  <a:lnTo>
                    <a:pt x="1419440" y="418429"/>
                  </a:lnTo>
                  <a:lnTo>
                    <a:pt x="1423634" y="420008"/>
                  </a:lnTo>
                  <a:lnTo>
                    <a:pt x="1427779" y="418429"/>
                  </a:lnTo>
                  <a:lnTo>
                    <a:pt x="1425707" y="416800"/>
                  </a:lnTo>
                  <a:close/>
                  <a:moveTo>
                    <a:pt x="1413223" y="403725"/>
                  </a:moveTo>
                  <a:lnTo>
                    <a:pt x="1409029" y="403725"/>
                  </a:lnTo>
                  <a:lnTo>
                    <a:pt x="1406957" y="406932"/>
                  </a:lnTo>
                  <a:lnTo>
                    <a:pt x="1413223" y="411866"/>
                  </a:lnTo>
                  <a:lnTo>
                    <a:pt x="1417367" y="413445"/>
                  </a:lnTo>
                  <a:lnTo>
                    <a:pt x="1419440" y="411866"/>
                  </a:lnTo>
                  <a:lnTo>
                    <a:pt x="1413223" y="406932"/>
                  </a:lnTo>
                  <a:close/>
                  <a:moveTo>
                    <a:pt x="1425707" y="398791"/>
                  </a:moveTo>
                  <a:lnTo>
                    <a:pt x="1419440" y="402048"/>
                  </a:lnTo>
                  <a:lnTo>
                    <a:pt x="1415295" y="405255"/>
                  </a:lnTo>
                  <a:lnTo>
                    <a:pt x="1415295" y="406883"/>
                  </a:lnTo>
                  <a:lnTo>
                    <a:pt x="1423634" y="410090"/>
                  </a:lnTo>
                  <a:lnTo>
                    <a:pt x="1425707" y="411718"/>
                  </a:lnTo>
                  <a:lnTo>
                    <a:pt x="1429851" y="408462"/>
                  </a:lnTo>
                  <a:lnTo>
                    <a:pt x="1429851" y="402048"/>
                  </a:lnTo>
                  <a:lnTo>
                    <a:pt x="1427779" y="400419"/>
                  </a:lnTo>
                  <a:close/>
                  <a:moveTo>
                    <a:pt x="1410905" y="392377"/>
                  </a:moveTo>
                  <a:lnTo>
                    <a:pt x="1408831" y="392377"/>
                  </a:lnTo>
                  <a:lnTo>
                    <a:pt x="1408831" y="394005"/>
                  </a:lnTo>
                  <a:lnTo>
                    <a:pt x="1410905" y="394005"/>
                  </a:lnTo>
                  <a:close/>
                  <a:moveTo>
                    <a:pt x="1423437" y="384335"/>
                  </a:moveTo>
                  <a:lnTo>
                    <a:pt x="1425509" y="387541"/>
                  </a:lnTo>
                  <a:lnTo>
                    <a:pt x="1429653" y="387541"/>
                  </a:lnTo>
                  <a:lnTo>
                    <a:pt x="1425509" y="384335"/>
                  </a:lnTo>
                  <a:close/>
                  <a:moveTo>
                    <a:pt x="1421315" y="385913"/>
                  </a:moveTo>
                  <a:lnTo>
                    <a:pt x="1417171" y="385913"/>
                  </a:lnTo>
                  <a:lnTo>
                    <a:pt x="1415098" y="390847"/>
                  </a:lnTo>
                  <a:lnTo>
                    <a:pt x="1410905" y="390847"/>
                  </a:lnTo>
                  <a:lnTo>
                    <a:pt x="1415098" y="392426"/>
                  </a:lnTo>
                  <a:lnTo>
                    <a:pt x="1415098" y="394054"/>
                  </a:lnTo>
                  <a:lnTo>
                    <a:pt x="1419243" y="394054"/>
                  </a:lnTo>
                  <a:lnTo>
                    <a:pt x="1415098" y="397262"/>
                  </a:lnTo>
                  <a:lnTo>
                    <a:pt x="1415098" y="400469"/>
                  </a:lnTo>
                  <a:lnTo>
                    <a:pt x="1417171" y="400469"/>
                  </a:lnTo>
                  <a:lnTo>
                    <a:pt x="1423437" y="397262"/>
                  </a:lnTo>
                  <a:lnTo>
                    <a:pt x="1427581" y="397262"/>
                  </a:lnTo>
                  <a:lnTo>
                    <a:pt x="1429653" y="394054"/>
                  </a:lnTo>
                  <a:lnTo>
                    <a:pt x="1429653" y="389120"/>
                  </a:lnTo>
                  <a:lnTo>
                    <a:pt x="1425509" y="389120"/>
                  </a:lnTo>
                  <a:close/>
                  <a:moveTo>
                    <a:pt x="1327568" y="434267"/>
                  </a:moveTo>
                  <a:lnTo>
                    <a:pt x="1331713" y="431010"/>
                  </a:lnTo>
                  <a:lnTo>
                    <a:pt x="1331713" y="431010"/>
                  </a:lnTo>
                  <a:close/>
                  <a:moveTo>
                    <a:pt x="1321302" y="437474"/>
                  </a:moveTo>
                  <a:lnTo>
                    <a:pt x="1329641" y="440681"/>
                  </a:lnTo>
                  <a:lnTo>
                    <a:pt x="1327568" y="437474"/>
                  </a:lnTo>
                  <a:close/>
                  <a:moveTo>
                    <a:pt x="1290120" y="450352"/>
                  </a:moveTo>
                  <a:lnTo>
                    <a:pt x="1285925" y="451931"/>
                  </a:lnTo>
                  <a:lnTo>
                    <a:pt x="1288046" y="451931"/>
                  </a:lnTo>
                  <a:close/>
                  <a:moveTo>
                    <a:pt x="1298458" y="447145"/>
                  </a:moveTo>
                  <a:lnTo>
                    <a:pt x="1290120" y="447145"/>
                  </a:lnTo>
                  <a:lnTo>
                    <a:pt x="1294263" y="448724"/>
                  </a:lnTo>
                  <a:lnTo>
                    <a:pt x="1298458" y="448724"/>
                  </a:lnTo>
                  <a:close/>
                  <a:moveTo>
                    <a:pt x="1298458" y="469693"/>
                  </a:moveTo>
                  <a:lnTo>
                    <a:pt x="1296336" y="468065"/>
                  </a:lnTo>
                  <a:lnTo>
                    <a:pt x="1288046" y="472999"/>
                  </a:lnTo>
                  <a:lnTo>
                    <a:pt x="1288046" y="474578"/>
                  </a:lnTo>
                  <a:lnTo>
                    <a:pt x="1292191" y="474578"/>
                  </a:lnTo>
                  <a:lnTo>
                    <a:pt x="1298458" y="471371"/>
                  </a:lnTo>
                  <a:close/>
                  <a:moveTo>
                    <a:pt x="1310941" y="443888"/>
                  </a:moveTo>
                  <a:lnTo>
                    <a:pt x="1300530" y="450352"/>
                  </a:lnTo>
                  <a:lnTo>
                    <a:pt x="1300530" y="453559"/>
                  </a:lnTo>
                  <a:lnTo>
                    <a:pt x="1302602" y="456816"/>
                  </a:lnTo>
                  <a:lnTo>
                    <a:pt x="1298458" y="458394"/>
                  </a:lnTo>
                  <a:lnTo>
                    <a:pt x="1298458" y="463328"/>
                  </a:lnTo>
                  <a:lnTo>
                    <a:pt x="1302602" y="466535"/>
                  </a:lnTo>
                  <a:lnTo>
                    <a:pt x="1306747" y="466535"/>
                  </a:lnTo>
                  <a:lnTo>
                    <a:pt x="1315085" y="456667"/>
                  </a:lnTo>
                  <a:lnTo>
                    <a:pt x="1319279" y="450204"/>
                  </a:lnTo>
                  <a:lnTo>
                    <a:pt x="1317158" y="445270"/>
                  </a:lnTo>
                  <a:lnTo>
                    <a:pt x="1319279" y="442013"/>
                  </a:lnTo>
                  <a:lnTo>
                    <a:pt x="1319279" y="438806"/>
                  </a:lnTo>
                  <a:lnTo>
                    <a:pt x="1315085" y="438806"/>
                  </a:lnTo>
                  <a:lnTo>
                    <a:pt x="1310941" y="440434"/>
                  </a:lnTo>
                  <a:close/>
                  <a:moveTo>
                    <a:pt x="1256667" y="413297"/>
                  </a:moveTo>
                  <a:lnTo>
                    <a:pt x="1260810" y="410090"/>
                  </a:lnTo>
                  <a:lnTo>
                    <a:pt x="1256667" y="408462"/>
                  </a:lnTo>
                  <a:close/>
                  <a:moveTo>
                    <a:pt x="1240038" y="423165"/>
                  </a:moveTo>
                  <a:lnTo>
                    <a:pt x="1235845" y="424793"/>
                  </a:lnTo>
                  <a:lnTo>
                    <a:pt x="1240038" y="424793"/>
                  </a:lnTo>
                  <a:close/>
                  <a:moveTo>
                    <a:pt x="1252522" y="469891"/>
                  </a:moveTo>
                  <a:lnTo>
                    <a:pt x="1246255" y="473098"/>
                  </a:lnTo>
                  <a:lnTo>
                    <a:pt x="1250400" y="473098"/>
                  </a:lnTo>
                  <a:close/>
                  <a:moveTo>
                    <a:pt x="1240038" y="460022"/>
                  </a:moveTo>
                  <a:lnTo>
                    <a:pt x="1244183" y="458394"/>
                  </a:lnTo>
                  <a:lnTo>
                    <a:pt x="1250400" y="460022"/>
                  </a:lnTo>
                  <a:lnTo>
                    <a:pt x="1250400" y="464956"/>
                  </a:lnTo>
                  <a:lnTo>
                    <a:pt x="1246255" y="466585"/>
                  </a:lnTo>
                  <a:lnTo>
                    <a:pt x="1242111" y="463378"/>
                  </a:lnTo>
                  <a:close/>
                  <a:moveTo>
                    <a:pt x="1203280" y="439793"/>
                  </a:moveTo>
                  <a:lnTo>
                    <a:pt x="1205352" y="438214"/>
                  </a:lnTo>
                  <a:lnTo>
                    <a:pt x="1209497" y="439793"/>
                  </a:lnTo>
                  <a:lnTo>
                    <a:pt x="1207425" y="443000"/>
                  </a:lnTo>
                  <a:lnTo>
                    <a:pt x="1203280" y="441273"/>
                  </a:lnTo>
                  <a:close/>
                  <a:moveTo>
                    <a:pt x="1211569" y="475219"/>
                  </a:moveTo>
                  <a:lnTo>
                    <a:pt x="1217835" y="475219"/>
                  </a:lnTo>
                  <a:lnTo>
                    <a:pt x="1219908" y="476848"/>
                  </a:lnTo>
                  <a:lnTo>
                    <a:pt x="1213691" y="476848"/>
                  </a:lnTo>
                  <a:close/>
                  <a:moveTo>
                    <a:pt x="1155371" y="454299"/>
                  </a:moveTo>
                  <a:lnTo>
                    <a:pt x="1161637" y="451092"/>
                  </a:lnTo>
                  <a:lnTo>
                    <a:pt x="1157492" y="449464"/>
                  </a:lnTo>
                  <a:lnTo>
                    <a:pt x="1155371" y="451092"/>
                  </a:lnTo>
                  <a:close/>
                  <a:moveTo>
                    <a:pt x="1174120" y="472012"/>
                  </a:moveTo>
                  <a:lnTo>
                    <a:pt x="1190747" y="472012"/>
                  </a:lnTo>
                  <a:lnTo>
                    <a:pt x="1190747" y="475219"/>
                  </a:lnTo>
                  <a:lnTo>
                    <a:pt x="1182459" y="476848"/>
                  </a:lnTo>
                  <a:lnTo>
                    <a:pt x="1176192" y="475219"/>
                  </a:lnTo>
                  <a:close/>
                  <a:moveTo>
                    <a:pt x="1163709" y="475219"/>
                  </a:moveTo>
                  <a:lnTo>
                    <a:pt x="1169975" y="473640"/>
                  </a:lnTo>
                  <a:lnTo>
                    <a:pt x="1169975" y="476848"/>
                  </a:lnTo>
                  <a:close/>
                  <a:moveTo>
                    <a:pt x="1147082" y="472012"/>
                  </a:moveTo>
                  <a:lnTo>
                    <a:pt x="1153299" y="470433"/>
                  </a:lnTo>
                  <a:lnTo>
                    <a:pt x="1155371" y="473640"/>
                  </a:lnTo>
                  <a:lnTo>
                    <a:pt x="1151226" y="475219"/>
                  </a:lnTo>
                  <a:close/>
                  <a:moveTo>
                    <a:pt x="1013863" y="538030"/>
                  </a:moveTo>
                  <a:lnTo>
                    <a:pt x="1011790" y="544444"/>
                  </a:lnTo>
                  <a:lnTo>
                    <a:pt x="1013863" y="546072"/>
                  </a:lnTo>
                  <a:lnTo>
                    <a:pt x="1026345" y="546072"/>
                  </a:lnTo>
                  <a:lnTo>
                    <a:pt x="1036756" y="539658"/>
                  </a:lnTo>
                  <a:lnTo>
                    <a:pt x="1043023" y="538030"/>
                  </a:lnTo>
                  <a:lnTo>
                    <a:pt x="1049240" y="539658"/>
                  </a:lnTo>
                  <a:lnTo>
                    <a:pt x="1055506" y="534724"/>
                  </a:lnTo>
                  <a:lnTo>
                    <a:pt x="1059650" y="528310"/>
                  </a:lnTo>
                  <a:lnTo>
                    <a:pt x="1074206" y="520267"/>
                  </a:lnTo>
                  <a:lnTo>
                    <a:pt x="1076278" y="517060"/>
                  </a:lnTo>
                  <a:lnTo>
                    <a:pt x="1080472" y="515432"/>
                  </a:lnTo>
                  <a:lnTo>
                    <a:pt x="1072182" y="508968"/>
                  </a:lnTo>
                  <a:lnTo>
                    <a:pt x="1063844" y="500926"/>
                  </a:lnTo>
                  <a:lnTo>
                    <a:pt x="1061772" y="502554"/>
                  </a:lnTo>
                  <a:lnTo>
                    <a:pt x="1055506" y="504182"/>
                  </a:lnTo>
                  <a:lnTo>
                    <a:pt x="1055506" y="512175"/>
                  </a:lnTo>
                  <a:lnTo>
                    <a:pt x="1049240" y="512175"/>
                  </a:lnTo>
                  <a:lnTo>
                    <a:pt x="1040457" y="515284"/>
                  </a:lnTo>
                  <a:lnTo>
                    <a:pt x="1034240" y="510350"/>
                  </a:lnTo>
                  <a:lnTo>
                    <a:pt x="1032168" y="511929"/>
                  </a:lnTo>
                  <a:lnTo>
                    <a:pt x="1025902" y="515185"/>
                  </a:lnTo>
                  <a:lnTo>
                    <a:pt x="1023829" y="521599"/>
                  </a:lnTo>
                  <a:lnTo>
                    <a:pt x="1017613" y="531468"/>
                  </a:lnTo>
                  <a:lnTo>
                    <a:pt x="1015490" y="534674"/>
                  </a:lnTo>
                  <a:lnTo>
                    <a:pt x="1017613" y="536352"/>
                  </a:lnTo>
                  <a:lnTo>
                    <a:pt x="1019685" y="539559"/>
                  </a:lnTo>
                  <a:lnTo>
                    <a:pt x="1015787" y="539559"/>
                  </a:lnTo>
                  <a:close/>
                  <a:moveTo>
                    <a:pt x="1005524" y="544444"/>
                  </a:moveTo>
                  <a:lnTo>
                    <a:pt x="1009718" y="538030"/>
                  </a:lnTo>
                  <a:lnTo>
                    <a:pt x="1005524" y="538030"/>
                  </a:lnTo>
                  <a:lnTo>
                    <a:pt x="1003452" y="542964"/>
                  </a:lnTo>
                  <a:close/>
                  <a:moveTo>
                    <a:pt x="1007646" y="549378"/>
                  </a:moveTo>
                  <a:lnTo>
                    <a:pt x="999307" y="551006"/>
                  </a:lnTo>
                  <a:lnTo>
                    <a:pt x="1001380" y="552634"/>
                  </a:lnTo>
                  <a:lnTo>
                    <a:pt x="990968" y="557568"/>
                  </a:lnTo>
                  <a:lnTo>
                    <a:pt x="984751" y="562502"/>
                  </a:lnTo>
                  <a:lnTo>
                    <a:pt x="990968" y="564131"/>
                  </a:lnTo>
                  <a:lnTo>
                    <a:pt x="1005524" y="557667"/>
                  </a:lnTo>
                  <a:lnTo>
                    <a:pt x="1009718" y="552733"/>
                  </a:lnTo>
                  <a:close/>
                  <a:moveTo>
                    <a:pt x="953372" y="547799"/>
                  </a:moveTo>
                  <a:lnTo>
                    <a:pt x="957565" y="549378"/>
                  </a:lnTo>
                  <a:lnTo>
                    <a:pt x="957565" y="552634"/>
                  </a:lnTo>
                  <a:lnTo>
                    <a:pt x="953372" y="554213"/>
                  </a:lnTo>
                  <a:lnTo>
                    <a:pt x="947155" y="554213"/>
                  </a:lnTo>
                  <a:lnTo>
                    <a:pt x="951299" y="549279"/>
                  </a:lnTo>
                  <a:close/>
                  <a:moveTo>
                    <a:pt x="849312" y="514001"/>
                  </a:moveTo>
                  <a:lnTo>
                    <a:pt x="864114" y="507537"/>
                  </a:lnTo>
                  <a:lnTo>
                    <a:pt x="874526" y="514001"/>
                  </a:lnTo>
                  <a:lnTo>
                    <a:pt x="880791" y="514001"/>
                  </a:lnTo>
                  <a:lnTo>
                    <a:pt x="887057" y="510744"/>
                  </a:lnTo>
                  <a:lnTo>
                    <a:pt x="895347" y="514001"/>
                  </a:lnTo>
                  <a:lnTo>
                    <a:pt x="897419" y="520415"/>
                  </a:lnTo>
                  <a:lnTo>
                    <a:pt x="905757" y="520415"/>
                  </a:lnTo>
                  <a:lnTo>
                    <a:pt x="912024" y="528458"/>
                  </a:lnTo>
                  <a:lnTo>
                    <a:pt x="918241" y="533392"/>
                  </a:lnTo>
                  <a:lnTo>
                    <a:pt x="918241" y="536648"/>
                  </a:lnTo>
                  <a:lnTo>
                    <a:pt x="907831" y="541582"/>
                  </a:lnTo>
                  <a:lnTo>
                    <a:pt x="897419" y="541582"/>
                  </a:lnTo>
                  <a:lnTo>
                    <a:pt x="889081" y="538375"/>
                  </a:lnTo>
                  <a:lnTo>
                    <a:pt x="884936" y="531911"/>
                  </a:lnTo>
                  <a:lnTo>
                    <a:pt x="878719" y="530332"/>
                  </a:lnTo>
                  <a:lnTo>
                    <a:pt x="872453" y="523869"/>
                  </a:lnTo>
                  <a:lnTo>
                    <a:pt x="864114" y="525497"/>
                  </a:lnTo>
                  <a:lnTo>
                    <a:pt x="853703" y="523869"/>
                  </a:lnTo>
                  <a:lnTo>
                    <a:pt x="849559" y="518935"/>
                  </a:lnTo>
                  <a:close/>
                  <a:moveTo>
                    <a:pt x="736964" y="443099"/>
                  </a:moveTo>
                  <a:lnTo>
                    <a:pt x="743181" y="444727"/>
                  </a:lnTo>
                  <a:lnTo>
                    <a:pt x="745303" y="443099"/>
                  </a:lnTo>
                  <a:lnTo>
                    <a:pt x="743181" y="444727"/>
                  </a:lnTo>
                  <a:lnTo>
                    <a:pt x="738987" y="444727"/>
                  </a:lnTo>
                  <a:close/>
                  <a:moveTo>
                    <a:pt x="716143" y="435106"/>
                  </a:moveTo>
                  <a:lnTo>
                    <a:pt x="722360" y="438313"/>
                  </a:lnTo>
                  <a:lnTo>
                    <a:pt x="726553" y="433379"/>
                  </a:lnTo>
                  <a:lnTo>
                    <a:pt x="728626" y="435056"/>
                  </a:lnTo>
                  <a:lnTo>
                    <a:pt x="732770" y="435056"/>
                  </a:lnTo>
                  <a:lnTo>
                    <a:pt x="730698" y="433379"/>
                  </a:lnTo>
                  <a:lnTo>
                    <a:pt x="726553" y="431800"/>
                  </a:lnTo>
                  <a:lnTo>
                    <a:pt x="720288" y="430172"/>
                  </a:lnTo>
                  <a:lnTo>
                    <a:pt x="716143" y="433379"/>
                  </a:lnTo>
                  <a:close/>
                  <a:moveTo>
                    <a:pt x="1103218" y="465647"/>
                  </a:moveTo>
                  <a:lnTo>
                    <a:pt x="1111556" y="462440"/>
                  </a:lnTo>
                  <a:lnTo>
                    <a:pt x="1124039" y="464068"/>
                  </a:lnTo>
                  <a:lnTo>
                    <a:pt x="1128184" y="467276"/>
                  </a:lnTo>
                  <a:lnTo>
                    <a:pt x="1128184" y="464068"/>
                  </a:lnTo>
                  <a:lnTo>
                    <a:pt x="1134204" y="461009"/>
                  </a:lnTo>
                  <a:lnTo>
                    <a:pt x="1140420" y="457802"/>
                  </a:lnTo>
                  <a:lnTo>
                    <a:pt x="1138349" y="454546"/>
                  </a:lnTo>
                  <a:lnTo>
                    <a:pt x="1132132" y="452917"/>
                  </a:lnTo>
                  <a:lnTo>
                    <a:pt x="1125865" y="456125"/>
                  </a:lnTo>
                  <a:lnTo>
                    <a:pt x="1115454" y="457802"/>
                  </a:lnTo>
                  <a:lnTo>
                    <a:pt x="1111310" y="454546"/>
                  </a:lnTo>
                  <a:lnTo>
                    <a:pt x="1105044" y="456125"/>
                  </a:lnTo>
                  <a:lnTo>
                    <a:pt x="1102971" y="462588"/>
                  </a:lnTo>
                  <a:close/>
                  <a:moveTo>
                    <a:pt x="1092808" y="473739"/>
                  </a:moveTo>
                  <a:lnTo>
                    <a:pt x="1090734" y="476946"/>
                  </a:lnTo>
                  <a:lnTo>
                    <a:pt x="1090734" y="478525"/>
                  </a:lnTo>
                  <a:lnTo>
                    <a:pt x="1094879" y="476946"/>
                  </a:lnTo>
                  <a:close/>
                  <a:moveTo>
                    <a:pt x="1059503" y="473739"/>
                  </a:moveTo>
                  <a:lnTo>
                    <a:pt x="1053286" y="476946"/>
                  </a:lnTo>
                  <a:lnTo>
                    <a:pt x="1055358" y="478525"/>
                  </a:lnTo>
                  <a:lnTo>
                    <a:pt x="1053286" y="480153"/>
                  </a:lnTo>
                  <a:lnTo>
                    <a:pt x="1053286" y="481782"/>
                  </a:lnTo>
                  <a:lnTo>
                    <a:pt x="1059503" y="483361"/>
                  </a:lnTo>
                  <a:lnTo>
                    <a:pt x="1072034" y="480153"/>
                  </a:lnTo>
                  <a:lnTo>
                    <a:pt x="1076130" y="476946"/>
                  </a:lnTo>
                  <a:lnTo>
                    <a:pt x="1072034" y="473739"/>
                  </a:lnTo>
                  <a:lnTo>
                    <a:pt x="1063696" y="475318"/>
                  </a:lnTo>
                  <a:close/>
                  <a:moveTo>
                    <a:pt x="1032463" y="484989"/>
                  </a:moveTo>
                  <a:lnTo>
                    <a:pt x="1038680" y="484989"/>
                  </a:lnTo>
                  <a:lnTo>
                    <a:pt x="1042874" y="488196"/>
                  </a:lnTo>
                  <a:lnTo>
                    <a:pt x="1047020" y="481782"/>
                  </a:lnTo>
                  <a:lnTo>
                    <a:pt x="1047020" y="478525"/>
                  </a:lnTo>
                  <a:lnTo>
                    <a:pt x="1042874" y="481782"/>
                  </a:lnTo>
                  <a:lnTo>
                    <a:pt x="1036608" y="483361"/>
                  </a:lnTo>
                  <a:close/>
                  <a:moveTo>
                    <a:pt x="1011642" y="486617"/>
                  </a:moveTo>
                  <a:lnTo>
                    <a:pt x="1017908" y="481683"/>
                  </a:lnTo>
                  <a:lnTo>
                    <a:pt x="1015787" y="480055"/>
                  </a:lnTo>
                  <a:lnTo>
                    <a:pt x="1019981" y="478427"/>
                  </a:lnTo>
                  <a:lnTo>
                    <a:pt x="1024125" y="478427"/>
                  </a:lnTo>
                  <a:lnTo>
                    <a:pt x="1030342" y="476848"/>
                  </a:lnTo>
                  <a:lnTo>
                    <a:pt x="1032463" y="478427"/>
                  </a:lnTo>
                  <a:lnTo>
                    <a:pt x="1026198" y="483361"/>
                  </a:lnTo>
                  <a:lnTo>
                    <a:pt x="1022053" y="488295"/>
                  </a:lnTo>
                  <a:lnTo>
                    <a:pt x="1013715" y="488295"/>
                  </a:lnTo>
                  <a:close/>
                  <a:moveTo>
                    <a:pt x="1005375" y="484989"/>
                  </a:moveTo>
                  <a:lnTo>
                    <a:pt x="997086" y="486617"/>
                  </a:lnTo>
                  <a:lnTo>
                    <a:pt x="994965" y="491551"/>
                  </a:lnTo>
                  <a:lnTo>
                    <a:pt x="999158" y="486617"/>
                  </a:lnTo>
                  <a:close/>
                  <a:moveTo>
                    <a:pt x="1009570" y="475121"/>
                  </a:moveTo>
                  <a:lnTo>
                    <a:pt x="1003303" y="478328"/>
                  </a:lnTo>
                  <a:lnTo>
                    <a:pt x="1007498" y="481584"/>
                  </a:lnTo>
                  <a:lnTo>
                    <a:pt x="1009570" y="478328"/>
                  </a:lnTo>
                  <a:close/>
                  <a:moveTo>
                    <a:pt x="880545" y="487998"/>
                  </a:moveTo>
                  <a:lnTo>
                    <a:pt x="882617" y="483064"/>
                  </a:lnTo>
                  <a:lnTo>
                    <a:pt x="893028" y="478130"/>
                  </a:lnTo>
                  <a:lnTo>
                    <a:pt x="911777" y="474923"/>
                  </a:lnTo>
                  <a:lnTo>
                    <a:pt x="920067" y="478130"/>
                  </a:lnTo>
                  <a:lnTo>
                    <a:pt x="924211" y="476552"/>
                  </a:lnTo>
                  <a:lnTo>
                    <a:pt x="934622" y="478130"/>
                  </a:lnTo>
                  <a:lnTo>
                    <a:pt x="945032" y="484594"/>
                  </a:lnTo>
                  <a:lnTo>
                    <a:pt x="951299" y="481387"/>
                  </a:lnTo>
                  <a:lnTo>
                    <a:pt x="961512" y="481387"/>
                  </a:lnTo>
                  <a:lnTo>
                    <a:pt x="967729" y="484594"/>
                  </a:lnTo>
                  <a:lnTo>
                    <a:pt x="973996" y="484594"/>
                  </a:lnTo>
                  <a:lnTo>
                    <a:pt x="978141" y="479660"/>
                  </a:lnTo>
                  <a:lnTo>
                    <a:pt x="984406" y="478032"/>
                  </a:lnTo>
                  <a:lnTo>
                    <a:pt x="988551" y="473098"/>
                  </a:lnTo>
                  <a:lnTo>
                    <a:pt x="986479" y="471469"/>
                  </a:lnTo>
                  <a:lnTo>
                    <a:pt x="992745" y="468262"/>
                  </a:lnTo>
                  <a:lnTo>
                    <a:pt x="1001034" y="471469"/>
                  </a:lnTo>
                  <a:lnTo>
                    <a:pt x="1001034" y="476403"/>
                  </a:lnTo>
                  <a:lnTo>
                    <a:pt x="996889" y="481338"/>
                  </a:lnTo>
                  <a:lnTo>
                    <a:pt x="992745" y="482916"/>
                  </a:lnTo>
                  <a:lnTo>
                    <a:pt x="988551" y="489380"/>
                  </a:lnTo>
                  <a:lnTo>
                    <a:pt x="980212" y="491008"/>
                  </a:lnTo>
                  <a:lnTo>
                    <a:pt x="978141" y="492587"/>
                  </a:lnTo>
                  <a:lnTo>
                    <a:pt x="971924" y="491008"/>
                  </a:lnTo>
                  <a:lnTo>
                    <a:pt x="961512" y="491008"/>
                  </a:lnTo>
                  <a:lnTo>
                    <a:pt x="951101" y="495942"/>
                  </a:lnTo>
                  <a:lnTo>
                    <a:pt x="938619" y="494363"/>
                  </a:lnTo>
                  <a:lnTo>
                    <a:pt x="932353" y="495942"/>
                  </a:lnTo>
                  <a:lnTo>
                    <a:pt x="930279" y="497570"/>
                  </a:lnTo>
                  <a:lnTo>
                    <a:pt x="924013" y="497570"/>
                  </a:lnTo>
                  <a:lnTo>
                    <a:pt x="919869" y="495942"/>
                  </a:lnTo>
                  <a:lnTo>
                    <a:pt x="913652" y="499149"/>
                  </a:lnTo>
                  <a:lnTo>
                    <a:pt x="909458" y="495942"/>
                  </a:lnTo>
                  <a:lnTo>
                    <a:pt x="903241" y="494363"/>
                  </a:lnTo>
                  <a:lnTo>
                    <a:pt x="899048" y="495942"/>
                  </a:lnTo>
                  <a:lnTo>
                    <a:pt x="892831" y="494363"/>
                  </a:lnTo>
                  <a:lnTo>
                    <a:pt x="882568" y="494363"/>
                  </a:lnTo>
                  <a:close/>
                  <a:moveTo>
                    <a:pt x="876400" y="487998"/>
                  </a:moveTo>
                  <a:lnTo>
                    <a:pt x="874279" y="494462"/>
                  </a:lnTo>
                  <a:lnTo>
                    <a:pt x="878472" y="492834"/>
                  </a:lnTo>
                  <a:lnTo>
                    <a:pt x="878472" y="489627"/>
                  </a:lnTo>
                  <a:close/>
                  <a:moveTo>
                    <a:pt x="872206" y="484791"/>
                  </a:moveTo>
                  <a:lnTo>
                    <a:pt x="865989" y="483163"/>
                  </a:lnTo>
                  <a:lnTo>
                    <a:pt x="863868" y="489627"/>
                  </a:lnTo>
                  <a:lnTo>
                    <a:pt x="868062" y="494561"/>
                  </a:lnTo>
                  <a:lnTo>
                    <a:pt x="870134" y="486518"/>
                  </a:lnTo>
                  <a:close/>
                  <a:moveTo>
                    <a:pt x="770269" y="489725"/>
                  </a:moveTo>
                  <a:lnTo>
                    <a:pt x="768148" y="492932"/>
                  </a:lnTo>
                  <a:lnTo>
                    <a:pt x="772341" y="494561"/>
                  </a:lnTo>
                  <a:lnTo>
                    <a:pt x="770269" y="497768"/>
                  </a:lnTo>
                  <a:lnTo>
                    <a:pt x="772341" y="500975"/>
                  </a:lnTo>
                  <a:lnTo>
                    <a:pt x="778558" y="504232"/>
                  </a:lnTo>
                  <a:lnTo>
                    <a:pt x="788969" y="500975"/>
                  </a:lnTo>
                  <a:lnTo>
                    <a:pt x="793114" y="504232"/>
                  </a:lnTo>
                  <a:lnTo>
                    <a:pt x="801452" y="500975"/>
                  </a:lnTo>
                  <a:lnTo>
                    <a:pt x="803524" y="497768"/>
                  </a:lnTo>
                  <a:lnTo>
                    <a:pt x="811863" y="499347"/>
                  </a:lnTo>
                  <a:lnTo>
                    <a:pt x="818080" y="496140"/>
                  </a:lnTo>
                  <a:lnTo>
                    <a:pt x="826419" y="497768"/>
                  </a:lnTo>
                  <a:lnTo>
                    <a:pt x="832684" y="491354"/>
                  </a:lnTo>
                  <a:lnTo>
                    <a:pt x="836829" y="496288"/>
                  </a:lnTo>
                  <a:lnTo>
                    <a:pt x="853457" y="496288"/>
                  </a:lnTo>
                  <a:lnTo>
                    <a:pt x="847240" y="493081"/>
                  </a:lnTo>
                  <a:lnTo>
                    <a:pt x="857651" y="493081"/>
                  </a:lnTo>
                  <a:lnTo>
                    <a:pt x="857651" y="486666"/>
                  </a:lnTo>
                  <a:lnTo>
                    <a:pt x="855579" y="489873"/>
                  </a:lnTo>
                  <a:lnTo>
                    <a:pt x="853457" y="483410"/>
                  </a:lnTo>
                  <a:lnTo>
                    <a:pt x="853457" y="478476"/>
                  </a:lnTo>
                  <a:lnTo>
                    <a:pt x="847240" y="476897"/>
                  </a:lnTo>
                  <a:lnTo>
                    <a:pt x="847240" y="481831"/>
                  </a:lnTo>
                  <a:lnTo>
                    <a:pt x="845167" y="483410"/>
                  </a:lnTo>
                  <a:lnTo>
                    <a:pt x="843095" y="478476"/>
                  </a:lnTo>
                  <a:lnTo>
                    <a:pt x="836829" y="473542"/>
                  </a:lnTo>
                  <a:lnTo>
                    <a:pt x="828491" y="476749"/>
                  </a:lnTo>
                  <a:lnTo>
                    <a:pt x="822274" y="473542"/>
                  </a:lnTo>
                  <a:lnTo>
                    <a:pt x="816057" y="470335"/>
                  </a:lnTo>
                  <a:lnTo>
                    <a:pt x="807719" y="475269"/>
                  </a:lnTo>
                  <a:lnTo>
                    <a:pt x="807719" y="478476"/>
                  </a:lnTo>
                  <a:lnTo>
                    <a:pt x="822521" y="483410"/>
                  </a:lnTo>
                  <a:lnTo>
                    <a:pt x="828738" y="488344"/>
                  </a:lnTo>
                  <a:lnTo>
                    <a:pt x="818327" y="489972"/>
                  </a:lnTo>
                  <a:lnTo>
                    <a:pt x="812110" y="491600"/>
                  </a:lnTo>
                  <a:lnTo>
                    <a:pt x="803771" y="486666"/>
                  </a:lnTo>
                  <a:lnTo>
                    <a:pt x="801699" y="481732"/>
                  </a:lnTo>
                  <a:lnTo>
                    <a:pt x="797554" y="480104"/>
                  </a:lnTo>
                  <a:lnTo>
                    <a:pt x="791288" y="481732"/>
                  </a:lnTo>
                  <a:lnTo>
                    <a:pt x="785071" y="480104"/>
                  </a:lnTo>
                  <a:lnTo>
                    <a:pt x="774660" y="483311"/>
                  </a:lnTo>
                  <a:close/>
                  <a:moveTo>
                    <a:pt x="749398" y="481683"/>
                  </a:moveTo>
                  <a:lnTo>
                    <a:pt x="755665" y="476749"/>
                  </a:lnTo>
                  <a:lnTo>
                    <a:pt x="768148" y="479956"/>
                  </a:lnTo>
                  <a:lnTo>
                    <a:pt x="766075" y="486420"/>
                  </a:lnTo>
                  <a:lnTo>
                    <a:pt x="761931" y="491354"/>
                  </a:lnTo>
                  <a:lnTo>
                    <a:pt x="764003" y="496288"/>
                  </a:lnTo>
                  <a:lnTo>
                    <a:pt x="757736" y="494709"/>
                  </a:lnTo>
                  <a:lnTo>
                    <a:pt x="751519" y="497916"/>
                  </a:lnTo>
                  <a:lnTo>
                    <a:pt x="738987" y="494709"/>
                  </a:lnTo>
                  <a:lnTo>
                    <a:pt x="736964" y="491502"/>
                  </a:lnTo>
                  <a:lnTo>
                    <a:pt x="741109" y="489873"/>
                  </a:lnTo>
                  <a:lnTo>
                    <a:pt x="747326" y="489873"/>
                  </a:lnTo>
                  <a:close/>
                  <a:moveTo>
                    <a:pt x="724432" y="491551"/>
                  </a:moveTo>
                  <a:lnTo>
                    <a:pt x="728626" y="488295"/>
                  </a:lnTo>
                  <a:lnTo>
                    <a:pt x="730698" y="491551"/>
                  </a:lnTo>
                  <a:lnTo>
                    <a:pt x="726553" y="493130"/>
                  </a:lnTo>
                  <a:close/>
                  <a:moveTo>
                    <a:pt x="691176" y="472210"/>
                  </a:moveTo>
                  <a:lnTo>
                    <a:pt x="691176" y="477144"/>
                  </a:lnTo>
                  <a:lnTo>
                    <a:pt x="695321" y="480351"/>
                  </a:lnTo>
                  <a:lnTo>
                    <a:pt x="703610" y="483558"/>
                  </a:lnTo>
                  <a:lnTo>
                    <a:pt x="714022" y="488492"/>
                  </a:lnTo>
                  <a:lnTo>
                    <a:pt x="714022" y="491748"/>
                  </a:lnTo>
                  <a:lnTo>
                    <a:pt x="718215" y="488492"/>
                  </a:lnTo>
                  <a:lnTo>
                    <a:pt x="724432" y="485285"/>
                  </a:lnTo>
                  <a:lnTo>
                    <a:pt x="726553" y="483657"/>
                  </a:lnTo>
                  <a:lnTo>
                    <a:pt x="732770" y="482078"/>
                  </a:lnTo>
                  <a:lnTo>
                    <a:pt x="734892" y="478821"/>
                  </a:lnTo>
                  <a:lnTo>
                    <a:pt x="726553" y="470828"/>
                  </a:lnTo>
                  <a:lnTo>
                    <a:pt x="716143" y="469200"/>
                  </a:lnTo>
                  <a:lnTo>
                    <a:pt x="707805" y="472407"/>
                  </a:lnTo>
                  <a:lnTo>
                    <a:pt x="699465" y="470828"/>
                  </a:lnTo>
                  <a:close/>
                  <a:moveTo>
                    <a:pt x="1567313" y="477144"/>
                  </a:moveTo>
                  <a:lnTo>
                    <a:pt x="1569385" y="477144"/>
                  </a:lnTo>
                  <a:lnTo>
                    <a:pt x="1575651" y="478723"/>
                  </a:lnTo>
                  <a:lnTo>
                    <a:pt x="1577674" y="477144"/>
                  </a:lnTo>
                  <a:lnTo>
                    <a:pt x="1575651" y="470729"/>
                  </a:lnTo>
                  <a:lnTo>
                    <a:pt x="1573333" y="470729"/>
                  </a:lnTo>
                  <a:lnTo>
                    <a:pt x="1569188" y="472308"/>
                  </a:lnTo>
                  <a:close/>
                  <a:moveTo>
                    <a:pt x="1531937" y="478723"/>
                  </a:moveTo>
                  <a:cubicBezTo>
                    <a:pt x="1529864" y="478723"/>
                    <a:pt x="1544419" y="477144"/>
                    <a:pt x="1544419" y="477144"/>
                  </a:cubicBezTo>
                  <a:lnTo>
                    <a:pt x="1556902" y="477144"/>
                  </a:lnTo>
                  <a:lnTo>
                    <a:pt x="1563119" y="475515"/>
                  </a:lnTo>
                  <a:lnTo>
                    <a:pt x="1569385" y="469101"/>
                  </a:lnTo>
                  <a:lnTo>
                    <a:pt x="1575651" y="469101"/>
                  </a:lnTo>
                  <a:lnTo>
                    <a:pt x="1577674" y="465845"/>
                  </a:lnTo>
                  <a:lnTo>
                    <a:pt x="1577674" y="462638"/>
                  </a:lnTo>
                  <a:lnTo>
                    <a:pt x="1579797" y="461059"/>
                  </a:lnTo>
                  <a:lnTo>
                    <a:pt x="1579797" y="454595"/>
                  </a:lnTo>
                  <a:lnTo>
                    <a:pt x="1581868" y="452967"/>
                  </a:lnTo>
                  <a:lnTo>
                    <a:pt x="1575651" y="449760"/>
                  </a:lnTo>
                  <a:lnTo>
                    <a:pt x="1573530" y="448181"/>
                  </a:lnTo>
                  <a:lnTo>
                    <a:pt x="1561047" y="446553"/>
                  </a:lnTo>
                  <a:lnTo>
                    <a:pt x="1552709" y="449760"/>
                  </a:lnTo>
                  <a:lnTo>
                    <a:pt x="1548564" y="459628"/>
                  </a:lnTo>
                  <a:lnTo>
                    <a:pt x="1546492" y="466042"/>
                  </a:lnTo>
                  <a:close/>
                  <a:moveTo>
                    <a:pt x="637050" y="430418"/>
                  </a:moveTo>
                  <a:lnTo>
                    <a:pt x="630833" y="436882"/>
                  </a:lnTo>
                  <a:lnTo>
                    <a:pt x="639122" y="443296"/>
                  </a:lnTo>
                  <a:lnTo>
                    <a:pt x="643267" y="444924"/>
                  </a:lnTo>
                  <a:lnTo>
                    <a:pt x="647461" y="441717"/>
                  </a:lnTo>
                  <a:lnTo>
                    <a:pt x="659944" y="443296"/>
                  </a:lnTo>
                  <a:lnTo>
                    <a:pt x="666210" y="440089"/>
                  </a:lnTo>
                  <a:lnTo>
                    <a:pt x="674500" y="440089"/>
                  </a:lnTo>
                  <a:lnTo>
                    <a:pt x="678644" y="435155"/>
                  </a:lnTo>
                  <a:lnTo>
                    <a:pt x="674500" y="433477"/>
                  </a:lnTo>
                  <a:lnTo>
                    <a:pt x="664089" y="435155"/>
                  </a:lnTo>
                  <a:lnTo>
                    <a:pt x="659944" y="433477"/>
                  </a:lnTo>
                  <a:lnTo>
                    <a:pt x="639122" y="433477"/>
                  </a:lnTo>
                  <a:close/>
                  <a:moveTo>
                    <a:pt x="364445" y="420550"/>
                  </a:moveTo>
                  <a:lnTo>
                    <a:pt x="364445" y="423807"/>
                  </a:lnTo>
                  <a:lnTo>
                    <a:pt x="368590" y="423807"/>
                  </a:lnTo>
                  <a:lnTo>
                    <a:pt x="368590" y="420550"/>
                  </a:lnTo>
                  <a:close/>
                  <a:moveTo>
                    <a:pt x="370662" y="425484"/>
                  </a:moveTo>
                  <a:lnTo>
                    <a:pt x="372734" y="427063"/>
                  </a:lnTo>
                  <a:lnTo>
                    <a:pt x="379000" y="425484"/>
                  </a:lnTo>
                  <a:lnTo>
                    <a:pt x="379000" y="419021"/>
                  </a:lnTo>
                  <a:lnTo>
                    <a:pt x="387290" y="419021"/>
                  </a:lnTo>
                  <a:lnTo>
                    <a:pt x="389411" y="412606"/>
                  </a:lnTo>
                  <a:lnTo>
                    <a:pt x="389411" y="406143"/>
                  </a:lnTo>
                  <a:lnTo>
                    <a:pt x="395628" y="398100"/>
                  </a:lnTo>
                  <a:lnTo>
                    <a:pt x="399821" y="401308"/>
                  </a:lnTo>
                  <a:lnTo>
                    <a:pt x="408161" y="401308"/>
                  </a:lnTo>
                  <a:lnTo>
                    <a:pt x="420595" y="402936"/>
                  </a:lnTo>
                  <a:lnTo>
                    <a:pt x="424788" y="406143"/>
                  </a:lnTo>
                  <a:lnTo>
                    <a:pt x="428933" y="404564"/>
                  </a:lnTo>
                  <a:lnTo>
                    <a:pt x="431005" y="401308"/>
                  </a:lnTo>
                  <a:lnTo>
                    <a:pt x="443439" y="401308"/>
                  </a:lnTo>
                  <a:lnTo>
                    <a:pt x="449656" y="406242"/>
                  </a:lnTo>
                  <a:lnTo>
                    <a:pt x="462139" y="409449"/>
                  </a:lnTo>
                  <a:lnTo>
                    <a:pt x="478815" y="411077"/>
                  </a:lnTo>
                  <a:lnTo>
                    <a:pt x="482960" y="417491"/>
                  </a:lnTo>
                  <a:lnTo>
                    <a:pt x="480888" y="423955"/>
                  </a:lnTo>
                  <a:lnTo>
                    <a:pt x="482960" y="425583"/>
                  </a:lnTo>
                  <a:lnTo>
                    <a:pt x="495444" y="430517"/>
                  </a:lnTo>
                  <a:lnTo>
                    <a:pt x="518337" y="430517"/>
                  </a:lnTo>
                  <a:lnTo>
                    <a:pt x="537037" y="433724"/>
                  </a:lnTo>
                  <a:lnTo>
                    <a:pt x="553715" y="430517"/>
                  </a:lnTo>
                  <a:lnTo>
                    <a:pt x="557859" y="425583"/>
                  </a:lnTo>
                  <a:lnTo>
                    <a:pt x="559981" y="414284"/>
                  </a:lnTo>
                  <a:lnTo>
                    <a:pt x="566197" y="412705"/>
                  </a:lnTo>
                  <a:lnTo>
                    <a:pt x="576608" y="420698"/>
                  </a:lnTo>
                  <a:lnTo>
                    <a:pt x="587020" y="420698"/>
                  </a:lnTo>
                  <a:lnTo>
                    <a:pt x="593236" y="422326"/>
                  </a:lnTo>
                  <a:lnTo>
                    <a:pt x="599502" y="428790"/>
                  </a:lnTo>
                  <a:lnTo>
                    <a:pt x="605719" y="428790"/>
                  </a:lnTo>
                  <a:lnTo>
                    <a:pt x="611985" y="433724"/>
                  </a:lnTo>
                  <a:lnTo>
                    <a:pt x="616130" y="430517"/>
                  </a:lnTo>
                  <a:lnTo>
                    <a:pt x="626541" y="430517"/>
                  </a:lnTo>
                  <a:lnTo>
                    <a:pt x="626541" y="440385"/>
                  </a:lnTo>
                  <a:lnTo>
                    <a:pt x="632758" y="446849"/>
                  </a:lnTo>
                  <a:lnTo>
                    <a:pt x="634879" y="451783"/>
                  </a:lnTo>
                  <a:lnTo>
                    <a:pt x="639023" y="456717"/>
                  </a:lnTo>
                  <a:lnTo>
                    <a:pt x="647363" y="459973"/>
                  </a:lnTo>
                  <a:lnTo>
                    <a:pt x="655701" y="458394"/>
                  </a:lnTo>
                  <a:lnTo>
                    <a:pt x="659846" y="461601"/>
                  </a:lnTo>
                  <a:lnTo>
                    <a:pt x="666111" y="459973"/>
                  </a:lnTo>
                  <a:lnTo>
                    <a:pt x="670256" y="458394"/>
                  </a:lnTo>
                  <a:lnTo>
                    <a:pt x="676473" y="458394"/>
                  </a:lnTo>
                  <a:lnTo>
                    <a:pt x="678545" y="459973"/>
                  </a:lnTo>
                  <a:lnTo>
                    <a:pt x="684811" y="461601"/>
                  </a:lnTo>
                  <a:lnTo>
                    <a:pt x="688956" y="464809"/>
                  </a:lnTo>
                  <a:lnTo>
                    <a:pt x="686884" y="477686"/>
                  </a:lnTo>
                  <a:lnTo>
                    <a:pt x="682739" y="482620"/>
                  </a:lnTo>
                  <a:lnTo>
                    <a:pt x="686884" y="484199"/>
                  </a:lnTo>
                  <a:lnTo>
                    <a:pt x="688956" y="494067"/>
                  </a:lnTo>
                  <a:lnTo>
                    <a:pt x="684811" y="495696"/>
                  </a:lnTo>
                  <a:lnTo>
                    <a:pt x="678545" y="490762"/>
                  </a:lnTo>
                  <a:lnTo>
                    <a:pt x="670404" y="490762"/>
                  </a:lnTo>
                  <a:lnTo>
                    <a:pt x="662066" y="484298"/>
                  </a:lnTo>
                  <a:lnTo>
                    <a:pt x="653728" y="482719"/>
                  </a:lnTo>
                  <a:lnTo>
                    <a:pt x="647511" y="476256"/>
                  </a:lnTo>
                  <a:lnTo>
                    <a:pt x="643316" y="476256"/>
                  </a:lnTo>
                  <a:lnTo>
                    <a:pt x="632905" y="481190"/>
                  </a:lnTo>
                  <a:lnTo>
                    <a:pt x="620471" y="481190"/>
                  </a:lnTo>
                  <a:lnTo>
                    <a:pt x="612133" y="476256"/>
                  </a:lnTo>
                  <a:lnTo>
                    <a:pt x="601723" y="474677"/>
                  </a:lnTo>
                  <a:lnTo>
                    <a:pt x="593383" y="481091"/>
                  </a:lnTo>
                  <a:lnTo>
                    <a:pt x="585095" y="476157"/>
                  </a:lnTo>
                  <a:lnTo>
                    <a:pt x="572562" y="474578"/>
                  </a:lnTo>
                  <a:lnTo>
                    <a:pt x="564273" y="477785"/>
                  </a:lnTo>
                  <a:lnTo>
                    <a:pt x="545524" y="472851"/>
                  </a:lnTo>
                  <a:lnTo>
                    <a:pt x="528896" y="462983"/>
                  </a:lnTo>
                  <a:lnTo>
                    <a:pt x="516413" y="462983"/>
                  </a:lnTo>
                  <a:lnTo>
                    <a:pt x="508075" y="458049"/>
                  </a:lnTo>
                  <a:lnTo>
                    <a:pt x="503930" y="458049"/>
                  </a:lnTo>
                  <a:lnTo>
                    <a:pt x="499736" y="462983"/>
                  </a:lnTo>
                  <a:lnTo>
                    <a:pt x="491397" y="461404"/>
                  </a:lnTo>
                  <a:lnTo>
                    <a:pt x="487252" y="456470"/>
                  </a:lnTo>
                  <a:lnTo>
                    <a:pt x="481037" y="456470"/>
                  </a:lnTo>
                  <a:lnTo>
                    <a:pt x="474770" y="462934"/>
                  </a:lnTo>
                  <a:lnTo>
                    <a:pt x="458142" y="459726"/>
                  </a:lnTo>
                  <a:lnTo>
                    <a:pt x="447732" y="451684"/>
                  </a:lnTo>
                  <a:lnTo>
                    <a:pt x="437320" y="451684"/>
                  </a:lnTo>
                  <a:lnTo>
                    <a:pt x="431054" y="448477"/>
                  </a:lnTo>
                  <a:lnTo>
                    <a:pt x="424837" y="451684"/>
                  </a:lnTo>
                  <a:lnTo>
                    <a:pt x="416499" y="450056"/>
                  </a:lnTo>
                  <a:lnTo>
                    <a:pt x="408210" y="448477"/>
                  </a:lnTo>
                  <a:lnTo>
                    <a:pt x="404016" y="445220"/>
                  </a:lnTo>
                  <a:lnTo>
                    <a:pt x="408210" y="438806"/>
                  </a:lnTo>
                  <a:lnTo>
                    <a:pt x="412305" y="435599"/>
                  </a:lnTo>
                  <a:lnTo>
                    <a:pt x="408210" y="435599"/>
                  </a:lnTo>
                  <a:lnTo>
                    <a:pt x="401944" y="437178"/>
                  </a:lnTo>
                  <a:lnTo>
                    <a:pt x="397749" y="435599"/>
                  </a:lnTo>
                  <a:lnTo>
                    <a:pt x="395678" y="429135"/>
                  </a:lnTo>
                  <a:lnTo>
                    <a:pt x="387338" y="432343"/>
                  </a:lnTo>
                  <a:lnTo>
                    <a:pt x="372783" y="432343"/>
                  </a:lnTo>
                  <a:lnTo>
                    <a:pt x="368639" y="429135"/>
                  </a:lnTo>
                  <a:lnTo>
                    <a:pt x="366566" y="425928"/>
                  </a:lnTo>
                  <a:close/>
                  <a:moveTo>
                    <a:pt x="319841" y="191216"/>
                  </a:moveTo>
                  <a:lnTo>
                    <a:pt x="326058" y="194423"/>
                  </a:lnTo>
                  <a:lnTo>
                    <a:pt x="330252" y="188009"/>
                  </a:lnTo>
                  <a:lnTo>
                    <a:pt x="328130" y="183075"/>
                  </a:lnTo>
                  <a:close/>
                  <a:moveTo>
                    <a:pt x="336469" y="186282"/>
                  </a:moveTo>
                  <a:lnTo>
                    <a:pt x="334396" y="191216"/>
                  </a:lnTo>
                  <a:lnTo>
                    <a:pt x="340613" y="194423"/>
                  </a:lnTo>
                  <a:lnTo>
                    <a:pt x="342686" y="200887"/>
                  </a:lnTo>
                  <a:lnTo>
                    <a:pt x="348952" y="199259"/>
                  </a:lnTo>
                  <a:lnTo>
                    <a:pt x="351024" y="191216"/>
                  </a:lnTo>
                  <a:lnTo>
                    <a:pt x="346879" y="188009"/>
                  </a:lnTo>
                  <a:lnTo>
                    <a:pt x="348952" y="183075"/>
                  </a:lnTo>
                  <a:lnTo>
                    <a:pt x="344758" y="183075"/>
                  </a:lnTo>
                  <a:lnTo>
                    <a:pt x="342637" y="186282"/>
                  </a:lnTo>
                  <a:close/>
                  <a:moveTo>
                    <a:pt x="497713" y="265918"/>
                  </a:moveTo>
                  <a:lnTo>
                    <a:pt x="497713" y="269125"/>
                  </a:lnTo>
                  <a:lnTo>
                    <a:pt x="503979" y="270753"/>
                  </a:lnTo>
                  <a:lnTo>
                    <a:pt x="506051" y="269125"/>
                  </a:lnTo>
                  <a:lnTo>
                    <a:pt x="501858" y="265918"/>
                  </a:lnTo>
                  <a:close/>
                  <a:moveTo>
                    <a:pt x="449853" y="294880"/>
                  </a:moveTo>
                  <a:lnTo>
                    <a:pt x="451925" y="299814"/>
                  </a:lnTo>
                  <a:lnTo>
                    <a:pt x="451925" y="303120"/>
                  </a:lnTo>
                  <a:lnTo>
                    <a:pt x="445708" y="304699"/>
                  </a:lnTo>
                  <a:lnTo>
                    <a:pt x="443636" y="307906"/>
                  </a:lnTo>
                  <a:lnTo>
                    <a:pt x="447780" y="307906"/>
                  </a:lnTo>
                  <a:lnTo>
                    <a:pt x="447780" y="306327"/>
                  </a:lnTo>
                  <a:lnTo>
                    <a:pt x="451925" y="304699"/>
                  </a:lnTo>
                  <a:lnTo>
                    <a:pt x="451925" y="312791"/>
                  </a:lnTo>
                  <a:lnTo>
                    <a:pt x="458191" y="317725"/>
                  </a:lnTo>
                  <a:lnTo>
                    <a:pt x="464408" y="309683"/>
                  </a:lnTo>
                  <a:lnTo>
                    <a:pt x="468603" y="314617"/>
                  </a:lnTo>
                  <a:lnTo>
                    <a:pt x="472747" y="314617"/>
                  </a:lnTo>
                  <a:lnTo>
                    <a:pt x="474820" y="311409"/>
                  </a:lnTo>
                  <a:lnTo>
                    <a:pt x="481085" y="308153"/>
                  </a:lnTo>
                  <a:lnTo>
                    <a:pt x="479013" y="303219"/>
                  </a:lnTo>
                  <a:lnTo>
                    <a:pt x="466480" y="295127"/>
                  </a:lnTo>
                  <a:lnTo>
                    <a:pt x="454046" y="293548"/>
                  </a:lnTo>
                  <a:close/>
                  <a:moveTo>
                    <a:pt x="426959" y="306179"/>
                  </a:moveTo>
                  <a:lnTo>
                    <a:pt x="424887" y="311113"/>
                  </a:lnTo>
                  <a:lnTo>
                    <a:pt x="431104" y="307857"/>
                  </a:lnTo>
                  <a:close/>
                  <a:moveTo>
                    <a:pt x="374955" y="267546"/>
                  </a:moveTo>
                  <a:lnTo>
                    <a:pt x="374955" y="272480"/>
                  </a:lnTo>
                  <a:lnTo>
                    <a:pt x="368688" y="275736"/>
                  </a:lnTo>
                  <a:lnTo>
                    <a:pt x="372832" y="282151"/>
                  </a:lnTo>
                  <a:lnTo>
                    <a:pt x="385316" y="282151"/>
                  </a:lnTo>
                  <a:lnTo>
                    <a:pt x="389510" y="285358"/>
                  </a:lnTo>
                  <a:lnTo>
                    <a:pt x="389510" y="291821"/>
                  </a:lnTo>
                  <a:lnTo>
                    <a:pt x="393654" y="293449"/>
                  </a:lnTo>
                  <a:lnTo>
                    <a:pt x="395727" y="301492"/>
                  </a:lnTo>
                  <a:lnTo>
                    <a:pt x="404065" y="306426"/>
                  </a:lnTo>
                  <a:lnTo>
                    <a:pt x="410331" y="306426"/>
                  </a:lnTo>
                  <a:lnTo>
                    <a:pt x="412354" y="311360"/>
                  </a:lnTo>
                  <a:lnTo>
                    <a:pt x="416548" y="314567"/>
                  </a:lnTo>
                  <a:lnTo>
                    <a:pt x="420692" y="309633"/>
                  </a:lnTo>
                  <a:lnTo>
                    <a:pt x="418670" y="303219"/>
                  </a:lnTo>
                  <a:lnTo>
                    <a:pt x="420692" y="295127"/>
                  </a:lnTo>
                  <a:lnTo>
                    <a:pt x="410331" y="293548"/>
                  </a:lnTo>
                  <a:lnTo>
                    <a:pt x="401993" y="285456"/>
                  </a:lnTo>
                  <a:lnTo>
                    <a:pt x="399920" y="272579"/>
                  </a:lnTo>
                  <a:lnTo>
                    <a:pt x="395727" y="269371"/>
                  </a:lnTo>
                  <a:lnTo>
                    <a:pt x="395727" y="264437"/>
                  </a:lnTo>
                  <a:lnTo>
                    <a:pt x="389510" y="262859"/>
                  </a:lnTo>
                  <a:lnTo>
                    <a:pt x="385316" y="262859"/>
                  </a:lnTo>
                  <a:lnTo>
                    <a:pt x="387387" y="267793"/>
                  </a:lnTo>
                  <a:lnTo>
                    <a:pt x="389510" y="272727"/>
                  </a:lnTo>
                  <a:lnTo>
                    <a:pt x="381171" y="269519"/>
                  </a:lnTo>
                  <a:lnTo>
                    <a:pt x="376977" y="266312"/>
                  </a:lnTo>
                  <a:close/>
                  <a:moveTo>
                    <a:pt x="339577" y="228863"/>
                  </a:moveTo>
                  <a:lnTo>
                    <a:pt x="337456" y="233797"/>
                  </a:lnTo>
                  <a:lnTo>
                    <a:pt x="341601" y="238731"/>
                  </a:lnTo>
                  <a:lnTo>
                    <a:pt x="347866" y="235524"/>
                  </a:lnTo>
                  <a:lnTo>
                    <a:pt x="345794" y="229060"/>
                  </a:lnTo>
                  <a:close/>
                  <a:moveTo>
                    <a:pt x="345794" y="215985"/>
                  </a:moveTo>
                  <a:lnTo>
                    <a:pt x="341601" y="220919"/>
                  </a:lnTo>
                  <a:lnTo>
                    <a:pt x="345794" y="225853"/>
                  </a:lnTo>
                  <a:lnTo>
                    <a:pt x="352011" y="224274"/>
                  </a:lnTo>
                  <a:lnTo>
                    <a:pt x="360349" y="227481"/>
                  </a:lnTo>
                  <a:lnTo>
                    <a:pt x="362422" y="225853"/>
                  </a:lnTo>
                  <a:lnTo>
                    <a:pt x="352011" y="215985"/>
                  </a:lnTo>
                  <a:close/>
                  <a:moveTo>
                    <a:pt x="275040" y="174144"/>
                  </a:moveTo>
                  <a:lnTo>
                    <a:pt x="268823" y="182187"/>
                  </a:lnTo>
                  <a:lnTo>
                    <a:pt x="270846" y="187121"/>
                  </a:lnTo>
                  <a:lnTo>
                    <a:pt x="283379" y="188749"/>
                  </a:lnTo>
                  <a:lnTo>
                    <a:pt x="291668" y="191956"/>
                  </a:lnTo>
                  <a:lnTo>
                    <a:pt x="293789" y="190328"/>
                  </a:lnTo>
                  <a:lnTo>
                    <a:pt x="291668" y="182286"/>
                  </a:lnTo>
                  <a:lnTo>
                    <a:pt x="283379" y="175872"/>
                  </a:lnTo>
                  <a:close/>
                  <a:moveTo>
                    <a:pt x="254219" y="164276"/>
                  </a:moveTo>
                  <a:lnTo>
                    <a:pt x="258412" y="164276"/>
                  </a:lnTo>
                  <a:lnTo>
                    <a:pt x="266702" y="167484"/>
                  </a:lnTo>
                  <a:lnTo>
                    <a:pt x="270846" y="172418"/>
                  </a:lnTo>
                  <a:lnTo>
                    <a:pt x="266702" y="178881"/>
                  </a:lnTo>
                  <a:lnTo>
                    <a:pt x="262557" y="175674"/>
                  </a:lnTo>
                  <a:close/>
                  <a:moveTo>
                    <a:pt x="229252" y="149721"/>
                  </a:moveTo>
                  <a:lnTo>
                    <a:pt x="233446" y="159589"/>
                  </a:lnTo>
                  <a:lnTo>
                    <a:pt x="239663" y="158010"/>
                  </a:lnTo>
                  <a:lnTo>
                    <a:pt x="245880" y="151547"/>
                  </a:lnTo>
                  <a:lnTo>
                    <a:pt x="239663" y="145132"/>
                  </a:lnTo>
                  <a:lnTo>
                    <a:pt x="235469" y="148340"/>
                  </a:lnTo>
                  <a:close/>
                  <a:moveTo>
                    <a:pt x="254219" y="379993"/>
                  </a:moveTo>
                  <a:lnTo>
                    <a:pt x="262557" y="386407"/>
                  </a:lnTo>
                  <a:lnTo>
                    <a:pt x="262557" y="381473"/>
                  </a:lnTo>
                  <a:lnTo>
                    <a:pt x="258412" y="378265"/>
                  </a:lnTo>
                  <a:close/>
                  <a:moveTo>
                    <a:pt x="187461" y="303120"/>
                  </a:moveTo>
                  <a:lnTo>
                    <a:pt x="183267" y="309534"/>
                  </a:lnTo>
                  <a:lnTo>
                    <a:pt x="195750" y="319402"/>
                  </a:lnTo>
                  <a:lnTo>
                    <a:pt x="193678" y="312988"/>
                  </a:lnTo>
                  <a:lnTo>
                    <a:pt x="193678" y="308054"/>
                  </a:lnTo>
                  <a:close/>
                  <a:moveTo>
                    <a:pt x="177050" y="296657"/>
                  </a:moveTo>
                  <a:lnTo>
                    <a:pt x="183267" y="299913"/>
                  </a:lnTo>
                  <a:lnTo>
                    <a:pt x="177050" y="304847"/>
                  </a:lnTo>
                  <a:close/>
                  <a:moveTo>
                    <a:pt x="162248" y="277365"/>
                  </a:moveTo>
                  <a:lnTo>
                    <a:pt x="160126" y="280572"/>
                  </a:lnTo>
                  <a:lnTo>
                    <a:pt x="164271" y="285506"/>
                  </a:lnTo>
                  <a:lnTo>
                    <a:pt x="170537" y="288762"/>
                  </a:lnTo>
                  <a:close/>
                  <a:moveTo>
                    <a:pt x="122776" y="249981"/>
                  </a:moveTo>
                  <a:lnTo>
                    <a:pt x="122776" y="254915"/>
                  </a:lnTo>
                  <a:lnTo>
                    <a:pt x="131114" y="256494"/>
                  </a:lnTo>
                  <a:lnTo>
                    <a:pt x="141525" y="269371"/>
                  </a:lnTo>
                  <a:lnTo>
                    <a:pt x="149814" y="271000"/>
                  </a:lnTo>
                  <a:lnTo>
                    <a:pt x="149814" y="259750"/>
                  </a:lnTo>
                  <a:lnTo>
                    <a:pt x="139403" y="246872"/>
                  </a:lnTo>
                  <a:lnTo>
                    <a:pt x="131114" y="245244"/>
                  </a:lnTo>
                  <a:close/>
                  <a:moveTo>
                    <a:pt x="118631" y="227432"/>
                  </a:moveTo>
                  <a:lnTo>
                    <a:pt x="114437" y="233896"/>
                  </a:lnTo>
                  <a:lnTo>
                    <a:pt x="118631" y="237103"/>
                  </a:lnTo>
                  <a:lnTo>
                    <a:pt x="124848" y="233896"/>
                  </a:lnTo>
                  <a:lnTo>
                    <a:pt x="124848" y="228962"/>
                  </a:lnTo>
                  <a:close/>
                  <a:moveTo>
                    <a:pt x="122726" y="209374"/>
                  </a:moveTo>
                  <a:lnTo>
                    <a:pt x="133137" y="209374"/>
                  </a:lnTo>
                  <a:lnTo>
                    <a:pt x="135210" y="211002"/>
                  </a:lnTo>
                  <a:lnTo>
                    <a:pt x="135210" y="207745"/>
                  </a:lnTo>
                  <a:lnTo>
                    <a:pt x="126920" y="204538"/>
                  </a:lnTo>
                  <a:close/>
                  <a:moveTo>
                    <a:pt x="72794" y="167533"/>
                  </a:moveTo>
                  <a:lnTo>
                    <a:pt x="79011" y="167533"/>
                  </a:lnTo>
                  <a:lnTo>
                    <a:pt x="83205" y="164326"/>
                  </a:lnTo>
                  <a:lnTo>
                    <a:pt x="87349" y="165905"/>
                  </a:lnTo>
                  <a:lnTo>
                    <a:pt x="93566" y="175773"/>
                  </a:lnTo>
                  <a:lnTo>
                    <a:pt x="101905" y="180707"/>
                  </a:lnTo>
                  <a:lnTo>
                    <a:pt x="99832" y="185641"/>
                  </a:lnTo>
                  <a:lnTo>
                    <a:pt x="97760" y="193733"/>
                  </a:lnTo>
                  <a:lnTo>
                    <a:pt x="93566" y="193733"/>
                  </a:lnTo>
                  <a:lnTo>
                    <a:pt x="87349" y="183865"/>
                  </a:lnTo>
                  <a:lnTo>
                    <a:pt x="83205" y="182236"/>
                  </a:lnTo>
                  <a:lnTo>
                    <a:pt x="81132" y="175822"/>
                  </a:lnTo>
                  <a:close/>
                  <a:moveTo>
                    <a:pt x="72794" y="144984"/>
                  </a:moveTo>
                  <a:lnTo>
                    <a:pt x="81132" y="146563"/>
                  </a:lnTo>
                  <a:lnTo>
                    <a:pt x="76938" y="143356"/>
                  </a:lnTo>
                  <a:close/>
                  <a:moveTo>
                    <a:pt x="22812" y="117601"/>
                  </a:moveTo>
                  <a:lnTo>
                    <a:pt x="20740" y="120808"/>
                  </a:lnTo>
                  <a:lnTo>
                    <a:pt x="18668" y="124015"/>
                  </a:lnTo>
                  <a:lnTo>
                    <a:pt x="24885" y="127222"/>
                  </a:lnTo>
                  <a:lnTo>
                    <a:pt x="33223" y="127222"/>
                  </a:lnTo>
                  <a:lnTo>
                    <a:pt x="29078" y="120808"/>
                  </a:lnTo>
                  <a:close/>
                  <a:moveTo>
                    <a:pt x="2040" y="30663"/>
                  </a:moveTo>
                  <a:lnTo>
                    <a:pt x="-82" y="33870"/>
                  </a:lnTo>
                  <a:lnTo>
                    <a:pt x="2040" y="43738"/>
                  </a:lnTo>
                  <a:lnTo>
                    <a:pt x="12451" y="59823"/>
                  </a:lnTo>
                  <a:lnTo>
                    <a:pt x="16595" y="63079"/>
                  </a:lnTo>
                  <a:lnTo>
                    <a:pt x="33223" y="77536"/>
                  </a:lnTo>
                  <a:lnTo>
                    <a:pt x="37417" y="77536"/>
                  </a:lnTo>
                  <a:lnTo>
                    <a:pt x="47827" y="87404"/>
                  </a:lnTo>
                  <a:lnTo>
                    <a:pt x="51972" y="89032"/>
                  </a:lnTo>
                  <a:lnTo>
                    <a:pt x="58189" y="87404"/>
                  </a:lnTo>
                  <a:lnTo>
                    <a:pt x="68600" y="95447"/>
                  </a:lnTo>
                  <a:lnTo>
                    <a:pt x="81132" y="113160"/>
                  </a:lnTo>
                  <a:lnTo>
                    <a:pt x="93566" y="124410"/>
                  </a:lnTo>
                  <a:lnTo>
                    <a:pt x="97760" y="124410"/>
                  </a:lnTo>
                  <a:lnTo>
                    <a:pt x="97760" y="132501"/>
                  </a:lnTo>
                  <a:lnTo>
                    <a:pt x="101905" y="134080"/>
                  </a:lnTo>
                  <a:lnTo>
                    <a:pt x="101905" y="142172"/>
                  </a:lnTo>
                  <a:lnTo>
                    <a:pt x="108171" y="145379"/>
                  </a:lnTo>
                  <a:lnTo>
                    <a:pt x="114388" y="145379"/>
                  </a:lnTo>
                  <a:lnTo>
                    <a:pt x="124799" y="156629"/>
                  </a:lnTo>
                  <a:lnTo>
                    <a:pt x="128943" y="158257"/>
                  </a:lnTo>
                  <a:lnTo>
                    <a:pt x="133137" y="158257"/>
                  </a:lnTo>
                  <a:lnTo>
                    <a:pt x="135210" y="161464"/>
                  </a:lnTo>
                  <a:lnTo>
                    <a:pt x="131065" y="166398"/>
                  </a:lnTo>
                  <a:lnTo>
                    <a:pt x="137282" y="169605"/>
                  </a:lnTo>
                  <a:lnTo>
                    <a:pt x="139354" y="177697"/>
                  </a:lnTo>
                  <a:lnTo>
                    <a:pt x="139354" y="179276"/>
                  </a:lnTo>
                  <a:lnTo>
                    <a:pt x="147693" y="196989"/>
                  </a:lnTo>
                  <a:lnTo>
                    <a:pt x="149765" y="205032"/>
                  </a:lnTo>
                  <a:lnTo>
                    <a:pt x="160176" y="208239"/>
                  </a:lnTo>
                  <a:lnTo>
                    <a:pt x="170586" y="213173"/>
                  </a:lnTo>
                  <a:lnTo>
                    <a:pt x="170586" y="219242"/>
                  </a:lnTo>
                  <a:lnTo>
                    <a:pt x="178925" y="232169"/>
                  </a:lnTo>
                  <a:lnTo>
                    <a:pt x="187263" y="237103"/>
                  </a:lnTo>
                  <a:lnTo>
                    <a:pt x="189336" y="253188"/>
                  </a:lnTo>
                  <a:lnTo>
                    <a:pt x="201819" y="274108"/>
                  </a:lnTo>
                  <a:lnTo>
                    <a:pt x="201819" y="282151"/>
                  </a:lnTo>
                  <a:lnTo>
                    <a:pt x="205963" y="290242"/>
                  </a:lnTo>
                  <a:lnTo>
                    <a:pt x="218447" y="298236"/>
                  </a:lnTo>
                  <a:lnTo>
                    <a:pt x="230930" y="312791"/>
                  </a:lnTo>
                  <a:lnTo>
                    <a:pt x="235074" y="320784"/>
                  </a:lnTo>
                  <a:lnTo>
                    <a:pt x="245485" y="322412"/>
                  </a:lnTo>
                  <a:lnTo>
                    <a:pt x="249679" y="325669"/>
                  </a:lnTo>
                  <a:lnTo>
                    <a:pt x="258018" y="330603"/>
                  </a:lnTo>
                  <a:lnTo>
                    <a:pt x="258018" y="340471"/>
                  </a:lnTo>
                  <a:lnTo>
                    <a:pt x="266307" y="343678"/>
                  </a:lnTo>
                  <a:lnTo>
                    <a:pt x="276717" y="353546"/>
                  </a:lnTo>
                  <a:lnTo>
                    <a:pt x="291273" y="361588"/>
                  </a:lnTo>
                  <a:lnTo>
                    <a:pt x="295467" y="368052"/>
                  </a:lnTo>
                  <a:lnTo>
                    <a:pt x="305829" y="371259"/>
                  </a:lnTo>
                  <a:lnTo>
                    <a:pt x="326650" y="387344"/>
                  </a:lnTo>
                  <a:lnTo>
                    <a:pt x="328772" y="393808"/>
                  </a:lnTo>
                  <a:lnTo>
                    <a:pt x="334989" y="395436"/>
                  </a:lnTo>
                  <a:lnTo>
                    <a:pt x="339183" y="401850"/>
                  </a:lnTo>
                  <a:lnTo>
                    <a:pt x="341206" y="400222"/>
                  </a:lnTo>
                  <a:lnTo>
                    <a:pt x="341206" y="393808"/>
                  </a:lnTo>
                  <a:lnTo>
                    <a:pt x="339183" y="390601"/>
                  </a:lnTo>
                  <a:lnTo>
                    <a:pt x="339183" y="387344"/>
                  </a:lnTo>
                  <a:lnTo>
                    <a:pt x="345399" y="388973"/>
                  </a:lnTo>
                  <a:lnTo>
                    <a:pt x="359955" y="400222"/>
                  </a:lnTo>
                  <a:lnTo>
                    <a:pt x="362027" y="397015"/>
                  </a:lnTo>
                  <a:lnTo>
                    <a:pt x="364148" y="388973"/>
                  </a:lnTo>
                  <a:lnTo>
                    <a:pt x="366221" y="385765"/>
                  </a:lnTo>
                  <a:lnTo>
                    <a:pt x="372438" y="387344"/>
                  </a:lnTo>
                  <a:lnTo>
                    <a:pt x="378704" y="395436"/>
                  </a:lnTo>
                  <a:lnTo>
                    <a:pt x="382898" y="397015"/>
                  </a:lnTo>
                  <a:lnTo>
                    <a:pt x="386994" y="392081"/>
                  </a:lnTo>
                  <a:lnTo>
                    <a:pt x="386994" y="379203"/>
                  </a:lnTo>
                  <a:lnTo>
                    <a:pt x="391187" y="361441"/>
                  </a:lnTo>
                  <a:lnTo>
                    <a:pt x="386994" y="350191"/>
                  </a:lnTo>
                  <a:lnTo>
                    <a:pt x="393260" y="338892"/>
                  </a:lnTo>
                  <a:lnTo>
                    <a:pt x="389115" y="333958"/>
                  </a:lnTo>
                  <a:lnTo>
                    <a:pt x="389115" y="324090"/>
                  </a:lnTo>
                  <a:lnTo>
                    <a:pt x="395332" y="320834"/>
                  </a:lnTo>
                  <a:lnTo>
                    <a:pt x="399526" y="315900"/>
                  </a:lnTo>
                  <a:lnTo>
                    <a:pt x="397404" y="310965"/>
                  </a:lnTo>
                  <a:lnTo>
                    <a:pt x="393260" y="307709"/>
                  </a:lnTo>
                  <a:lnTo>
                    <a:pt x="386994" y="304502"/>
                  </a:lnTo>
                  <a:lnTo>
                    <a:pt x="382898" y="296459"/>
                  </a:lnTo>
                  <a:lnTo>
                    <a:pt x="378704" y="294831"/>
                  </a:lnTo>
                  <a:lnTo>
                    <a:pt x="376582" y="289897"/>
                  </a:lnTo>
                  <a:lnTo>
                    <a:pt x="370365" y="286640"/>
                  </a:lnTo>
                  <a:lnTo>
                    <a:pt x="359955" y="288269"/>
                  </a:lnTo>
                  <a:lnTo>
                    <a:pt x="351616" y="286640"/>
                  </a:lnTo>
                  <a:lnTo>
                    <a:pt x="351616" y="278598"/>
                  </a:lnTo>
                  <a:lnTo>
                    <a:pt x="345399" y="272134"/>
                  </a:lnTo>
                  <a:lnTo>
                    <a:pt x="341206" y="275391"/>
                  </a:lnTo>
                  <a:lnTo>
                    <a:pt x="345399" y="268927"/>
                  </a:lnTo>
                  <a:lnTo>
                    <a:pt x="341206" y="262513"/>
                  </a:lnTo>
                  <a:lnTo>
                    <a:pt x="341206" y="246428"/>
                  </a:lnTo>
                  <a:lnTo>
                    <a:pt x="332917" y="249635"/>
                  </a:lnTo>
                  <a:lnTo>
                    <a:pt x="328772" y="246428"/>
                  </a:lnTo>
                  <a:lnTo>
                    <a:pt x="313970" y="246428"/>
                  </a:lnTo>
                  <a:lnTo>
                    <a:pt x="301486" y="239965"/>
                  </a:lnTo>
                  <a:lnTo>
                    <a:pt x="301486" y="235031"/>
                  </a:lnTo>
                  <a:lnTo>
                    <a:pt x="309825" y="231823"/>
                  </a:lnTo>
                  <a:lnTo>
                    <a:pt x="318164" y="226889"/>
                  </a:lnTo>
                  <a:lnTo>
                    <a:pt x="311898" y="225261"/>
                  </a:lnTo>
                  <a:lnTo>
                    <a:pt x="305631" y="225261"/>
                  </a:lnTo>
                  <a:lnTo>
                    <a:pt x="301486" y="223682"/>
                  </a:lnTo>
                  <a:lnTo>
                    <a:pt x="293198" y="226889"/>
                  </a:lnTo>
                  <a:lnTo>
                    <a:pt x="297341" y="221955"/>
                  </a:lnTo>
                  <a:lnTo>
                    <a:pt x="307753" y="217021"/>
                  </a:lnTo>
                  <a:lnTo>
                    <a:pt x="318164" y="215393"/>
                  </a:lnTo>
                  <a:lnTo>
                    <a:pt x="316042" y="208979"/>
                  </a:lnTo>
                  <a:lnTo>
                    <a:pt x="303608" y="199111"/>
                  </a:lnTo>
                  <a:lnTo>
                    <a:pt x="297341" y="197532"/>
                  </a:lnTo>
                  <a:lnTo>
                    <a:pt x="289003" y="202466"/>
                  </a:lnTo>
                  <a:lnTo>
                    <a:pt x="282786" y="207400"/>
                  </a:lnTo>
                  <a:lnTo>
                    <a:pt x="272375" y="207400"/>
                  </a:lnTo>
                  <a:lnTo>
                    <a:pt x="278592" y="205772"/>
                  </a:lnTo>
                  <a:lnTo>
                    <a:pt x="282786" y="204193"/>
                  </a:lnTo>
                  <a:lnTo>
                    <a:pt x="284859" y="202565"/>
                  </a:lnTo>
                  <a:lnTo>
                    <a:pt x="289003" y="197631"/>
                  </a:lnTo>
                  <a:lnTo>
                    <a:pt x="286931" y="194374"/>
                  </a:lnTo>
                  <a:lnTo>
                    <a:pt x="278592" y="191167"/>
                  </a:lnTo>
                  <a:lnTo>
                    <a:pt x="266110" y="191167"/>
                  </a:lnTo>
                  <a:lnTo>
                    <a:pt x="257820" y="184703"/>
                  </a:lnTo>
                  <a:lnTo>
                    <a:pt x="257820" y="181496"/>
                  </a:lnTo>
                  <a:lnTo>
                    <a:pt x="255698" y="173454"/>
                  </a:lnTo>
                  <a:lnTo>
                    <a:pt x="240896" y="160576"/>
                  </a:lnTo>
                  <a:lnTo>
                    <a:pt x="236752" y="158948"/>
                  </a:lnTo>
                  <a:lnTo>
                    <a:pt x="230486" y="160576"/>
                  </a:lnTo>
                  <a:lnTo>
                    <a:pt x="224269" y="157369"/>
                  </a:lnTo>
                  <a:lnTo>
                    <a:pt x="224269" y="145231"/>
                  </a:lnTo>
                  <a:lnTo>
                    <a:pt x="213858" y="137139"/>
                  </a:lnTo>
                  <a:lnTo>
                    <a:pt x="199056" y="130725"/>
                  </a:lnTo>
                  <a:lnTo>
                    <a:pt x="191803" y="130725"/>
                  </a:lnTo>
                  <a:lnTo>
                    <a:pt x="189730" y="132353"/>
                  </a:lnTo>
                  <a:lnTo>
                    <a:pt x="185537" y="130725"/>
                  </a:lnTo>
                  <a:lnTo>
                    <a:pt x="183465" y="122683"/>
                  </a:lnTo>
                  <a:lnTo>
                    <a:pt x="179320" y="125890"/>
                  </a:lnTo>
                  <a:lnTo>
                    <a:pt x="175126" y="122683"/>
                  </a:lnTo>
                  <a:lnTo>
                    <a:pt x="175126" y="112814"/>
                  </a:lnTo>
                  <a:lnTo>
                    <a:pt x="168909" y="106351"/>
                  </a:lnTo>
                  <a:lnTo>
                    <a:pt x="160571" y="104772"/>
                  </a:lnTo>
                  <a:lnTo>
                    <a:pt x="158498" y="99838"/>
                  </a:lnTo>
                  <a:lnTo>
                    <a:pt x="137677" y="88588"/>
                  </a:lnTo>
                  <a:lnTo>
                    <a:pt x="129338" y="86960"/>
                  </a:lnTo>
                  <a:lnTo>
                    <a:pt x="121049" y="78918"/>
                  </a:lnTo>
                  <a:lnTo>
                    <a:pt x="112710" y="78918"/>
                  </a:lnTo>
                  <a:lnTo>
                    <a:pt x="110638" y="73984"/>
                  </a:lnTo>
                  <a:lnTo>
                    <a:pt x="108566" y="64116"/>
                  </a:lnTo>
                  <a:lnTo>
                    <a:pt x="102299" y="60859"/>
                  </a:lnTo>
                  <a:lnTo>
                    <a:pt x="98155" y="52866"/>
                  </a:lnTo>
                  <a:lnTo>
                    <a:pt x="93961" y="51238"/>
                  </a:lnTo>
                  <a:lnTo>
                    <a:pt x="89816" y="43195"/>
                  </a:lnTo>
                  <a:lnTo>
                    <a:pt x="81527" y="41567"/>
                  </a:lnTo>
                  <a:lnTo>
                    <a:pt x="73188" y="41567"/>
                  </a:lnTo>
                  <a:lnTo>
                    <a:pt x="68995" y="43195"/>
                  </a:lnTo>
                  <a:lnTo>
                    <a:pt x="64850" y="39988"/>
                  </a:lnTo>
                  <a:lnTo>
                    <a:pt x="54439" y="39988"/>
                  </a:lnTo>
                  <a:lnTo>
                    <a:pt x="44029" y="43195"/>
                  </a:lnTo>
                  <a:lnTo>
                    <a:pt x="39884" y="39988"/>
                  </a:lnTo>
                  <a:lnTo>
                    <a:pt x="23207" y="30120"/>
                  </a:lnTo>
                  <a:lnTo>
                    <a:pt x="8405" y="2849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Graphic 2">
              <a:extLst>
                <a:ext uri="{FF2B5EF4-FFF2-40B4-BE49-F238E27FC236}">
                  <a16:creationId xmlns:a16="http://schemas.microsoft.com/office/drawing/2014/main" id="{BF232CD1-8F8A-4545-A186-BD0522B15A13}"/>
                </a:ext>
              </a:extLst>
            </p:cNvPr>
            <p:cNvSpPr/>
            <p:nvPr/>
          </p:nvSpPr>
          <p:spPr>
            <a:xfrm>
              <a:off x="9479792" y="4905943"/>
              <a:ext cx="105431" cy="27117"/>
            </a:xfrm>
            <a:custGeom>
              <a:avLst/>
              <a:gdLst>
                <a:gd name="connsiteX0" fmla="*/ -82 w 116048"/>
                <a:gd name="connsiteY0" fmla="*/ 25334 h 29850"/>
                <a:gd name="connsiteX1" fmla="*/ 7616 w 116048"/>
                <a:gd name="connsiteY1" fmla="*/ 29824 h 29850"/>
                <a:gd name="connsiteX2" fmla="*/ 15312 w 116048"/>
                <a:gd name="connsiteY2" fmla="*/ 26814 h 29850"/>
                <a:gd name="connsiteX3" fmla="*/ 21085 w 116048"/>
                <a:gd name="connsiteY3" fmla="*/ 26814 h 29850"/>
                <a:gd name="connsiteX4" fmla="*/ 21085 w 116048"/>
                <a:gd name="connsiteY4" fmla="*/ 17884 h 29850"/>
                <a:gd name="connsiteX5" fmla="*/ 17237 w 116048"/>
                <a:gd name="connsiteY5" fmla="*/ 17884 h 29850"/>
                <a:gd name="connsiteX6" fmla="*/ 7616 w 116048"/>
                <a:gd name="connsiteY6" fmla="*/ 20844 h 29850"/>
                <a:gd name="connsiteX7" fmla="*/ -82 w 116048"/>
                <a:gd name="connsiteY7" fmla="*/ 25334 h 29850"/>
                <a:gd name="connsiteX8" fmla="*/ 28831 w 116048"/>
                <a:gd name="connsiteY8" fmla="*/ 14874 h 29850"/>
                <a:gd name="connsiteX9" fmla="*/ 36528 w 116048"/>
                <a:gd name="connsiteY9" fmla="*/ 23854 h 29850"/>
                <a:gd name="connsiteX10" fmla="*/ 46396 w 116048"/>
                <a:gd name="connsiteY10" fmla="*/ 29824 h 29850"/>
                <a:gd name="connsiteX11" fmla="*/ 48321 w 116048"/>
                <a:gd name="connsiteY11" fmla="*/ 29824 h 29850"/>
                <a:gd name="connsiteX12" fmla="*/ 54094 w 116048"/>
                <a:gd name="connsiteY12" fmla="*/ 23854 h 29850"/>
                <a:gd name="connsiteX13" fmla="*/ 59866 w 116048"/>
                <a:gd name="connsiteY13" fmla="*/ 22374 h 29850"/>
                <a:gd name="connsiteX14" fmla="*/ 65689 w 116048"/>
                <a:gd name="connsiteY14" fmla="*/ 22374 h 29850"/>
                <a:gd name="connsiteX15" fmla="*/ 81083 w 116048"/>
                <a:gd name="connsiteY15" fmla="*/ 20844 h 29850"/>
                <a:gd name="connsiteX16" fmla="*/ 90704 w 116048"/>
                <a:gd name="connsiteY16" fmla="*/ 14874 h 29850"/>
                <a:gd name="connsiteX17" fmla="*/ 100572 w 116048"/>
                <a:gd name="connsiteY17" fmla="*/ 11913 h 29850"/>
                <a:gd name="connsiteX18" fmla="*/ 102497 w 116048"/>
                <a:gd name="connsiteY18" fmla="*/ 8904 h 29850"/>
                <a:gd name="connsiteX19" fmla="*/ 108269 w 116048"/>
                <a:gd name="connsiteY19" fmla="*/ 7424 h 29850"/>
                <a:gd name="connsiteX20" fmla="*/ 115967 w 116048"/>
                <a:gd name="connsiteY20" fmla="*/ 4463 h 29850"/>
                <a:gd name="connsiteX21" fmla="*/ 115967 w 116048"/>
                <a:gd name="connsiteY21" fmla="*/ 1453 h 29850"/>
                <a:gd name="connsiteX22" fmla="*/ 112167 w 116048"/>
                <a:gd name="connsiteY22" fmla="*/ -27 h 29850"/>
                <a:gd name="connsiteX23" fmla="*/ 98648 w 116048"/>
                <a:gd name="connsiteY23" fmla="*/ 1453 h 29850"/>
                <a:gd name="connsiteX24" fmla="*/ 89027 w 116048"/>
                <a:gd name="connsiteY24" fmla="*/ 1453 h 29850"/>
                <a:gd name="connsiteX25" fmla="*/ 83204 w 116048"/>
                <a:gd name="connsiteY25" fmla="*/ 2933 h 29850"/>
                <a:gd name="connsiteX26" fmla="*/ 75014 w 116048"/>
                <a:gd name="connsiteY26" fmla="*/ 2933 h 29850"/>
                <a:gd name="connsiteX27" fmla="*/ 63419 w 116048"/>
                <a:gd name="connsiteY27" fmla="*/ 4463 h 29850"/>
                <a:gd name="connsiteX28" fmla="*/ 49949 w 116048"/>
                <a:gd name="connsiteY28" fmla="*/ 2933 h 29850"/>
                <a:gd name="connsiteX29" fmla="*/ 40081 w 116048"/>
                <a:gd name="connsiteY29" fmla="*/ 11913 h 2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6048" h="29850">
                  <a:moveTo>
                    <a:pt x="-82" y="25334"/>
                  </a:moveTo>
                  <a:lnTo>
                    <a:pt x="7616" y="29824"/>
                  </a:lnTo>
                  <a:lnTo>
                    <a:pt x="15312" y="26814"/>
                  </a:lnTo>
                  <a:lnTo>
                    <a:pt x="21085" y="26814"/>
                  </a:lnTo>
                  <a:lnTo>
                    <a:pt x="21085" y="17884"/>
                  </a:lnTo>
                  <a:lnTo>
                    <a:pt x="17237" y="17884"/>
                  </a:lnTo>
                  <a:lnTo>
                    <a:pt x="7616" y="20844"/>
                  </a:lnTo>
                  <a:lnTo>
                    <a:pt x="-82" y="25334"/>
                  </a:lnTo>
                  <a:close/>
                  <a:moveTo>
                    <a:pt x="28831" y="14874"/>
                  </a:moveTo>
                  <a:lnTo>
                    <a:pt x="36528" y="23854"/>
                  </a:lnTo>
                  <a:lnTo>
                    <a:pt x="46396" y="29824"/>
                  </a:lnTo>
                  <a:lnTo>
                    <a:pt x="48321" y="29824"/>
                  </a:lnTo>
                  <a:lnTo>
                    <a:pt x="54094" y="23854"/>
                  </a:lnTo>
                  <a:lnTo>
                    <a:pt x="59866" y="22374"/>
                  </a:lnTo>
                  <a:lnTo>
                    <a:pt x="65689" y="22374"/>
                  </a:lnTo>
                  <a:lnTo>
                    <a:pt x="81083" y="20844"/>
                  </a:lnTo>
                  <a:lnTo>
                    <a:pt x="90704" y="14874"/>
                  </a:lnTo>
                  <a:lnTo>
                    <a:pt x="100572" y="11913"/>
                  </a:lnTo>
                  <a:lnTo>
                    <a:pt x="102497" y="8904"/>
                  </a:lnTo>
                  <a:lnTo>
                    <a:pt x="108269" y="7424"/>
                  </a:lnTo>
                  <a:lnTo>
                    <a:pt x="115967" y="4463"/>
                  </a:lnTo>
                  <a:lnTo>
                    <a:pt x="115967" y="1453"/>
                  </a:lnTo>
                  <a:lnTo>
                    <a:pt x="112167" y="-27"/>
                  </a:lnTo>
                  <a:lnTo>
                    <a:pt x="98648" y="1453"/>
                  </a:lnTo>
                  <a:lnTo>
                    <a:pt x="89027" y="1453"/>
                  </a:lnTo>
                  <a:lnTo>
                    <a:pt x="83204" y="2933"/>
                  </a:lnTo>
                  <a:lnTo>
                    <a:pt x="75014" y="2933"/>
                  </a:lnTo>
                  <a:lnTo>
                    <a:pt x="63419" y="4463"/>
                  </a:lnTo>
                  <a:lnTo>
                    <a:pt x="49949" y="2933"/>
                  </a:lnTo>
                  <a:lnTo>
                    <a:pt x="40081" y="1191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Graphic 2">
              <a:extLst>
                <a:ext uri="{FF2B5EF4-FFF2-40B4-BE49-F238E27FC236}">
                  <a16:creationId xmlns:a16="http://schemas.microsoft.com/office/drawing/2014/main" id="{83141FBD-7CE4-42D0-A952-C3D03DBF01BD}"/>
                </a:ext>
              </a:extLst>
            </p:cNvPr>
            <p:cNvSpPr/>
            <p:nvPr/>
          </p:nvSpPr>
          <p:spPr>
            <a:xfrm>
              <a:off x="8708599" y="4437752"/>
              <a:ext cx="631066" cy="193239"/>
            </a:xfrm>
            <a:custGeom>
              <a:avLst/>
              <a:gdLst>
                <a:gd name="connsiteX0" fmla="*/ 419361 w 694613"/>
                <a:gd name="connsiteY0" fmla="*/ 154556 h 212706"/>
                <a:gd name="connsiteX1" fmla="*/ 415462 w 694613"/>
                <a:gd name="connsiteY1" fmla="*/ 159145 h 212706"/>
                <a:gd name="connsiteX2" fmla="*/ 415462 w 694613"/>
                <a:gd name="connsiteY2" fmla="*/ 159145 h 212706"/>
                <a:gd name="connsiteX3" fmla="*/ 413440 w 694613"/>
                <a:gd name="connsiteY3" fmla="*/ 157616 h 212706"/>
                <a:gd name="connsiteX4" fmla="*/ 419361 w 694613"/>
                <a:gd name="connsiteY4" fmla="*/ 154556 h 212706"/>
                <a:gd name="connsiteX5" fmla="*/ -32 w 694613"/>
                <a:gd name="connsiteY5" fmla="*/ 59625 h 212706"/>
                <a:gd name="connsiteX6" fmla="*/ -32 w 694613"/>
                <a:gd name="connsiteY6" fmla="*/ 65744 h 212706"/>
                <a:gd name="connsiteX7" fmla="*/ 3915 w 694613"/>
                <a:gd name="connsiteY7" fmla="*/ 68803 h 212706"/>
                <a:gd name="connsiteX8" fmla="*/ 9786 w 694613"/>
                <a:gd name="connsiteY8" fmla="*/ 67273 h 212706"/>
                <a:gd name="connsiteX9" fmla="*/ 7812 w 694613"/>
                <a:gd name="connsiteY9" fmla="*/ 64214 h 212706"/>
                <a:gd name="connsiteX10" fmla="*/ 1941 w 694613"/>
                <a:gd name="connsiteY10" fmla="*/ 59625 h 212706"/>
                <a:gd name="connsiteX11" fmla="*/ 350974 w 694613"/>
                <a:gd name="connsiteY11" fmla="*/ 179029 h 212706"/>
                <a:gd name="connsiteX12" fmla="*/ 358820 w 694613"/>
                <a:gd name="connsiteY12" fmla="*/ 189736 h 212706"/>
                <a:gd name="connsiteX13" fmla="*/ 370613 w 694613"/>
                <a:gd name="connsiteY13" fmla="*/ 197384 h 212706"/>
                <a:gd name="connsiteX14" fmla="*/ 370613 w 694613"/>
                <a:gd name="connsiteY14" fmla="*/ 200443 h 212706"/>
                <a:gd name="connsiteX15" fmla="*/ 378457 w 694613"/>
                <a:gd name="connsiteY15" fmla="*/ 206561 h 212706"/>
                <a:gd name="connsiteX16" fmla="*/ 380382 w 694613"/>
                <a:gd name="connsiteY16" fmla="*/ 211150 h 212706"/>
                <a:gd name="connsiteX17" fmla="*/ 388226 w 694613"/>
                <a:gd name="connsiteY17" fmla="*/ 212679 h 212706"/>
                <a:gd name="connsiteX18" fmla="*/ 398095 w 694613"/>
                <a:gd name="connsiteY18" fmla="*/ 209620 h 212706"/>
                <a:gd name="connsiteX19" fmla="*/ 400069 w 694613"/>
                <a:gd name="connsiteY19" fmla="*/ 206561 h 212706"/>
                <a:gd name="connsiteX20" fmla="*/ 407913 w 694613"/>
                <a:gd name="connsiteY20" fmla="*/ 206561 h 212706"/>
                <a:gd name="connsiteX21" fmla="*/ 411811 w 694613"/>
                <a:gd name="connsiteY21" fmla="*/ 205032 h 212706"/>
                <a:gd name="connsiteX22" fmla="*/ 433374 w 694613"/>
                <a:gd name="connsiteY22" fmla="*/ 205032 h 212706"/>
                <a:gd name="connsiteX23" fmla="*/ 453110 w 694613"/>
                <a:gd name="connsiteY23" fmla="*/ 198913 h 212706"/>
                <a:gd name="connsiteX24" fmla="*/ 459030 w 694613"/>
                <a:gd name="connsiteY24" fmla="*/ 195854 h 212706"/>
                <a:gd name="connsiteX25" fmla="*/ 474720 w 694613"/>
                <a:gd name="connsiteY25" fmla="*/ 194325 h 212706"/>
                <a:gd name="connsiteX26" fmla="*/ 486513 w 694613"/>
                <a:gd name="connsiteY26" fmla="*/ 198913 h 212706"/>
                <a:gd name="connsiteX27" fmla="*/ 488437 w 694613"/>
                <a:gd name="connsiteY27" fmla="*/ 201972 h 212706"/>
                <a:gd name="connsiteX28" fmla="*/ 496283 w 694613"/>
                <a:gd name="connsiteY28" fmla="*/ 201972 h 212706"/>
                <a:gd name="connsiteX29" fmla="*/ 509999 w 694613"/>
                <a:gd name="connsiteY29" fmla="*/ 195854 h 212706"/>
                <a:gd name="connsiteX30" fmla="*/ 529735 w 694613"/>
                <a:gd name="connsiteY30" fmla="*/ 192795 h 212706"/>
                <a:gd name="connsiteX31" fmla="*/ 527811 w 694613"/>
                <a:gd name="connsiteY31" fmla="*/ 186677 h 212706"/>
                <a:gd name="connsiteX32" fmla="*/ 541527 w 694613"/>
                <a:gd name="connsiteY32" fmla="*/ 169852 h 212706"/>
                <a:gd name="connsiteX33" fmla="*/ 547398 w 694613"/>
                <a:gd name="connsiteY33" fmla="*/ 156086 h 212706"/>
                <a:gd name="connsiteX34" fmla="*/ 559192 w 694613"/>
                <a:gd name="connsiteY34" fmla="*/ 142270 h 212706"/>
                <a:gd name="connsiteX35" fmla="*/ 567036 w 694613"/>
                <a:gd name="connsiteY35" fmla="*/ 117600 h 212706"/>
                <a:gd name="connsiteX36" fmla="*/ 567036 w 694613"/>
                <a:gd name="connsiteY36" fmla="*/ 113012 h 212706"/>
                <a:gd name="connsiteX37" fmla="*/ 570934 w 694613"/>
                <a:gd name="connsiteY37" fmla="*/ 106894 h 212706"/>
                <a:gd name="connsiteX38" fmla="*/ 568961 w 694613"/>
                <a:gd name="connsiteY38" fmla="*/ 103785 h 212706"/>
                <a:gd name="connsiteX39" fmla="*/ 576805 w 694613"/>
                <a:gd name="connsiteY39" fmla="*/ 96137 h 212706"/>
                <a:gd name="connsiteX40" fmla="*/ 582678 w 694613"/>
                <a:gd name="connsiteY40" fmla="*/ 97667 h 212706"/>
                <a:gd name="connsiteX41" fmla="*/ 610159 w 694613"/>
                <a:gd name="connsiteY41" fmla="*/ 97667 h 212706"/>
                <a:gd name="connsiteX42" fmla="*/ 614107 w 694613"/>
                <a:gd name="connsiteY42" fmla="*/ 99196 h 212706"/>
                <a:gd name="connsiteX43" fmla="*/ 625850 w 694613"/>
                <a:gd name="connsiteY43" fmla="*/ 99196 h 212706"/>
                <a:gd name="connsiteX44" fmla="*/ 631722 w 694613"/>
                <a:gd name="connsiteY44" fmla="*/ 100726 h 212706"/>
                <a:gd name="connsiteX45" fmla="*/ 633695 w 694613"/>
                <a:gd name="connsiteY45" fmla="*/ 99196 h 212706"/>
                <a:gd name="connsiteX46" fmla="*/ 641491 w 694613"/>
                <a:gd name="connsiteY46" fmla="*/ 103785 h 212706"/>
                <a:gd name="connsiteX47" fmla="*/ 647411 w 694613"/>
                <a:gd name="connsiteY47" fmla="*/ 103785 h 212706"/>
                <a:gd name="connsiteX48" fmla="*/ 653332 w 694613"/>
                <a:gd name="connsiteY48" fmla="*/ 100726 h 212706"/>
                <a:gd name="connsiteX49" fmla="*/ 665076 w 694613"/>
                <a:gd name="connsiteY49" fmla="*/ 99196 h 212706"/>
                <a:gd name="connsiteX50" fmla="*/ 665076 w 694613"/>
                <a:gd name="connsiteY50" fmla="*/ 96137 h 212706"/>
                <a:gd name="connsiteX51" fmla="*/ 653332 w 694613"/>
                <a:gd name="connsiteY51" fmla="*/ 90019 h 212706"/>
                <a:gd name="connsiteX52" fmla="*/ 653332 w 694613"/>
                <a:gd name="connsiteY52" fmla="*/ 81039 h 212706"/>
                <a:gd name="connsiteX53" fmla="*/ 659155 w 694613"/>
                <a:gd name="connsiteY53" fmla="*/ 77980 h 212706"/>
                <a:gd name="connsiteX54" fmla="*/ 672920 w 694613"/>
                <a:gd name="connsiteY54" fmla="*/ 79510 h 212706"/>
                <a:gd name="connsiteX55" fmla="*/ 684664 w 694613"/>
                <a:gd name="connsiteY55" fmla="*/ 76451 h 212706"/>
                <a:gd name="connsiteX56" fmla="*/ 694532 w 694613"/>
                <a:gd name="connsiteY56" fmla="*/ 71862 h 212706"/>
                <a:gd name="connsiteX57" fmla="*/ 692559 w 694613"/>
                <a:gd name="connsiteY57" fmla="*/ 67273 h 212706"/>
                <a:gd name="connsiteX58" fmla="*/ 676868 w 694613"/>
                <a:gd name="connsiteY58" fmla="*/ 67273 h 212706"/>
                <a:gd name="connsiteX59" fmla="*/ 670996 w 694613"/>
                <a:gd name="connsiteY59" fmla="*/ 62685 h 212706"/>
                <a:gd name="connsiteX60" fmla="*/ 665125 w 694613"/>
                <a:gd name="connsiteY60" fmla="*/ 62685 h 212706"/>
                <a:gd name="connsiteX61" fmla="*/ 655257 w 694613"/>
                <a:gd name="connsiteY61" fmla="*/ 53507 h 212706"/>
                <a:gd name="connsiteX62" fmla="*/ 651310 w 694613"/>
                <a:gd name="connsiteY62" fmla="*/ 53507 h 212706"/>
                <a:gd name="connsiteX63" fmla="*/ 645438 w 694613"/>
                <a:gd name="connsiteY63" fmla="*/ 59625 h 212706"/>
                <a:gd name="connsiteX64" fmla="*/ 641491 w 694613"/>
                <a:gd name="connsiteY64" fmla="*/ 56566 h 212706"/>
                <a:gd name="connsiteX65" fmla="*/ 649386 w 694613"/>
                <a:gd name="connsiteY65" fmla="*/ 50448 h 212706"/>
                <a:gd name="connsiteX66" fmla="*/ 645438 w 694613"/>
                <a:gd name="connsiteY66" fmla="*/ 45860 h 212706"/>
                <a:gd name="connsiteX67" fmla="*/ 643513 w 694613"/>
                <a:gd name="connsiteY67" fmla="*/ 47389 h 212706"/>
                <a:gd name="connsiteX68" fmla="*/ 637593 w 694613"/>
                <a:gd name="connsiteY68" fmla="*/ 53507 h 212706"/>
                <a:gd name="connsiteX69" fmla="*/ 635669 w 694613"/>
                <a:gd name="connsiteY69" fmla="*/ 48919 h 212706"/>
                <a:gd name="connsiteX70" fmla="*/ 631722 w 694613"/>
                <a:gd name="connsiteY70" fmla="*/ 48919 h 212706"/>
                <a:gd name="connsiteX71" fmla="*/ 631722 w 694613"/>
                <a:gd name="connsiteY71" fmla="*/ 39741 h 212706"/>
                <a:gd name="connsiteX72" fmla="*/ 637593 w 694613"/>
                <a:gd name="connsiteY72" fmla="*/ 38212 h 212706"/>
                <a:gd name="connsiteX73" fmla="*/ 637593 w 694613"/>
                <a:gd name="connsiteY73" fmla="*/ 33623 h 212706"/>
                <a:gd name="connsiteX74" fmla="*/ 629747 w 694613"/>
                <a:gd name="connsiteY74" fmla="*/ 27505 h 212706"/>
                <a:gd name="connsiteX75" fmla="*/ 627823 w 694613"/>
                <a:gd name="connsiteY75" fmla="*/ 29035 h 212706"/>
                <a:gd name="connsiteX76" fmla="*/ 617955 w 694613"/>
                <a:gd name="connsiteY76" fmla="*/ 24446 h 212706"/>
                <a:gd name="connsiteX77" fmla="*/ 617955 w 694613"/>
                <a:gd name="connsiteY77" fmla="*/ 16897 h 212706"/>
                <a:gd name="connsiteX78" fmla="*/ 612035 w 694613"/>
                <a:gd name="connsiteY78" fmla="*/ 12308 h 212706"/>
                <a:gd name="connsiteX79" fmla="*/ 608137 w 694613"/>
                <a:gd name="connsiteY79" fmla="*/ 15367 h 212706"/>
                <a:gd name="connsiteX80" fmla="*/ 610110 w 694613"/>
                <a:gd name="connsiteY80" fmla="*/ 19956 h 212706"/>
                <a:gd name="connsiteX81" fmla="*/ 602266 w 694613"/>
                <a:gd name="connsiteY81" fmla="*/ 26074 h 212706"/>
                <a:gd name="connsiteX82" fmla="*/ 600291 w 694613"/>
                <a:gd name="connsiteY82" fmla="*/ 26074 h 212706"/>
                <a:gd name="connsiteX83" fmla="*/ 602266 w 694613"/>
                <a:gd name="connsiteY83" fmla="*/ 19956 h 212706"/>
                <a:gd name="connsiteX84" fmla="*/ 600291 w 694613"/>
                <a:gd name="connsiteY84" fmla="*/ 15367 h 212706"/>
                <a:gd name="connsiteX85" fmla="*/ 596393 w 694613"/>
                <a:gd name="connsiteY85" fmla="*/ 15367 h 212706"/>
                <a:gd name="connsiteX86" fmla="*/ 592447 w 694613"/>
                <a:gd name="connsiteY86" fmla="*/ 29133 h 212706"/>
                <a:gd name="connsiteX87" fmla="*/ 584651 w 694613"/>
                <a:gd name="connsiteY87" fmla="*/ 29133 h 212706"/>
                <a:gd name="connsiteX88" fmla="*/ 578730 w 694613"/>
                <a:gd name="connsiteY88" fmla="*/ 44429 h 212706"/>
                <a:gd name="connsiteX89" fmla="*/ 576756 w 694613"/>
                <a:gd name="connsiteY89" fmla="*/ 52076 h 212706"/>
                <a:gd name="connsiteX90" fmla="*/ 565013 w 694613"/>
                <a:gd name="connsiteY90" fmla="*/ 65842 h 212706"/>
                <a:gd name="connsiteX91" fmla="*/ 558747 w 694613"/>
                <a:gd name="connsiteY91" fmla="*/ 65842 h 212706"/>
                <a:gd name="connsiteX92" fmla="*/ 546955 w 694613"/>
                <a:gd name="connsiteY92" fmla="*/ 68901 h 212706"/>
                <a:gd name="connsiteX93" fmla="*/ 543057 w 694613"/>
                <a:gd name="connsiteY93" fmla="*/ 71961 h 212706"/>
                <a:gd name="connsiteX94" fmla="*/ 546955 w 694613"/>
                <a:gd name="connsiteY94" fmla="*/ 71961 h 212706"/>
                <a:gd name="connsiteX95" fmla="*/ 545030 w 694613"/>
                <a:gd name="connsiteY95" fmla="*/ 75020 h 212706"/>
                <a:gd name="connsiteX96" fmla="*/ 546955 w 694613"/>
                <a:gd name="connsiteY96" fmla="*/ 76549 h 212706"/>
                <a:gd name="connsiteX97" fmla="*/ 556823 w 694613"/>
                <a:gd name="connsiteY97" fmla="*/ 75020 h 212706"/>
                <a:gd name="connsiteX98" fmla="*/ 554898 w 694613"/>
                <a:gd name="connsiteY98" fmla="*/ 78079 h 212706"/>
                <a:gd name="connsiteX99" fmla="*/ 547005 w 694613"/>
                <a:gd name="connsiteY99" fmla="*/ 81138 h 212706"/>
                <a:gd name="connsiteX100" fmla="*/ 545080 w 694613"/>
                <a:gd name="connsiteY100" fmla="*/ 82668 h 212706"/>
                <a:gd name="connsiteX101" fmla="*/ 547005 w 694613"/>
                <a:gd name="connsiteY101" fmla="*/ 85727 h 212706"/>
                <a:gd name="connsiteX102" fmla="*/ 550901 w 694613"/>
                <a:gd name="connsiteY102" fmla="*/ 96433 h 212706"/>
                <a:gd name="connsiteX103" fmla="*/ 547005 w 694613"/>
                <a:gd name="connsiteY103" fmla="*/ 101022 h 212706"/>
                <a:gd name="connsiteX104" fmla="*/ 543107 w 694613"/>
                <a:gd name="connsiteY104" fmla="*/ 99492 h 212706"/>
                <a:gd name="connsiteX105" fmla="*/ 543107 w 694613"/>
                <a:gd name="connsiteY105" fmla="*/ 91845 h 212706"/>
                <a:gd name="connsiteX106" fmla="*/ 541132 w 694613"/>
                <a:gd name="connsiteY106" fmla="*/ 85727 h 212706"/>
                <a:gd name="connsiteX107" fmla="*/ 539159 w 694613"/>
                <a:gd name="connsiteY107" fmla="*/ 87256 h 212706"/>
                <a:gd name="connsiteX108" fmla="*/ 541132 w 694613"/>
                <a:gd name="connsiteY108" fmla="*/ 85727 h 212706"/>
                <a:gd name="connsiteX109" fmla="*/ 537234 w 694613"/>
                <a:gd name="connsiteY109" fmla="*/ 85727 h 212706"/>
                <a:gd name="connsiteX110" fmla="*/ 533288 w 694613"/>
                <a:gd name="connsiteY110" fmla="*/ 90315 h 212706"/>
                <a:gd name="connsiteX111" fmla="*/ 535261 w 694613"/>
                <a:gd name="connsiteY111" fmla="*/ 104081 h 212706"/>
                <a:gd name="connsiteX112" fmla="*/ 533288 w 694613"/>
                <a:gd name="connsiteY112" fmla="*/ 105660 h 212706"/>
                <a:gd name="connsiteX113" fmla="*/ 525442 w 694613"/>
                <a:gd name="connsiteY113" fmla="*/ 101022 h 212706"/>
                <a:gd name="connsiteX114" fmla="*/ 517597 w 694613"/>
                <a:gd name="connsiteY114" fmla="*/ 91845 h 212706"/>
                <a:gd name="connsiteX115" fmla="*/ 513650 w 694613"/>
                <a:gd name="connsiteY115" fmla="*/ 91845 h 212706"/>
                <a:gd name="connsiteX116" fmla="*/ 509752 w 694613"/>
                <a:gd name="connsiteY116" fmla="*/ 90315 h 212706"/>
                <a:gd name="connsiteX117" fmla="*/ 503880 w 694613"/>
                <a:gd name="connsiteY117" fmla="*/ 94904 h 212706"/>
                <a:gd name="connsiteX118" fmla="*/ 503880 w 694613"/>
                <a:gd name="connsiteY118" fmla="*/ 100775 h 212706"/>
                <a:gd name="connsiteX119" fmla="*/ 496036 w 694613"/>
                <a:gd name="connsiteY119" fmla="*/ 108472 h 212706"/>
                <a:gd name="connsiteX120" fmla="*/ 492088 w 694613"/>
                <a:gd name="connsiteY120" fmla="*/ 116120 h 212706"/>
                <a:gd name="connsiteX121" fmla="*/ 480346 w 694613"/>
                <a:gd name="connsiteY121" fmla="*/ 123768 h 212706"/>
                <a:gd name="connsiteX122" fmla="*/ 478371 w 694613"/>
                <a:gd name="connsiteY122" fmla="*/ 128357 h 212706"/>
                <a:gd name="connsiteX123" fmla="*/ 470527 w 694613"/>
                <a:gd name="connsiteY123" fmla="*/ 139064 h 212706"/>
                <a:gd name="connsiteX124" fmla="*/ 460659 w 694613"/>
                <a:gd name="connsiteY124" fmla="*/ 145231 h 212706"/>
                <a:gd name="connsiteX125" fmla="*/ 431055 w 694613"/>
                <a:gd name="connsiteY125" fmla="*/ 151349 h 212706"/>
                <a:gd name="connsiteX126" fmla="*/ 429130 w 694613"/>
                <a:gd name="connsiteY126" fmla="*/ 152879 h 212706"/>
                <a:gd name="connsiteX127" fmla="*/ 431055 w 694613"/>
                <a:gd name="connsiteY127" fmla="*/ 160526 h 212706"/>
                <a:gd name="connsiteX128" fmla="*/ 433028 w 694613"/>
                <a:gd name="connsiteY128" fmla="*/ 165115 h 212706"/>
                <a:gd name="connsiteX129" fmla="*/ 429130 w 694613"/>
                <a:gd name="connsiteY129" fmla="*/ 162056 h 212706"/>
                <a:gd name="connsiteX130" fmla="*/ 425182 w 694613"/>
                <a:gd name="connsiteY130" fmla="*/ 165115 h 212706"/>
                <a:gd name="connsiteX131" fmla="*/ 415314 w 694613"/>
                <a:gd name="connsiteY131" fmla="*/ 166645 h 212706"/>
                <a:gd name="connsiteX132" fmla="*/ 411367 w 694613"/>
                <a:gd name="connsiteY132" fmla="*/ 171234 h 212706"/>
                <a:gd name="connsiteX133" fmla="*/ 409394 w 694613"/>
                <a:gd name="connsiteY133" fmla="*/ 177352 h 212706"/>
                <a:gd name="connsiteX134" fmla="*/ 407470 w 694613"/>
                <a:gd name="connsiteY134" fmla="*/ 184999 h 212706"/>
                <a:gd name="connsiteX135" fmla="*/ 401548 w 694613"/>
                <a:gd name="connsiteY135" fmla="*/ 194177 h 212706"/>
                <a:gd name="connsiteX136" fmla="*/ 403522 w 694613"/>
                <a:gd name="connsiteY136" fmla="*/ 195706 h 212706"/>
                <a:gd name="connsiteX137" fmla="*/ 389806 w 694613"/>
                <a:gd name="connsiteY137" fmla="*/ 194177 h 212706"/>
                <a:gd name="connsiteX138" fmla="*/ 374116 w 694613"/>
                <a:gd name="connsiteY138" fmla="*/ 188058 h 212706"/>
                <a:gd name="connsiteX139" fmla="*/ 364248 w 694613"/>
                <a:gd name="connsiteY139" fmla="*/ 188058 h 212706"/>
                <a:gd name="connsiteX140" fmla="*/ 360350 w 694613"/>
                <a:gd name="connsiteY140" fmla="*/ 183470 h 212706"/>
                <a:gd name="connsiteX141" fmla="*/ 354429 w 694613"/>
                <a:gd name="connsiteY141" fmla="*/ 178881 h 212706"/>
                <a:gd name="connsiteX142" fmla="*/ 607840 w 694613"/>
                <a:gd name="connsiteY142" fmla="*/ -27 h 212706"/>
                <a:gd name="connsiteX143" fmla="*/ 597972 w 694613"/>
                <a:gd name="connsiteY143" fmla="*/ 6091 h 212706"/>
                <a:gd name="connsiteX144" fmla="*/ 603893 w 694613"/>
                <a:gd name="connsiteY144" fmla="*/ 6091 h 212706"/>
                <a:gd name="connsiteX145" fmla="*/ 607791 w 694613"/>
                <a:gd name="connsiteY145" fmla="*/ 3032 h 212706"/>
                <a:gd name="connsiteX146" fmla="*/ 607791 w 694613"/>
                <a:gd name="connsiteY146" fmla="*/ -27 h 212706"/>
                <a:gd name="connsiteX147" fmla="*/ 615686 w 694613"/>
                <a:gd name="connsiteY147" fmla="*/ 1503 h 212706"/>
                <a:gd name="connsiteX148" fmla="*/ 609815 w 694613"/>
                <a:gd name="connsiteY148" fmla="*/ 7621 h 212706"/>
                <a:gd name="connsiteX149" fmla="*/ 611738 w 694613"/>
                <a:gd name="connsiteY149" fmla="*/ 9150 h 212706"/>
                <a:gd name="connsiteX150" fmla="*/ 619584 w 694613"/>
                <a:gd name="connsiteY150" fmla="*/ 7621 h 212706"/>
                <a:gd name="connsiteX151" fmla="*/ 619584 w 694613"/>
                <a:gd name="connsiteY151" fmla="*/ 1503 h 212706"/>
                <a:gd name="connsiteX152" fmla="*/ 415660 w 694613"/>
                <a:gd name="connsiteY152" fmla="*/ 165263 h 212706"/>
                <a:gd name="connsiteX153" fmla="*/ 409739 w 694613"/>
                <a:gd name="connsiteY153" fmla="*/ 166793 h 212706"/>
                <a:gd name="connsiteX154" fmla="*/ 413637 w 694613"/>
                <a:gd name="connsiteY154" fmla="*/ 160675 h 212706"/>
                <a:gd name="connsiteX155" fmla="*/ 415660 w 694613"/>
                <a:gd name="connsiteY155" fmla="*/ 165263 h 212706"/>
                <a:gd name="connsiteX156" fmla="*/ 423456 w 694613"/>
                <a:gd name="connsiteY156" fmla="*/ 162204 h 212706"/>
                <a:gd name="connsiteX157" fmla="*/ 419558 w 694613"/>
                <a:gd name="connsiteY157" fmla="*/ 165263 h 212706"/>
                <a:gd name="connsiteX158" fmla="*/ 415660 w 694613"/>
                <a:gd name="connsiteY158" fmla="*/ 160675 h 212706"/>
                <a:gd name="connsiteX159" fmla="*/ 419558 w 694613"/>
                <a:gd name="connsiteY159" fmla="*/ 159145 h 212706"/>
                <a:gd name="connsiteX160" fmla="*/ 423456 w 694613"/>
                <a:gd name="connsiteY160" fmla="*/ 162204 h 212706"/>
                <a:gd name="connsiteX161" fmla="*/ 427402 w 694613"/>
                <a:gd name="connsiteY161" fmla="*/ 153027 h 212706"/>
                <a:gd name="connsiteX162" fmla="*/ 429377 w 694613"/>
                <a:gd name="connsiteY162" fmla="*/ 160675 h 212706"/>
                <a:gd name="connsiteX163" fmla="*/ 425429 w 694613"/>
                <a:gd name="connsiteY163" fmla="*/ 162204 h 212706"/>
                <a:gd name="connsiteX164" fmla="*/ 419558 w 694613"/>
                <a:gd name="connsiteY164" fmla="*/ 157616 h 212706"/>
                <a:gd name="connsiteX165" fmla="*/ 419558 w 694613"/>
                <a:gd name="connsiteY165" fmla="*/ 154556 h 212706"/>
                <a:gd name="connsiteX166" fmla="*/ 421531 w 694613"/>
                <a:gd name="connsiteY166" fmla="*/ 154556 h 212706"/>
                <a:gd name="connsiteX167" fmla="*/ 427402 w 694613"/>
                <a:gd name="connsiteY167" fmla="*/ 153027 h 212706"/>
                <a:gd name="connsiteX168" fmla="*/ -82 w 694613"/>
                <a:gd name="connsiteY168" fmla="*/ 30564 h 212706"/>
                <a:gd name="connsiteX169" fmla="*/ 1892 w 694613"/>
                <a:gd name="connsiteY169" fmla="*/ 24446 h 212706"/>
                <a:gd name="connsiteX170" fmla="*/ 9737 w 694613"/>
                <a:gd name="connsiteY170" fmla="*/ 18328 h 212706"/>
                <a:gd name="connsiteX171" fmla="*/ 15609 w 694613"/>
                <a:gd name="connsiteY171" fmla="*/ 24446 h 212706"/>
                <a:gd name="connsiteX172" fmla="*/ 25477 w 694613"/>
                <a:gd name="connsiteY172" fmla="*/ 25976 h 212706"/>
                <a:gd name="connsiteX173" fmla="*/ 27450 w 694613"/>
                <a:gd name="connsiteY173" fmla="*/ 29035 h 212706"/>
                <a:gd name="connsiteX174" fmla="*/ 33322 w 694613"/>
                <a:gd name="connsiteY174" fmla="*/ 29035 h 212706"/>
                <a:gd name="connsiteX175" fmla="*/ 37220 w 694613"/>
                <a:gd name="connsiteY175" fmla="*/ 35153 h 212706"/>
                <a:gd name="connsiteX176" fmla="*/ 37220 w 694613"/>
                <a:gd name="connsiteY176" fmla="*/ 42800 h 212706"/>
                <a:gd name="connsiteX177" fmla="*/ 33322 w 694613"/>
                <a:gd name="connsiteY177" fmla="*/ 47389 h 212706"/>
                <a:gd name="connsiteX178" fmla="*/ 33322 w 694613"/>
                <a:gd name="connsiteY178" fmla="*/ 51978 h 212706"/>
                <a:gd name="connsiteX179" fmla="*/ 43190 w 694613"/>
                <a:gd name="connsiteY179" fmla="*/ 53507 h 212706"/>
                <a:gd name="connsiteX180" fmla="*/ 51035 w 694613"/>
                <a:gd name="connsiteY180" fmla="*/ 47389 h 212706"/>
                <a:gd name="connsiteX181" fmla="*/ 56906 w 694613"/>
                <a:gd name="connsiteY181" fmla="*/ 47389 h 212706"/>
                <a:gd name="connsiteX182" fmla="*/ 62778 w 694613"/>
                <a:gd name="connsiteY182" fmla="*/ 50448 h 212706"/>
                <a:gd name="connsiteX183" fmla="*/ 66676 w 694613"/>
                <a:gd name="connsiteY183" fmla="*/ 47389 h 212706"/>
                <a:gd name="connsiteX184" fmla="*/ 66676 w 694613"/>
                <a:gd name="connsiteY184" fmla="*/ 42800 h 212706"/>
                <a:gd name="connsiteX185" fmla="*/ 68650 w 694613"/>
                <a:gd name="connsiteY185" fmla="*/ 41271 h 212706"/>
                <a:gd name="connsiteX186" fmla="*/ 72596 w 694613"/>
                <a:gd name="connsiteY186" fmla="*/ 41271 h 212706"/>
                <a:gd name="connsiteX187" fmla="*/ 78468 w 694613"/>
                <a:gd name="connsiteY187" fmla="*/ 38212 h 212706"/>
                <a:gd name="connsiteX188" fmla="*/ 80442 w 694613"/>
                <a:gd name="connsiteY188" fmla="*/ 36682 h 212706"/>
                <a:gd name="connsiteX189" fmla="*/ 86313 w 694613"/>
                <a:gd name="connsiteY189" fmla="*/ 45860 h 212706"/>
                <a:gd name="connsiteX190" fmla="*/ 113747 w 694613"/>
                <a:gd name="connsiteY190" fmla="*/ 68803 h 212706"/>
                <a:gd name="connsiteX191" fmla="*/ 119667 w 694613"/>
                <a:gd name="connsiteY191" fmla="*/ 79510 h 212706"/>
                <a:gd name="connsiteX192" fmla="*/ 123565 w 694613"/>
                <a:gd name="connsiteY192" fmla="*/ 91746 h 212706"/>
                <a:gd name="connsiteX193" fmla="*/ 121640 w 694613"/>
                <a:gd name="connsiteY193" fmla="*/ 94805 h 212706"/>
                <a:gd name="connsiteX194" fmla="*/ 121640 w 694613"/>
                <a:gd name="connsiteY194" fmla="*/ 110150 h 212706"/>
                <a:gd name="connsiteX195" fmla="*/ 119667 w 694613"/>
                <a:gd name="connsiteY195" fmla="*/ 114739 h 212706"/>
                <a:gd name="connsiteX196" fmla="*/ 119667 w 694613"/>
                <a:gd name="connsiteY196" fmla="*/ 119327 h 212706"/>
                <a:gd name="connsiteX197" fmla="*/ 123565 w 694613"/>
                <a:gd name="connsiteY197" fmla="*/ 122386 h 212706"/>
                <a:gd name="connsiteX198" fmla="*/ 123565 w 694613"/>
                <a:gd name="connsiteY198" fmla="*/ 139211 h 212706"/>
                <a:gd name="connsiteX199" fmla="*/ 127463 w 694613"/>
                <a:gd name="connsiteY199" fmla="*/ 146909 h 212706"/>
                <a:gd name="connsiteX200" fmla="*/ 135308 w 694613"/>
                <a:gd name="connsiteY200" fmla="*/ 153027 h 212706"/>
                <a:gd name="connsiteX201" fmla="*/ 141228 w 694613"/>
                <a:gd name="connsiteY201" fmla="*/ 153027 h 212706"/>
                <a:gd name="connsiteX202" fmla="*/ 141228 w 694613"/>
                <a:gd name="connsiteY202" fmla="*/ 157616 h 212706"/>
                <a:gd name="connsiteX203" fmla="*/ 145126 w 694613"/>
                <a:gd name="connsiteY203" fmla="*/ 168322 h 212706"/>
                <a:gd name="connsiteX204" fmla="*/ 147101 w 694613"/>
                <a:gd name="connsiteY204" fmla="*/ 169852 h 212706"/>
                <a:gd name="connsiteX205" fmla="*/ 147101 w 694613"/>
                <a:gd name="connsiteY205" fmla="*/ 174441 h 212706"/>
                <a:gd name="connsiteX206" fmla="*/ 149074 w 694613"/>
                <a:gd name="connsiteY206" fmla="*/ 174441 h 212706"/>
                <a:gd name="connsiteX207" fmla="*/ 156870 w 694613"/>
                <a:gd name="connsiteY207" fmla="*/ 186677 h 212706"/>
                <a:gd name="connsiteX208" fmla="*/ 156870 w 694613"/>
                <a:gd name="connsiteY208" fmla="*/ 195854 h 212706"/>
                <a:gd name="connsiteX209" fmla="*/ 152972 w 694613"/>
                <a:gd name="connsiteY209" fmla="*/ 194325 h 212706"/>
                <a:gd name="connsiteX210" fmla="*/ 151048 w 694613"/>
                <a:gd name="connsiteY210" fmla="*/ 192795 h 212706"/>
                <a:gd name="connsiteX211" fmla="*/ 151048 w 694613"/>
                <a:gd name="connsiteY211" fmla="*/ 188206 h 212706"/>
                <a:gd name="connsiteX212" fmla="*/ 147101 w 694613"/>
                <a:gd name="connsiteY212" fmla="*/ 185147 h 212706"/>
                <a:gd name="connsiteX213" fmla="*/ 149074 w 694613"/>
                <a:gd name="connsiteY213" fmla="*/ 188206 h 212706"/>
                <a:gd name="connsiteX214" fmla="*/ 149074 w 694613"/>
                <a:gd name="connsiteY214" fmla="*/ 192795 h 212706"/>
                <a:gd name="connsiteX215" fmla="*/ 149074 w 694613"/>
                <a:gd name="connsiteY215" fmla="*/ 192795 h 212706"/>
                <a:gd name="connsiteX216" fmla="*/ 149074 w 694613"/>
                <a:gd name="connsiteY216" fmla="*/ 194522 h 212706"/>
                <a:gd name="connsiteX217" fmla="*/ 141228 w 694613"/>
                <a:gd name="connsiteY217" fmla="*/ 199111 h 212706"/>
                <a:gd name="connsiteX218" fmla="*/ 139255 w 694613"/>
                <a:gd name="connsiteY218" fmla="*/ 196052 h 212706"/>
                <a:gd name="connsiteX219" fmla="*/ 137282 w 694613"/>
                <a:gd name="connsiteY219" fmla="*/ 197581 h 212706"/>
                <a:gd name="connsiteX220" fmla="*/ 129437 w 694613"/>
                <a:gd name="connsiteY220" fmla="*/ 194522 h 212706"/>
                <a:gd name="connsiteX221" fmla="*/ 125538 w 694613"/>
                <a:gd name="connsiteY221" fmla="*/ 188404 h 212706"/>
                <a:gd name="connsiteX222" fmla="*/ 113747 w 694613"/>
                <a:gd name="connsiteY222" fmla="*/ 186874 h 212706"/>
                <a:gd name="connsiteX223" fmla="*/ 102004 w 694613"/>
                <a:gd name="connsiteY223" fmla="*/ 182286 h 212706"/>
                <a:gd name="connsiteX224" fmla="*/ 96132 w 694613"/>
                <a:gd name="connsiteY224" fmla="*/ 177697 h 212706"/>
                <a:gd name="connsiteX225" fmla="*/ 94158 w 694613"/>
                <a:gd name="connsiteY225" fmla="*/ 174638 h 212706"/>
                <a:gd name="connsiteX226" fmla="*/ 88237 w 694613"/>
                <a:gd name="connsiteY226" fmla="*/ 176168 h 212706"/>
                <a:gd name="connsiteX227" fmla="*/ 84339 w 694613"/>
                <a:gd name="connsiteY227" fmla="*/ 176168 h 212706"/>
                <a:gd name="connsiteX228" fmla="*/ 76494 w 694613"/>
                <a:gd name="connsiteY228" fmla="*/ 168520 h 212706"/>
                <a:gd name="connsiteX229" fmla="*/ 76494 w 694613"/>
                <a:gd name="connsiteY229" fmla="*/ 160872 h 212706"/>
                <a:gd name="connsiteX230" fmla="*/ 64751 w 694613"/>
                <a:gd name="connsiteY230" fmla="*/ 154754 h 212706"/>
                <a:gd name="connsiteX231" fmla="*/ 50541 w 694613"/>
                <a:gd name="connsiteY231" fmla="*/ 150116 h 212706"/>
                <a:gd name="connsiteX232" fmla="*/ 46594 w 694613"/>
                <a:gd name="connsiteY232" fmla="*/ 147057 h 212706"/>
                <a:gd name="connsiteX233" fmla="*/ 48568 w 694613"/>
                <a:gd name="connsiteY233" fmla="*/ 142419 h 212706"/>
                <a:gd name="connsiteX234" fmla="*/ 52515 w 694613"/>
                <a:gd name="connsiteY234" fmla="*/ 136301 h 212706"/>
                <a:gd name="connsiteX235" fmla="*/ 48568 w 694613"/>
                <a:gd name="connsiteY235" fmla="*/ 131712 h 212706"/>
                <a:gd name="connsiteX236" fmla="*/ 42696 w 694613"/>
                <a:gd name="connsiteY236" fmla="*/ 128653 h 212706"/>
                <a:gd name="connsiteX237" fmla="*/ 34851 w 694613"/>
                <a:gd name="connsiteY237" fmla="*/ 121005 h 212706"/>
                <a:gd name="connsiteX238" fmla="*/ 24983 w 694613"/>
                <a:gd name="connsiteY238" fmla="*/ 116416 h 212706"/>
                <a:gd name="connsiteX239" fmla="*/ 21085 w 694613"/>
                <a:gd name="connsiteY239" fmla="*/ 108769 h 212706"/>
                <a:gd name="connsiteX240" fmla="*/ 23059 w 694613"/>
                <a:gd name="connsiteY240" fmla="*/ 105709 h 212706"/>
                <a:gd name="connsiteX241" fmla="*/ 17138 w 694613"/>
                <a:gd name="connsiteY241" fmla="*/ 102601 h 212706"/>
                <a:gd name="connsiteX242" fmla="*/ 17138 w 694613"/>
                <a:gd name="connsiteY242" fmla="*/ 96335 h 212706"/>
                <a:gd name="connsiteX243" fmla="*/ 19062 w 694613"/>
                <a:gd name="connsiteY243" fmla="*/ 94805 h 212706"/>
                <a:gd name="connsiteX244" fmla="*/ 21085 w 694613"/>
                <a:gd name="connsiteY244" fmla="*/ 82569 h 212706"/>
                <a:gd name="connsiteX245" fmla="*/ 17138 w 694613"/>
                <a:gd name="connsiteY245" fmla="*/ 76451 h 212706"/>
                <a:gd name="connsiteX246" fmla="*/ 13240 w 694613"/>
                <a:gd name="connsiteY246" fmla="*/ 67273 h 212706"/>
                <a:gd name="connsiteX247" fmla="*/ 9293 w 694613"/>
                <a:gd name="connsiteY247" fmla="*/ 41271 h 21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</a:cxnLst>
              <a:rect l="l" t="t" r="r" b="b"/>
              <a:pathLst>
                <a:path w="694613" h="212706">
                  <a:moveTo>
                    <a:pt x="419361" y="154556"/>
                  </a:moveTo>
                  <a:lnTo>
                    <a:pt x="415462" y="159145"/>
                  </a:lnTo>
                  <a:lnTo>
                    <a:pt x="415462" y="159145"/>
                  </a:lnTo>
                  <a:lnTo>
                    <a:pt x="413440" y="157616"/>
                  </a:lnTo>
                  <a:lnTo>
                    <a:pt x="419361" y="154556"/>
                  </a:lnTo>
                  <a:close/>
                  <a:moveTo>
                    <a:pt x="-32" y="59625"/>
                  </a:moveTo>
                  <a:lnTo>
                    <a:pt x="-32" y="65744"/>
                  </a:lnTo>
                  <a:lnTo>
                    <a:pt x="3915" y="68803"/>
                  </a:lnTo>
                  <a:lnTo>
                    <a:pt x="9786" y="67273"/>
                  </a:lnTo>
                  <a:lnTo>
                    <a:pt x="7812" y="64214"/>
                  </a:lnTo>
                  <a:lnTo>
                    <a:pt x="1941" y="59625"/>
                  </a:lnTo>
                  <a:close/>
                  <a:moveTo>
                    <a:pt x="350974" y="179029"/>
                  </a:moveTo>
                  <a:lnTo>
                    <a:pt x="358820" y="189736"/>
                  </a:lnTo>
                  <a:lnTo>
                    <a:pt x="370613" y="197384"/>
                  </a:lnTo>
                  <a:lnTo>
                    <a:pt x="370613" y="200443"/>
                  </a:lnTo>
                  <a:lnTo>
                    <a:pt x="378457" y="206561"/>
                  </a:lnTo>
                  <a:lnTo>
                    <a:pt x="380382" y="211150"/>
                  </a:lnTo>
                  <a:lnTo>
                    <a:pt x="388226" y="212679"/>
                  </a:lnTo>
                  <a:lnTo>
                    <a:pt x="398095" y="209620"/>
                  </a:lnTo>
                  <a:lnTo>
                    <a:pt x="400069" y="206561"/>
                  </a:lnTo>
                  <a:lnTo>
                    <a:pt x="407913" y="206561"/>
                  </a:lnTo>
                  <a:lnTo>
                    <a:pt x="411811" y="205032"/>
                  </a:lnTo>
                  <a:lnTo>
                    <a:pt x="433374" y="205032"/>
                  </a:lnTo>
                  <a:lnTo>
                    <a:pt x="453110" y="198913"/>
                  </a:lnTo>
                  <a:lnTo>
                    <a:pt x="459030" y="195854"/>
                  </a:lnTo>
                  <a:lnTo>
                    <a:pt x="474720" y="194325"/>
                  </a:lnTo>
                  <a:lnTo>
                    <a:pt x="486513" y="198913"/>
                  </a:lnTo>
                  <a:lnTo>
                    <a:pt x="488437" y="201972"/>
                  </a:lnTo>
                  <a:lnTo>
                    <a:pt x="496283" y="201972"/>
                  </a:lnTo>
                  <a:lnTo>
                    <a:pt x="509999" y="195854"/>
                  </a:lnTo>
                  <a:lnTo>
                    <a:pt x="529735" y="192795"/>
                  </a:lnTo>
                  <a:lnTo>
                    <a:pt x="527811" y="186677"/>
                  </a:lnTo>
                  <a:lnTo>
                    <a:pt x="541527" y="169852"/>
                  </a:lnTo>
                  <a:lnTo>
                    <a:pt x="547398" y="156086"/>
                  </a:lnTo>
                  <a:lnTo>
                    <a:pt x="559192" y="142270"/>
                  </a:lnTo>
                  <a:lnTo>
                    <a:pt x="567036" y="117600"/>
                  </a:lnTo>
                  <a:lnTo>
                    <a:pt x="567036" y="113012"/>
                  </a:lnTo>
                  <a:lnTo>
                    <a:pt x="570934" y="106894"/>
                  </a:lnTo>
                  <a:lnTo>
                    <a:pt x="568961" y="103785"/>
                  </a:lnTo>
                  <a:lnTo>
                    <a:pt x="576805" y="96137"/>
                  </a:lnTo>
                  <a:lnTo>
                    <a:pt x="582678" y="97667"/>
                  </a:lnTo>
                  <a:lnTo>
                    <a:pt x="610159" y="97667"/>
                  </a:lnTo>
                  <a:lnTo>
                    <a:pt x="614107" y="99196"/>
                  </a:lnTo>
                  <a:lnTo>
                    <a:pt x="625850" y="99196"/>
                  </a:lnTo>
                  <a:lnTo>
                    <a:pt x="631722" y="100726"/>
                  </a:lnTo>
                  <a:lnTo>
                    <a:pt x="633695" y="99196"/>
                  </a:lnTo>
                  <a:lnTo>
                    <a:pt x="641491" y="103785"/>
                  </a:lnTo>
                  <a:lnTo>
                    <a:pt x="647411" y="103785"/>
                  </a:lnTo>
                  <a:lnTo>
                    <a:pt x="653332" y="100726"/>
                  </a:lnTo>
                  <a:lnTo>
                    <a:pt x="665076" y="99196"/>
                  </a:lnTo>
                  <a:lnTo>
                    <a:pt x="665076" y="96137"/>
                  </a:lnTo>
                  <a:lnTo>
                    <a:pt x="653332" y="90019"/>
                  </a:lnTo>
                  <a:lnTo>
                    <a:pt x="653332" y="81039"/>
                  </a:lnTo>
                  <a:lnTo>
                    <a:pt x="659155" y="77980"/>
                  </a:lnTo>
                  <a:lnTo>
                    <a:pt x="672920" y="79510"/>
                  </a:lnTo>
                  <a:lnTo>
                    <a:pt x="684664" y="76451"/>
                  </a:lnTo>
                  <a:lnTo>
                    <a:pt x="694532" y="71862"/>
                  </a:lnTo>
                  <a:lnTo>
                    <a:pt x="692559" y="67273"/>
                  </a:lnTo>
                  <a:lnTo>
                    <a:pt x="676868" y="67273"/>
                  </a:lnTo>
                  <a:lnTo>
                    <a:pt x="670996" y="62685"/>
                  </a:lnTo>
                  <a:lnTo>
                    <a:pt x="665125" y="62685"/>
                  </a:lnTo>
                  <a:lnTo>
                    <a:pt x="655257" y="53507"/>
                  </a:lnTo>
                  <a:lnTo>
                    <a:pt x="651310" y="53507"/>
                  </a:lnTo>
                  <a:lnTo>
                    <a:pt x="645438" y="59625"/>
                  </a:lnTo>
                  <a:lnTo>
                    <a:pt x="641491" y="56566"/>
                  </a:lnTo>
                  <a:lnTo>
                    <a:pt x="649386" y="50448"/>
                  </a:lnTo>
                  <a:lnTo>
                    <a:pt x="645438" y="45860"/>
                  </a:lnTo>
                  <a:lnTo>
                    <a:pt x="643513" y="47389"/>
                  </a:lnTo>
                  <a:lnTo>
                    <a:pt x="637593" y="53507"/>
                  </a:lnTo>
                  <a:lnTo>
                    <a:pt x="635669" y="48919"/>
                  </a:lnTo>
                  <a:lnTo>
                    <a:pt x="631722" y="48919"/>
                  </a:lnTo>
                  <a:lnTo>
                    <a:pt x="631722" y="39741"/>
                  </a:lnTo>
                  <a:lnTo>
                    <a:pt x="637593" y="38212"/>
                  </a:lnTo>
                  <a:lnTo>
                    <a:pt x="637593" y="33623"/>
                  </a:lnTo>
                  <a:lnTo>
                    <a:pt x="629747" y="27505"/>
                  </a:lnTo>
                  <a:lnTo>
                    <a:pt x="627823" y="29035"/>
                  </a:lnTo>
                  <a:lnTo>
                    <a:pt x="617955" y="24446"/>
                  </a:lnTo>
                  <a:lnTo>
                    <a:pt x="617955" y="16897"/>
                  </a:lnTo>
                  <a:lnTo>
                    <a:pt x="612035" y="12308"/>
                  </a:lnTo>
                  <a:lnTo>
                    <a:pt x="608137" y="15367"/>
                  </a:lnTo>
                  <a:lnTo>
                    <a:pt x="610110" y="19956"/>
                  </a:lnTo>
                  <a:lnTo>
                    <a:pt x="602266" y="26074"/>
                  </a:lnTo>
                  <a:lnTo>
                    <a:pt x="600291" y="26074"/>
                  </a:lnTo>
                  <a:lnTo>
                    <a:pt x="602266" y="19956"/>
                  </a:lnTo>
                  <a:lnTo>
                    <a:pt x="600291" y="15367"/>
                  </a:lnTo>
                  <a:lnTo>
                    <a:pt x="596393" y="15367"/>
                  </a:lnTo>
                  <a:lnTo>
                    <a:pt x="592447" y="29133"/>
                  </a:lnTo>
                  <a:lnTo>
                    <a:pt x="584651" y="29133"/>
                  </a:lnTo>
                  <a:lnTo>
                    <a:pt x="578730" y="44429"/>
                  </a:lnTo>
                  <a:lnTo>
                    <a:pt x="576756" y="52076"/>
                  </a:lnTo>
                  <a:lnTo>
                    <a:pt x="565013" y="65842"/>
                  </a:lnTo>
                  <a:lnTo>
                    <a:pt x="558747" y="65842"/>
                  </a:lnTo>
                  <a:lnTo>
                    <a:pt x="546955" y="68901"/>
                  </a:lnTo>
                  <a:lnTo>
                    <a:pt x="543057" y="71961"/>
                  </a:lnTo>
                  <a:lnTo>
                    <a:pt x="546955" y="71961"/>
                  </a:lnTo>
                  <a:lnTo>
                    <a:pt x="545030" y="75020"/>
                  </a:lnTo>
                  <a:lnTo>
                    <a:pt x="546955" y="76549"/>
                  </a:lnTo>
                  <a:lnTo>
                    <a:pt x="556823" y="75020"/>
                  </a:lnTo>
                  <a:lnTo>
                    <a:pt x="554898" y="78079"/>
                  </a:lnTo>
                  <a:lnTo>
                    <a:pt x="547005" y="81138"/>
                  </a:lnTo>
                  <a:lnTo>
                    <a:pt x="545080" y="82668"/>
                  </a:lnTo>
                  <a:lnTo>
                    <a:pt x="547005" y="85727"/>
                  </a:lnTo>
                  <a:lnTo>
                    <a:pt x="550901" y="96433"/>
                  </a:lnTo>
                  <a:lnTo>
                    <a:pt x="547005" y="101022"/>
                  </a:lnTo>
                  <a:lnTo>
                    <a:pt x="543107" y="99492"/>
                  </a:lnTo>
                  <a:lnTo>
                    <a:pt x="543107" y="91845"/>
                  </a:lnTo>
                  <a:lnTo>
                    <a:pt x="541132" y="85727"/>
                  </a:lnTo>
                  <a:lnTo>
                    <a:pt x="539159" y="87256"/>
                  </a:lnTo>
                  <a:lnTo>
                    <a:pt x="541132" y="85727"/>
                  </a:lnTo>
                  <a:lnTo>
                    <a:pt x="537234" y="85727"/>
                  </a:lnTo>
                  <a:lnTo>
                    <a:pt x="533288" y="90315"/>
                  </a:lnTo>
                  <a:lnTo>
                    <a:pt x="535261" y="104081"/>
                  </a:lnTo>
                  <a:lnTo>
                    <a:pt x="533288" y="105660"/>
                  </a:lnTo>
                  <a:lnTo>
                    <a:pt x="525442" y="101022"/>
                  </a:lnTo>
                  <a:lnTo>
                    <a:pt x="517597" y="91845"/>
                  </a:lnTo>
                  <a:lnTo>
                    <a:pt x="513650" y="91845"/>
                  </a:lnTo>
                  <a:lnTo>
                    <a:pt x="509752" y="90315"/>
                  </a:lnTo>
                  <a:lnTo>
                    <a:pt x="503880" y="94904"/>
                  </a:lnTo>
                  <a:lnTo>
                    <a:pt x="503880" y="100775"/>
                  </a:lnTo>
                  <a:lnTo>
                    <a:pt x="496036" y="108472"/>
                  </a:lnTo>
                  <a:lnTo>
                    <a:pt x="492088" y="116120"/>
                  </a:lnTo>
                  <a:lnTo>
                    <a:pt x="480346" y="123768"/>
                  </a:lnTo>
                  <a:lnTo>
                    <a:pt x="478371" y="128357"/>
                  </a:lnTo>
                  <a:lnTo>
                    <a:pt x="470527" y="139064"/>
                  </a:lnTo>
                  <a:lnTo>
                    <a:pt x="460659" y="145231"/>
                  </a:lnTo>
                  <a:lnTo>
                    <a:pt x="431055" y="151349"/>
                  </a:lnTo>
                  <a:lnTo>
                    <a:pt x="429130" y="152879"/>
                  </a:lnTo>
                  <a:lnTo>
                    <a:pt x="431055" y="160526"/>
                  </a:lnTo>
                  <a:lnTo>
                    <a:pt x="433028" y="165115"/>
                  </a:lnTo>
                  <a:lnTo>
                    <a:pt x="429130" y="162056"/>
                  </a:lnTo>
                  <a:lnTo>
                    <a:pt x="425182" y="165115"/>
                  </a:lnTo>
                  <a:lnTo>
                    <a:pt x="415314" y="166645"/>
                  </a:lnTo>
                  <a:lnTo>
                    <a:pt x="411367" y="171234"/>
                  </a:lnTo>
                  <a:lnTo>
                    <a:pt x="409394" y="177352"/>
                  </a:lnTo>
                  <a:lnTo>
                    <a:pt x="407470" y="184999"/>
                  </a:lnTo>
                  <a:lnTo>
                    <a:pt x="401548" y="194177"/>
                  </a:lnTo>
                  <a:lnTo>
                    <a:pt x="403522" y="195706"/>
                  </a:lnTo>
                  <a:lnTo>
                    <a:pt x="389806" y="194177"/>
                  </a:lnTo>
                  <a:lnTo>
                    <a:pt x="374116" y="188058"/>
                  </a:lnTo>
                  <a:lnTo>
                    <a:pt x="364248" y="188058"/>
                  </a:lnTo>
                  <a:lnTo>
                    <a:pt x="360350" y="183470"/>
                  </a:lnTo>
                  <a:lnTo>
                    <a:pt x="354429" y="178881"/>
                  </a:lnTo>
                  <a:close/>
                  <a:moveTo>
                    <a:pt x="607840" y="-27"/>
                  </a:moveTo>
                  <a:lnTo>
                    <a:pt x="597972" y="6091"/>
                  </a:lnTo>
                  <a:lnTo>
                    <a:pt x="603893" y="6091"/>
                  </a:lnTo>
                  <a:lnTo>
                    <a:pt x="607791" y="3032"/>
                  </a:lnTo>
                  <a:lnTo>
                    <a:pt x="607791" y="-27"/>
                  </a:lnTo>
                  <a:close/>
                  <a:moveTo>
                    <a:pt x="615686" y="1503"/>
                  </a:moveTo>
                  <a:lnTo>
                    <a:pt x="609815" y="7621"/>
                  </a:lnTo>
                  <a:lnTo>
                    <a:pt x="611738" y="9150"/>
                  </a:lnTo>
                  <a:lnTo>
                    <a:pt x="619584" y="7621"/>
                  </a:lnTo>
                  <a:lnTo>
                    <a:pt x="619584" y="1503"/>
                  </a:lnTo>
                  <a:close/>
                  <a:moveTo>
                    <a:pt x="415660" y="165263"/>
                  </a:moveTo>
                  <a:lnTo>
                    <a:pt x="409739" y="166793"/>
                  </a:lnTo>
                  <a:lnTo>
                    <a:pt x="413637" y="160675"/>
                  </a:lnTo>
                  <a:lnTo>
                    <a:pt x="415660" y="165263"/>
                  </a:lnTo>
                  <a:close/>
                  <a:moveTo>
                    <a:pt x="423456" y="162204"/>
                  </a:moveTo>
                  <a:lnTo>
                    <a:pt x="419558" y="165263"/>
                  </a:lnTo>
                  <a:lnTo>
                    <a:pt x="415660" y="160675"/>
                  </a:lnTo>
                  <a:lnTo>
                    <a:pt x="419558" y="159145"/>
                  </a:lnTo>
                  <a:lnTo>
                    <a:pt x="423456" y="162204"/>
                  </a:lnTo>
                  <a:close/>
                  <a:moveTo>
                    <a:pt x="427402" y="153027"/>
                  </a:moveTo>
                  <a:lnTo>
                    <a:pt x="429377" y="160675"/>
                  </a:lnTo>
                  <a:lnTo>
                    <a:pt x="425429" y="162204"/>
                  </a:lnTo>
                  <a:lnTo>
                    <a:pt x="419558" y="157616"/>
                  </a:lnTo>
                  <a:lnTo>
                    <a:pt x="419558" y="154556"/>
                  </a:lnTo>
                  <a:lnTo>
                    <a:pt x="421531" y="154556"/>
                  </a:lnTo>
                  <a:lnTo>
                    <a:pt x="427402" y="153027"/>
                  </a:lnTo>
                  <a:close/>
                  <a:moveTo>
                    <a:pt x="-82" y="30564"/>
                  </a:moveTo>
                  <a:lnTo>
                    <a:pt x="1892" y="24446"/>
                  </a:lnTo>
                  <a:lnTo>
                    <a:pt x="9737" y="18328"/>
                  </a:lnTo>
                  <a:lnTo>
                    <a:pt x="15609" y="24446"/>
                  </a:lnTo>
                  <a:lnTo>
                    <a:pt x="25477" y="25976"/>
                  </a:lnTo>
                  <a:lnTo>
                    <a:pt x="27450" y="29035"/>
                  </a:lnTo>
                  <a:lnTo>
                    <a:pt x="33322" y="29035"/>
                  </a:lnTo>
                  <a:lnTo>
                    <a:pt x="37220" y="35153"/>
                  </a:lnTo>
                  <a:lnTo>
                    <a:pt x="37220" y="42800"/>
                  </a:lnTo>
                  <a:lnTo>
                    <a:pt x="33322" y="47389"/>
                  </a:lnTo>
                  <a:lnTo>
                    <a:pt x="33322" y="51978"/>
                  </a:lnTo>
                  <a:lnTo>
                    <a:pt x="43190" y="53507"/>
                  </a:lnTo>
                  <a:lnTo>
                    <a:pt x="51035" y="47389"/>
                  </a:lnTo>
                  <a:lnTo>
                    <a:pt x="56906" y="47389"/>
                  </a:lnTo>
                  <a:lnTo>
                    <a:pt x="62778" y="50448"/>
                  </a:lnTo>
                  <a:lnTo>
                    <a:pt x="66676" y="47389"/>
                  </a:lnTo>
                  <a:lnTo>
                    <a:pt x="66676" y="42800"/>
                  </a:lnTo>
                  <a:lnTo>
                    <a:pt x="68650" y="41271"/>
                  </a:lnTo>
                  <a:lnTo>
                    <a:pt x="72596" y="41271"/>
                  </a:lnTo>
                  <a:lnTo>
                    <a:pt x="78468" y="38212"/>
                  </a:lnTo>
                  <a:lnTo>
                    <a:pt x="80442" y="36682"/>
                  </a:lnTo>
                  <a:lnTo>
                    <a:pt x="86313" y="45860"/>
                  </a:lnTo>
                  <a:lnTo>
                    <a:pt x="113747" y="68803"/>
                  </a:lnTo>
                  <a:lnTo>
                    <a:pt x="119667" y="79510"/>
                  </a:lnTo>
                  <a:lnTo>
                    <a:pt x="123565" y="91746"/>
                  </a:lnTo>
                  <a:lnTo>
                    <a:pt x="121640" y="94805"/>
                  </a:lnTo>
                  <a:lnTo>
                    <a:pt x="121640" y="110150"/>
                  </a:lnTo>
                  <a:lnTo>
                    <a:pt x="119667" y="114739"/>
                  </a:lnTo>
                  <a:lnTo>
                    <a:pt x="119667" y="119327"/>
                  </a:lnTo>
                  <a:lnTo>
                    <a:pt x="123565" y="122386"/>
                  </a:lnTo>
                  <a:lnTo>
                    <a:pt x="123565" y="139211"/>
                  </a:lnTo>
                  <a:lnTo>
                    <a:pt x="127463" y="146909"/>
                  </a:lnTo>
                  <a:lnTo>
                    <a:pt x="135308" y="153027"/>
                  </a:lnTo>
                  <a:lnTo>
                    <a:pt x="141228" y="153027"/>
                  </a:lnTo>
                  <a:lnTo>
                    <a:pt x="141228" y="157616"/>
                  </a:lnTo>
                  <a:lnTo>
                    <a:pt x="145126" y="168322"/>
                  </a:lnTo>
                  <a:lnTo>
                    <a:pt x="147101" y="169852"/>
                  </a:lnTo>
                  <a:lnTo>
                    <a:pt x="147101" y="174441"/>
                  </a:lnTo>
                  <a:lnTo>
                    <a:pt x="149074" y="174441"/>
                  </a:lnTo>
                  <a:lnTo>
                    <a:pt x="156870" y="186677"/>
                  </a:lnTo>
                  <a:lnTo>
                    <a:pt x="156870" y="195854"/>
                  </a:lnTo>
                  <a:lnTo>
                    <a:pt x="152972" y="194325"/>
                  </a:lnTo>
                  <a:lnTo>
                    <a:pt x="151048" y="192795"/>
                  </a:lnTo>
                  <a:lnTo>
                    <a:pt x="151048" y="188206"/>
                  </a:lnTo>
                  <a:lnTo>
                    <a:pt x="147101" y="185147"/>
                  </a:lnTo>
                  <a:lnTo>
                    <a:pt x="149074" y="188206"/>
                  </a:lnTo>
                  <a:lnTo>
                    <a:pt x="149074" y="192795"/>
                  </a:lnTo>
                  <a:lnTo>
                    <a:pt x="149074" y="192795"/>
                  </a:lnTo>
                  <a:lnTo>
                    <a:pt x="149074" y="194522"/>
                  </a:lnTo>
                  <a:lnTo>
                    <a:pt x="141228" y="199111"/>
                  </a:lnTo>
                  <a:lnTo>
                    <a:pt x="139255" y="196052"/>
                  </a:lnTo>
                  <a:lnTo>
                    <a:pt x="137282" y="197581"/>
                  </a:lnTo>
                  <a:lnTo>
                    <a:pt x="129437" y="194522"/>
                  </a:lnTo>
                  <a:lnTo>
                    <a:pt x="125538" y="188404"/>
                  </a:lnTo>
                  <a:lnTo>
                    <a:pt x="113747" y="186874"/>
                  </a:lnTo>
                  <a:lnTo>
                    <a:pt x="102004" y="182286"/>
                  </a:lnTo>
                  <a:lnTo>
                    <a:pt x="96132" y="177697"/>
                  </a:lnTo>
                  <a:lnTo>
                    <a:pt x="94158" y="174638"/>
                  </a:lnTo>
                  <a:lnTo>
                    <a:pt x="88237" y="176168"/>
                  </a:lnTo>
                  <a:lnTo>
                    <a:pt x="84339" y="176168"/>
                  </a:lnTo>
                  <a:lnTo>
                    <a:pt x="76494" y="168520"/>
                  </a:lnTo>
                  <a:lnTo>
                    <a:pt x="76494" y="160872"/>
                  </a:lnTo>
                  <a:lnTo>
                    <a:pt x="64751" y="154754"/>
                  </a:lnTo>
                  <a:lnTo>
                    <a:pt x="50541" y="150116"/>
                  </a:lnTo>
                  <a:lnTo>
                    <a:pt x="46594" y="147057"/>
                  </a:lnTo>
                  <a:lnTo>
                    <a:pt x="48568" y="142419"/>
                  </a:lnTo>
                  <a:lnTo>
                    <a:pt x="52515" y="136301"/>
                  </a:lnTo>
                  <a:lnTo>
                    <a:pt x="48568" y="131712"/>
                  </a:lnTo>
                  <a:lnTo>
                    <a:pt x="42696" y="128653"/>
                  </a:lnTo>
                  <a:lnTo>
                    <a:pt x="34851" y="121005"/>
                  </a:lnTo>
                  <a:lnTo>
                    <a:pt x="24983" y="116416"/>
                  </a:lnTo>
                  <a:lnTo>
                    <a:pt x="21085" y="108769"/>
                  </a:lnTo>
                  <a:lnTo>
                    <a:pt x="23059" y="105709"/>
                  </a:lnTo>
                  <a:lnTo>
                    <a:pt x="17138" y="102601"/>
                  </a:lnTo>
                  <a:lnTo>
                    <a:pt x="17138" y="96335"/>
                  </a:lnTo>
                  <a:lnTo>
                    <a:pt x="19062" y="94805"/>
                  </a:lnTo>
                  <a:lnTo>
                    <a:pt x="21085" y="82569"/>
                  </a:lnTo>
                  <a:lnTo>
                    <a:pt x="17138" y="76451"/>
                  </a:lnTo>
                  <a:lnTo>
                    <a:pt x="13240" y="67273"/>
                  </a:lnTo>
                  <a:lnTo>
                    <a:pt x="9293" y="4127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Graphic 2">
              <a:extLst>
                <a:ext uri="{FF2B5EF4-FFF2-40B4-BE49-F238E27FC236}">
                  <a16:creationId xmlns:a16="http://schemas.microsoft.com/office/drawing/2014/main" id="{F4E7ADBC-9295-4313-A337-7050C533D644}"/>
                </a:ext>
              </a:extLst>
            </p:cNvPr>
            <p:cNvSpPr/>
            <p:nvPr/>
          </p:nvSpPr>
          <p:spPr>
            <a:xfrm>
              <a:off x="9164438" y="4509111"/>
              <a:ext cx="37294" cy="23757"/>
            </a:xfrm>
            <a:custGeom>
              <a:avLst/>
              <a:gdLst>
                <a:gd name="connsiteX0" fmla="*/ -82 w 41051"/>
                <a:gd name="connsiteY0" fmla="*/ 12358 h 26150"/>
                <a:gd name="connsiteX1" fmla="*/ 3866 w 41051"/>
                <a:gd name="connsiteY1" fmla="*/ 13739 h 26150"/>
                <a:gd name="connsiteX2" fmla="*/ 7764 w 41051"/>
                <a:gd name="connsiteY2" fmla="*/ 13739 h 26150"/>
                <a:gd name="connsiteX3" fmla="*/ 15560 w 41051"/>
                <a:gd name="connsiteY3" fmla="*/ 21979 h 26150"/>
                <a:gd name="connsiteX4" fmla="*/ 23404 w 41051"/>
                <a:gd name="connsiteY4" fmla="*/ 26123 h 26150"/>
                <a:gd name="connsiteX5" fmla="*/ 25379 w 41051"/>
                <a:gd name="connsiteY5" fmla="*/ 24742 h 26150"/>
                <a:gd name="connsiteX6" fmla="*/ 23404 w 41051"/>
                <a:gd name="connsiteY6" fmla="*/ 12358 h 26150"/>
                <a:gd name="connsiteX7" fmla="*/ 27302 w 41051"/>
                <a:gd name="connsiteY7" fmla="*/ 8213 h 26150"/>
                <a:gd name="connsiteX8" fmla="*/ 31200 w 41051"/>
                <a:gd name="connsiteY8" fmla="*/ 8213 h 26150"/>
                <a:gd name="connsiteX9" fmla="*/ 31200 w 41051"/>
                <a:gd name="connsiteY9" fmla="*/ 4118 h 26150"/>
                <a:gd name="connsiteX10" fmla="*/ 29275 w 41051"/>
                <a:gd name="connsiteY10" fmla="*/ -27 h 26150"/>
                <a:gd name="connsiteX11" fmla="*/ 23404 w 41051"/>
                <a:gd name="connsiteY11" fmla="*/ 1355 h 26150"/>
                <a:gd name="connsiteX12" fmla="*/ 15560 w 41051"/>
                <a:gd name="connsiteY12" fmla="*/ 5450 h 26150"/>
                <a:gd name="connsiteX13" fmla="*/ 1892 w 41051"/>
                <a:gd name="connsiteY13" fmla="*/ 9595 h 26150"/>
                <a:gd name="connsiteX14" fmla="*/ -82 w 41051"/>
                <a:gd name="connsiteY14" fmla="*/ 12358 h 26150"/>
                <a:gd name="connsiteX15" fmla="*/ 31200 w 41051"/>
                <a:gd name="connsiteY15" fmla="*/ 8213 h 26150"/>
                <a:gd name="connsiteX16" fmla="*/ 33173 w 41051"/>
                <a:gd name="connsiteY16" fmla="*/ 13739 h 26150"/>
                <a:gd name="connsiteX17" fmla="*/ 33173 w 41051"/>
                <a:gd name="connsiteY17" fmla="*/ 20647 h 26150"/>
                <a:gd name="connsiteX18" fmla="*/ 37072 w 41051"/>
                <a:gd name="connsiteY18" fmla="*/ 21979 h 26150"/>
                <a:gd name="connsiteX19" fmla="*/ 40970 w 41051"/>
                <a:gd name="connsiteY19" fmla="*/ 17884 h 26150"/>
                <a:gd name="connsiteX20" fmla="*/ 37072 w 41051"/>
                <a:gd name="connsiteY20" fmla="*/ 8016 h 26150"/>
                <a:gd name="connsiteX21" fmla="*/ 35148 w 41051"/>
                <a:gd name="connsiteY21" fmla="*/ 5253 h 26150"/>
                <a:gd name="connsiteX22" fmla="*/ 35148 w 41051"/>
                <a:gd name="connsiteY22" fmla="*/ 8016 h 2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51" h="26150">
                  <a:moveTo>
                    <a:pt x="-82" y="12358"/>
                  </a:moveTo>
                  <a:lnTo>
                    <a:pt x="3866" y="13739"/>
                  </a:lnTo>
                  <a:lnTo>
                    <a:pt x="7764" y="13739"/>
                  </a:lnTo>
                  <a:lnTo>
                    <a:pt x="15560" y="21979"/>
                  </a:lnTo>
                  <a:lnTo>
                    <a:pt x="23404" y="26123"/>
                  </a:lnTo>
                  <a:lnTo>
                    <a:pt x="25379" y="24742"/>
                  </a:lnTo>
                  <a:lnTo>
                    <a:pt x="23404" y="12358"/>
                  </a:lnTo>
                  <a:lnTo>
                    <a:pt x="27302" y="8213"/>
                  </a:lnTo>
                  <a:lnTo>
                    <a:pt x="31200" y="8213"/>
                  </a:lnTo>
                  <a:lnTo>
                    <a:pt x="31200" y="4118"/>
                  </a:lnTo>
                  <a:lnTo>
                    <a:pt x="29275" y="-27"/>
                  </a:lnTo>
                  <a:lnTo>
                    <a:pt x="23404" y="1355"/>
                  </a:lnTo>
                  <a:lnTo>
                    <a:pt x="15560" y="5450"/>
                  </a:lnTo>
                  <a:lnTo>
                    <a:pt x="1892" y="9595"/>
                  </a:lnTo>
                  <a:lnTo>
                    <a:pt x="-82" y="12358"/>
                  </a:lnTo>
                  <a:close/>
                  <a:moveTo>
                    <a:pt x="31200" y="8213"/>
                  </a:moveTo>
                  <a:lnTo>
                    <a:pt x="33173" y="13739"/>
                  </a:lnTo>
                  <a:lnTo>
                    <a:pt x="33173" y="20647"/>
                  </a:lnTo>
                  <a:lnTo>
                    <a:pt x="37072" y="21979"/>
                  </a:lnTo>
                  <a:lnTo>
                    <a:pt x="40970" y="17884"/>
                  </a:lnTo>
                  <a:lnTo>
                    <a:pt x="37072" y="8016"/>
                  </a:lnTo>
                  <a:lnTo>
                    <a:pt x="35148" y="5253"/>
                  </a:lnTo>
                  <a:lnTo>
                    <a:pt x="35148" y="801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Graphic 2">
              <a:extLst>
                <a:ext uri="{FF2B5EF4-FFF2-40B4-BE49-F238E27FC236}">
                  <a16:creationId xmlns:a16="http://schemas.microsoft.com/office/drawing/2014/main" id="{13E387A8-5BB9-4ADE-9F40-69C2F2F8F66F}"/>
                </a:ext>
              </a:extLst>
            </p:cNvPr>
            <p:cNvSpPr/>
            <p:nvPr/>
          </p:nvSpPr>
          <p:spPr>
            <a:xfrm>
              <a:off x="8736033" y="3948761"/>
              <a:ext cx="271377" cy="450936"/>
            </a:xfrm>
            <a:custGeom>
              <a:avLst/>
              <a:gdLst>
                <a:gd name="connsiteX0" fmla="*/ -82 w 298706"/>
                <a:gd name="connsiteY0" fmla="*/ 33377 h 496364"/>
                <a:gd name="connsiteX1" fmla="*/ 3866 w 298706"/>
                <a:gd name="connsiteY1" fmla="*/ 31847 h 496364"/>
                <a:gd name="connsiteX2" fmla="*/ 5839 w 298706"/>
                <a:gd name="connsiteY2" fmla="*/ 31847 h 496364"/>
                <a:gd name="connsiteX3" fmla="*/ 7812 w 298706"/>
                <a:gd name="connsiteY3" fmla="*/ 28837 h 496364"/>
                <a:gd name="connsiteX4" fmla="*/ 13684 w 298706"/>
                <a:gd name="connsiteY4" fmla="*/ 25729 h 496364"/>
                <a:gd name="connsiteX5" fmla="*/ 19556 w 298706"/>
                <a:gd name="connsiteY5" fmla="*/ 22719 h 496364"/>
                <a:gd name="connsiteX6" fmla="*/ 25477 w 298706"/>
                <a:gd name="connsiteY6" fmla="*/ 24249 h 496364"/>
                <a:gd name="connsiteX7" fmla="*/ 23503 w 298706"/>
                <a:gd name="connsiteY7" fmla="*/ 28837 h 496364"/>
                <a:gd name="connsiteX8" fmla="*/ 27450 w 298706"/>
                <a:gd name="connsiteY8" fmla="*/ 30318 h 496364"/>
                <a:gd name="connsiteX9" fmla="*/ 31348 w 298706"/>
                <a:gd name="connsiteY9" fmla="*/ 30318 h 496364"/>
                <a:gd name="connsiteX10" fmla="*/ 33322 w 298706"/>
                <a:gd name="connsiteY10" fmla="*/ 24249 h 496364"/>
                <a:gd name="connsiteX11" fmla="*/ 39242 w 298706"/>
                <a:gd name="connsiteY11" fmla="*/ 21190 h 496364"/>
                <a:gd name="connsiteX12" fmla="*/ 47088 w 298706"/>
                <a:gd name="connsiteY12" fmla="*/ 27258 h 496364"/>
                <a:gd name="connsiteX13" fmla="*/ 50985 w 298706"/>
                <a:gd name="connsiteY13" fmla="*/ 22719 h 496364"/>
                <a:gd name="connsiteX14" fmla="*/ 54933 w 298706"/>
                <a:gd name="connsiteY14" fmla="*/ 22719 h 496364"/>
                <a:gd name="connsiteX15" fmla="*/ 56906 w 298706"/>
                <a:gd name="connsiteY15" fmla="*/ 27258 h 496364"/>
                <a:gd name="connsiteX16" fmla="*/ 64751 w 298706"/>
                <a:gd name="connsiteY16" fmla="*/ 24249 h 496364"/>
                <a:gd name="connsiteX17" fmla="*/ 64751 w 298706"/>
                <a:gd name="connsiteY17" fmla="*/ 19709 h 496364"/>
                <a:gd name="connsiteX18" fmla="*/ 72596 w 298706"/>
                <a:gd name="connsiteY18" fmla="*/ 18180 h 496364"/>
                <a:gd name="connsiteX19" fmla="*/ 82464 w 298706"/>
                <a:gd name="connsiteY19" fmla="*/ 21190 h 496364"/>
                <a:gd name="connsiteX20" fmla="*/ 94207 w 298706"/>
                <a:gd name="connsiteY20" fmla="*/ 18180 h 496364"/>
                <a:gd name="connsiteX21" fmla="*/ 92284 w 298706"/>
                <a:gd name="connsiteY21" fmla="*/ 7522 h 496364"/>
                <a:gd name="connsiteX22" fmla="*/ 100079 w 298706"/>
                <a:gd name="connsiteY22" fmla="*/ 4513 h 496364"/>
                <a:gd name="connsiteX23" fmla="*/ 107974 w 298706"/>
                <a:gd name="connsiteY23" fmla="*/ 4513 h 496364"/>
                <a:gd name="connsiteX24" fmla="*/ 115819 w 298706"/>
                <a:gd name="connsiteY24" fmla="*/ -27 h 496364"/>
                <a:gd name="connsiteX25" fmla="*/ 123664 w 298706"/>
                <a:gd name="connsiteY25" fmla="*/ 4513 h 496364"/>
                <a:gd name="connsiteX26" fmla="*/ 123664 w 298706"/>
                <a:gd name="connsiteY26" fmla="*/ 9052 h 496364"/>
                <a:gd name="connsiteX27" fmla="*/ 129584 w 298706"/>
                <a:gd name="connsiteY27" fmla="*/ 10581 h 496364"/>
                <a:gd name="connsiteX28" fmla="*/ 133482 w 298706"/>
                <a:gd name="connsiteY28" fmla="*/ 15170 h 496364"/>
                <a:gd name="connsiteX29" fmla="*/ 151196 w 298706"/>
                <a:gd name="connsiteY29" fmla="*/ 15170 h 496364"/>
                <a:gd name="connsiteX30" fmla="*/ 153120 w 298706"/>
                <a:gd name="connsiteY30" fmla="*/ 18180 h 496364"/>
                <a:gd name="connsiteX31" fmla="*/ 162988 w 298706"/>
                <a:gd name="connsiteY31" fmla="*/ 15170 h 496364"/>
                <a:gd name="connsiteX32" fmla="*/ 168909 w 298706"/>
                <a:gd name="connsiteY32" fmla="*/ 18180 h 496364"/>
                <a:gd name="connsiteX33" fmla="*/ 166935 w 298706"/>
                <a:gd name="connsiteY33" fmla="*/ 24249 h 496364"/>
                <a:gd name="connsiteX34" fmla="*/ 162988 w 298706"/>
                <a:gd name="connsiteY34" fmla="*/ 25729 h 496364"/>
                <a:gd name="connsiteX35" fmla="*/ 159091 w 298706"/>
                <a:gd name="connsiteY35" fmla="*/ 36386 h 496364"/>
                <a:gd name="connsiteX36" fmla="*/ 162988 w 298706"/>
                <a:gd name="connsiteY36" fmla="*/ 36386 h 496364"/>
                <a:gd name="connsiteX37" fmla="*/ 164962 w 298706"/>
                <a:gd name="connsiteY37" fmla="*/ 43985 h 496364"/>
                <a:gd name="connsiteX38" fmla="*/ 178728 w 298706"/>
                <a:gd name="connsiteY38" fmla="*/ 48574 h 496364"/>
                <a:gd name="connsiteX39" fmla="*/ 180701 w 298706"/>
                <a:gd name="connsiteY39" fmla="*/ 53113 h 496364"/>
                <a:gd name="connsiteX40" fmla="*/ 188547 w 298706"/>
                <a:gd name="connsiteY40" fmla="*/ 56122 h 496364"/>
                <a:gd name="connsiteX41" fmla="*/ 196391 w 298706"/>
                <a:gd name="connsiteY41" fmla="*/ 59132 h 496364"/>
                <a:gd name="connsiteX42" fmla="*/ 202312 w 298706"/>
                <a:gd name="connsiteY42" fmla="*/ 56122 h 496364"/>
                <a:gd name="connsiteX43" fmla="*/ 206210 w 298706"/>
                <a:gd name="connsiteY43" fmla="*/ 59132 h 496364"/>
                <a:gd name="connsiteX44" fmla="*/ 210157 w 298706"/>
                <a:gd name="connsiteY44" fmla="*/ 57652 h 496364"/>
                <a:gd name="connsiteX45" fmla="*/ 218003 w 298706"/>
                <a:gd name="connsiteY45" fmla="*/ 60662 h 496364"/>
                <a:gd name="connsiteX46" fmla="*/ 218003 w 298706"/>
                <a:gd name="connsiteY46" fmla="*/ 60662 h 496364"/>
                <a:gd name="connsiteX47" fmla="*/ 218003 w 298706"/>
                <a:gd name="connsiteY47" fmla="*/ 62192 h 496364"/>
                <a:gd name="connsiteX48" fmla="*/ 214105 w 298706"/>
                <a:gd name="connsiteY48" fmla="*/ 66780 h 496364"/>
                <a:gd name="connsiteX49" fmla="*/ 210157 w 298706"/>
                <a:gd name="connsiteY49" fmla="*/ 68260 h 496364"/>
                <a:gd name="connsiteX50" fmla="*/ 208184 w 298706"/>
                <a:gd name="connsiteY50" fmla="*/ 68260 h 496364"/>
                <a:gd name="connsiteX51" fmla="*/ 202312 w 298706"/>
                <a:gd name="connsiteY51" fmla="*/ 71319 h 496364"/>
                <a:gd name="connsiteX52" fmla="*/ 196391 w 298706"/>
                <a:gd name="connsiteY52" fmla="*/ 71319 h 496364"/>
                <a:gd name="connsiteX53" fmla="*/ 190520 w 298706"/>
                <a:gd name="connsiteY53" fmla="*/ 72800 h 496364"/>
                <a:gd name="connsiteX54" fmla="*/ 188547 w 298706"/>
                <a:gd name="connsiteY54" fmla="*/ 75859 h 496364"/>
                <a:gd name="connsiteX55" fmla="*/ 190520 w 298706"/>
                <a:gd name="connsiteY55" fmla="*/ 78918 h 496364"/>
                <a:gd name="connsiteX56" fmla="*/ 186572 w 298706"/>
                <a:gd name="connsiteY56" fmla="*/ 81928 h 496364"/>
                <a:gd name="connsiteX57" fmla="*/ 184599 w 298706"/>
                <a:gd name="connsiteY57" fmla="*/ 83457 h 496364"/>
                <a:gd name="connsiteX58" fmla="*/ 180701 w 298706"/>
                <a:gd name="connsiteY58" fmla="*/ 81928 h 496364"/>
                <a:gd name="connsiteX59" fmla="*/ 174781 w 298706"/>
                <a:gd name="connsiteY59" fmla="*/ 81928 h 496364"/>
                <a:gd name="connsiteX60" fmla="*/ 170883 w 298706"/>
                <a:gd name="connsiteY60" fmla="*/ 84987 h 496364"/>
                <a:gd name="connsiteX61" fmla="*/ 168909 w 298706"/>
                <a:gd name="connsiteY61" fmla="*/ 86467 h 496364"/>
                <a:gd name="connsiteX62" fmla="*/ 166935 w 298706"/>
                <a:gd name="connsiteY62" fmla="*/ 83457 h 496364"/>
                <a:gd name="connsiteX63" fmla="*/ 164962 w 298706"/>
                <a:gd name="connsiteY63" fmla="*/ 81928 h 496364"/>
                <a:gd name="connsiteX64" fmla="*/ 164962 w 298706"/>
                <a:gd name="connsiteY64" fmla="*/ 86417 h 496364"/>
                <a:gd name="connsiteX65" fmla="*/ 161064 w 298706"/>
                <a:gd name="connsiteY65" fmla="*/ 89477 h 496364"/>
                <a:gd name="connsiteX66" fmla="*/ 162988 w 298706"/>
                <a:gd name="connsiteY66" fmla="*/ 92486 h 496364"/>
                <a:gd name="connsiteX67" fmla="*/ 162988 w 298706"/>
                <a:gd name="connsiteY67" fmla="*/ 101614 h 496364"/>
                <a:gd name="connsiteX68" fmla="*/ 161064 w 298706"/>
                <a:gd name="connsiteY68" fmla="*/ 103144 h 496364"/>
                <a:gd name="connsiteX69" fmla="*/ 162988 w 298706"/>
                <a:gd name="connsiteY69" fmla="*/ 106154 h 496364"/>
                <a:gd name="connsiteX70" fmla="*/ 161064 w 298706"/>
                <a:gd name="connsiteY70" fmla="*/ 109163 h 496364"/>
                <a:gd name="connsiteX71" fmla="*/ 159091 w 298706"/>
                <a:gd name="connsiteY71" fmla="*/ 109163 h 496364"/>
                <a:gd name="connsiteX72" fmla="*/ 155143 w 298706"/>
                <a:gd name="connsiteY72" fmla="*/ 118291 h 496364"/>
                <a:gd name="connsiteX73" fmla="*/ 149271 w 298706"/>
                <a:gd name="connsiteY73" fmla="*/ 118291 h 496364"/>
                <a:gd name="connsiteX74" fmla="*/ 149271 w 298706"/>
                <a:gd name="connsiteY74" fmla="*/ 115281 h 496364"/>
                <a:gd name="connsiteX75" fmla="*/ 145325 w 298706"/>
                <a:gd name="connsiteY75" fmla="*/ 118291 h 496364"/>
                <a:gd name="connsiteX76" fmla="*/ 143350 w 298706"/>
                <a:gd name="connsiteY76" fmla="*/ 119821 h 496364"/>
                <a:gd name="connsiteX77" fmla="*/ 141377 w 298706"/>
                <a:gd name="connsiteY77" fmla="*/ 125890 h 496364"/>
                <a:gd name="connsiteX78" fmla="*/ 137479 w 298706"/>
                <a:gd name="connsiteY78" fmla="*/ 127419 h 496364"/>
                <a:gd name="connsiteX79" fmla="*/ 137479 w 298706"/>
                <a:gd name="connsiteY79" fmla="*/ 133488 h 496364"/>
                <a:gd name="connsiteX80" fmla="*/ 141377 w 298706"/>
                <a:gd name="connsiteY80" fmla="*/ 133488 h 496364"/>
                <a:gd name="connsiteX81" fmla="*/ 143350 w 298706"/>
                <a:gd name="connsiteY81" fmla="*/ 136547 h 496364"/>
                <a:gd name="connsiteX82" fmla="*/ 139452 w 298706"/>
                <a:gd name="connsiteY82" fmla="*/ 147155 h 496364"/>
                <a:gd name="connsiteX83" fmla="*/ 135506 w 298706"/>
                <a:gd name="connsiteY83" fmla="*/ 151695 h 496364"/>
                <a:gd name="connsiteX84" fmla="*/ 143350 w 298706"/>
                <a:gd name="connsiteY84" fmla="*/ 157764 h 496364"/>
                <a:gd name="connsiteX85" fmla="*/ 143350 w 298706"/>
                <a:gd name="connsiteY85" fmla="*/ 160823 h 496364"/>
                <a:gd name="connsiteX86" fmla="*/ 137479 w 298706"/>
                <a:gd name="connsiteY86" fmla="*/ 162352 h 496364"/>
                <a:gd name="connsiteX87" fmla="*/ 143350 w 298706"/>
                <a:gd name="connsiteY87" fmla="*/ 163882 h 496364"/>
                <a:gd name="connsiteX88" fmla="*/ 155143 w 298706"/>
                <a:gd name="connsiteY88" fmla="*/ 168421 h 496364"/>
                <a:gd name="connsiteX89" fmla="*/ 162988 w 298706"/>
                <a:gd name="connsiteY89" fmla="*/ 177500 h 496364"/>
                <a:gd name="connsiteX90" fmla="*/ 166935 w 298706"/>
                <a:gd name="connsiteY90" fmla="*/ 177500 h 496364"/>
                <a:gd name="connsiteX91" fmla="*/ 170883 w 298706"/>
                <a:gd name="connsiteY91" fmla="*/ 183569 h 496364"/>
                <a:gd name="connsiteX92" fmla="*/ 170883 w 298706"/>
                <a:gd name="connsiteY92" fmla="*/ 189637 h 496364"/>
                <a:gd name="connsiteX93" fmla="*/ 172856 w 298706"/>
                <a:gd name="connsiteY93" fmla="*/ 195706 h 496364"/>
                <a:gd name="connsiteX94" fmla="*/ 174781 w 298706"/>
                <a:gd name="connsiteY94" fmla="*/ 200295 h 496364"/>
                <a:gd name="connsiteX95" fmla="*/ 190520 w 298706"/>
                <a:gd name="connsiteY95" fmla="*/ 209374 h 496364"/>
                <a:gd name="connsiteX96" fmla="*/ 196391 w 298706"/>
                <a:gd name="connsiteY96" fmla="*/ 213962 h 496364"/>
                <a:gd name="connsiteX97" fmla="*/ 198365 w 298706"/>
                <a:gd name="connsiteY97" fmla="*/ 215492 h 496364"/>
                <a:gd name="connsiteX98" fmla="*/ 218102 w 298706"/>
                <a:gd name="connsiteY98" fmla="*/ 226051 h 496364"/>
                <a:gd name="connsiteX99" fmla="*/ 233792 w 298706"/>
                <a:gd name="connsiteY99" fmla="*/ 236708 h 496364"/>
                <a:gd name="connsiteX100" fmla="*/ 237739 w 298706"/>
                <a:gd name="connsiteY100" fmla="*/ 241248 h 496364"/>
                <a:gd name="connsiteX101" fmla="*/ 255402 w 298706"/>
                <a:gd name="connsiteY101" fmla="*/ 253385 h 496364"/>
                <a:gd name="connsiteX102" fmla="*/ 259349 w 298706"/>
                <a:gd name="connsiteY102" fmla="*/ 260984 h 496364"/>
                <a:gd name="connsiteX103" fmla="*/ 261324 w 298706"/>
                <a:gd name="connsiteY103" fmla="*/ 265572 h 496364"/>
                <a:gd name="connsiteX104" fmla="*/ 263297 w 298706"/>
                <a:gd name="connsiteY104" fmla="*/ 265572 h 496364"/>
                <a:gd name="connsiteX105" fmla="*/ 263297 w 298706"/>
                <a:gd name="connsiteY105" fmla="*/ 268582 h 496364"/>
                <a:gd name="connsiteX106" fmla="*/ 271143 w 298706"/>
                <a:gd name="connsiteY106" fmla="*/ 277661 h 496364"/>
                <a:gd name="connsiteX107" fmla="*/ 271143 w 298706"/>
                <a:gd name="connsiteY107" fmla="*/ 280720 h 496364"/>
                <a:gd name="connsiteX108" fmla="*/ 273116 w 298706"/>
                <a:gd name="connsiteY108" fmla="*/ 282249 h 496364"/>
                <a:gd name="connsiteX109" fmla="*/ 271143 w 298706"/>
                <a:gd name="connsiteY109" fmla="*/ 285259 h 496364"/>
                <a:gd name="connsiteX110" fmla="*/ 277014 w 298706"/>
                <a:gd name="connsiteY110" fmla="*/ 291328 h 496364"/>
                <a:gd name="connsiteX111" fmla="*/ 278987 w 298706"/>
                <a:gd name="connsiteY111" fmla="*/ 303515 h 496364"/>
                <a:gd name="connsiteX112" fmla="*/ 280961 w 298706"/>
                <a:gd name="connsiteY112" fmla="*/ 304995 h 496364"/>
                <a:gd name="connsiteX113" fmla="*/ 282934 w 298706"/>
                <a:gd name="connsiteY113" fmla="*/ 314123 h 496364"/>
                <a:gd name="connsiteX114" fmla="*/ 288806 w 298706"/>
                <a:gd name="connsiteY114" fmla="*/ 317182 h 496364"/>
                <a:gd name="connsiteX115" fmla="*/ 288806 w 298706"/>
                <a:gd name="connsiteY115" fmla="*/ 321722 h 496364"/>
                <a:gd name="connsiteX116" fmla="*/ 286832 w 298706"/>
                <a:gd name="connsiteY116" fmla="*/ 324731 h 496364"/>
                <a:gd name="connsiteX117" fmla="*/ 288806 w 298706"/>
                <a:gd name="connsiteY117" fmla="*/ 330849 h 496364"/>
                <a:gd name="connsiteX118" fmla="*/ 286832 w 298706"/>
                <a:gd name="connsiteY118" fmla="*/ 333859 h 496364"/>
                <a:gd name="connsiteX119" fmla="*/ 290780 w 298706"/>
                <a:gd name="connsiteY119" fmla="*/ 341408 h 496364"/>
                <a:gd name="connsiteX120" fmla="*/ 290780 w 298706"/>
                <a:gd name="connsiteY120" fmla="*/ 342987 h 496364"/>
                <a:gd name="connsiteX121" fmla="*/ 292753 w 298706"/>
                <a:gd name="connsiteY121" fmla="*/ 344517 h 496364"/>
                <a:gd name="connsiteX122" fmla="*/ 294727 w 298706"/>
                <a:gd name="connsiteY122" fmla="*/ 349105 h 496364"/>
                <a:gd name="connsiteX123" fmla="*/ 298624 w 298706"/>
                <a:gd name="connsiteY123" fmla="*/ 356655 h 496364"/>
                <a:gd name="connsiteX124" fmla="*/ 298624 w 298706"/>
                <a:gd name="connsiteY124" fmla="*/ 361194 h 496364"/>
                <a:gd name="connsiteX125" fmla="*/ 296651 w 298706"/>
                <a:gd name="connsiteY125" fmla="*/ 361194 h 496364"/>
                <a:gd name="connsiteX126" fmla="*/ 296651 w 298706"/>
                <a:gd name="connsiteY126" fmla="*/ 359664 h 496364"/>
                <a:gd name="connsiteX127" fmla="*/ 294727 w 298706"/>
                <a:gd name="connsiteY127" fmla="*/ 356655 h 496364"/>
                <a:gd name="connsiteX128" fmla="*/ 290780 w 298706"/>
                <a:gd name="connsiteY128" fmla="*/ 358184 h 496364"/>
                <a:gd name="connsiteX129" fmla="*/ 292753 w 298706"/>
                <a:gd name="connsiteY129" fmla="*/ 362723 h 496364"/>
                <a:gd name="connsiteX130" fmla="*/ 294727 w 298706"/>
                <a:gd name="connsiteY130" fmla="*/ 365783 h 496364"/>
                <a:gd name="connsiteX131" fmla="*/ 294727 w 298706"/>
                <a:gd name="connsiteY131" fmla="*/ 368792 h 496364"/>
                <a:gd name="connsiteX132" fmla="*/ 290780 w 298706"/>
                <a:gd name="connsiteY132" fmla="*/ 370322 h 496364"/>
                <a:gd name="connsiteX133" fmla="*/ 290780 w 298706"/>
                <a:gd name="connsiteY133" fmla="*/ 373381 h 496364"/>
                <a:gd name="connsiteX134" fmla="*/ 282934 w 298706"/>
                <a:gd name="connsiteY134" fmla="*/ 377920 h 496364"/>
                <a:gd name="connsiteX135" fmla="*/ 290780 w 298706"/>
                <a:gd name="connsiteY135" fmla="*/ 385519 h 496364"/>
                <a:gd name="connsiteX136" fmla="*/ 286832 w 298706"/>
                <a:gd name="connsiteY136" fmla="*/ 390058 h 496364"/>
                <a:gd name="connsiteX137" fmla="*/ 288806 w 298706"/>
                <a:gd name="connsiteY137" fmla="*/ 393068 h 496364"/>
                <a:gd name="connsiteX138" fmla="*/ 282934 w 298706"/>
                <a:gd name="connsiteY138" fmla="*/ 396127 h 496364"/>
                <a:gd name="connsiteX139" fmla="*/ 278987 w 298706"/>
                <a:gd name="connsiteY139" fmla="*/ 397656 h 496364"/>
                <a:gd name="connsiteX140" fmla="*/ 278987 w 298706"/>
                <a:gd name="connsiteY140" fmla="*/ 405255 h 496364"/>
                <a:gd name="connsiteX141" fmla="*/ 275041 w 298706"/>
                <a:gd name="connsiteY141" fmla="*/ 405255 h 496364"/>
                <a:gd name="connsiteX142" fmla="*/ 267195 w 298706"/>
                <a:gd name="connsiteY142" fmla="*/ 414383 h 496364"/>
                <a:gd name="connsiteX143" fmla="*/ 261324 w 298706"/>
                <a:gd name="connsiteY143" fmla="*/ 415863 h 496364"/>
                <a:gd name="connsiteX144" fmla="*/ 255402 w 298706"/>
                <a:gd name="connsiteY144" fmla="*/ 420402 h 496364"/>
                <a:gd name="connsiteX145" fmla="*/ 255402 w 298706"/>
                <a:gd name="connsiteY145" fmla="*/ 424942 h 496364"/>
                <a:gd name="connsiteX146" fmla="*/ 245534 w 298706"/>
                <a:gd name="connsiteY146" fmla="*/ 424942 h 496364"/>
                <a:gd name="connsiteX147" fmla="*/ 241637 w 298706"/>
                <a:gd name="connsiteY147" fmla="*/ 429530 h 496364"/>
                <a:gd name="connsiteX148" fmla="*/ 227871 w 298706"/>
                <a:gd name="connsiteY148" fmla="*/ 438609 h 496364"/>
                <a:gd name="connsiteX149" fmla="*/ 218003 w 298706"/>
                <a:gd name="connsiteY149" fmla="*/ 438609 h 496364"/>
                <a:gd name="connsiteX150" fmla="*/ 212132 w 298706"/>
                <a:gd name="connsiteY150" fmla="*/ 437129 h 496364"/>
                <a:gd name="connsiteX151" fmla="*/ 206210 w 298706"/>
                <a:gd name="connsiteY151" fmla="*/ 438609 h 496364"/>
                <a:gd name="connsiteX152" fmla="*/ 206210 w 298706"/>
                <a:gd name="connsiteY152" fmla="*/ 429530 h 496364"/>
                <a:gd name="connsiteX153" fmla="*/ 204286 w 298706"/>
                <a:gd name="connsiteY153" fmla="*/ 432589 h 496364"/>
                <a:gd name="connsiteX154" fmla="*/ 204286 w 298706"/>
                <a:gd name="connsiteY154" fmla="*/ 435599 h 496364"/>
                <a:gd name="connsiteX155" fmla="*/ 198365 w 298706"/>
                <a:gd name="connsiteY155" fmla="*/ 432589 h 496364"/>
                <a:gd name="connsiteX156" fmla="*/ 202312 w 298706"/>
                <a:gd name="connsiteY156" fmla="*/ 437129 h 496364"/>
                <a:gd name="connsiteX157" fmla="*/ 202312 w 298706"/>
                <a:gd name="connsiteY157" fmla="*/ 438609 h 496364"/>
                <a:gd name="connsiteX158" fmla="*/ 200339 w 298706"/>
                <a:gd name="connsiteY158" fmla="*/ 440138 h 496364"/>
                <a:gd name="connsiteX159" fmla="*/ 194467 w 298706"/>
                <a:gd name="connsiteY159" fmla="*/ 438609 h 496364"/>
                <a:gd name="connsiteX160" fmla="*/ 204335 w 298706"/>
                <a:gd name="connsiteY160" fmla="*/ 443148 h 496364"/>
                <a:gd name="connsiteX161" fmla="*/ 200388 w 298706"/>
                <a:gd name="connsiteY161" fmla="*/ 444678 h 496364"/>
                <a:gd name="connsiteX162" fmla="*/ 204335 w 298706"/>
                <a:gd name="connsiteY162" fmla="*/ 449266 h 496364"/>
                <a:gd name="connsiteX163" fmla="*/ 198415 w 298706"/>
                <a:gd name="connsiteY163" fmla="*/ 452276 h 496364"/>
                <a:gd name="connsiteX164" fmla="*/ 190569 w 298706"/>
                <a:gd name="connsiteY164" fmla="*/ 447737 h 496364"/>
                <a:gd name="connsiteX165" fmla="*/ 198415 w 298706"/>
                <a:gd name="connsiteY165" fmla="*/ 453806 h 496364"/>
                <a:gd name="connsiteX166" fmla="*/ 196441 w 298706"/>
                <a:gd name="connsiteY166" fmla="*/ 455335 h 496364"/>
                <a:gd name="connsiteX167" fmla="*/ 194517 w 298706"/>
                <a:gd name="connsiteY167" fmla="*/ 461404 h 496364"/>
                <a:gd name="connsiteX168" fmla="*/ 190569 w 298706"/>
                <a:gd name="connsiteY168" fmla="*/ 458345 h 496364"/>
                <a:gd name="connsiteX169" fmla="*/ 188596 w 298706"/>
                <a:gd name="connsiteY169" fmla="*/ 455335 h 496364"/>
                <a:gd name="connsiteX170" fmla="*/ 184649 w 298706"/>
                <a:gd name="connsiteY170" fmla="*/ 455335 h 496364"/>
                <a:gd name="connsiteX171" fmla="*/ 186622 w 298706"/>
                <a:gd name="connsiteY171" fmla="*/ 461404 h 496364"/>
                <a:gd name="connsiteX172" fmla="*/ 186622 w 298706"/>
                <a:gd name="connsiteY172" fmla="*/ 462934 h 496364"/>
                <a:gd name="connsiteX173" fmla="*/ 188596 w 298706"/>
                <a:gd name="connsiteY173" fmla="*/ 464463 h 496364"/>
                <a:gd name="connsiteX174" fmla="*/ 184649 w 298706"/>
                <a:gd name="connsiteY174" fmla="*/ 465993 h 496364"/>
                <a:gd name="connsiteX175" fmla="*/ 180751 w 298706"/>
                <a:gd name="connsiteY175" fmla="*/ 467473 h 496364"/>
                <a:gd name="connsiteX176" fmla="*/ 176803 w 298706"/>
                <a:gd name="connsiteY176" fmla="*/ 469002 h 496364"/>
                <a:gd name="connsiteX177" fmla="*/ 170932 w 298706"/>
                <a:gd name="connsiteY177" fmla="*/ 473542 h 496364"/>
                <a:gd name="connsiteX178" fmla="*/ 168959 w 298706"/>
                <a:gd name="connsiteY178" fmla="*/ 475072 h 496364"/>
                <a:gd name="connsiteX179" fmla="*/ 163037 w 298706"/>
                <a:gd name="connsiteY179" fmla="*/ 475072 h 496364"/>
                <a:gd name="connsiteX180" fmla="*/ 163037 w 298706"/>
                <a:gd name="connsiteY180" fmla="*/ 478081 h 496364"/>
                <a:gd name="connsiteX181" fmla="*/ 161113 w 298706"/>
                <a:gd name="connsiteY181" fmla="*/ 484199 h 496364"/>
                <a:gd name="connsiteX182" fmla="*/ 157166 w 298706"/>
                <a:gd name="connsiteY182" fmla="*/ 488739 h 496364"/>
                <a:gd name="connsiteX183" fmla="*/ 155193 w 298706"/>
                <a:gd name="connsiteY183" fmla="*/ 488739 h 496364"/>
                <a:gd name="connsiteX184" fmla="*/ 155193 w 298706"/>
                <a:gd name="connsiteY184" fmla="*/ 490219 h 496364"/>
                <a:gd name="connsiteX185" fmla="*/ 139502 w 298706"/>
                <a:gd name="connsiteY185" fmla="*/ 496337 h 496364"/>
                <a:gd name="connsiteX186" fmla="*/ 131608 w 298706"/>
                <a:gd name="connsiteY186" fmla="*/ 494808 h 496364"/>
                <a:gd name="connsiteX187" fmla="*/ 135555 w 298706"/>
                <a:gd name="connsiteY187" fmla="*/ 491749 h 496364"/>
                <a:gd name="connsiteX188" fmla="*/ 141427 w 298706"/>
                <a:gd name="connsiteY188" fmla="*/ 490219 h 496364"/>
                <a:gd name="connsiteX189" fmla="*/ 145374 w 298706"/>
                <a:gd name="connsiteY189" fmla="*/ 484199 h 496364"/>
                <a:gd name="connsiteX190" fmla="*/ 141427 w 298706"/>
                <a:gd name="connsiteY190" fmla="*/ 485680 h 496364"/>
                <a:gd name="connsiteX191" fmla="*/ 137528 w 298706"/>
                <a:gd name="connsiteY191" fmla="*/ 484199 h 496364"/>
                <a:gd name="connsiteX192" fmla="*/ 137528 w 298706"/>
                <a:gd name="connsiteY192" fmla="*/ 475072 h 496364"/>
                <a:gd name="connsiteX193" fmla="*/ 139502 w 298706"/>
                <a:gd name="connsiteY193" fmla="*/ 473542 h 496364"/>
                <a:gd name="connsiteX194" fmla="*/ 137528 w 298706"/>
                <a:gd name="connsiteY194" fmla="*/ 473542 h 496364"/>
                <a:gd name="connsiteX195" fmla="*/ 137528 w 298706"/>
                <a:gd name="connsiteY195" fmla="*/ 458345 h 496364"/>
                <a:gd name="connsiteX196" fmla="*/ 143400 w 298706"/>
                <a:gd name="connsiteY196" fmla="*/ 452276 h 496364"/>
                <a:gd name="connsiteX197" fmla="*/ 153268 w 298706"/>
                <a:gd name="connsiteY197" fmla="*/ 446207 h 496364"/>
                <a:gd name="connsiteX198" fmla="*/ 157215 w 298706"/>
                <a:gd name="connsiteY198" fmla="*/ 443148 h 496364"/>
                <a:gd name="connsiteX199" fmla="*/ 151344 w 298706"/>
                <a:gd name="connsiteY199" fmla="*/ 444678 h 496364"/>
                <a:gd name="connsiteX200" fmla="*/ 143449 w 298706"/>
                <a:gd name="connsiteY200" fmla="*/ 443148 h 496364"/>
                <a:gd name="connsiteX201" fmla="*/ 137578 w 298706"/>
                <a:gd name="connsiteY201" fmla="*/ 444678 h 496364"/>
                <a:gd name="connsiteX202" fmla="*/ 135605 w 298706"/>
                <a:gd name="connsiteY202" fmla="*/ 443148 h 496364"/>
                <a:gd name="connsiteX203" fmla="*/ 131657 w 298706"/>
                <a:gd name="connsiteY203" fmla="*/ 444678 h 496364"/>
                <a:gd name="connsiteX204" fmla="*/ 125786 w 298706"/>
                <a:gd name="connsiteY204" fmla="*/ 443148 h 496364"/>
                <a:gd name="connsiteX205" fmla="*/ 125786 w 298706"/>
                <a:gd name="connsiteY205" fmla="*/ 437129 h 496364"/>
                <a:gd name="connsiteX206" fmla="*/ 123812 w 298706"/>
                <a:gd name="connsiteY206" fmla="*/ 435599 h 496364"/>
                <a:gd name="connsiteX207" fmla="*/ 129732 w 298706"/>
                <a:gd name="connsiteY207" fmla="*/ 428001 h 496364"/>
                <a:gd name="connsiteX208" fmla="*/ 137578 w 298706"/>
                <a:gd name="connsiteY208" fmla="*/ 426471 h 496364"/>
                <a:gd name="connsiteX209" fmla="*/ 141476 w 298706"/>
                <a:gd name="connsiteY209" fmla="*/ 417393 h 496364"/>
                <a:gd name="connsiteX210" fmla="*/ 151344 w 298706"/>
                <a:gd name="connsiteY210" fmla="*/ 417393 h 496364"/>
                <a:gd name="connsiteX211" fmla="*/ 153268 w 298706"/>
                <a:gd name="connsiteY211" fmla="*/ 420402 h 496364"/>
                <a:gd name="connsiteX212" fmla="*/ 170981 w 298706"/>
                <a:gd name="connsiteY212" fmla="*/ 417393 h 496364"/>
                <a:gd name="connsiteX213" fmla="*/ 176853 w 298706"/>
                <a:gd name="connsiteY213" fmla="*/ 420402 h 496364"/>
                <a:gd name="connsiteX214" fmla="*/ 178827 w 298706"/>
                <a:gd name="connsiteY214" fmla="*/ 423461 h 496364"/>
                <a:gd name="connsiteX215" fmla="*/ 190619 w 298706"/>
                <a:gd name="connsiteY215" fmla="*/ 423461 h 496364"/>
                <a:gd name="connsiteX216" fmla="*/ 188646 w 298706"/>
                <a:gd name="connsiteY216" fmla="*/ 417393 h 496364"/>
                <a:gd name="connsiteX217" fmla="*/ 188646 w 298706"/>
                <a:gd name="connsiteY217" fmla="*/ 412853 h 496364"/>
                <a:gd name="connsiteX218" fmla="*/ 180800 w 298706"/>
                <a:gd name="connsiteY218" fmla="*/ 408264 h 496364"/>
                <a:gd name="connsiteX219" fmla="*/ 172954 w 298706"/>
                <a:gd name="connsiteY219" fmla="*/ 403725 h 496364"/>
                <a:gd name="connsiteX220" fmla="*/ 172954 w 298706"/>
                <a:gd name="connsiteY220" fmla="*/ 394597 h 496364"/>
                <a:gd name="connsiteX221" fmla="*/ 178827 w 298706"/>
                <a:gd name="connsiteY221" fmla="*/ 390058 h 496364"/>
                <a:gd name="connsiteX222" fmla="*/ 192592 w 298706"/>
                <a:gd name="connsiteY222" fmla="*/ 390058 h 496364"/>
                <a:gd name="connsiteX223" fmla="*/ 196490 w 298706"/>
                <a:gd name="connsiteY223" fmla="*/ 385519 h 496364"/>
                <a:gd name="connsiteX224" fmla="*/ 206358 w 298706"/>
                <a:gd name="connsiteY224" fmla="*/ 377920 h 496364"/>
                <a:gd name="connsiteX225" fmla="*/ 218151 w 298706"/>
                <a:gd name="connsiteY225" fmla="*/ 374861 h 496364"/>
                <a:gd name="connsiteX226" fmla="*/ 220124 w 298706"/>
                <a:gd name="connsiteY226" fmla="*/ 371851 h 496364"/>
                <a:gd name="connsiteX227" fmla="*/ 224072 w 298706"/>
                <a:gd name="connsiteY227" fmla="*/ 370322 h 496364"/>
                <a:gd name="connsiteX228" fmla="*/ 229943 w 298706"/>
                <a:gd name="connsiteY228" fmla="*/ 361194 h 496364"/>
                <a:gd name="connsiteX229" fmla="*/ 227970 w 298706"/>
                <a:gd name="connsiteY229" fmla="*/ 353645 h 496364"/>
                <a:gd name="connsiteX230" fmla="*/ 229943 w 298706"/>
                <a:gd name="connsiteY230" fmla="*/ 344517 h 496364"/>
                <a:gd name="connsiteX231" fmla="*/ 227970 w 298706"/>
                <a:gd name="connsiteY231" fmla="*/ 339978 h 496364"/>
                <a:gd name="connsiteX232" fmla="*/ 229943 w 298706"/>
                <a:gd name="connsiteY232" fmla="*/ 330899 h 496364"/>
                <a:gd name="connsiteX233" fmla="*/ 224072 w 298706"/>
                <a:gd name="connsiteY233" fmla="*/ 317232 h 496364"/>
                <a:gd name="connsiteX234" fmla="*/ 218151 w 298706"/>
                <a:gd name="connsiteY234" fmla="*/ 314172 h 496364"/>
                <a:gd name="connsiteX235" fmla="*/ 212279 w 298706"/>
                <a:gd name="connsiteY235" fmla="*/ 305045 h 496364"/>
                <a:gd name="connsiteX236" fmla="*/ 212279 w 298706"/>
                <a:gd name="connsiteY236" fmla="*/ 305045 h 496364"/>
                <a:gd name="connsiteX237" fmla="*/ 222147 w 298706"/>
                <a:gd name="connsiteY237" fmla="*/ 300505 h 496364"/>
                <a:gd name="connsiteX238" fmla="*/ 220223 w 298706"/>
                <a:gd name="connsiteY238" fmla="*/ 291377 h 496364"/>
                <a:gd name="connsiteX239" fmla="*/ 218250 w 298706"/>
                <a:gd name="connsiteY239" fmla="*/ 288368 h 496364"/>
                <a:gd name="connsiteX240" fmla="*/ 214352 w 298706"/>
                <a:gd name="connsiteY240" fmla="*/ 280769 h 496364"/>
                <a:gd name="connsiteX241" fmla="*/ 226144 w 298706"/>
                <a:gd name="connsiteY241" fmla="*/ 273171 h 496364"/>
                <a:gd name="connsiteX242" fmla="*/ 226144 w 298706"/>
                <a:gd name="connsiteY242" fmla="*/ 265622 h 496364"/>
                <a:gd name="connsiteX243" fmla="*/ 220223 w 298706"/>
                <a:gd name="connsiteY243" fmla="*/ 265622 h 496364"/>
                <a:gd name="connsiteX244" fmla="*/ 218250 w 298706"/>
                <a:gd name="connsiteY244" fmla="*/ 261033 h 496364"/>
                <a:gd name="connsiteX245" fmla="*/ 218250 w 298706"/>
                <a:gd name="connsiteY245" fmla="*/ 253434 h 496364"/>
                <a:gd name="connsiteX246" fmla="*/ 224170 w 298706"/>
                <a:gd name="connsiteY246" fmla="*/ 250425 h 496364"/>
                <a:gd name="connsiteX247" fmla="*/ 222147 w 298706"/>
                <a:gd name="connsiteY247" fmla="*/ 244356 h 496364"/>
                <a:gd name="connsiteX248" fmla="*/ 212279 w 298706"/>
                <a:gd name="connsiteY248" fmla="*/ 245886 h 496364"/>
                <a:gd name="connsiteX249" fmla="*/ 210305 w 298706"/>
                <a:gd name="connsiteY249" fmla="*/ 245886 h 496364"/>
                <a:gd name="connsiteX250" fmla="*/ 206358 w 298706"/>
                <a:gd name="connsiteY250" fmla="*/ 239767 h 496364"/>
                <a:gd name="connsiteX251" fmla="*/ 198514 w 298706"/>
                <a:gd name="connsiteY251" fmla="*/ 239767 h 496364"/>
                <a:gd name="connsiteX252" fmla="*/ 194616 w 298706"/>
                <a:gd name="connsiteY252" fmla="*/ 236757 h 496364"/>
                <a:gd name="connsiteX253" fmla="*/ 196539 w 298706"/>
                <a:gd name="connsiteY253" fmla="*/ 232218 h 496364"/>
                <a:gd name="connsiteX254" fmla="*/ 190668 w 298706"/>
                <a:gd name="connsiteY254" fmla="*/ 230689 h 496364"/>
                <a:gd name="connsiteX255" fmla="*/ 188695 w 298706"/>
                <a:gd name="connsiteY255" fmla="*/ 230689 h 496364"/>
                <a:gd name="connsiteX256" fmla="*/ 184748 w 298706"/>
                <a:gd name="connsiteY256" fmla="*/ 227630 h 496364"/>
                <a:gd name="connsiteX257" fmla="*/ 180849 w 298706"/>
                <a:gd name="connsiteY257" fmla="*/ 220081 h 496364"/>
                <a:gd name="connsiteX258" fmla="*/ 176902 w 298706"/>
                <a:gd name="connsiteY258" fmla="*/ 215541 h 496364"/>
                <a:gd name="connsiteX259" fmla="*/ 169056 w 298706"/>
                <a:gd name="connsiteY259" fmla="*/ 215541 h 496364"/>
                <a:gd name="connsiteX260" fmla="*/ 165110 w 298706"/>
                <a:gd name="connsiteY260" fmla="*/ 214012 h 496364"/>
                <a:gd name="connsiteX261" fmla="*/ 161212 w 298706"/>
                <a:gd name="connsiteY261" fmla="*/ 206364 h 496364"/>
                <a:gd name="connsiteX262" fmla="*/ 151344 w 298706"/>
                <a:gd name="connsiteY262" fmla="*/ 195756 h 496364"/>
                <a:gd name="connsiteX263" fmla="*/ 151344 w 298706"/>
                <a:gd name="connsiteY263" fmla="*/ 191216 h 496364"/>
                <a:gd name="connsiteX264" fmla="*/ 143449 w 298706"/>
                <a:gd name="connsiteY264" fmla="*/ 182138 h 496364"/>
                <a:gd name="connsiteX265" fmla="*/ 133581 w 298706"/>
                <a:gd name="connsiteY265" fmla="*/ 179079 h 496364"/>
                <a:gd name="connsiteX266" fmla="*/ 123713 w 298706"/>
                <a:gd name="connsiteY266" fmla="*/ 166941 h 496364"/>
                <a:gd name="connsiteX267" fmla="*/ 117842 w 298706"/>
                <a:gd name="connsiteY267" fmla="*/ 166941 h 496364"/>
                <a:gd name="connsiteX268" fmla="*/ 106050 w 298706"/>
                <a:gd name="connsiteY268" fmla="*/ 162402 h 496364"/>
                <a:gd name="connsiteX269" fmla="*/ 94257 w 298706"/>
                <a:gd name="connsiteY269" fmla="*/ 160872 h 496364"/>
                <a:gd name="connsiteX270" fmla="*/ 90359 w 298706"/>
                <a:gd name="connsiteY270" fmla="*/ 153274 h 496364"/>
                <a:gd name="connsiteX271" fmla="*/ 84488 w 298706"/>
                <a:gd name="connsiteY271" fmla="*/ 153274 h 496364"/>
                <a:gd name="connsiteX272" fmla="*/ 82563 w 298706"/>
                <a:gd name="connsiteY272" fmla="*/ 150264 h 496364"/>
                <a:gd name="connsiteX273" fmla="*/ 88386 w 298706"/>
                <a:gd name="connsiteY273" fmla="*/ 145675 h 496364"/>
                <a:gd name="connsiteX274" fmla="*/ 80590 w 298706"/>
                <a:gd name="connsiteY274" fmla="*/ 136597 h 496364"/>
                <a:gd name="connsiteX275" fmla="*/ 80590 w 298706"/>
                <a:gd name="connsiteY275" fmla="*/ 132057 h 496364"/>
                <a:gd name="connsiteX276" fmla="*/ 84488 w 298706"/>
                <a:gd name="connsiteY276" fmla="*/ 132057 h 496364"/>
                <a:gd name="connsiteX277" fmla="*/ 94356 w 298706"/>
                <a:gd name="connsiteY277" fmla="*/ 128998 h 496364"/>
                <a:gd name="connsiteX278" fmla="*/ 102251 w 298706"/>
                <a:gd name="connsiteY278" fmla="*/ 127469 h 496364"/>
                <a:gd name="connsiteX279" fmla="*/ 104174 w 298706"/>
                <a:gd name="connsiteY279" fmla="*/ 124410 h 496364"/>
                <a:gd name="connsiteX280" fmla="*/ 108122 w 298706"/>
                <a:gd name="connsiteY280" fmla="*/ 112321 h 496364"/>
                <a:gd name="connsiteX281" fmla="*/ 115966 w 298706"/>
                <a:gd name="connsiteY281" fmla="*/ 110742 h 496364"/>
                <a:gd name="connsiteX282" fmla="*/ 115966 w 298706"/>
                <a:gd name="connsiteY282" fmla="*/ 106154 h 496364"/>
                <a:gd name="connsiteX283" fmla="*/ 104174 w 298706"/>
                <a:gd name="connsiteY283" fmla="*/ 104624 h 496364"/>
                <a:gd name="connsiteX284" fmla="*/ 104174 w 298706"/>
                <a:gd name="connsiteY284" fmla="*/ 92486 h 496364"/>
                <a:gd name="connsiteX285" fmla="*/ 94306 w 298706"/>
                <a:gd name="connsiteY285" fmla="*/ 89477 h 496364"/>
                <a:gd name="connsiteX286" fmla="*/ 90408 w 298706"/>
                <a:gd name="connsiteY286" fmla="*/ 84937 h 496364"/>
                <a:gd name="connsiteX287" fmla="*/ 80540 w 298706"/>
                <a:gd name="connsiteY287" fmla="*/ 84937 h 496364"/>
                <a:gd name="connsiteX288" fmla="*/ 70672 w 298706"/>
                <a:gd name="connsiteY288" fmla="*/ 89477 h 496364"/>
                <a:gd name="connsiteX289" fmla="*/ 62778 w 298706"/>
                <a:gd name="connsiteY289" fmla="*/ 86417 h 496364"/>
                <a:gd name="connsiteX290" fmla="*/ 47088 w 298706"/>
                <a:gd name="connsiteY290" fmla="*/ 86417 h 496364"/>
                <a:gd name="connsiteX291" fmla="*/ 39242 w 298706"/>
                <a:gd name="connsiteY291" fmla="*/ 77339 h 496364"/>
                <a:gd name="connsiteX292" fmla="*/ 27450 w 298706"/>
                <a:gd name="connsiteY292" fmla="*/ 66731 h 496364"/>
                <a:gd name="connsiteX293" fmla="*/ 29374 w 298706"/>
                <a:gd name="connsiteY293" fmla="*/ 60613 h 496364"/>
                <a:gd name="connsiteX294" fmla="*/ 27450 w 298706"/>
                <a:gd name="connsiteY294" fmla="*/ 54544 h 496364"/>
                <a:gd name="connsiteX295" fmla="*/ 21529 w 298706"/>
                <a:gd name="connsiteY295" fmla="*/ 50004 h 496364"/>
                <a:gd name="connsiteX296" fmla="*/ 15658 w 298706"/>
                <a:gd name="connsiteY296" fmla="*/ 42406 h 496364"/>
                <a:gd name="connsiteX297" fmla="*/ 1892 w 298706"/>
                <a:gd name="connsiteY297" fmla="*/ 39347 h 496364"/>
                <a:gd name="connsiteX298" fmla="*/ -82 w 298706"/>
                <a:gd name="connsiteY298" fmla="*/ 33327 h 496364"/>
                <a:gd name="connsiteX299" fmla="*/ 100079 w 298706"/>
                <a:gd name="connsiteY299" fmla="*/ 438609 h 496364"/>
                <a:gd name="connsiteX300" fmla="*/ 104026 w 298706"/>
                <a:gd name="connsiteY300" fmla="*/ 441668 h 496364"/>
                <a:gd name="connsiteX301" fmla="*/ 102102 w 298706"/>
                <a:gd name="connsiteY301" fmla="*/ 444678 h 496364"/>
                <a:gd name="connsiteX302" fmla="*/ 106001 w 298706"/>
                <a:gd name="connsiteY302" fmla="*/ 449266 h 496364"/>
                <a:gd name="connsiteX303" fmla="*/ 109897 w 298706"/>
                <a:gd name="connsiteY303" fmla="*/ 447737 h 496364"/>
                <a:gd name="connsiteX304" fmla="*/ 111872 w 298706"/>
                <a:gd name="connsiteY304" fmla="*/ 440138 h 496364"/>
                <a:gd name="connsiteX305" fmla="*/ 107974 w 298706"/>
                <a:gd name="connsiteY305" fmla="*/ 438609 h 496364"/>
                <a:gd name="connsiteX306" fmla="*/ 106001 w 298706"/>
                <a:gd name="connsiteY306" fmla="*/ 432589 h 496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</a:cxnLst>
              <a:rect l="l" t="t" r="r" b="b"/>
              <a:pathLst>
                <a:path w="298706" h="496364">
                  <a:moveTo>
                    <a:pt x="-82" y="33377"/>
                  </a:moveTo>
                  <a:lnTo>
                    <a:pt x="3866" y="31847"/>
                  </a:lnTo>
                  <a:lnTo>
                    <a:pt x="5839" y="31847"/>
                  </a:lnTo>
                  <a:lnTo>
                    <a:pt x="7812" y="28837"/>
                  </a:lnTo>
                  <a:lnTo>
                    <a:pt x="13684" y="25729"/>
                  </a:lnTo>
                  <a:lnTo>
                    <a:pt x="19556" y="22719"/>
                  </a:lnTo>
                  <a:lnTo>
                    <a:pt x="25477" y="24249"/>
                  </a:lnTo>
                  <a:lnTo>
                    <a:pt x="23503" y="28837"/>
                  </a:lnTo>
                  <a:lnTo>
                    <a:pt x="27450" y="30318"/>
                  </a:lnTo>
                  <a:lnTo>
                    <a:pt x="31348" y="30318"/>
                  </a:lnTo>
                  <a:lnTo>
                    <a:pt x="33322" y="24249"/>
                  </a:lnTo>
                  <a:lnTo>
                    <a:pt x="39242" y="21190"/>
                  </a:lnTo>
                  <a:lnTo>
                    <a:pt x="47088" y="27258"/>
                  </a:lnTo>
                  <a:lnTo>
                    <a:pt x="50985" y="22719"/>
                  </a:lnTo>
                  <a:lnTo>
                    <a:pt x="54933" y="22719"/>
                  </a:lnTo>
                  <a:lnTo>
                    <a:pt x="56906" y="27258"/>
                  </a:lnTo>
                  <a:lnTo>
                    <a:pt x="64751" y="24249"/>
                  </a:lnTo>
                  <a:lnTo>
                    <a:pt x="64751" y="19709"/>
                  </a:lnTo>
                  <a:lnTo>
                    <a:pt x="72596" y="18180"/>
                  </a:lnTo>
                  <a:lnTo>
                    <a:pt x="82464" y="21190"/>
                  </a:lnTo>
                  <a:lnTo>
                    <a:pt x="94207" y="18180"/>
                  </a:lnTo>
                  <a:lnTo>
                    <a:pt x="92284" y="7522"/>
                  </a:lnTo>
                  <a:lnTo>
                    <a:pt x="100079" y="4513"/>
                  </a:lnTo>
                  <a:lnTo>
                    <a:pt x="107974" y="4513"/>
                  </a:lnTo>
                  <a:lnTo>
                    <a:pt x="115819" y="-27"/>
                  </a:lnTo>
                  <a:lnTo>
                    <a:pt x="123664" y="4513"/>
                  </a:lnTo>
                  <a:lnTo>
                    <a:pt x="123664" y="9052"/>
                  </a:lnTo>
                  <a:lnTo>
                    <a:pt x="129584" y="10581"/>
                  </a:lnTo>
                  <a:lnTo>
                    <a:pt x="133482" y="15170"/>
                  </a:lnTo>
                  <a:lnTo>
                    <a:pt x="151196" y="15170"/>
                  </a:lnTo>
                  <a:lnTo>
                    <a:pt x="153120" y="18180"/>
                  </a:lnTo>
                  <a:lnTo>
                    <a:pt x="162988" y="15170"/>
                  </a:lnTo>
                  <a:lnTo>
                    <a:pt x="168909" y="18180"/>
                  </a:lnTo>
                  <a:lnTo>
                    <a:pt x="166935" y="24249"/>
                  </a:lnTo>
                  <a:lnTo>
                    <a:pt x="162988" y="25729"/>
                  </a:lnTo>
                  <a:lnTo>
                    <a:pt x="159091" y="36386"/>
                  </a:lnTo>
                  <a:lnTo>
                    <a:pt x="162988" y="36386"/>
                  </a:lnTo>
                  <a:lnTo>
                    <a:pt x="164962" y="43985"/>
                  </a:lnTo>
                  <a:lnTo>
                    <a:pt x="178728" y="48574"/>
                  </a:lnTo>
                  <a:lnTo>
                    <a:pt x="180701" y="53113"/>
                  </a:lnTo>
                  <a:lnTo>
                    <a:pt x="188547" y="56122"/>
                  </a:lnTo>
                  <a:lnTo>
                    <a:pt x="196391" y="59132"/>
                  </a:lnTo>
                  <a:lnTo>
                    <a:pt x="202312" y="56122"/>
                  </a:lnTo>
                  <a:lnTo>
                    <a:pt x="206210" y="59132"/>
                  </a:lnTo>
                  <a:lnTo>
                    <a:pt x="210157" y="57652"/>
                  </a:lnTo>
                  <a:lnTo>
                    <a:pt x="218003" y="60662"/>
                  </a:lnTo>
                  <a:lnTo>
                    <a:pt x="218003" y="60662"/>
                  </a:lnTo>
                  <a:lnTo>
                    <a:pt x="218003" y="62192"/>
                  </a:lnTo>
                  <a:lnTo>
                    <a:pt x="214105" y="66780"/>
                  </a:lnTo>
                  <a:lnTo>
                    <a:pt x="210157" y="68260"/>
                  </a:lnTo>
                  <a:lnTo>
                    <a:pt x="208184" y="68260"/>
                  </a:lnTo>
                  <a:lnTo>
                    <a:pt x="202312" y="71319"/>
                  </a:lnTo>
                  <a:lnTo>
                    <a:pt x="196391" y="71319"/>
                  </a:lnTo>
                  <a:lnTo>
                    <a:pt x="190520" y="72800"/>
                  </a:lnTo>
                  <a:lnTo>
                    <a:pt x="188547" y="75859"/>
                  </a:lnTo>
                  <a:lnTo>
                    <a:pt x="190520" y="78918"/>
                  </a:lnTo>
                  <a:lnTo>
                    <a:pt x="186572" y="81928"/>
                  </a:lnTo>
                  <a:lnTo>
                    <a:pt x="184599" y="83457"/>
                  </a:lnTo>
                  <a:lnTo>
                    <a:pt x="180701" y="81928"/>
                  </a:lnTo>
                  <a:lnTo>
                    <a:pt x="174781" y="81928"/>
                  </a:lnTo>
                  <a:lnTo>
                    <a:pt x="170883" y="84987"/>
                  </a:lnTo>
                  <a:lnTo>
                    <a:pt x="168909" y="86467"/>
                  </a:lnTo>
                  <a:lnTo>
                    <a:pt x="166935" y="83457"/>
                  </a:lnTo>
                  <a:lnTo>
                    <a:pt x="164962" y="81928"/>
                  </a:lnTo>
                  <a:lnTo>
                    <a:pt x="164962" y="86417"/>
                  </a:lnTo>
                  <a:lnTo>
                    <a:pt x="161064" y="89477"/>
                  </a:lnTo>
                  <a:lnTo>
                    <a:pt x="162988" y="92486"/>
                  </a:lnTo>
                  <a:lnTo>
                    <a:pt x="162988" y="101614"/>
                  </a:lnTo>
                  <a:lnTo>
                    <a:pt x="161064" y="103144"/>
                  </a:lnTo>
                  <a:lnTo>
                    <a:pt x="162988" y="106154"/>
                  </a:lnTo>
                  <a:lnTo>
                    <a:pt x="161064" y="109163"/>
                  </a:lnTo>
                  <a:lnTo>
                    <a:pt x="159091" y="109163"/>
                  </a:lnTo>
                  <a:lnTo>
                    <a:pt x="155143" y="118291"/>
                  </a:lnTo>
                  <a:lnTo>
                    <a:pt x="149271" y="118291"/>
                  </a:lnTo>
                  <a:lnTo>
                    <a:pt x="149271" y="115281"/>
                  </a:lnTo>
                  <a:lnTo>
                    <a:pt x="145325" y="118291"/>
                  </a:lnTo>
                  <a:lnTo>
                    <a:pt x="143350" y="119821"/>
                  </a:lnTo>
                  <a:lnTo>
                    <a:pt x="141377" y="125890"/>
                  </a:lnTo>
                  <a:lnTo>
                    <a:pt x="137479" y="127419"/>
                  </a:lnTo>
                  <a:lnTo>
                    <a:pt x="137479" y="133488"/>
                  </a:lnTo>
                  <a:lnTo>
                    <a:pt x="141377" y="133488"/>
                  </a:lnTo>
                  <a:lnTo>
                    <a:pt x="143350" y="136547"/>
                  </a:lnTo>
                  <a:lnTo>
                    <a:pt x="139452" y="147155"/>
                  </a:lnTo>
                  <a:lnTo>
                    <a:pt x="135506" y="151695"/>
                  </a:lnTo>
                  <a:lnTo>
                    <a:pt x="143350" y="157764"/>
                  </a:lnTo>
                  <a:lnTo>
                    <a:pt x="143350" y="160823"/>
                  </a:lnTo>
                  <a:lnTo>
                    <a:pt x="137479" y="162352"/>
                  </a:lnTo>
                  <a:lnTo>
                    <a:pt x="143350" y="163882"/>
                  </a:lnTo>
                  <a:lnTo>
                    <a:pt x="155143" y="168421"/>
                  </a:lnTo>
                  <a:lnTo>
                    <a:pt x="162988" y="177500"/>
                  </a:lnTo>
                  <a:lnTo>
                    <a:pt x="166935" y="177500"/>
                  </a:lnTo>
                  <a:lnTo>
                    <a:pt x="170883" y="183569"/>
                  </a:lnTo>
                  <a:lnTo>
                    <a:pt x="170883" y="189637"/>
                  </a:lnTo>
                  <a:lnTo>
                    <a:pt x="172856" y="195706"/>
                  </a:lnTo>
                  <a:lnTo>
                    <a:pt x="174781" y="200295"/>
                  </a:lnTo>
                  <a:lnTo>
                    <a:pt x="190520" y="209374"/>
                  </a:lnTo>
                  <a:lnTo>
                    <a:pt x="196391" y="213962"/>
                  </a:lnTo>
                  <a:lnTo>
                    <a:pt x="198365" y="215492"/>
                  </a:lnTo>
                  <a:lnTo>
                    <a:pt x="218102" y="226051"/>
                  </a:lnTo>
                  <a:lnTo>
                    <a:pt x="233792" y="236708"/>
                  </a:lnTo>
                  <a:lnTo>
                    <a:pt x="237739" y="241248"/>
                  </a:lnTo>
                  <a:lnTo>
                    <a:pt x="255402" y="253385"/>
                  </a:lnTo>
                  <a:lnTo>
                    <a:pt x="259349" y="260984"/>
                  </a:lnTo>
                  <a:lnTo>
                    <a:pt x="261324" y="265572"/>
                  </a:lnTo>
                  <a:lnTo>
                    <a:pt x="263297" y="265572"/>
                  </a:lnTo>
                  <a:lnTo>
                    <a:pt x="263297" y="268582"/>
                  </a:lnTo>
                  <a:lnTo>
                    <a:pt x="271143" y="277661"/>
                  </a:lnTo>
                  <a:lnTo>
                    <a:pt x="271143" y="280720"/>
                  </a:lnTo>
                  <a:lnTo>
                    <a:pt x="273116" y="282249"/>
                  </a:lnTo>
                  <a:lnTo>
                    <a:pt x="271143" y="285259"/>
                  </a:lnTo>
                  <a:lnTo>
                    <a:pt x="277014" y="291328"/>
                  </a:lnTo>
                  <a:lnTo>
                    <a:pt x="278987" y="303515"/>
                  </a:lnTo>
                  <a:lnTo>
                    <a:pt x="280961" y="304995"/>
                  </a:lnTo>
                  <a:lnTo>
                    <a:pt x="282934" y="314123"/>
                  </a:lnTo>
                  <a:lnTo>
                    <a:pt x="288806" y="317182"/>
                  </a:lnTo>
                  <a:lnTo>
                    <a:pt x="288806" y="321722"/>
                  </a:lnTo>
                  <a:lnTo>
                    <a:pt x="286832" y="324731"/>
                  </a:lnTo>
                  <a:lnTo>
                    <a:pt x="288806" y="330849"/>
                  </a:lnTo>
                  <a:lnTo>
                    <a:pt x="286832" y="333859"/>
                  </a:lnTo>
                  <a:lnTo>
                    <a:pt x="290780" y="341408"/>
                  </a:lnTo>
                  <a:lnTo>
                    <a:pt x="290780" y="342987"/>
                  </a:lnTo>
                  <a:lnTo>
                    <a:pt x="292753" y="344517"/>
                  </a:lnTo>
                  <a:lnTo>
                    <a:pt x="294727" y="349105"/>
                  </a:lnTo>
                  <a:lnTo>
                    <a:pt x="298624" y="356655"/>
                  </a:lnTo>
                  <a:lnTo>
                    <a:pt x="298624" y="361194"/>
                  </a:lnTo>
                  <a:lnTo>
                    <a:pt x="296651" y="361194"/>
                  </a:lnTo>
                  <a:lnTo>
                    <a:pt x="296651" y="359664"/>
                  </a:lnTo>
                  <a:lnTo>
                    <a:pt x="294727" y="356655"/>
                  </a:lnTo>
                  <a:lnTo>
                    <a:pt x="290780" y="358184"/>
                  </a:lnTo>
                  <a:lnTo>
                    <a:pt x="292753" y="362723"/>
                  </a:lnTo>
                  <a:lnTo>
                    <a:pt x="294727" y="365783"/>
                  </a:lnTo>
                  <a:lnTo>
                    <a:pt x="294727" y="368792"/>
                  </a:lnTo>
                  <a:lnTo>
                    <a:pt x="290780" y="370322"/>
                  </a:lnTo>
                  <a:lnTo>
                    <a:pt x="290780" y="373381"/>
                  </a:lnTo>
                  <a:lnTo>
                    <a:pt x="282934" y="377920"/>
                  </a:lnTo>
                  <a:lnTo>
                    <a:pt x="290780" y="385519"/>
                  </a:lnTo>
                  <a:lnTo>
                    <a:pt x="286832" y="390058"/>
                  </a:lnTo>
                  <a:lnTo>
                    <a:pt x="288806" y="393068"/>
                  </a:lnTo>
                  <a:lnTo>
                    <a:pt x="282934" y="396127"/>
                  </a:lnTo>
                  <a:lnTo>
                    <a:pt x="278987" y="397656"/>
                  </a:lnTo>
                  <a:lnTo>
                    <a:pt x="278987" y="405255"/>
                  </a:lnTo>
                  <a:lnTo>
                    <a:pt x="275041" y="405255"/>
                  </a:lnTo>
                  <a:lnTo>
                    <a:pt x="267195" y="414383"/>
                  </a:lnTo>
                  <a:lnTo>
                    <a:pt x="261324" y="415863"/>
                  </a:lnTo>
                  <a:lnTo>
                    <a:pt x="255402" y="420402"/>
                  </a:lnTo>
                  <a:lnTo>
                    <a:pt x="255402" y="424942"/>
                  </a:lnTo>
                  <a:lnTo>
                    <a:pt x="245534" y="424942"/>
                  </a:lnTo>
                  <a:lnTo>
                    <a:pt x="241637" y="429530"/>
                  </a:lnTo>
                  <a:lnTo>
                    <a:pt x="227871" y="438609"/>
                  </a:lnTo>
                  <a:lnTo>
                    <a:pt x="218003" y="438609"/>
                  </a:lnTo>
                  <a:lnTo>
                    <a:pt x="212132" y="437129"/>
                  </a:lnTo>
                  <a:lnTo>
                    <a:pt x="206210" y="438609"/>
                  </a:lnTo>
                  <a:lnTo>
                    <a:pt x="206210" y="429530"/>
                  </a:lnTo>
                  <a:lnTo>
                    <a:pt x="204286" y="432589"/>
                  </a:lnTo>
                  <a:lnTo>
                    <a:pt x="204286" y="435599"/>
                  </a:lnTo>
                  <a:lnTo>
                    <a:pt x="198365" y="432589"/>
                  </a:lnTo>
                  <a:lnTo>
                    <a:pt x="202312" y="437129"/>
                  </a:lnTo>
                  <a:lnTo>
                    <a:pt x="202312" y="438609"/>
                  </a:lnTo>
                  <a:lnTo>
                    <a:pt x="200339" y="440138"/>
                  </a:lnTo>
                  <a:lnTo>
                    <a:pt x="194467" y="438609"/>
                  </a:lnTo>
                  <a:lnTo>
                    <a:pt x="204335" y="443148"/>
                  </a:lnTo>
                  <a:lnTo>
                    <a:pt x="200388" y="444678"/>
                  </a:lnTo>
                  <a:lnTo>
                    <a:pt x="204335" y="449266"/>
                  </a:lnTo>
                  <a:lnTo>
                    <a:pt x="198415" y="452276"/>
                  </a:lnTo>
                  <a:lnTo>
                    <a:pt x="190569" y="447737"/>
                  </a:lnTo>
                  <a:lnTo>
                    <a:pt x="198415" y="453806"/>
                  </a:lnTo>
                  <a:lnTo>
                    <a:pt x="196441" y="455335"/>
                  </a:lnTo>
                  <a:lnTo>
                    <a:pt x="194517" y="461404"/>
                  </a:lnTo>
                  <a:lnTo>
                    <a:pt x="190569" y="458345"/>
                  </a:lnTo>
                  <a:lnTo>
                    <a:pt x="188596" y="455335"/>
                  </a:lnTo>
                  <a:lnTo>
                    <a:pt x="184649" y="455335"/>
                  </a:lnTo>
                  <a:lnTo>
                    <a:pt x="186622" y="461404"/>
                  </a:lnTo>
                  <a:lnTo>
                    <a:pt x="186622" y="462934"/>
                  </a:lnTo>
                  <a:lnTo>
                    <a:pt x="188596" y="464463"/>
                  </a:lnTo>
                  <a:lnTo>
                    <a:pt x="184649" y="465993"/>
                  </a:lnTo>
                  <a:lnTo>
                    <a:pt x="180751" y="467473"/>
                  </a:lnTo>
                  <a:lnTo>
                    <a:pt x="176803" y="469002"/>
                  </a:lnTo>
                  <a:lnTo>
                    <a:pt x="170932" y="473542"/>
                  </a:lnTo>
                  <a:lnTo>
                    <a:pt x="168959" y="475072"/>
                  </a:lnTo>
                  <a:lnTo>
                    <a:pt x="163037" y="475072"/>
                  </a:lnTo>
                  <a:lnTo>
                    <a:pt x="163037" y="478081"/>
                  </a:lnTo>
                  <a:lnTo>
                    <a:pt x="161113" y="484199"/>
                  </a:lnTo>
                  <a:lnTo>
                    <a:pt x="157166" y="488739"/>
                  </a:lnTo>
                  <a:lnTo>
                    <a:pt x="155193" y="488739"/>
                  </a:lnTo>
                  <a:lnTo>
                    <a:pt x="155193" y="490219"/>
                  </a:lnTo>
                  <a:lnTo>
                    <a:pt x="139502" y="496337"/>
                  </a:lnTo>
                  <a:lnTo>
                    <a:pt x="131608" y="494808"/>
                  </a:lnTo>
                  <a:lnTo>
                    <a:pt x="135555" y="491749"/>
                  </a:lnTo>
                  <a:lnTo>
                    <a:pt x="141427" y="490219"/>
                  </a:lnTo>
                  <a:lnTo>
                    <a:pt x="145374" y="484199"/>
                  </a:lnTo>
                  <a:lnTo>
                    <a:pt x="141427" y="485680"/>
                  </a:lnTo>
                  <a:lnTo>
                    <a:pt x="137528" y="484199"/>
                  </a:lnTo>
                  <a:lnTo>
                    <a:pt x="137528" y="475072"/>
                  </a:lnTo>
                  <a:lnTo>
                    <a:pt x="139502" y="473542"/>
                  </a:lnTo>
                  <a:lnTo>
                    <a:pt x="137528" y="473542"/>
                  </a:lnTo>
                  <a:lnTo>
                    <a:pt x="137528" y="458345"/>
                  </a:lnTo>
                  <a:lnTo>
                    <a:pt x="143400" y="452276"/>
                  </a:lnTo>
                  <a:lnTo>
                    <a:pt x="153268" y="446207"/>
                  </a:lnTo>
                  <a:lnTo>
                    <a:pt x="157215" y="443148"/>
                  </a:lnTo>
                  <a:lnTo>
                    <a:pt x="151344" y="444678"/>
                  </a:lnTo>
                  <a:lnTo>
                    <a:pt x="143449" y="443148"/>
                  </a:lnTo>
                  <a:lnTo>
                    <a:pt x="137578" y="444678"/>
                  </a:lnTo>
                  <a:lnTo>
                    <a:pt x="135605" y="443148"/>
                  </a:lnTo>
                  <a:lnTo>
                    <a:pt x="131657" y="444678"/>
                  </a:lnTo>
                  <a:lnTo>
                    <a:pt x="125786" y="443148"/>
                  </a:lnTo>
                  <a:lnTo>
                    <a:pt x="125786" y="437129"/>
                  </a:lnTo>
                  <a:lnTo>
                    <a:pt x="123812" y="435599"/>
                  </a:lnTo>
                  <a:lnTo>
                    <a:pt x="129732" y="428001"/>
                  </a:lnTo>
                  <a:lnTo>
                    <a:pt x="137578" y="426471"/>
                  </a:lnTo>
                  <a:lnTo>
                    <a:pt x="141476" y="417393"/>
                  </a:lnTo>
                  <a:lnTo>
                    <a:pt x="151344" y="417393"/>
                  </a:lnTo>
                  <a:lnTo>
                    <a:pt x="153268" y="420402"/>
                  </a:lnTo>
                  <a:lnTo>
                    <a:pt x="170981" y="417393"/>
                  </a:lnTo>
                  <a:lnTo>
                    <a:pt x="176853" y="420402"/>
                  </a:lnTo>
                  <a:lnTo>
                    <a:pt x="178827" y="423461"/>
                  </a:lnTo>
                  <a:lnTo>
                    <a:pt x="190619" y="423461"/>
                  </a:lnTo>
                  <a:lnTo>
                    <a:pt x="188646" y="417393"/>
                  </a:lnTo>
                  <a:lnTo>
                    <a:pt x="188646" y="412853"/>
                  </a:lnTo>
                  <a:lnTo>
                    <a:pt x="180800" y="408264"/>
                  </a:lnTo>
                  <a:lnTo>
                    <a:pt x="172954" y="403725"/>
                  </a:lnTo>
                  <a:lnTo>
                    <a:pt x="172954" y="394597"/>
                  </a:lnTo>
                  <a:lnTo>
                    <a:pt x="178827" y="390058"/>
                  </a:lnTo>
                  <a:lnTo>
                    <a:pt x="192592" y="390058"/>
                  </a:lnTo>
                  <a:lnTo>
                    <a:pt x="196490" y="385519"/>
                  </a:lnTo>
                  <a:lnTo>
                    <a:pt x="206358" y="377920"/>
                  </a:lnTo>
                  <a:lnTo>
                    <a:pt x="218151" y="374861"/>
                  </a:lnTo>
                  <a:lnTo>
                    <a:pt x="220124" y="371851"/>
                  </a:lnTo>
                  <a:lnTo>
                    <a:pt x="224072" y="370322"/>
                  </a:lnTo>
                  <a:lnTo>
                    <a:pt x="229943" y="361194"/>
                  </a:lnTo>
                  <a:lnTo>
                    <a:pt x="227970" y="353645"/>
                  </a:lnTo>
                  <a:lnTo>
                    <a:pt x="229943" y="344517"/>
                  </a:lnTo>
                  <a:lnTo>
                    <a:pt x="227970" y="339978"/>
                  </a:lnTo>
                  <a:lnTo>
                    <a:pt x="229943" y="330899"/>
                  </a:lnTo>
                  <a:lnTo>
                    <a:pt x="224072" y="317232"/>
                  </a:lnTo>
                  <a:lnTo>
                    <a:pt x="218151" y="314172"/>
                  </a:lnTo>
                  <a:lnTo>
                    <a:pt x="212279" y="305045"/>
                  </a:lnTo>
                  <a:lnTo>
                    <a:pt x="212279" y="305045"/>
                  </a:lnTo>
                  <a:lnTo>
                    <a:pt x="222147" y="300505"/>
                  </a:lnTo>
                  <a:lnTo>
                    <a:pt x="220223" y="291377"/>
                  </a:lnTo>
                  <a:lnTo>
                    <a:pt x="218250" y="288368"/>
                  </a:lnTo>
                  <a:lnTo>
                    <a:pt x="214352" y="280769"/>
                  </a:lnTo>
                  <a:lnTo>
                    <a:pt x="226144" y="273171"/>
                  </a:lnTo>
                  <a:lnTo>
                    <a:pt x="226144" y="265622"/>
                  </a:lnTo>
                  <a:lnTo>
                    <a:pt x="220223" y="265622"/>
                  </a:lnTo>
                  <a:lnTo>
                    <a:pt x="218250" y="261033"/>
                  </a:lnTo>
                  <a:lnTo>
                    <a:pt x="218250" y="253434"/>
                  </a:lnTo>
                  <a:lnTo>
                    <a:pt x="224170" y="250425"/>
                  </a:lnTo>
                  <a:lnTo>
                    <a:pt x="222147" y="244356"/>
                  </a:lnTo>
                  <a:lnTo>
                    <a:pt x="212279" y="245886"/>
                  </a:lnTo>
                  <a:lnTo>
                    <a:pt x="210305" y="245886"/>
                  </a:lnTo>
                  <a:lnTo>
                    <a:pt x="206358" y="239767"/>
                  </a:lnTo>
                  <a:lnTo>
                    <a:pt x="198514" y="239767"/>
                  </a:lnTo>
                  <a:lnTo>
                    <a:pt x="194616" y="236757"/>
                  </a:lnTo>
                  <a:lnTo>
                    <a:pt x="196539" y="232218"/>
                  </a:lnTo>
                  <a:lnTo>
                    <a:pt x="190668" y="230689"/>
                  </a:lnTo>
                  <a:lnTo>
                    <a:pt x="188695" y="230689"/>
                  </a:lnTo>
                  <a:lnTo>
                    <a:pt x="184748" y="227630"/>
                  </a:lnTo>
                  <a:lnTo>
                    <a:pt x="180849" y="220081"/>
                  </a:lnTo>
                  <a:lnTo>
                    <a:pt x="176902" y="215541"/>
                  </a:lnTo>
                  <a:lnTo>
                    <a:pt x="169056" y="215541"/>
                  </a:lnTo>
                  <a:lnTo>
                    <a:pt x="165110" y="214012"/>
                  </a:lnTo>
                  <a:lnTo>
                    <a:pt x="161212" y="206364"/>
                  </a:lnTo>
                  <a:lnTo>
                    <a:pt x="151344" y="195756"/>
                  </a:lnTo>
                  <a:lnTo>
                    <a:pt x="151344" y="191216"/>
                  </a:lnTo>
                  <a:lnTo>
                    <a:pt x="143449" y="182138"/>
                  </a:lnTo>
                  <a:lnTo>
                    <a:pt x="133581" y="179079"/>
                  </a:lnTo>
                  <a:lnTo>
                    <a:pt x="123713" y="166941"/>
                  </a:lnTo>
                  <a:lnTo>
                    <a:pt x="117842" y="166941"/>
                  </a:lnTo>
                  <a:lnTo>
                    <a:pt x="106050" y="162402"/>
                  </a:lnTo>
                  <a:lnTo>
                    <a:pt x="94257" y="160872"/>
                  </a:lnTo>
                  <a:lnTo>
                    <a:pt x="90359" y="153274"/>
                  </a:lnTo>
                  <a:lnTo>
                    <a:pt x="84488" y="153274"/>
                  </a:lnTo>
                  <a:lnTo>
                    <a:pt x="82563" y="150264"/>
                  </a:lnTo>
                  <a:lnTo>
                    <a:pt x="88386" y="145675"/>
                  </a:lnTo>
                  <a:lnTo>
                    <a:pt x="80590" y="136597"/>
                  </a:lnTo>
                  <a:lnTo>
                    <a:pt x="80590" y="132057"/>
                  </a:lnTo>
                  <a:lnTo>
                    <a:pt x="84488" y="132057"/>
                  </a:lnTo>
                  <a:lnTo>
                    <a:pt x="94356" y="128998"/>
                  </a:lnTo>
                  <a:lnTo>
                    <a:pt x="102251" y="127469"/>
                  </a:lnTo>
                  <a:lnTo>
                    <a:pt x="104174" y="124410"/>
                  </a:lnTo>
                  <a:lnTo>
                    <a:pt x="108122" y="112321"/>
                  </a:lnTo>
                  <a:lnTo>
                    <a:pt x="115966" y="110742"/>
                  </a:lnTo>
                  <a:lnTo>
                    <a:pt x="115966" y="106154"/>
                  </a:lnTo>
                  <a:lnTo>
                    <a:pt x="104174" y="104624"/>
                  </a:lnTo>
                  <a:lnTo>
                    <a:pt x="104174" y="92486"/>
                  </a:lnTo>
                  <a:lnTo>
                    <a:pt x="94306" y="89477"/>
                  </a:lnTo>
                  <a:lnTo>
                    <a:pt x="90408" y="84937"/>
                  </a:lnTo>
                  <a:lnTo>
                    <a:pt x="80540" y="84937"/>
                  </a:lnTo>
                  <a:lnTo>
                    <a:pt x="70672" y="89477"/>
                  </a:lnTo>
                  <a:lnTo>
                    <a:pt x="62778" y="86417"/>
                  </a:lnTo>
                  <a:lnTo>
                    <a:pt x="47088" y="86417"/>
                  </a:lnTo>
                  <a:lnTo>
                    <a:pt x="39242" y="77339"/>
                  </a:lnTo>
                  <a:lnTo>
                    <a:pt x="27450" y="66731"/>
                  </a:lnTo>
                  <a:lnTo>
                    <a:pt x="29374" y="60613"/>
                  </a:lnTo>
                  <a:lnTo>
                    <a:pt x="27450" y="54544"/>
                  </a:lnTo>
                  <a:lnTo>
                    <a:pt x="21529" y="50004"/>
                  </a:lnTo>
                  <a:lnTo>
                    <a:pt x="15658" y="42406"/>
                  </a:lnTo>
                  <a:lnTo>
                    <a:pt x="1892" y="39347"/>
                  </a:lnTo>
                  <a:lnTo>
                    <a:pt x="-82" y="33327"/>
                  </a:lnTo>
                  <a:close/>
                  <a:moveTo>
                    <a:pt x="100079" y="438609"/>
                  </a:moveTo>
                  <a:lnTo>
                    <a:pt x="104026" y="441668"/>
                  </a:lnTo>
                  <a:lnTo>
                    <a:pt x="102102" y="444678"/>
                  </a:lnTo>
                  <a:lnTo>
                    <a:pt x="106001" y="449266"/>
                  </a:lnTo>
                  <a:lnTo>
                    <a:pt x="109897" y="447737"/>
                  </a:lnTo>
                  <a:lnTo>
                    <a:pt x="111872" y="440138"/>
                  </a:lnTo>
                  <a:lnTo>
                    <a:pt x="107974" y="438609"/>
                  </a:lnTo>
                  <a:lnTo>
                    <a:pt x="106001" y="43258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Graphic 2">
              <a:extLst>
                <a:ext uri="{FF2B5EF4-FFF2-40B4-BE49-F238E27FC236}">
                  <a16:creationId xmlns:a16="http://schemas.microsoft.com/office/drawing/2014/main" id="{8556F64C-1316-4ED1-81B3-87B65374B4E3}"/>
                </a:ext>
              </a:extLst>
            </p:cNvPr>
            <p:cNvSpPr/>
            <p:nvPr/>
          </p:nvSpPr>
          <p:spPr>
            <a:xfrm>
              <a:off x="8768127" y="4207128"/>
              <a:ext cx="175629" cy="138417"/>
            </a:xfrm>
            <a:custGeom>
              <a:avLst/>
              <a:gdLst>
                <a:gd name="connsiteX0" fmla="*/ 85425 w 193315"/>
                <a:gd name="connsiteY0" fmla="*/ 152336 h 152363"/>
                <a:gd name="connsiteX1" fmla="*/ 91445 w 193315"/>
                <a:gd name="connsiteY1" fmla="*/ 144244 h 152363"/>
                <a:gd name="connsiteX2" fmla="*/ 99437 w 193315"/>
                <a:gd name="connsiteY2" fmla="*/ 142616 h 152363"/>
                <a:gd name="connsiteX3" fmla="*/ 103434 w 193315"/>
                <a:gd name="connsiteY3" fmla="*/ 132748 h 152363"/>
                <a:gd name="connsiteX4" fmla="*/ 113302 w 193315"/>
                <a:gd name="connsiteY4" fmla="*/ 132748 h 152363"/>
                <a:gd name="connsiteX5" fmla="*/ 115275 w 193315"/>
                <a:gd name="connsiteY5" fmla="*/ 135955 h 152363"/>
                <a:gd name="connsiteX6" fmla="*/ 133335 w 193315"/>
                <a:gd name="connsiteY6" fmla="*/ 132748 h 152363"/>
                <a:gd name="connsiteX7" fmla="*/ 139305 w 193315"/>
                <a:gd name="connsiteY7" fmla="*/ 135955 h 152363"/>
                <a:gd name="connsiteX8" fmla="*/ 141278 w 193315"/>
                <a:gd name="connsiteY8" fmla="*/ 139212 h 152363"/>
                <a:gd name="connsiteX9" fmla="*/ 153318 w 193315"/>
                <a:gd name="connsiteY9" fmla="*/ 139212 h 152363"/>
                <a:gd name="connsiteX10" fmla="*/ 151294 w 193315"/>
                <a:gd name="connsiteY10" fmla="*/ 132748 h 152363"/>
                <a:gd name="connsiteX11" fmla="*/ 151294 w 193315"/>
                <a:gd name="connsiteY11" fmla="*/ 127814 h 152363"/>
                <a:gd name="connsiteX12" fmla="*/ 143301 w 193315"/>
                <a:gd name="connsiteY12" fmla="*/ 122880 h 152363"/>
                <a:gd name="connsiteX13" fmla="*/ 135308 w 193315"/>
                <a:gd name="connsiteY13" fmla="*/ 117946 h 152363"/>
                <a:gd name="connsiteX14" fmla="*/ 135308 w 193315"/>
                <a:gd name="connsiteY14" fmla="*/ 108078 h 152363"/>
                <a:gd name="connsiteX15" fmla="*/ 141278 w 193315"/>
                <a:gd name="connsiteY15" fmla="*/ 103144 h 152363"/>
                <a:gd name="connsiteX16" fmla="*/ 155291 w 193315"/>
                <a:gd name="connsiteY16" fmla="*/ 103144 h 152363"/>
                <a:gd name="connsiteX17" fmla="*/ 159337 w 193315"/>
                <a:gd name="connsiteY17" fmla="*/ 98210 h 152363"/>
                <a:gd name="connsiteX18" fmla="*/ 169205 w 193315"/>
                <a:gd name="connsiteY18" fmla="*/ 90069 h 152363"/>
                <a:gd name="connsiteX19" fmla="*/ 181195 w 193315"/>
                <a:gd name="connsiteY19" fmla="*/ 86861 h 152363"/>
                <a:gd name="connsiteX20" fmla="*/ 183217 w 193315"/>
                <a:gd name="connsiteY20" fmla="*/ 83605 h 152363"/>
                <a:gd name="connsiteX21" fmla="*/ 187214 w 193315"/>
                <a:gd name="connsiteY21" fmla="*/ 81977 h 152363"/>
                <a:gd name="connsiteX22" fmla="*/ 193233 w 193315"/>
                <a:gd name="connsiteY22" fmla="*/ 72109 h 152363"/>
                <a:gd name="connsiteX23" fmla="*/ 191211 w 193315"/>
                <a:gd name="connsiteY23" fmla="*/ 64017 h 152363"/>
                <a:gd name="connsiteX24" fmla="*/ 193233 w 193315"/>
                <a:gd name="connsiteY24" fmla="*/ 54149 h 152363"/>
                <a:gd name="connsiteX25" fmla="*/ 191211 w 193315"/>
                <a:gd name="connsiteY25" fmla="*/ 49215 h 152363"/>
                <a:gd name="connsiteX26" fmla="*/ 193233 w 193315"/>
                <a:gd name="connsiteY26" fmla="*/ 39347 h 152363"/>
                <a:gd name="connsiteX27" fmla="*/ 187214 w 193315"/>
                <a:gd name="connsiteY27" fmla="*/ 24544 h 152363"/>
                <a:gd name="connsiteX28" fmla="*/ 181195 w 193315"/>
                <a:gd name="connsiteY28" fmla="*/ 21288 h 152363"/>
                <a:gd name="connsiteX29" fmla="*/ 175225 w 193315"/>
                <a:gd name="connsiteY29" fmla="*/ 11420 h 152363"/>
                <a:gd name="connsiteX30" fmla="*/ 169205 w 193315"/>
                <a:gd name="connsiteY30" fmla="*/ 11420 h 152363"/>
                <a:gd name="connsiteX31" fmla="*/ 163235 w 193315"/>
                <a:gd name="connsiteY31" fmla="*/ 6486 h 152363"/>
                <a:gd name="connsiteX32" fmla="*/ 157215 w 193315"/>
                <a:gd name="connsiteY32" fmla="*/ 4907 h 152363"/>
                <a:gd name="connsiteX33" fmla="*/ 155192 w 193315"/>
                <a:gd name="connsiteY33" fmla="*/ -27 h 152363"/>
                <a:gd name="connsiteX34" fmla="*/ 141179 w 193315"/>
                <a:gd name="connsiteY34" fmla="*/ 1601 h 152363"/>
                <a:gd name="connsiteX35" fmla="*/ 135209 w 193315"/>
                <a:gd name="connsiteY35" fmla="*/ 9693 h 152363"/>
                <a:gd name="connsiteX36" fmla="*/ 141179 w 193315"/>
                <a:gd name="connsiteY36" fmla="*/ 16157 h 152363"/>
                <a:gd name="connsiteX37" fmla="*/ 141179 w 193315"/>
                <a:gd name="connsiteY37" fmla="*/ 21091 h 152363"/>
                <a:gd name="connsiteX38" fmla="*/ 143203 w 193315"/>
                <a:gd name="connsiteY38" fmla="*/ 27604 h 152363"/>
                <a:gd name="connsiteX39" fmla="*/ 143203 w 193315"/>
                <a:gd name="connsiteY39" fmla="*/ 32538 h 152363"/>
                <a:gd name="connsiteX40" fmla="*/ 131212 w 193315"/>
                <a:gd name="connsiteY40" fmla="*/ 27604 h 152363"/>
                <a:gd name="connsiteX41" fmla="*/ 125193 w 193315"/>
                <a:gd name="connsiteY41" fmla="*/ 19463 h 152363"/>
                <a:gd name="connsiteX42" fmla="*/ 115325 w 193315"/>
                <a:gd name="connsiteY42" fmla="*/ 19463 h 152363"/>
                <a:gd name="connsiteX43" fmla="*/ 113352 w 193315"/>
                <a:gd name="connsiteY43" fmla="*/ 14529 h 152363"/>
                <a:gd name="connsiteX44" fmla="*/ 103483 w 193315"/>
                <a:gd name="connsiteY44" fmla="*/ 9595 h 152363"/>
                <a:gd name="connsiteX45" fmla="*/ 97514 w 193315"/>
                <a:gd name="connsiteY45" fmla="*/ 11223 h 152363"/>
                <a:gd name="connsiteX46" fmla="*/ 91494 w 193315"/>
                <a:gd name="connsiteY46" fmla="*/ 4759 h 152363"/>
                <a:gd name="connsiteX47" fmla="*/ 81626 w 193315"/>
                <a:gd name="connsiteY47" fmla="*/ 6338 h 152363"/>
                <a:gd name="connsiteX48" fmla="*/ 73632 w 193315"/>
                <a:gd name="connsiteY48" fmla="*/ 4759 h 152363"/>
                <a:gd name="connsiteX49" fmla="*/ 65640 w 193315"/>
                <a:gd name="connsiteY49" fmla="*/ 4759 h 152363"/>
                <a:gd name="connsiteX50" fmla="*/ 55772 w 193315"/>
                <a:gd name="connsiteY50" fmla="*/ 9693 h 152363"/>
                <a:gd name="connsiteX51" fmla="*/ 53748 w 193315"/>
                <a:gd name="connsiteY51" fmla="*/ 4759 h 152363"/>
                <a:gd name="connsiteX52" fmla="*/ 43881 w 193315"/>
                <a:gd name="connsiteY52" fmla="*/ 4759 h 152363"/>
                <a:gd name="connsiteX53" fmla="*/ 25921 w 193315"/>
                <a:gd name="connsiteY53" fmla="*/ 11223 h 152363"/>
                <a:gd name="connsiteX54" fmla="*/ 17878 w 193315"/>
                <a:gd name="connsiteY54" fmla="*/ 11223 h 152363"/>
                <a:gd name="connsiteX55" fmla="*/ 11908 w 193315"/>
                <a:gd name="connsiteY55" fmla="*/ 21091 h 152363"/>
                <a:gd name="connsiteX56" fmla="*/ 7911 w 193315"/>
                <a:gd name="connsiteY56" fmla="*/ 29183 h 152363"/>
                <a:gd name="connsiteX57" fmla="*/ 1941 w 193315"/>
                <a:gd name="connsiteY57" fmla="*/ 39051 h 152363"/>
                <a:gd name="connsiteX58" fmla="*/ -82 w 193315"/>
                <a:gd name="connsiteY58" fmla="*/ 50399 h 152363"/>
                <a:gd name="connsiteX59" fmla="*/ 3914 w 193315"/>
                <a:gd name="connsiteY59" fmla="*/ 63326 h 152363"/>
                <a:gd name="connsiteX60" fmla="*/ 11908 w 193315"/>
                <a:gd name="connsiteY60" fmla="*/ 66583 h 152363"/>
                <a:gd name="connsiteX61" fmla="*/ 13881 w 193315"/>
                <a:gd name="connsiteY61" fmla="*/ 73046 h 152363"/>
                <a:gd name="connsiteX62" fmla="*/ 13881 w 193315"/>
                <a:gd name="connsiteY62" fmla="*/ 84394 h 152363"/>
                <a:gd name="connsiteX63" fmla="*/ 11908 w 193315"/>
                <a:gd name="connsiteY63" fmla="*/ 89328 h 152363"/>
                <a:gd name="connsiteX64" fmla="*/ 11908 w 193315"/>
                <a:gd name="connsiteY64" fmla="*/ 89328 h 152363"/>
                <a:gd name="connsiteX65" fmla="*/ 17878 w 193315"/>
                <a:gd name="connsiteY65" fmla="*/ 95841 h 152363"/>
                <a:gd name="connsiteX66" fmla="*/ 17878 w 193315"/>
                <a:gd name="connsiteY66" fmla="*/ 102305 h 152363"/>
                <a:gd name="connsiteX67" fmla="*/ 21924 w 193315"/>
                <a:gd name="connsiteY67" fmla="*/ 105562 h 152363"/>
                <a:gd name="connsiteX68" fmla="*/ 21924 w 193315"/>
                <a:gd name="connsiteY68" fmla="*/ 112025 h 152363"/>
                <a:gd name="connsiteX69" fmla="*/ 27943 w 193315"/>
                <a:gd name="connsiteY69" fmla="*/ 118489 h 152363"/>
                <a:gd name="connsiteX70" fmla="*/ 29917 w 193315"/>
                <a:gd name="connsiteY70" fmla="*/ 116860 h 152363"/>
                <a:gd name="connsiteX71" fmla="*/ 31940 w 193315"/>
                <a:gd name="connsiteY71" fmla="*/ 123324 h 152363"/>
                <a:gd name="connsiteX72" fmla="*/ 31940 w 193315"/>
                <a:gd name="connsiteY72" fmla="*/ 128258 h 152363"/>
                <a:gd name="connsiteX73" fmla="*/ 33914 w 193315"/>
                <a:gd name="connsiteY73" fmla="*/ 131515 h 152363"/>
                <a:gd name="connsiteX74" fmla="*/ 35936 w 193315"/>
                <a:gd name="connsiteY74" fmla="*/ 136449 h 152363"/>
                <a:gd name="connsiteX75" fmla="*/ 47926 w 193315"/>
                <a:gd name="connsiteY75" fmla="*/ 136449 h 152363"/>
                <a:gd name="connsiteX76" fmla="*/ 47926 w 193315"/>
                <a:gd name="connsiteY76" fmla="*/ 131515 h 152363"/>
                <a:gd name="connsiteX77" fmla="*/ 51923 w 193315"/>
                <a:gd name="connsiteY77" fmla="*/ 128258 h 152363"/>
                <a:gd name="connsiteX78" fmla="*/ 53896 w 193315"/>
                <a:gd name="connsiteY78" fmla="*/ 125002 h 152363"/>
                <a:gd name="connsiteX79" fmla="*/ 53896 w 193315"/>
                <a:gd name="connsiteY79" fmla="*/ 129936 h 152363"/>
                <a:gd name="connsiteX80" fmla="*/ 55920 w 193315"/>
                <a:gd name="connsiteY80" fmla="*/ 134870 h 152363"/>
                <a:gd name="connsiteX81" fmla="*/ 55920 w 193315"/>
                <a:gd name="connsiteY81" fmla="*/ 138126 h 152363"/>
                <a:gd name="connsiteX82" fmla="*/ 51923 w 193315"/>
                <a:gd name="connsiteY82" fmla="*/ 143060 h 152363"/>
                <a:gd name="connsiteX83" fmla="*/ 53896 w 193315"/>
                <a:gd name="connsiteY83" fmla="*/ 146267 h 152363"/>
                <a:gd name="connsiteX84" fmla="*/ 55920 w 193315"/>
                <a:gd name="connsiteY84" fmla="*/ 147895 h 152363"/>
                <a:gd name="connsiteX85" fmla="*/ 57942 w 193315"/>
                <a:gd name="connsiteY85" fmla="*/ 147895 h 152363"/>
                <a:gd name="connsiteX86" fmla="*/ 63912 w 193315"/>
                <a:gd name="connsiteY86" fmla="*/ 142961 h 152363"/>
                <a:gd name="connsiteX87" fmla="*/ 65935 w 193315"/>
                <a:gd name="connsiteY87" fmla="*/ 141333 h 152363"/>
                <a:gd name="connsiteX88" fmla="*/ 67959 w 193315"/>
                <a:gd name="connsiteY88" fmla="*/ 144590 h 152363"/>
                <a:gd name="connsiteX89" fmla="*/ 77827 w 193315"/>
                <a:gd name="connsiteY89" fmla="*/ 146169 h 152363"/>
                <a:gd name="connsiteX90" fmla="*/ 79800 w 193315"/>
                <a:gd name="connsiteY90" fmla="*/ 144590 h 152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93315" h="152363">
                  <a:moveTo>
                    <a:pt x="85425" y="152336"/>
                  </a:moveTo>
                  <a:lnTo>
                    <a:pt x="91445" y="144244"/>
                  </a:lnTo>
                  <a:lnTo>
                    <a:pt x="99437" y="142616"/>
                  </a:lnTo>
                  <a:lnTo>
                    <a:pt x="103434" y="132748"/>
                  </a:lnTo>
                  <a:lnTo>
                    <a:pt x="113302" y="132748"/>
                  </a:lnTo>
                  <a:lnTo>
                    <a:pt x="115275" y="135955"/>
                  </a:lnTo>
                  <a:lnTo>
                    <a:pt x="133335" y="132748"/>
                  </a:lnTo>
                  <a:lnTo>
                    <a:pt x="139305" y="135955"/>
                  </a:lnTo>
                  <a:lnTo>
                    <a:pt x="141278" y="139212"/>
                  </a:lnTo>
                  <a:lnTo>
                    <a:pt x="153318" y="139212"/>
                  </a:lnTo>
                  <a:lnTo>
                    <a:pt x="151294" y="132748"/>
                  </a:lnTo>
                  <a:lnTo>
                    <a:pt x="151294" y="127814"/>
                  </a:lnTo>
                  <a:lnTo>
                    <a:pt x="143301" y="122880"/>
                  </a:lnTo>
                  <a:lnTo>
                    <a:pt x="135308" y="117946"/>
                  </a:lnTo>
                  <a:lnTo>
                    <a:pt x="135308" y="108078"/>
                  </a:lnTo>
                  <a:lnTo>
                    <a:pt x="141278" y="103144"/>
                  </a:lnTo>
                  <a:lnTo>
                    <a:pt x="155291" y="103144"/>
                  </a:lnTo>
                  <a:lnTo>
                    <a:pt x="159337" y="98210"/>
                  </a:lnTo>
                  <a:lnTo>
                    <a:pt x="169205" y="90069"/>
                  </a:lnTo>
                  <a:lnTo>
                    <a:pt x="181195" y="86861"/>
                  </a:lnTo>
                  <a:lnTo>
                    <a:pt x="183217" y="83605"/>
                  </a:lnTo>
                  <a:lnTo>
                    <a:pt x="187214" y="81977"/>
                  </a:lnTo>
                  <a:lnTo>
                    <a:pt x="193233" y="72109"/>
                  </a:lnTo>
                  <a:lnTo>
                    <a:pt x="191211" y="64017"/>
                  </a:lnTo>
                  <a:lnTo>
                    <a:pt x="193233" y="54149"/>
                  </a:lnTo>
                  <a:lnTo>
                    <a:pt x="191211" y="49215"/>
                  </a:lnTo>
                  <a:lnTo>
                    <a:pt x="193233" y="39347"/>
                  </a:lnTo>
                  <a:lnTo>
                    <a:pt x="187214" y="24544"/>
                  </a:lnTo>
                  <a:lnTo>
                    <a:pt x="181195" y="21288"/>
                  </a:lnTo>
                  <a:lnTo>
                    <a:pt x="175225" y="11420"/>
                  </a:lnTo>
                  <a:lnTo>
                    <a:pt x="169205" y="11420"/>
                  </a:lnTo>
                  <a:lnTo>
                    <a:pt x="163235" y="6486"/>
                  </a:lnTo>
                  <a:lnTo>
                    <a:pt x="157215" y="4907"/>
                  </a:lnTo>
                  <a:lnTo>
                    <a:pt x="155192" y="-27"/>
                  </a:lnTo>
                  <a:lnTo>
                    <a:pt x="141179" y="1601"/>
                  </a:lnTo>
                  <a:lnTo>
                    <a:pt x="135209" y="9693"/>
                  </a:lnTo>
                  <a:lnTo>
                    <a:pt x="141179" y="16157"/>
                  </a:lnTo>
                  <a:lnTo>
                    <a:pt x="141179" y="21091"/>
                  </a:lnTo>
                  <a:lnTo>
                    <a:pt x="143203" y="27604"/>
                  </a:lnTo>
                  <a:lnTo>
                    <a:pt x="143203" y="32538"/>
                  </a:lnTo>
                  <a:lnTo>
                    <a:pt x="131212" y="27604"/>
                  </a:lnTo>
                  <a:lnTo>
                    <a:pt x="125193" y="19463"/>
                  </a:lnTo>
                  <a:lnTo>
                    <a:pt x="115325" y="19463"/>
                  </a:lnTo>
                  <a:lnTo>
                    <a:pt x="113352" y="14529"/>
                  </a:lnTo>
                  <a:lnTo>
                    <a:pt x="103483" y="9595"/>
                  </a:lnTo>
                  <a:lnTo>
                    <a:pt x="97514" y="11223"/>
                  </a:lnTo>
                  <a:lnTo>
                    <a:pt x="91494" y="4759"/>
                  </a:lnTo>
                  <a:lnTo>
                    <a:pt x="81626" y="6338"/>
                  </a:lnTo>
                  <a:lnTo>
                    <a:pt x="73632" y="4759"/>
                  </a:lnTo>
                  <a:lnTo>
                    <a:pt x="65640" y="4759"/>
                  </a:lnTo>
                  <a:lnTo>
                    <a:pt x="55772" y="9693"/>
                  </a:lnTo>
                  <a:lnTo>
                    <a:pt x="53748" y="4759"/>
                  </a:lnTo>
                  <a:lnTo>
                    <a:pt x="43881" y="4759"/>
                  </a:lnTo>
                  <a:lnTo>
                    <a:pt x="25921" y="11223"/>
                  </a:lnTo>
                  <a:lnTo>
                    <a:pt x="17878" y="11223"/>
                  </a:lnTo>
                  <a:lnTo>
                    <a:pt x="11908" y="21091"/>
                  </a:lnTo>
                  <a:lnTo>
                    <a:pt x="7911" y="29183"/>
                  </a:lnTo>
                  <a:lnTo>
                    <a:pt x="1941" y="39051"/>
                  </a:lnTo>
                  <a:lnTo>
                    <a:pt x="-82" y="50399"/>
                  </a:lnTo>
                  <a:lnTo>
                    <a:pt x="3914" y="63326"/>
                  </a:lnTo>
                  <a:lnTo>
                    <a:pt x="11908" y="66583"/>
                  </a:lnTo>
                  <a:lnTo>
                    <a:pt x="13881" y="73046"/>
                  </a:lnTo>
                  <a:lnTo>
                    <a:pt x="13881" y="84394"/>
                  </a:lnTo>
                  <a:lnTo>
                    <a:pt x="11908" y="89328"/>
                  </a:lnTo>
                  <a:lnTo>
                    <a:pt x="11908" y="89328"/>
                  </a:lnTo>
                  <a:lnTo>
                    <a:pt x="17878" y="95841"/>
                  </a:lnTo>
                  <a:lnTo>
                    <a:pt x="17878" y="102305"/>
                  </a:lnTo>
                  <a:lnTo>
                    <a:pt x="21924" y="105562"/>
                  </a:lnTo>
                  <a:lnTo>
                    <a:pt x="21924" y="112025"/>
                  </a:lnTo>
                  <a:lnTo>
                    <a:pt x="27943" y="118489"/>
                  </a:lnTo>
                  <a:lnTo>
                    <a:pt x="29917" y="116860"/>
                  </a:lnTo>
                  <a:lnTo>
                    <a:pt x="31940" y="123324"/>
                  </a:lnTo>
                  <a:lnTo>
                    <a:pt x="31940" y="128258"/>
                  </a:lnTo>
                  <a:lnTo>
                    <a:pt x="33914" y="131515"/>
                  </a:lnTo>
                  <a:lnTo>
                    <a:pt x="35936" y="136449"/>
                  </a:lnTo>
                  <a:lnTo>
                    <a:pt x="47926" y="136449"/>
                  </a:lnTo>
                  <a:lnTo>
                    <a:pt x="47926" y="131515"/>
                  </a:lnTo>
                  <a:lnTo>
                    <a:pt x="51923" y="128258"/>
                  </a:lnTo>
                  <a:lnTo>
                    <a:pt x="53896" y="125002"/>
                  </a:lnTo>
                  <a:lnTo>
                    <a:pt x="53896" y="129936"/>
                  </a:lnTo>
                  <a:lnTo>
                    <a:pt x="55920" y="134870"/>
                  </a:lnTo>
                  <a:lnTo>
                    <a:pt x="55920" y="138126"/>
                  </a:lnTo>
                  <a:lnTo>
                    <a:pt x="51923" y="143060"/>
                  </a:lnTo>
                  <a:lnTo>
                    <a:pt x="53896" y="146267"/>
                  </a:lnTo>
                  <a:lnTo>
                    <a:pt x="55920" y="147895"/>
                  </a:lnTo>
                  <a:lnTo>
                    <a:pt x="57942" y="147895"/>
                  </a:lnTo>
                  <a:lnTo>
                    <a:pt x="63912" y="142961"/>
                  </a:lnTo>
                  <a:lnTo>
                    <a:pt x="65935" y="141333"/>
                  </a:lnTo>
                  <a:lnTo>
                    <a:pt x="67959" y="144590"/>
                  </a:lnTo>
                  <a:lnTo>
                    <a:pt x="77827" y="146169"/>
                  </a:lnTo>
                  <a:lnTo>
                    <a:pt x="79800" y="14459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Graphic 2">
              <a:extLst>
                <a:ext uri="{FF2B5EF4-FFF2-40B4-BE49-F238E27FC236}">
                  <a16:creationId xmlns:a16="http://schemas.microsoft.com/office/drawing/2014/main" id="{BECD36E7-6F69-4D4E-A0D8-0F699A353B67}"/>
                </a:ext>
              </a:extLst>
            </p:cNvPr>
            <p:cNvSpPr/>
            <p:nvPr/>
          </p:nvSpPr>
          <p:spPr>
            <a:xfrm>
              <a:off x="8670363" y="3983051"/>
              <a:ext cx="268822" cy="253259"/>
            </a:xfrm>
            <a:custGeom>
              <a:avLst/>
              <a:gdLst>
                <a:gd name="connsiteX0" fmla="*/ 33420 w 295893"/>
                <a:gd name="connsiteY0" fmla="*/ 31896 h 278772"/>
                <a:gd name="connsiteX1" fmla="*/ 37368 w 295893"/>
                <a:gd name="connsiteY1" fmla="*/ 34807 h 278772"/>
                <a:gd name="connsiteX2" fmla="*/ 41315 w 295893"/>
                <a:gd name="connsiteY2" fmla="*/ 39149 h 278772"/>
                <a:gd name="connsiteX3" fmla="*/ 51183 w 295893"/>
                <a:gd name="connsiteY3" fmla="*/ 37669 h 278772"/>
                <a:gd name="connsiteX4" fmla="*/ 57104 w 295893"/>
                <a:gd name="connsiteY4" fmla="*/ 39149 h 278772"/>
                <a:gd name="connsiteX5" fmla="*/ 55130 w 295893"/>
                <a:gd name="connsiteY5" fmla="*/ 31896 h 278772"/>
                <a:gd name="connsiteX6" fmla="*/ 55130 w 295893"/>
                <a:gd name="connsiteY6" fmla="*/ 23213 h 278772"/>
                <a:gd name="connsiteX7" fmla="*/ 53157 w 295893"/>
                <a:gd name="connsiteY7" fmla="*/ 17390 h 278772"/>
                <a:gd name="connsiteX8" fmla="*/ 51183 w 295893"/>
                <a:gd name="connsiteY8" fmla="*/ 8706 h 278772"/>
                <a:gd name="connsiteX9" fmla="*/ 57104 w 295893"/>
                <a:gd name="connsiteY9" fmla="*/ 5795 h 278772"/>
                <a:gd name="connsiteX10" fmla="*/ 57104 w 295893"/>
                <a:gd name="connsiteY10" fmla="*/ -27 h 278772"/>
                <a:gd name="connsiteX11" fmla="*/ 68945 w 295893"/>
                <a:gd name="connsiteY11" fmla="*/ -27 h 278772"/>
                <a:gd name="connsiteX12" fmla="*/ 70919 w 295893"/>
                <a:gd name="connsiteY12" fmla="*/ 5795 h 278772"/>
                <a:gd name="connsiteX13" fmla="*/ 84735 w 295893"/>
                <a:gd name="connsiteY13" fmla="*/ 8706 h 278772"/>
                <a:gd name="connsiteX14" fmla="*/ 90655 w 295893"/>
                <a:gd name="connsiteY14" fmla="*/ 15959 h 278772"/>
                <a:gd name="connsiteX15" fmla="*/ 96576 w 295893"/>
                <a:gd name="connsiteY15" fmla="*/ 20301 h 278772"/>
                <a:gd name="connsiteX16" fmla="*/ 98549 w 295893"/>
                <a:gd name="connsiteY16" fmla="*/ 26074 h 278772"/>
                <a:gd name="connsiteX17" fmla="*/ 96576 w 295893"/>
                <a:gd name="connsiteY17" fmla="*/ 31896 h 278772"/>
                <a:gd name="connsiteX18" fmla="*/ 108418 w 295893"/>
                <a:gd name="connsiteY18" fmla="*/ 42060 h 278772"/>
                <a:gd name="connsiteX19" fmla="*/ 116263 w 295893"/>
                <a:gd name="connsiteY19" fmla="*/ 50744 h 278772"/>
                <a:gd name="connsiteX20" fmla="*/ 132052 w 295893"/>
                <a:gd name="connsiteY20" fmla="*/ 50744 h 278772"/>
                <a:gd name="connsiteX21" fmla="*/ 139946 w 295893"/>
                <a:gd name="connsiteY21" fmla="*/ 53655 h 278772"/>
                <a:gd name="connsiteX22" fmla="*/ 149814 w 295893"/>
                <a:gd name="connsiteY22" fmla="*/ 49313 h 278772"/>
                <a:gd name="connsiteX23" fmla="*/ 159683 w 295893"/>
                <a:gd name="connsiteY23" fmla="*/ 49313 h 278772"/>
                <a:gd name="connsiteX24" fmla="*/ 163629 w 295893"/>
                <a:gd name="connsiteY24" fmla="*/ 53655 h 278772"/>
                <a:gd name="connsiteX25" fmla="*/ 173497 w 295893"/>
                <a:gd name="connsiteY25" fmla="*/ 56566 h 278772"/>
                <a:gd name="connsiteX26" fmla="*/ 173497 w 295893"/>
                <a:gd name="connsiteY26" fmla="*/ 68408 h 278772"/>
                <a:gd name="connsiteX27" fmla="*/ 185340 w 295893"/>
                <a:gd name="connsiteY27" fmla="*/ 69839 h 278772"/>
                <a:gd name="connsiteX28" fmla="*/ 185340 w 295893"/>
                <a:gd name="connsiteY28" fmla="*/ 74230 h 278772"/>
                <a:gd name="connsiteX29" fmla="*/ 177445 w 295893"/>
                <a:gd name="connsiteY29" fmla="*/ 75661 h 278772"/>
                <a:gd name="connsiteX30" fmla="*/ 173497 w 295893"/>
                <a:gd name="connsiteY30" fmla="*/ 87306 h 278772"/>
                <a:gd name="connsiteX31" fmla="*/ 171524 w 295893"/>
                <a:gd name="connsiteY31" fmla="*/ 90167 h 278772"/>
                <a:gd name="connsiteX32" fmla="*/ 163629 w 295893"/>
                <a:gd name="connsiteY32" fmla="*/ 91598 h 278772"/>
                <a:gd name="connsiteX33" fmla="*/ 153762 w 295893"/>
                <a:gd name="connsiteY33" fmla="*/ 94558 h 278772"/>
                <a:gd name="connsiteX34" fmla="*/ 149814 w 295893"/>
                <a:gd name="connsiteY34" fmla="*/ 94558 h 278772"/>
                <a:gd name="connsiteX35" fmla="*/ 149814 w 295893"/>
                <a:gd name="connsiteY35" fmla="*/ 98900 h 278772"/>
                <a:gd name="connsiteX36" fmla="*/ 157708 w 295893"/>
                <a:gd name="connsiteY36" fmla="*/ 107584 h 278772"/>
                <a:gd name="connsiteX37" fmla="*/ 151788 w 295893"/>
                <a:gd name="connsiteY37" fmla="*/ 111926 h 278772"/>
                <a:gd name="connsiteX38" fmla="*/ 153762 w 295893"/>
                <a:gd name="connsiteY38" fmla="*/ 114837 h 278772"/>
                <a:gd name="connsiteX39" fmla="*/ 159683 w 295893"/>
                <a:gd name="connsiteY39" fmla="*/ 114837 h 278772"/>
                <a:gd name="connsiteX40" fmla="*/ 163629 w 295893"/>
                <a:gd name="connsiteY40" fmla="*/ 122090 h 278772"/>
                <a:gd name="connsiteX41" fmla="*/ 175472 w 295893"/>
                <a:gd name="connsiteY41" fmla="*/ 123521 h 278772"/>
                <a:gd name="connsiteX42" fmla="*/ 187313 w 295893"/>
                <a:gd name="connsiteY42" fmla="*/ 127913 h 278772"/>
                <a:gd name="connsiteX43" fmla="*/ 193233 w 295893"/>
                <a:gd name="connsiteY43" fmla="*/ 127913 h 278772"/>
                <a:gd name="connsiteX44" fmla="*/ 203101 w 295893"/>
                <a:gd name="connsiteY44" fmla="*/ 139507 h 278772"/>
                <a:gd name="connsiteX45" fmla="*/ 212969 w 295893"/>
                <a:gd name="connsiteY45" fmla="*/ 142369 h 278772"/>
                <a:gd name="connsiteX46" fmla="*/ 220864 w 295893"/>
                <a:gd name="connsiteY46" fmla="*/ 151103 h 278772"/>
                <a:gd name="connsiteX47" fmla="*/ 220864 w 295893"/>
                <a:gd name="connsiteY47" fmla="*/ 155445 h 278772"/>
                <a:gd name="connsiteX48" fmla="*/ 230732 w 295893"/>
                <a:gd name="connsiteY48" fmla="*/ 165609 h 278772"/>
                <a:gd name="connsiteX49" fmla="*/ 234680 w 295893"/>
                <a:gd name="connsiteY49" fmla="*/ 172862 h 278772"/>
                <a:gd name="connsiteX50" fmla="*/ 238627 w 295893"/>
                <a:gd name="connsiteY50" fmla="*/ 174293 h 278772"/>
                <a:gd name="connsiteX51" fmla="*/ 246521 w 295893"/>
                <a:gd name="connsiteY51" fmla="*/ 174293 h 278772"/>
                <a:gd name="connsiteX52" fmla="*/ 250469 w 295893"/>
                <a:gd name="connsiteY52" fmla="*/ 178684 h 278772"/>
                <a:gd name="connsiteX53" fmla="*/ 254416 w 295893"/>
                <a:gd name="connsiteY53" fmla="*/ 185937 h 278772"/>
                <a:gd name="connsiteX54" fmla="*/ 258364 w 295893"/>
                <a:gd name="connsiteY54" fmla="*/ 188799 h 278772"/>
                <a:gd name="connsiteX55" fmla="*/ 260337 w 295893"/>
                <a:gd name="connsiteY55" fmla="*/ 188799 h 278772"/>
                <a:gd name="connsiteX56" fmla="*/ 266257 w 295893"/>
                <a:gd name="connsiteY56" fmla="*/ 190279 h 278772"/>
                <a:gd name="connsiteX57" fmla="*/ 264284 w 295893"/>
                <a:gd name="connsiteY57" fmla="*/ 194621 h 278772"/>
                <a:gd name="connsiteX58" fmla="*/ 268232 w 295893"/>
                <a:gd name="connsiteY58" fmla="*/ 197532 h 278772"/>
                <a:gd name="connsiteX59" fmla="*/ 276125 w 295893"/>
                <a:gd name="connsiteY59" fmla="*/ 197532 h 278772"/>
                <a:gd name="connsiteX60" fmla="*/ 280023 w 295893"/>
                <a:gd name="connsiteY60" fmla="*/ 203354 h 278772"/>
                <a:gd name="connsiteX61" fmla="*/ 281997 w 295893"/>
                <a:gd name="connsiteY61" fmla="*/ 203354 h 278772"/>
                <a:gd name="connsiteX62" fmla="*/ 291865 w 295893"/>
                <a:gd name="connsiteY62" fmla="*/ 201874 h 278772"/>
                <a:gd name="connsiteX63" fmla="*/ 293839 w 295893"/>
                <a:gd name="connsiteY63" fmla="*/ 207646 h 278772"/>
                <a:gd name="connsiteX64" fmla="*/ 287918 w 295893"/>
                <a:gd name="connsiteY64" fmla="*/ 210607 h 278772"/>
                <a:gd name="connsiteX65" fmla="*/ 287918 w 295893"/>
                <a:gd name="connsiteY65" fmla="*/ 217860 h 278772"/>
                <a:gd name="connsiteX66" fmla="*/ 289891 w 295893"/>
                <a:gd name="connsiteY66" fmla="*/ 222202 h 278772"/>
                <a:gd name="connsiteX67" fmla="*/ 295812 w 295893"/>
                <a:gd name="connsiteY67" fmla="*/ 222202 h 278772"/>
                <a:gd name="connsiteX68" fmla="*/ 295812 w 295893"/>
                <a:gd name="connsiteY68" fmla="*/ 229455 h 278772"/>
                <a:gd name="connsiteX69" fmla="*/ 283971 w 295893"/>
                <a:gd name="connsiteY69" fmla="*/ 236708 h 278772"/>
                <a:gd name="connsiteX70" fmla="*/ 287918 w 295893"/>
                <a:gd name="connsiteY70" fmla="*/ 243961 h 278772"/>
                <a:gd name="connsiteX71" fmla="*/ 289891 w 295893"/>
                <a:gd name="connsiteY71" fmla="*/ 246823 h 278772"/>
                <a:gd name="connsiteX72" fmla="*/ 291865 w 295893"/>
                <a:gd name="connsiteY72" fmla="*/ 255556 h 278772"/>
                <a:gd name="connsiteX73" fmla="*/ 281997 w 295893"/>
                <a:gd name="connsiteY73" fmla="*/ 259898 h 278772"/>
                <a:gd name="connsiteX74" fmla="*/ 276125 w 295893"/>
                <a:gd name="connsiteY74" fmla="*/ 259898 h 278772"/>
                <a:gd name="connsiteX75" fmla="*/ 270205 w 295893"/>
                <a:gd name="connsiteY75" fmla="*/ 255556 h 278772"/>
                <a:gd name="connsiteX76" fmla="*/ 264284 w 295893"/>
                <a:gd name="connsiteY76" fmla="*/ 254076 h 278772"/>
                <a:gd name="connsiteX77" fmla="*/ 262310 w 295893"/>
                <a:gd name="connsiteY77" fmla="*/ 249783 h 278772"/>
                <a:gd name="connsiteX78" fmla="*/ 248495 w 295893"/>
                <a:gd name="connsiteY78" fmla="*/ 251214 h 278772"/>
                <a:gd name="connsiteX79" fmla="*/ 242574 w 295893"/>
                <a:gd name="connsiteY79" fmla="*/ 258418 h 278772"/>
                <a:gd name="connsiteX80" fmla="*/ 248495 w 295893"/>
                <a:gd name="connsiteY80" fmla="*/ 264240 h 278772"/>
                <a:gd name="connsiteX81" fmla="*/ 248495 w 295893"/>
                <a:gd name="connsiteY81" fmla="*/ 268631 h 278772"/>
                <a:gd name="connsiteX82" fmla="*/ 250469 w 295893"/>
                <a:gd name="connsiteY82" fmla="*/ 274404 h 278772"/>
                <a:gd name="connsiteX83" fmla="*/ 250469 w 295893"/>
                <a:gd name="connsiteY83" fmla="*/ 278746 h 278772"/>
                <a:gd name="connsiteX84" fmla="*/ 238627 w 295893"/>
                <a:gd name="connsiteY84" fmla="*/ 274404 h 278772"/>
                <a:gd name="connsiteX85" fmla="*/ 232706 w 295893"/>
                <a:gd name="connsiteY85" fmla="*/ 267151 h 278772"/>
                <a:gd name="connsiteX86" fmla="*/ 222838 w 295893"/>
                <a:gd name="connsiteY86" fmla="*/ 267151 h 278772"/>
                <a:gd name="connsiteX87" fmla="*/ 220864 w 295893"/>
                <a:gd name="connsiteY87" fmla="*/ 262809 h 278772"/>
                <a:gd name="connsiteX88" fmla="*/ 210996 w 295893"/>
                <a:gd name="connsiteY88" fmla="*/ 258418 h 278772"/>
                <a:gd name="connsiteX89" fmla="*/ 212969 w 295893"/>
                <a:gd name="connsiteY89" fmla="*/ 255556 h 278772"/>
                <a:gd name="connsiteX90" fmla="*/ 220864 w 295893"/>
                <a:gd name="connsiteY90" fmla="*/ 251214 h 278772"/>
                <a:gd name="connsiteX91" fmla="*/ 220864 w 295893"/>
                <a:gd name="connsiteY91" fmla="*/ 241050 h 278772"/>
                <a:gd name="connsiteX92" fmla="*/ 218891 w 295893"/>
                <a:gd name="connsiteY92" fmla="*/ 236708 h 278772"/>
                <a:gd name="connsiteX93" fmla="*/ 220864 w 295893"/>
                <a:gd name="connsiteY93" fmla="*/ 229455 h 278772"/>
                <a:gd name="connsiteX94" fmla="*/ 220864 w 295893"/>
                <a:gd name="connsiteY94" fmla="*/ 226297 h 278772"/>
                <a:gd name="connsiteX95" fmla="*/ 222838 w 295893"/>
                <a:gd name="connsiteY95" fmla="*/ 220475 h 278772"/>
                <a:gd name="connsiteX96" fmla="*/ 220864 w 295893"/>
                <a:gd name="connsiteY96" fmla="*/ 216133 h 278772"/>
                <a:gd name="connsiteX97" fmla="*/ 210996 w 295893"/>
                <a:gd name="connsiteY97" fmla="*/ 211791 h 278772"/>
                <a:gd name="connsiteX98" fmla="*/ 212969 w 295893"/>
                <a:gd name="connsiteY98" fmla="*/ 208880 h 278772"/>
                <a:gd name="connsiteX99" fmla="*/ 207049 w 295893"/>
                <a:gd name="connsiteY99" fmla="*/ 204538 h 278772"/>
                <a:gd name="connsiteX100" fmla="*/ 201178 w 295893"/>
                <a:gd name="connsiteY100" fmla="*/ 204538 h 278772"/>
                <a:gd name="connsiteX101" fmla="*/ 193332 w 295893"/>
                <a:gd name="connsiteY101" fmla="*/ 198716 h 278772"/>
                <a:gd name="connsiteX102" fmla="*/ 187411 w 295893"/>
                <a:gd name="connsiteY102" fmla="*/ 194374 h 278772"/>
                <a:gd name="connsiteX103" fmla="*/ 189386 w 295893"/>
                <a:gd name="connsiteY103" fmla="*/ 190032 h 278772"/>
                <a:gd name="connsiteX104" fmla="*/ 189386 w 295893"/>
                <a:gd name="connsiteY104" fmla="*/ 182779 h 278772"/>
                <a:gd name="connsiteX105" fmla="*/ 185438 w 295893"/>
                <a:gd name="connsiteY105" fmla="*/ 174046 h 278772"/>
                <a:gd name="connsiteX106" fmla="*/ 187411 w 295893"/>
                <a:gd name="connsiteY106" fmla="*/ 171184 h 278772"/>
                <a:gd name="connsiteX107" fmla="*/ 189386 w 295893"/>
                <a:gd name="connsiteY107" fmla="*/ 166793 h 278772"/>
                <a:gd name="connsiteX108" fmla="*/ 185438 w 295893"/>
                <a:gd name="connsiteY108" fmla="*/ 160971 h 278772"/>
                <a:gd name="connsiteX109" fmla="*/ 175570 w 295893"/>
                <a:gd name="connsiteY109" fmla="*/ 153767 h 278772"/>
                <a:gd name="connsiteX110" fmla="*/ 161755 w 295893"/>
                <a:gd name="connsiteY110" fmla="*/ 145083 h 278772"/>
                <a:gd name="connsiteX111" fmla="*/ 155834 w 295893"/>
                <a:gd name="connsiteY111" fmla="*/ 137781 h 278772"/>
                <a:gd name="connsiteX112" fmla="*/ 138071 w 295893"/>
                <a:gd name="connsiteY112" fmla="*/ 133439 h 278772"/>
                <a:gd name="connsiteX113" fmla="*/ 128203 w 295893"/>
                <a:gd name="connsiteY113" fmla="*/ 136350 h 278772"/>
                <a:gd name="connsiteX114" fmla="*/ 120309 w 295893"/>
                <a:gd name="connsiteY114" fmla="*/ 147945 h 278772"/>
                <a:gd name="connsiteX115" fmla="*/ 104569 w 295893"/>
                <a:gd name="connsiteY115" fmla="*/ 149376 h 278772"/>
                <a:gd name="connsiteX116" fmla="*/ 98648 w 295893"/>
                <a:gd name="connsiteY116" fmla="*/ 143603 h 278772"/>
                <a:gd name="connsiteX117" fmla="*/ 90754 w 295893"/>
                <a:gd name="connsiteY117" fmla="*/ 143603 h 278772"/>
                <a:gd name="connsiteX118" fmla="*/ 76938 w 295893"/>
                <a:gd name="connsiteY118" fmla="*/ 139261 h 278772"/>
                <a:gd name="connsiteX119" fmla="*/ 67070 w 295893"/>
                <a:gd name="connsiteY119" fmla="*/ 143603 h 278772"/>
                <a:gd name="connsiteX120" fmla="*/ 65097 w 295893"/>
                <a:gd name="connsiteY120" fmla="*/ 149376 h 278772"/>
                <a:gd name="connsiteX121" fmla="*/ 57202 w 295893"/>
                <a:gd name="connsiteY121" fmla="*/ 150856 h 278772"/>
                <a:gd name="connsiteX122" fmla="*/ 47334 w 295893"/>
                <a:gd name="connsiteY122" fmla="*/ 153767 h 278772"/>
                <a:gd name="connsiteX123" fmla="*/ 47334 w 295893"/>
                <a:gd name="connsiteY123" fmla="*/ 129097 h 278772"/>
                <a:gd name="connsiteX124" fmla="*/ 41414 w 295893"/>
                <a:gd name="connsiteY124" fmla="*/ 121844 h 278772"/>
                <a:gd name="connsiteX125" fmla="*/ 47334 w 295893"/>
                <a:gd name="connsiteY125" fmla="*/ 117502 h 278772"/>
                <a:gd name="connsiteX126" fmla="*/ 49308 w 295893"/>
                <a:gd name="connsiteY126" fmla="*/ 113160 h 278772"/>
                <a:gd name="connsiteX127" fmla="*/ 43387 w 295893"/>
                <a:gd name="connsiteY127" fmla="*/ 107338 h 278772"/>
                <a:gd name="connsiteX128" fmla="*/ 49308 w 295893"/>
                <a:gd name="connsiteY128" fmla="*/ 100085 h 278772"/>
                <a:gd name="connsiteX129" fmla="*/ 47334 w 295893"/>
                <a:gd name="connsiteY129" fmla="*/ 95743 h 278772"/>
                <a:gd name="connsiteX130" fmla="*/ 33420 w 295893"/>
                <a:gd name="connsiteY130" fmla="*/ 95743 h 278772"/>
                <a:gd name="connsiteX131" fmla="*/ 27549 w 295893"/>
                <a:gd name="connsiteY131" fmla="*/ 98654 h 278772"/>
                <a:gd name="connsiteX132" fmla="*/ 21628 w 295893"/>
                <a:gd name="connsiteY132" fmla="*/ 97174 h 278772"/>
                <a:gd name="connsiteX133" fmla="*/ 17681 w 295893"/>
                <a:gd name="connsiteY133" fmla="*/ 89920 h 278772"/>
                <a:gd name="connsiteX134" fmla="*/ 23602 w 295893"/>
                <a:gd name="connsiteY134" fmla="*/ 87059 h 278772"/>
                <a:gd name="connsiteX135" fmla="*/ 21628 w 295893"/>
                <a:gd name="connsiteY135" fmla="*/ 76845 h 278772"/>
                <a:gd name="connsiteX136" fmla="*/ 13734 w 295893"/>
                <a:gd name="connsiteY136" fmla="*/ 69592 h 278772"/>
                <a:gd name="connsiteX137" fmla="*/ 3866 w 295893"/>
                <a:gd name="connsiteY137" fmla="*/ 71072 h 278772"/>
                <a:gd name="connsiteX138" fmla="*/ -82 w 295893"/>
                <a:gd name="connsiteY138" fmla="*/ 65250 h 278772"/>
                <a:gd name="connsiteX139" fmla="*/ 3866 w 295893"/>
                <a:gd name="connsiteY139" fmla="*/ 57997 h 278772"/>
                <a:gd name="connsiteX140" fmla="*/ 7813 w 295893"/>
                <a:gd name="connsiteY140" fmla="*/ 57997 h 278772"/>
                <a:gd name="connsiteX141" fmla="*/ 15707 w 295893"/>
                <a:gd name="connsiteY141" fmla="*/ 52224 h 278772"/>
                <a:gd name="connsiteX142" fmla="*/ 13734 w 295893"/>
                <a:gd name="connsiteY142" fmla="*/ 47883 h 278772"/>
                <a:gd name="connsiteX143" fmla="*/ 17681 w 295893"/>
                <a:gd name="connsiteY143" fmla="*/ 43491 h 278772"/>
                <a:gd name="connsiteX144" fmla="*/ 17681 w 295893"/>
                <a:gd name="connsiteY144" fmla="*/ 39149 h 278772"/>
                <a:gd name="connsiteX145" fmla="*/ 27549 w 295893"/>
                <a:gd name="connsiteY145" fmla="*/ 37669 h 27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5893" h="278772">
                  <a:moveTo>
                    <a:pt x="33420" y="31896"/>
                  </a:moveTo>
                  <a:lnTo>
                    <a:pt x="37368" y="34807"/>
                  </a:lnTo>
                  <a:lnTo>
                    <a:pt x="41315" y="39149"/>
                  </a:lnTo>
                  <a:lnTo>
                    <a:pt x="51183" y="37669"/>
                  </a:lnTo>
                  <a:lnTo>
                    <a:pt x="57104" y="39149"/>
                  </a:lnTo>
                  <a:lnTo>
                    <a:pt x="55130" y="31896"/>
                  </a:lnTo>
                  <a:lnTo>
                    <a:pt x="55130" y="23213"/>
                  </a:lnTo>
                  <a:lnTo>
                    <a:pt x="53157" y="17390"/>
                  </a:lnTo>
                  <a:lnTo>
                    <a:pt x="51183" y="8706"/>
                  </a:lnTo>
                  <a:lnTo>
                    <a:pt x="57104" y="5795"/>
                  </a:lnTo>
                  <a:lnTo>
                    <a:pt x="57104" y="-27"/>
                  </a:lnTo>
                  <a:lnTo>
                    <a:pt x="68945" y="-27"/>
                  </a:lnTo>
                  <a:lnTo>
                    <a:pt x="70919" y="5795"/>
                  </a:lnTo>
                  <a:lnTo>
                    <a:pt x="84735" y="8706"/>
                  </a:lnTo>
                  <a:lnTo>
                    <a:pt x="90655" y="15959"/>
                  </a:lnTo>
                  <a:lnTo>
                    <a:pt x="96576" y="20301"/>
                  </a:lnTo>
                  <a:lnTo>
                    <a:pt x="98549" y="26074"/>
                  </a:lnTo>
                  <a:lnTo>
                    <a:pt x="96576" y="31896"/>
                  </a:lnTo>
                  <a:lnTo>
                    <a:pt x="108418" y="42060"/>
                  </a:lnTo>
                  <a:lnTo>
                    <a:pt x="116263" y="50744"/>
                  </a:lnTo>
                  <a:lnTo>
                    <a:pt x="132052" y="50744"/>
                  </a:lnTo>
                  <a:lnTo>
                    <a:pt x="139946" y="53655"/>
                  </a:lnTo>
                  <a:lnTo>
                    <a:pt x="149814" y="49313"/>
                  </a:lnTo>
                  <a:lnTo>
                    <a:pt x="159683" y="49313"/>
                  </a:lnTo>
                  <a:lnTo>
                    <a:pt x="163629" y="53655"/>
                  </a:lnTo>
                  <a:lnTo>
                    <a:pt x="173497" y="56566"/>
                  </a:lnTo>
                  <a:lnTo>
                    <a:pt x="173497" y="68408"/>
                  </a:lnTo>
                  <a:lnTo>
                    <a:pt x="185340" y="69839"/>
                  </a:lnTo>
                  <a:lnTo>
                    <a:pt x="185340" y="74230"/>
                  </a:lnTo>
                  <a:lnTo>
                    <a:pt x="177445" y="75661"/>
                  </a:lnTo>
                  <a:lnTo>
                    <a:pt x="173497" y="87306"/>
                  </a:lnTo>
                  <a:lnTo>
                    <a:pt x="171524" y="90167"/>
                  </a:lnTo>
                  <a:lnTo>
                    <a:pt x="163629" y="91598"/>
                  </a:lnTo>
                  <a:lnTo>
                    <a:pt x="153762" y="94558"/>
                  </a:lnTo>
                  <a:lnTo>
                    <a:pt x="149814" y="94558"/>
                  </a:lnTo>
                  <a:lnTo>
                    <a:pt x="149814" y="98900"/>
                  </a:lnTo>
                  <a:lnTo>
                    <a:pt x="157708" y="107584"/>
                  </a:lnTo>
                  <a:lnTo>
                    <a:pt x="151788" y="111926"/>
                  </a:lnTo>
                  <a:lnTo>
                    <a:pt x="153762" y="114837"/>
                  </a:lnTo>
                  <a:lnTo>
                    <a:pt x="159683" y="114837"/>
                  </a:lnTo>
                  <a:lnTo>
                    <a:pt x="163629" y="122090"/>
                  </a:lnTo>
                  <a:lnTo>
                    <a:pt x="175472" y="123521"/>
                  </a:lnTo>
                  <a:lnTo>
                    <a:pt x="187313" y="127913"/>
                  </a:lnTo>
                  <a:lnTo>
                    <a:pt x="193233" y="127913"/>
                  </a:lnTo>
                  <a:lnTo>
                    <a:pt x="203101" y="139507"/>
                  </a:lnTo>
                  <a:lnTo>
                    <a:pt x="212969" y="142369"/>
                  </a:lnTo>
                  <a:lnTo>
                    <a:pt x="220864" y="151103"/>
                  </a:lnTo>
                  <a:lnTo>
                    <a:pt x="220864" y="155445"/>
                  </a:lnTo>
                  <a:lnTo>
                    <a:pt x="230732" y="165609"/>
                  </a:lnTo>
                  <a:lnTo>
                    <a:pt x="234680" y="172862"/>
                  </a:lnTo>
                  <a:lnTo>
                    <a:pt x="238627" y="174293"/>
                  </a:lnTo>
                  <a:lnTo>
                    <a:pt x="246521" y="174293"/>
                  </a:lnTo>
                  <a:lnTo>
                    <a:pt x="250469" y="178684"/>
                  </a:lnTo>
                  <a:lnTo>
                    <a:pt x="254416" y="185937"/>
                  </a:lnTo>
                  <a:lnTo>
                    <a:pt x="258364" y="188799"/>
                  </a:lnTo>
                  <a:lnTo>
                    <a:pt x="260337" y="188799"/>
                  </a:lnTo>
                  <a:lnTo>
                    <a:pt x="266257" y="190279"/>
                  </a:lnTo>
                  <a:lnTo>
                    <a:pt x="264284" y="194621"/>
                  </a:lnTo>
                  <a:lnTo>
                    <a:pt x="268232" y="197532"/>
                  </a:lnTo>
                  <a:lnTo>
                    <a:pt x="276125" y="197532"/>
                  </a:lnTo>
                  <a:lnTo>
                    <a:pt x="280023" y="203354"/>
                  </a:lnTo>
                  <a:lnTo>
                    <a:pt x="281997" y="203354"/>
                  </a:lnTo>
                  <a:lnTo>
                    <a:pt x="291865" y="201874"/>
                  </a:lnTo>
                  <a:lnTo>
                    <a:pt x="293839" y="207646"/>
                  </a:lnTo>
                  <a:lnTo>
                    <a:pt x="287918" y="210607"/>
                  </a:lnTo>
                  <a:lnTo>
                    <a:pt x="287918" y="217860"/>
                  </a:lnTo>
                  <a:lnTo>
                    <a:pt x="289891" y="222202"/>
                  </a:lnTo>
                  <a:lnTo>
                    <a:pt x="295812" y="222202"/>
                  </a:lnTo>
                  <a:lnTo>
                    <a:pt x="295812" y="229455"/>
                  </a:lnTo>
                  <a:lnTo>
                    <a:pt x="283971" y="236708"/>
                  </a:lnTo>
                  <a:lnTo>
                    <a:pt x="287918" y="243961"/>
                  </a:lnTo>
                  <a:lnTo>
                    <a:pt x="289891" y="246823"/>
                  </a:lnTo>
                  <a:lnTo>
                    <a:pt x="291865" y="255556"/>
                  </a:lnTo>
                  <a:lnTo>
                    <a:pt x="281997" y="259898"/>
                  </a:lnTo>
                  <a:lnTo>
                    <a:pt x="276125" y="259898"/>
                  </a:lnTo>
                  <a:lnTo>
                    <a:pt x="270205" y="255556"/>
                  </a:lnTo>
                  <a:lnTo>
                    <a:pt x="264284" y="254076"/>
                  </a:lnTo>
                  <a:lnTo>
                    <a:pt x="262310" y="249783"/>
                  </a:lnTo>
                  <a:lnTo>
                    <a:pt x="248495" y="251214"/>
                  </a:lnTo>
                  <a:lnTo>
                    <a:pt x="242574" y="258418"/>
                  </a:lnTo>
                  <a:lnTo>
                    <a:pt x="248495" y="264240"/>
                  </a:lnTo>
                  <a:lnTo>
                    <a:pt x="248495" y="268631"/>
                  </a:lnTo>
                  <a:lnTo>
                    <a:pt x="250469" y="274404"/>
                  </a:lnTo>
                  <a:lnTo>
                    <a:pt x="250469" y="278746"/>
                  </a:lnTo>
                  <a:lnTo>
                    <a:pt x="238627" y="274404"/>
                  </a:lnTo>
                  <a:lnTo>
                    <a:pt x="232706" y="267151"/>
                  </a:lnTo>
                  <a:lnTo>
                    <a:pt x="222838" y="267151"/>
                  </a:lnTo>
                  <a:lnTo>
                    <a:pt x="220864" y="262809"/>
                  </a:lnTo>
                  <a:lnTo>
                    <a:pt x="210996" y="258418"/>
                  </a:lnTo>
                  <a:lnTo>
                    <a:pt x="212969" y="255556"/>
                  </a:lnTo>
                  <a:lnTo>
                    <a:pt x="220864" y="251214"/>
                  </a:lnTo>
                  <a:lnTo>
                    <a:pt x="220864" y="241050"/>
                  </a:lnTo>
                  <a:lnTo>
                    <a:pt x="218891" y="236708"/>
                  </a:lnTo>
                  <a:lnTo>
                    <a:pt x="220864" y="229455"/>
                  </a:lnTo>
                  <a:lnTo>
                    <a:pt x="220864" y="226297"/>
                  </a:lnTo>
                  <a:lnTo>
                    <a:pt x="222838" y="220475"/>
                  </a:lnTo>
                  <a:lnTo>
                    <a:pt x="220864" y="216133"/>
                  </a:lnTo>
                  <a:lnTo>
                    <a:pt x="210996" y="211791"/>
                  </a:lnTo>
                  <a:lnTo>
                    <a:pt x="212969" y="208880"/>
                  </a:lnTo>
                  <a:lnTo>
                    <a:pt x="207049" y="204538"/>
                  </a:lnTo>
                  <a:lnTo>
                    <a:pt x="201178" y="204538"/>
                  </a:lnTo>
                  <a:lnTo>
                    <a:pt x="193332" y="198716"/>
                  </a:lnTo>
                  <a:lnTo>
                    <a:pt x="187411" y="194374"/>
                  </a:lnTo>
                  <a:lnTo>
                    <a:pt x="189386" y="190032"/>
                  </a:lnTo>
                  <a:lnTo>
                    <a:pt x="189386" y="182779"/>
                  </a:lnTo>
                  <a:lnTo>
                    <a:pt x="185438" y="174046"/>
                  </a:lnTo>
                  <a:lnTo>
                    <a:pt x="187411" y="171184"/>
                  </a:lnTo>
                  <a:lnTo>
                    <a:pt x="189386" y="166793"/>
                  </a:lnTo>
                  <a:lnTo>
                    <a:pt x="185438" y="160971"/>
                  </a:lnTo>
                  <a:lnTo>
                    <a:pt x="175570" y="153767"/>
                  </a:lnTo>
                  <a:lnTo>
                    <a:pt x="161755" y="145083"/>
                  </a:lnTo>
                  <a:lnTo>
                    <a:pt x="155834" y="137781"/>
                  </a:lnTo>
                  <a:lnTo>
                    <a:pt x="138071" y="133439"/>
                  </a:lnTo>
                  <a:lnTo>
                    <a:pt x="128203" y="136350"/>
                  </a:lnTo>
                  <a:lnTo>
                    <a:pt x="120309" y="147945"/>
                  </a:lnTo>
                  <a:lnTo>
                    <a:pt x="104569" y="149376"/>
                  </a:lnTo>
                  <a:lnTo>
                    <a:pt x="98648" y="143603"/>
                  </a:lnTo>
                  <a:lnTo>
                    <a:pt x="90754" y="143603"/>
                  </a:lnTo>
                  <a:lnTo>
                    <a:pt x="76938" y="139261"/>
                  </a:lnTo>
                  <a:lnTo>
                    <a:pt x="67070" y="143603"/>
                  </a:lnTo>
                  <a:lnTo>
                    <a:pt x="65097" y="149376"/>
                  </a:lnTo>
                  <a:lnTo>
                    <a:pt x="57202" y="150856"/>
                  </a:lnTo>
                  <a:lnTo>
                    <a:pt x="47334" y="153767"/>
                  </a:lnTo>
                  <a:lnTo>
                    <a:pt x="47334" y="129097"/>
                  </a:lnTo>
                  <a:lnTo>
                    <a:pt x="41414" y="121844"/>
                  </a:lnTo>
                  <a:lnTo>
                    <a:pt x="47334" y="117502"/>
                  </a:lnTo>
                  <a:lnTo>
                    <a:pt x="49308" y="113160"/>
                  </a:lnTo>
                  <a:lnTo>
                    <a:pt x="43387" y="107338"/>
                  </a:lnTo>
                  <a:lnTo>
                    <a:pt x="49308" y="100085"/>
                  </a:lnTo>
                  <a:lnTo>
                    <a:pt x="47334" y="95743"/>
                  </a:lnTo>
                  <a:lnTo>
                    <a:pt x="33420" y="95743"/>
                  </a:lnTo>
                  <a:lnTo>
                    <a:pt x="27549" y="98654"/>
                  </a:lnTo>
                  <a:lnTo>
                    <a:pt x="21628" y="97174"/>
                  </a:lnTo>
                  <a:lnTo>
                    <a:pt x="17681" y="89920"/>
                  </a:lnTo>
                  <a:lnTo>
                    <a:pt x="23602" y="87059"/>
                  </a:lnTo>
                  <a:lnTo>
                    <a:pt x="21628" y="76845"/>
                  </a:lnTo>
                  <a:lnTo>
                    <a:pt x="13734" y="69592"/>
                  </a:lnTo>
                  <a:lnTo>
                    <a:pt x="3866" y="71072"/>
                  </a:lnTo>
                  <a:lnTo>
                    <a:pt x="-82" y="65250"/>
                  </a:lnTo>
                  <a:lnTo>
                    <a:pt x="3866" y="57997"/>
                  </a:lnTo>
                  <a:lnTo>
                    <a:pt x="7813" y="57997"/>
                  </a:lnTo>
                  <a:lnTo>
                    <a:pt x="15707" y="52224"/>
                  </a:lnTo>
                  <a:lnTo>
                    <a:pt x="13734" y="47883"/>
                  </a:lnTo>
                  <a:lnTo>
                    <a:pt x="17681" y="43491"/>
                  </a:lnTo>
                  <a:lnTo>
                    <a:pt x="17681" y="39149"/>
                  </a:lnTo>
                  <a:lnTo>
                    <a:pt x="27549" y="3766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Graphic 2">
              <a:extLst>
                <a:ext uri="{FF2B5EF4-FFF2-40B4-BE49-F238E27FC236}">
                  <a16:creationId xmlns:a16="http://schemas.microsoft.com/office/drawing/2014/main" id="{4B805BE2-D2B6-418B-A0A6-9616063B618B}"/>
                </a:ext>
              </a:extLst>
            </p:cNvPr>
            <p:cNvSpPr/>
            <p:nvPr/>
          </p:nvSpPr>
          <p:spPr>
            <a:xfrm>
              <a:off x="8589988" y="4041053"/>
              <a:ext cx="281645" cy="430765"/>
            </a:xfrm>
            <a:custGeom>
              <a:avLst/>
              <a:gdLst>
                <a:gd name="connsiteX0" fmla="*/ 87694 w 310005"/>
                <a:gd name="connsiteY0" fmla="*/ 220 h 474160"/>
                <a:gd name="connsiteX1" fmla="*/ 91889 w 310005"/>
                <a:gd name="connsiteY1" fmla="*/ 6486 h 474160"/>
                <a:gd name="connsiteX2" fmla="*/ 100276 w 310005"/>
                <a:gd name="connsiteY2" fmla="*/ 4957 h 474160"/>
                <a:gd name="connsiteX3" fmla="*/ 108615 w 310005"/>
                <a:gd name="connsiteY3" fmla="*/ 12752 h 474160"/>
                <a:gd name="connsiteX4" fmla="*/ 110736 w 310005"/>
                <a:gd name="connsiteY4" fmla="*/ 22127 h 474160"/>
                <a:gd name="connsiteX5" fmla="*/ 104470 w 310005"/>
                <a:gd name="connsiteY5" fmla="*/ 25285 h 474160"/>
                <a:gd name="connsiteX6" fmla="*/ 108615 w 310005"/>
                <a:gd name="connsiteY6" fmla="*/ 33130 h 474160"/>
                <a:gd name="connsiteX7" fmla="*/ 114881 w 310005"/>
                <a:gd name="connsiteY7" fmla="*/ 34659 h 474160"/>
                <a:gd name="connsiteX8" fmla="*/ 121197 w 310005"/>
                <a:gd name="connsiteY8" fmla="*/ 31551 h 474160"/>
                <a:gd name="connsiteX9" fmla="*/ 133729 w 310005"/>
                <a:gd name="connsiteY9" fmla="*/ 31551 h 474160"/>
                <a:gd name="connsiteX10" fmla="*/ 135850 w 310005"/>
                <a:gd name="connsiteY10" fmla="*/ 36238 h 474160"/>
                <a:gd name="connsiteX11" fmla="*/ 131657 w 310005"/>
                <a:gd name="connsiteY11" fmla="*/ 42504 h 474160"/>
                <a:gd name="connsiteX12" fmla="*/ 135850 w 310005"/>
                <a:gd name="connsiteY12" fmla="*/ 48771 h 474160"/>
                <a:gd name="connsiteX13" fmla="*/ 133729 w 310005"/>
                <a:gd name="connsiteY13" fmla="*/ 53458 h 474160"/>
                <a:gd name="connsiteX14" fmla="*/ 129585 w 310005"/>
                <a:gd name="connsiteY14" fmla="*/ 58392 h 474160"/>
                <a:gd name="connsiteX15" fmla="*/ 133729 w 310005"/>
                <a:gd name="connsiteY15" fmla="*/ 66237 h 474160"/>
                <a:gd name="connsiteX16" fmla="*/ 133729 w 310005"/>
                <a:gd name="connsiteY16" fmla="*/ 91253 h 474160"/>
                <a:gd name="connsiteX17" fmla="*/ 144239 w 310005"/>
                <a:gd name="connsiteY17" fmla="*/ 88144 h 474160"/>
                <a:gd name="connsiteX18" fmla="*/ 152577 w 310005"/>
                <a:gd name="connsiteY18" fmla="*/ 86565 h 474160"/>
                <a:gd name="connsiteX19" fmla="*/ 154699 w 310005"/>
                <a:gd name="connsiteY19" fmla="*/ 80299 h 474160"/>
                <a:gd name="connsiteX20" fmla="*/ 165110 w 310005"/>
                <a:gd name="connsiteY20" fmla="*/ 75612 h 474160"/>
                <a:gd name="connsiteX21" fmla="*/ 177692 w 310005"/>
                <a:gd name="connsiteY21" fmla="*/ 80299 h 474160"/>
                <a:gd name="connsiteX22" fmla="*/ 186079 w 310005"/>
                <a:gd name="connsiteY22" fmla="*/ 80299 h 474160"/>
                <a:gd name="connsiteX23" fmla="*/ 192346 w 310005"/>
                <a:gd name="connsiteY23" fmla="*/ 86565 h 474160"/>
                <a:gd name="connsiteX24" fmla="*/ 207148 w 310005"/>
                <a:gd name="connsiteY24" fmla="*/ 84986 h 474160"/>
                <a:gd name="connsiteX25" fmla="*/ 215486 w 310005"/>
                <a:gd name="connsiteY25" fmla="*/ 72454 h 474160"/>
                <a:gd name="connsiteX26" fmla="*/ 225995 w 310005"/>
                <a:gd name="connsiteY26" fmla="*/ 69395 h 474160"/>
                <a:gd name="connsiteX27" fmla="*/ 242722 w 310005"/>
                <a:gd name="connsiteY27" fmla="*/ 74082 h 474160"/>
                <a:gd name="connsiteX28" fmla="*/ 249038 w 310005"/>
                <a:gd name="connsiteY28" fmla="*/ 81878 h 474160"/>
                <a:gd name="connsiteX29" fmla="*/ 263840 w 310005"/>
                <a:gd name="connsiteY29" fmla="*/ 91253 h 474160"/>
                <a:gd name="connsiteX30" fmla="*/ 272227 w 310005"/>
                <a:gd name="connsiteY30" fmla="*/ 97519 h 474160"/>
                <a:gd name="connsiteX31" fmla="*/ 276422 w 310005"/>
                <a:gd name="connsiteY31" fmla="*/ 103785 h 474160"/>
                <a:gd name="connsiteX32" fmla="*/ 274349 w 310005"/>
                <a:gd name="connsiteY32" fmla="*/ 108719 h 474160"/>
                <a:gd name="connsiteX33" fmla="*/ 272227 w 310005"/>
                <a:gd name="connsiteY33" fmla="*/ 111877 h 474160"/>
                <a:gd name="connsiteX34" fmla="*/ 276422 w 310005"/>
                <a:gd name="connsiteY34" fmla="*/ 119722 h 474160"/>
                <a:gd name="connsiteX35" fmla="*/ 276422 w 310005"/>
                <a:gd name="connsiteY35" fmla="*/ 127518 h 474160"/>
                <a:gd name="connsiteX36" fmla="*/ 274349 w 310005"/>
                <a:gd name="connsiteY36" fmla="*/ 132205 h 474160"/>
                <a:gd name="connsiteX37" fmla="*/ 280615 w 310005"/>
                <a:gd name="connsiteY37" fmla="*/ 137139 h 474160"/>
                <a:gd name="connsiteX38" fmla="*/ 288954 w 310005"/>
                <a:gd name="connsiteY38" fmla="*/ 143406 h 474160"/>
                <a:gd name="connsiteX39" fmla="*/ 295219 w 310005"/>
                <a:gd name="connsiteY39" fmla="*/ 143406 h 474160"/>
                <a:gd name="connsiteX40" fmla="*/ 301535 w 310005"/>
                <a:gd name="connsiteY40" fmla="*/ 146563 h 474160"/>
                <a:gd name="connsiteX41" fmla="*/ 299463 w 310005"/>
                <a:gd name="connsiteY41" fmla="*/ 149672 h 474160"/>
                <a:gd name="connsiteX42" fmla="*/ 307801 w 310005"/>
                <a:gd name="connsiteY42" fmla="*/ 154606 h 474160"/>
                <a:gd name="connsiteX43" fmla="*/ 309924 w 310005"/>
                <a:gd name="connsiteY43" fmla="*/ 159293 h 474160"/>
                <a:gd name="connsiteX44" fmla="*/ 307801 w 310005"/>
                <a:gd name="connsiteY44" fmla="*/ 165609 h 474160"/>
                <a:gd name="connsiteX45" fmla="*/ 307801 w 310005"/>
                <a:gd name="connsiteY45" fmla="*/ 168717 h 474160"/>
                <a:gd name="connsiteX46" fmla="*/ 305730 w 310005"/>
                <a:gd name="connsiteY46" fmla="*/ 174983 h 474160"/>
                <a:gd name="connsiteX47" fmla="*/ 307801 w 310005"/>
                <a:gd name="connsiteY47" fmla="*/ 179671 h 474160"/>
                <a:gd name="connsiteX48" fmla="*/ 307801 w 310005"/>
                <a:gd name="connsiteY48" fmla="*/ 190624 h 474160"/>
                <a:gd name="connsiteX49" fmla="*/ 301535 w 310005"/>
                <a:gd name="connsiteY49" fmla="*/ 195558 h 474160"/>
                <a:gd name="connsiteX50" fmla="*/ 293148 w 310005"/>
                <a:gd name="connsiteY50" fmla="*/ 198716 h 474160"/>
                <a:gd name="connsiteX51" fmla="*/ 286881 w 310005"/>
                <a:gd name="connsiteY51" fmla="*/ 193782 h 474160"/>
                <a:gd name="connsiteX52" fmla="*/ 276422 w 310005"/>
                <a:gd name="connsiteY52" fmla="*/ 195361 h 474160"/>
                <a:gd name="connsiteX53" fmla="*/ 270106 w 310005"/>
                <a:gd name="connsiteY53" fmla="*/ 193782 h 474160"/>
                <a:gd name="connsiteX54" fmla="*/ 261768 w 310005"/>
                <a:gd name="connsiteY54" fmla="*/ 193782 h 474160"/>
                <a:gd name="connsiteX55" fmla="*/ 251307 w 310005"/>
                <a:gd name="connsiteY55" fmla="*/ 196940 h 474160"/>
                <a:gd name="connsiteX56" fmla="*/ 249235 w 310005"/>
                <a:gd name="connsiteY56" fmla="*/ 193782 h 474160"/>
                <a:gd name="connsiteX57" fmla="*/ 238726 w 310005"/>
                <a:gd name="connsiteY57" fmla="*/ 193782 h 474160"/>
                <a:gd name="connsiteX58" fmla="*/ 221999 w 310005"/>
                <a:gd name="connsiteY58" fmla="*/ 198716 h 474160"/>
                <a:gd name="connsiteX59" fmla="*/ 213611 w 310005"/>
                <a:gd name="connsiteY59" fmla="*/ 198716 h 474160"/>
                <a:gd name="connsiteX60" fmla="*/ 207345 w 310005"/>
                <a:gd name="connsiteY60" fmla="*/ 208091 h 474160"/>
                <a:gd name="connsiteX61" fmla="*/ 203151 w 310005"/>
                <a:gd name="connsiteY61" fmla="*/ 215936 h 474160"/>
                <a:gd name="connsiteX62" fmla="*/ 199006 w 310005"/>
                <a:gd name="connsiteY62" fmla="*/ 223731 h 474160"/>
                <a:gd name="connsiteX63" fmla="*/ 196884 w 310005"/>
                <a:gd name="connsiteY63" fmla="*/ 234685 h 474160"/>
                <a:gd name="connsiteX64" fmla="*/ 201079 w 310005"/>
                <a:gd name="connsiteY64" fmla="*/ 247218 h 474160"/>
                <a:gd name="connsiteX65" fmla="*/ 207345 w 310005"/>
                <a:gd name="connsiteY65" fmla="*/ 248796 h 474160"/>
                <a:gd name="connsiteX66" fmla="*/ 209417 w 310005"/>
                <a:gd name="connsiteY66" fmla="*/ 255013 h 474160"/>
                <a:gd name="connsiteX67" fmla="*/ 209417 w 310005"/>
                <a:gd name="connsiteY67" fmla="*/ 266016 h 474160"/>
                <a:gd name="connsiteX68" fmla="*/ 207345 w 310005"/>
                <a:gd name="connsiteY68" fmla="*/ 270950 h 474160"/>
                <a:gd name="connsiteX69" fmla="*/ 205273 w 310005"/>
                <a:gd name="connsiteY69" fmla="*/ 270950 h 474160"/>
                <a:gd name="connsiteX70" fmla="*/ 205273 w 310005"/>
                <a:gd name="connsiteY70" fmla="*/ 275638 h 474160"/>
                <a:gd name="connsiteX71" fmla="*/ 203151 w 310005"/>
                <a:gd name="connsiteY71" fmla="*/ 275638 h 474160"/>
                <a:gd name="connsiteX72" fmla="*/ 203151 w 310005"/>
                <a:gd name="connsiteY72" fmla="*/ 274059 h 474160"/>
                <a:gd name="connsiteX73" fmla="*/ 194813 w 310005"/>
                <a:gd name="connsiteY73" fmla="*/ 269125 h 474160"/>
                <a:gd name="connsiteX74" fmla="*/ 192691 w 310005"/>
                <a:gd name="connsiteY74" fmla="*/ 269125 h 474160"/>
                <a:gd name="connsiteX75" fmla="*/ 192691 w 310005"/>
                <a:gd name="connsiteY75" fmla="*/ 266016 h 474160"/>
                <a:gd name="connsiteX76" fmla="*/ 186424 w 310005"/>
                <a:gd name="connsiteY76" fmla="*/ 264437 h 474160"/>
                <a:gd name="connsiteX77" fmla="*/ 178037 w 310005"/>
                <a:gd name="connsiteY77" fmla="*/ 256642 h 474160"/>
                <a:gd name="connsiteX78" fmla="*/ 171770 w 310005"/>
                <a:gd name="connsiteY78" fmla="*/ 255013 h 474160"/>
                <a:gd name="connsiteX79" fmla="*/ 167577 w 310005"/>
                <a:gd name="connsiteY79" fmla="*/ 256642 h 474160"/>
                <a:gd name="connsiteX80" fmla="*/ 169698 w 310005"/>
                <a:gd name="connsiteY80" fmla="*/ 258171 h 474160"/>
                <a:gd name="connsiteX81" fmla="*/ 169698 w 310005"/>
                <a:gd name="connsiteY81" fmla="*/ 259701 h 474160"/>
                <a:gd name="connsiteX82" fmla="*/ 165455 w 310005"/>
                <a:gd name="connsiteY82" fmla="*/ 258171 h 474160"/>
                <a:gd name="connsiteX83" fmla="*/ 157116 w 310005"/>
                <a:gd name="connsiteY83" fmla="*/ 256642 h 474160"/>
                <a:gd name="connsiteX84" fmla="*/ 150850 w 310005"/>
                <a:gd name="connsiteY84" fmla="*/ 258171 h 474160"/>
                <a:gd name="connsiteX85" fmla="*/ 144584 w 310005"/>
                <a:gd name="connsiteY85" fmla="*/ 256642 h 474160"/>
                <a:gd name="connsiteX86" fmla="*/ 140341 w 310005"/>
                <a:gd name="connsiteY86" fmla="*/ 256642 h 474160"/>
                <a:gd name="connsiteX87" fmla="*/ 142462 w 310005"/>
                <a:gd name="connsiteY87" fmla="*/ 251708 h 474160"/>
                <a:gd name="connsiteX88" fmla="*/ 144584 w 310005"/>
                <a:gd name="connsiteY88" fmla="*/ 250129 h 474160"/>
                <a:gd name="connsiteX89" fmla="*/ 140341 w 310005"/>
                <a:gd name="connsiteY89" fmla="*/ 245441 h 474160"/>
                <a:gd name="connsiteX90" fmla="*/ 142462 w 310005"/>
                <a:gd name="connsiteY90" fmla="*/ 237645 h 474160"/>
                <a:gd name="connsiteX91" fmla="*/ 144584 w 310005"/>
                <a:gd name="connsiteY91" fmla="*/ 236067 h 474160"/>
                <a:gd name="connsiteX92" fmla="*/ 142462 w 310005"/>
                <a:gd name="connsiteY92" fmla="*/ 231133 h 474160"/>
                <a:gd name="connsiteX93" fmla="*/ 136196 w 310005"/>
                <a:gd name="connsiteY93" fmla="*/ 229603 h 474160"/>
                <a:gd name="connsiteX94" fmla="*/ 131755 w 310005"/>
                <a:gd name="connsiteY94" fmla="*/ 229603 h 474160"/>
                <a:gd name="connsiteX95" fmla="*/ 129683 w 310005"/>
                <a:gd name="connsiteY95" fmla="*/ 228024 h 474160"/>
                <a:gd name="connsiteX96" fmla="*/ 123417 w 310005"/>
                <a:gd name="connsiteY96" fmla="*/ 231133 h 474160"/>
                <a:gd name="connsiteX97" fmla="*/ 119223 w 310005"/>
                <a:gd name="connsiteY97" fmla="*/ 231133 h 474160"/>
                <a:gd name="connsiteX98" fmla="*/ 117101 w 310005"/>
                <a:gd name="connsiteY98" fmla="*/ 229603 h 474160"/>
                <a:gd name="connsiteX99" fmla="*/ 114980 w 310005"/>
                <a:gd name="connsiteY99" fmla="*/ 231133 h 474160"/>
                <a:gd name="connsiteX100" fmla="*/ 108713 w 310005"/>
                <a:gd name="connsiteY100" fmla="*/ 231133 h 474160"/>
                <a:gd name="connsiteX101" fmla="*/ 106641 w 310005"/>
                <a:gd name="connsiteY101" fmla="*/ 236067 h 474160"/>
                <a:gd name="connsiteX102" fmla="*/ 112908 w 310005"/>
                <a:gd name="connsiteY102" fmla="*/ 239175 h 474160"/>
                <a:gd name="connsiteX103" fmla="*/ 112908 w 310005"/>
                <a:gd name="connsiteY103" fmla="*/ 244109 h 474160"/>
                <a:gd name="connsiteX104" fmla="*/ 108713 w 310005"/>
                <a:gd name="connsiteY104" fmla="*/ 249043 h 474160"/>
                <a:gd name="connsiteX105" fmla="*/ 108713 w 310005"/>
                <a:gd name="connsiteY105" fmla="*/ 259947 h 474160"/>
                <a:gd name="connsiteX106" fmla="*/ 110835 w 310005"/>
                <a:gd name="connsiteY106" fmla="*/ 261576 h 474160"/>
                <a:gd name="connsiteX107" fmla="*/ 110835 w 310005"/>
                <a:gd name="connsiteY107" fmla="*/ 270950 h 474160"/>
                <a:gd name="connsiteX108" fmla="*/ 104569 w 310005"/>
                <a:gd name="connsiteY108" fmla="*/ 275638 h 474160"/>
                <a:gd name="connsiteX109" fmla="*/ 104569 w 310005"/>
                <a:gd name="connsiteY109" fmla="*/ 281904 h 474160"/>
                <a:gd name="connsiteX110" fmla="*/ 98303 w 310005"/>
                <a:gd name="connsiteY110" fmla="*/ 288170 h 474160"/>
                <a:gd name="connsiteX111" fmla="*/ 96181 w 310005"/>
                <a:gd name="connsiteY111" fmla="*/ 311656 h 474160"/>
                <a:gd name="connsiteX112" fmla="*/ 87793 w 310005"/>
                <a:gd name="connsiteY112" fmla="*/ 319452 h 474160"/>
                <a:gd name="connsiteX113" fmla="*/ 87793 w 310005"/>
                <a:gd name="connsiteY113" fmla="*/ 325718 h 474160"/>
                <a:gd name="connsiteX114" fmla="*/ 83599 w 310005"/>
                <a:gd name="connsiteY114" fmla="*/ 331984 h 474160"/>
                <a:gd name="connsiteX115" fmla="*/ 87793 w 310005"/>
                <a:gd name="connsiteY115" fmla="*/ 333563 h 474160"/>
                <a:gd name="connsiteX116" fmla="*/ 89866 w 310005"/>
                <a:gd name="connsiteY116" fmla="*/ 335093 h 474160"/>
                <a:gd name="connsiteX117" fmla="*/ 85721 w 310005"/>
                <a:gd name="connsiteY117" fmla="*/ 338251 h 474160"/>
                <a:gd name="connsiteX118" fmla="*/ 85721 w 310005"/>
                <a:gd name="connsiteY118" fmla="*/ 340076 h 474160"/>
                <a:gd name="connsiteX119" fmla="*/ 87793 w 310005"/>
                <a:gd name="connsiteY119" fmla="*/ 346342 h 474160"/>
                <a:gd name="connsiteX120" fmla="*/ 87793 w 310005"/>
                <a:gd name="connsiteY120" fmla="*/ 349451 h 474160"/>
                <a:gd name="connsiteX121" fmla="*/ 96181 w 310005"/>
                <a:gd name="connsiteY121" fmla="*/ 358875 h 474160"/>
                <a:gd name="connsiteX122" fmla="*/ 91987 w 310005"/>
                <a:gd name="connsiteY122" fmla="*/ 363809 h 474160"/>
                <a:gd name="connsiteX123" fmla="*/ 94109 w 310005"/>
                <a:gd name="connsiteY123" fmla="*/ 366917 h 474160"/>
                <a:gd name="connsiteX124" fmla="*/ 98303 w 310005"/>
                <a:gd name="connsiteY124" fmla="*/ 365388 h 474160"/>
                <a:gd name="connsiteX125" fmla="*/ 98303 w 310005"/>
                <a:gd name="connsiteY125" fmla="*/ 363809 h 474160"/>
                <a:gd name="connsiteX126" fmla="*/ 102448 w 310005"/>
                <a:gd name="connsiteY126" fmla="*/ 358875 h 474160"/>
                <a:gd name="connsiteX127" fmla="*/ 104569 w 310005"/>
                <a:gd name="connsiteY127" fmla="*/ 360454 h 474160"/>
                <a:gd name="connsiteX128" fmla="*/ 108713 w 310005"/>
                <a:gd name="connsiteY128" fmla="*/ 361983 h 474160"/>
                <a:gd name="connsiteX129" fmla="*/ 112908 w 310005"/>
                <a:gd name="connsiteY129" fmla="*/ 363562 h 474160"/>
                <a:gd name="connsiteX130" fmla="*/ 112908 w 310005"/>
                <a:gd name="connsiteY130" fmla="*/ 369680 h 474160"/>
                <a:gd name="connsiteX131" fmla="*/ 117101 w 310005"/>
                <a:gd name="connsiteY131" fmla="*/ 374614 h 474160"/>
                <a:gd name="connsiteX132" fmla="*/ 117101 w 310005"/>
                <a:gd name="connsiteY132" fmla="*/ 380881 h 474160"/>
                <a:gd name="connsiteX133" fmla="*/ 119223 w 310005"/>
                <a:gd name="connsiteY133" fmla="*/ 380881 h 474160"/>
                <a:gd name="connsiteX134" fmla="*/ 123417 w 310005"/>
                <a:gd name="connsiteY134" fmla="*/ 388726 h 474160"/>
                <a:gd name="connsiteX135" fmla="*/ 127562 w 310005"/>
                <a:gd name="connsiteY135" fmla="*/ 388726 h 474160"/>
                <a:gd name="connsiteX136" fmla="*/ 127562 w 310005"/>
                <a:gd name="connsiteY136" fmla="*/ 382460 h 474160"/>
                <a:gd name="connsiteX137" fmla="*/ 129683 w 310005"/>
                <a:gd name="connsiteY137" fmla="*/ 387394 h 474160"/>
                <a:gd name="connsiteX138" fmla="*/ 133828 w 310005"/>
                <a:gd name="connsiteY138" fmla="*/ 392081 h 474160"/>
                <a:gd name="connsiteX139" fmla="*/ 133828 w 310005"/>
                <a:gd name="connsiteY139" fmla="*/ 397015 h 474160"/>
                <a:gd name="connsiteX140" fmla="*/ 138022 w 310005"/>
                <a:gd name="connsiteY140" fmla="*/ 398544 h 474160"/>
                <a:gd name="connsiteX141" fmla="*/ 140094 w 310005"/>
                <a:gd name="connsiteY141" fmla="*/ 411077 h 474160"/>
                <a:gd name="connsiteX142" fmla="*/ 138022 w 310005"/>
                <a:gd name="connsiteY142" fmla="*/ 412606 h 474160"/>
                <a:gd name="connsiteX143" fmla="*/ 138022 w 310005"/>
                <a:gd name="connsiteY143" fmla="*/ 415764 h 474160"/>
                <a:gd name="connsiteX144" fmla="*/ 135949 w 310005"/>
                <a:gd name="connsiteY144" fmla="*/ 412606 h 474160"/>
                <a:gd name="connsiteX145" fmla="*/ 129683 w 310005"/>
                <a:gd name="connsiteY145" fmla="*/ 415764 h 474160"/>
                <a:gd name="connsiteX146" fmla="*/ 129683 w 310005"/>
                <a:gd name="connsiteY146" fmla="*/ 420451 h 474160"/>
                <a:gd name="connsiteX147" fmla="*/ 140094 w 310005"/>
                <a:gd name="connsiteY147" fmla="*/ 423609 h 474160"/>
                <a:gd name="connsiteX148" fmla="*/ 140094 w 310005"/>
                <a:gd name="connsiteY148" fmla="*/ 418922 h 474160"/>
                <a:gd name="connsiteX149" fmla="*/ 144337 w 310005"/>
                <a:gd name="connsiteY149" fmla="*/ 420451 h 474160"/>
                <a:gd name="connsiteX150" fmla="*/ 144337 w 310005"/>
                <a:gd name="connsiteY150" fmla="*/ 426718 h 474160"/>
                <a:gd name="connsiteX151" fmla="*/ 148531 w 310005"/>
                <a:gd name="connsiteY151" fmla="*/ 429826 h 474160"/>
                <a:gd name="connsiteX152" fmla="*/ 158942 w 310005"/>
                <a:gd name="connsiteY152" fmla="*/ 437671 h 474160"/>
                <a:gd name="connsiteX153" fmla="*/ 163136 w 310005"/>
                <a:gd name="connsiteY153" fmla="*/ 440780 h 474160"/>
                <a:gd name="connsiteX154" fmla="*/ 167330 w 310005"/>
                <a:gd name="connsiteY154" fmla="*/ 439250 h 474160"/>
                <a:gd name="connsiteX155" fmla="*/ 173645 w 310005"/>
                <a:gd name="connsiteY155" fmla="*/ 439250 h 474160"/>
                <a:gd name="connsiteX156" fmla="*/ 179912 w 310005"/>
                <a:gd name="connsiteY156" fmla="*/ 442359 h 474160"/>
                <a:gd name="connsiteX157" fmla="*/ 186178 w 310005"/>
                <a:gd name="connsiteY157" fmla="*/ 450204 h 474160"/>
                <a:gd name="connsiteX158" fmla="*/ 188250 w 310005"/>
                <a:gd name="connsiteY158" fmla="*/ 455138 h 474160"/>
                <a:gd name="connsiteX159" fmla="*/ 196638 w 310005"/>
                <a:gd name="connsiteY159" fmla="*/ 458246 h 474160"/>
                <a:gd name="connsiteX160" fmla="*/ 196638 w 310005"/>
                <a:gd name="connsiteY160" fmla="*/ 461404 h 474160"/>
                <a:gd name="connsiteX161" fmla="*/ 194566 w 310005"/>
                <a:gd name="connsiteY161" fmla="*/ 462934 h 474160"/>
                <a:gd name="connsiteX162" fmla="*/ 194566 w 310005"/>
                <a:gd name="connsiteY162" fmla="*/ 467868 h 474160"/>
                <a:gd name="connsiteX163" fmla="*/ 190322 w 310005"/>
                <a:gd name="connsiteY163" fmla="*/ 470976 h 474160"/>
                <a:gd name="connsiteX164" fmla="*/ 184056 w 310005"/>
                <a:gd name="connsiteY164" fmla="*/ 467868 h 474160"/>
                <a:gd name="connsiteX165" fmla="*/ 177790 w 310005"/>
                <a:gd name="connsiteY165" fmla="*/ 467868 h 474160"/>
                <a:gd name="connsiteX166" fmla="*/ 169452 w 310005"/>
                <a:gd name="connsiteY166" fmla="*/ 474134 h 474160"/>
                <a:gd name="connsiteX167" fmla="*/ 161063 w 310005"/>
                <a:gd name="connsiteY167" fmla="*/ 472555 h 474160"/>
                <a:gd name="connsiteX168" fmla="*/ 161063 w 310005"/>
                <a:gd name="connsiteY168" fmla="*/ 467621 h 474160"/>
                <a:gd name="connsiteX169" fmla="*/ 165208 w 310005"/>
                <a:gd name="connsiteY169" fmla="*/ 462687 h 474160"/>
                <a:gd name="connsiteX170" fmla="*/ 165208 w 310005"/>
                <a:gd name="connsiteY170" fmla="*/ 454891 h 474160"/>
                <a:gd name="connsiteX171" fmla="*/ 161063 w 310005"/>
                <a:gd name="connsiteY171" fmla="*/ 449957 h 474160"/>
                <a:gd name="connsiteX172" fmla="*/ 154798 w 310005"/>
                <a:gd name="connsiteY172" fmla="*/ 449957 h 474160"/>
                <a:gd name="connsiteX173" fmla="*/ 152676 w 310005"/>
                <a:gd name="connsiteY173" fmla="*/ 446849 h 474160"/>
                <a:gd name="connsiteX174" fmla="*/ 142216 w 310005"/>
                <a:gd name="connsiteY174" fmla="*/ 445220 h 474160"/>
                <a:gd name="connsiteX175" fmla="*/ 135949 w 310005"/>
                <a:gd name="connsiteY175" fmla="*/ 439003 h 474160"/>
                <a:gd name="connsiteX176" fmla="*/ 129683 w 310005"/>
                <a:gd name="connsiteY176" fmla="*/ 445220 h 474160"/>
                <a:gd name="connsiteX177" fmla="*/ 127562 w 310005"/>
                <a:gd name="connsiteY177" fmla="*/ 451536 h 474160"/>
                <a:gd name="connsiteX178" fmla="*/ 125489 w 310005"/>
                <a:gd name="connsiteY178" fmla="*/ 446602 h 474160"/>
                <a:gd name="connsiteX179" fmla="*/ 108713 w 310005"/>
                <a:gd name="connsiteY179" fmla="*/ 438757 h 474160"/>
                <a:gd name="connsiteX180" fmla="*/ 108713 w 310005"/>
                <a:gd name="connsiteY180" fmla="*/ 435599 h 474160"/>
                <a:gd name="connsiteX181" fmla="*/ 112908 w 310005"/>
                <a:gd name="connsiteY181" fmla="*/ 432490 h 474160"/>
                <a:gd name="connsiteX182" fmla="*/ 112908 w 310005"/>
                <a:gd name="connsiteY182" fmla="*/ 428889 h 474160"/>
                <a:gd name="connsiteX183" fmla="*/ 108713 w 310005"/>
                <a:gd name="connsiteY183" fmla="*/ 428889 h 474160"/>
                <a:gd name="connsiteX184" fmla="*/ 106641 w 310005"/>
                <a:gd name="connsiteY184" fmla="*/ 424201 h 474160"/>
                <a:gd name="connsiteX185" fmla="*/ 98303 w 310005"/>
                <a:gd name="connsiteY185" fmla="*/ 422672 h 474160"/>
                <a:gd name="connsiteX186" fmla="*/ 98303 w 310005"/>
                <a:gd name="connsiteY186" fmla="*/ 417984 h 474160"/>
                <a:gd name="connsiteX187" fmla="*/ 89866 w 310005"/>
                <a:gd name="connsiteY187" fmla="*/ 410139 h 474160"/>
                <a:gd name="connsiteX188" fmla="*/ 85721 w 310005"/>
                <a:gd name="connsiteY188" fmla="*/ 410139 h 474160"/>
                <a:gd name="connsiteX189" fmla="*/ 81527 w 310005"/>
                <a:gd name="connsiteY189" fmla="*/ 399186 h 474160"/>
                <a:gd name="connsiteX190" fmla="*/ 75261 w 310005"/>
                <a:gd name="connsiteY190" fmla="*/ 397607 h 474160"/>
                <a:gd name="connsiteX191" fmla="*/ 75261 w 310005"/>
                <a:gd name="connsiteY191" fmla="*/ 392673 h 474160"/>
                <a:gd name="connsiteX192" fmla="*/ 71067 w 310005"/>
                <a:gd name="connsiteY192" fmla="*/ 391094 h 474160"/>
                <a:gd name="connsiteX193" fmla="*/ 71067 w 310005"/>
                <a:gd name="connsiteY193" fmla="*/ 387986 h 474160"/>
                <a:gd name="connsiteX194" fmla="*/ 64801 w 310005"/>
                <a:gd name="connsiteY194" fmla="*/ 389515 h 474160"/>
                <a:gd name="connsiteX195" fmla="*/ 64801 w 310005"/>
                <a:gd name="connsiteY195" fmla="*/ 395831 h 474160"/>
                <a:gd name="connsiteX196" fmla="*/ 60606 w 310005"/>
                <a:gd name="connsiteY196" fmla="*/ 395831 h 474160"/>
                <a:gd name="connsiteX197" fmla="*/ 56413 w 310005"/>
                <a:gd name="connsiteY197" fmla="*/ 390897 h 474160"/>
                <a:gd name="connsiteX198" fmla="*/ 54341 w 310005"/>
                <a:gd name="connsiteY198" fmla="*/ 381522 h 474160"/>
                <a:gd name="connsiteX199" fmla="*/ 56413 w 310005"/>
                <a:gd name="connsiteY199" fmla="*/ 378364 h 474160"/>
                <a:gd name="connsiteX200" fmla="*/ 54341 w 310005"/>
                <a:gd name="connsiteY200" fmla="*/ 368989 h 474160"/>
                <a:gd name="connsiteX201" fmla="*/ 60606 w 310005"/>
                <a:gd name="connsiteY201" fmla="*/ 367411 h 474160"/>
                <a:gd name="connsiteX202" fmla="*/ 58485 w 310005"/>
                <a:gd name="connsiteY202" fmla="*/ 356457 h 474160"/>
                <a:gd name="connsiteX203" fmla="*/ 62679 w 310005"/>
                <a:gd name="connsiteY203" fmla="*/ 356457 h 474160"/>
                <a:gd name="connsiteX204" fmla="*/ 66873 w 310005"/>
                <a:gd name="connsiteY204" fmla="*/ 351523 h 474160"/>
                <a:gd name="connsiteX205" fmla="*/ 62679 w 310005"/>
                <a:gd name="connsiteY205" fmla="*/ 351523 h 474160"/>
                <a:gd name="connsiteX206" fmla="*/ 66873 w 310005"/>
                <a:gd name="connsiteY206" fmla="*/ 345257 h 474160"/>
                <a:gd name="connsiteX207" fmla="*/ 64801 w 310005"/>
                <a:gd name="connsiteY207" fmla="*/ 342148 h 474160"/>
                <a:gd name="connsiteX208" fmla="*/ 71067 w 310005"/>
                <a:gd name="connsiteY208" fmla="*/ 337214 h 474160"/>
                <a:gd name="connsiteX209" fmla="*/ 66873 w 310005"/>
                <a:gd name="connsiteY209" fmla="*/ 335635 h 474160"/>
                <a:gd name="connsiteX210" fmla="*/ 66873 w 310005"/>
                <a:gd name="connsiteY210" fmla="*/ 326261 h 474160"/>
                <a:gd name="connsiteX211" fmla="*/ 68995 w 310005"/>
                <a:gd name="connsiteY211" fmla="*/ 321327 h 474160"/>
                <a:gd name="connsiteX212" fmla="*/ 73139 w 310005"/>
                <a:gd name="connsiteY212" fmla="*/ 316393 h 474160"/>
                <a:gd name="connsiteX213" fmla="*/ 73139 w 310005"/>
                <a:gd name="connsiteY213" fmla="*/ 308597 h 474160"/>
                <a:gd name="connsiteX214" fmla="*/ 81527 w 310005"/>
                <a:gd name="connsiteY214" fmla="*/ 303663 h 474160"/>
                <a:gd name="connsiteX215" fmla="*/ 89866 w 310005"/>
                <a:gd name="connsiteY215" fmla="*/ 284864 h 474160"/>
                <a:gd name="connsiteX216" fmla="*/ 94109 w 310005"/>
                <a:gd name="connsiteY216" fmla="*/ 283285 h 474160"/>
                <a:gd name="connsiteX217" fmla="*/ 94109 w 310005"/>
                <a:gd name="connsiteY217" fmla="*/ 272332 h 474160"/>
                <a:gd name="connsiteX218" fmla="*/ 89866 w 310005"/>
                <a:gd name="connsiteY218" fmla="*/ 266066 h 474160"/>
                <a:gd name="connsiteX219" fmla="*/ 91987 w 310005"/>
                <a:gd name="connsiteY219" fmla="*/ 258270 h 474160"/>
                <a:gd name="connsiteX220" fmla="*/ 87793 w 310005"/>
                <a:gd name="connsiteY220" fmla="*/ 251954 h 474160"/>
                <a:gd name="connsiteX221" fmla="*/ 85721 w 310005"/>
                <a:gd name="connsiteY221" fmla="*/ 244158 h 474160"/>
                <a:gd name="connsiteX222" fmla="*/ 81527 w 310005"/>
                <a:gd name="connsiteY222" fmla="*/ 239471 h 474160"/>
                <a:gd name="connsiteX223" fmla="*/ 83599 w 310005"/>
                <a:gd name="connsiteY223" fmla="*/ 233205 h 474160"/>
                <a:gd name="connsiteX224" fmla="*/ 81527 w 310005"/>
                <a:gd name="connsiteY224" fmla="*/ 226939 h 474160"/>
                <a:gd name="connsiteX225" fmla="*/ 83599 w 310005"/>
                <a:gd name="connsiteY225" fmla="*/ 222005 h 474160"/>
                <a:gd name="connsiteX226" fmla="*/ 79455 w 310005"/>
                <a:gd name="connsiteY226" fmla="*/ 209472 h 474160"/>
                <a:gd name="connsiteX227" fmla="*/ 68995 w 310005"/>
                <a:gd name="connsiteY227" fmla="*/ 201627 h 474160"/>
                <a:gd name="connsiteX228" fmla="*/ 58485 w 310005"/>
                <a:gd name="connsiteY228" fmla="*/ 193831 h 474160"/>
                <a:gd name="connsiteX229" fmla="*/ 48025 w 310005"/>
                <a:gd name="connsiteY229" fmla="*/ 184457 h 474160"/>
                <a:gd name="connsiteX230" fmla="*/ 48025 w 310005"/>
                <a:gd name="connsiteY230" fmla="*/ 179523 h 474160"/>
                <a:gd name="connsiteX231" fmla="*/ 43880 w 310005"/>
                <a:gd name="connsiteY231" fmla="*/ 168569 h 474160"/>
                <a:gd name="connsiteX232" fmla="*/ 50146 w 310005"/>
                <a:gd name="connsiteY232" fmla="*/ 165461 h 474160"/>
                <a:gd name="connsiteX233" fmla="*/ 52219 w 310005"/>
                <a:gd name="connsiteY233" fmla="*/ 160526 h 474160"/>
                <a:gd name="connsiteX234" fmla="*/ 48025 w 310005"/>
                <a:gd name="connsiteY234" fmla="*/ 144886 h 474160"/>
                <a:gd name="connsiteX235" fmla="*/ 50146 w 310005"/>
                <a:gd name="connsiteY235" fmla="*/ 139952 h 474160"/>
                <a:gd name="connsiteX236" fmla="*/ 58485 w 310005"/>
                <a:gd name="connsiteY236" fmla="*/ 136843 h 474160"/>
                <a:gd name="connsiteX237" fmla="*/ 56413 w 310005"/>
                <a:gd name="connsiteY237" fmla="*/ 130577 h 474160"/>
                <a:gd name="connsiteX238" fmla="*/ 50146 w 310005"/>
                <a:gd name="connsiteY238" fmla="*/ 127419 h 474160"/>
                <a:gd name="connsiteX239" fmla="*/ 48025 w 310005"/>
                <a:gd name="connsiteY239" fmla="*/ 121202 h 474160"/>
                <a:gd name="connsiteX240" fmla="*/ 43880 w 310005"/>
                <a:gd name="connsiteY240" fmla="*/ 113357 h 474160"/>
                <a:gd name="connsiteX241" fmla="*/ 37565 w 310005"/>
                <a:gd name="connsiteY241" fmla="*/ 111828 h 474160"/>
                <a:gd name="connsiteX242" fmla="*/ 29177 w 310005"/>
                <a:gd name="connsiteY242" fmla="*/ 96137 h 474160"/>
                <a:gd name="connsiteX243" fmla="*/ 20838 w 310005"/>
                <a:gd name="connsiteY243" fmla="*/ 91203 h 474160"/>
                <a:gd name="connsiteX244" fmla="*/ 18766 w 310005"/>
                <a:gd name="connsiteY244" fmla="*/ 86516 h 474160"/>
                <a:gd name="connsiteX245" fmla="*/ 12450 w 310005"/>
                <a:gd name="connsiteY245" fmla="*/ 81582 h 474160"/>
                <a:gd name="connsiteX246" fmla="*/ 6184 w 310005"/>
                <a:gd name="connsiteY246" fmla="*/ 73786 h 474160"/>
                <a:gd name="connsiteX247" fmla="*/ 1990 w 310005"/>
                <a:gd name="connsiteY247" fmla="*/ 72207 h 474160"/>
                <a:gd name="connsiteX248" fmla="*/ -82 w 310005"/>
                <a:gd name="connsiteY248" fmla="*/ 67273 h 474160"/>
                <a:gd name="connsiteX249" fmla="*/ 10329 w 310005"/>
                <a:gd name="connsiteY249" fmla="*/ 64116 h 474160"/>
                <a:gd name="connsiteX250" fmla="*/ 16645 w 310005"/>
                <a:gd name="connsiteY250" fmla="*/ 59182 h 474160"/>
                <a:gd name="connsiteX251" fmla="*/ 14572 w 310005"/>
                <a:gd name="connsiteY251" fmla="*/ 54494 h 474160"/>
                <a:gd name="connsiteX252" fmla="*/ 14572 w 310005"/>
                <a:gd name="connsiteY252" fmla="*/ 48968 h 474160"/>
                <a:gd name="connsiteX253" fmla="*/ 18766 w 310005"/>
                <a:gd name="connsiteY253" fmla="*/ 45810 h 474160"/>
                <a:gd name="connsiteX254" fmla="*/ 16645 w 310005"/>
                <a:gd name="connsiteY254" fmla="*/ 34857 h 474160"/>
                <a:gd name="connsiteX255" fmla="*/ 22910 w 310005"/>
                <a:gd name="connsiteY255" fmla="*/ 28640 h 474160"/>
                <a:gd name="connsiteX256" fmla="*/ 37712 w 310005"/>
                <a:gd name="connsiteY256" fmla="*/ 33327 h 474160"/>
                <a:gd name="connsiteX257" fmla="*/ 46101 w 310005"/>
                <a:gd name="connsiteY257" fmla="*/ 27012 h 474160"/>
                <a:gd name="connsiteX258" fmla="*/ 52367 w 310005"/>
                <a:gd name="connsiteY258" fmla="*/ 27012 h 474160"/>
                <a:gd name="connsiteX259" fmla="*/ 56561 w 310005"/>
                <a:gd name="connsiteY259" fmla="*/ 23952 h 474160"/>
                <a:gd name="connsiteX260" fmla="*/ 56561 w 310005"/>
                <a:gd name="connsiteY260" fmla="*/ 17637 h 474160"/>
                <a:gd name="connsiteX261" fmla="*/ 60755 w 310005"/>
                <a:gd name="connsiteY261" fmla="*/ 12703 h 474160"/>
                <a:gd name="connsiteX262" fmla="*/ 69143 w 310005"/>
                <a:gd name="connsiteY262" fmla="*/ 14282 h 474160"/>
                <a:gd name="connsiteX263" fmla="*/ 73287 w 310005"/>
                <a:gd name="connsiteY263" fmla="*/ 11173 h 474160"/>
                <a:gd name="connsiteX264" fmla="*/ 69143 w 310005"/>
                <a:gd name="connsiteY264" fmla="*/ 6239 h 474160"/>
                <a:gd name="connsiteX265" fmla="*/ 69143 w 310005"/>
                <a:gd name="connsiteY265" fmla="*/ 3131 h 474160"/>
                <a:gd name="connsiteX266" fmla="*/ 77481 w 310005"/>
                <a:gd name="connsiteY266" fmla="*/ -27 h 474160"/>
                <a:gd name="connsiteX267" fmla="*/ 106543 w 310005"/>
                <a:gd name="connsiteY267" fmla="*/ 443198 h 474160"/>
                <a:gd name="connsiteX268" fmla="*/ 110736 w 310005"/>
                <a:gd name="connsiteY268" fmla="*/ 448132 h 474160"/>
                <a:gd name="connsiteX269" fmla="*/ 112809 w 310005"/>
                <a:gd name="connsiteY269" fmla="*/ 446602 h 474160"/>
                <a:gd name="connsiteX270" fmla="*/ 110736 w 310005"/>
                <a:gd name="connsiteY270" fmla="*/ 443444 h 474160"/>
                <a:gd name="connsiteX271" fmla="*/ 108615 w 310005"/>
                <a:gd name="connsiteY271" fmla="*/ 441865 h 474160"/>
                <a:gd name="connsiteX272" fmla="*/ 83500 w 310005"/>
                <a:gd name="connsiteY272" fmla="*/ 413593 h 474160"/>
                <a:gd name="connsiteX273" fmla="*/ 85622 w 310005"/>
                <a:gd name="connsiteY273" fmla="*/ 419859 h 474160"/>
                <a:gd name="connsiteX274" fmla="*/ 87694 w 310005"/>
                <a:gd name="connsiteY274" fmla="*/ 416702 h 474160"/>
                <a:gd name="connsiteX275" fmla="*/ 85622 w 310005"/>
                <a:gd name="connsiteY275" fmla="*/ 413593 h 474160"/>
                <a:gd name="connsiteX276" fmla="*/ 58386 w 310005"/>
                <a:gd name="connsiteY276" fmla="*/ 397952 h 474160"/>
                <a:gd name="connsiteX277" fmla="*/ 56314 w 310005"/>
                <a:gd name="connsiteY277" fmla="*/ 402640 h 474160"/>
                <a:gd name="connsiteX278" fmla="*/ 58386 w 310005"/>
                <a:gd name="connsiteY278" fmla="*/ 404219 h 474160"/>
                <a:gd name="connsiteX279" fmla="*/ 58386 w 310005"/>
                <a:gd name="connsiteY279" fmla="*/ 410485 h 474160"/>
                <a:gd name="connsiteX280" fmla="*/ 62580 w 310005"/>
                <a:gd name="connsiteY280" fmla="*/ 405551 h 474160"/>
                <a:gd name="connsiteX281" fmla="*/ 62580 w 310005"/>
                <a:gd name="connsiteY281" fmla="*/ 397804 h 474160"/>
                <a:gd name="connsiteX282" fmla="*/ 190224 w 310005"/>
                <a:gd name="connsiteY282" fmla="*/ 269667 h 474160"/>
                <a:gd name="connsiteX283" fmla="*/ 190224 w 310005"/>
                <a:gd name="connsiteY283" fmla="*/ 274355 h 474160"/>
                <a:gd name="connsiteX284" fmla="*/ 196539 w 310005"/>
                <a:gd name="connsiteY284" fmla="*/ 277463 h 474160"/>
                <a:gd name="connsiteX285" fmla="*/ 200733 w 310005"/>
                <a:gd name="connsiteY285" fmla="*/ 277463 h 474160"/>
                <a:gd name="connsiteX286" fmla="*/ 119124 w 310005"/>
                <a:gd name="connsiteY286" fmla="*/ 343234 h 474160"/>
                <a:gd name="connsiteX287" fmla="*/ 112809 w 310005"/>
                <a:gd name="connsiteY287" fmla="*/ 344763 h 474160"/>
                <a:gd name="connsiteX288" fmla="*/ 117003 w 310005"/>
                <a:gd name="connsiteY288" fmla="*/ 346342 h 474160"/>
                <a:gd name="connsiteX289" fmla="*/ 121197 w 310005"/>
                <a:gd name="connsiteY289" fmla="*/ 349451 h 474160"/>
                <a:gd name="connsiteX290" fmla="*/ 114881 w 310005"/>
                <a:gd name="connsiteY290" fmla="*/ 352608 h 474160"/>
                <a:gd name="connsiteX291" fmla="*/ 117003 w 310005"/>
                <a:gd name="connsiteY291" fmla="*/ 355766 h 474160"/>
                <a:gd name="connsiteX292" fmla="*/ 121197 w 310005"/>
                <a:gd name="connsiteY292" fmla="*/ 360700 h 474160"/>
                <a:gd name="connsiteX293" fmla="*/ 123318 w 310005"/>
                <a:gd name="connsiteY293" fmla="*/ 354434 h 47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</a:cxnLst>
              <a:rect l="l" t="t" r="r" b="b"/>
              <a:pathLst>
                <a:path w="310005" h="474160">
                  <a:moveTo>
                    <a:pt x="87694" y="220"/>
                  </a:moveTo>
                  <a:lnTo>
                    <a:pt x="91889" y="6486"/>
                  </a:lnTo>
                  <a:lnTo>
                    <a:pt x="100276" y="4957"/>
                  </a:lnTo>
                  <a:lnTo>
                    <a:pt x="108615" y="12752"/>
                  </a:lnTo>
                  <a:lnTo>
                    <a:pt x="110736" y="22127"/>
                  </a:lnTo>
                  <a:lnTo>
                    <a:pt x="104470" y="25285"/>
                  </a:lnTo>
                  <a:lnTo>
                    <a:pt x="108615" y="33130"/>
                  </a:lnTo>
                  <a:lnTo>
                    <a:pt x="114881" y="34659"/>
                  </a:lnTo>
                  <a:lnTo>
                    <a:pt x="121197" y="31551"/>
                  </a:lnTo>
                  <a:lnTo>
                    <a:pt x="133729" y="31551"/>
                  </a:lnTo>
                  <a:lnTo>
                    <a:pt x="135850" y="36238"/>
                  </a:lnTo>
                  <a:lnTo>
                    <a:pt x="131657" y="42504"/>
                  </a:lnTo>
                  <a:lnTo>
                    <a:pt x="135850" y="48771"/>
                  </a:lnTo>
                  <a:lnTo>
                    <a:pt x="133729" y="53458"/>
                  </a:lnTo>
                  <a:lnTo>
                    <a:pt x="129585" y="58392"/>
                  </a:lnTo>
                  <a:lnTo>
                    <a:pt x="133729" y="66237"/>
                  </a:lnTo>
                  <a:lnTo>
                    <a:pt x="133729" y="91253"/>
                  </a:lnTo>
                  <a:lnTo>
                    <a:pt x="144239" y="88144"/>
                  </a:lnTo>
                  <a:lnTo>
                    <a:pt x="152577" y="86565"/>
                  </a:lnTo>
                  <a:lnTo>
                    <a:pt x="154699" y="80299"/>
                  </a:lnTo>
                  <a:lnTo>
                    <a:pt x="165110" y="75612"/>
                  </a:lnTo>
                  <a:lnTo>
                    <a:pt x="177692" y="80299"/>
                  </a:lnTo>
                  <a:lnTo>
                    <a:pt x="186079" y="80299"/>
                  </a:lnTo>
                  <a:lnTo>
                    <a:pt x="192346" y="86565"/>
                  </a:lnTo>
                  <a:lnTo>
                    <a:pt x="207148" y="84986"/>
                  </a:lnTo>
                  <a:lnTo>
                    <a:pt x="215486" y="72454"/>
                  </a:lnTo>
                  <a:lnTo>
                    <a:pt x="225995" y="69395"/>
                  </a:lnTo>
                  <a:lnTo>
                    <a:pt x="242722" y="74082"/>
                  </a:lnTo>
                  <a:lnTo>
                    <a:pt x="249038" y="81878"/>
                  </a:lnTo>
                  <a:lnTo>
                    <a:pt x="263840" y="91253"/>
                  </a:lnTo>
                  <a:lnTo>
                    <a:pt x="272227" y="97519"/>
                  </a:lnTo>
                  <a:lnTo>
                    <a:pt x="276422" y="103785"/>
                  </a:lnTo>
                  <a:lnTo>
                    <a:pt x="274349" y="108719"/>
                  </a:lnTo>
                  <a:lnTo>
                    <a:pt x="272227" y="111877"/>
                  </a:lnTo>
                  <a:lnTo>
                    <a:pt x="276422" y="119722"/>
                  </a:lnTo>
                  <a:lnTo>
                    <a:pt x="276422" y="127518"/>
                  </a:lnTo>
                  <a:lnTo>
                    <a:pt x="274349" y="132205"/>
                  </a:lnTo>
                  <a:lnTo>
                    <a:pt x="280615" y="137139"/>
                  </a:lnTo>
                  <a:lnTo>
                    <a:pt x="288954" y="143406"/>
                  </a:lnTo>
                  <a:lnTo>
                    <a:pt x="295219" y="143406"/>
                  </a:lnTo>
                  <a:lnTo>
                    <a:pt x="301535" y="146563"/>
                  </a:lnTo>
                  <a:lnTo>
                    <a:pt x="299463" y="149672"/>
                  </a:lnTo>
                  <a:lnTo>
                    <a:pt x="307801" y="154606"/>
                  </a:lnTo>
                  <a:lnTo>
                    <a:pt x="309924" y="159293"/>
                  </a:lnTo>
                  <a:lnTo>
                    <a:pt x="307801" y="165609"/>
                  </a:lnTo>
                  <a:lnTo>
                    <a:pt x="307801" y="168717"/>
                  </a:lnTo>
                  <a:lnTo>
                    <a:pt x="305730" y="174983"/>
                  </a:lnTo>
                  <a:lnTo>
                    <a:pt x="307801" y="179671"/>
                  </a:lnTo>
                  <a:lnTo>
                    <a:pt x="307801" y="190624"/>
                  </a:lnTo>
                  <a:lnTo>
                    <a:pt x="301535" y="195558"/>
                  </a:lnTo>
                  <a:lnTo>
                    <a:pt x="293148" y="198716"/>
                  </a:lnTo>
                  <a:lnTo>
                    <a:pt x="286881" y="193782"/>
                  </a:lnTo>
                  <a:lnTo>
                    <a:pt x="276422" y="195361"/>
                  </a:lnTo>
                  <a:lnTo>
                    <a:pt x="270106" y="193782"/>
                  </a:lnTo>
                  <a:lnTo>
                    <a:pt x="261768" y="193782"/>
                  </a:lnTo>
                  <a:lnTo>
                    <a:pt x="251307" y="196940"/>
                  </a:lnTo>
                  <a:lnTo>
                    <a:pt x="249235" y="193782"/>
                  </a:lnTo>
                  <a:lnTo>
                    <a:pt x="238726" y="193782"/>
                  </a:lnTo>
                  <a:lnTo>
                    <a:pt x="221999" y="198716"/>
                  </a:lnTo>
                  <a:lnTo>
                    <a:pt x="213611" y="198716"/>
                  </a:lnTo>
                  <a:lnTo>
                    <a:pt x="207345" y="208091"/>
                  </a:lnTo>
                  <a:lnTo>
                    <a:pt x="203151" y="215936"/>
                  </a:lnTo>
                  <a:lnTo>
                    <a:pt x="199006" y="223731"/>
                  </a:lnTo>
                  <a:lnTo>
                    <a:pt x="196884" y="234685"/>
                  </a:lnTo>
                  <a:lnTo>
                    <a:pt x="201079" y="247218"/>
                  </a:lnTo>
                  <a:lnTo>
                    <a:pt x="207345" y="248796"/>
                  </a:lnTo>
                  <a:lnTo>
                    <a:pt x="209417" y="255013"/>
                  </a:lnTo>
                  <a:lnTo>
                    <a:pt x="209417" y="266016"/>
                  </a:lnTo>
                  <a:lnTo>
                    <a:pt x="207345" y="270950"/>
                  </a:lnTo>
                  <a:lnTo>
                    <a:pt x="205273" y="270950"/>
                  </a:lnTo>
                  <a:lnTo>
                    <a:pt x="205273" y="275638"/>
                  </a:lnTo>
                  <a:lnTo>
                    <a:pt x="203151" y="275638"/>
                  </a:lnTo>
                  <a:lnTo>
                    <a:pt x="203151" y="274059"/>
                  </a:lnTo>
                  <a:lnTo>
                    <a:pt x="194813" y="269125"/>
                  </a:lnTo>
                  <a:lnTo>
                    <a:pt x="192691" y="269125"/>
                  </a:lnTo>
                  <a:lnTo>
                    <a:pt x="192691" y="266016"/>
                  </a:lnTo>
                  <a:lnTo>
                    <a:pt x="186424" y="264437"/>
                  </a:lnTo>
                  <a:lnTo>
                    <a:pt x="178037" y="256642"/>
                  </a:lnTo>
                  <a:lnTo>
                    <a:pt x="171770" y="255013"/>
                  </a:lnTo>
                  <a:lnTo>
                    <a:pt x="167577" y="256642"/>
                  </a:lnTo>
                  <a:lnTo>
                    <a:pt x="169698" y="258171"/>
                  </a:lnTo>
                  <a:lnTo>
                    <a:pt x="169698" y="259701"/>
                  </a:lnTo>
                  <a:lnTo>
                    <a:pt x="165455" y="258171"/>
                  </a:lnTo>
                  <a:lnTo>
                    <a:pt x="157116" y="256642"/>
                  </a:lnTo>
                  <a:lnTo>
                    <a:pt x="150850" y="258171"/>
                  </a:lnTo>
                  <a:lnTo>
                    <a:pt x="144584" y="256642"/>
                  </a:lnTo>
                  <a:lnTo>
                    <a:pt x="140341" y="256642"/>
                  </a:lnTo>
                  <a:lnTo>
                    <a:pt x="142462" y="251708"/>
                  </a:lnTo>
                  <a:lnTo>
                    <a:pt x="144584" y="250129"/>
                  </a:lnTo>
                  <a:lnTo>
                    <a:pt x="140341" y="245441"/>
                  </a:lnTo>
                  <a:lnTo>
                    <a:pt x="142462" y="237645"/>
                  </a:lnTo>
                  <a:lnTo>
                    <a:pt x="144584" y="236067"/>
                  </a:lnTo>
                  <a:lnTo>
                    <a:pt x="142462" y="231133"/>
                  </a:lnTo>
                  <a:lnTo>
                    <a:pt x="136196" y="229603"/>
                  </a:lnTo>
                  <a:lnTo>
                    <a:pt x="131755" y="229603"/>
                  </a:lnTo>
                  <a:lnTo>
                    <a:pt x="129683" y="228024"/>
                  </a:lnTo>
                  <a:lnTo>
                    <a:pt x="123417" y="231133"/>
                  </a:lnTo>
                  <a:lnTo>
                    <a:pt x="119223" y="231133"/>
                  </a:lnTo>
                  <a:lnTo>
                    <a:pt x="117101" y="229603"/>
                  </a:lnTo>
                  <a:lnTo>
                    <a:pt x="114980" y="231133"/>
                  </a:lnTo>
                  <a:lnTo>
                    <a:pt x="108713" y="231133"/>
                  </a:lnTo>
                  <a:lnTo>
                    <a:pt x="106641" y="236067"/>
                  </a:lnTo>
                  <a:lnTo>
                    <a:pt x="112908" y="239175"/>
                  </a:lnTo>
                  <a:lnTo>
                    <a:pt x="112908" y="244109"/>
                  </a:lnTo>
                  <a:lnTo>
                    <a:pt x="108713" y="249043"/>
                  </a:lnTo>
                  <a:lnTo>
                    <a:pt x="108713" y="259947"/>
                  </a:lnTo>
                  <a:lnTo>
                    <a:pt x="110835" y="261576"/>
                  </a:lnTo>
                  <a:lnTo>
                    <a:pt x="110835" y="270950"/>
                  </a:lnTo>
                  <a:lnTo>
                    <a:pt x="104569" y="275638"/>
                  </a:lnTo>
                  <a:lnTo>
                    <a:pt x="104569" y="281904"/>
                  </a:lnTo>
                  <a:lnTo>
                    <a:pt x="98303" y="288170"/>
                  </a:lnTo>
                  <a:lnTo>
                    <a:pt x="96181" y="311656"/>
                  </a:lnTo>
                  <a:lnTo>
                    <a:pt x="87793" y="319452"/>
                  </a:lnTo>
                  <a:lnTo>
                    <a:pt x="87793" y="325718"/>
                  </a:lnTo>
                  <a:lnTo>
                    <a:pt x="83599" y="331984"/>
                  </a:lnTo>
                  <a:lnTo>
                    <a:pt x="87793" y="333563"/>
                  </a:lnTo>
                  <a:lnTo>
                    <a:pt x="89866" y="335093"/>
                  </a:lnTo>
                  <a:lnTo>
                    <a:pt x="85721" y="338251"/>
                  </a:lnTo>
                  <a:lnTo>
                    <a:pt x="85721" y="340076"/>
                  </a:lnTo>
                  <a:lnTo>
                    <a:pt x="87793" y="346342"/>
                  </a:lnTo>
                  <a:lnTo>
                    <a:pt x="87793" y="349451"/>
                  </a:lnTo>
                  <a:lnTo>
                    <a:pt x="96181" y="358875"/>
                  </a:lnTo>
                  <a:lnTo>
                    <a:pt x="91987" y="363809"/>
                  </a:lnTo>
                  <a:lnTo>
                    <a:pt x="94109" y="366917"/>
                  </a:lnTo>
                  <a:lnTo>
                    <a:pt x="98303" y="365388"/>
                  </a:lnTo>
                  <a:lnTo>
                    <a:pt x="98303" y="363809"/>
                  </a:lnTo>
                  <a:lnTo>
                    <a:pt x="102448" y="358875"/>
                  </a:lnTo>
                  <a:lnTo>
                    <a:pt x="104569" y="360454"/>
                  </a:lnTo>
                  <a:lnTo>
                    <a:pt x="108713" y="361983"/>
                  </a:lnTo>
                  <a:lnTo>
                    <a:pt x="112908" y="363562"/>
                  </a:lnTo>
                  <a:lnTo>
                    <a:pt x="112908" y="369680"/>
                  </a:lnTo>
                  <a:lnTo>
                    <a:pt x="117101" y="374614"/>
                  </a:lnTo>
                  <a:lnTo>
                    <a:pt x="117101" y="380881"/>
                  </a:lnTo>
                  <a:lnTo>
                    <a:pt x="119223" y="380881"/>
                  </a:lnTo>
                  <a:lnTo>
                    <a:pt x="123417" y="388726"/>
                  </a:lnTo>
                  <a:lnTo>
                    <a:pt x="127562" y="388726"/>
                  </a:lnTo>
                  <a:lnTo>
                    <a:pt x="127562" y="382460"/>
                  </a:lnTo>
                  <a:lnTo>
                    <a:pt x="129683" y="387394"/>
                  </a:lnTo>
                  <a:lnTo>
                    <a:pt x="133828" y="392081"/>
                  </a:lnTo>
                  <a:lnTo>
                    <a:pt x="133828" y="397015"/>
                  </a:lnTo>
                  <a:lnTo>
                    <a:pt x="138022" y="398544"/>
                  </a:lnTo>
                  <a:lnTo>
                    <a:pt x="140094" y="411077"/>
                  </a:lnTo>
                  <a:lnTo>
                    <a:pt x="138022" y="412606"/>
                  </a:lnTo>
                  <a:lnTo>
                    <a:pt x="138022" y="415764"/>
                  </a:lnTo>
                  <a:lnTo>
                    <a:pt x="135949" y="412606"/>
                  </a:lnTo>
                  <a:lnTo>
                    <a:pt x="129683" y="415764"/>
                  </a:lnTo>
                  <a:lnTo>
                    <a:pt x="129683" y="420451"/>
                  </a:lnTo>
                  <a:lnTo>
                    <a:pt x="140094" y="423609"/>
                  </a:lnTo>
                  <a:lnTo>
                    <a:pt x="140094" y="418922"/>
                  </a:lnTo>
                  <a:lnTo>
                    <a:pt x="144337" y="420451"/>
                  </a:lnTo>
                  <a:lnTo>
                    <a:pt x="144337" y="426718"/>
                  </a:lnTo>
                  <a:lnTo>
                    <a:pt x="148531" y="429826"/>
                  </a:lnTo>
                  <a:lnTo>
                    <a:pt x="158942" y="437671"/>
                  </a:lnTo>
                  <a:lnTo>
                    <a:pt x="163136" y="440780"/>
                  </a:lnTo>
                  <a:lnTo>
                    <a:pt x="167330" y="439250"/>
                  </a:lnTo>
                  <a:lnTo>
                    <a:pt x="173645" y="439250"/>
                  </a:lnTo>
                  <a:lnTo>
                    <a:pt x="179912" y="442359"/>
                  </a:lnTo>
                  <a:lnTo>
                    <a:pt x="186178" y="450204"/>
                  </a:lnTo>
                  <a:lnTo>
                    <a:pt x="188250" y="455138"/>
                  </a:lnTo>
                  <a:lnTo>
                    <a:pt x="196638" y="458246"/>
                  </a:lnTo>
                  <a:lnTo>
                    <a:pt x="196638" y="461404"/>
                  </a:lnTo>
                  <a:lnTo>
                    <a:pt x="194566" y="462934"/>
                  </a:lnTo>
                  <a:lnTo>
                    <a:pt x="194566" y="467868"/>
                  </a:lnTo>
                  <a:lnTo>
                    <a:pt x="190322" y="470976"/>
                  </a:lnTo>
                  <a:lnTo>
                    <a:pt x="184056" y="467868"/>
                  </a:lnTo>
                  <a:lnTo>
                    <a:pt x="177790" y="467868"/>
                  </a:lnTo>
                  <a:lnTo>
                    <a:pt x="169452" y="474134"/>
                  </a:lnTo>
                  <a:lnTo>
                    <a:pt x="161063" y="472555"/>
                  </a:lnTo>
                  <a:lnTo>
                    <a:pt x="161063" y="467621"/>
                  </a:lnTo>
                  <a:lnTo>
                    <a:pt x="165208" y="462687"/>
                  </a:lnTo>
                  <a:lnTo>
                    <a:pt x="165208" y="454891"/>
                  </a:lnTo>
                  <a:lnTo>
                    <a:pt x="161063" y="449957"/>
                  </a:lnTo>
                  <a:lnTo>
                    <a:pt x="154798" y="449957"/>
                  </a:lnTo>
                  <a:lnTo>
                    <a:pt x="152676" y="446849"/>
                  </a:lnTo>
                  <a:lnTo>
                    <a:pt x="142216" y="445220"/>
                  </a:lnTo>
                  <a:lnTo>
                    <a:pt x="135949" y="439003"/>
                  </a:lnTo>
                  <a:lnTo>
                    <a:pt x="129683" y="445220"/>
                  </a:lnTo>
                  <a:lnTo>
                    <a:pt x="127562" y="451536"/>
                  </a:lnTo>
                  <a:lnTo>
                    <a:pt x="125489" y="446602"/>
                  </a:lnTo>
                  <a:lnTo>
                    <a:pt x="108713" y="438757"/>
                  </a:lnTo>
                  <a:lnTo>
                    <a:pt x="108713" y="435599"/>
                  </a:lnTo>
                  <a:lnTo>
                    <a:pt x="112908" y="432490"/>
                  </a:lnTo>
                  <a:lnTo>
                    <a:pt x="112908" y="428889"/>
                  </a:lnTo>
                  <a:lnTo>
                    <a:pt x="108713" y="428889"/>
                  </a:lnTo>
                  <a:lnTo>
                    <a:pt x="106641" y="424201"/>
                  </a:lnTo>
                  <a:lnTo>
                    <a:pt x="98303" y="422672"/>
                  </a:lnTo>
                  <a:lnTo>
                    <a:pt x="98303" y="417984"/>
                  </a:lnTo>
                  <a:lnTo>
                    <a:pt x="89866" y="410139"/>
                  </a:lnTo>
                  <a:lnTo>
                    <a:pt x="85721" y="410139"/>
                  </a:lnTo>
                  <a:lnTo>
                    <a:pt x="81527" y="399186"/>
                  </a:lnTo>
                  <a:lnTo>
                    <a:pt x="75261" y="397607"/>
                  </a:lnTo>
                  <a:lnTo>
                    <a:pt x="75261" y="392673"/>
                  </a:lnTo>
                  <a:lnTo>
                    <a:pt x="71067" y="391094"/>
                  </a:lnTo>
                  <a:lnTo>
                    <a:pt x="71067" y="387986"/>
                  </a:lnTo>
                  <a:lnTo>
                    <a:pt x="64801" y="389515"/>
                  </a:lnTo>
                  <a:lnTo>
                    <a:pt x="64801" y="395831"/>
                  </a:lnTo>
                  <a:lnTo>
                    <a:pt x="60606" y="395831"/>
                  </a:lnTo>
                  <a:lnTo>
                    <a:pt x="56413" y="390897"/>
                  </a:lnTo>
                  <a:lnTo>
                    <a:pt x="54341" y="381522"/>
                  </a:lnTo>
                  <a:lnTo>
                    <a:pt x="56413" y="378364"/>
                  </a:lnTo>
                  <a:lnTo>
                    <a:pt x="54341" y="368989"/>
                  </a:lnTo>
                  <a:lnTo>
                    <a:pt x="60606" y="367411"/>
                  </a:lnTo>
                  <a:lnTo>
                    <a:pt x="58485" y="356457"/>
                  </a:lnTo>
                  <a:lnTo>
                    <a:pt x="62679" y="356457"/>
                  </a:lnTo>
                  <a:lnTo>
                    <a:pt x="66873" y="351523"/>
                  </a:lnTo>
                  <a:lnTo>
                    <a:pt x="62679" y="351523"/>
                  </a:lnTo>
                  <a:lnTo>
                    <a:pt x="66873" y="345257"/>
                  </a:lnTo>
                  <a:lnTo>
                    <a:pt x="64801" y="342148"/>
                  </a:lnTo>
                  <a:lnTo>
                    <a:pt x="71067" y="337214"/>
                  </a:lnTo>
                  <a:lnTo>
                    <a:pt x="66873" y="335635"/>
                  </a:lnTo>
                  <a:lnTo>
                    <a:pt x="66873" y="326261"/>
                  </a:lnTo>
                  <a:lnTo>
                    <a:pt x="68995" y="321327"/>
                  </a:lnTo>
                  <a:lnTo>
                    <a:pt x="73139" y="316393"/>
                  </a:lnTo>
                  <a:lnTo>
                    <a:pt x="73139" y="308597"/>
                  </a:lnTo>
                  <a:lnTo>
                    <a:pt x="81527" y="303663"/>
                  </a:lnTo>
                  <a:lnTo>
                    <a:pt x="89866" y="284864"/>
                  </a:lnTo>
                  <a:lnTo>
                    <a:pt x="94109" y="283285"/>
                  </a:lnTo>
                  <a:lnTo>
                    <a:pt x="94109" y="272332"/>
                  </a:lnTo>
                  <a:lnTo>
                    <a:pt x="89866" y="266066"/>
                  </a:lnTo>
                  <a:lnTo>
                    <a:pt x="91987" y="258270"/>
                  </a:lnTo>
                  <a:lnTo>
                    <a:pt x="87793" y="251954"/>
                  </a:lnTo>
                  <a:lnTo>
                    <a:pt x="85721" y="244158"/>
                  </a:lnTo>
                  <a:lnTo>
                    <a:pt x="81527" y="239471"/>
                  </a:lnTo>
                  <a:lnTo>
                    <a:pt x="83599" y="233205"/>
                  </a:lnTo>
                  <a:lnTo>
                    <a:pt x="81527" y="226939"/>
                  </a:lnTo>
                  <a:lnTo>
                    <a:pt x="83599" y="222005"/>
                  </a:lnTo>
                  <a:lnTo>
                    <a:pt x="79455" y="209472"/>
                  </a:lnTo>
                  <a:lnTo>
                    <a:pt x="68995" y="201627"/>
                  </a:lnTo>
                  <a:lnTo>
                    <a:pt x="58485" y="193831"/>
                  </a:lnTo>
                  <a:lnTo>
                    <a:pt x="48025" y="184457"/>
                  </a:lnTo>
                  <a:lnTo>
                    <a:pt x="48025" y="179523"/>
                  </a:lnTo>
                  <a:lnTo>
                    <a:pt x="43880" y="168569"/>
                  </a:lnTo>
                  <a:lnTo>
                    <a:pt x="50146" y="165461"/>
                  </a:lnTo>
                  <a:lnTo>
                    <a:pt x="52219" y="160526"/>
                  </a:lnTo>
                  <a:lnTo>
                    <a:pt x="48025" y="144886"/>
                  </a:lnTo>
                  <a:lnTo>
                    <a:pt x="50146" y="139952"/>
                  </a:lnTo>
                  <a:lnTo>
                    <a:pt x="58485" y="136843"/>
                  </a:lnTo>
                  <a:lnTo>
                    <a:pt x="56413" y="130577"/>
                  </a:lnTo>
                  <a:lnTo>
                    <a:pt x="50146" y="127419"/>
                  </a:lnTo>
                  <a:lnTo>
                    <a:pt x="48025" y="121202"/>
                  </a:lnTo>
                  <a:lnTo>
                    <a:pt x="43880" y="113357"/>
                  </a:lnTo>
                  <a:lnTo>
                    <a:pt x="37565" y="111828"/>
                  </a:lnTo>
                  <a:lnTo>
                    <a:pt x="29177" y="96137"/>
                  </a:lnTo>
                  <a:lnTo>
                    <a:pt x="20838" y="91203"/>
                  </a:lnTo>
                  <a:lnTo>
                    <a:pt x="18766" y="86516"/>
                  </a:lnTo>
                  <a:lnTo>
                    <a:pt x="12450" y="81582"/>
                  </a:lnTo>
                  <a:lnTo>
                    <a:pt x="6184" y="73786"/>
                  </a:lnTo>
                  <a:lnTo>
                    <a:pt x="1990" y="72207"/>
                  </a:lnTo>
                  <a:lnTo>
                    <a:pt x="-82" y="67273"/>
                  </a:lnTo>
                  <a:lnTo>
                    <a:pt x="10329" y="64116"/>
                  </a:lnTo>
                  <a:lnTo>
                    <a:pt x="16645" y="59182"/>
                  </a:lnTo>
                  <a:lnTo>
                    <a:pt x="14572" y="54494"/>
                  </a:lnTo>
                  <a:lnTo>
                    <a:pt x="14572" y="48968"/>
                  </a:lnTo>
                  <a:lnTo>
                    <a:pt x="18766" y="45810"/>
                  </a:lnTo>
                  <a:lnTo>
                    <a:pt x="16645" y="34857"/>
                  </a:lnTo>
                  <a:lnTo>
                    <a:pt x="22910" y="28640"/>
                  </a:lnTo>
                  <a:lnTo>
                    <a:pt x="37712" y="33327"/>
                  </a:lnTo>
                  <a:lnTo>
                    <a:pt x="46101" y="27012"/>
                  </a:lnTo>
                  <a:lnTo>
                    <a:pt x="52367" y="27012"/>
                  </a:lnTo>
                  <a:lnTo>
                    <a:pt x="56561" y="23952"/>
                  </a:lnTo>
                  <a:lnTo>
                    <a:pt x="56561" y="17637"/>
                  </a:lnTo>
                  <a:lnTo>
                    <a:pt x="60755" y="12703"/>
                  </a:lnTo>
                  <a:lnTo>
                    <a:pt x="69143" y="14282"/>
                  </a:lnTo>
                  <a:lnTo>
                    <a:pt x="73287" y="11173"/>
                  </a:lnTo>
                  <a:lnTo>
                    <a:pt x="69143" y="6239"/>
                  </a:lnTo>
                  <a:lnTo>
                    <a:pt x="69143" y="3131"/>
                  </a:lnTo>
                  <a:lnTo>
                    <a:pt x="77481" y="-27"/>
                  </a:lnTo>
                  <a:close/>
                  <a:moveTo>
                    <a:pt x="106543" y="443198"/>
                  </a:moveTo>
                  <a:lnTo>
                    <a:pt x="110736" y="448132"/>
                  </a:lnTo>
                  <a:lnTo>
                    <a:pt x="112809" y="446602"/>
                  </a:lnTo>
                  <a:lnTo>
                    <a:pt x="110736" y="443444"/>
                  </a:lnTo>
                  <a:lnTo>
                    <a:pt x="108615" y="441865"/>
                  </a:lnTo>
                  <a:close/>
                  <a:moveTo>
                    <a:pt x="83500" y="413593"/>
                  </a:moveTo>
                  <a:lnTo>
                    <a:pt x="85622" y="419859"/>
                  </a:lnTo>
                  <a:lnTo>
                    <a:pt x="87694" y="416702"/>
                  </a:lnTo>
                  <a:lnTo>
                    <a:pt x="85622" y="413593"/>
                  </a:lnTo>
                  <a:close/>
                  <a:moveTo>
                    <a:pt x="58386" y="397952"/>
                  </a:moveTo>
                  <a:lnTo>
                    <a:pt x="56314" y="402640"/>
                  </a:lnTo>
                  <a:lnTo>
                    <a:pt x="58386" y="404219"/>
                  </a:lnTo>
                  <a:lnTo>
                    <a:pt x="58386" y="410485"/>
                  </a:lnTo>
                  <a:lnTo>
                    <a:pt x="62580" y="405551"/>
                  </a:lnTo>
                  <a:lnTo>
                    <a:pt x="62580" y="397804"/>
                  </a:lnTo>
                  <a:close/>
                  <a:moveTo>
                    <a:pt x="190224" y="269667"/>
                  </a:moveTo>
                  <a:lnTo>
                    <a:pt x="190224" y="274355"/>
                  </a:lnTo>
                  <a:lnTo>
                    <a:pt x="196539" y="277463"/>
                  </a:lnTo>
                  <a:lnTo>
                    <a:pt x="200733" y="277463"/>
                  </a:lnTo>
                  <a:close/>
                  <a:moveTo>
                    <a:pt x="119124" y="343234"/>
                  </a:moveTo>
                  <a:lnTo>
                    <a:pt x="112809" y="344763"/>
                  </a:lnTo>
                  <a:lnTo>
                    <a:pt x="117003" y="346342"/>
                  </a:lnTo>
                  <a:close/>
                  <a:moveTo>
                    <a:pt x="121197" y="349451"/>
                  </a:moveTo>
                  <a:lnTo>
                    <a:pt x="114881" y="352608"/>
                  </a:lnTo>
                  <a:lnTo>
                    <a:pt x="117003" y="355766"/>
                  </a:lnTo>
                  <a:lnTo>
                    <a:pt x="121197" y="360700"/>
                  </a:lnTo>
                  <a:lnTo>
                    <a:pt x="123318" y="35443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Graphic 2">
              <a:extLst>
                <a:ext uri="{FF2B5EF4-FFF2-40B4-BE49-F238E27FC236}">
                  <a16:creationId xmlns:a16="http://schemas.microsoft.com/office/drawing/2014/main" id="{369E017C-B1C3-4082-A757-ACE883FEED7F}"/>
                </a:ext>
              </a:extLst>
            </p:cNvPr>
            <p:cNvSpPr/>
            <p:nvPr/>
          </p:nvSpPr>
          <p:spPr>
            <a:xfrm>
              <a:off x="8413462" y="3804290"/>
              <a:ext cx="288458" cy="549548"/>
            </a:xfrm>
            <a:custGeom>
              <a:avLst/>
              <a:gdLst>
                <a:gd name="connsiteX0" fmla="*/ 143202 w 317505"/>
                <a:gd name="connsiteY0" fmla="*/ 1453 h 604912"/>
                <a:gd name="connsiteX1" fmla="*/ 148975 w 317505"/>
                <a:gd name="connsiteY1" fmla="*/ -27 h 604912"/>
                <a:gd name="connsiteX2" fmla="*/ 158843 w 317505"/>
                <a:gd name="connsiteY2" fmla="*/ 2933 h 604912"/>
                <a:gd name="connsiteX3" fmla="*/ 162692 w 317505"/>
                <a:gd name="connsiteY3" fmla="*/ -27 h 604912"/>
                <a:gd name="connsiteX4" fmla="*/ 170389 w 317505"/>
                <a:gd name="connsiteY4" fmla="*/ -27 h 604912"/>
                <a:gd name="connsiteX5" fmla="*/ 176211 w 317505"/>
                <a:gd name="connsiteY5" fmla="*/ 7374 h 604912"/>
                <a:gd name="connsiteX6" fmla="*/ 182034 w 317505"/>
                <a:gd name="connsiteY6" fmla="*/ 11864 h 604912"/>
                <a:gd name="connsiteX7" fmla="*/ 183957 w 317505"/>
                <a:gd name="connsiteY7" fmla="*/ 22324 h 604912"/>
                <a:gd name="connsiteX8" fmla="*/ 191655 w 317505"/>
                <a:gd name="connsiteY8" fmla="*/ 22324 h 604912"/>
                <a:gd name="connsiteX9" fmla="*/ 197428 w 317505"/>
                <a:gd name="connsiteY9" fmla="*/ 28245 h 604912"/>
                <a:gd name="connsiteX10" fmla="*/ 197428 w 317505"/>
                <a:gd name="connsiteY10" fmla="*/ 35695 h 604912"/>
                <a:gd name="connsiteX11" fmla="*/ 203200 w 317505"/>
                <a:gd name="connsiteY11" fmla="*/ 47636 h 604912"/>
                <a:gd name="connsiteX12" fmla="*/ 203200 w 317505"/>
                <a:gd name="connsiteY12" fmla="*/ 56566 h 604912"/>
                <a:gd name="connsiteX13" fmla="*/ 201276 w 317505"/>
                <a:gd name="connsiteY13" fmla="*/ 68507 h 604912"/>
                <a:gd name="connsiteX14" fmla="*/ 201276 w 317505"/>
                <a:gd name="connsiteY14" fmla="*/ 78967 h 604912"/>
                <a:gd name="connsiteX15" fmla="*/ 193579 w 317505"/>
                <a:gd name="connsiteY15" fmla="*/ 81927 h 604912"/>
                <a:gd name="connsiteX16" fmla="*/ 193579 w 317505"/>
                <a:gd name="connsiteY16" fmla="*/ 86417 h 604912"/>
                <a:gd name="connsiteX17" fmla="*/ 187806 w 317505"/>
                <a:gd name="connsiteY17" fmla="*/ 87898 h 604912"/>
                <a:gd name="connsiteX18" fmla="*/ 185882 w 317505"/>
                <a:gd name="connsiteY18" fmla="*/ 90858 h 604912"/>
                <a:gd name="connsiteX19" fmla="*/ 191655 w 317505"/>
                <a:gd name="connsiteY19" fmla="*/ 98308 h 604912"/>
                <a:gd name="connsiteX20" fmla="*/ 187806 w 317505"/>
                <a:gd name="connsiteY20" fmla="*/ 101318 h 604912"/>
                <a:gd name="connsiteX21" fmla="*/ 182034 w 317505"/>
                <a:gd name="connsiteY21" fmla="*/ 99838 h 604912"/>
                <a:gd name="connsiteX22" fmla="*/ 178135 w 317505"/>
                <a:gd name="connsiteY22" fmla="*/ 104279 h 604912"/>
                <a:gd name="connsiteX23" fmla="*/ 176211 w 317505"/>
                <a:gd name="connsiteY23" fmla="*/ 108769 h 604912"/>
                <a:gd name="connsiteX24" fmla="*/ 178135 w 317505"/>
                <a:gd name="connsiteY24" fmla="*/ 113259 h 604912"/>
                <a:gd name="connsiteX25" fmla="*/ 176211 w 317505"/>
                <a:gd name="connsiteY25" fmla="*/ 117699 h 604912"/>
                <a:gd name="connsiteX26" fmla="*/ 176211 w 317505"/>
                <a:gd name="connsiteY26" fmla="*/ 123669 h 604912"/>
                <a:gd name="connsiteX27" fmla="*/ 180060 w 317505"/>
                <a:gd name="connsiteY27" fmla="*/ 125150 h 604912"/>
                <a:gd name="connsiteX28" fmla="*/ 183957 w 317505"/>
                <a:gd name="connsiteY28" fmla="*/ 129640 h 604912"/>
                <a:gd name="connsiteX29" fmla="*/ 187806 w 317505"/>
                <a:gd name="connsiteY29" fmla="*/ 132600 h 604912"/>
                <a:gd name="connsiteX30" fmla="*/ 187806 w 317505"/>
                <a:gd name="connsiteY30" fmla="*/ 140050 h 604912"/>
                <a:gd name="connsiteX31" fmla="*/ 191655 w 317505"/>
                <a:gd name="connsiteY31" fmla="*/ 146020 h 604912"/>
                <a:gd name="connsiteX32" fmla="*/ 199351 w 317505"/>
                <a:gd name="connsiteY32" fmla="*/ 141580 h 604912"/>
                <a:gd name="connsiteX33" fmla="*/ 214795 w 317505"/>
                <a:gd name="connsiteY33" fmla="*/ 138570 h 604912"/>
                <a:gd name="connsiteX34" fmla="*/ 216719 w 317505"/>
                <a:gd name="connsiteY34" fmla="*/ 143011 h 604912"/>
                <a:gd name="connsiteX35" fmla="*/ 214795 w 317505"/>
                <a:gd name="connsiteY35" fmla="*/ 148981 h 604912"/>
                <a:gd name="connsiteX36" fmla="*/ 218644 w 317505"/>
                <a:gd name="connsiteY36" fmla="*/ 151991 h 604912"/>
                <a:gd name="connsiteX37" fmla="*/ 228512 w 317505"/>
                <a:gd name="connsiteY37" fmla="*/ 148981 h 604912"/>
                <a:gd name="connsiteX38" fmla="*/ 230436 w 317505"/>
                <a:gd name="connsiteY38" fmla="*/ 155000 h 604912"/>
                <a:gd name="connsiteX39" fmla="*/ 228512 w 317505"/>
                <a:gd name="connsiteY39" fmla="*/ 159441 h 604912"/>
                <a:gd name="connsiteX40" fmla="*/ 232360 w 317505"/>
                <a:gd name="connsiteY40" fmla="*/ 163882 h 604912"/>
                <a:gd name="connsiteX41" fmla="*/ 241982 w 317505"/>
                <a:gd name="connsiteY41" fmla="*/ 165411 h 604912"/>
                <a:gd name="connsiteX42" fmla="*/ 240057 w 317505"/>
                <a:gd name="connsiteY42" fmla="*/ 168372 h 604912"/>
                <a:gd name="connsiteX43" fmla="*/ 241982 w 317505"/>
                <a:gd name="connsiteY43" fmla="*/ 171381 h 604912"/>
                <a:gd name="connsiteX44" fmla="*/ 243906 w 317505"/>
                <a:gd name="connsiteY44" fmla="*/ 169852 h 604912"/>
                <a:gd name="connsiteX45" fmla="*/ 253774 w 317505"/>
                <a:gd name="connsiteY45" fmla="*/ 168372 h 604912"/>
                <a:gd name="connsiteX46" fmla="*/ 261521 w 317505"/>
                <a:gd name="connsiteY46" fmla="*/ 174342 h 604912"/>
                <a:gd name="connsiteX47" fmla="*/ 261521 w 317505"/>
                <a:gd name="connsiteY47" fmla="*/ 178832 h 604912"/>
                <a:gd name="connsiteX48" fmla="*/ 259547 w 317505"/>
                <a:gd name="connsiteY48" fmla="*/ 183273 h 604912"/>
                <a:gd name="connsiteX49" fmla="*/ 259547 w 317505"/>
                <a:gd name="connsiteY49" fmla="*/ 187762 h 604912"/>
                <a:gd name="connsiteX50" fmla="*/ 249679 w 317505"/>
                <a:gd name="connsiteY50" fmla="*/ 196693 h 604912"/>
                <a:gd name="connsiteX51" fmla="*/ 243906 w 317505"/>
                <a:gd name="connsiteY51" fmla="*/ 202663 h 604912"/>
                <a:gd name="connsiteX52" fmla="*/ 243906 w 317505"/>
                <a:gd name="connsiteY52" fmla="*/ 207153 h 604912"/>
                <a:gd name="connsiteX53" fmla="*/ 249679 w 317505"/>
                <a:gd name="connsiteY53" fmla="*/ 205624 h 604912"/>
                <a:gd name="connsiteX54" fmla="*/ 261323 w 317505"/>
                <a:gd name="connsiteY54" fmla="*/ 205624 h 604912"/>
                <a:gd name="connsiteX55" fmla="*/ 263248 w 317505"/>
                <a:gd name="connsiteY55" fmla="*/ 208633 h 604912"/>
                <a:gd name="connsiteX56" fmla="*/ 269020 w 317505"/>
                <a:gd name="connsiteY56" fmla="*/ 204143 h 604912"/>
                <a:gd name="connsiteX57" fmla="*/ 272869 w 317505"/>
                <a:gd name="connsiteY57" fmla="*/ 208633 h 604912"/>
                <a:gd name="connsiteX58" fmla="*/ 270944 w 317505"/>
                <a:gd name="connsiteY58" fmla="*/ 216084 h 604912"/>
                <a:gd name="connsiteX59" fmla="*/ 272869 w 317505"/>
                <a:gd name="connsiteY59" fmla="*/ 222005 h 604912"/>
                <a:gd name="connsiteX60" fmla="*/ 280566 w 317505"/>
                <a:gd name="connsiteY60" fmla="*/ 226495 h 604912"/>
                <a:gd name="connsiteX61" fmla="*/ 286339 w 317505"/>
                <a:gd name="connsiteY61" fmla="*/ 222005 h 604912"/>
                <a:gd name="connsiteX62" fmla="*/ 296207 w 317505"/>
                <a:gd name="connsiteY62" fmla="*/ 222005 h 604912"/>
                <a:gd name="connsiteX63" fmla="*/ 309726 w 317505"/>
                <a:gd name="connsiteY63" fmla="*/ 216084 h 604912"/>
                <a:gd name="connsiteX64" fmla="*/ 317423 w 317505"/>
                <a:gd name="connsiteY64" fmla="*/ 217564 h 604912"/>
                <a:gd name="connsiteX65" fmla="*/ 315499 w 317505"/>
                <a:gd name="connsiteY65" fmla="*/ 223534 h 604912"/>
                <a:gd name="connsiteX66" fmla="*/ 307802 w 317505"/>
                <a:gd name="connsiteY66" fmla="*/ 232465 h 604912"/>
                <a:gd name="connsiteX67" fmla="*/ 297934 w 317505"/>
                <a:gd name="connsiteY67" fmla="*/ 233994 h 604912"/>
                <a:gd name="connsiteX68" fmla="*/ 297934 w 317505"/>
                <a:gd name="connsiteY68" fmla="*/ 238435 h 604912"/>
                <a:gd name="connsiteX69" fmla="*/ 294085 w 317505"/>
                <a:gd name="connsiteY69" fmla="*/ 242876 h 604912"/>
                <a:gd name="connsiteX70" fmla="*/ 296010 w 317505"/>
                <a:gd name="connsiteY70" fmla="*/ 247366 h 604912"/>
                <a:gd name="connsiteX71" fmla="*/ 288263 w 317505"/>
                <a:gd name="connsiteY71" fmla="*/ 253336 h 604912"/>
                <a:gd name="connsiteX72" fmla="*/ 284415 w 317505"/>
                <a:gd name="connsiteY72" fmla="*/ 253336 h 604912"/>
                <a:gd name="connsiteX73" fmla="*/ 280566 w 317505"/>
                <a:gd name="connsiteY73" fmla="*/ 260786 h 604912"/>
                <a:gd name="connsiteX74" fmla="*/ 270698 w 317505"/>
                <a:gd name="connsiteY74" fmla="*/ 260786 h 604912"/>
                <a:gd name="connsiteX75" fmla="*/ 263001 w 317505"/>
                <a:gd name="connsiteY75" fmla="*/ 263747 h 604912"/>
                <a:gd name="connsiteX76" fmla="*/ 263001 w 317505"/>
                <a:gd name="connsiteY76" fmla="*/ 266756 h 604912"/>
                <a:gd name="connsiteX77" fmla="*/ 266849 w 317505"/>
                <a:gd name="connsiteY77" fmla="*/ 271246 h 604912"/>
                <a:gd name="connsiteX78" fmla="*/ 263001 w 317505"/>
                <a:gd name="connsiteY78" fmla="*/ 274207 h 604912"/>
                <a:gd name="connsiteX79" fmla="*/ 253133 w 317505"/>
                <a:gd name="connsiteY79" fmla="*/ 272727 h 604912"/>
                <a:gd name="connsiteX80" fmla="*/ 249235 w 317505"/>
                <a:gd name="connsiteY80" fmla="*/ 278697 h 604912"/>
                <a:gd name="connsiteX81" fmla="*/ 249235 w 317505"/>
                <a:gd name="connsiteY81" fmla="*/ 284618 h 604912"/>
                <a:gd name="connsiteX82" fmla="*/ 245386 w 317505"/>
                <a:gd name="connsiteY82" fmla="*/ 287627 h 604912"/>
                <a:gd name="connsiteX83" fmla="*/ 239613 w 317505"/>
                <a:gd name="connsiteY83" fmla="*/ 287627 h 604912"/>
                <a:gd name="connsiteX84" fmla="*/ 231917 w 317505"/>
                <a:gd name="connsiteY84" fmla="*/ 293598 h 604912"/>
                <a:gd name="connsiteX85" fmla="*/ 216473 w 317505"/>
                <a:gd name="connsiteY85" fmla="*/ 289107 h 604912"/>
                <a:gd name="connsiteX86" fmla="*/ 210651 w 317505"/>
                <a:gd name="connsiteY86" fmla="*/ 295078 h 604912"/>
                <a:gd name="connsiteX87" fmla="*/ 212624 w 317505"/>
                <a:gd name="connsiteY87" fmla="*/ 307018 h 604912"/>
                <a:gd name="connsiteX88" fmla="*/ 208726 w 317505"/>
                <a:gd name="connsiteY88" fmla="*/ 309979 h 604912"/>
                <a:gd name="connsiteX89" fmla="*/ 208726 w 317505"/>
                <a:gd name="connsiteY89" fmla="*/ 318909 h 604912"/>
                <a:gd name="connsiteX90" fmla="*/ 210651 w 317505"/>
                <a:gd name="connsiteY90" fmla="*/ 323399 h 604912"/>
                <a:gd name="connsiteX91" fmla="*/ 204878 w 317505"/>
                <a:gd name="connsiteY91" fmla="*/ 329369 h 604912"/>
                <a:gd name="connsiteX92" fmla="*/ 195009 w 317505"/>
                <a:gd name="connsiteY92" fmla="*/ 332330 h 604912"/>
                <a:gd name="connsiteX93" fmla="*/ 196934 w 317505"/>
                <a:gd name="connsiteY93" fmla="*/ 336820 h 604912"/>
                <a:gd name="connsiteX94" fmla="*/ 200783 w 317505"/>
                <a:gd name="connsiteY94" fmla="*/ 338300 h 604912"/>
                <a:gd name="connsiteX95" fmla="*/ 206556 w 317505"/>
                <a:gd name="connsiteY95" fmla="*/ 345750 h 604912"/>
                <a:gd name="connsiteX96" fmla="*/ 212377 w 317505"/>
                <a:gd name="connsiteY96" fmla="*/ 350191 h 604912"/>
                <a:gd name="connsiteX97" fmla="*/ 214302 w 317505"/>
                <a:gd name="connsiteY97" fmla="*/ 356161 h 604912"/>
                <a:gd name="connsiteX98" fmla="*/ 222049 w 317505"/>
                <a:gd name="connsiteY98" fmla="*/ 360651 h 604912"/>
                <a:gd name="connsiteX99" fmla="*/ 231917 w 317505"/>
                <a:gd name="connsiteY99" fmla="*/ 375453 h 604912"/>
                <a:gd name="connsiteX100" fmla="*/ 237689 w 317505"/>
                <a:gd name="connsiteY100" fmla="*/ 376933 h 604912"/>
                <a:gd name="connsiteX101" fmla="*/ 241538 w 317505"/>
                <a:gd name="connsiteY101" fmla="*/ 385913 h 604912"/>
                <a:gd name="connsiteX102" fmla="*/ 243462 w 317505"/>
                <a:gd name="connsiteY102" fmla="*/ 391834 h 604912"/>
                <a:gd name="connsiteX103" fmla="*/ 249235 w 317505"/>
                <a:gd name="connsiteY103" fmla="*/ 394844 h 604912"/>
                <a:gd name="connsiteX104" fmla="*/ 251159 w 317505"/>
                <a:gd name="connsiteY104" fmla="*/ 400814 h 604912"/>
                <a:gd name="connsiteX105" fmla="*/ 243462 w 317505"/>
                <a:gd name="connsiteY105" fmla="*/ 403824 h 604912"/>
                <a:gd name="connsiteX106" fmla="*/ 241538 w 317505"/>
                <a:gd name="connsiteY106" fmla="*/ 409745 h 604912"/>
                <a:gd name="connsiteX107" fmla="*/ 245386 w 317505"/>
                <a:gd name="connsiteY107" fmla="*/ 424547 h 604912"/>
                <a:gd name="connsiteX108" fmla="*/ 243462 w 317505"/>
                <a:gd name="connsiteY108" fmla="*/ 428987 h 604912"/>
                <a:gd name="connsiteX109" fmla="*/ 237689 w 317505"/>
                <a:gd name="connsiteY109" fmla="*/ 433477 h 604912"/>
                <a:gd name="connsiteX110" fmla="*/ 241538 w 317505"/>
                <a:gd name="connsiteY110" fmla="*/ 443937 h 604912"/>
                <a:gd name="connsiteX111" fmla="*/ 241538 w 317505"/>
                <a:gd name="connsiteY111" fmla="*/ 448428 h 604912"/>
                <a:gd name="connsiteX112" fmla="*/ 251406 w 317505"/>
                <a:gd name="connsiteY112" fmla="*/ 458838 h 604912"/>
                <a:gd name="connsiteX113" fmla="*/ 263050 w 317505"/>
                <a:gd name="connsiteY113" fmla="*/ 466289 h 604912"/>
                <a:gd name="connsiteX114" fmla="*/ 272918 w 317505"/>
                <a:gd name="connsiteY114" fmla="*/ 473739 h 604912"/>
                <a:gd name="connsiteX115" fmla="*/ 276767 w 317505"/>
                <a:gd name="connsiteY115" fmla="*/ 487160 h 604912"/>
                <a:gd name="connsiteX116" fmla="*/ 274842 w 317505"/>
                <a:gd name="connsiteY116" fmla="*/ 491600 h 604912"/>
                <a:gd name="connsiteX117" fmla="*/ 276767 w 317505"/>
                <a:gd name="connsiteY117" fmla="*/ 497570 h 604912"/>
                <a:gd name="connsiteX118" fmla="*/ 274842 w 317505"/>
                <a:gd name="connsiteY118" fmla="*/ 503541 h 604912"/>
                <a:gd name="connsiteX119" fmla="*/ 278691 w 317505"/>
                <a:gd name="connsiteY119" fmla="*/ 508031 h 604912"/>
                <a:gd name="connsiteX120" fmla="*/ 280615 w 317505"/>
                <a:gd name="connsiteY120" fmla="*/ 516961 h 604912"/>
                <a:gd name="connsiteX121" fmla="*/ 284464 w 317505"/>
                <a:gd name="connsiteY121" fmla="*/ 522931 h 604912"/>
                <a:gd name="connsiteX122" fmla="*/ 282540 w 317505"/>
                <a:gd name="connsiteY122" fmla="*/ 530382 h 604912"/>
                <a:gd name="connsiteX123" fmla="*/ 286388 w 317505"/>
                <a:gd name="connsiteY123" fmla="*/ 537832 h 604912"/>
                <a:gd name="connsiteX124" fmla="*/ 286388 w 317505"/>
                <a:gd name="connsiteY124" fmla="*/ 548292 h 604912"/>
                <a:gd name="connsiteX125" fmla="*/ 282540 w 317505"/>
                <a:gd name="connsiteY125" fmla="*/ 549723 h 604912"/>
                <a:gd name="connsiteX126" fmla="*/ 274842 w 317505"/>
                <a:gd name="connsiteY126" fmla="*/ 569163 h 604912"/>
                <a:gd name="connsiteX127" fmla="*/ 267146 w 317505"/>
                <a:gd name="connsiteY127" fmla="*/ 573604 h 604912"/>
                <a:gd name="connsiteX128" fmla="*/ 267146 w 317505"/>
                <a:gd name="connsiteY128" fmla="*/ 581054 h 604912"/>
                <a:gd name="connsiteX129" fmla="*/ 263297 w 317505"/>
                <a:gd name="connsiteY129" fmla="*/ 585544 h 604912"/>
                <a:gd name="connsiteX130" fmla="*/ 261373 w 317505"/>
                <a:gd name="connsiteY130" fmla="*/ 591465 h 604912"/>
                <a:gd name="connsiteX131" fmla="*/ 261373 w 317505"/>
                <a:gd name="connsiteY131" fmla="*/ 591465 h 604912"/>
                <a:gd name="connsiteX132" fmla="*/ 259399 w 317505"/>
                <a:gd name="connsiteY132" fmla="*/ 595955 h 604912"/>
                <a:gd name="connsiteX133" fmla="*/ 255550 w 317505"/>
                <a:gd name="connsiteY133" fmla="*/ 604886 h 604912"/>
                <a:gd name="connsiteX134" fmla="*/ 253626 w 317505"/>
                <a:gd name="connsiteY134" fmla="*/ 595955 h 604912"/>
                <a:gd name="connsiteX135" fmla="*/ 253626 w 317505"/>
                <a:gd name="connsiteY135" fmla="*/ 588505 h 604912"/>
                <a:gd name="connsiteX136" fmla="*/ 249728 w 317505"/>
                <a:gd name="connsiteY136" fmla="*/ 582535 h 604912"/>
                <a:gd name="connsiteX137" fmla="*/ 249728 w 317505"/>
                <a:gd name="connsiteY137" fmla="*/ 579574 h 604912"/>
                <a:gd name="connsiteX138" fmla="*/ 253626 w 317505"/>
                <a:gd name="connsiteY138" fmla="*/ 581054 h 604912"/>
                <a:gd name="connsiteX139" fmla="*/ 255550 w 317505"/>
                <a:gd name="connsiteY139" fmla="*/ 579574 h 604912"/>
                <a:gd name="connsiteX140" fmla="*/ 261373 w 317505"/>
                <a:gd name="connsiteY140" fmla="*/ 573604 h 604912"/>
                <a:gd name="connsiteX141" fmla="*/ 261373 w 317505"/>
                <a:gd name="connsiteY141" fmla="*/ 569163 h 604912"/>
                <a:gd name="connsiteX142" fmla="*/ 259399 w 317505"/>
                <a:gd name="connsiteY142" fmla="*/ 567634 h 604912"/>
                <a:gd name="connsiteX143" fmla="*/ 261373 w 317505"/>
                <a:gd name="connsiteY143" fmla="*/ 558703 h 604912"/>
                <a:gd name="connsiteX144" fmla="*/ 263297 w 317505"/>
                <a:gd name="connsiteY144" fmla="*/ 557223 h 604912"/>
                <a:gd name="connsiteX145" fmla="*/ 265221 w 317505"/>
                <a:gd name="connsiteY145" fmla="*/ 554213 h 604912"/>
                <a:gd name="connsiteX146" fmla="*/ 261373 w 317505"/>
                <a:gd name="connsiteY146" fmla="*/ 546763 h 604912"/>
                <a:gd name="connsiteX147" fmla="*/ 265221 w 317505"/>
                <a:gd name="connsiteY147" fmla="*/ 543802 h 604912"/>
                <a:gd name="connsiteX148" fmla="*/ 261373 w 317505"/>
                <a:gd name="connsiteY148" fmla="*/ 537832 h 604912"/>
                <a:gd name="connsiteX149" fmla="*/ 255550 w 317505"/>
                <a:gd name="connsiteY149" fmla="*/ 533342 h 604912"/>
                <a:gd name="connsiteX150" fmla="*/ 255550 w 317505"/>
                <a:gd name="connsiteY150" fmla="*/ 525892 h 604912"/>
                <a:gd name="connsiteX151" fmla="*/ 259399 w 317505"/>
                <a:gd name="connsiteY151" fmla="*/ 522931 h 604912"/>
                <a:gd name="connsiteX152" fmla="*/ 255550 w 317505"/>
                <a:gd name="connsiteY152" fmla="*/ 516961 h 604912"/>
                <a:gd name="connsiteX153" fmla="*/ 251653 w 317505"/>
                <a:gd name="connsiteY153" fmla="*/ 515481 h 604912"/>
                <a:gd name="connsiteX154" fmla="*/ 249728 w 317505"/>
                <a:gd name="connsiteY154" fmla="*/ 496090 h 604912"/>
                <a:gd name="connsiteX155" fmla="*/ 245880 w 317505"/>
                <a:gd name="connsiteY155" fmla="*/ 493130 h 604912"/>
                <a:gd name="connsiteX156" fmla="*/ 243955 w 317505"/>
                <a:gd name="connsiteY156" fmla="*/ 487160 h 604912"/>
                <a:gd name="connsiteX157" fmla="*/ 240107 w 317505"/>
                <a:gd name="connsiteY157" fmla="*/ 478229 h 604912"/>
                <a:gd name="connsiteX158" fmla="*/ 238182 w 317505"/>
                <a:gd name="connsiteY158" fmla="*/ 488640 h 604912"/>
                <a:gd name="connsiteX159" fmla="*/ 236259 w 317505"/>
                <a:gd name="connsiteY159" fmla="*/ 490169 h 604912"/>
                <a:gd name="connsiteX160" fmla="*/ 236259 w 317505"/>
                <a:gd name="connsiteY160" fmla="*/ 485680 h 604912"/>
                <a:gd name="connsiteX161" fmla="*/ 232410 w 317505"/>
                <a:gd name="connsiteY161" fmla="*/ 478229 h 604912"/>
                <a:gd name="connsiteX162" fmla="*/ 234334 w 317505"/>
                <a:gd name="connsiteY162" fmla="*/ 466289 h 604912"/>
                <a:gd name="connsiteX163" fmla="*/ 228561 w 317505"/>
                <a:gd name="connsiteY163" fmla="*/ 461848 h 604912"/>
                <a:gd name="connsiteX164" fmla="*/ 228561 w 317505"/>
                <a:gd name="connsiteY164" fmla="*/ 454349 h 604912"/>
                <a:gd name="connsiteX165" fmla="*/ 230486 w 317505"/>
                <a:gd name="connsiteY165" fmla="*/ 451388 h 604912"/>
                <a:gd name="connsiteX166" fmla="*/ 220617 w 317505"/>
                <a:gd name="connsiteY166" fmla="*/ 446898 h 604912"/>
                <a:gd name="connsiteX167" fmla="*/ 220617 w 317505"/>
                <a:gd name="connsiteY167" fmla="*/ 437967 h 604912"/>
                <a:gd name="connsiteX168" fmla="*/ 218693 w 317505"/>
                <a:gd name="connsiteY168" fmla="*/ 437967 h 604912"/>
                <a:gd name="connsiteX169" fmla="*/ 214844 w 317505"/>
                <a:gd name="connsiteY169" fmla="*/ 414136 h 604912"/>
                <a:gd name="connsiteX170" fmla="*/ 210947 w 317505"/>
                <a:gd name="connsiteY170" fmla="*/ 412606 h 604912"/>
                <a:gd name="connsiteX171" fmla="*/ 209023 w 317505"/>
                <a:gd name="connsiteY171" fmla="*/ 406686 h 604912"/>
                <a:gd name="connsiteX172" fmla="*/ 212920 w 317505"/>
                <a:gd name="connsiteY172" fmla="*/ 406686 h 604912"/>
                <a:gd name="connsiteX173" fmla="*/ 212920 w 317505"/>
                <a:gd name="connsiteY173" fmla="*/ 400715 h 604912"/>
                <a:gd name="connsiteX174" fmla="*/ 209023 w 317505"/>
                <a:gd name="connsiteY174" fmla="*/ 394745 h 604912"/>
                <a:gd name="connsiteX175" fmla="*/ 210947 w 317505"/>
                <a:gd name="connsiteY175" fmla="*/ 391736 h 604912"/>
                <a:gd name="connsiteX176" fmla="*/ 210947 w 317505"/>
                <a:gd name="connsiteY176" fmla="*/ 388775 h 604912"/>
                <a:gd name="connsiteX177" fmla="*/ 209023 w 317505"/>
                <a:gd name="connsiteY177" fmla="*/ 391736 h 604912"/>
                <a:gd name="connsiteX178" fmla="*/ 203250 w 317505"/>
                <a:gd name="connsiteY178" fmla="*/ 393265 h 604912"/>
                <a:gd name="connsiteX179" fmla="*/ 197477 w 317505"/>
                <a:gd name="connsiteY179" fmla="*/ 393265 h 604912"/>
                <a:gd name="connsiteX180" fmla="*/ 195553 w 317505"/>
                <a:gd name="connsiteY180" fmla="*/ 387295 h 604912"/>
                <a:gd name="connsiteX181" fmla="*/ 193628 w 317505"/>
                <a:gd name="connsiteY181" fmla="*/ 384285 h 604912"/>
                <a:gd name="connsiteX182" fmla="*/ 184007 w 317505"/>
                <a:gd name="connsiteY182" fmla="*/ 370864 h 604912"/>
                <a:gd name="connsiteX183" fmla="*/ 184007 w 317505"/>
                <a:gd name="connsiteY183" fmla="*/ 367904 h 604912"/>
                <a:gd name="connsiteX184" fmla="*/ 180109 w 317505"/>
                <a:gd name="connsiteY184" fmla="*/ 367904 h 604912"/>
                <a:gd name="connsiteX185" fmla="*/ 180109 w 317505"/>
                <a:gd name="connsiteY185" fmla="*/ 364944 h 604912"/>
                <a:gd name="connsiteX186" fmla="*/ 174336 w 317505"/>
                <a:gd name="connsiteY186" fmla="*/ 361983 h 604912"/>
                <a:gd name="connsiteX187" fmla="*/ 178185 w 317505"/>
                <a:gd name="connsiteY187" fmla="*/ 364944 h 604912"/>
                <a:gd name="connsiteX188" fmla="*/ 176261 w 317505"/>
                <a:gd name="connsiteY188" fmla="*/ 367904 h 604912"/>
                <a:gd name="connsiteX189" fmla="*/ 176261 w 317505"/>
                <a:gd name="connsiteY189" fmla="*/ 370864 h 604912"/>
                <a:gd name="connsiteX190" fmla="*/ 180109 w 317505"/>
                <a:gd name="connsiteY190" fmla="*/ 372394 h 604912"/>
                <a:gd name="connsiteX191" fmla="*/ 178037 w 317505"/>
                <a:gd name="connsiteY191" fmla="*/ 378660 h 604912"/>
                <a:gd name="connsiteX192" fmla="*/ 176112 w 317505"/>
                <a:gd name="connsiteY192" fmla="*/ 383150 h 604912"/>
                <a:gd name="connsiteX193" fmla="*/ 178037 w 317505"/>
                <a:gd name="connsiteY193" fmla="*/ 386111 h 604912"/>
                <a:gd name="connsiteX194" fmla="*/ 168169 w 317505"/>
                <a:gd name="connsiteY194" fmla="*/ 393561 h 604912"/>
                <a:gd name="connsiteX195" fmla="*/ 162396 w 317505"/>
                <a:gd name="connsiteY195" fmla="*/ 392032 h 604912"/>
                <a:gd name="connsiteX196" fmla="*/ 158547 w 317505"/>
                <a:gd name="connsiteY196" fmla="*/ 387591 h 604912"/>
                <a:gd name="connsiteX197" fmla="*/ 154699 w 317505"/>
                <a:gd name="connsiteY197" fmla="*/ 387591 h 604912"/>
                <a:gd name="connsiteX198" fmla="*/ 158547 w 317505"/>
                <a:gd name="connsiteY198" fmla="*/ 392032 h 604912"/>
                <a:gd name="connsiteX199" fmla="*/ 158547 w 317505"/>
                <a:gd name="connsiteY199" fmla="*/ 395041 h 604912"/>
                <a:gd name="connsiteX200" fmla="*/ 164320 w 317505"/>
                <a:gd name="connsiteY200" fmla="*/ 395041 h 604912"/>
                <a:gd name="connsiteX201" fmla="*/ 154452 w 317505"/>
                <a:gd name="connsiteY201" fmla="*/ 399531 h 604912"/>
                <a:gd name="connsiteX202" fmla="*/ 150603 w 317505"/>
                <a:gd name="connsiteY202" fmla="*/ 399531 h 604912"/>
                <a:gd name="connsiteX203" fmla="*/ 146755 w 317505"/>
                <a:gd name="connsiteY203" fmla="*/ 398002 h 604912"/>
                <a:gd name="connsiteX204" fmla="*/ 144831 w 317505"/>
                <a:gd name="connsiteY204" fmla="*/ 402492 h 604912"/>
                <a:gd name="connsiteX205" fmla="*/ 131262 w 317505"/>
                <a:gd name="connsiteY205" fmla="*/ 411422 h 604912"/>
                <a:gd name="connsiteX206" fmla="*/ 125489 w 317505"/>
                <a:gd name="connsiteY206" fmla="*/ 411422 h 604912"/>
                <a:gd name="connsiteX207" fmla="*/ 123565 w 317505"/>
                <a:gd name="connsiteY207" fmla="*/ 412902 h 604912"/>
                <a:gd name="connsiteX208" fmla="*/ 117792 w 317505"/>
                <a:gd name="connsiteY208" fmla="*/ 412902 h 604912"/>
                <a:gd name="connsiteX209" fmla="*/ 117792 w 317505"/>
                <a:gd name="connsiteY209" fmla="*/ 412902 h 604912"/>
                <a:gd name="connsiteX210" fmla="*/ 113944 w 317505"/>
                <a:gd name="connsiteY210" fmla="*/ 414432 h 604912"/>
                <a:gd name="connsiteX211" fmla="*/ 110095 w 317505"/>
                <a:gd name="connsiteY211" fmla="*/ 409942 h 604912"/>
                <a:gd name="connsiteX212" fmla="*/ 100227 w 317505"/>
                <a:gd name="connsiteY212" fmla="*/ 414432 h 604912"/>
                <a:gd name="connsiteX213" fmla="*/ 100227 w 317505"/>
                <a:gd name="connsiteY213" fmla="*/ 417392 h 604912"/>
                <a:gd name="connsiteX214" fmla="*/ 96378 w 317505"/>
                <a:gd name="connsiteY214" fmla="*/ 418873 h 604912"/>
                <a:gd name="connsiteX215" fmla="*/ 96378 w 317505"/>
                <a:gd name="connsiteY215" fmla="*/ 409942 h 604912"/>
                <a:gd name="connsiteX216" fmla="*/ 104125 w 317505"/>
                <a:gd name="connsiteY216" fmla="*/ 402492 h 604912"/>
                <a:gd name="connsiteX217" fmla="*/ 106049 w 317505"/>
                <a:gd name="connsiteY217" fmla="*/ 392032 h 604912"/>
                <a:gd name="connsiteX218" fmla="*/ 102151 w 317505"/>
                <a:gd name="connsiteY218" fmla="*/ 401012 h 604912"/>
                <a:gd name="connsiteX219" fmla="*/ 94405 w 317505"/>
                <a:gd name="connsiteY219" fmla="*/ 408413 h 604912"/>
                <a:gd name="connsiteX220" fmla="*/ 86708 w 317505"/>
                <a:gd name="connsiteY220" fmla="*/ 414432 h 604912"/>
                <a:gd name="connsiteX221" fmla="*/ 86708 w 317505"/>
                <a:gd name="connsiteY221" fmla="*/ 409942 h 604912"/>
                <a:gd name="connsiteX222" fmla="*/ 84783 w 317505"/>
                <a:gd name="connsiteY222" fmla="*/ 402492 h 604912"/>
                <a:gd name="connsiteX223" fmla="*/ 92481 w 317505"/>
                <a:gd name="connsiteY223" fmla="*/ 372888 h 604912"/>
                <a:gd name="connsiteX224" fmla="*/ 100227 w 317505"/>
                <a:gd name="connsiteY224" fmla="*/ 368397 h 604912"/>
                <a:gd name="connsiteX225" fmla="*/ 98303 w 317505"/>
                <a:gd name="connsiteY225" fmla="*/ 365437 h 604912"/>
                <a:gd name="connsiteX226" fmla="*/ 92481 w 317505"/>
                <a:gd name="connsiteY226" fmla="*/ 352016 h 604912"/>
                <a:gd name="connsiteX227" fmla="*/ 90556 w 317505"/>
                <a:gd name="connsiteY227" fmla="*/ 340076 h 604912"/>
                <a:gd name="connsiteX228" fmla="*/ 84783 w 317505"/>
                <a:gd name="connsiteY228" fmla="*/ 340076 h 604912"/>
                <a:gd name="connsiteX229" fmla="*/ 82859 w 317505"/>
                <a:gd name="connsiteY229" fmla="*/ 337116 h 604912"/>
                <a:gd name="connsiteX230" fmla="*/ 84783 w 317505"/>
                <a:gd name="connsiteY230" fmla="*/ 335636 h 604912"/>
                <a:gd name="connsiteX231" fmla="*/ 80935 w 317505"/>
                <a:gd name="connsiteY231" fmla="*/ 332626 h 604912"/>
                <a:gd name="connsiteX232" fmla="*/ 79011 w 317505"/>
                <a:gd name="connsiteY232" fmla="*/ 322166 h 604912"/>
                <a:gd name="connsiteX233" fmla="*/ 75162 w 317505"/>
                <a:gd name="connsiteY233" fmla="*/ 317725 h 604912"/>
                <a:gd name="connsiteX234" fmla="*/ 71313 w 317505"/>
                <a:gd name="connsiteY234" fmla="*/ 313235 h 604912"/>
                <a:gd name="connsiteX235" fmla="*/ 71313 w 317505"/>
                <a:gd name="connsiteY235" fmla="*/ 308794 h 604912"/>
                <a:gd name="connsiteX236" fmla="*/ 63617 w 317505"/>
                <a:gd name="connsiteY236" fmla="*/ 304304 h 604912"/>
                <a:gd name="connsiteX237" fmla="*/ 67465 w 317505"/>
                <a:gd name="connsiteY237" fmla="*/ 308794 h 604912"/>
                <a:gd name="connsiteX238" fmla="*/ 67465 w 317505"/>
                <a:gd name="connsiteY238" fmla="*/ 319205 h 604912"/>
                <a:gd name="connsiteX239" fmla="*/ 55870 w 317505"/>
                <a:gd name="connsiteY239" fmla="*/ 316245 h 604912"/>
                <a:gd name="connsiteX240" fmla="*/ 48124 w 317505"/>
                <a:gd name="connsiteY240" fmla="*/ 310275 h 604912"/>
                <a:gd name="connsiteX241" fmla="*/ 48124 w 317505"/>
                <a:gd name="connsiteY241" fmla="*/ 307314 h 604912"/>
                <a:gd name="connsiteX242" fmla="*/ 40426 w 317505"/>
                <a:gd name="connsiteY242" fmla="*/ 299864 h 604912"/>
                <a:gd name="connsiteX243" fmla="*/ 40426 w 317505"/>
                <a:gd name="connsiteY243" fmla="*/ 296854 h 604912"/>
                <a:gd name="connsiteX244" fmla="*/ 46199 w 317505"/>
                <a:gd name="connsiteY244" fmla="*/ 298334 h 604912"/>
                <a:gd name="connsiteX245" fmla="*/ 48124 w 317505"/>
                <a:gd name="connsiteY245" fmla="*/ 304304 h 604912"/>
                <a:gd name="connsiteX246" fmla="*/ 55870 w 317505"/>
                <a:gd name="connsiteY246" fmla="*/ 305784 h 604912"/>
                <a:gd name="connsiteX247" fmla="*/ 57794 w 317505"/>
                <a:gd name="connsiteY247" fmla="*/ 304304 h 604912"/>
                <a:gd name="connsiteX248" fmla="*/ 55870 w 317505"/>
                <a:gd name="connsiteY248" fmla="*/ 301344 h 604912"/>
                <a:gd name="connsiteX249" fmla="*/ 48124 w 317505"/>
                <a:gd name="connsiteY249" fmla="*/ 298334 h 604912"/>
                <a:gd name="connsiteX250" fmla="*/ 55870 w 317505"/>
                <a:gd name="connsiteY250" fmla="*/ 295374 h 604912"/>
                <a:gd name="connsiteX251" fmla="*/ 59719 w 317505"/>
                <a:gd name="connsiteY251" fmla="*/ 298334 h 604912"/>
                <a:gd name="connsiteX252" fmla="*/ 63617 w 317505"/>
                <a:gd name="connsiteY252" fmla="*/ 296854 h 604912"/>
                <a:gd name="connsiteX253" fmla="*/ 63617 w 317505"/>
                <a:gd name="connsiteY253" fmla="*/ 292413 h 604912"/>
                <a:gd name="connsiteX254" fmla="*/ 57794 w 317505"/>
                <a:gd name="connsiteY254" fmla="*/ 283483 h 604912"/>
                <a:gd name="connsiteX255" fmla="*/ 44275 w 317505"/>
                <a:gd name="connsiteY255" fmla="*/ 281953 h 604912"/>
                <a:gd name="connsiteX256" fmla="*/ 42351 w 317505"/>
                <a:gd name="connsiteY256" fmla="*/ 278993 h 604912"/>
                <a:gd name="connsiteX257" fmla="*/ 36578 w 317505"/>
                <a:gd name="connsiteY257" fmla="*/ 277463 h 604912"/>
                <a:gd name="connsiteX258" fmla="*/ 34653 w 317505"/>
                <a:gd name="connsiteY258" fmla="*/ 273023 h 604912"/>
                <a:gd name="connsiteX259" fmla="*/ 34653 w 317505"/>
                <a:gd name="connsiteY259" fmla="*/ 277463 h 604912"/>
                <a:gd name="connsiteX260" fmla="*/ 26957 w 317505"/>
                <a:gd name="connsiteY260" fmla="*/ 278993 h 604912"/>
                <a:gd name="connsiteX261" fmla="*/ 26957 w 317505"/>
                <a:gd name="connsiteY261" fmla="*/ 274503 h 604912"/>
                <a:gd name="connsiteX262" fmla="*/ 32730 w 317505"/>
                <a:gd name="connsiteY262" fmla="*/ 270013 h 604912"/>
                <a:gd name="connsiteX263" fmla="*/ 26957 w 317505"/>
                <a:gd name="connsiteY263" fmla="*/ 270013 h 604912"/>
                <a:gd name="connsiteX264" fmla="*/ 19210 w 317505"/>
                <a:gd name="connsiteY264" fmla="*/ 265572 h 604912"/>
                <a:gd name="connsiteX265" fmla="*/ 19210 w 317505"/>
                <a:gd name="connsiteY265" fmla="*/ 268533 h 604912"/>
                <a:gd name="connsiteX266" fmla="*/ 25032 w 317505"/>
                <a:gd name="connsiteY266" fmla="*/ 274503 h 604912"/>
                <a:gd name="connsiteX267" fmla="*/ 7615 w 317505"/>
                <a:gd name="connsiteY267" fmla="*/ 262612 h 604912"/>
                <a:gd name="connsiteX268" fmla="*/ 3767 w 317505"/>
                <a:gd name="connsiteY268" fmla="*/ 255161 h 604912"/>
                <a:gd name="connsiteX269" fmla="*/ 1842 w 317505"/>
                <a:gd name="connsiteY269" fmla="*/ 247662 h 604912"/>
                <a:gd name="connsiteX270" fmla="*/ 1842 w 317505"/>
                <a:gd name="connsiteY270" fmla="*/ 247662 h 604912"/>
                <a:gd name="connsiteX271" fmla="*/ -82 w 317505"/>
                <a:gd name="connsiteY271" fmla="*/ 246182 h 604912"/>
                <a:gd name="connsiteX272" fmla="*/ 1842 w 317505"/>
                <a:gd name="connsiteY272" fmla="*/ 240211 h 604912"/>
                <a:gd name="connsiteX273" fmla="*/ 7615 w 317505"/>
                <a:gd name="connsiteY273" fmla="*/ 234290 h 604912"/>
                <a:gd name="connsiteX274" fmla="*/ 11464 w 317505"/>
                <a:gd name="connsiteY274" fmla="*/ 234290 h 604912"/>
                <a:gd name="connsiteX275" fmla="*/ 15312 w 317505"/>
                <a:gd name="connsiteY275" fmla="*/ 228320 h 604912"/>
                <a:gd name="connsiteX276" fmla="*/ 15312 w 317505"/>
                <a:gd name="connsiteY276" fmla="*/ 211890 h 604912"/>
                <a:gd name="connsiteX277" fmla="*/ 19210 w 317505"/>
                <a:gd name="connsiteY277" fmla="*/ 211890 h 604912"/>
                <a:gd name="connsiteX278" fmla="*/ 25032 w 317505"/>
                <a:gd name="connsiteY278" fmla="*/ 210410 h 604912"/>
                <a:gd name="connsiteX279" fmla="*/ 28881 w 317505"/>
                <a:gd name="connsiteY279" fmla="*/ 201430 h 604912"/>
                <a:gd name="connsiteX280" fmla="*/ 26957 w 317505"/>
                <a:gd name="connsiteY280" fmla="*/ 194029 h 604912"/>
                <a:gd name="connsiteX281" fmla="*/ 28881 w 317505"/>
                <a:gd name="connsiteY281" fmla="*/ 186578 h 604912"/>
                <a:gd name="connsiteX282" fmla="*/ 26957 w 317505"/>
                <a:gd name="connsiteY282" fmla="*/ 179128 h 604912"/>
                <a:gd name="connsiteX283" fmla="*/ 34653 w 317505"/>
                <a:gd name="connsiteY283" fmla="*/ 180559 h 604912"/>
                <a:gd name="connsiteX284" fmla="*/ 34653 w 317505"/>
                <a:gd name="connsiteY284" fmla="*/ 161217 h 604912"/>
                <a:gd name="connsiteX285" fmla="*/ 30805 w 317505"/>
                <a:gd name="connsiteY285" fmla="*/ 146415 h 604912"/>
                <a:gd name="connsiteX286" fmla="*/ 38502 w 317505"/>
                <a:gd name="connsiteY286" fmla="*/ 146415 h 604912"/>
                <a:gd name="connsiteX287" fmla="*/ 44275 w 317505"/>
                <a:gd name="connsiteY287" fmla="*/ 149376 h 604912"/>
                <a:gd name="connsiteX288" fmla="*/ 51972 w 317505"/>
                <a:gd name="connsiteY288" fmla="*/ 149376 h 604912"/>
                <a:gd name="connsiteX289" fmla="*/ 59719 w 317505"/>
                <a:gd name="connsiteY289" fmla="*/ 137485 h 604912"/>
                <a:gd name="connsiteX290" fmla="*/ 63617 w 317505"/>
                <a:gd name="connsiteY290" fmla="*/ 124064 h 604912"/>
                <a:gd name="connsiteX291" fmla="*/ 69389 w 317505"/>
                <a:gd name="connsiteY291" fmla="*/ 107683 h 604912"/>
                <a:gd name="connsiteX292" fmla="*/ 61643 w 317505"/>
                <a:gd name="connsiteY292" fmla="*/ 104673 h 604912"/>
                <a:gd name="connsiteX293" fmla="*/ 61643 w 317505"/>
                <a:gd name="connsiteY293" fmla="*/ 100233 h 604912"/>
                <a:gd name="connsiteX294" fmla="*/ 71511 w 317505"/>
                <a:gd name="connsiteY294" fmla="*/ 86812 h 604912"/>
                <a:gd name="connsiteX295" fmla="*/ 75359 w 317505"/>
                <a:gd name="connsiteY295" fmla="*/ 74872 h 604912"/>
                <a:gd name="connsiteX296" fmla="*/ 71511 w 317505"/>
                <a:gd name="connsiteY296" fmla="*/ 68901 h 604912"/>
                <a:gd name="connsiteX297" fmla="*/ 73435 w 317505"/>
                <a:gd name="connsiteY297" fmla="*/ 62931 h 604912"/>
                <a:gd name="connsiteX298" fmla="*/ 84981 w 317505"/>
                <a:gd name="connsiteY298" fmla="*/ 48129 h 604912"/>
                <a:gd name="connsiteX299" fmla="*/ 94849 w 317505"/>
                <a:gd name="connsiteY299" fmla="*/ 45169 h 604912"/>
                <a:gd name="connsiteX300" fmla="*/ 102595 w 317505"/>
                <a:gd name="connsiteY300" fmla="*/ 36189 h 604912"/>
                <a:gd name="connsiteX301" fmla="*/ 106493 w 317505"/>
                <a:gd name="connsiteY301" fmla="*/ 28739 h 604912"/>
                <a:gd name="connsiteX302" fmla="*/ 116361 w 317505"/>
                <a:gd name="connsiteY302" fmla="*/ 25778 h 604912"/>
                <a:gd name="connsiteX303" fmla="*/ 127907 w 317505"/>
                <a:gd name="connsiteY303" fmla="*/ 19808 h 604912"/>
                <a:gd name="connsiteX304" fmla="*/ 133680 w 317505"/>
                <a:gd name="connsiteY304" fmla="*/ 24298 h 604912"/>
                <a:gd name="connsiteX305" fmla="*/ 141426 w 317505"/>
                <a:gd name="connsiteY305" fmla="*/ 27308 h 604912"/>
                <a:gd name="connsiteX306" fmla="*/ 139502 w 317505"/>
                <a:gd name="connsiteY306" fmla="*/ 22818 h 604912"/>
                <a:gd name="connsiteX307" fmla="*/ 139502 w 317505"/>
                <a:gd name="connsiteY307" fmla="*/ 12358 h 604912"/>
                <a:gd name="connsiteX308" fmla="*/ 145324 w 317505"/>
                <a:gd name="connsiteY308" fmla="*/ 7867 h 604912"/>
                <a:gd name="connsiteX309" fmla="*/ 145324 w 317505"/>
                <a:gd name="connsiteY309" fmla="*/ 3427 h 604912"/>
                <a:gd name="connsiteX310" fmla="*/ 143400 w 317505"/>
                <a:gd name="connsiteY310" fmla="*/ 1947 h 604912"/>
                <a:gd name="connsiteX311" fmla="*/ 46693 w 317505"/>
                <a:gd name="connsiteY311" fmla="*/ 321869 h 604912"/>
                <a:gd name="connsiteX312" fmla="*/ 48617 w 317505"/>
                <a:gd name="connsiteY312" fmla="*/ 324879 h 604912"/>
                <a:gd name="connsiteX313" fmla="*/ 58485 w 317505"/>
                <a:gd name="connsiteY313" fmla="*/ 330849 h 604912"/>
                <a:gd name="connsiteX314" fmla="*/ 58485 w 317505"/>
                <a:gd name="connsiteY314" fmla="*/ 323399 h 604912"/>
                <a:gd name="connsiteX315" fmla="*/ 52663 w 317505"/>
                <a:gd name="connsiteY315" fmla="*/ 318909 h 60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</a:cxnLst>
              <a:rect l="l" t="t" r="r" b="b"/>
              <a:pathLst>
                <a:path w="317505" h="604912">
                  <a:moveTo>
                    <a:pt x="143202" y="1453"/>
                  </a:moveTo>
                  <a:lnTo>
                    <a:pt x="148975" y="-27"/>
                  </a:lnTo>
                  <a:lnTo>
                    <a:pt x="158843" y="2933"/>
                  </a:lnTo>
                  <a:lnTo>
                    <a:pt x="162692" y="-27"/>
                  </a:lnTo>
                  <a:lnTo>
                    <a:pt x="170389" y="-27"/>
                  </a:lnTo>
                  <a:lnTo>
                    <a:pt x="176211" y="7374"/>
                  </a:lnTo>
                  <a:lnTo>
                    <a:pt x="182034" y="11864"/>
                  </a:lnTo>
                  <a:lnTo>
                    <a:pt x="183957" y="22324"/>
                  </a:lnTo>
                  <a:lnTo>
                    <a:pt x="191655" y="22324"/>
                  </a:lnTo>
                  <a:lnTo>
                    <a:pt x="197428" y="28245"/>
                  </a:lnTo>
                  <a:lnTo>
                    <a:pt x="197428" y="35695"/>
                  </a:lnTo>
                  <a:lnTo>
                    <a:pt x="203200" y="47636"/>
                  </a:lnTo>
                  <a:lnTo>
                    <a:pt x="203200" y="56566"/>
                  </a:lnTo>
                  <a:lnTo>
                    <a:pt x="201276" y="68507"/>
                  </a:lnTo>
                  <a:lnTo>
                    <a:pt x="201276" y="78967"/>
                  </a:lnTo>
                  <a:lnTo>
                    <a:pt x="193579" y="81927"/>
                  </a:lnTo>
                  <a:lnTo>
                    <a:pt x="193579" y="86417"/>
                  </a:lnTo>
                  <a:lnTo>
                    <a:pt x="187806" y="87898"/>
                  </a:lnTo>
                  <a:lnTo>
                    <a:pt x="185882" y="90858"/>
                  </a:lnTo>
                  <a:lnTo>
                    <a:pt x="191655" y="98308"/>
                  </a:lnTo>
                  <a:lnTo>
                    <a:pt x="187806" y="101318"/>
                  </a:lnTo>
                  <a:lnTo>
                    <a:pt x="182034" y="99838"/>
                  </a:lnTo>
                  <a:lnTo>
                    <a:pt x="178135" y="104279"/>
                  </a:lnTo>
                  <a:lnTo>
                    <a:pt x="176211" y="108769"/>
                  </a:lnTo>
                  <a:lnTo>
                    <a:pt x="178135" y="113259"/>
                  </a:lnTo>
                  <a:lnTo>
                    <a:pt x="176211" y="117699"/>
                  </a:lnTo>
                  <a:lnTo>
                    <a:pt x="176211" y="123669"/>
                  </a:lnTo>
                  <a:lnTo>
                    <a:pt x="180060" y="125150"/>
                  </a:lnTo>
                  <a:lnTo>
                    <a:pt x="183957" y="129640"/>
                  </a:lnTo>
                  <a:lnTo>
                    <a:pt x="187806" y="132600"/>
                  </a:lnTo>
                  <a:lnTo>
                    <a:pt x="187806" y="140050"/>
                  </a:lnTo>
                  <a:lnTo>
                    <a:pt x="191655" y="146020"/>
                  </a:lnTo>
                  <a:lnTo>
                    <a:pt x="199351" y="141580"/>
                  </a:lnTo>
                  <a:lnTo>
                    <a:pt x="214795" y="138570"/>
                  </a:lnTo>
                  <a:lnTo>
                    <a:pt x="216719" y="143011"/>
                  </a:lnTo>
                  <a:lnTo>
                    <a:pt x="214795" y="148981"/>
                  </a:lnTo>
                  <a:lnTo>
                    <a:pt x="218644" y="151991"/>
                  </a:lnTo>
                  <a:lnTo>
                    <a:pt x="228512" y="148981"/>
                  </a:lnTo>
                  <a:lnTo>
                    <a:pt x="230436" y="155000"/>
                  </a:lnTo>
                  <a:lnTo>
                    <a:pt x="228512" y="159441"/>
                  </a:lnTo>
                  <a:lnTo>
                    <a:pt x="232360" y="163882"/>
                  </a:lnTo>
                  <a:lnTo>
                    <a:pt x="241982" y="165411"/>
                  </a:lnTo>
                  <a:lnTo>
                    <a:pt x="240057" y="168372"/>
                  </a:lnTo>
                  <a:lnTo>
                    <a:pt x="241982" y="171381"/>
                  </a:lnTo>
                  <a:lnTo>
                    <a:pt x="243906" y="169852"/>
                  </a:lnTo>
                  <a:lnTo>
                    <a:pt x="253774" y="168372"/>
                  </a:lnTo>
                  <a:lnTo>
                    <a:pt x="261521" y="174342"/>
                  </a:lnTo>
                  <a:lnTo>
                    <a:pt x="261521" y="178832"/>
                  </a:lnTo>
                  <a:lnTo>
                    <a:pt x="259547" y="183273"/>
                  </a:lnTo>
                  <a:lnTo>
                    <a:pt x="259547" y="187762"/>
                  </a:lnTo>
                  <a:lnTo>
                    <a:pt x="249679" y="196693"/>
                  </a:lnTo>
                  <a:lnTo>
                    <a:pt x="243906" y="202663"/>
                  </a:lnTo>
                  <a:lnTo>
                    <a:pt x="243906" y="207153"/>
                  </a:lnTo>
                  <a:lnTo>
                    <a:pt x="249679" y="205624"/>
                  </a:lnTo>
                  <a:lnTo>
                    <a:pt x="261323" y="205624"/>
                  </a:lnTo>
                  <a:lnTo>
                    <a:pt x="263248" y="208633"/>
                  </a:lnTo>
                  <a:lnTo>
                    <a:pt x="269020" y="204143"/>
                  </a:lnTo>
                  <a:lnTo>
                    <a:pt x="272869" y="208633"/>
                  </a:lnTo>
                  <a:lnTo>
                    <a:pt x="270944" y="216084"/>
                  </a:lnTo>
                  <a:lnTo>
                    <a:pt x="272869" y="222005"/>
                  </a:lnTo>
                  <a:lnTo>
                    <a:pt x="280566" y="226495"/>
                  </a:lnTo>
                  <a:lnTo>
                    <a:pt x="286339" y="222005"/>
                  </a:lnTo>
                  <a:lnTo>
                    <a:pt x="296207" y="222005"/>
                  </a:lnTo>
                  <a:lnTo>
                    <a:pt x="309726" y="216084"/>
                  </a:lnTo>
                  <a:lnTo>
                    <a:pt x="317423" y="217564"/>
                  </a:lnTo>
                  <a:lnTo>
                    <a:pt x="315499" y="223534"/>
                  </a:lnTo>
                  <a:lnTo>
                    <a:pt x="307802" y="232465"/>
                  </a:lnTo>
                  <a:lnTo>
                    <a:pt x="297934" y="233994"/>
                  </a:lnTo>
                  <a:lnTo>
                    <a:pt x="297934" y="238435"/>
                  </a:lnTo>
                  <a:lnTo>
                    <a:pt x="294085" y="242876"/>
                  </a:lnTo>
                  <a:lnTo>
                    <a:pt x="296010" y="247366"/>
                  </a:lnTo>
                  <a:lnTo>
                    <a:pt x="288263" y="253336"/>
                  </a:lnTo>
                  <a:lnTo>
                    <a:pt x="284415" y="253336"/>
                  </a:lnTo>
                  <a:lnTo>
                    <a:pt x="280566" y="260786"/>
                  </a:lnTo>
                  <a:lnTo>
                    <a:pt x="270698" y="260786"/>
                  </a:lnTo>
                  <a:lnTo>
                    <a:pt x="263001" y="263747"/>
                  </a:lnTo>
                  <a:lnTo>
                    <a:pt x="263001" y="266756"/>
                  </a:lnTo>
                  <a:lnTo>
                    <a:pt x="266849" y="271246"/>
                  </a:lnTo>
                  <a:lnTo>
                    <a:pt x="263001" y="274207"/>
                  </a:lnTo>
                  <a:lnTo>
                    <a:pt x="253133" y="272727"/>
                  </a:lnTo>
                  <a:lnTo>
                    <a:pt x="249235" y="278697"/>
                  </a:lnTo>
                  <a:lnTo>
                    <a:pt x="249235" y="284618"/>
                  </a:lnTo>
                  <a:lnTo>
                    <a:pt x="245386" y="287627"/>
                  </a:lnTo>
                  <a:lnTo>
                    <a:pt x="239613" y="287627"/>
                  </a:lnTo>
                  <a:lnTo>
                    <a:pt x="231917" y="293598"/>
                  </a:lnTo>
                  <a:lnTo>
                    <a:pt x="216473" y="289107"/>
                  </a:lnTo>
                  <a:lnTo>
                    <a:pt x="210651" y="295078"/>
                  </a:lnTo>
                  <a:lnTo>
                    <a:pt x="212624" y="307018"/>
                  </a:lnTo>
                  <a:lnTo>
                    <a:pt x="208726" y="309979"/>
                  </a:lnTo>
                  <a:lnTo>
                    <a:pt x="208726" y="318909"/>
                  </a:lnTo>
                  <a:lnTo>
                    <a:pt x="210651" y="323399"/>
                  </a:lnTo>
                  <a:lnTo>
                    <a:pt x="204878" y="329369"/>
                  </a:lnTo>
                  <a:lnTo>
                    <a:pt x="195009" y="332330"/>
                  </a:lnTo>
                  <a:lnTo>
                    <a:pt x="196934" y="336820"/>
                  </a:lnTo>
                  <a:lnTo>
                    <a:pt x="200783" y="338300"/>
                  </a:lnTo>
                  <a:lnTo>
                    <a:pt x="206556" y="345750"/>
                  </a:lnTo>
                  <a:lnTo>
                    <a:pt x="212377" y="350191"/>
                  </a:lnTo>
                  <a:lnTo>
                    <a:pt x="214302" y="356161"/>
                  </a:lnTo>
                  <a:lnTo>
                    <a:pt x="222049" y="360651"/>
                  </a:lnTo>
                  <a:lnTo>
                    <a:pt x="231917" y="375453"/>
                  </a:lnTo>
                  <a:lnTo>
                    <a:pt x="237689" y="376933"/>
                  </a:lnTo>
                  <a:lnTo>
                    <a:pt x="241538" y="385913"/>
                  </a:lnTo>
                  <a:lnTo>
                    <a:pt x="243462" y="391834"/>
                  </a:lnTo>
                  <a:lnTo>
                    <a:pt x="249235" y="394844"/>
                  </a:lnTo>
                  <a:lnTo>
                    <a:pt x="251159" y="400814"/>
                  </a:lnTo>
                  <a:lnTo>
                    <a:pt x="243462" y="403824"/>
                  </a:lnTo>
                  <a:lnTo>
                    <a:pt x="241538" y="409745"/>
                  </a:lnTo>
                  <a:lnTo>
                    <a:pt x="245386" y="424547"/>
                  </a:lnTo>
                  <a:lnTo>
                    <a:pt x="243462" y="428987"/>
                  </a:lnTo>
                  <a:lnTo>
                    <a:pt x="237689" y="433477"/>
                  </a:lnTo>
                  <a:lnTo>
                    <a:pt x="241538" y="443937"/>
                  </a:lnTo>
                  <a:lnTo>
                    <a:pt x="241538" y="448428"/>
                  </a:lnTo>
                  <a:lnTo>
                    <a:pt x="251406" y="458838"/>
                  </a:lnTo>
                  <a:lnTo>
                    <a:pt x="263050" y="466289"/>
                  </a:lnTo>
                  <a:lnTo>
                    <a:pt x="272918" y="473739"/>
                  </a:lnTo>
                  <a:lnTo>
                    <a:pt x="276767" y="487160"/>
                  </a:lnTo>
                  <a:lnTo>
                    <a:pt x="274842" y="491600"/>
                  </a:lnTo>
                  <a:lnTo>
                    <a:pt x="276767" y="497570"/>
                  </a:lnTo>
                  <a:lnTo>
                    <a:pt x="274842" y="503541"/>
                  </a:lnTo>
                  <a:lnTo>
                    <a:pt x="278691" y="508031"/>
                  </a:lnTo>
                  <a:lnTo>
                    <a:pt x="280615" y="516961"/>
                  </a:lnTo>
                  <a:lnTo>
                    <a:pt x="284464" y="522931"/>
                  </a:lnTo>
                  <a:lnTo>
                    <a:pt x="282540" y="530382"/>
                  </a:lnTo>
                  <a:lnTo>
                    <a:pt x="286388" y="537832"/>
                  </a:lnTo>
                  <a:lnTo>
                    <a:pt x="286388" y="548292"/>
                  </a:lnTo>
                  <a:lnTo>
                    <a:pt x="282540" y="549723"/>
                  </a:lnTo>
                  <a:lnTo>
                    <a:pt x="274842" y="569163"/>
                  </a:lnTo>
                  <a:lnTo>
                    <a:pt x="267146" y="573604"/>
                  </a:lnTo>
                  <a:lnTo>
                    <a:pt x="267146" y="581054"/>
                  </a:lnTo>
                  <a:lnTo>
                    <a:pt x="263297" y="585544"/>
                  </a:lnTo>
                  <a:lnTo>
                    <a:pt x="261373" y="591465"/>
                  </a:lnTo>
                  <a:lnTo>
                    <a:pt x="261373" y="591465"/>
                  </a:lnTo>
                  <a:lnTo>
                    <a:pt x="259399" y="595955"/>
                  </a:lnTo>
                  <a:lnTo>
                    <a:pt x="255550" y="604886"/>
                  </a:lnTo>
                  <a:lnTo>
                    <a:pt x="253626" y="595955"/>
                  </a:lnTo>
                  <a:lnTo>
                    <a:pt x="253626" y="588505"/>
                  </a:lnTo>
                  <a:lnTo>
                    <a:pt x="249728" y="582535"/>
                  </a:lnTo>
                  <a:lnTo>
                    <a:pt x="249728" y="579574"/>
                  </a:lnTo>
                  <a:lnTo>
                    <a:pt x="253626" y="581054"/>
                  </a:lnTo>
                  <a:lnTo>
                    <a:pt x="255550" y="579574"/>
                  </a:lnTo>
                  <a:lnTo>
                    <a:pt x="261373" y="573604"/>
                  </a:lnTo>
                  <a:lnTo>
                    <a:pt x="261373" y="569163"/>
                  </a:lnTo>
                  <a:lnTo>
                    <a:pt x="259399" y="567634"/>
                  </a:lnTo>
                  <a:lnTo>
                    <a:pt x="261373" y="558703"/>
                  </a:lnTo>
                  <a:lnTo>
                    <a:pt x="263297" y="557223"/>
                  </a:lnTo>
                  <a:lnTo>
                    <a:pt x="265221" y="554213"/>
                  </a:lnTo>
                  <a:lnTo>
                    <a:pt x="261373" y="546763"/>
                  </a:lnTo>
                  <a:lnTo>
                    <a:pt x="265221" y="543802"/>
                  </a:lnTo>
                  <a:lnTo>
                    <a:pt x="261373" y="537832"/>
                  </a:lnTo>
                  <a:lnTo>
                    <a:pt x="255550" y="533342"/>
                  </a:lnTo>
                  <a:lnTo>
                    <a:pt x="255550" y="525892"/>
                  </a:lnTo>
                  <a:lnTo>
                    <a:pt x="259399" y="522931"/>
                  </a:lnTo>
                  <a:lnTo>
                    <a:pt x="255550" y="516961"/>
                  </a:lnTo>
                  <a:lnTo>
                    <a:pt x="251653" y="515481"/>
                  </a:lnTo>
                  <a:lnTo>
                    <a:pt x="249728" y="496090"/>
                  </a:lnTo>
                  <a:lnTo>
                    <a:pt x="245880" y="493130"/>
                  </a:lnTo>
                  <a:lnTo>
                    <a:pt x="243955" y="487160"/>
                  </a:lnTo>
                  <a:lnTo>
                    <a:pt x="240107" y="478229"/>
                  </a:lnTo>
                  <a:lnTo>
                    <a:pt x="238182" y="488640"/>
                  </a:lnTo>
                  <a:lnTo>
                    <a:pt x="236259" y="490169"/>
                  </a:lnTo>
                  <a:lnTo>
                    <a:pt x="236259" y="485680"/>
                  </a:lnTo>
                  <a:lnTo>
                    <a:pt x="232410" y="478229"/>
                  </a:lnTo>
                  <a:lnTo>
                    <a:pt x="234334" y="466289"/>
                  </a:lnTo>
                  <a:lnTo>
                    <a:pt x="228561" y="461848"/>
                  </a:lnTo>
                  <a:lnTo>
                    <a:pt x="228561" y="454349"/>
                  </a:lnTo>
                  <a:lnTo>
                    <a:pt x="230486" y="451388"/>
                  </a:lnTo>
                  <a:lnTo>
                    <a:pt x="220617" y="446898"/>
                  </a:lnTo>
                  <a:lnTo>
                    <a:pt x="220617" y="437967"/>
                  </a:lnTo>
                  <a:lnTo>
                    <a:pt x="218693" y="437967"/>
                  </a:lnTo>
                  <a:lnTo>
                    <a:pt x="214844" y="414136"/>
                  </a:lnTo>
                  <a:lnTo>
                    <a:pt x="210947" y="412606"/>
                  </a:lnTo>
                  <a:lnTo>
                    <a:pt x="209023" y="406686"/>
                  </a:lnTo>
                  <a:lnTo>
                    <a:pt x="212920" y="406686"/>
                  </a:lnTo>
                  <a:lnTo>
                    <a:pt x="212920" y="400715"/>
                  </a:lnTo>
                  <a:lnTo>
                    <a:pt x="209023" y="394745"/>
                  </a:lnTo>
                  <a:lnTo>
                    <a:pt x="210947" y="391736"/>
                  </a:lnTo>
                  <a:lnTo>
                    <a:pt x="210947" y="388775"/>
                  </a:lnTo>
                  <a:lnTo>
                    <a:pt x="209023" y="391736"/>
                  </a:lnTo>
                  <a:lnTo>
                    <a:pt x="203250" y="393265"/>
                  </a:lnTo>
                  <a:lnTo>
                    <a:pt x="197477" y="393265"/>
                  </a:lnTo>
                  <a:lnTo>
                    <a:pt x="195553" y="387295"/>
                  </a:lnTo>
                  <a:lnTo>
                    <a:pt x="193628" y="384285"/>
                  </a:lnTo>
                  <a:lnTo>
                    <a:pt x="184007" y="370864"/>
                  </a:lnTo>
                  <a:lnTo>
                    <a:pt x="184007" y="367904"/>
                  </a:lnTo>
                  <a:lnTo>
                    <a:pt x="180109" y="367904"/>
                  </a:lnTo>
                  <a:lnTo>
                    <a:pt x="180109" y="364944"/>
                  </a:lnTo>
                  <a:lnTo>
                    <a:pt x="174336" y="361983"/>
                  </a:lnTo>
                  <a:lnTo>
                    <a:pt x="178185" y="364944"/>
                  </a:lnTo>
                  <a:lnTo>
                    <a:pt x="176261" y="367904"/>
                  </a:lnTo>
                  <a:lnTo>
                    <a:pt x="176261" y="370864"/>
                  </a:lnTo>
                  <a:lnTo>
                    <a:pt x="180109" y="372394"/>
                  </a:lnTo>
                  <a:lnTo>
                    <a:pt x="178037" y="378660"/>
                  </a:lnTo>
                  <a:lnTo>
                    <a:pt x="176112" y="383150"/>
                  </a:lnTo>
                  <a:lnTo>
                    <a:pt x="178037" y="386111"/>
                  </a:lnTo>
                  <a:lnTo>
                    <a:pt x="168169" y="393561"/>
                  </a:lnTo>
                  <a:lnTo>
                    <a:pt x="162396" y="392032"/>
                  </a:lnTo>
                  <a:lnTo>
                    <a:pt x="158547" y="387591"/>
                  </a:lnTo>
                  <a:lnTo>
                    <a:pt x="154699" y="387591"/>
                  </a:lnTo>
                  <a:lnTo>
                    <a:pt x="158547" y="392032"/>
                  </a:lnTo>
                  <a:lnTo>
                    <a:pt x="158547" y="395041"/>
                  </a:lnTo>
                  <a:lnTo>
                    <a:pt x="164320" y="395041"/>
                  </a:lnTo>
                  <a:lnTo>
                    <a:pt x="154452" y="399531"/>
                  </a:lnTo>
                  <a:lnTo>
                    <a:pt x="150603" y="399531"/>
                  </a:lnTo>
                  <a:lnTo>
                    <a:pt x="146755" y="398002"/>
                  </a:lnTo>
                  <a:lnTo>
                    <a:pt x="144831" y="402492"/>
                  </a:lnTo>
                  <a:lnTo>
                    <a:pt x="131262" y="411422"/>
                  </a:lnTo>
                  <a:lnTo>
                    <a:pt x="125489" y="411422"/>
                  </a:lnTo>
                  <a:lnTo>
                    <a:pt x="123565" y="412902"/>
                  </a:lnTo>
                  <a:lnTo>
                    <a:pt x="117792" y="412902"/>
                  </a:lnTo>
                  <a:lnTo>
                    <a:pt x="117792" y="412902"/>
                  </a:lnTo>
                  <a:lnTo>
                    <a:pt x="113944" y="414432"/>
                  </a:lnTo>
                  <a:lnTo>
                    <a:pt x="110095" y="409942"/>
                  </a:lnTo>
                  <a:lnTo>
                    <a:pt x="100227" y="414432"/>
                  </a:lnTo>
                  <a:lnTo>
                    <a:pt x="100227" y="417392"/>
                  </a:lnTo>
                  <a:lnTo>
                    <a:pt x="96378" y="418873"/>
                  </a:lnTo>
                  <a:lnTo>
                    <a:pt x="96378" y="409942"/>
                  </a:lnTo>
                  <a:lnTo>
                    <a:pt x="104125" y="402492"/>
                  </a:lnTo>
                  <a:lnTo>
                    <a:pt x="106049" y="392032"/>
                  </a:lnTo>
                  <a:lnTo>
                    <a:pt x="102151" y="401012"/>
                  </a:lnTo>
                  <a:lnTo>
                    <a:pt x="94405" y="408413"/>
                  </a:lnTo>
                  <a:lnTo>
                    <a:pt x="86708" y="414432"/>
                  </a:lnTo>
                  <a:lnTo>
                    <a:pt x="86708" y="409942"/>
                  </a:lnTo>
                  <a:lnTo>
                    <a:pt x="84783" y="402492"/>
                  </a:lnTo>
                  <a:lnTo>
                    <a:pt x="92481" y="372888"/>
                  </a:lnTo>
                  <a:lnTo>
                    <a:pt x="100227" y="368397"/>
                  </a:lnTo>
                  <a:lnTo>
                    <a:pt x="98303" y="365437"/>
                  </a:lnTo>
                  <a:lnTo>
                    <a:pt x="92481" y="352016"/>
                  </a:lnTo>
                  <a:lnTo>
                    <a:pt x="90556" y="340076"/>
                  </a:lnTo>
                  <a:lnTo>
                    <a:pt x="84783" y="340076"/>
                  </a:lnTo>
                  <a:lnTo>
                    <a:pt x="82859" y="337116"/>
                  </a:lnTo>
                  <a:lnTo>
                    <a:pt x="84783" y="335636"/>
                  </a:lnTo>
                  <a:lnTo>
                    <a:pt x="80935" y="332626"/>
                  </a:lnTo>
                  <a:lnTo>
                    <a:pt x="79011" y="322166"/>
                  </a:lnTo>
                  <a:lnTo>
                    <a:pt x="75162" y="317725"/>
                  </a:lnTo>
                  <a:lnTo>
                    <a:pt x="71313" y="313235"/>
                  </a:lnTo>
                  <a:lnTo>
                    <a:pt x="71313" y="308794"/>
                  </a:lnTo>
                  <a:lnTo>
                    <a:pt x="63617" y="304304"/>
                  </a:lnTo>
                  <a:lnTo>
                    <a:pt x="67465" y="308794"/>
                  </a:lnTo>
                  <a:lnTo>
                    <a:pt x="67465" y="319205"/>
                  </a:lnTo>
                  <a:lnTo>
                    <a:pt x="55870" y="316245"/>
                  </a:lnTo>
                  <a:lnTo>
                    <a:pt x="48124" y="310275"/>
                  </a:lnTo>
                  <a:lnTo>
                    <a:pt x="48124" y="307314"/>
                  </a:lnTo>
                  <a:lnTo>
                    <a:pt x="40426" y="299864"/>
                  </a:lnTo>
                  <a:lnTo>
                    <a:pt x="40426" y="296854"/>
                  </a:lnTo>
                  <a:lnTo>
                    <a:pt x="46199" y="298334"/>
                  </a:lnTo>
                  <a:lnTo>
                    <a:pt x="48124" y="304304"/>
                  </a:lnTo>
                  <a:lnTo>
                    <a:pt x="55870" y="305784"/>
                  </a:lnTo>
                  <a:lnTo>
                    <a:pt x="57794" y="304304"/>
                  </a:lnTo>
                  <a:lnTo>
                    <a:pt x="55870" y="301344"/>
                  </a:lnTo>
                  <a:lnTo>
                    <a:pt x="48124" y="298334"/>
                  </a:lnTo>
                  <a:lnTo>
                    <a:pt x="55870" y="295374"/>
                  </a:lnTo>
                  <a:lnTo>
                    <a:pt x="59719" y="298334"/>
                  </a:lnTo>
                  <a:lnTo>
                    <a:pt x="63617" y="296854"/>
                  </a:lnTo>
                  <a:lnTo>
                    <a:pt x="63617" y="292413"/>
                  </a:lnTo>
                  <a:lnTo>
                    <a:pt x="57794" y="283483"/>
                  </a:lnTo>
                  <a:lnTo>
                    <a:pt x="44275" y="281953"/>
                  </a:lnTo>
                  <a:lnTo>
                    <a:pt x="42351" y="278993"/>
                  </a:lnTo>
                  <a:lnTo>
                    <a:pt x="36578" y="277463"/>
                  </a:lnTo>
                  <a:lnTo>
                    <a:pt x="34653" y="273023"/>
                  </a:lnTo>
                  <a:lnTo>
                    <a:pt x="34653" y="277463"/>
                  </a:lnTo>
                  <a:lnTo>
                    <a:pt x="26957" y="278993"/>
                  </a:lnTo>
                  <a:lnTo>
                    <a:pt x="26957" y="274503"/>
                  </a:lnTo>
                  <a:lnTo>
                    <a:pt x="32730" y="270013"/>
                  </a:lnTo>
                  <a:lnTo>
                    <a:pt x="26957" y="270013"/>
                  </a:lnTo>
                  <a:lnTo>
                    <a:pt x="19210" y="265572"/>
                  </a:lnTo>
                  <a:lnTo>
                    <a:pt x="19210" y="268533"/>
                  </a:lnTo>
                  <a:lnTo>
                    <a:pt x="25032" y="274503"/>
                  </a:lnTo>
                  <a:lnTo>
                    <a:pt x="7615" y="262612"/>
                  </a:lnTo>
                  <a:lnTo>
                    <a:pt x="3767" y="255161"/>
                  </a:lnTo>
                  <a:lnTo>
                    <a:pt x="1842" y="247662"/>
                  </a:lnTo>
                  <a:lnTo>
                    <a:pt x="1842" y="247662"/>
                  </a:lnTo>
                  <a:lnTo>
                    <a:pt x="-82" y="246182"/>
                  </a:lnTo>
                  <a:lnTo>
                    <a:pt x="1842" y="240211"/>
                  </a:lnTo>
                  <a:lnTo>
                    <a:pt x="7615" y="234290"/>
                  </a:lnTo>
                  <a:lnTo>
                    <a:pt x="11464" y="234290"/>
                  </a:lnTo>
                  <a:lnTo>
                    <a:pt x="15312" y="228320"/>
                  </a:lnTo>
                  <a:lnTo>
                    <a:pt x="15312" y="211890"/>
                  </a:lnTo>
                  <a:lnTo>
                    <a:pt x="19210" y="211890"/>
                  </a:lnTo>
                  <a:lnTo>
                    <a:pt x="25032" y="210410"/>
                  </a:lnTo>
                  <a:lnTo>
                    <a:pt x="28881" y="201430"/>
                  </a:lnTo>
                  <a:lnTo>
                    <a:pt x="26957" y="194029"/>
                  </a:lnTo>
                  <a:lnTo>
                    <a:pt x="28881" y="186578"/>
                  </a:lnTo>
                  <a:lnTo>
                    <a:pt x="26957" y="179128"/>
                  </a:lnTo>
                  <a:lnTo>
                    <a:pt x="34653" y="180559"/>
                  </a:lnTo>
                  <a:lnTo>
                    <a:pt x="34653" y="161217"/>
                  </a:lnTo>
                  <a:lnTo>
                    <a:pt x="30805" y="146415"/>
                  </a:lnTo>
                  <a:lnTo>
                    <a:pt x="38502" y="146415"/>
                  </a:lnTo>
                  <a:lnTo>
                    <a:pt x="44275" y="149376"/>
                  </a:lnTo>
                  <a:lnTo>
                    <a:pt x="51972" y="149376"/>
                  </a:lnTo>
                  <a:lnTo>
                    <a:pt x="59719" y="137485"/>
                  </a:lnTo>
                  <a:lnTo>
                    <a:pt x="63617" y="124064"/>
                  </a:lnTo>
                  <a:lnTo>
                    <a:pt x="69389" y="107683"/>
                  </a:lnTo>
                  <a:lnTo>
                    <a:pt x="61643" y="104673"/>
                  </a:lnTo>
                  <a:lnTo>
                    <a:pt x="61643" y="100233"/>
                  </a:lnTo>
                  <a:lnTo>
                    <a:pt x="71511" y="86812"/>
                  </a:lnTo>
                  <a:lnTo>
                    <a:pt x="75359" y="74872"/>
                  </a:lnTo>
                  <a:lnTo>
                    <a:pt x="71511" y="68901"/>
                  </a:lnTo>
                  <a:lnTo>
                    <a:pt x="73435" y="62931"/>
                  </a:lnTo>
                  <a:lnTo>
                    <a:pt x="84981" y="48129"/>
                  </a:lnTo>
                  <a:lnTo>
                    <a:pt x="94849" y="45169"/>
                  </a:lnTo>
                  <a:lnTo>
                    <a:pt x="102595" y="36189"/>
                  </a:lnTo>
                  <a:lnTo>
                    <a:pt x="106493" y="28739"/>
                  </a:lnTo>
                  <a:lnTo>
                    <a:pt x="116361" y="25778"/>
                  </a:lnTo>
                  <a:lnTo>
                    <a:pt x="127907" y="19808"/>
                  </a:lnTo>
                  <a:lnTo>
                    <a:pt x="133680" y="24298"/>
                  </a:lnTo>
                  <a:lnTo>
                    <a:pt x="141426" y="27308"/>
                  </a:lnTo>
                  <a:lnTo>
                    <a:pt x="139502" y="22818"/>
                  </a:lnTo>
                  <a:lnTo>
                    <a:pt x="139502" y="12358"/>
                  </a:lnTo>
                  <a:lnTo>
                    <a:pt x="145324" y="7867"/>
                  </a:lnTo>
                  <a:lnTo>
                    <a:pt x="145324" y="3427"/>
                  </a:lnTo>
                  <a:lnTo>
                    <a:pt x="143400" y="1947"/>
                  </a:lnTo>
                  <a:close/>
                  <a:moveTo>
                    <a:pt x="46693" y="321869"/>
                  </a:moveTo>
                  <a:lnTo>
                    <a:pt x="48617" y="324879"/>
                  </a:lnTo>
                  <a:lnTo>
                    <a:pt x="58485" y="330849"/>
                  </a:lnTo>
                  <a:lnTo>
                    <a:pt x="58485" y="323399"/>
                  </a:lnTo>
                  <a:lnTo>
                    <a:pt x="52663" y="31890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Graphic 2">
              <a:extLst>
                <a:ext uri="{FF2B5EF4-FFF2-40B4-BE49-F238E27FC236}">
                  <a16:creationId xmlns:a16="http://schemas.microsoft.com/office/drawing/2014/main" id="{C94C89E2-1171-456A-9517-DBF90D3E59F4}"/>
                </a:ext>
              </a:extLst>
            </p:cNvPr>
            <p:cNvSpPr/>
            <p:nvPr/>
          </p:nvSpPr>
          <p:spPr>
            <a:xfrm>
              <a:off x="8025267" y="4366884"/>
              <a:ext cx="71184" cy="115243"/>
            </a:xfrm>
            <a:custGeom>
              <a:avLst/>
              <a:gdLst>
                <a:gd name="connsiteX0" fmla="*/ -82 w 78352"/>
                <a:gd name="connsiteY0" fmla="*/ 63375 h 126853"/>
                <a:gd name="connsiteX1" fmla="*/ 1842 w 78352"/>
                <a:gd name="connsiteY1" fmla="*/ 54346 h 126853"/>
                <a:gd name="connsiteX2" fmla="*/ -82 w 78352"/>
                <a:gd name="connsiteY2" fmla="*/ 49807 h 126853"/>
                <a:gd name="connsiteX3" fmla="*/ 3816 w 78352"/>
                <a:gd name="connsiteY3" fmla="*/ 48277 h 126853"/>
                <a:gd name="connsiteX4" fmla="*/ 3816 w 78352"/>
                <a:gd name="connsiteY4" fmla="*/ 49807 h 126853"/>
                <a:gd name="connsiteX5" fmla="*/ 1842 w 78352"/>
                <a:gd name="connsiteY5" fmla="*/ 49807 h 126853"/>
                <a:gd name="connsiteX6" fmla="*/ 3816 w 78352"/>
                <a:gd name="connsiteY6" fmla="*/ 54346 h 126853"/>
                <a:gd name="connsiteX7" fmla="*/ -82 w 78352"/>
                <a:gd name="connsiteY7" fmla="*/ 63375 h 126853"/>
                <a:gd name="connsiteX8" fmla="*/ 13634 w 78352"/>
                <a:gd name="connsiteY8" fmla="*/ 10532 h 126853"/>
                <a:gd name="connsiteX9" fmla="*/ 3766 w 78352"/>
                <a:gd name="connsiteY9" fmla="*/ 5992 h 126853"/>
                <a:gd name="connsiteX10" fmla="*/ 3766 w 78352"/>
                <a:gd name="connsiteY10" fmla="*/ 1453 h 126853"/>
                <a:gd name="connsiteX11" fmla="*/ 15509 w 78352"/>
                <a:gd name="connsiteY11" fmla="*/ -27 h 126853"/>
                <a:gd name="connsiteX12" fmla="*/ 17483 w 78352"/>
                <a:gd name="connsiteY12" fmla="*/ 1453 h 126853"/>
                <a:gd name="connsiteX13" fmla="*/ 13585 w 78352"/>
                <a:gd name="connsiteY13" fmla="*/ 7473 h 126853"/>
                <a:gd name="connsiteX14" fmla="*/ 11612 w 78352"/>
                <a:gd name="connsiteY14" fmla="*/ 9002 h 126853"/>
                <a:gd name="connsiteX15" fmla="*/ 13585 w 78352"/>
                <a:gd name="connsiteY15" fmla="*/ 10532 h 126853"/>
                <a:gd name="connsiteX16" fmla="*/ 21430 w 78352"/>
                <a:gd name="connsiteY16" fmla="*/ 2983 h 126853"/>
                <a:gd name="connsiteX17" fmla="*/ 25328 w 78352"/>
                <a:gd name="connsiteY17" fmla="*/ 5992 h 126853"/>
                <a:gd name="connsiteX18" fmla="*/ 27302 w 78352"/>
                <a:gd name="connsiteY18" fmla="*/ 10532 h 126853"/>
                <a:gd name="connsiteX19" fmla="*/ 37170 w 78352"/>
                <a:gd name="connsiteY19" fmla="*/ 13542 h 126853"/>
                <a:gd name="connsiteX20" fmla="*/ 39143 w 78352"/>
                <a:gd name="connsiteY20" fmla="*/ 16551 h 126853"/>
                <a:gd name="connsiteX21" fmla="*/ 35196 w 78352"/>
                <a:gd name="connsiteY21" fmla="*/ 15071 h 126853"/>
                <a:gd name="connsiteX22" fmla="*/ 27351 w 78352"/>
                <a:gd name="connsiteY22" fmla="*/ 15071 h 126853"/>
                <a:gd name="connsiteX23" fmla="*/ 23453 w 78352"/>
                <a:gd name="connsiteY23" fmla="*/ 12062 h 126853"/>
                <a:gd name="connsiteX24" fmla="*/ 17582 w 78352"/>
                <a:gd name="connsiteY24" fmla="*/ 9002 h 126853"/>
                <a:gd name="connsiteX25" fmla="*/ 17582 w 78352"/>
                <a:gd name="connsiteY25" fmla="*/ 7473 h 126853"/>
                <a:gd name="connsiteX26" fmla="*/ 21480 w 78352"/>
                <a:gd name="connsiteY26" fmla="*/ 7473 h 126853"/>
                <a:gd name="connsiteX27" fmla="*/ 19556 w 78352"/>
                <a:gd name="connsiteY27" fmla="*/ 5992 h 126853"/>
                <a:gd name="connsiteX28" fmla="*/ 21480 w 78352"/>
                <a:gd name="connsiteY28" fmla="*/ 2983 h 126853"/>
                <a:gd name="connsiteX29" fmla="*/ 15559 w 78352"/>
                <a:gd name="connsiteY29" fmla="*/ 13542 h 126853"/>
                <a:gd name="connsiteX30" fmla="*/ 15559 w 78352"/>
                <a:gd name="connsiteY30" fmla="*/ 18081 h 126853"/>
                <a:gd name="connsiteX31" fmla="*/ 13634 w 78352"/>
                <a:gd name="connsiteY31" fmla="*/ 18081 h 126853"/>
                <a:gd name="connsiteX32" fmla="*/ 13634 w 78352"/>
                <a:gd name="connsiteY32" fmla="*/ 24150 h 126853"/>
                <a:gd name="connsiteX33" fmla="*/ 9687 w 78352"/>
                <a:gd name="connsiteY33" fmla="*/ 28640 h 126853"/>
                <a:gd name="connsiteX34" fmla="*/ 7714 w 78352"/>
                <a:gd name="connsiteY34" fmla="*/ 28640 h 126853"/>
                <a:gd name="connsiteX35" fmla="*/ 3816 w 78352"/>
                <a:gd name="connsiteY35" fmla="*/ 25630 h 126853"/>
                <a:gd name="connsiteX36" fmla="*/ -82 w 78352"/>
                <a:gd name="connsiteY36" fmla="*/ 25630 h 126853"/>
                <a:gd name="connsiteX37" fmla="*/ -82 w 78352"/>
                <a:gd name="connsiteY37" fmla="*/ 27160 h 126853"/>
                <a:gd name="connsiteX38" fmla="*/ 3816 w 78352"/>
                <a:gd name="connsiteY38" fmla="*/ 28640 h 126853"/>
                <a:gd name="connsiteX39" fmla="*/ 5740 w 78352"/>
                <a:gd name="connsiteY39" fmla="*/ 30169 h 126853"/>
                <a:gd name="connsiteX40" fmla="*/ 3816 w 78352"/>
                <a:gd name="connsiteY40" fmla="*/ 33179 h 126853"/>
                <a:gd name="connsiteX41" fmla="*/ 7714 w 78352"/>
                <a:gd name="connsiteY41" fmla="*/ 39199 h 126853"/>
                <a:gd name="connsiteX42" fmla="*/ 7714 w 78352"/>
                <a:gd name="connsiteY42" fmla="*/ 46797 h 126853"/>
                <a:gd name="connsiteX43" fmla="*/ 5740 w 78352"/>
                <a:gd name="connsiteY43" fmla="*/ 49807 h 126853"/>
                <a:gd name="connsiteX44" fmla="*/ 3816 w 78352"/>
                <a:gd name="connsiteY44" fmla="*/ 64905 h 126853"/>
                <a:gd name="connsiteX45" fmla="*/ 3816 w 78352"/>
                <a:gd name="connsiteY45" fmla="*/ 67915 h 126853"/>
                <a:gd name="connsiteX46" fmla="*/ 1842 w 78352"/>
                <a:gd name="connsiteY46" fmla="*/ 69444 h 126853"/>
                <a:gd name="connsiteX47" fmla="*/ 5740 w 78352"/>
                <a:gd name="connsiteY47" fmla="*/ 80003 h 126853"/>
                <a:gd name="connsiteX48" fmla="*/ 3816 w 78352"/>
                <a:gd name="connsiteY48" fmla="*/ 86023 h 126853"/>
                <a:gd name="connsiteX49" fmla="*/ 7714 w 78352"/>
                <a:gd name="connsiteY49" fmla="*/ 99641 h 126853"/>
                <a:gd name="connsiteX50" fmla="*/ 13634 w 78352"/>
                <a:gd name="connsiteY50" fmla="*/ 116268 h 126853"/>
                <a:gd name="connsiteX51" fmla="*/ 19506 w 78352"/>
                <a:gd name="connsiteY51" fmla="*/ 123817 h 126853"/>
                <a:gd name="connsiteX52" fmla="*/ 27302 w 78352"/>
                <a:gd name="connsiteY52" fmla="*/ 126827 h 126853"/>
                <a:gd name="connsiteX53" fmla="*/ 35147 w 78352"/>
                <a:gd name="connsiteY53" fmla="*/ 125347 h 126853"/>
                <a:gd name="connsiteX54" fmla="*/ 46939 w 78352"/>
                <a:gd name="connsiteY54" fmla="*/ 123817 h 126853"/>
                <a:gd name="connsiteX55" fmla="*/ 58682 w 78352"/>
                <a:gd name="connsiteY55" fmla="*/ 122337 h 126853"/>
                <a:gd name="connsiteX56" fmla="*/ 70425 w 78352"/>
                <a:gd name="connsiteY56" fmla="*/ 111729 h 126853"/>
                <a:gd name="connsiteX57" fmla="*/ 76297 w 78352"/>
                <a:gd name="connsiteY57" fmla="*/ 102650 h 126853"/>
                <a:gd name="connsiteX58" fmla="*/ 78271 w 78352"/>
                <a:gd name="connsiteY58" fmla="*/ 96631 h 126853"/>
                <a:gd name="connsiteX59" fmla="*/ 76297 w 78352"/>
                <a:gd name="connsiteY59" fmla="*/ 92091 h 126853"/>
                <a:gd name="connsiteX60" fmla="*/ 78271 w 78352"/>
                <a:gd name="connsiteY60" fmla="*/ 90611 h 126853"/>
                <a:gd name="connsiteX61" fmla="*/ 78271 w 78352"/>
                <a:gd name="connsiteY61" fmla="*/ 81533 h 126853"/>
                <a:gd name="connsiteX62" fmla="*/ 76297 w 78352"/>
                <a:gd name="connsiteY62" fmla="*/ 76993 h 126853"/>
                <a:gd name="connsiteX63" fmla="*/ 78271 w 78352"/>
                <a:gd name="connsiteY63" fmla="*/ 72454 h 126853"/>
                <a:gd name="connsiteX64" fmla="*/ 72399 w 78352"/>
                <a:gd name="connsiteY64" fmla="*/ 69444 h 126853"/>
                <a:gd name="connsiteX65" fmla="*/ 66528 w 78352"/>
                <a:gd name="connsiteY65" fmla="*/ 54346 h 126853"/>
                <a:gd name="connsiteX66" fmla="*/ 60606 w 78352"/>
                <a:gd name="connsiteY66" fmla="*/ 45268 h 126853"/>
                <a:gd name="connsiteX67" fmla="*/ 54735 w 78352"/>
                <a:gd name="connsiteY67" fmla="*/ 46797 h 126853"/>
                <a:gd name="connsiteX68" fmla="*/ 54735 w 78352"/>
                <a:gd name="connsiteY68" fmla="*/ 45268 h 126853"/>
                <a:gd name="connsiteX69" fmla="*/ 48913 w 78352"/>
                <a:gd name="connsiteY69" fmla="*/ 45268 h 126853"/>
                <a:gd name="connsiteX70" fmla="*/ 56709 w 78352"/>
                <a:gd name="connsiteY70" fmla="*/ 42208 h 126853"/>
                <a:gd name="connsiteX71" fmla="*/ 54735 w 78352"/>
                <a:gd name="connsiteY71" fmla="*/ 39199 h 126853"/>
                <a:gd name="connsiteX72" fmla="*/ 52811 w 78352"/>
                <a:gd name="connsiteY72" fmla="*/ 37718 h 126853"/>
                <a:gd name="connsiteX73" fmla="*/ 46939 w 78352"/>
                <a:gd name="connsiteY73" fmla="*/ 30169 h 126853"/>
                <a:gd name="connsiteX74" fmla="*/ 44917 w 78352"/>
                <a:gd name="connsiteY74" fmla="*/ 30169 h 126853"/>
                <a:gd name="connsiteX75" fmla="*/ 42992 w 78352"/>
                <a:gd name="connsiteY75" fmla="*/ 24150 h 126853"/>
                <a:gd name="connsiteX76" fmla="*/ 41018 w 78352"/>
                <a:gd name="connsiteY76" fmla="*/ 22620 h 126853"/>
                <a:gd name="connsiteX77" fmla="*/ 41018 w 78352"/>
                <a:gd name="connsiteY77" fmla="*/ 19561 h 126853"/>
                <a:gd name="connsiteX78" fmla="*/ 31150 w 78352"/>
                <a:gd name="connsiteY78" fmla="*/ 16551 h 126853"/>
                <a:gd name="connsiteX79" fmla="*/ 27203 w 78352"/>
                <a:gd name="connsiteY79" fmla="*/ 18081 h 126853"/>
                <a:gd name="connsiteX80" fmla="*/ 21332 w 78352"/>
                <a:gd name="connsiteY80" fmla="*/ 16551 h 126853"/>
                <a:gd name="connsiteX81" fmla="*/ 23305 w 78352"/>
                <a:gd name="connsiteY81" fmla="*/ 15071 h 12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78352" h="126853">
                  <a:moveTo>
                    <a:pt x="-82" y="63375"/>
                  </a:moveTo>
                  <a:lnTo>
                    <a:pt x="1842" y="54346"/>
                  </a:lnTo>
                  <a:lnTo>
                    <a:pt x="-82" y="49807"/>
                  </a:lnTo>
                  <a:lnTo>
                    <a:pt x="3816" y="48277"/>
                  </a:lnTo>
                  <a:lnTo>
                    <a:pt x="3816" y="49807"/>
                  </a:lnTo>
                  <a:lnTo>
                    <a:pt x="1842" y="49807"/>
                  </a:lnTo>
                  <a:lnTo>
                    <a:pt x="3816" y="54346"/>
                  </a:lnTo>
                  <a:lnTo>
                    <a:pt x="-82" y="63375"/>
                  </a:lnTo>
                  <a:close/>
                  <a:moveTo>
                    <a:pt x="13634" y="10532"/>
                  </a:moveTo>
                  <a:lnTo>
                    <a:pt x="3766" y="5992"/>
                  </a:lnTo>
                  <a:lnTo>
                    <a:pt x="3766" y="1453"/>
                  </a:lnTo>
                  <a:lnTo>
                    <a:pt x="15509" y="-27"/>
                  </a:lnTo>
                  <a:lnTo>
                    <a:pt x="17483" y="1453"/>
                  </a:lnTo>
                  <a:lnTo>
                    <a:pt x="13585" y="7473"/>
                  </a:lnTo>
                  <a:lnTo>
                    <a:pt x="11612" y="9002"/>
                  </a:lnTo>
                  <a:lnTo>
                    <a:pt x="13585" y="10532"/>
                  </a:lnTo>
                  <a:close/>
                  <a:moveTo>
                    <a:pt x="21430" y="2983"/>
                  </a:moveTo>
                  <a:lnTo>
                    <a:pt x="25328" y="5992"/>
                  </a:lnTo>
                  <a:lnTo>
                    <a:pt x="27302" y="10532"/>
                  </a:lnTo>
                  <a:lnTo>
                    <a:pt x="37170" y="13542"/>
                  </a:lnTo>
                  <a:lnTo>
                    <a:pt x="39143" y="16551"/>
                  </a:lnTo>
                  <a:lnTo>
                    <a:pt x="35196" y="15071"/>
                  </a:lnTo>
                  <a:lnTo>
                    <a:pt x="27351" y="15071"/>
                  </a:lnTo>
                  <a:lnTo>
                    <a:pt x="23453" y="12062"/>
                  </a:lnTo>
                  <a:lnTo>
                    <a:pt x="17582" y="9002"/>
                  </a:lnTo>
                  <a:lnTo>
                    <a:pt x="17582" y="7473"/>
                  </a:lnTo>
                  <a:lnTo>
                    <a:pt x="21480" y="7473"/>
                  </a:lnTo>
                  <a:lnTo>
                    <a:pt x="19556" y="5992"/>
                  </a:lnTo>
                  <a:lnTo>
                    <a:pt x="21480" y="2983"/>
                  </a:lnTo>
                  <a:close/>
                  <a:moveTo>
                    <a:pt x="15559" y="13542"/>
                  </a:moveTo>
                  <a:lnTo>
                    <a:pt x="15559" y="18081"/>
                  </a:lnTo>
                  <a:lnTo>
                    <a:pt x="13634" y="18081"/>
                  </a:lnTo>
                  <a:lnTo>
                    <a:pt x="13634" y="24150"/>
                  </a:lnTo>
                  <a:lnTo>
                    <a:pt x="9687" y="28640"/>
                  </a:lnTo>
                  <a:lnTo>
                    <a:pt x="7714" y="28640"/>
                  </a:lnTo>
                  <a:lnTo>
                    <a:pt x="3816" y="25630"/>
                  </a:lnTo>
                  <a:lnTo>
                    <a:pt x="-82" y="25630"/>
                  </a:lnTo>
                  <a:lnTo>
                    <a:pt x="-82" y="27160"/>
                  </a:lnTo>
                  <a:lnTo>
                    <a:pt x="3816" y="28640"/>
                  </a:lnTo>
                  <a:lnTo>
                    <a:pt x="5740" y="30169"/>
                  </a:lnTo>
                  <a:lnTo>
                    <a:pt x="3816" y="33179"/>
                  </a:lnTo>
                  <a:lnTo>
                    <a:pt x="7714" y="39199"/>
                  </a:lnTo>
                  <a:lnTo>
                    <a:pt x="7714" y="46797"/>
                  </a:lnTo>
                  <a:lnTo>
                    <a:pt x="5740" y="49807"/>
                  </a:lnTo>
                  <a:lnTo>
                    <a:pt x="3816" y="64905"/>
                  </a:lnTo>
                  <a:lnTo>
                    <a:pt x="3816" y="67915"/>
                  </a:lnTo>
                  <a:lnTo>
                    <a:pt x="1842" y="69444"/>
                  </a:lnTo>
                  <a:lnTo>
                    <a:pt x="5740" y="80003"/>
                  </a:lnTo>
                  <a:lnTo>
                    <a:pt x="3816" y="86023"/>
                  </a:lnTo>
                  <a:lnTo>
                    <a:pt x="7714" y="99641"/>
                  </a:lnTo>
                  <a:lnTo>
                    <a:pt x="13634" y="116268"/>
                  </a:lnTo>
                  <a:lnTo>
                    <a:pt x="19506" y="123817"/>
                  </a:lnTo>
                  <a:lnTo>
                    <a:pt x="27302" y="126827"/>
                  </a:lnTo>
                  <a:lnTo>
                    <a:pt x="35147" y="125347"/>
                  </a:lnTo>
                  <a:lnTo>
                    <a:pt x="46939" y="123817"/>
                  </a:lnTo>
                  <a:lnTo>
                    <a:pt x="58682" y="122337"/>
                  </a:lnTo>
                  <a:lnTo>
                    <a:pt x="70425" y="111729"/>
                  </a:lnTo>
                  <a:lnTo>
                    <a:pt x="76297" y="102650"/>
                  </a:lnTo>
                  <a:lnTo>
                    <a:pt x="78271" y="96631"/>
                  </a:lnTo>
                  <a:lnTo>
                    <a:pt x="76297" y="92091"/>
                  </a:lnTo>
                  <a:lnTo>
                    <a:pt x="78271" y="90611"/>
                  </a:lnTo>
                  <a:lnTo>
                    <a:pt x="78271" y="81533"/>
                  </a:lnTo>
                  <a:lnTo>
                    <a:pt x="76297" y="76993"/>
                  </a:lnTo>
                  <a:lnTo>
                    <a:pt x="78271" y="72454"/>
                  </a:lnTo>
                  <a:lnTo>
                    <a:pt x="72399" y="69444"/>
                  </a:lnTo>
                  <a:lnTo>
                    <a:pt x="66528" y="54346"/>
                  </a:lnTo>
                  <a:lnTo>
                    <a:pt x="60606" y="45268"/>
                  </a:lnTo>
                  <a:lnTo>
                    <a:pt x="54735" y="46797"/>
                  </a:lnTo>
                  <a:lnTo>
                    <a:pt x="54735" y="45268"/>
                  </a:lnTo>
                  <a:lnTo>
                    <a:pt x="48913" y="45268"/>
                  </a:lnTo>
                  <a:lnTo>
                    <a:pt x="56709" y="42208"/>
                  </a:lnTo>
                  <a:lnTo>
                    <a:pt x="54735" y="39199"/>
                  </a:lnTo>
                  <a:lnTo>
                    <a:pt x="52811" y="37718"/>
                  </a:lnTo>
                  <a:lnTo>
                    <a:pt x="46939" y="30169"/>
                  </a:lnTo>
                  <a:lnTo>
                    <a:pt x="44917" y="30169"/>
                  </a:lnTo>
                  <a:lnTo>
                    <a:pt x="42992" y="24150"/>
                  </a:lnTo>
                  <a:lnTo>
                    <a:pt x="41018" y="22620"/>
                  </a:lnTo>
                  <a:lnTo>
                    <a:pt x="41018" y="19561"/>
                  </a:lnTo>
                  <a:lnTo>
                    <a:pt x="31150" y="16551"/>
                  </a:lnTo>
                  <a:lnTo>
                    <a:pt x="27203" y="18081"/>
                  </a:lnTo>
                  <a:lnTo>
                    <a:pt x="21332" y="16551"/>
                  </a:lnTo>
                  <a:lnTo>
                    <a:pt x="23305" y="1507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Graphic 2">
              <a:extLst>
                <a:ext uri="{FF2B5EF4-FFF2-40B4-BE49-F238E27FC236}">
                  <a16:creationId xmlns:a16="http://schemas.microsoft.com/office/drawing/2014/main" id="{E6B7C003-0452-4EE8-9804-B4D3285BC045}"/>
                </a:ext>
              </a:extLst>
            </p:cNvPr>
            <p:cNvSpPr/>
            <p:nvPr/>
          </p:nvSpPr>
          <p:spPr>
            <a:xfrm>
              <a:off x="8273423" y="3804290"/>
              <a:ext cx="109332" cy="55448"/>
            </a:xfrm>
            <a:custGeom>
              <a:avLst/>
              <a:gdLst>
                <a:gd name="connsiteX0" fmla="*/ 6135 w 120341"/>
                <a:gd name="connsiteY0" fmla="*/ 28837 h 61033"/>
                <a:gd name="connsiteX1" fmla="*/ 12401 w 120341"/>
                <a:gd name="connsiteY1" fmla="*/ 25630 h 61033"/>
                <a:gd name="connsiteX2" fmla="*/ 20641 w 120341"/>
                <a:gd name="connsiteY2" fmla="*/ 11173 h 61033"/>
                <a:gd name="connsiteX3" fmla="*/ 41413 w 120341"/>
                <a:gd name="connsiteY3" fmla="*/ 1552 h 61033"/>
                <a:gd name="connsiteX4" fmla="*/ 51775 w 120341"/>
                <a:gd name="connsiteY4" fmla="*/ -27 h 61033"/>
                <a:gd name="connsiteX5" fmla="*/ 55919 w 120341"/>
                <a:gd name="connsiteY5" fmla="*/ 6387 h 61033"/>
                <a:gd name="connsiteX6" fmla="*/ 72547 w 120341"/>
                <a:gd name="connsiteY6" fmla="*/ 7966 h 61033"/>
                <a:gd name="connsiteX7" fmla="*/ 82908 w 120341"/>
                <a:gd name="connsiteY7" fmla="*/ 9595 h 61033"/>
                <a:gd name="connsiteX8" fmla="*/ 91247 w 120341"/>
                <a:gd name="connsiteY8" fmla="*/ 6387 h 61033"/>
                <a:gd name="connsiteX9" fmla="*/ 101609 w 120341"/>
                <a:gd name="connsiteY9" fmla="*/ 6387 h 61033"/>
                <a:gd name="connsiteX10" fmla="*/ 105753 w 120341"/>
                <a:gd name="connsiteY10" fmla="*/ 14380 h 61033"/>
                <a:gd name="connsiteX11" fmla="*/ 107776 w 120341"/>
                <a:gd name="connsiteY11" fmla="*/ 12801 h 61033"/>
                <a:gd name="connsiteX12" fmla="*/ 105753 w 120341"/>
                <a:gd name="connsiteY12" fmla="*/ 22423 h 61033"/>
                <a:gd name="connsiteX13" fmla="*/ 107776 w 120341"/>
                <a:gd name="connsiteY13" fmla="*/ 28837 h 61033"/>
                <a:gd name="connsiteX14" fmla="*/ 120259 w 120341"/>
                <a:gd name="connsiteY14" fmla="*/ 33771 h 61033"/>
                <a:gd name="connsiteX15" fmla="*/ 120259 w 120341"/>
                <a:gd name="connsiteY15" fmla="*/ 48080 h 61033"/>
                <a:gd name="connsiteX16" fmla="*/ 103632 w 120341"/>
                <a:gd name="connsiteY16" fmla="*/ 53014 h 61033"/>
                <a:gd name="connsiteX17" fmla="*/ 93270 w 120341"/>
                <a:gd name="connsiteY17" fmla="*/ 51386 h 61033"/>
                <a:gd name="connsiteX18" fmla="*/ 80836 w 120341"/>
                <a:gd name="connsiteY18" fmla="*/ 54593 h 61033"/>
                <a:gd name="connsiteX19" fmla="*/ 70474 w 120341"/>
                <a:gd name="connsiteY19" fmla="*/ 51386 h 61033"/>
                <a:gd name="connsiteX20" fmla="*/ 64258 w 120341"/>
                <a:gd name="connsiteY20" fmla="*/ 53014 h 61033"/>
                <a:gd name="connsiteX21" fmla="*/ 55919 w 120341"/>
                <a:gd name="connsiteY21" fmla="*/ 61007 h 61033"/>
                <a:gd name="connsiteX22" fmla="*/ 45558 w 120341"/>
                <a:gd name="connsiteY22" fmla="*/ 61007 h 61033"/>
                <a:gd name="connsiteX23" fmla="*/ 26907 w 120341"/>
                <a:gd name="connsiteY23" fmla="*/ 51139 h 61033"/>
                <a:gd name="connsiteX24" fmla="*/ 22763 w 120341"/>
                <a:gd name="connsiteY24" fmla="*/ 54346 h 61033"/>
                <a:gd name="connsiteX25" fmla="*/ 10280 w 120341"/>
                <a:gd name="connsiteY25" fmla="*/ 52767 h 61033"/>
                <a:gd name="connsiteX26" fmla="*/ -82 w 120341"/>
                <a:gd name="connsiteY26" fmla="*/ 41518 h 61033"/>
                <a:gd name="connsiteX27" fmla="*/ 6135 w 120341"/>
                <a:gd name="connsiteY27" fmla="*/ 35103 h 61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0341" h="61033">
                  <a:moveTo>
                    <a:pt x="6135" y="28837"/>
                  </a:moveTo>
                  <a:lnTo>
                    <a:pt x="12401" y="25630"/>
                  </a:lnTo>
                  <a:lnTo>
                    <a:pt x="20641" y="11173"/>
                  </a:lnTo>
                  <a:lnTo>
                    <a:pt x="41413" y="1552"/>
                  </a:lnTo>
                  <a:lnTo>
                    <a:pt x="51775" y="-27"/>
                  </a:lnTo>
                  <a:lnTo>
                    <a:pt x="55919" y="6387"/>
                  </a:lnTo>
                  <a:lnTo>
                    <a:pt x="72547" y="7966"/>
                  </a:lnTo>
                  <a:lnTo>
                    <a:pt x="82908" y="9595"/>
                  </a:lnTo>
                  <a:lnTo>
                    <a:pt x="91247" y="6387"/>
                  </a:lnTo>
                  <a:lnTo>
                    <a:pt x="101609" y="6387"/>
                  </a:lnTo>
                  <a:lnTo>
                    <a:pt x="105753" y="14380"/>
                  </a:lnTo>
                  <a:lnTo>
                    <a:pt x="107776" y="12801"/>
                  </a:lnTo>
                  <a:lnTo>
                    <a:pt x="105753" y="22423"/>
                  </a:lnTo>
                  <a:lnTo>
                    <a:pt x="107776" y="28837"/>
                  </a:lnTo>
                  <a:lnTo>
                    <a:pt x="120259" y="33771"/>
                  </a:lnTo>
                  <a:lnTo>
                    <a:pt x="120259" y="48080"/>
                  </a:lnTo>
                  <a:lnTo>
                    <a:pt x="103632" y="53014"/>
                  </a:lnTo>
                  <a:lnTo>
                    <a:pt x="93270" y="51386"/>
                  </a:lnTo>
                  <a:lnTo>
                    <a:pt x="80836" y="54593"/>
                  </a:lnTo>
                  <a:lnTo>
                    <a:pt x="70474" y="51386"/>
                  </a:lnTo>
                  <a:lnTo>
                    <a:pt x="64258" y="53014"/>
                  </a:lnTo>
                  <a:lnTo>
                    <a:pt x="55919" y="61007"/>
                  </a:lnTo>
                  <a:lnTo>
                    <a:pt x="45558" y="61007"/>
                  </a:lnTo>
                  <a:lnTo>
                    <a:pt x="26907" y="51139"/>
                  </a:lnTo>
                  <a:lnTo>
                    <a:pt x="22763" y="54346"/>
                  </a:lnTo>
                  <a:lnTo>
                    <a:pt x="10280" y="52767"/>
                  </a:lnTo>
                  <a:lnTo>
                    <a:pt x="-82" y="41518"/>
                  </a:lnTo>
                  <a:lnTo>
                    <a:pt x="6135" y="3510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Graphic 2">
              <a:extLst>
                <a:ext uri="{FF2B5EF4-FFF2-40B4-BE49-F238E27FC236}">
                  <a16:creationId xmlns:a16="http://schemas.microsoft.com/office/drawing/2014/main" id="{1F5F9AE1-D736-4F18-A6F0-7E7E78ACBD93}"/>
                </a:ext>
              </a:extLst>
            </p:cNvPr>
            <p:cNvSpPr/>
            <p:nvPr/>
          </p:nvSpPr>
          <p:spPr>
            <a:xfrm>
              <a:off x="7981068" y="3737727"/>
              <a:ext cx="275458" cy="123626"/>
            </a:xfrm>
            <a:custGeom>
              <a:avLst/>
              <a:gdLst>
                <a:gd name="connsiteX0" fmla="*/ 13931 w 303196"/>
                <a:gd name="connsiteY0" fmla="*/ 1503 h 136080"/>
                <a:gd name="connsiteX1" fmla="*/ 15905 w 303196"/>
                <a:gd name="connsiteY1" fmla="*/ -27 h 136080"/>
                <a:gd name="connsiteX2" fmla="*/ 25773 w 303196"/>
                <a:gd name="connsiteY2" fmla="*/ 4562 h 136080"/>
                <a:gd name="connsiteX3" fmla="*/ 27746 w 303196"/>
                <a:gd name="connsiteY3" fmla="*/ 7621 h 136080"/>
                <a:gd name="connsiteX4" fmla="*/ 33717 w 303196"/>
                <a:gd name="connsiteY4" fmla="*/ 7621 h 136080"/>
                <a:gd name="connsiteX5" fmla="*/ 37664 w 303196"/>
                <a:gd name="connsiteY5" fmla="*/ 10680 h 136080"/>
                <a:gd name="connsiteX6" fmla="*/ 41611 w 303196"/>
                <a:gd name="connsiteY6" fmla="*/ 3032 h 136080"/>
                <a:gd name="connsiteX7" fmla="*/ 53552 w 303196"/>
                <a:gd name="connsiteY7" fmla="*/ 3032 h 136080"/>
                <a:gd name="connsiteX8" fmla="*/ 65442 w 303196"/>
                <a:gd name="connsiteY8" fmla="*/ 7621 h 136080"/>
                <a:gd name="connsiteX9" fmla="*/ 69390 w 303196"/>
                <a:gd name="connsiteY9" fmla="*/ 12259 h 136080"/>
                <a:gd name="connsiteX10" fmla="*/ 77333 w 303196"/>
                <a:gd name="connsiteY10" fmla="*/ 12259 h 136080"/>
                <a:gd name="connsiteX11" fmla="*/ 85277 w 303196"/>
                <a:gd name="connsiteY11" fmla="*/ 15318 h 136080"/>
                <a:gd name="connsiteX12" fmla="*/ 95145 w 303196"/>
                <a:gd name="connsiteY12" fmla="*/ 24446 h 136080"/>
                <a:gd name="connsiteX13" fmla="*/ 103089 w 303196"/>
                <a:gd name="connsiteY13" fmla="*/ 24446 h 136080"/>
                <a:gd name="connsiteX14" fmla="*/ 109060 w 303196"/>
                <a:gd name="connsiteY14" fmla="*/ 27505 h 136080"/>
                <a:gd name="connsiteX15" fmla="*/ 113006 w 303196"/>
                <a:gd name="connsiteY15" fmla="*/ 30564 h 136080"/>
                <a:gd name="connsiteX16" fmla="*/ 120950 w 303196"/>
                <a:gd name="connsiteY16" fmla="*/ 38212 h 136080"/>
                <a:gd name="connsiteX17" fmla="*/ 122924 w 303196"/>
                <a:gd name="connsiteY17" fmla="*/ 45860 h 136080"/>
                <a:gd name="connsiteX18" fmla="*/ 126871 w 303196"/>
                <a:gd name="connsiteY18" fmla="*/ 44330 h 136080"/>
                <a:gd name="connsiteX19" fmla="*/ 128894 w 303196"/>
                <a:gd name="connsiteY19" fmla="*/ 33623 h 136080"/>
                <a:gd name="connsiteX20" fmla="*/ 132841 w 303196"/>
                <a:gd name="connsiteY20" fmla="*/ 30564 h 136080"/>
                <a:gd name="connsiteX21" fmla="*/ 134864 w 303196"/>
                <a:gd name="connsiteY21" fmla="*/ 33623 h 136080"/>
                <a:gd name="connsiteX22" fmla="*/ 140785 w 303196"/>
                <a:gd name="connsiteY22" fmla="*/ 33623 h 136080"/>
                <a:gd name="connsiteX23" fmla="*/ 150653 w 303196"/>
                <a:gd name="connsiteY23" fmla="*/ 38212 h 136080"/>
                <a:gd name="connsiteX24" fmla="*/ 152627 w 303196"/>
                <a:gd name="connsiteY24" fmla="*/ 45860 h 136080"/>
                <a:gd name="connsiteX25" fmla="*/ 160571 w 303196"/>
                <a:gd name="connsiteY25" fmla="*/ 53507 h 136080"/>
                <a:gd name="connsiteX26" fmla="*/ 170439 w 303196"/>
                <a:gd name="connsiteY26" fmla="*/ 50448 h 136080"/>
                <a:gd name="connsiteX27" fmla="*/ 180307 w 303196"/>
                <a:gd name="connsiteY27" fmla="*/ 51978 h 136080"/>
                <a:gd name="connsiteX28" fmla="*/ 178333 w 303196"/>
                <a:gd name="connsiteY28" fmla="*/ 65744 h 136080"/>
                <a:gd name="connsiteX29" fmla="*/ 182280 w 303196"/>
                <a:gd name="connsiteY29" fmla="*/ 71862 h 136080"/>
                <a:gd name="connsiteX30" fmla="*/ 188250 w 303196"/>
                <a:gd name="connsiteY30" fmla="*/ 70332 h 136080"/>
                <a:gd name="connsiteX31" fmla="*/ 198119 w 303196"/>
                <a:gd name="connsiteY31" fmla="*/ 74921 h 136080"/>
                <a:gd name="connsiteX32" fmla="*/ 202066 w 303196"/>
                <a:gd name="connsiteY32" fmla="*/ 71862 h 136080"/>
                <a:gd name="connsiteX33" fmla="*/ 210010 w 303196"/>
                <a:gd name="connsiteY33" fmla="*/ 70332 h 136080"/>
                <a:gd name="connsiteX34" fmla="*/ 215980 w 303196"/>
                <a:gd name="connsiteY34" fmla="*/ 64214 h 136080"/>
                <a:gd name="connsiteX35" fmla="*/ 231867 w 303196"/>
                <a:gd name="connsiteY35" fmla="*/ 65744 h 136080"/>
                <a:gd name="connsiteX36" fmla="*/ 239762 w 303196"/>
                <a:gd name="connsiteY36" fmla="*/ 68803 h 136080"/>
                <a:gd name="connsiteX37" fmla="*/ 241735 w 303196"/>
                <a:gd name="connsiteY37" fmla="*/ 74921 h 136080"/>
                <a:gd name="connsiteX38" fmla="*/ 251603 w 303196"/>
                <a:gd name="connsiteY38" fmla="*/ 79460 h 136080"/>
                <a:gd name="connsiteX39" fmla="*/ 261471 w 303196"/>
                <a:gd name="connsiteY39" fmla="*/ 87157 h 136080"/>
                <a:gd name="connsiteX40" fmla="*/ 267393 w 303196"/>
                <a:gd name="connsiteY40" fmla="*/ 90216 h 136080"/>
                <a:gd name="connsiteX41" fmla="*/ 275336 w 303196"/>
                <a:gd name="connsiteY41" fmla="*/ 85628 h 136080"/>
                <a:gd name="connsiteX42" fmla="*/ 279333 w 303196"/>
                <a:gd name="connsiteY42" fmla="*/ 85628 h 136080"/>
                <a:gd name="connsiteX43" fmla="*/ 291224 w 303196"/>
                <a:gd name="connsiteY43" fmla="*/ 84098 h 136080"/>
                <a:gd name="connsiteX44" fmla="*/ 297145 w 303196"/>
                <a:gd name="connsiteY44" fmla="*/ 84098 h 136080"/>
                <a:gd name="connsiteX45" fmla="*/ 299118 w 303196"/>
                <a:gd name="connsiteY45" fmla="*/ 91746 h 136080"/>
                <a:gd name="connsiteX46" fmla="*/ 295171 w 303196"/>
                <a:gd name="connsiteY46" fmla="*/ 105463 h 136080"/>
                <a:gd name="connsiteX47" fmla="*/ 303115 w 303196"/>
                <a:gd name="connsiteY47" fmla="*/ 119229 h 136080"/>
                <a:gd name="connsiteX48" fmla="*/ 299118 w 303196"/>
                <a:gd name="connsiteY48" fmla="*/ 132994 h 136080"/>
                <a:gd name="connsiteX49" fmla="*/ 277310 w 303196"/>
                <a:gd name="connsiteY49" fmla="*/ 136054 h 136080"/>
                <a:gd name="connsiteX50" fmla="*/ 263445 w 303196"/>
                <a:gd name="connsiteY50" fmla="*/ 129935 h 136080"/>
                <a:gd name="connsiteX51" fmla="*/ 255501 w 303196"/>
                <a:gd name="connsiteY51" fmla="*/ 132994 h 136080"/>
                <a:gd name="connsiteX52" fmla="*/ 223727 w 303196"/>
                <a:gd name="connsiteY52" fmla="*/ 123817 h 136080"/>
                <a:gd name="connsiteX53" fmla="*/ 209862 w 303196"/>
                <a:gd name="connsiteY53" fmla="*/ 125347 h 136080"/>
                <a:gd name="connsiteX54" fmla="*/ 203941 w 303196"/>
                <a:gd name="connsiteY54" fmla="*/ 128406 h 136080"/>
                <a:gd name="connsiteX55" fmla="*/ 186080 w 303196"/>
                <a:gd name="connsiteY55" fmla="*/ 123817 h 136080"/>
                <a:gd name="connsiteX56" fmla="*/ 174139 w 303196"/>
                <a:gd name="connsiteY56" fmla="*/ 116170 h 136080"/>
                <a:gd name="connsiteX57" fmla="*/ 172165 w 303196"/>
                <a:gd name="connsiteY57" fmla="*/ 106992 h 136080"/>
                <a:gd name="connsiteX58" fmla="*/ 156327 w 303196"/>
                <a:gd name="connsiteY58" fmla="*/ 103982 h 136080"/>
                <a:gd name="connsiteX59" fmla="*/ 136591 w 303196"/>
                <a:gd name="connsiteY59" fmla="*/ 108571 h 136080"/>
                <a:gd name="connsiteX60" fmla="*/ 130621 w 303196"/>
                <a:gd name="connsiteY60" fmla="*/ 103982 h 136080"/>
                <a:gd name="connsiteX61" fmla="*/ 110885 w 303196"/>
                <a:gd name="connsiteY61" fmla="*/ 105463 h 136080"/>
                <a:gd name="connsiteX62" fmla="*/ 101017 w 303196"/>
                <a:gd name="connsiteY62" fmla="*/ 99344 h 136080"/>
                <a:gd name="connsiteX63" fmla="*/ 91149 w 303196"/>
                <a:gd name="connsiteY63" fmla="*/ 99344 h 136080"/>
                <a:gd name="connsiteX64" fmla="*/ 85228 w 303196"/>
                <a:gd name="connsiteY64" fmla="*/ 94805 h 136080"/>
                <a:gd name="connsiteX65" fmla="*/ 69340 w 303196"/>
                <a:gd name="connsiteY65" fmla="*/ 91746 h 136080"/>
                <a:gd name="connsiteX66" fmla="*/ 59472 w 303196"/>
                <a:gd name="connsiteY66" fmla="*/ 79460 h 136080"/>
                <a:gd name="connsiteX67" fmla="*/ 41562 w 303196"/>
                <a:gd name="connsiteY67" fmla="*/ 70332 h 136080"/>
                <a:gd name="connsiteX68" fmla="*/ 27697 w 303196"/>
                <a:gd name="connsiteY68" fmla="*/ 67273 h 136080"/>
                <a:gd name="connsiteX69" fmla="*/ 21727 w 303196"/>
                <a:gd name="connsiteY69" fmla="*/ 64214 h 136080"/>
                <a:gd name="connsiteX70" fmla="*/ 15757 w 303196"/>
                <a:gd name="connsiteY70" fmla="*/ 64214 h 136080"/>
                <a:gd name="connsiteX71" fmla="*/ 7862 w 303196"/>
                <a:gd name="connsiteY71" fmla="*/ 58096 h 136080"/>
                <a:gd name="connsiteX72" fmla="*/ 1892 w 303196"/>
                <a:gd name="connsiteY72" fmla="*/ 58096 h 136080"/>
                <a:gd name="connsiteX73" fmla="*/ -82 w 303196"/>
                <a:gd name="connsiteY73" fmla="*/ 50448 h 136080"/>
                <a:gd name="connsiteX74" fmla="*/ 7862 w 303196"/>
                <a:gd name="connsiteY74" fmla="*/ 39741 h 136080"/>
                <a:gd name="connsiteX75" fmla="*/ 7862 w 303196"/>
                <a:gd name="connsiteY75" fmla="*/ 29034 h 136080"/>
                <a:gd name="connsiteX76" fmla="*/ 13783 w 303196"/>
                <a:gd name="connsiteY76" fmla="*/ 13739 h 13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303196" h="136080">
                  <a:moveTo>
                    <a:pt x="13931" y="1503"/>
                  </a:moveTo>
                  <a:lnTo>
                    <a:pt x="15905" y="-27"/>
                  </a:lnTo>
                  <a:lnTo>
                    <a:pt x="25773" y="4562"/>
                  </a:lnTo>
                  <a:lnTo>
                    <a:pt x="27746" y="7621"/>
                  </a:lnTo>
                  <a:lnTo>
                    <a:pt x="33717" y="7621"/>
                  </a:lnTo>
                  <a:lnTo>
                    <a:pt x="37664" y="10680"/>
                  </a:lnTo>
                  <a:lnTo>
                    <a:pt x="41611" y="3032"/>
                  </a:lnTo>
                  <a:lnTo>
                    <a:pt x="53552" y="3032"/>
                  </a:lnTo>
                  <a:lnTo>
                    <a:pt x="65442" y="7621"/>
                  </a:lnTo>
                  <a:lnTo>
                    <a:pt x="69390" y="12259"/>
                  </a:lnTo>
                  <a:lnTo>
                    <a:pt x="77333" y="12259"/>
                  </a:lnTo>
                  <a:lnTo>
                    <a:pt x="85277" y="15318"/>
                  </a:lnTo>
                  <a:lnTo>
                    <a:pt x="95145" y="24446"/>
                  </a:lnTo>
                  <a:lnTo>
                    <a:pt x="103089" y="24446"/>
                  </a:lnTo>
                  <a:lnTo>
                    <a:pt x="109060" y="27505"/>
                  </a:lnTo>
                  <a:lnTo>
                    <a:pt x="113006" y="30564"/>
                  </a:lnTo>
                  <a:lnTo>
                    <a:pt x="120950" y="38212"/>
                  </a:lnTo>
                  <a:lnTo>
                    <a:pt x="122924" y="45860"/>
                  </a:lnTo>
                  <a:lnTo>
                    <a:pt x="126871" y="44330"/>
                  </a:lnTo>
                  <a:lnTo>
                    <a:pt x="128894" y="33623"/>
                  </a:lnTo>
                  <a:lnTo>
                    <a:pt x="132841" y="30564"/>
                  </a:lnTo>
                  <a:lnTo>
                    <a:pt x="134864" y="33623"/>
                  </a:lnTo>
                  <a:lnTo>
                    <a:pt x="140785" y="33623"/>
                  </a:lnTo>
                  <a:lnTo>
                    <a:pt x="150653" y="38212"/>
                  </a:lnTo>
                  <a:lnTo>
                    <a:pt x="152627" y="45860"/>
                  </a:lnTo>
                  <a:lnTo>
                    <a:pt x="160571" y="53507"/>
                  </a:lnTo>
                  <a:lnTo>
                    <a:pt x="170439" y="50448"/>
                  </a:lnTo>
                  <a:lnTo>
                    <a:pt x="180307" y="51978"/>
                  </a:lnTo>
                  <a:lnTo>
                    <a:pt x="178333" y="65744"/>
                  </a:lnTo>
                  <a:lnTo>
                    <a:pt x="182280" y="71862"/>
                  </a:lnTo>
                  <a:lnTo>
                    <a:pt x="188250" y="70332"/>
                  </a:lnTo>
                  <a:lnTo>
                    <a:pt x="198119" y="74921"/>
                  </a:lnTo>
                  <a:lnTo>
                    <a:pt x="202066" y="71862"/>
                  </a:lnTo>
                  <a:lnTo>
                    <a:pt x="210010" y="70332"/>
                  </a:lnTo>
                  <a:lnTo>
                    <a:pt x="215980" y="64214"/>
                  </a:lnTo>
                  <a:lnTo>
                    <a:pt x="231867" y="65744"/>
                  </a:lnTo>
                  <a:lnTo>
                    <a:pt x="239762" y="68803"/>
                  </a:lnTo>
                  <a:lnTo>
                    <a:pt x="241735" y="74921"/>
                  </a:lnTo>
                  <a:lnTo>
                    <a:pt x="251603" y="79460"/>
                  </a:lnTo>
                  <a:lnTo>
                    <a:pt x="261471" y="87157"/>
                  </a:lnTo>
                  <a:lnTo>
                    <a:pt x="267393" y="90216"/>
                  </a:lnTo>
                  <a:lnTo>
                    <a:pt x="275336" y="85628"/>
                  </a:lnTo>
                  <a:lnTo>
                    <a:pt x="279333" y="85628"/>
                  </a:lnTo>
                  <a:lnTo>
                    <a:pt x="291224" y="84098"/>
                  </a:lnTo>
                  <a:lnTo>
                    <a:pt x="297145" y="84098"/>
                  </a:lnTo>
                  <a:lnTo>
                    <a:pt x="299118" y="91746"/>
                  </a:lnTo>
                  <a:lnTo>
                    <a:pt x="295171" y="105463"/>
                  </a:lnTo>
                  <a:lnTo>
                    <a:pt x="303115" y="119229"/>
                  </a:lnTo>
                  <a:lnTo>
                    <a:pt x="299118" y="132994"/>
                  </a:lnTo>
                  <a:lnTo>
                    <a:pt x="277310" y="136054"/>
                  </a:lnTo>
                  <a:lnTo>
                    <a:pt x="263445" y="129935"/>
                  </a:lnTo>
                  <a:lnTo>
                    <a:pt x="255501" y="132994"/>
                  </a:lnTo>
                  <a:lnTo>
                    <a:pt x="223727" y="123817"/>
                  </a:lnTo>
                  <a:lnTo>
                    <a:pt x="209862" y="125347"/>
                  </a:lnTo>
                  <a:lnTo>
                    <a:pt x="203941" y="128406"/>
                  </a:lnTo>
                  <a:lnTo>
                    <a:pt x="186080" y="123817"/>
                  </a:lnTo>
                  <a:lnTo>
                    <a:pt x="174139" y="116170"/>
                  </a:lnTo>
                  <a:lnTo>
                    <a:pt x="172165" y="106992"/>
                  </a:lnTo>
                  <a:lnTo>
                    <a:pt x="156327" y="103982"/>
                  </a:lnTo>
                  <a:lnTo>
                    <a:pt x="136591" y="108571"/>
                  </a:lnTo>
                  <a:lnTo>
                    <a:pt x="130621" y="103982"/>
                  </a:lnTo>
                  <a:lnTo>
                    <a:pt x="110885" y="105463"/>
                  </a:lnTo>
                  <a:lnTo>
                    <a:pt x="101017" y="99344"/>
                  </a:lnTo>
                  <a:lnTo>
                    <a:pt x="91149" y="99344"/>
                  </a:lnTo>
                  <a:lnTo>
                    <a:pt x="85228" y="94805"/>
                  </a:lnTo>
                  <a:lnTo>
                    <a:pt x="69340" y="91746"/>
                  </a:lnTo>
                  <a:lnTo>
                    <a:pt x="59472" y="79460"/>
                  </a:lnTo>
                  <a:lnTo>
                    <a:pt x="41562" y="70332"/>
                  </a:lnTo>
                  <a:lnTo>
                    <a:pt x="27697" y="67273"/>
                  </a:lnTo>
                  <a:lnTo>
                    <a:pt x="21727" y="64214"/>
                  </a:lnTo>
                  <a:lnTo>
                    <a:pt x="15757" y="64214"/>
                  </a:lnTo>
                  <a:lnTo>
                    <a:pt x="7862" y="58096"/>
                  </a:lnTo>
                  <a:lnTo>
                    <a:pt x="1892" y="58096"/>
                  </a:lnTo>
                  <a:lnTo>
                    <a:pt x="-82" y="50448"/>
                  </a:lnTo>
                  <a:lnTo>
                    <a:pt x="7862" y="39741"/>
                  </a:lnTo>
                  <a:lnTo>
                    <a:pt x="7862" y="29034"/>
                  </a:lnTo>
                  <a:lnTo>
                    <a:pt x="13783" y="1373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Graphic 2">
              <a:extLst>
                <a:ext uri="{FF2B5EF4-FFF2-40B4-BE49-F238E27FC236}">
                  <a16:creationId xmlns:a16="http://schemas.microsoft.com/office/drawing/2014/main" id="{7F0ED17C-C79F-4AAF-8212-8A04C5685E6C}"/>
                </a:ext>
              </a:extLst>
            </p:cNvPr>
            <p:cNvSpPr/>
            <p:nvPr/>
          </p:nvSpPr>
          <p:spPr>
            <a:xfrm>
              <a:off x="7332251" y="3468643"/>
              <a:ext cx="430962" cy="311798"/>
            </a:xfrm>
            <a:custGeom>
              <a:avLst/>
              <a:gdLst>
                <a:gd name="connsiteX0" fmla="*/ 410233 w 474358"/>
                <a:gd name="connsiteY0" fmla="*/ 42554 h 343211"/>
                <a:gd name="connsiteX1" fmla="*/ 427650 w 474358"/>
                <a:gd name="connsiteY1" fmla="*/ 33377 h 343211"/>
                <a:gd name="connsiteX2" fmla="*/ 437518 w 474358"/>
                <a:gd name="connsiteY2" fmla="*/ 30268 h 343211"/>
                <a:gd name="connsiteX3" fmla="*/ 439442 w 474358"/>
                <a:gd name="connsiteY3" fmla="*/ 36436 h 343211"/>
                <a:gd name="connsiteX4" fmla="*/ 451087 w 474358"/>
                <a:gd name="connsiteY4" fmla="*/ 36436 h 343211"/>
                <a:gd name="connsiteX5" fmla="*/ 456860 w 474358"/>
                <a:gd name="connsiteY5" fmla="*/ 31847 h 343211"/>
                <a:gd name="connsiteX6" fmla="*/ 472352 w 474358"/>
                <a:gd name="connsiteY6" fmla="*/ 31847 h 343211"/>
                <a:gd name="connsiteX7" fmla="*/ 474276 w 474358"/>
                <a:gd name="connsiteY7" fmla="*/ 36436 h 343211"/>
                <a:gd name="connsiteX8" fmla="*/ 462681 w 474358"/>
                <a:gd name="connsiteY8" fmla="*/ 45613 h 343211"/>
                <a:gd name="connsiteX9" fmla="*/ 468455 w 474358"/>
                <a:gd name="connsiteY9" fmla="*/ 47142 h 343211"/>
                <a:gd name="connsiteX10" fmla="*/ 462681 w 474358"/>
                <a:gd name="connsiteY10" fmla="*/ 56320 h 343211"/>
                <a:gd name="connsiteX11" fmla="*/ 445264 w 474358"/>
                <a:gd name="connsiteY11" fmla="*/ 62487 h 343211"/>
                <a:gd name="connsiteX12" fmla="*/ 410430 w 474358"/>
                <a:gd name="connsiteY12" fmla="*/ 70135 h 343211"/>
                <a:gd name="connsiteX13" fmla="*/ 402683 w 474358"/>
                <a:gd name="connsiteY13" fmla="*/ 64017 h 343211"/>
                <a:gd name="connsiteX14" fmla="*/ 391089 w 474358"/>
                <a:gd name="connsiteY14" fmla="*/ 71665 h 343211"/>
                <a:gd name="connsiteX15" fmla="*/ 381221 w 474358"/>
                <a:gd name="connsiteY15" fmla="*/ 77783 h 343211"/>
                <a:gd name="connsiteX16" fmla="*/ 371352 w 474358"/>
                <a:gd name="connsiteY16" fmla="*/ 77783 h 343211"/>
                <a:gd name="connsiteX17" fmla="*/ 365531 w 474358"/>
                <a:gd name="connsiteY17" fmla="*/ 83901 h 343211"/>
                <a:gd name="connsiteX18" fmla="*/ 359758 w 474358"/>
                <a:gd name="connsiteY18" fmla="*/ 90019 h 343211"/>
                <a:gd name="connsiteX19" fmla="*/ 373277 w 474358"/>
                <a:gd name="connsiteY19" fmla="*/ 109755 h 343211"/>
                <a:gd name="connsiteX20" fmla="*/ 375201 w 474358"/>
                <a:gd name="connsiteY20" fmla="*/ 123571 h 343211"/>
                <a:gd name="connsiteX21" fmla="*/ 359758 w 474358"/>
                <a:gd name="connsiteY21" fmla="*/ 141975 h 343211"/>
                <a:gd name="connsiteX22" fmla="*/ 367504 w 474358"/>
                <a:gd name="connsiteY22" fmla="*/ 151152 h 343211"/>
                <a:gd name="connsiteX23" fmla="*/ 367504 w 474358"/>
                <a:gd name="connsiteY23" fmla="*/ 158800 h 343211"/>
                <a:gd name="connsiteX24" fmla="*/ 357636 w 474358"/>
                <a:gd name="connsiteY24" fmla="*/ 171085 h 343211"/>
                <a:gd name="connsiteX25" fmla="*/ 344067 w 474358"/>
                <a:gd name="connsiteY25" fmla="*/ 171085 h 343211"/>
                <a:gd name="connsiteX26" fmla="*/ 332472 w 474358"/>
                <a:gd name="connsiteY26" fmla="*/ 166497 h 343211"/>
                <a:gd name="connsiteX27" fmla="*/ 322604 w 474358"/>
                <a:gd name="connsiteY27" fmla="*/ 171085 h 343211"/>
                <a:gd name="connsiteX28" fmla="*/ 327045 w 474358"/>
                <a:gd name="connsiteY28" fmla="*/ 180707 h 343211"/>
                <a:gd name="connsiteX29" fmla="*/ 334791 w 474358"/>
                <a:gd name="connsiteY29" fmla="*/ 183815 h 343211"/>
                <a:gd name="connsiteX30" fmla="*/ 338689 w 474358"/>
                <a:gd name="connsiteY30" fmla="*/ 191463 h 343211"/>
                <a:gd name="connsiteX31" fmla="*/ 336765 w 474358"/>
                <a:gd name="connsiteY31" fmla="*/ 197581 h 343211"/>
                <a:gd name="connsiteX32" fmla="*/ 328969 w 474358"/>
                <a:gd name="connsiteY32" fmla="*/ 202170 h 343211"/>
                <a:gd name="connsiteX33" fmla="*/ 321222 w 474358"/>
                <a:gd name="connsiteY33" fmla="*/ 202170 h 343211"/>
                <a:gd name="connsiteX34" fmla="*/ 317374 w 474358"/>
                <a:gd name="connsiteY34" fmla="*/ 206808 h 343211"/>
                <a:gd name="connsiteX35" fmla="*/ 315450 w 474358"/>
                <a:gd name="connsiteY35" fmla="*/ 217515 h 343211"/>
                <a:gd name="connsiteX36" fmla="*/ 313526 w 474358"/>
                <a:gd name="connsiteY36" fmla="*/ 223633 h 343211"/>
                <a:gd name="connsiteX37" fmla="*/ 313526 w 474358"/>
                <a:gd name="connsiteY37" fmla="*/ 229801 h 343211"/>
                <a:gd name="connsiteX38" fmla="*/ 311552 w 474358"/>
                <a:gd name="connsiteY38" fmla="*/ 232860 h 343211"/>
                <a:gd name="connsiteX39" fmla="*/ 313526 w 474358"/>
                <a:gd name="connsiteY39" fmla="*/ 245096 h 343211"/>
                <a:gd name="connsiteX40" fmla="*/ 305779 w 474358"/>
                <a:gd name="connsiteY40" fmla="*/ 255852 h 343211"/>
                <a:gd name="connsiteX41" fmla="*/ 299957 w 474358"/>
                <a:gd name="connsiteY41" fmla="*/ 248204 h 343211"/>
                <a:gd name="connsiteX42" fmla="*/ 296108 w 474358"/>
                <a:gd name="connsiteY42" fmla="*/ 248204 h 343211"/>
                <a:gd name="connsiteX43" fmla="*/ 296108 w 474358"/>
                <a:gd name="connsiteY43" fmla="*/ 251263 h 343211"/>
                <a:gd name="connsiteX44" fmla="*/ 288362 w 474358"/>
                <a:gd name="connsiteY44" fmla="*/ 251263 h 343211"/>
                <a:gd name="connsiteX45" fmla="*/ 282540 w 474358"/>
                <a:gd name="connsiteY45" fmla="*/ 248204 h 343211"/>
                <a:gd name="connsiteX46" fmla="*/ 272672 w 474358"/>
                <a:gd name="connsiteY46" fmla="*/ 249734 h 343211"/>
                <a:gd name="connsiteX47" fmla="*/ 270698 w 474358"/>
                <a:gd name="connsiteY47" fmla="*/ 254323 h 343211"/>
                <a:gd name="connsiteX48" fmla="*/ 259103 w 474358"/>
                <a:gd name="connsiteY48" fmla="*/ 263500 h 343211"/>
                <a:gd name="connsiteX49" fmla="*/ 264926 w 474358"/>
                <a:gd name="connsiteY49" fmla="*/ 265030 h 343211"/>
                <a:gd name="connsiteX50" fmla="*/ 261027 w 474358"/>
                <a:gd name="connsiteY50" fmla="*/ 269668 h 343211"/>
                <a:gd name="connsiteX51" fmla="*/ 245584 w 474358"/>
                <a:gd name="connsiteY51" fmla="*/ 274256 h 343211"/>
                <a:gd name="connsiteX52" fmla="*/ 241735 w 474358"/>
                <a:gd name="connsiteY52" fmla="*/ 271197 h 343211"/>
                <a:gd name="connsiteX53" fmla="*/ 233940 w 474358"/>
                <a:gd name="connsiteY53" fmla="*/ 272727 h 343211"/>
                <a:gd name="connsiteX54" fmla="*/ 232015 w 474358"/>
                <a:gd name="connsiteY54" fmla="*/ 277315 h 343211"/>
                <a:gd name="connsiteX55" fmla="*/ 230091 w 474358"/>
                <a:gd name="connsiteY55" fmla="*/ 283433 h 343211"/>
                <a:gd name="connsiteX56" fmla="*/ 224269 w 474358"/>
                <a:gd name="connsiteY56" fmla="*/ 284963 h 343211"/>
                <a:gd name="connsiteX57" fmla="*/ 220420 w 474358"/>
                <a:gd name="connsiteY57" fmla="*/ 291081 h 343211"/>
                <a:gd name="connsiteX58" fmla="*/ 220420 w 474358"/>
                <a:gd name="connsiteY58" fmla="*/ 298778 h 343211"/>
                <a:gd name="connsiteX59" fmla="*/ 222345 w 474358"/>
                <a:gd name="connsiteY59" fmla="*/ 309485 h 343211"/>
                <a:gd name="connsiteX60" fmla="*/ 222345 w 474358"/>
                <a:gd name="connsiteY60" fmla="*/ 315603 h 343211"/>
                <a:gd name="connsiteX61" fmla="*/ 224269 w 474358"/>
                <a:gd name="connsiteY61" fmla="*/ 321722 h 343211"/>
                <a:gd name="connsiteX62" fmla="*/ 222345 w 474358"/>
                <a:gd name="connsiteY62" fmla="*/ 326310 h 343211"/>
                <a:gd name="connsiteX63" fmla="*/ 208826 w 474358"/>
                <a:gd name="connsiteY63" fmla="*/ 334007 h 343211"/>
                <a:gd name="connsiteX64" fmla="*/ 197181 w 474358"/>
                <a:gd name="connsiteY64" fmla="*/ 330948 h 343211"/>
                <a:gd name="connsiteX65" fmla="*/ 185586 w 474358"/>
                <a:gd name="connsiteY65" fmla="*/ 334007 h 343211"/>
                <a:gd name="connsiteX66" fmla="*/ 166245 w 474358"/>
                <a:gd name="connsiteY66" fmla="*/ 335537 h 343211"/>
                <a:gd name="connsiteX67" fmla="*/ 154650 w 474358"/>
                <a:gd name="connsiteY67" fmla="*/ 338596 h 343211"/>
                <a:gd name="connsiteX68" fmla="*/ 148877 w 474358"/>
                <a:gd name="connsiteY68" fmla="*/ 341655 h 343211"/>
                <a:gd name="connsiteX69" fmla="*/ 137233 w 474358"/>
                <a:gd name="connsiteY69" fmla="*/ 340125 h 343211"/>
                <a:gd name="connsiteX70" fmla="*/ 125638 w 474358"/>
                <a:gd name="connsiteY70" fmla="*/ 343185 h 343211"/>
                <a:gd name="connsiteX71" fmla="*/ 85277 w 474358"/>
                <a:gd name="connsiteY71" fmla="*/ 343185 h 343211"/>
                <a:gd name="connsiteX72" fmla="*/ 36874 w 474358"/>
                <a:gd name="connsiteY72" fmla="*/ 330948 h 343211"/>
                <a:gd name="connsiteX73" fmla="*/ 64011 w 474358"/>
                <a:gd name="connsiteY73" fmla="*/ 298778 h 343211"/>
                <a:gd name="connsiteX74" fmla="*/ 65936 w 474358"/>
                <a:gd name="connsiteY74" fmla="*/ 295719 h 343211"/>
                <a:gd name="connsiteX75" fmla="*/ 62038 w 474358"/>
                <a:gd name="connsiteY75" fmla="*/ 284963 h 343211"/>
                <a:gd name="connsiteX76" fmla="*/ 64011 w 474358"/>
                <a:gd name="connsiteY76" fmla="*/ 274256 h 343211"/>
                <a:gd name="connsiteX77" fmla="*/ 58189 w 474358"/>
                <a:gd name="connsiteY77" fmla="*/ 265030 h 343211"/>
                <a:gd name="connsiteX78" fmla="*/ 27204 w 474358"/>
                <a:gd name="connsiteY78" fmla="*/ 263500 h 343211"/>
                <a:gd name="connsiteX79" fmla="*/ 25279 w 474358"/>
                <a:gd name="connsiteY79" fmla="*/ 251263 h 343211"/>
                <a:gd name="connsiteX80" fmla="*/ 23355 w 474358"/>
                <a:gd name="connsiteY80" fmla="*/ 246675 h 343211"/>
                <a:gd name="connsiteX81" fmla="*/ 25279 w 474358"/>
                <a:gd name="connsiteY81" fmla="*/ 242037 h 343211"/>
                <a:gd name="connsiteX82" fmla="*/ 19457 w 474358"/>
                <a:gd name="connsiteY82" fmla="*/ 228271 h 343211"/>
                <a:gd name="connsiteX83" fmla="*/ 9589 w 474358"/>
                <a:gd name="connsiteY83" fmla="*/ 211396 h 343211"/>
                <a:gd name="connsiteX84" fmla="*/ 11563 w 474358"/>
                <a:gd name="connsiteY84" fmla="*/ 203749 h 343211"/>
                <a:gd name="connsiteX85" fmla="*/ 23158 w 474358"/>
                <a:gd name="connsiteY85" fmla="*/ 191463 h 343211"/>
                <a:gd name="connsiteX86" fmla="*/ 19260 w 474358"/>
                <a:gd name="connsiteY86" fmla="*/ 191463 h 343211"/>
                <a:gd name="connsiteX87" fmla="*/ 7665 w 474358"/>
                <a:gd name="connsiteY87" fmla="*/ 189933 h 343211"/>
                <a:gd name="connsiteX88" fmla="*/ 7665 w 474358"/>
                <a:gd name="connsiteY88" fmla="*/ 183667 h 343211"/>
                <a:gd name="connsiteX89" fmla="*/ 3816 w 474358"/>
                <a:gd name="connsiteY89" fmla="*/ 171381 h 343211"/>
                <a:gd name="connsiteX90" fmla="*/ 3816 w 474358"/>
                <a:gd name="connsiteY90" fmla="*/ 169852 h 343211"/>
                <a:gd name="connsiteX91" fmla="*/ 9589 w 474358"/>
                <a:gd name="connsiteY91" fmla="*/ 162204 h 343211"/>
                <a:gd name="connsiteX92" fmla="*/ 3816 w 474358"/>
                <a:gd name="connsiteY92" fmla="*/ 157566 h 343211"/>
                <a:gd name="connsiteX93" fmla="*/ -82 w 474358"/>
                <a:gd name="connsiteY93" fmla="*/ 154507 h 343211"/>
                <a:gd name="connsiteX94" fmla="*/ 7665 w 474358"/>
                <a:gd name="connsiteY94" fmla="*/ 152978 h 343211"/>
                <a:gd name="connsiteX95" fmla="*/ 19260 w 474358"/>
                <a:gd name="connsiteY95" fmla="*/ 146859 h 343211"/>
                <a:gd name="connsiteX96" fmla="*/ 17335 w 474358"/>
                <a:gd name="connsiteY96" fmla="*/ 142271 h 343211"/>
                <a:gd name="connsiteX97" fmla="*/ 19260 w 474358"/>
                <a:gd name="connsiteY97" fmla="*/ 140741 h 343211"/>
                <a:gd name="connsiteX98" fmla="*/ 13487 w 474358"/>
                <a:gd name="connsiteY98" fmla="*/ 136103 h 343211"/>
                <a:gd name="connsiteX99" fmla="*/ 17335 w 474358"/>
                <a:gd name="connsiteY99" fmla="*/ 131515 h 343211"/>
                <a:gd name="connsiteX100" fmla="*/ 17335 w 474358"/>
                <a:gd name="connsiteY100" fmla="*/ 116170 h 343211"/>
                <a:gd name="connsiteX101" fmla="*/ 21234 w 474358"/>
                <a:gd name="connsiteY101" fmla="*/ 116170 h 343211"/>
                <a:gd name="connsiteX102" fmla="*/ 28930 w 474358"/>
                <a:gd name="connsiteY102" fmla="*/ 117748 h 343211"/>
                <a:gd name="connsiteX103" fmla="*/ 32828 w 474358"/>
                <a:gd name="connsiteY103" fmla="*/ 122337 h 343211"/>
                <a:gd name="connsiteX104" fmla="*/ 38601 w 474358"/>
                <a:gd name="connsiteY104" fmla="*/ 122337 h 343211"/>
                <a:gd name="connsiteX105" fmla="*/ 42499 w 474358"/>
                <a:gd name="connsiteY105" fmla="*/ 117748 h 343211"/>
                <a:gd name="connsiteX106" fmla="*/ 50246 w 474358"/>
                <a:gd name="connsiteY106" fmla="*/ 117748 h 343211"/>
                <a:gd name="connsiteX107" fmla="*/ 57992 w 474358"/>
                <a:gd name="connsiteY107" fmla="*/ 123867 h 343211"/>
                <a:gd name="connsiteX108" fmla="*/ 59916 w 474358"/>
                <a:gd name="connsiteY108" fmla="*/ 128455 h 343211"/>
                <a:gd name="connsiteX109" fmla="*/ 63814 w 474358"/>
                <a:gd name="connsiteY109" fmla="*/ 129985 h 343211"/>
                <a:gd name="connsiteX110" fmla="*/ 67663 w 474358"/>
                <a:gd name="connsiteY110" fmla="*/ 126926 h 343211"/>
                <a:gd name="connsiteX111" fmla="*/ 75409 w 474358"/>
                <a:gd name="connsiteY111" fmla="*/ 125396 h 343211"/>
                <a:gd name="connsiteX112" fmla="*/ 81182 w 474358"/>
                <a:gd name="connsiteY112" fmla="*/ 120808 h 343211"/>
                <a:gd name="connsiteX113" fmla="*/ 81182 w 474358"/>
                <a:gd name="connsiteY113" fmla="*/ 116170 h 343211"/>
                <a:gd name="connsiteX114" fmla="*/ 88928 w 474358"/>
                <a:gd name="connsiteY114" fmla="*/ 111581 h 343211"/>
                <a:gd name="connsiteX115" fmla="*/ 87004 w 474358"/>
                <a:gd name="connsiteY115" fmla="*/ 108522 h 343211"/>
                <a:gd name="connsiteX116" fmla="*/ 96872 w 474358"/>
                <a:gd name="connsiteY116" fmla="*/ 103933 h 343211"/>
                <a:gd name="connsiteX117" fmla="*/ 110391 w 474358"/>
                <a:gd name="connsiteY117" fmla="*/ 100874 h 343211"/>
                <a:gd name="connsiteX118" fmla="*/ 112316 w 474358"/>
                <a:gd name="connsiteY118" fmla="*/ 97815 h 343211"/>
                <a:gd name="connsiteX119" fmla="*/ 118138 w 474358"/>
                <a:gd name="connsiteY119" fmla="*/ 94707 h 343211"/>
                <a:gd name="connsiteX120" fmla="*/ 123910 w 474358"/>
                <a:gd name="connsiteY120" fmla="*/ 91648 h 343211"/>
                <a:gd name="connsiteX121" fmla="*/ 125884 w 474358"/>
                <a:gd name="connsiteY121" fmla="*/ 84000 h 343211"/>
                <a:gd name="connsiteX122" fmla="*/ 125884 w 474358"/>
                <a:gd name="connsiteY122" fmla="*/ 76352 h 343211"/>
                <a:gd name="connsiteX123" fmla="*/ 133582 w 474358"/>
                <a:gd name="connsiteY123" fmla="*/ 70234 h 343211"/>
                <a:gd name="connsiteX124" fmla="*/ 133582 w 474358"/>
                <a:gd name="connsiteY124" fmla="*/ 62586 h 343211"/>
                <a:gd name="connsiteX125" fmla="*/ 131657 w 474358"/>
                <a:gd name="connsiteY125" fmla="*/ 59478 h 343211"/>
                <a:gd name="connsiteX126" fmla="*/ 131657 w 474358"/>
                <a:gd name="connsiteY126" fmla="*/ 56418 h 343211"/>
                <a:gd name="connsiteX127" fmla="*/ 135555 w 474358"/>
                <a:gd name="connsiteY127" fmla="*/ 54889 h 343211"/>
                <a:gd name="connsiteX128" fmla="*/ 137479 w 474358"/>
                <a:gd name="connsiteY128" fmla="*/ 51830 h 343211"/>
                <a:gd name="connsiteX129" fmla="*/ 147347 w 474358"/>
                <a:gd name="connsiteY129" fmla="*/ 50300 h 343211"/>
                <a:gd name="connsiteX130" fmla="*/ 149321 w 474358"/>
                <a:gd name="connsiteY130" fmla="*/ 50300 h 343211"/>
                <a:gd name="connsiteX131" fmla="*/ 162840 w 474358"/>
                <a:gd name="connsiteY131" fmla="*/ 44182 h 343211"/>
                <a:gd name="connsiteX132" fmla="*/ 170587 w 474358"/>
                <a:gd name="connsiteY132" fmla="*/ 42653 h 343211"/>
                <a:gd name="connsiteX133" fmla="*/ 176359 w 474358"/>
                <a:gd name="connsiteY133" fmla="*/ 45712 h 343211"/>
                <a:gd name="connsiteX134" fmla="*/ 186227 w 474358"/>
                <a:gd name="connsiteY134" fmla="*/ 44182 h 343211"/>
                <a:gd name="connsiteX135" fmla="*/ 188152 w 474358"/>
                <a:gd name="connsiteY135" fmla="*/ 45712 h 343211"/>
                <a:gd name="connsiteX136" fmla="*/ 199796 w 474358"/>
                <a:gd name="connsiteY136" fmla="*/ 44182 h 343211"/>
                <a:gd name="connsiteX137" fmla="*/ 207493 w 474358"/>
                <a:gd name="connsiteY137" fmla="*/ 47241 h 343211"/>
                <a:gd name="connsiteX138" fmla="*/ 211391 w 474358"/>
                <a:gd name="connsiteY138" fmla="*/ 51830 h 343211"/>
                <a:gd name="connsiteX139" fmla="*/ 215240 w 474358"/>
                <a:gd name="connsiteY139" fmla="*/ 51830 h 343211"/>
                <a:gd name="connsiteX140" fmla="*/ 222986 w 474358"/>
                <a:gd name="connsiteY140" fmla="*/ 47241 h 343211"/>
                <a:gd name="connsiteX141" fmla="*/ 228759 w 474358"/>
                <a:gd name="connsiteY141" fmla="*/ 48771 h 343211"/>
                <a:gd name="connsiteX142" fmla="*/ 236505 w 474358"/>
                <a:gd name="connsiteY142" fmla="*/ 56418 h 343211"/>
                <a:gd name="connsiteX143" fmla="*/ 240403 w 474358"/>
                <a:gd name="connsiteY143" fmla="*/ 57948 h 343211"/>
                <a:gd name="connsiteX144" fmla="*/ 253972 w 474358"/>
                <a:gd name="connsiteY144" fmla="*/ 56418 h 343211"/>
                <a:gd name="connsiteX145" fmla="*/ 261669 w 474358"/>
                <a:gd name="connsiteY145" fmla="*/ 51830 h 343211"/>
                <a:gd name="connsiteX146" fmla="*/ 265567 w 474358"/>
                <a:gd name="connsiteY146" fmla="*/ 47241 h 343211"/>
                <a:gd name="connsiteX147" fmla="*/ 269415 w 474358"/>
                <a:gd name="connsiteY147" fmla="*/ 47241 h 343211"/>
                <a:gd name="connsiteX148" fmla="*/ 273313 w 474358"/>
                <a:gd name="connsiteY148" fmla="*/ 44182 h 343211"/>
                <a:gd name="connsiteX149" fmla="*/ 275238 w 474358"/>
                <a:gd name="connsiteY149" fmla="*/ 45712 h 343211"/>
                <a:gd name="connsiteX150" fmla="*/ 279086 w 474358"/>
                <a:gd name="connsiteY150" fmla="*/ 50300 h 343211"/>
                <a:gd name="connsiteX151" fmla="*/ 292605 w 474358"/>
                <a:gd name="connsiteY151" fmla="*/ 51830 h 343211"/>
                <a:gd name="connsiteX152" fmla="*/ 292605 w 474358"/>
                <a:gd name="connsiteY152" fmla="*/ 47488 h 343211"/>
                <a:gd name="connsiteX153" fmla="*/ 288757 w 474358"/>
                <a:gd name="connsiteY153" fmla="*/ 44429 h 343211"/>
                <a:gd name="connsiteX154" fmla="*/ 290681 w 474358"/>
                <a:gd name="connsiteY154" fmla="*/ 38311 h 343211"/>
                <a:gd name="connsiteX155" fmla="*/ 296504 w 474358"/>
                <a:gd name="connsiteY155" fmla="*/ 36781 h 343211"/>
                <a:gd name="connsiteX156" fmla="*/ 300352 w 474358"/>
                <a:gd name="connsiteY156" fmla="*/ 33722 h 343211"/>
                <a:gd name="connsiteX157" fmla="*/ 304250 w 474358"/>
                <a:gd name="connsiteY157" fmla="*/ 33722 h 343211"/>
                <a:gd name="connsiteX158" fmla="*/ 304250 w 474358"/>
                <a:gd name="connsiteY158" fmla="*/ 36781 h 343211"/>
                <a:gd name="connsiteX159" fmla="*/ 311946 w 474358"/>
                <a:gd name="connsiteY159" fmla="*/ 36781 h 343211"/>
                <a:gd name="connsiteX160" fmla="*/ 315845 w 474358"/>
                <a:gd name="connsiteY160" fmla="*/ 29084 h 343211"/>
                <a:gd name="connsiteX161" fmla="*/ 313920 w 474358"/>
                <a:gd name="connsiteY161" fmla="*/ 21436 h 343211"/>
                <a:gd name="connsiteX162" fmla="*/ 317769 w 474358"/>
                <a:gd name="connsiteY162" fmla="*/ 18377 h 343211"/>
                <a:gd name="connsiteX163" fmla="*/ 323542 w 474358"/>
                <a:gd name="connsiteY163" fmla="*/ 15318 h 343211"/>
                <a:gd name="connsiteX164" fmla="*/ 325515 w 474358"/>
                <a:gd name="connsiteY164" fmla="*/ 4562 h 343211"/>
                <a:gd name="connsiteX165" fmla="*/ 327439 w 474358"/>
                <a:gd name="connsiteY165" fmla="*/ -27 h 343211"/>
                <a:gd name="connsiteX166" fmla="*/ 335186 w 474358"/>
                <a:gd name="connsiteY166" fmla="*/ -27 h 343211"/>
                <a:gd name="connsiteX167" fmla="*/ 341008 w 474358"/>
                <a:gd name="connsiteY167" fmla="*/ 3032 h 343211"/>
                <a:gd name="connsiteX168" fmla="*/ 348755 w 474358"/>
                <a:gd name="connsiteY168" fmla="*/ 6091 h 343211"/>
                <a:gd name="connsiteX169" fmla="*/ 348755 w 474358"/>
                <a:gd name="connsiteY169" fmla="*/ 10729 h 343211"/>
                <a:gd name="connsiteX170" fmla="*/ 346830 w 474358"/>
                <a:gd name="connsiteY170" fmla="*/ 18377 h 343211"/>
                <a:gd name="connsiteX171" fmla="*/ 348755 w 474358"/>
                <a:gd name="connsiteY171" fmla="*/ 24495 h 343211"/>
                <a:gd name="connsiteX172" fmla="*/ 356452 w 474358"/>
                <a:gd name="connsiteY172" fmla="*/ 24495 h 343211"/>
                <a:gd name="connsiteX173" fmla="*/ 358425 w 474358"/>
                <a:gd name="connsiteY173" fmla="*/ 29084 h 343211"/>
                <a:gd name="connsiteX174" fmla="*/ 358425 w 474358"/>
                <a:gd name="connsiteY174" fmla="*/ 55136 h 343211"/>
                <a:gd name="connsiteX175" fmla="*/ 364198 w 474358"/>
                <a:gd name="connsiteY175" fmla="*/ 61303 h 343211"/>
                <a:gd name="connsiteX176" fmla="*/ 364198 w 474358"/>
                <a:gd name="connsiteY176" fmla="*/ 67224 h 343211"/>
                <a:gd name="connsiteX177" fmla="*/ 370020 w 474358"/>
                <a:gd name="connsiteY177" fmla="*/ 68754 h 343211"/>
                <a:gd name="connsiteX178" fmla="*/ 379888 w 474358"/>
                <a:gd name="connsiteY178" fmla="*/ 68754 h 343211"/>
                <a:gd name="connsiteX179" fmla="*/ 385661 w 474358"/>
                <a:gd name="connsiteY179" fmla="*/ 64165 h 343211"/>
                <a:gd name="connsiteX180" fmla="*/ 385661 w 474358"/>
                <a:gd name="connsiteY180" fmla="*/ 61106 h 343211"/>
                <a:gd name="connsiteX181" fmla="*/ 399230 w 474358"/>
                <a:gd name="connsiteY181" fmla="*/ 56468 h 343211"/>
                <a:gd name="connsiteX182" fmla="*/ 405003 w 474358"/>
                <a:gd name="connsiteY182" fmla="*/ 51879 h 343211"/>
                <a:gd name="connsiteX183" fmla="*/ 406927 w 474358"/>
                <a:gd name="connsiteY183" fmla="*/ 45761 h 34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474358" h="343211">
                  <a:moveTo>
                    <a:pt x="410233" y="42554"/>
                  </a:moveTo>
                  <a:lnTo>
                    <a:pt x="427650" y="33377"/>
                  </a:lnTo>
                  <a:lnTo>
                    <a:pt x="437518" y="30268"/>
                  </a:lnTo>
                  <a:lnTo>
                    <a:pt x="439442" y="36436"/>
                  </a:lnTo>
                  <a:lnTo>
                    <a:pt x="451087" y="36436"/>
                  </a:lnTo>
                  <a:lnTo>
                    <a:pt x="456860" y="31847"/>
                  </a:lnTo>
                  <a:lnTo>
                    <a:pt x="472352" y="31847"/>
                  </a:lnTo>
                  <a:lnTo>
                    <a:pt x="474276" y="36436"/>
                  </a:lnTo>
                  <a:lnTo>
                    <a:pt x="462681" y="45613"/>
                  </a:lnTo>
                  <a:lnTo>
                    <a:pt x="468455" y="47142"/>
                  </a:lnTo>
                  <a:lnTo>
                    <a:pt x="462681" y="56320"/>
                  </a:lnTo>
                  <a:lnTo>
                    <a:pt x="445264" y="62487"/>
                  </a:lnTo>
                  <a:lnTo>
                    <a:pt x="410430" y="70135"/>
                  </a:lnTo>
                  <a:lnTo>
                    <a:pt x="402683" y="64017"/>
                  </a:lnTo>
                  <a:lnTo>
                    <a:pt x="391089" y="71665"/>
                  </a:lnTo>
                  <a:lnTo>
                    <a:pt x="381221" y="77783"/>
                  </a:lnTo>
                  <a:lnTo>
                    <a:pt x="371352" y="77783"/>
                  </a:lnTo>
                  <a:lnTo>
                    <a:pt x="365531" y="83901"/>
                  </a:lnTo>
                  <a:lnTo>
                    <a:pt x="359758" y="90019"/>
                  </a:lnTo>
                  <a:lnTo>
                    <a:pt x="373277" y="109755"/>
                  </a:lnTo>
                  <a:lnTo>
                    <a:pt x="375201" y="123571"/>
                  </a:lnTo>
                  <a:lnTo>
                    <a:pt x="359758" y="141975"/>
                  </a:lnTo>
                  <a:lnTo>
                    <a:pt x="367504" y="151152"/>
                  </a:lnTo>
                  <a:lnTo>
                    <a:pt x="367504" y="158800"/>
                  </a:lnTo>
                  <a:lnTo>
                    <a:pt x="357636" y="171085"/>
                  </a:lnTo>
                  <a:lnTo>
                    <a:pt x="344067" y="171085"/>
                  </a:lnTo>
                  <a:lnTo>
                    <a:pt x="332472" y="166497"/>
                  </a:lnTo>
                  <a:lnTo>
                    <a:pt x="322604" y="171085"/>
                  </a:lnTo>
                  <a:lnTo>
                    <a:pt x="327045" y="180707"/>
                  </a:lnTo>
                  <a:lnTo>
                    <a:pt x="334791" y="183815"/>
                  </a:lnTo>
                  <a:lnTo>
                    <a:pt x="338689" y="191463"/>
                  </a:lnTo>
                  <a:lnTo>
                    <a:pt x="336765" y="197581"/>
                  </a:lnTo>
                  <a:lnTo>
                    <a:pt x="328969" y="202170"/>
                  </a:lnTo>
                  <a:lnTo>
                    <a:pt x="321222" y="202170"/>
                  </a:lnTo>
                  <a:lnTo>
                    <a:pt x="317374" y="206808"/>
                  </a:lnTo>
                  <a:lnTo>
                    <a:pt x="315450" y="217515"/>
                  </a:lnTo>
                  <a:lnTo>
                    <a:pt x="313526" y="223633"/>
                  </a:lnTo>
                  <a:lnTo>
                    <a:pt x="313526" y="229801"/>
                  </a:lnTo>
                  <a:lnTo>
                    <a:pt x="311552" y="232860"/>
                  </a:lnTo>
                  <a:lnTo>
                    <a:pt x="313526" y="245096"/>
                  </a:lnTo>
                  <a:lnTo>
                    <a:pt x="305779" y="255852"/>
                  </a:lnTo>
                  <a:lnTo>
                    <a:pt x="299957" y="248204"/>
                  </a:lnTo>
                  <a:lnTo>
                    <a:pt x="296108" y="248204"/>
                  </a:lnTo>
                  <a:lnTo>
                    <a:pt x="296108" y="251263"/>
                  </a:lnTo>
                  <a:lnTo>
                    <a:pt x="288362" y="251263"/>
                  </a:lnTo>
                  <a:lnTo>
                    <a:pt x="282540" y="248204"/>
                  </a:lnTo>
                  <a:lnTo>
                    <a:pt x="272672" y="249734"/>
                  </a:lnTo>
                  <a:lnTo>
                    <a:pt x="270698" y="254323"/>
                  </a:lnTo>
                  <a:lnTo>
                    <a:pt x="259103" y="263500"/>
                  </a:lnTo>
                  <a:lnTo>
                    <a:pt x="264926" y="265030"/>
                  </a:lnTo>
                  <a:lnTo>
                    <a:pt x="261027" y="269668"/>
                  </a:lnTo>
                  <a:lnTo>
                    <a:pt x="245584" y="274256"/>
                  </a:lnTo>
                  <a:lnTo>
                    <a:pt x="241735" y="271197"/>
                  </a:lnTo>
                  <a:lnTo>
                    <a:pt x="233940" y="272727"/>
                  </a:lnTo>
                  <a:lnTo>
                    <a:pt x="232015" y="277315"/>
                  </a:lnTo>
                  <a:lnTo>
                    <a:pt x="230091" y="283433"/>
                  </a:lnTo>
                  <a:lnTo>
                    <a:pt x="224269" y="284963"/>
                  </a:lnTo>
                  <a:lnTo>
                    <a:pt x="220420" y="291081"/>
                  </a:lnTo>
                  <a:lnTo>
                    <a:pt x="220420" y="298778"/>
                  </a:lnTo>
                  <a:lnTo>
                    <a:pt x="222345" y="309485"/>
                  </a:lnTo>
                  <a:lnTo>
                    <a:pt x="222345" y="315603"/>
                  </a:lnTo>
                  <a:lnTo>
                    <a:pt x="224269" y="321722"/>
                  </a:lnTo>
                  <a:lnTo>
                    <a:pt x="222345" y="326310"/>
                  </a:lnTo>
                  <a:lnTo>
                    <a:pt x="208826" y="334007"/>
                  </a:lnTo>
                  <a:lnTo>
                    <a:pt x="197181" y="330948"/>
                  </a:lnTo>
                  <a:lnTo>
                    <a:pt x="185586" y="334007"/>
                  </a:lnTo>
                  <a:lnTo>
                    <a:pt x="166245" y="335537"/>
                  </a:lnTo>
                  <a:lnTo>
                    <a:pt x="154650" y="338596"/>
                  </a:lnTo>
                  <a:lnTo>
                    <a:pt x="148877" y="341655"/>
                  </a:lnTo>
                  <a:lnTo>
                    <a:pt x="137233" y="340125"/>
                  </a:lnTo>
                  <a:lnTo>
                    <a:pt x="125638" y="343185"/>
                  </a:lnTo>
                  <a:lnTo>
                    <a:pt x="85277" y="343185"/>
                  </a:lnTo>
                  <a:lnTo>
                    <a:pt x="36874" y="330948"/>
                  </a:lnTo>
                  <a:lnTo>
                    <a:pt x="64011" y="298778"/>
                  </a:lnTo>
                  <a:lnTo>
                    <a:pt x="65936" y="295719"/>
                  </a:lnTo>
                  <a:lnTo>
                    <a:pt x="62038" y="284963"/>
                  </a:lnTo>
                  <a:lnTo>
                    <a:pt x="64011" y="274256"/>
                  </a:lnTo>
                  <a:lnTo>
                    <a:pt x="58189" y="265030"/>
                  </a:lnTo>
                  <a:lnTo>
                    <a:pt x="27204" y="263500"/>
                  </a:lnTo>
                  <a:lnTo>
                    <a:pt x="25279" y="251263"/>
                  </a:lnTo>
                  <a:lnTo>
                    <a:pt x="23355" y="246675"/>
                  </a:lnTo>
                  <a:lnTo>
                    <a:pt x="25279" y="242037"/>
                  </a:lnTo>
                  <a:lnTo>
                    <a:pt x="19457" y="228271"/>
                  </a:lnTo>
                  <a:lnTo>
                    <a:pt x="9589" y="211396"/>
                  </a:lnTo>
                  <a:lnTo>
                    <a:pt x="11563" y="203749"/>
                  </a:lnTo>
                  <a:lnTo>
                    <a:pt x="23158" y="191463"/>
                  </a:lnTo>
                  <a:lnTo>
                    <a:pt x="19260" y="191463"/>
                  </a:lnTo>
                  <a:lnTo>
                    <a:pt x="7665" y="189933"/>
                  </a:lnTo>
                  <a:lnTo>
                    <a:pt x="7665" y="183667"/>
                  </a:lnTo>
                  <a:lnTo>
                    <a:pt x="3816" y="171381"/>
                  </a:lnTo>
                  <a:lnTo>
                    <a:pt x="3816" y="169852"/>
                  </a:lnTo>
                  <a:lnTo>
                    <a:pt x="9589" y="162204"/>
                  </a:lnTo>
                  <a:lnTo>
                    <a:pt x="3816" y="157566"/>
                  </a:lnTo>
                  <a:lnTo>
                    <a:pt x="-82" y="154507"/>
                  </a:lnTo>
                  <a:lnTo>
                    <a:pt x="7665" y="152978"/>
                  </a:lnTo>
                  <a:lnTo>
                    <a:pt x="19260" y="146859"/>
                  </a:lnTo>
                  <a:lnTo>
                    <a:pt x="17335" y="142271"/>
                  </a:lnTo>
                  <a:lnTo>
                    <a:pt x="19260" y="140741"/>
                  </a:lnTo>
                  <a:lnTo>
                    <a:pt x="13487" y="136103"/>
                  </a:lnTo>
                  <a:lnTo>
                    <a:pt x="17335" y="131515"/>
                  </a:lnTo>
                  <a:lnTo>
                    <a:pt x="17335" y="116170"/>
                  </a:lnTo>
                  <a:lnTo>
                    <a:pt x="21234" y="116170"/>
                  </a:lnTo>
                  <a:lnTo>
                    <a:pt x="28930" y="117748"/>
                  </a:lnTo>
                  <a:lnTo>
                    <a:pt x="32828" y="122337"/>
                  </a:lnTo>
                  <a:lnTo>
                    <a:pt x="38601" y="122337"/>
                  </a:lnTo>
                  <a:lnTo>
                    <a:pt x="42499" y="117748"/>
                  </a:lnTo>
                  <a:lnTo>
                    <a:pt x="50246" y="117748"/>
                  </a:lnTo>
                  <a:lnTo>
                    <a:pt x="57992" y="123867"/>
                  </a:lnTo>
                  <a:lnTo>
                    <a:pt x="59916" y="128455"/>
                  </a:lnTo>
                  <a:lnTo>
                    <a:pt x="63814" y="129985"/>
                  </a:lnTo>
                  <a:lnTo>
                    <a:pt x="67663" y="126926"/>
                  </a:lnTo>
                  <a:lnTo>
                    <a:pt x="75409" y="125396"/>
                  </a:lnTo>
                  <a:lnTo>
                    <a:pt x="81182" y="120808"/>
                  </a:lnTo>
                  <a:lnTo>
                    <a:pt x="81182" y="116170"/>
                  </a:lnTo>
                  <a:lnTo>
                    <a:pt x="88928" y="111581"/>
                  </a:lnTo>
                  <a:lnTo>
                    <a:pt x="87004" y="108522"/>
                  </a:lnTo>
                  <a:lnTo>
                    <a:pt x="96872" y="103933"/>
                  </a:lnTo>
                  <a:lnTo>
                    <a:pt x="110391" y="100874"/>
                  </a:lnTo>
                  <a:lnTo>
                    <a:pt x="112316" y="97815"/>
                  </a:lnTo>
                  <a:lnTo>
                    <a:pt x="118138" y="94707"/>
                  </a:lnTo>
                  <a:lnTo>
                    <a:pt x="123910" y="91648"/>
                  </a:lnTo>
                  <a:lnTo>
                    <a:pt x="125884" y="84000"/>
                  </a:lnTo>
                  <a:lnTo>
                    <a:pt x="125884" y="76352"/>
                  </a:lnTo>
                  <a:lnTo>
                    <a:pt x="133582" y="70234"/>
                  </a:lnTo>
                  <a:lnTo>
                    <a:pt x="133582" y="62586"/>
                  </a:lnTo>
                  <a:lnTo>
                    <a:pt x="131657" y="59478"/>
                  </a:lnTo>
                  <a:lnTo>
                    <a:pt x="131657" y="56418"/>
                  </a:lnTo>
                  <a:lnTo>
                    <a:pt x="135555" y="54889"/>
                  </a:lnTo>
                  <a:lnTo>
                    <a:pt x="137479" y="51830"/>
                  </a:lnTo>
                  <a:lnTo>
                    <a:pt x="147347" y="50300"/>
                  </a:lnTo>
                  <a:lnTo>
                    <a:pt x="149321" y="50300"/>
                  </a:lnTo>
                  <a:lnTo>
                    <a:pt x="162840" y="44182"/>
                  </a:lnTo>
                  <a:lnTo>
                    <a:pt x="170587" y="42653"/>
                  </a:lnTo>
                  <a:lnTo>
                    <a:pt x="176359" y="45712"/>
                  </a:lnTo>
                  <a:lnTo>
                    <a:pt x="186227" y="44182"/>
                  </a:lnTo>
                  <a:lnTo>
                    <a:pt x="188152" y="45712"/>
                  </a:lnTo>
                  <a:lnTo>
                    <a:pt x="199796" y="44182"/>
                  </a:lnTo>
                  <a:lnTo>
                    <a:pt x="207493" y="47241"/>
                  </a:lnTo>
                  <a:lnTo>
                    <a:pt x="211391" y="51830"/>
                  </a:lnTo>
                  <a:lnTo>
                    <a:pt x="215240" y="51830"/>
                  </a:lnTo>
                  <a:lnTo>
                    <a:pt x="222986" y="47241"/>
                  </a:lnTo>
                  <a:lnTo>
                    <a:pt x="228759" y="48771"/>
                  </a:lnTo>
                  <a:lnTo>
                    <a:pt x="236505" y="56418"/>
                  </a:lnTo>
                  <a:lnTo>
                    <a:pt x="240403" y="57948"/>
                  </a:lnTo>
                  <a:lnTo>
                    <a:pt x="253972" y="56418"/>
                  </a:lnTo>
                  <a:lnTo>
                    <a:pt x="261669" y="51830"/>
                  </a:lnTo>
                  <a:lnTo>
                    <a:pt x="265567" y="47241"/>
                  </a:lnTo>
                  <a:lnTo>
                    <a:pt x="269415" y="47241"/>
                  </a:lnTo>
                  <a:lnTo>
                    <a:pt x="273313" y="44182"/>
                  </a:lnTo>
                  <a:lnTo>
                    <a:pt x="275238" y="45712"/>
                  </a:lnTo>
                  <a:lnTo>
                    <a:pt x="279086" y="50300"/>
                  </a:lnTo>
                  <a:lnTo>
                    <a:pt x="292605" y="51830"/>
                  </a:lnTo>
                  <a:lnTo>
                    <a:pt x="292605" y="47488"/>
                  </a:lnTo>
                  <a:lnTo>
                    <a:pt x="288757" y="44429"/>
                  </a:lnTo>
                  <a:lnTo>
                    <a:pt x="290681" y="38311"/>
                  </a:lnTo>
                  <a:lnTo>
                    <a:pt x="296504" y="36781"/>
                  </a:lnTo>
                  <a:lnTo>
                    <a:pt x="300352" y="33722"/>
                  </a:lnTo>
                  <a:lnTo>
                    <a:pt x="304250" y="33722"/>
                  </a:lnTo>
                  <a:lnTo>
                    <a:pt x="304250" y="36781"/>
                  </a:lnTo>
                  <a:lnTo>
                    <a:pt x="311946" y="36781"/>
                  </a:lnTo>
                  <a:lnTo>
                    <a:pt x="315845" y="29084"/>
                  </a:lnTo>
                  <a:lnTo>
                    <a:pt x="313920" y="21436"/>
                  </a:lnTo>
                  <a:lnTo>
                    <a:pt x="317769" y="18377"/>
                  </a:lnTo>
                  <a:lnTo>
                    <a:pt x="323542" y="15318"/>
                  </a:lnTo>
                  <a:lnTo>
                    <a:pt x="325515" y="4562"/>
                  </a:lnTo>
                  <a:lnTo>
                    <a:pt x="327439" y="-27"/>
                  </a:lnTo>
                  <a:lnTo>
                    <a:pt x="335186" y="-27"/>
                  </a:lnTo>
                  <a:lnTo>
                    <a:pt x="341008" y="3032"/>
                  </a:lnTo>
                  <a:lnTo>
                    <a:pt x="348755" y="6091"/>
                  </a:lnTo>
                  <a:lnTo>
                    <a:pt x="348755" y="10729"/>
                  </a:lnTo>
                  <a:lnTo>
                    <a:pt x="346830" y="18377"/>
                  </a:lnTo>
                  <a:lnTo>
                    <a:pt x="348755" y="24495"/>
                  </a:lnTo>
                  <a:lnTo>
                    <a:pt x="356452" y="24495"/>
                  </a:lnTo>
                  <a:lnTo>
                    <a:pt x="358425" y="29084"/>
                  </a:lnTo>
                  <a:lnTo>
                    <a:pt x="358425" y="55136"/>
                  </a:lnTo>
                  <a:lnTo>
                    <a:pt x="364198" y="61303"/>
                  </a:lnTo>
                  <a:lnTo>
                    <a:pt x="364198" y="67224"/>
                  </a:lnTo>
                  <a:lnTo>
                    <a:pt x="370020" y="68754"/>
                  </a:lnTo>
                  <a:lnTo>
                    <a:pt x="379888" y="68754"/>
                  </a:lnTo>
                  <a:lnTo>
                    <a:pt x="385661" y="64165"/>
                  </a:lnTo>
                  <a:lnTo>
                    <a:pt x="385661" y="61106"/>
                  </a:lnTo>
                  <a:lnTo>
                    <a:pt x="399230" y="56468"/>
                  </a:lnTo>
                  <a:lnTo>
                    <a:pt x="405003" y="51879"/>
                  </a:lnTo>
                  <a:lnTo>
                    <a:pt x="406927" y="4576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Graphic 2">
              <a:extLst>
                <a:ext uri="{FF2B5EF4-FFF2-40B4-BE49-F238E27FC236}">
                  <a16:creationId xmlns:a16="http://schemas.microsoft.com/office/drawing/2014/main" id="{BCA98FC1-B03A-4E44-9887-38BC7707040C}"/>
                </a:ext>
              </a:extLst>
            </p:cNvPr>
            <p:cNvSpPr/>
            <p:nvPr/>
          </p:nvSpPr>
          <p:spPr>
            <a:xfrm>
              <a:off x="9303490" y="3875250"/>
              <a:ext cx="61008" cy="118695"/>
            </a:xfrm>
            <a:custGeom>
              <a:avLst/>
              <a:gdLst>
                <a:gd name="connsiteX0" fmla="*/ 56906 w 67152"/>
                <a:gd name="connsiteY0" fmla="*/ 8953 h 130653"/>
                <a:gd name="connsiteX1" fmla="*/ 54884 w 67152"/>
                <a:gd name="connsiteY1" fmla="*/ 8953 h 130653"/>
                <a:gd name="connsiteX2" fmla="*/ 50788 w 67152"/>
                <a:gd name="connsiteY2" fmla="*/ 2983 h 130653"/>
                <a:gd name="connsiteX3" fmla="*/ 42648 w 67152"/>
                <a:gd name="connsiteY3" fmla="*/ -27 h 130653"/>
                <a:gd name="connsiteX4" fmla="*/ 38552 w 67152"/>
                <a:gd name="connsiteY4" fmla="*/ 2983 h 130653"/>
                <a:gd name="connsiteX5" fmla="*/ 38552 w 67152"/>
                <a:gd name="connsiteY5" fmla="*/ 5992 h 130653"/>
                <a:gd name="connsiteX6" fmla="*/ 32483 w 67152"/>
                <a:gd name="connsiteY6" fmla="*/ 8953 h 130653"/>
                <a:gd name="connsiteX7" fmla="*/ 22269 w 67152"/>
                <a:gd name="connsiteY7" fmla="*/ 14972 h 130653"/>
                <a:gd name="connsiteX8" fmla="*/ 16151 w 67152"/>
                <a:gd name="connsiteY8" fmla="*/ 27012 h 130653"/>
                <a:gd name="connsiteX9" fmla="*/ 18223 w 67152"/>
                <a:gd name="connsiteY9" fmla="*/ 30021 h 130653"/>
                <a:gd name="connsiteX10" fmla="*/ 16151 w 67152"/>
                <a:gd name="connsiteY10" fmla="*/ 33031 h 130653"/>
                <a:gd name="connsiteX11" fmla="*/ 14178 w 67152"/>
                <a:gd name="connsiteY11" fmla="*/ 36041 h 130653"/>
                <a:gd name="connsiteX12" fmla="*/ 6036 w 67152"/>
                <a:gd name="connsiteY12" fmla="*/ 48031 h 130653"/>
                <a:gd name="connsiteX13" fmla="*/ 1942 w 67152"/>
                <a:gd name="connsiteY13" fmla="*/ 60020 h 130653"/>
                <a:gd name="connsiteX14" fmla="*/ -82 w 67152"/>
                <a:gd name="connsiteY14" fmla="*/ 61500 h 130653"/>
                <a:gd name="connsiteX15" fmla="*/ 1942 w 67152"/>
                <a:gd name="connsiteY15" fmla="*/ 64559 h 130653"/>
                <a:gd name="connsiteX16" fmla="*/ 1942 w 67152"/>
                <a:gd name="connsiteY16" fmla="*/ 76549 h 130653"/>
                <a:gd name="connsiteX17" fmla="*/ 3964 w 67152"/>
                <a:gd name="connsiteY17" fmla="*/ 88588 h 130653"/>
                <a:gd name="connsiteX18" fmla="*/ 6036 w 67152"/>
                <a:gd name="connsiteY18" fmla="*/ 90069 h 130653"/>
                <a:gd name="connsiteX19" fmla="*/ 8011 w 67152"/>
                <a:gd name="connsiteY19" fmla="*/ 93078 h 130653"/>
                <a:gd name="connsiteX20" fmla="*/ 6036 w 67152"/>
                <a:gd name="connsiteY20" fmla="*/ 94558 h 130653"/>
                <a:gd name="connsiteX21" fmla="*/ 6036 w 67152"/>
                <a:gd name="connsiteY21" fmla="*/ 99048 h 130653"/>
                <a:gd name="connsiteX22" fmla="*/ 10083 w 67152"/>
                <a:gd name="connsiteY22" fmla="*/ 103588 h 130653"/>
                <a:gd name="connsiteX23" fmla="*/ 14178 w 67152"/>
                <a:gd name="connsiteY23" fmla="*/ 105068 h 130653"/>
                <a:gd name="connsiteX24" fmla="*/ 14178 w 67152"/>
                <a:gd name="connsiteY24" fmla="*/ 108127 h 130653"/>
                <a:gd name="connsiteX25" fmla="*/ 24341 w 67152"/>
                <a:gd name="connsiteY25" fmla="*/ 111137 h 130653"/>
                <a:gd name="connsiteX26" fmla="*/ 30410 w 67152"/>
                <a:gd name="connsiteY26" fmla="*/ 117156 h 130653"/>
                <a:gd name="connsiteX27" fmla="*/ 30410 w 67152"/>
                <a:gd name="connsiteY27" fmla="*/ 130626 h 130653"/>
                <a:gd name="connsiteX28" fmla="*/ 36530 w 67152"/>
                <a:gd name="connsiteY28" fmla="*/ 129146 h 130653"/>
                <a:gd name="connsiteX29" fmla="*/ 40624 w 67152"/>
                <a:gd name="connsiteY29" fmla="*/ 130626 h 130653"/>
                <a:gd name="connsiteX30" fmla="*/ 40624 w 67152"/>
                <a:gd name="connsiteY30" fmla="*/ 124656 h 130653"/>
                <a:gd name="connsiteX31" fmla="*/ 42648 w 67152"/>
                <a:gd name="connsiteY31" fmla="*/ 115627 h 130653"/>
                <a:gd name="connsiteX32" fmla="*/ 38552 w 67152"/>
                <a:gd name="connsiteY32" fmla="*/ 108127 h 130653"/>
                <a:gd name="connsiteX33" fmla="*/ 44670 w 67152"/>
                <a:gd name="connsiteY33" fmla="*/ 100627 h 130653"/>
                <a:gd name="connsiteX34" fmla="*/ 52811 w 67152"/>
                <a:gd name="connsiteY34" fmla="*/ 88638 h 130653"/>
                <a:gd name="connsiteX35" fmla="*/ 52811 w 67152"/>
                <a:gd name="connsiteY35" fmla="*/ 81089 h 130653"/>
                <a:gd name="connsiteX36" fmla="*/ 54884 w 67152"/>
                <a:gd name="connsiteY36" fmla="*/ 79608 h 130653"/>
                <a:gd name="connsiteX37" fmla="*/ 52811 w 67152"/>
                <a:gd name="connsiteY37" fmla="*/ 78128 h 130653"/>
                <a:gd name="connsiteX38" fmla="*/ 54884 w 67152"/>
                <a:gd name="connsiteY38" fmla="*/ 66089 h 130653"/>
                <a:gd name="connsiteX39" fmla="*/ 54884 w 67152"/>
                <a:gd name="connsiteY39" fmla="*/ 58787 h 130653"/>
                <a:gd name="connsiteX40" fmla="*/ 52811 w 67152"/>
                <a:gd name="connsiteY40" fmla="*/ 49807 h 130653"/>
                <a:gd name="connsiteX41" fmla="*/ 56906 w 67152"/>
                <a:gd name="connsiteY41" fmla="*/ 42258 h 130653"/>
                <a:gd name="connsiteX42" fmla="*/ 58929 w 67152"/>
                <a:gd name="connsiteY42" fmla="*/ 27456 h 130653"/>
                <a:gd name="connsiteX43" fmla="*/ 60953 w 67152"/>
                <a:gd name="connsiteY43" fmla="*/ 18476 h 130653"/>
                <a:gd name="connsiteX44" fmla="*/ 67071 w 67152"/>
                <a:gd name="connsiteY44" fmla="*/ 18476 h 130653"/>
                <a:gd name="connsiteX45" fmla="*/ 64998 w 67152"/>
                <a:gd name="connsiteY45" fmla="*/ 13936 h 13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7152" h="130653">
                  <a:moveTo>
                    <a:pt x="56906" y="8953"/>
                  </a:moveTo>
                  <a:lnTo>
                    <a:pt x="54884" y="8953"/>
                  </a:lnTo>
                  <a:lnTo>
                    <a:pt x="50788" y="2983"/>
                  </a:lnTo>
                  <a:lnTo>
                    <a:pt x="42648" y="-27"/>
                  </a:lnTo>
                  <a:lnTo>
                    <a:pt x="38552" y="2983"/>
                  </a:lnTo>
                  <a:lnTo>
                    <a:pt x="38552" y="5992"/>
                  </a:lnTo>
                  <a:lnTo>
                    <a:pt x="32483" y="8953"/>
                  </a:lnTo>
                  <a:lnTo>
                    <a:pt x="22269" y="14972"/>
                  </a:lnTo>
                  <a:lnTo>
                    <a:pt x="16151" y="27012"/>
                  </a:lnTo>
                  <a:lnTo>
                    <a:pt x="18223" y="30021"/>
                  </a:lnTo>
                  <a:lnTo>
                    <a:pt x="16151" y="33031"/>
                  </a:lnTo>
                  <a:lnTo>
                    <a:pt x="14178" y="36041"/>
                  </a:lnTo>
                  <a:lnTo>
                    <a:pt x="6036" y="48031"/>
                  </a:lnTo>
                  <a:lnTo>
                    <a:pt x="1942" y="60020"/>
                  </a:lnTo>
                  <a:lnTo>
                    <a:pt x="-82" y="61500"/>
                  </a:lnTo>
                  <a:lnTo>
                    <a:pt x="1942" y="64559"/>
                  </a:lnTo>
                  <a:lnTo>
                    <a:pt x="1942" y="76549"/>
                  </a:lnTo>
                  <a:lnTo>
                    <a:pt x="3964" y="88588"/>
                  </a:lnTo>
                  <a:lnTo>
                    <a:pt x="6036" y="90069"/>
                  </a:lnTo>
                  <a:lnTo>
                    <a:pt x="8011" y="93078"/>
                  </a:lnTo>
                  <a:lnTo>
                    <a:pt x="6036" y="94558"/>
                  </a:lnTo>
                  <a:lnTo>
                    <a:pt x="6036" y="99048"/>
                  </a:lnTo>
                  <a:lnTo>
                    <a:pt x="10083" y="103588"/>
                  </a:lnTo>
                  <a:lnTo>
                    <a:pt x="14178" y="105068"/>
                  </a:lnTo>
                  <a:lnTo>
                    <a:pt x="14178" y="108127"/>
                  </a:lnTo>
                  <a:lnTo>
                    <a:pt x="24341" y="111137"/>
                  </a:lnTo>
                  <a:lnTo>
                    <a:pt x="30410" y="117156"/>
                  </a:lnTo>
                  <a:lnTo>
                    <a:pt x="30410" y="130626"/>
                  </a:lnTo>
                  <a:lnTo>
                    <a:pt x="36530" y="129146"/>
                  </a:lnTo>
                  <a:lnTo>
                    <a:pt x="40624" y="130626"/>
                  </a:lnTo>
                  <a:lnTo>
                    <a:pt x="40624" y="124656"/>
                  </a:lnTo>
                  <a:lnTo>
                    <a:pt x="42648" y="115627"/>
                  </a:lnTo>
                  <a:lnTo>
                    <a:pt x="38552" y="108127"/>
                  </a:lnTo>
                  <a:lnTo>
                    <a:pt x="44670" y="100627"/>
                  </a:lnTo>
                  <a:lnTo>
                    <a:pt x="52811" y="88638"/>
                  </a:lnTo>
                  <a:lnTo>
                    <a:pt x="52811" y="81089"/>
                  </a:lnTo>
                  <a:lnTo>
                    <a:pt x="54884" y="79608"/>
                  </a:lnTo>
                  <a:lnTo>
                    <a:pt x="52811" y="78128"/>
                  </a:lnTo>
                  <a:lnTo>
                    <a:pt x="54884" y="66089"/>
                  </a:lnTo>
                  <a:lnTo>
                    <a:pt x="54884" y="58787"/>
                  </a:lnTo>
                  <a:lnTo>
                    <a:pt x="52811" y="49807"/>
                  </a:lnTo>
                  <a:lnTo>
                    <a:pt x="56906" y="42258"/>
                  </a:lnTo>
                  <a:lnTo>
                    <a:pt x="58929" y="27456"/>
                  </a:lnTo>
                  <a:lnTo>
                    <a:pt x="60953" y="18476"/>
                  </a:lnTo>
                  <a:lnTo>
                    <a:pt x="67071" y="18476"/>
                  </a:lnTo>
                  <a:lnTo>
                    <a:pt x="64998" y="1393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Graphic 2">
              <a:extLst>
                <a:ext uri="{FF2B5EF4-FFF2-40B4-BE49-F238E27FC236}">
                  <a16:creationId xmlns:a16="http://schemas.microsoft.com/office/drawing/2014/main" id="{65C80833-0EDE-486C-A83E-D20209AA690B}"/>
                </a:ext>
              </a:extLst>
            </p:cNvPr>
            <p:cNvSpPr/>
            <p:nvPr/>
          </p:nvSpPr>
          <p:spPr>
            <a:xfrm>
              <a:off x="9055602" y="4953412"/>
              <a:ext cx="1332823" cy="1224966"/>
            </a:xfrm>
            <a:custGeom>
              <a:avLst/>
              <a:gdLst>
                <a:gd name="connsiteX0" fmla="*/ 1450279 w 1467036"/>
                <a:gd name="connsiteY0" fmla="*/ 642977 h 1348373"/>
                <a:gd name="connsiteX1" fmla="*/ 1452400 w 1467036"/>
                <a:gd name="connsiteY1" fmla="*/ 631678 h 1348373"/>
                <a:gd name="connsiteX2" fmla="*/ 1454472 w 1467036"/>
                <a:gd name="connsiteY2" fmla="*/ 638141 h 1348373"/>
                <a:gd name="connsiteX3" fmla="*/ 1452400 w 1467036"/>
                <a:gd name="connsiteY3" fmla="*/ 565611 h 1348373"/>
                <a:gd name="connsiteX4" fmla="*/ 1450279 w 1467036"/>
                <a:gd name="connsiteY4" fmla="*/ 555743 h 1348373"/>
                <a:gd name="connsiteX5" fmla="*/ 1450279 w 1467036"/>
                <a:gd name="connsiteY5" fmla="*/ 549575 h 1348373"/>
                <a:gd name="connsiteX6" fmla="*/ 1452400 w 1467036"/>
                <a:gd name="connsiteY6" fmla="*/ 544641 h 1348373"/>
                <a:gd name="connsiteX7" fmla="*/ 1458666 w 1467036"/>
                <a:gd name="connsiteY7" fmla="*/ 538227 h 1348373"/>
                <a:gd name="connsiteX8" fmla="*/ 1460738 w 1467036"/>
                <a:gd name="connsiteY8" fmla="*/ 531764 h 1348373"/>
                <a:gd name="connsiteX9" fmla="*/ 1458666 w 1467036"/>
                <a:gd name="connsiteY9" fmla="*/ 526829 h 1348373"/>
                <a:gd name="connsiteX10" fmla="*/ 1460738 w 1467036"/>
                <a:gd name="connsiteY10" fmla="*/ 521895 h 1348373"/>
                <a:gd name="connsiteX11" fmla="*/ 1464883 w 1467036"/>
                <a:gd name="connsiteY11" fmla="*/ 521895 h 1348373"/>
                <a:gd name="connsiteX12" fmla="*/ 1466955 w 1467036"/>
                <a:gd name="connsiteY12" fmla="*/ 529938 h 1348373"/>
                <a:gd name="connsiteX13" fmla="*/ 1464883 w 1467036"/>
                <a:gd name="connsiteY13" fmla="*/ 538030 h 1348373"/>
                <a:gd name="connsiteX14" fmla="*/ 1456545 w 1467036"/>
                <a:gd name="connsiteY14" fmla="*/ 547898 h 1348373"/>
                <a:gd name="connsiteX15" fmla="*/ 1454472 w 1467036"/>
                <a:gd name="connsiteY15" fmla="*/ 560776 h 1348373"/>
                <a:gd name="connsiteX16" fmla="*/ 1456545 w 1467036"/>
                <a:gd name="connsiteY16" fmla="*/ 567190 h 1348373"/>
                <a:gd name="connsiteX17" fmla="*/ 1391958 w 1467036"/>
                <a:gd name="connsiteY17" fmla="*/ 473739 h 1348373"/>
                <a:gd name="connsiteX18" fmla="*/ 1398224 w 1467036"/>
                <a:gd name="connsiteY18" fmla="*/ 481782 h 1348373"/>
                <a:gd name="connsiteX19" fmla="*/ 1402368 w 1467036"/>
                <a:gd name="connsiteY19" fmla="*/ 486716 h 1348373"/>
                <a:gd name="connsiteX20" fmla="*/ 1404441 w 1467036"/>
                <a:gd name="connsiteY20" fmla="*/ 481782 h 1348373"/>
                <a:gd name="connsiteX21" fmla="*/ 1400296 w 1467036"/>
                <a:gd name="connsiteY21" fmla="*/ 478574 h 1348373"/>
                <a:gd name="connsiteX22" fmla="*/ 1402368 w 1467036"/>
                <a:gd name="connsiteY22" fmla="*/ 475368 h 1348373"/>
                <a:gd name="connsiteX23" fmla="*/ 1398224 w 1467036"/>
                <a:gd name="connsiteY23" fmla="*/ 473739 h 1348373"/>
                <a:gd name="connsiteX24" fmla="*/ 1394030 w 1467036"/>
                <a:gd name="connsiteY24" fmla="*/ 472111 h 1348373"/>
                <a:gd name="connsiteX25" fmla="*/ 1383620 w 1467036"/>
                <a:gd name="connsiteY25" fmla="*/ 430270 h 1348373"/>
                <a:gd name="connsiteX26" fmla="*/ 1381547 w 1467036"/>
                <a:gd name="connsiteY26" fmla="*/ 427014 h 1348373"/>
                <a:gd name="connsiteX27" fmla="*/ 1379475 w 1467036"/>
                <a:gd name="connsiteY27" fmla="*/ 428593 h 1348373"/>
                <a:gd name="connsiteX28" fmla="*/ 1246157 w 1467036"/>
                <a:gd name="connsiteY28" fmla="*/ 293252 h 1348373"/>
                <a:gd name="connsiteX29" fmla="*/ 1248229 w 1467036"/>
                <a:gd name="connsiteY29" fmla="*/ 288318 h 1348373"/>
                <a:gd name="connsiteX30" fmla="*/ 1241963 w 1467036"/>
                <a:gd name="connsiteY30" fmla="*/ 283384 h 1348373"/>
                <a:gd name="connsiteX31" fmla="*/ 1248229 w 1467036"/>
                <a:gd name="connsiteY31" fmla="*/ 281805 h 1348373"/>
                <a:gd name="connsiteX32" fmla="*/ 1250302 w 1467036"/>
                <a:gd name="connsiteY32" fmla="*/ 280177 h 1348373"/>
                <a:gd name="connsiteX33" fmla="*/ 1252374 w 1467036"/>
                <a:gd name="connsiteY33" fmla="*/ 291427 h 1348373"/>
                <a:gd name="connsiteX34" fmla="*/ 1248229 w 1467036"/>
                <a:gd name="connsiteY34" fmla="*/ 296361 h 1348373"/>
                <a:gd name="connsiteX35" fmla="*/ 1127395 w 1467036"/>
                <a:gd name="connsiteY35" fmla="*/ -27 h 1348373"/>
                <a:gd name="connsiteX36" fmla="*/ 1129517 w 1467036"/>
                <a:gd name="connsiteY36" fmla="*/ 4907 h 1348373"/>
                <a:gd name="connsiteX37" fmla="*/ 1131540 w 1467036"/>
                <a:gd name="connsiteY37" fmla="*/ -27 h 1348373"/>
                <a:gd name="connsiteX38" fmla="*/ 1121128 w 1467036"/>
                <a:gd name="connsiteY38" fmla="*/ 16058 h 1348373"/>
                <a:gd name="connsiteX39" fmla="*/ 1123201 w 1467036"/>
                <a:gd name="connsiteY39" fmla="*/ 24150 h 1348373"/>
                <a:gd name="connsiteX40" fmla="*/ 1125323 w 1467036"/>
                <a:gd name="connsiteY40" fmla="*/ 22522 h 1348373"/>
                <a:gd name="connsiteX41" fmla="*/ 1129517 w 1467036"/>
                <a:gd name="connsiteY41" fmla="*/ 20893 h 1348373"/>
                <a:gd name="connsiteX42" fmla="*/ 1127395 w 1467036"/>
                <a:gd name="connsiteY42" fmla="*/ 15959 h 1348373"/>
                <a:gd name="connsiteX43" fmla="*/ 1006560 w 1467036"/>
                <a:gd name="connsiteY43" fmla="*/ 238731 h 1348373"/>
                <a:gd name="connsiteX44" fmla="*/ 1008633 w 1467036"/>
                <a:gd name="connsiteY44" fmla="*/ 241938 h 1348373"/>
                <a:gd name="connsiteX45" fmla="*/ 1012777 w 1467036"/>
                <a:gd name="connsiteY45" fmla="*/ 240310 h 1348373"/>
                <a:gd name="connsiteX46" fmla="*/ 1010754 w 1467036"/>
                <a:gd name="connsiteY46" fmla="*/ 237103 h 1348373"/>
                <a:gd name="connsiteX47" fmla="*/ 998222 w 1467036"/>
                <a:gd name="connsiteY47" fmla="*/ 225804 h 1348373"/>
                <a:gd name="connsiteX48" fmla="*/ 1000294 w 1467036"/>
                <a:gd name="connsiteY48" fmla="*/ 227432 h 1348373"/>
                <a:gd name="connsiteX49" fmla="*/ 1004488 w 1467036"/>
                <a:gd name="connsiteY49" fmla="*/ 227432 h 1348373"/>
                <a:gd name="connsiteX50" fmla="*/ 1008633 w 1467036"/>
                <a:gd name="connsiteY50" fmla="*/ 222498 h 1348373"/>
                <a:gd name="connsiteX51" fmla="*/ 1016971 w 1467036"/>
                <a:gd name="connsiteY51" fmla="*/ 220870 h 1348373"/>
                <a:gd name="connsiteX52" fmla="*/ 1016971 w 1467036"/>
                <a:gd name="connsiteY52" fmla="*/ 218995 h 1348373"/>
                <a:gd name="connsiteX53" fmla="*/ 1008633 w 1467036"/>
                <a:gd name="connsiteY53" fmla="*/ 215739 h 1348373"/>
                <a:gd name="connsiteX54" fmla="*/ 998222 w 1467036"/>
                <a:gd name="connsiteY54" fmla="*/ 220673 h 1348373"/>
                <a:gd name="connsiteX55" fmla="*/ 998222 w 1467036"/>
                <a:gd name="connsiteY55" fmla="*/ 225557 h 1348373"/>
                <a:gd name="connsiteX56" fmla="*/ 923225 w 1467036"/>
                <a:gd name="connsiteY56" fmla="*/ 195213 h 1348373"/>
                <a:gd name="connsiteX57" fmla="*/ 921153 w 1467036"/>
                <a:gd name="connsiteY57" fmla="*/ 192006 h 1348373"/>
                <a:gd name="connsiteX58" fmla="*/ 923225 w 1467036"/>
                <a:gd name="connsiteY58" fmla="*/ 187072 h 1348373"/>
                <a:gd name="connsiteX59" fmla="*/ 927418 w 1467036"/>
                <a:gd name="connsiteY59" fmla="*/ 190279 h 1348373"/>
                <a:gd name="connsiteX60" fmla="*/ 900330 w 1467036"/>
                <a:gd name="connsiteY60" fmla="*/ 129146 h 1348373"/>
                <a:gd name="connsiteX61" fmla="*/ 900330 w 1467036"/>
                <a:gd name="connsiteY61" fmla="*/ 125890 h 1348373"/>
                <a:gd name="connsiteX62" fmla="*/ 898209 w 1467036"/>
                <a:gd name="connsiteY62" fmla="*/ 127518 h 1348373"/>
                <a:gd name="connsiteX63" fmla="*/ 896137 w 1467036"/>
                <a:gd name="connsiteY63" fmla="*/ 124311 h 1348373"/>
                <a:gd name="connsiteX64" fmla="*/ 900330 w 1467036"/>
                <a:gd name="connsiteY64" fmla="*/ 121104 h 1348373"/>
                <a:gd name="connsiteX65" fmla="*/ 904475 w 1467036"/>
                <a:gd name="connsiteY65" fmla="*/ 126038 h 1348373"/>
                <a:gd name="connsiteX66" fmla="*/ 910741 w 1467036"/>
                <a:gd name="connsiteY66" fmla="*/ 137189 h 1348373"/>
                <a:gd name="connsiteX67" fmla="*/ 906547 w 1467036"/>
                <a:gd name="connsiteY67" fmla="*/ 138817 h 1348373"/>
                <a:gd name="connsiteX68" fmla="*/ 908620 w 1467036"/>
                <a:gd name="connsiteY68" fmla="*/ 140396 h 1348373"/>
                <a:gd name="connsiteX69" fmla="*/ 914887 w 1467036"/>
                <a:gd name="connsiteY69" fmla="*/ 137189 h 1348373"/>
                <a:gd name="connsiteX70" fmla="*/ 923225 w 1467036"/>
                <a:gd name="connsiteY70" fmla="*/ 138817 h 1348373"/>
                <a:gd name="connsiteX71" fmla="*/ 925297 w 1467036"/>
                <a:gd name="connsiteY71" fmla="*/ 133883 h 1348373"/>
                <a:gd name="connsiteX72" fmla="*/ 921153 w 1467036"/>
                <a:gd name="connsiteY72" fmla="*/ 133883 h 1348373"/>
                <a:gd name="connsiteX73" fmla="*/ 919030 w 1467036"/>
                <a:gd name="connsiteY73" fmla="*/ 132304 h 1348373"/>
                <a:gd name="connsiteX74" fmla="*/ 925297 w 1467036"/>
                <a:gd name="connsiteY74" fmla="*/ 127370 h 1348373"/>
                <a:gd name="connsiteX75" fmla="*/ 923225 w 1467036"/>
                <a:gd name="connsiteY75" fmla="*/ 125742 h 1348373"/>
                <a:gd name="connsiteX76" fmla="*/ 917008 w 1467036"/>
                <a:gd name="connsiteY76" fmla="*/ 127370 h 1348373"/>
                <a:gd name="connsiteX77" fmla="*/ 917008 w 1467036"/>
                <a:gd name="connsiteY77" fmla="*/ 122436 h 1348373"/>
                <a:gd name="connsiteX78" fmla="*/ 912813 w 1467036"/>
                <a:gd name="connsiteY78" fmla="*/ 124064 h 1348373"/>
                <a:gd name="connsiteX79" fmla="*/ 912813 w 1467036"/>
                <a:gd name="connsiteY79" fmla="*/ 127271 h 1348373"/>
                <a:gd name="connsiteX80" fmla="*/ 906547 w 1467036"/>
                <a:gd name="connsiteY80" fmla="*/ 127271 h 1348373"/>
                <a:gd name="connsiteX81" fmla="*/ 908620 w 1467036"/>
                <a:gd name="connsiteY81" fmla="*/ 128899 h 1348373"/>
                <a:gd name="connsiteX82" fmla="*/ 906547 w 1467036"/>
                <a:gd name="connsiteY82" fmla="*/ 128899 h 1348373"/>
                <a:gd name="connsiteX83" fmla="*/ 914887 w 1467036"/>
                <a:gd name="connsiteY83" fmla="*/ 42110 h 1348373"/>
                <a:gd name="connsiteX84" fmla="*/ 919030 w 1467036"/>
                <a:gd name="connsiteY84" fmla="*/ 43738 h 1348373"/>
                <a:gd name="connsiteX85" fmla="*/ 921153 w 1467036"/>
                <a:gd name="connsiteY85" fmla="*/ 38804 h 1348373"/>
                <a:gd name="connsiteX86" fmla="*/ 927418 w 1467036"/>
                <a:gd name="connsiteY86" fmla="*/ 33870 h 1348373"/>
                <a:gd name="connsiteX87" fmla="*/ 923225 w 1467036"/>
                <a:gd name="connsiteY87" fmla="*/ 30614 h 1348373"/>
                <a:gd name="connsiteX88" fmla="*/ 917008 w 1467036"/>
                <a:gd name="connsiteY88" fmla="*/ 37077 h 1348373"/>
                <a:gd name="connsiteX89" fmla="*/ 906547 w 1467036"/>
                <a:gd name="connsiteY89" fmla="*/ 47044 h 1348373"/>
                <a:gd name="connsiteX90" fmla="*/ 910741 w 1467036"/>
                <a:gd name="connsiteY90" fmla="*/ 48623 h 1348373"/>
                <a:gd name="connsiteX91" fmla="*/ 910741 w 1467036"/>
                <a:gd name="connsiteY91" fmla="*/ 45416 h 1348373"/>
                <a:gd name="connsiteX92" fmla="*/ 902403 w 1467036"/>
                <a:gd name="connsiteY92" fmla="*/ 48623 h 1348373"/>
                <a:gd name="connsiteX93" fmla="*/ 904475 w 1467036"/>
                <a:gd name="connsiteY93" fmla="*/ 51879 h 1348373"/>
                <a:gd name="connsiteX94" fmla="*/ 906547 w 1467036"/>
                <a:gd name="connsiteY94" fmla="*/ 48623 h 1348373"/>
                <a:gd name="connsiteX95" fmla="*/ 887601 w 1467036"/>
                <a:gd name="connsiteY95" fmla="*/ 55086 h 1348373"/>
                <a:gd name="connsiteX96" fmla="*/ 891794 w 1467036"/>
                <a:gd name="connsiteY96" fmla="*/ 55086 h 1348373"/>
                <a:gd name="connsiteX97" fmla="*/ 891794 w 1467036"/>
                <a:gd name="connsiteY97" fmla="*/ 51879 h 1348373"/>
                <a:gd name="connsiteX98" fmla="*/ 879311 w 1467036"/>
                <a:gd name="connsiteY98" fmla="*/ 64955 h 1348373"/>
                <a:gd name="connsiteX99" fmla="*/ 879311 w 1467036"/>
                <a:gd name="connsiteY99" fmla="*/ 60021 h 1348373"/>
                <a:gd name="connsiteX100" fmla="*/ 885528 w 1467036"/>
                <a:gd name="connsiteY100" fmla="*/ 56813 h 1348373"/>
                <a:gd name="connsiteX101" fmla="*/ 892239 w 1467036"/>
                <a:gd name="connsiteY101" fmla="*/ 56813 h 1348373"/>
                <a:gd name="connsiteX102" fmla="*/ 890167 w 1467036"/>
                <a:gd name="connsiteY102" fmla="*/ 60021 h 1348373"/>
                <a:gd name="connsiteX103" fmla="*/ 883901 w 1467036"/>
                <a:gd name="connsiteY103" fmla="*/ 61649 h 1348373"/>
                <a:gd name="connsiteX104" fmla="*/ 866780 w 1467036"/>
                <a:gd name="connsiteY104" fmla="*/ 66533 h 1348373"/>
                <a:gd name="connsiteX105" fmla="*/ 870923 w 1467036"/>
                <a:gd name="connsiteY105" fmla="*/ 68211 h 1348373"/>
                <a:gd name="connsiteX106" fmla="*/ 877437 w 1467036"/>
                <a:gd name="connsiteY106" fmla="*/ 66040 h 1348373"/>
                <a:gd name="connsiteX107" fmla="*/ 877437 w 1467036"/>
                <a:gd name="connsiteY107" fmla="*/ 64461 h 1348373"/>
                <a:gd name="connsiteX108" fmla="*/ 775105 w 1467036"/>
                <a:gd name="connsiteY108" fmla="*/ 42406 h 1348373"/>
                <a:gd name="connsiteX109" fmla="*/ 770960 w 1467036"/>
                <a:gd name="connsiteY109" fmla="*/ 35942 h 1348373"/>
                <a:gd name="connsiteX110" fmla="*/ 773033 w 1467036"/>
                <a:gd name="connsiteY110" fmla="*/ 31008 h 1348373"/>
                <a:gd name="connsiteX111" fmla="*/ 779299 w 1467036"/>
                <a:gd name="connsiteY111" fmla="*/ 29380 h 1348373"/>
                <a:gd name="connsiteX112" fmla="*/ 777177 w 1467036"/>
                <a:gd name="connsiteY112" fmla="*/ 35844 h 1348373"/>
                <a:gd name="connsiteX113" fmla="*/ 696160 w 1467036"/>
                <a:gd name="connsiteY113" fmla="*/ 39149 h 1348373"/>
                <a:gd name="connsiteX114" fmla="*/ 696160 w 1467036"/>
                <a:gd name="connsiteY114" fmla="*/ 45613 h 1348373"/>
                <a:gd name="connsiteX115" fmla="*/ 702427 w 1467036"/>
                <a:gd name="connsiteY115" fmla="*/ 52076 h 1348373"/>
                <a:gd name="connsiteX116" fmla="*/ 708644 w 1467036"/>
                <a:gd name="connsiteY116" fmla="*/ 57011 h 1348373"/>
                <a:gd name="connsiteX117" fmla="*/ 716982 w 1467036"/>
                <a:gd name="connsiteY117" fmla="*/ 60218 h 1348373"/>
                <a:gd name="connsiteX118" fmla="*/ 729465 w 1467036"/>
                <a:gd name="connsiteY118" fmla="*/ 50350 h 1348373"/>
                <a:gd name="connsiteX119" fmla="*/ 733660 w 1467036"/>
                <a:gd name="connsiteY119" fmla="*/ 50350 h 1348373"/>
                <a:gd name="connsiteX120" fmla="*/ 733660 w 1467036"/>
                <a:gd name="connsiteY120" fmla="*/ 47142 h 1348373"/>
                <a:gd name="connsiteX121" fmla="*/ 737803 w 1467036"/>
                <a:gd name="connsiteY121" fmla="*/ 43936 h 1348373"/>
                <a:gd name="connsiteX122" fmla="*/ 733660 w 1467036"/>
                <a:gd name="connsiteY122" fmla="*/ 42307 h 1348373"/>
                <a:gd name="connsiteX123" fmla="*/ 731537 w 1467036"/>
                <a:gd name="connsiteY123" fmla="*/ 39051 h 1348373"/>
                <a:gd name="connsiteX124" fmla="*/ 729416 w 1467036"/>
                <a:gd name="connsiteY124" fmla="*/ 39051 h 1348373"/>
                <a:gd name="connsiteX125" fmla="*/ 725271 w 1467036"/>
                <a:gd name="connsiteY125" fmla="*/ 40728 h 1348373"/>
                <a:gd name="connsiteX126" fmla="*/ 714861 w 1467036"/>
                <a:gd name="connsiteY126" fmla="*/ 40728 h 1348373"/>
                <a:gd name="connsiteX127" fmla="*/ 710666 w 1467036"/>
                <a:gd name="connsiteY127" fmla="*/ 45662 h 1348373"/>
                <a:gd name="connsiteX128" fmla="*/ 706522 w 1467036"/>
                <a:gd name="connsiteY128" fmla="*/ 42455 h 1348373"/>
                <a:gd name="connsiteX129" fmla="*/ 706522 w 1467036"/>
                <a:gd name="connsiteY129" fmla="*/ 40876 h 1348373"/>
                <a:gd name="connsiteX130" fmla="*/ 702377 w 1467036"/>
                <a:gd name="connsiteY130" fmla="*/ 40876 h 1348373"/>
                <a:gd name="connsiteX131" fmla="*/ 696111 w 1467036"/>
                <a:gd name="connsiteY131" fmla="*/ 35942 h 1348373"/>
                <a:gd name="connsiteX132" fmla="*/ 693990 w 1467036"/>
                <a:gd name="connsiteY132" fmla="*/ 35942 h 1348373"/>
                <a:gd name="connsiteX133" fmla="*/ 694039 w 1467036"/>
                <a:gd name="connsiteY133" fmla="*/ 40827 h 1348373"/>
                <a:gd name="connsiteX134" fmla="*/ 696160 w 1467036"/>
                <a:gd name="connsiteY134" fmla="*/ 50695 h 1348373"/>
                <a:gd name="connsiteX135" fmla="*/ 702427 w 1467036"/>
                <a:gd name="connsiteY135" fmla="*/ 52323 h 1348373"/>
                <a:gd name="connsiteX136" fmla="*/ 704449 w 1467036"/>
                <a:gd name="connsiteY136" fmla="*/ 55530 h 1348373"/>
                <a:gd name="connsiteX137" fmla="*/ 696160 w 1467036"/>
                <a:gd name="connsiteY137" fmla="*/ 53902 h 1348373"/>
                <a:gd name="connsiteX138" fmla="*/ 692015 w 1467036"/>
                <a:gd name="connsiteY138" fmla="*/ 53902 h 1348373"/>
                <a:gd name="connsiteX139" fmla="*/ 685749 w 1467036"/>
                <a:gd name="connsiteY139" fmla="*/ 52323 h 1348373"/>
                <a:gd name="connsiteX140" fmla="*/ 685749 w 1467036"/>
                <a:gd name="connsiteY140" fmla="*/ 49067 h 1348373"/>
                <a:gd name="connsiteX141" fmla="*/ 687822 w 1467036"/>
                <a:gd name="connsiteY141" fmla="*/ 47488 h 1348373"/>
                <a:gd name="connsiteX142" fmla="*/ 689894 w 1467036"/>
                <a:gd name="connsiteY142" fmla="*/ 49067 h 1348373"/>
                <a:gd name="connsiteX143" fmla="*/ 689894 w 1467036"/>
                <a:gd name="connsiteY143" fmla="*/ 47488 h 1348373"/>
                <a:gd name="connsiteX144" fmla="*/ 689894 w 1467036"/>
                <a:gd name="connsiteY144" fmla="*/ 47488 h 1348373"/>
                <a:gd name="connsiteX145" fmla="*/ 689894 w 1467036"/>
                <a:gd name="connsiteY145" fmla="*/ 42554 h 1348373"/>
                <a:gd name="connsiteX146" fmla="*/ 687822 w 1467036"/>
                <a:gd name="connsiteY146" fmla="*/ 42554 h 1348373"/>
                <a:gd name="connsiteX147" fmla="*/ 462978 w 1467036"/>
                <a:gd name="connsiteY147" fmla="*/ 172368 h 1348373"/>
                <a:gd name="connsiteX148" fmla="*/ 465050 w 1467036"/>
                <a:gd name="connsiteY148" fmla="*/ 175625 h 1348373"/>
                <a:gd name="connsiteX149" fmla="*/ 471267 w 1467036"/>
                <a:gd name="connsiteY149" fmla="*/ 173997 h 1348373"/>
                <a:gd name="connsiteX150" fmla="*/ 467123 w 1467036"/>
                <a:gd name="connsiteY150" fmla="*/ 169063 h 1348373"/>
                <a:gd name="connsiteX151" fmla="*/ 465050 w 1467036"/>
                <a:gd name="connsiteY151" fmla="*/ 193338 h 1348373"/>
                <a:gd name="connsiteX152" fmla="*/ 465050 w 1467036"/>
                <a:gd name="connsiteY152" fmla="*/ 186874 h 1348373"/>
                <a:gd name="connsiteX153" fmla="*/ 460857 w 1467036"/>
                <a:gd name="connsiteY153" fmla="*/ 181940 h 1348373"/>
                <a:gd name="connsiteX154" fmla="*/ 460857 w 1467036"/>
                <a:gd name="connsiteY154" fmla="*/ 191808 h 1348373"/>
                <a:gd name="connsiteX155" fmla="*/ 494211 w 1467036"/>
                <a:gd name="connsiteY155" fmla="*/ 148241 h 1348373"/>
                <a:gd name="connsiteX156" fmla="*/ 490066 w 1467036"/>
                <a:gd name="connsiteY156" fmla="*/ 148241 h 1348373"/>
                <a:gd name="connsiteX157" fmla="*/ 492088 w 1467036"/>
                <a:gd name="connsiteY157" fmla="*/ 144984 h 1348373"/>
                <a:gd name="connsiteX158" fmla="*/ 496283 w 1467036"/>
                <a:gd name="connsiteY158" fmla="*/ 144984 h 1348373"/>
                <a:gd name="connsiteX159" fmla="*/ 112661 w 1467036"/>
                <a:gd name="connsiteY159" fmla="*/ 360947 h 1348373"/>
                <a:gd name="connsiteX160" fmla="*/ 110589 w 1467036"/>
                <a:gd name="connsiteY160" fmla="*/ 357691 h 1348373"/>
                <a:gd name="connsiteX161" fmla="*/ 116856 w 1467036"/>
                <a:gd name="connsiteY161" fmla="*/ 349648 h 1348373"/>
                <a:gd name="connsiteX162" fmla="*/ 116856 w 1467036"/>
                <a:gd name="connsiteY162" fmla="*/ 356112 h 1348373"/>
                <a:gd name="connsiteX163" fmla="*/ 4113 w 1467036"/>
                <a:gd name="connsiteY163" fmla="*/ 520464 h 1348373"/>
                <a:gd name="connsiteX164" fmla="*/ 8258 w 1467036"/>
                <a:gd name="connsiteY164" fmla="*/ 507587 h 1348373"/>
                <a:gd name="connsiteX165" fmla="*/ 8258 w 1467036"/>
                <a:gd name="connsiteY165" fmla="*/ 515629 h 1348373"/>
                <a:gd name="connsiteX166" fmla="*/ 4113 w 1467036"/>
                <a:gd name="connsiteY166" fmla="*/ 544641 h 1348373"/>
                <a:gd name="connsiteX167" fmla="*/ -82 w 1467036"/>
                <a:gd name="connsiteY167" fmla="*/ 531764 h 1348373"/>
                <a:gd name="connsiteX168" fmla="*/ 1991 w 1467036"/>
                <a:gd name="connsiteY168" fmla="*/ 525300 h 1348373"/>
                <a:gd name="connsiteX169" fmla="*/ 6135 w 1467036"/>
                <a:gd name="connsiteY169" fmla="*/ 535168 h 1348373"/>
                <a:gd name="connsiteX170" fmla="*/ 804067 w 1467036"/>
                <a:gd name="connsiteY170" fmla="*/ 945926 h 1348373"/>
                <a:gd name="connsiteX171" fmla="*/ 801995 w 1467036"/>
                <a:gd name="connsiteY171" fmla="*/ 950860 h 1348373"/>
                <a:gd name="connsiteX172" fmla="*/ 804067 w 1467036"/>
                <a:gd name="connsiteY172" fmla="*/ 954067 h 1348373"/>
                <a:gd name="connsiteX173" fmla="*/ 808261 w 1467036"/>
                <a:gd name="connsiteY173" fmla="*/ 954067 h 1348373"/>
                <a:gd name="connsiteX174" fmla="*/ 806190 w 1467036"/>
                <a:gd name="connsiteY174" fmla="*/ 955696 h 1348373"/>
                <a:gd name="connsiteX175" fmla="*/ 812407 w 1467036"/>
                <a:gd name="connsiteY175" fmla="*/ 955696 h 1348373"/>
                <a:gd name="connsiteX176" fmla="*/ 816600 w 1467036"/>
                <a:gd name="connsiteY176" fmla="*/ 954067 h 1348373"/>
                <a:gd name="connsiteX177" fmla="*/ 820745 w 1467036"/>
                <a:gd name="connsiteY177" fmla="*/ 957275 h 1348373"/>
                <a:gd name="connsiteX178" fmla="*/ 816600 w 1467036"/>
                <a:gd name="connsiteY178" fmla="*/ 960531 h 1348373"/>
                <a:gd name="connsiteX179" fmla="*/ 804067 w 1467036"/>
                <a:gd name="connsiteY179" fmla="*/ 958903 h 1348373"/>
                <a:gd name="connsiteX180" fmla="*/ 801995 w 1467036"/>
                <a:gd name="connsiteY180" fmla="*/ 962159 h 1348373"/>
                <a:gd name="connsiteX181" fmla="*/ 798492 w 1467036"/>
                <a:gd name="connsiteY181" fmla="*/ 962159 h 1348373"/>
                <a:gd name="connsiteX182" fmla="*/ 796420 w 1467036"/>
                <a:gd name="connsiteY182" fmla="*/ 963738 h 1348373"/>
                <a:gd name="connsiteX183" fmla="*/ 794298 w 1467036"/>
                <a:gd name="connsiteY183" fmla="*/ 963738 h 1348373"/>
                <a:gd name="connsiteX184" fmla="*/ 790154 w 1467036"/>
                <a:gd name="connsiteY184" fmla="*/ 960531 h 1348373"/>
                <a:gd name="connsiteX185" fmla="*/ 786009 w 1467036"/>
                <a:gd name="connsiteY185" fmla="*/ 962159 h 1348373"/>
                <a:gd name="connsiteX186" fmla="*/ 768888 w 1467036"/>
                <a:gd name="connsiteY186" fmla="*/ 962159 h 1348373"/>
                <a:gd name="connsiteX187" fmla="*/ 762622 w 1467036"/>
                <a:gd name="connsiteY187" fmla="*/ 958903 h 1348373"/>
                <a:gd name="connsiteX188" fmla="*/ 764694 w 1467036"/>
                <a:gd name="connsiteY188" fmla="*/ 955696 h 1348373"/>
                <a:gd name="connsiteX189" fmla="*/ 773033 w 1467036"/>
                <a:gd name="connsiteY189" fmla="*/ 950762 h 1348373"/>
                <a:gd name="connsiteX190" fmla="*/ 791781 w 1467036"/>
                <a:gd name="connsiteY190" fmla="*/ 945828 h 1348373"/>
                <a:gd name="connsiteX191" fmla="*/ 798048 w 1467036"/>
                <a:gd name="connsiteY191" fmla="*/ 947456 h 1348373"/>
                <a:gd name="connsiteX192" fmla="*/ 1039471 w 1467036"/>
                <a:gd name="connsiteY192" fmla="*/ 1092566 h 1348373"/>
                <a:gd name="connsiteX193" fmla="*/ 1043664 w 1467036"/>
                <a:gd name="connsiteY193" fmla="*/ 1090937 h 1348373"/>
                <a:gd name="connsiteX194" fmla="*/ 1045787 w 1467036"/>
                <a:gd name="connsiteY194" fmla="*/ 1094145 h 1348373"/>
                <a:gd name="connsiteX195" fmla="*/ 1043664 w 1467036"/>
                <a:gd name="connsiteY195" fmla="*/ 1095822 h 1348373"/>
                <a:gd name="connsiteX196" fmla="*/ 1074897 w 1467036"/>
                <a:gd name="connsiteY196" fmla="*/ 1113536 h 1348373"/>
                <a:gd name="connsiteX197" fmla="*/ 1079091 w 1467036"/>
                <a:gd name="connsiteY197" fmla="*/ 1115114 h 1348373"/>
                <a:gd name="connsiteX198" fmla="*/ 1081163 w 1467036"/>
                <a:gd name="connsiteY198" fmla="*/ 1113536 h 1348373"/>
                <a:gd name="connsiteX199" fmla="*/ 989884 w 1467036"/>
                <a:gd name="connsiteY199" fmla="*/ 1195934 h 1348373"/>
                <a:gd name="connsiteX200" fmla="*/ 991956 w 1467036"/>
                <a:gd name="connsiteY200" fmla="*/ 1200868 h 1348373"/>
                <a:gd name="connsiteX201" fmla="*/ 996150 w 1467036"/>
                <a:gd name="connsiteY201" fmla="*/ 1200868 h 1348373"/>
                <a:gd name="connsiteX202" fmla="*/ 998222 w 1467036"/>
                <a:gd name="connsiteY202" fmla="*/ 1199240 h 1348373"/>
                <a:gd name="connsiteX203" fmla="*/ 994077 w 1467036"/>
                <a:gd name="connsiteY203" fmla="*/ 1194306 h 1348373"/>
                <a:gd name="connsiteX204" fmla="*/ 991956 w 1467036"/>
                <a:gd name="connsiteY204" fmla="*/ 1184684 h 1348373"/>
                <a:gd name="connsiteX205" fmla="*/ 994077 w 1467036"/>
                <a:gd name="connsiteY205" fmla="*/ 1187891 h 1348373"/>
                <a:gd name="connsiteX206" fmla="*/ 996150 w 1467036"/>
                <a:gd name="connsiteY206" fmla="*/ 1187891 h 1348373"/>
                <a:gd name="connsiteX207" fmla="*/ 996150 w 1467036"/>
                <a:gd name="connsiteY207" fmla="*/ 1182957 h 1348373"/>
                <a:gd name="connsiteX208" fmla="*/ 987812 w 1467036"/>
                <a:gd name="connsiteY208" fmla="*/ 1191099 h 1348373"/>
                <a:gd name="connsiteX209" fmla="*/ 981545 w 1467036"/>
                <a:gd name="connsiteY209" fmla="*/ 1189519 h 1348373"/>
                <a:gd name="connsiteX210" fmla="*/ 983667 w 1467036"/>
                <a:gd name="connsiteY210" fmla="*/ 1184585 h 1348373"/>
                <a:gd name="connsiteX211" fmla="*/ 989884 w 1467036"/>
                <a:gd name="connsiteY211" fmla="*/ 1181329 h 1348373"/>
                <a:gd name="connsiteX212" fmla="*/ 989884 w 1467036"/>
                <a:gd name="connsiteY212" fmla="*/ 1187793 h 1348373"/>
                <a:gd name="connsiteX213" fmla="*/ 964868 w 1467036"/>
                <a:gd name="connsiteY213" fmla="*/ 1168550 h 1348373"/>
                <a:gd name="connsiteX214" fmla="*/ 964868 w 1467036"/>
                <a:gd name="connsiteY214" fmla="*/ 1163616 h 1348373"/>
                <a:gd name="connsiteX215" fmla="*/ 962845 w 1467036"/>
                <a:gd name="connsiteY215" fmla="*/ 1158682 h 1348373"/>
                <a:gd name="connsiteX216" fmla="*/ 966989 w 1467036"/>
                <a:gd name="connsiteY216" fmla="*/ 1153748 h 1348373"/>
                <a:gd name="connsiteX217" fmla="*/ 966989 w 1467036"/>
                <a:gd name="connsiteY217" fmla="*/ 1148814 h 1348373"/>
                <a:gd name="connsiteX218" fmla="*/ 971134 w 1467036"/>
                <a:gd name="connsiteY218" fmla="*/ 1143880 h 1348373"/>
                <a:gd name="connsiteX219" fmla="*/ 975328 w 1467036"/>
                <a:gd name="connsiteY219" fmla="*/ 1140673 h 1348373"/>
                <a:gd name="connsiteX220" fmla="*/ 979472 w 1467036"/>
                <a:gd name="connsiteY220" fmla="*/ 1143880 h 1348373"/>
                <a:gd name="connsiteX221" fmla="*/ 979472 w 1467036"/>
                <a:gd name="connsiteY221" fmla="*/ 1151971 h 1348373"/>
                <a:gd name="connsiteX222" fmla="*/ 981545 w 1467036"/>
                <a:gd name="connsiteY222" fmla="*/ 1156906 h 1348373"/>
                <a:gd name="connsiteX223" fmla="*/ 975328 w 1467036"/>
                <a:gd name="connsiteY223" fmla="*/ 1163320 h 1348373"/>
                <a:gd name="connsiteX224" fmla="*/ 975328 w 1467036"/>
                <a:gd name="connsiteY224" fmla="*/ 1166577 h 1348373"/>
                <a:gd name="connsiteX225" fmla="*/ 969062 w 1467036"/>
                <a:gd name="connsiteY225" fmla="*/ 1171511 h 1348373"/>
                <a:gd name="connsiteX226" fmla="*/ 1106524 w 1467036"/>
                <a:gd name="connsiteY226" fmla="*/ 1184684 h 1348373"/>
                <a:gd name="connsiteX227" fmla="*/ 1121326 w 1467036"/>
                <a:gd name="connsiteY227" fmla="*/ 1179750 h 1348373"/>
                <a:gd name="connsiteX228" fmla="*/ 1121326 w 1467036"/>
                <a:gd name="connsiteY228" fmla="*/ 1173287 h 1348373"/>
                <a:gd name="connsiteX229" fmla="*/ 1108843 w 1467036"/>
                <a:gd name="connsiteY229" fmla="*/ 1163419 h 1348373"/>
                <a:gd name="connsiteX230" fmla="*/ 1102576 w 1467036"/>
                <a:gd name="connsiteY230" fmla="*/ 1164997 h 1348373"/>
                <a:gd name="connsiteX231" fmla="*/ 1106721 w 1467036"/>
                <a:gd name="connsiteY231" fmla="*/ 1169931 h 1348373"/>
                <a:gd name="connsiteX232" fmla="*/ 1102576 w 1467036"/>
                <a:gd name="connsiteY232" fmla="*/ 1176395 h 1348373"/>
                <a:gd name="connsiteX233" fmla="*/ 1104699 w 1467036"/>
                <a:gd name="connsiteY233" fmla="*/ 1179602 h 1348373"/>
                <a:gd name="connsiteX234" fmla="*/ 1100307 w 1467036"/>
                <a:gd name="connsiteY234" fmla="*/ 1191099 h 1348373"/>
                <a:gd name="connsiteX235" fmla="*/ 1102380 w 1467036"/>
                <a:gd name="connsiteY235" fmla="*/ 1196033 h 1348373"/>
                <a:gd name="connsiteX236" fmla="*/ 1112790 w 1467036"/>
                <a:gd name="connsiteY236" fmla="*/ 1196033 h 1348373"/>
                <a:gd name="connsiteX237" fmla="*/ 1119056 w 1467036"/>
                <a:gd name="connsiteY237" fmla="*/ 1197661 h 1348373"/>
                <a:gd name="connsiteX238" fmla="*/ 1121128 w 1467036"/>
                <a:gd name="connsiteY238" fmla="*/ 1194453 h 1348373"/>
                <a:gd name="connsiteX239" fmla="*/ 1112790 w 1467036"/>
                <a:gd name="connsiteY239" fmla="*/ 1187990 h 1348373"/>
                <a:gd name="connsiteX240" fmla="*/ 1104501 w 1467036"/>
                <a:gd name="connsiteY240" fmla="*/ 1189618 h 1348373"/>
                <a:gd name="connsiteX241" fmla="*/ 1106524 w 1467036"/>
                <a:gd name="connsiteY241" fmla="*/ 1205604 h 1348373"/>
                <a:gd name="connsiteX242" fmla="*/ 1104501 w 1467036"/>
                <a:gd name="connsiteY242" fmla="*/ 1202398 h 1348373"/>
                <a:gd name="connsiteX243" fmla="*/ 1108646 w 1467036"/>
                <a:gd name="connsiteY243" fmla="*/ 1200769 h 1348373"/>
                <a:gd name="connsiteX244" fmla="*/ 1069075 w 1467036"/>
                <a:gd name="connsiteY244" fmla="*/ 1305519 h 1348373"/>
                <a:gd name="connsiteX245" fmla="*/ 1069075 w 1467036"/>
                <a:gd name="connsiteY245" fmla="*/ 1300585 h 1348373"/>
                <a:gd name="connsiteX246" fmla="*/ 1073219 w 1467036"/>
                <a:gd name="connsiteY246" fmla="*/ 1303792 h 1348373"/>
                <a:gd name="connsiteX247" fmla="*/ 1027382 w 1467036"/>
                <a:gd name="connsiteY247" fmla="*/ 1342573 h 1348373"/>
                <a:gd name="connsiteX248" fmla="*/ 1023238 w 1467036"/>
                <a:gd name="connsiteY248" fmla="*/ 1339366 h 1348373"/>
                <a:gd name="connsiteX249" fmla="*/ 1027382 w 1467036"/>
                <a:gd name="connsiteY249" fmla="*/ 1332903 h 1348373"/>
                <a:gd name="connsiteX250" fmla="*/ 1027382 w 1467036"/>
                <a:gd name="connsiteY250" fmla="*/ 1327969 h 1348373"/>
                <a:gd name="connsiteX251" fmla="*/ 1031576 w 1467036"/>
                <a:gd name="connsiteY251" fmla="*/ 1326341 h 1348373"/>
                <a:gd name="connsiteX252" fmla="*/ 1033648 w 1467036"/>
                <a:gd name="connsiteY252" fmla="*/ 1329547 h 1348373"/>
                <a:gd name="connsiteX253" fmla="*/ 1029455 w 1467036"/>
                <a:gd name="connsiteY253" fmla="*/ 1332755 h 1348373"/>
                <a:gd name="connsiteX254" fmla="*/ 979472 w 1467036"/>
                <a:gd name="connsiteY254" fmla="*/ 1339366 h 1348373"/>
                <a:gd name="connsiteX255" fmla="*/ 979472 w 1467036"/>
                <a:gd name="connsiteY255" fmla="*/ 1332903 h 1348373"/>
                <a:gd name="connsiteX256" fmla="*/ 983667 w 1467036"/>
                <a:gd name="connsiteY256" fmla="*/ 1327969 h 1348373"/>
                <a:gd name="connsiteX257" fmla="*/ 977400 w 1467036"/>
                <a:gd name="connsiteY257" fmla="*/ 1326341 h 1348373"/>
                <a:gd name="connsiteX258" fmla="*/ 975328 w 1467036"/>
                <a:gd name="connsiteY258" fmla="*/ 1318298 h 1348373"/>
                <a:gd name="connsiteX259" fmla="*/ 977400 w 1467036"/>
                <a:gd name="connsiteY259" fmla="*/ 1315042 h 1348373"/>
                <a:gd name="connsiteX260" fmla="*/ 973255 w 1467036"/>
                <a:gd name="connsiteY260" fmla="*/ 1313462 h 1348373"/>
                <a:gd name="connsiteX261" fmla="*/ 973255 w 1467036"/>
                <a:gd name="connsiteY261" fmla="*/ 1295700 h 1348373"/>
                <a:gd name="connsiteX262" fmla="*/ 975328 w 1467036"/>
                <a:gd name="connsiteY262" fmla="*/ 1292493 h 1348373"/>
                <a:gd name="connsiteX263" fmla="*/ 969062 w 1467036"/>
                <a:gd name="connsiteY263" fmla="*/ 1289237 h 1348373"/>
                <a:gd name="connsiteX264" fmla="*/ 969062 w 1467036"/>
                <a:gd name="connsiteY264" fmla="*/ 1277987 h 1348373"/>
                <a:gd name="connsiteX265" fmla="*/ 971134 w 1467036"/>
                <a:gd name="connsiteY265" fmla="*/ 1271523 h 1348373"/>
                <a:gd name="connsiteX266" fmla="*/ 977400 w 1467036"/>
                <a:gd name="connsiteY266" fmla="*/ 1277987 h 1348373"/>
                <a:gd name="connsiteX267" fmla="*/ 985986 w 1467036"/>
                <a:gd name="connsiteY267" fmla="*/ 1277987 h 1348373"/>
                <a:gd name="connsiteX268" fmla="*/ 979719 w 1467036"/>
                <a:gd name="connsiteY268" fmla="*/ 1273053 h 1348373"/>
                <a:gd name="connsiteX269" fmla="*/ 979719 w 1467036"/>
                <a:gd name="connsiteY269" fmla="*/ 1268119 h 1348373"/>
                <a:gd name="connsiteX270" fmla="*/ 975574 w 1467036"/>
                <a:gd name="connsiteY270" fmla="*/ 1266540 h 1348373"/>
                <a:gd name="connsiteX271" fmla="*/ 977647 w 1467036"/>
                <a:gd name="connsiteY271" fmla="*/ 1258448 h 1348373"/>
                <a:gd name="connsiteX272" fmla="*/ 975574 w 1467036"/>
                <a:gd name="connsiteY272" fmla="*/ 1247199 h 1348373"/>
                <a:gd name="connsiteX273" fmla="*/ 975574 w 1467036"/>
                <a:gd name="connsiteY273" fmla="*/ 1234271 h 1348373"/>
                <a:gd name="connsiteX274" fmla="*/ 977647 w 1467036"/>
                <a:gd name="connsiteY274" fmla="*/ 1226229 h 1348373"/>
                <a:gd name="connsiteX275" fmla="*/ 975574 w 1467036"/>
                <a:gd name="connsiteY275" fmla="*/ 1213351 h 1348373"/>
                <a:gd name="connsiteX276" fmla="*/ 975574 w 1467036"/>
                <a:gd name="connsiteY276" fmla="*/ 1206887 h 1348373"/>
                <a:gd name="connsiteX277" fmla="*/ 977647 w 1467036"/>
                <a:gd name="connsiteY277" fmla="*/ 1205259 h 1348373"/>
                <a:gd name="connsiteX278" fmla="*/ 977647 w 1467036"/>
                <a:gd name="connsiteY278" fmla="*/ 1198795 h 1348373"/>
                <a:gd name="connsiteX279" fmla="*/ 979719 w 1467036"/>
                <a:gd name="connsiteY279" fmla="*/ 1195589 h 1348373"/>
                <a:gd name="connsiteX280" fmla="*/ 988057 w 1467036"/>
                <a:gd name="connsiteY280" fmla="*/ 1200523 h 1348373"/>
                <a:gd name="connsiteX281" fmla="*/ 994324 w 1467036"/>
                <a:gd name="connsiteY281" fmla="*/ 1203779 h 1348373"/>
                <a:gd name="connsiteX282" fmla="*/ 1000541 w 1467036"/>
                <a:gd name="connsiteY282" fmla="*/ 1206986 h 1348373"/>
                <a:gd name="connsiteX283" fmla="*/ 1000541 w 1467036"/>
                <a:gd name="connsiteY283" fmla="*/ 1203779 h 1348373"/>
                <a:gd name="connsiteX284" fmla="*/ 1004735 w 1467036"/>
                <a:gd name="connsiteY284" fmla="*/ 1200523 h 1348373"/>
                <a:gd name="connsiteX285" fmla="*/ 1002614 w 1467036"/>
                <a:gd name="connsiteY285" fmla="*/ 1210391 h 1348373"/>
                <a:gd name="connsiteX286" fmla="*/ 1015145 w 1467036"/>
                <a:gd name="connsiteY286" fmla="*/ 1215325 h 1348373"/>
                <a:gd name="connsiteX287" fmla="*/ 1025557 w 1467036"/>
                <a:gd name="connsiteY287" fmla="*/ 1223416 h 1348373"/>
                <a:gd name="connsiteX288" fmla="*/ 1031823 w 1467036"/>
                <a:gd name="connsiteY288" fmla="*/ 1228350 h 1348373"/>
                <a:gd name="connsiteX289" fmla="*/ 1038040 w 1467036"/>
                <a:gd name="connsiteY289" fmla="*/ 1225094 h 1348373"/>
                <a:gd name="connsiteX290" fmla="*/ 1044306 w 1467036"/>
                <a:gd name="connsiteY290" fmla="*/ 1225094 h 1348373"/>
                <a:gd name="connsiteX291" fmla="*/ 1050572 w 1467036"/>
                <a:gd name="connsiteY291" fmla="*/ 1228350 h 1348373"/>
                <a:gd name="connsiteX292" fmla="*/ 1050572 w 1467036"/>
                <a:gd name="connsiteY292" fmla="*/ 1223416 h 1348373"/>
                <a:gd name="connsiteX293" fmla="*/ 1054716 w 1467036"/>
                <a:gd name="connsiteY293" fmla="*/ 1220210 h 1348373"/>
                <a:gd name="connsiteX294" fmla="*/ 1075538 w 1467036"/>
                <a:gd name="connsiteY294" fmla="*/ 1221788 h 1348373"/>
                <a:gd name="connsiteX295" fmla="*/ 1079732 w 1467036"/>
                <a:gd name="connsiteY295" fmla="*/ 1220210 h 1348373"/>
                <a:gd name="connsiteX296" fmla="*/ 1083877 w 1467036"/>
                <a:gd name="connsiteY296" fmla="*/ 1216953 h 1348373"/>
                <a:gd name="connsiteX297" fmla="*/ 1088070 w 1467036"/>
                <a:gd name="connsiteY297" fmla="*/ 1216953 h 1348373"/>
                <a:gd name="connsiteX298" fmla="*/ 1090144 w 1467036"/>
                <a:gd name="connsiteY298" fmla="*/ 1218532 h 1348373"/>
                <a:gd name="connsiteX299" fmla="*/ 1094337 w 1467036"/>
                <a:gd name="connsiteY299" fmla="*/ 1212118 h 1348373"/>
                <a:gd name="connsiteX300" fmla="*/ 1098482 w 1467036"/>
                <a:gd name="connsiteY300" fmla="*/ 1212118 h 1348373"/>
                <a:gd name="connsiteX301" fmla="*/ 1106771 w 1467036"/>
                <a:gd name="connsiteY301" fmla="*/ 1217052 h 1348373"/>
                <a:gd name="connsiteX302" fmla="*/ 1104748 w 1467036"/>
                <a:gd name="connsiteY302" fmla="*/ 1223515 h 1348373"/>
                <a:gd name="connsiteX303" fmla="*/ 1100554 w 1467036"/>
                <a:gd name="connsiteY303" fmla="*/ 1238021 h 1348373"/>
                <a:gd name="connsiteX304" fmla="*/ 1094337 w 1467036"/>
                <a:gd name="connsiteY304" fmla="*/ 1246064 h 1348373"/>
                <a:gd name="connsiteX305" fmla="*/ 1094337 w 1467036"/>
                <a:gd name="connsiteY305" fmla="*/ 1257362 h 1348373"/>
                <a:gd name="connsiteX306" fmla="*/ 1088070 w 1467036"/>
                <a:gd name="connsiteY306" fmla="*/ 1263777 h 1348373"/>
                <a:gd name="connsiteX307" fmla="*/ 1090144 w 1467036"/>
                <a:gd name="connsiteY307" fmla="*/ 1270241 h 1348373"/>
                <a:gd name="connsiteX308" fmla="*/ 1088070 w 1467036"/>
                <a:gd name="connsiteY308" fmla="*/ 1273447 h 1348373"/>
                <a:gd name="connsiteX309" fmla="*/ 1088070 w 1467036"/>
                <a:gd name="connsiteY309" fmla="*/ 1279862 h 1348373"/>
                <a:gd name="connsiteX310" fmla="*/ 1085949 w 1467036"/>
                <a:gd name="connsiteY310" fmla="*/ 1286325 h 1348373"/>
                <a:gd name="connsiteX311" fmla="*/ 1083877 w 1467036"/>
                <a:gd name="connsiteY311" fmla="*/ 1281391 h 1348373"/>
                <a:gd name="connsiteX312" fmla="*/ 1081804 w 1467036"/>
                <a:gd name="connsiteY312" fmla="*/ 1273300 h 1348373"/>
                <a:gd name="connsiteX313" fmla="*/ 1077660 w 1467036"/>
                <a:gd name="connsiteY313" fmla="*/ 1278234 h 1348373"/>
                <a:gd name="connsiteX314" fmla="*/ 1073466 w 1467036"/>
                <a:gd name="connsiteY314" fmla="*/ 1281490 h 1348373"/>
                <a:gd name="connsiteX315" fmla="*/ 1073466 w 1467036"/>
                <a:gd name="connsiteY315" fmla="*/ 1294368 h 1348373"/>
                <a:gd name="connsiteX316" fmla="*/ 1069321 w 1467036"/>
                <a:gd name="connsiteY316" fmla="*/ 1297575 h 1348373"/>
                <a:gd name="connsiteX317" fmla="*/ 1063056 w 1467036"/>
                <a:gd name="connsiteY317" fmla="*/ 1297575 h 1348373"/>
                <a:gd name="connsiteX318" fmla="*/ 1063056 w 1467036"/>
                <a:gd name="connsiteY318" fmla="*/ 1304039 h 1348373"/>
                <a:gd name="connsiteX319" fmla="*/ 1058911 w 1467036"/>
                <a:gd name="connsiteY319" fmla="*/ 1310453 h 1348373"/>
                <a:gd name="connsiteX320" fmla="*/ 1065128 w 1467036"/>
                <a:gd name="connsiteY320" fmla="*/ 1313709 h 1348373"/>
                <a:gd name="connsiteX321" fmla="*/ 1065128 w 1467036"/>
                <a:gd name="connsiteY321" fmla="*/ 1316917 h 1348373"/>
                <a:gd name="connsiteX322" fmla="*/ 1056839 w 1467036"/>
                <a:gd name="connsiteY322" fmla="*/ 1326785 h 1348373"/>
                <a:gd name="connsiteX323" fmla="*/ 1052644 w 1467036"/>
                <a:gd name="connsiteY323" fmla="*/ 1326785 h 1348373"/>
                <a:gd name="connsiteX324" fmla="*/ 1046427 w 1467036"/>
                <a:gd name="connsiteY324" fmla="*/ 1328413 h 1348373"/>
                <a:gd name="connsiteX325" fmla="*/ 1046427 w 1467036"/>
                <a:gd name="connsiteY325" fmla="*/ 1320321 h 1348373"/>
                <a:gd name="connsiteX326" fmla="*/ 1054716 w 1467036"/>
                <a:gd name="connsiteY326" fmla="*/ 1321949 h 1348373"/>
                <a:gd name="connsiteX327" fmla="*/ 1054716 w 1467036"/>
                <a:gd name="connsiteY327" fmla="*/ 1317015 h 1348373"/>
                <a:gd name="connsiteX328" fmla="*/ 1050572 w 1467036"/>
                <a:gd name="connsiteY328" fmla="*/ 1313808 h 1348373"/>
                <a:gd name="connsiteX329" fmla="*/ 1044306 w 1467036"/>
                <a:gd name="connsiteY329" fmla="*/ 1315387 h 1348373"/>
                <a:gd name="connsiteX330" fmla="*/ 1042233 w 1467036"/>
                <a:gd name="connsiteY330" fmla="*/ 1320321 h 1348373"/>
                <a:gd name="connsiteX331" fmla="*/ 1035967 w 1467036"/>
                <a:gd name="connsiteY331" fmla="*/ 1318742 h 1348373"/>
                <a:gd name="connsiteX332" fmla="*/ 1035967 w 1467036"/>
                <a:gd name="connsiteY332" fmla="*/ 1312278 h 1348373"/>
                <a:gd name="connsiteX333" fmla="*/ 1033895 w 1467036"/>
                <a:gd name="connsiteY333" fmla="*/ 1318742 h 1348373"/>
                <a:gd name="connsiteX334" fmla="*/ 1027628 w 1467036"/>
                <a:gd name="connsiteY334" fmla="*/ 1323676 h 1348373"/>
                <a:gd name="connsiteX335" fmla="*/ 1025557 w 1467036"/>
                <a:gd name="connsiteY335" fmla="*/ 1326933 h 1348373"/>
                <a:gd name="connsiteX336" fmla="*/ 1021412 w 1467036"/>
                <a:gd name="connsiteY336" fmla="*/ 1323676 h 1348373"/>
                <a:gd name="connsiteX337" fmla="*/ 1017218 w 1467036"/>
                <a:gd name="connsiteY337" fmla="*/ 1333544 h 1348373"/>
                <a:gd name="connsiteX338" fmla="*/ 1017218 w 1467036"/>
                <a:gd name="connsiteY338" fmla="*/ 1338478 h 1348373"/>
                <a:gd name="connsiteX339" fmla="*/ 1008879 w 1467036"/>
                <a:gd name="connsiteY339" fmla="*/ 1348346 h 1348373"/>
                <a:gd name="connsiteX340" fmla="*/ 1004735 w 1467036"/>
                <a:gd name="connsiteY340" fmla="*/ 1348346 h 1348373"/>
                <a:gd name="connsiteX341" fmla="*/ 1000541 w 1467036"/>
                <a:gd name="connsiteY341" fmla="*/ 1341882 h 1348373"/>
                <a:gd name="connsiteX342" fmla="*/ 1000541 w 1467036"/>
                <a:gd name="connsiteY342" fmla="*/ 1336948 h 1348373"/>
                <a:gd name="connsiteX343" fmla="*/ 994324 w 1467036"/>
                <a:gd name="connsiteY343" fmla="*/ 1343363 h 1348373"/>
                <a:gd name="connsiteX344" fmla="*/ 990131 w 1467036"/>
                <a:gd name="connsiteY344" fmla="*/ 1340156 h 1348373"/>
                <a:gd name="connsiteX345" fmla="*/ 979719 w 1467036"/>
                <a:gd name="connsiteY345" fmla="*/ 1340156 h 1348373"/>
                <a:gd name="connsiteX346" fmla="*/ 16991 w 1467036"/>
                <a:gd name="connsiteY346" fmla="*/ 854301 h 1348373"/>
                <a:gd name="connsiteX347" fmla="*/ 21135 w 1467036"/>
                <a:gd name="connsiteY347" fmla="*/ 857558 h 1348373"/>
                <a:gd name="connsiteX348" fmla="*/ 27401 w 1467036"/>
                <a:gd name="connsiteY348" fmla="*/ 859137 h 1348373"/>
                <a:gd name="connsiteX349" fmla="*/ 42203 w 1467036"/>
                <a:gd name="connsiteY349" fmla="*/ 872014 h 1348373"/>
                <a:gd name="connsiteX350" fmla="*/ 42203 w 1467036"/>
                <a:gd name="connsiteY350" fmla="*/ 876948 h 1348373"/>
                <a:gd name="connsiteX351" fmla="*/ 44324 w 1467036"/>
                <a:gd name="connsiteY351" fmla="*/ 880205 h 1348373"/>
                <a:gd name="connsiteX352" fmla="*/ 52664 w 1467036"/>
                <a:gd name="connsiteY352" fmla="*/ 880205 h 1348373"/>
                <a:gd name="connsiteX353" fmla="*/ 56808 w 1467036"/>
                <a:gd name="connsiteY353" fmla="*/ 885139 h 1348373"/>
                <a:gd name="connsiteX354" fmla="*/ 67219 w 1467036"/>
                <a:gd name="connsiteY354" fmla="*/ 886718 h 1348373"/>
                <a:gd name="connsiteX355" fmla="*/ 71412 w 1467036"/>
                <a:gd name="connsiteY355" fmla="*/ 885139 h 1348373"/>
                <a:gd name="connsiteX356" fmla="*/ 73485 w 1467036"/>
                <a:gd name="connsiteY356" fmla="*/ 888346 h 1348373"/>
                <a:gd name="connsiteX357" fmla="*/ 81824 w 1467036"/>
                <a:gd name="connsiteY357" fmla="*/ 888346 h 1348373"/>
                <a:gd name="connsiteX358" fmla="*/ 90112 w 1467036"/>
                <a:gd name="connsiteY358" fmla="*/ 886718 h 1348373"/>
                <a:gd name="connsiteX359" fmla="*/ 92235 w 1467036"/>
                <a:gd name="connsiteY359" fmla="*/ 891652 h 1348373"/>
                <a:gd name="connsiteX360" fmla="*/ 96379 w 1467036"/>
                <a:gd name="connsiteY360" fmla="*/ 888396 h 1348373"/>
                <a:gd name="connsiteX361" fmla="*/ 98500 w 1467036"/>
                <a:gd name="connsiteY361" fmla="*/ 889974 h 1348373"/>
                <a:gd name="connsiteX362" fmla="*/ 108911 w 1467036"/>
                <a:gd name="connsiteY362" fmla="*/ 888396 h 1348373"/>
                <a:gd name="connsiteX363" fmla="*/ 117250 w 1467036"/>
                <a:gd name="connsiteY363" fmla="*/ 888396 h 1348373"/>
                <a:gd name="connsiteX364" fmla="*/ 119323 w 1467036"/>
                <a:gd name="connsiteY364" fmla="*/ 883462 h 1348373"/>
                <a:gd name="connsiteX365" fmla="*/ 125540 w 1467036"/>
                <a:gd name="connsiteY365" fmla="*/ 883462 h 1348373"/>
                <a:gd name="connsiteX366" fmla="*/ 129733 w 1467036"/>
                <a:gd name="connsiteY366" fmla="*/ 875419 h 1348373"/>
                <a:gd name="connsiteX367" fmla="*/ 142216 w 1467036"/>
                <a:gd name="connsiteY367" fmla="*/ 876998 h 1348373"/>
                <a:gd name="connsiteX368" fmla="*/ 142216 w 1467036"/>
                <a:gd name="connsiteY368" fmla="*/ 870288 h 1348373"/>
                <a:gd name="connsiteX369" fmla="*/ 148482 w 1467036"/>
                <a:gd name="connsiteY369" fmla="*/ 867080 h 1348373"/>
                <a:gd name="connsiteX370" fmla="*/ 152627 w 1467036"/>
                <a:gd name="connsiteY370" fmla="*/ 867080 h 1348373"/>
                <a:gd name="connsiteX371" fmla="*/ 158894 w 1467036"/>
                <a:gd name="connsiteY371" fmla="*/ 872014 h 1348373"/>
                <a:gd name="connsiteX372" fmla="*/ 165159 w 1467036"/>
                <a:gd name="connsiteY372" fmla="*/ 865600 h 1348373"/>
                <a:gd name="connsiteX373" fmla="*/ 167232 w 1467036"/>
                <a:gd name="connsiteY373" fmla="*/ 867229 h 1348373"/>
                <a:gd name="connsiteX374" fmla="*/ 171425 w 1467036"/>
                <a:gd name="connsiteY374" fmla="*/ 865600 h 1348373"/>
                <a:gd name="connsiteX375" fmla="*/ 173449 w 1467036"/>
                <a:gd name="connsiteY375" fmla="*/ 857558 h 1348373"/>
                <a:gd name="connsiteX376" fmla="*/ 192247 w 1467036"/>
                <a:gd name="connsiteY376" fmla="*/ 847690 h 1348373"/>
                <a:gd name="connsiteX377" fmla="*/ 200537 w 1467036"/>
                <a:gd name="connsiteY377" fmla="*/ 847690 h 1348373"/>
                <a:gd name="connsiteX378" fmla="*/ 206852 w 1467036"/>
                <a:gd name="connsiteY378" fmla="*/ 850897 h 1348373"/>
                <a:gd name="connsiteX379" fmla="*/ 213069 w 1467036"/>
                <a:gd name="connsiteY379" fmla="*/ 847690 h 1348373"/>
                <a:gd name="connsiteX380" fmla="*/ 231818 w 1467036"/>
                <a:gd name="connsiteY380" fmla="*/ 842756 h 1348373"/>
                <a:gd name="connsiteX381" fmla="*/ 233891 w 1467036"/>
                <a:gd name="connsiteY381" fmla="*/ 846012 h 1348373"/>
                <a:gd name="connsiteX382" fmla="*/ 246374 w 1467036"/>
                <a:gd name="connsiteY382" fmla="*/ 844384 h 1348373"/>
                <a:gd name="connsiteX383" fmla="*/ 250567 w 1467036"/>
                <a:gd name="connsiteY383" fmla="*/ 846012 h 1348373"/>
                <a:gd name="connsiteX384" fmla="*/ 254712 w 1467036"/>
                <a:gd name="connsiteY384" fmla="*/ 847641 h 1348373"/>
                <a:gd name="connsiteX385" fmla="*/ 263051 w 1467036"/>
                <a:gd name="connsiteY385" fmla="*/ 844384 h 1348373"/>
                <a:gd name="connsiteX386" fmla="*/ 265172 w 1467036"/>
                <a:gd name="connsiteY386" fmla="*/ 850848 h 1348373"/>
                <a:gd name="connsiteX387" fmla="*/ 269317 w 1467036"/>
                <a:gd name="connsiteY387" fmla="*/ 850848 h 1348373"/>
                <a:gd name="connsiteX388" fmla="*/ 275583 w 1467036"/>
                <a:gd name="connsiteY388" fmla="*/ 849219 h 1348373"/>
                <a:gd name="connsiteX389" fmla="*/ 279728 w 1467036"/>
                <a:gd name="connsiteY389" fmla="*/ 852426 h 1348373"/>
                <a:gd name="connsiteX390" fmla="*/ 283872 w 1467036"/>
                <a:gd name="connsiteY390" fmla="*/ 849219 h 1348373"/>
                <a:gd name="connsiteX391" fmla="*/ 298674 w 1467036"/>
                <a:gd name="connsiteY391" fmla="*/ 849219 h 1348373"/>
                <a:gd name="connsiteX392" fmla="*/ 298674 w 1467036"/>
                <a:gd name="connsiteY392" fmla="*/ 854153 h 1348373"/>
                <a:gd name="connsiteX393" fmla="*/ 300796 w 1467036"/>
                <a:gd name="connsiteY393" fmla="*/ 854153 h 1348373"/>
                <a:gd name="connsiteX394" fmla="*/ 309086 w 1467036"/>
                <a:gd name="connsiteY394" fmla="*/ 847739 h 1348373"/>
                <a:gd name="connsiteX395" fmla="*/ 317424 w 1467036"/>
                <a:gd name="connsiteY395" fmla="*/ 849318 h 1348373"/>
                <a:gd name="connsiteX396" fmla="*/ 325762 w 1467036"/>
                <a:gd name="connsiteY396" fmla="*/ 844384 h 1348373"/>
                <a:gd name="connsiteX397" fmla="*/ 329907 w 1467036"/>
                <a:gd name="connsiteY397" fmla="*/ 836341 h 1348373"/>
                <a:gd name="connsiteX398" fmla="*/ 334100 w 1467036"/>
                <a:gd name="connsiteY398" fmla="*/ 836341 h 1348373"/>
                <a:gd name="connsiteX399" fmla="*/ 340317 w 1467036"/>
                <a:gd name="connsiteY399" fmla="*/ 829927 h 1348373"/>
                <a:gd name="connsiteX400" fmla="*/ 344512 w 1467036"/>
                <a:gd name="connsiteY400" fmla="*/ 818579 h 1348373"/>
                <a:gd name="connsiteX401" fmla="*/ 354923 w 1467036"/>
                <a:gd name="connsiteY401" fmla="*/ 812165 h 1348373"/>
                <a:gd name="connsiteX402" fmla="*/ 363261 w 1467036"/>
                <a:gd name="connsiteY402" fmla="*/ 810536 h 1348373"/>
                <a:gd name="connsiteX403" fmla="*/ 367405 w 1467036"/>
                <a:gd name="connsiteY403" fmla="*/ 812165 h 1348373"/>
                <a:gd name="connsiteX404" fmla="*/ 384132 w 1467036"/>
                <a:gd name="connsiteY404" fmla="*/ 807230 h 1348373"/>
                <a:gd name="connsiteX405" fmla="*/ 402832 w 1467036"/>
                <a:gd name="connsiteY405" fmla="*/ 797362 h 1348373"/>
                <a:gd name="connsiteX406" fmla="*/ 413242 w 1467036"/>
                <a:gd name="connsiteY406" fmla="*/ 787494 h 1348373"/>
                <a:gd name="connsiteX407" fmla="*/ 419509 w 1467036"/>
                <a:gd name="connsiteY407" fmla="*/ 785916 h 1348373"/>
                <a:gd name="connsiteX408" fmla="*/ 429920 w 1467036"/>
                <a:gd name="connsiteY408" fmla="*/ 785916 h 1348373"/>
                <a:gd name="connsiteX409" fmla="*/ 442453 w 1467036"/>
                <a:gd name="connsiteY409" fmla="*/ 790850 h 1348373"/>
                <a:gd name="connsiteX410" fmla="*/ 450742 w 1467036"/>
                <a:gd name="connsiteY410" fmla="*/ 790850 h 1348373"/>
                <a:gd name="connsiteX411" fmla="*/ 459080 w 1467036"/>
                <a:gd name="connsiteY411" fmla="*/ 787643 h 1348373"/>
                <a:gd name="connsiteX412" fmla="*/ 473882 w 1467036"/>
                <a:gd name="connsiteY412" fmla="*/ 789271 h 1348373"/>
                <a:gd name="connsiteX413" fmla="*/ 492582 w 1467036"/>
                <a:gd name="connsiteY413" fmla="*/ 782807 h 1348373"/>
                <a:gd name="connsiteX414" fmla="*/ 505115 w 1467036"/>
                <a:gd name="connsiteY414" fmla="*/ 781179 h 1348373"/>
                <a:gd name="connsiteX415" fmla="*/ 513453 w 1467036"/>
                <a:gd name="connsiteY415" fmla="*/ 774715 h 1348373"/>
                <a:gd name="connsiteX416" fmla="*/ 519719 w 1467036"/>
                <a:gd name="connsiteY416" fmla="*/ 774715 h 1348373"/>
                <a:gd name="connsiteX417" fmla="*/ 528008 w 1467036"/>
                <a:gd name="connsiteY417" fmla="*/ 768301 h 1348373"/>
                <a:gd name="connsiteX418" fmla="*/ 544686 w 1467036"/>
                <a:gd name="connsiteY418" fmla="*/ 768301 h 1348373"/>
                <a:gd name="connsiteX419" fmla="*/ 584158 w 1467036"/>
                <a:gd name="connsiteY419" fmla="*/ 765094 h 1348373"/>
                <a:gd name="connsiteX420" fmla="*/ 596641 w 1467036"/>
                <a:gd name="connsiteY420" fmla="*/ 768301 h 1348373"/>
                <a:gd name="connsiteX421" fmla="*/ 604979 w 1467036"/>
                <a:gd name="connsiteY421" fmla="*/ 768301 h 1348373"/>
                <a:gd name="connsiteX422" fmla="*/ 615390 w 1467036"/>
                <a:gd name="connsiteY422" fmla="*/ 765094 h 1348373"/>
                <a:gd name="connsiteX423" fmla="*/ 623729 w 1467036"/>
                <a:gd name="connsiteY423" fmla="*/ 766722 h 1348373"/>
                <a:gd name="connsiteX424" fmla="*/ 636212 w 1467036"/>
                <a:gd name="connsiteY424" fmla="*/ 774715 h 1348373"/>
                <a:gd name="connsiteX425" fmla="*/ 644551 w 1467036"/>
                <a:gd name="connsiteY425" fmla="*/ 787643 h 1348373"/>
                <a:gd name="connsiteX426" fmla="*/ 650817 w 1467036"/>
                <a:gd name="connsiteY426" fmla="*/ 789271 h 1348373"/>
                <a:gd name="connsiteX427" fmla="*/ 654961 w 1467036"/>
                <a:gd name="connsiteY427" fmla="*/ 786064 h 1348373"/>
                <a:gd name="connsiteX428" fmla="*/ 659106 w 1467036"/>
                <a:gd name="connsiteY428" fmla="*/ 784435 h 1348373"/>
                <a:gd name="connsiteX429" fmla="*/ 663300 w 1467036"/>
                <a:gd name="connsiteY429" fmla="*/ 787643 h 1348373"/>
                <a:gd name="connsiteX430" fmla="*/ 667493 w 1467036"/>
                <a:gd name="connsiteY430" fmla="*/ 786064 h 1348373"/>
                <a:gd name="connsiteX431" fmla="*/ 673710 w 1467036"/>
                <a:gd name="connsiteY431" fmla="*/ 787643 h 1348373"/>
                <a:gd name="connsiteX432" fmla="*/ 682048 w 1467036"/>
                <a:gd name="connsiteY432" fmla="*/ 795734 h 1348373"/>
                <a:gd name="connsiteX433" fmla="*/ 690388 w 1467036"/>
                <a:gd name="connsiteY433" fmla="*/ 797313 h 1348373"/>
                <a:gd name="connsiteX434" fmla="*/ 694532 w 1467036"/>
                <a:gd name="connsiteY434" fmla="*/ 795734 h 1348373"/>
                <a:gd name="connsiteX435" fmla="*/ 709334 w 1467036"/>
                <a:gd name="connsiteY435" fmla="*/ 805602 h 1348373"/>
                <a:gd name="connsiteX436" fmla="*/ 709334 w 1467036"/>
                <a:gd name="connsiteY436" fmla="*/ 810536 h 1348373"/>
                <a:gd name="connsiteX437" fmla="*/ 713528 w 1467036"/>
                <a:gd name="connsiteY437" fmla="*/ 810536 h 1348373"/>
                <a:gd name="connsiteX438" fmla="*/ 719745 w 1467036"/>
                <a:gd name="connsiteY438" fmla="*/ 815471 h 1348373"/>
                <a:gd name="connsiteX439" fmla="*/ 717673 w 1467036"/>
                <a:gd name="connsiteY439" fmla="*/ 820405 h 1348373"/>
                <a:gd name="connsiteX440" fmla="*/ 711407 w 1467036"/>
                <a:gd name="connsiteY440" fmla="*/ 820405 h 1348373"/>
                <a:gd name="connsiteX441" fmla="*/ 709334 w 1467036"/>
                <a:gd name="connsiteY441" fmla="*/ 825339 h 1348373"/>
                <a:gd name="connsiteX442" fmla="*/ 715600 w 1467036"/>
                <a:gd name="connsiteY442" fmla="*/ 836638 h 1348373"/>
                <a:gd name="connsiteX443" fmla="*/ 721817 w 1467036"/>
                <a:gd name="connsiteY443" fmla="*/ 836638 h 1348373"/>
                <a:gd name="connsiteX444" fmla="*/ 730155 w 1467036"/>
                <a:gd name="connsiteY444" fmla="*/ 844680 h 1348373"/>
                <a:gd name="connsiteX445" fmla="*/ 732228 w 1467036"/>
                <a:gd name="connsiteY445" fmla="*/ 852722 h 1348373"/>
                <a:gd name="connsiteX446" fmla="*/ 730155 w 1467036"/>
                <a:gd name="connsiteY446" fmla="*/ 859186 h 1348373"/>
                <a:gd name="connsiteX447" fmla="*/ 738495 w 1467036"/>
                <a:gd name="connsiteY447" fmla="*/ 873692 h 1348373"/>
                <a:gd name="connsiteX448" fmla="*/ 736422 w 1467036"/>
                <a:gd name="connsiteY448" fmla="*/ 880156 h 1348373"/>
                <a:gd name="connsiteX449" fmla="*/ 738495 w 1467036"/>
                <a:gd name="connsiteY449" fmla="*/ 885090 h 1348373"/>
                <a:gd name="connsiteX450" fmla="*/ 738495 w 1467036"/>
                <a:gd name="connsiteY450" fmla="*/ 893132 h 1348373"/>
                <a:gd name="connsiteX451" fmla="*/ 734350 w 1467036"/>
                <a:gd name="connsiteY451" fmla="*/ 898066 h 1348373"/>
                <a:gd name="connsiteX452" fmla="*/ 730155 w 1467036"/>
                <a:gd name="connsiteY452" fmla="*/ 894859 h 1348373"/>
                <a:gd name="connsiteX453" fmla="*/ 728083 w 1467036"/>
                <a:gd name="connsiteY453" fmla="*/ 896438 h 1348373"/>
                <a:gd name="connsiteX454" fmla="*/ 734350 w 1467036"/>
                <a:gd name="connsiteY454" fmla="*/ 902901 h 1348373"/>
                <a:gd name="connsiteX455" fmla="*/ 740567 w 1467036"/>
                <a:gd name="connsiteY455" fmla="*/ 906109 h 1348373"/>
                <a:gd name="connsiteX456" fmla="*/ 742639 w 1467036"/>
                <a:gd name="connsiteY456" fmla="*/ 912572 h 1348373"/>
                <a:gd name="connsiteX457" fmla="*/ 748905 w 1467036"/>
                <a:gd name="connsiteY457" fmla="*/ 910993 h 1348373"/>
                <a:gd name="connsiteX458" fmla="*/ 755171 w 1467036"/>
                <a:gd name="connsiteY458" fmla="*/ 914201 h 1348373"/>
                <a:gd name="connsiteX459" fmla="*/ 755171 w 1467036"/>
                <a:gd name="connsiteY459" fmla="*/ 909267 h 1348373"/>
                <a:gd name="connsiteX460" fmla="*/ 751026 w 1467036"/>
                <a:gd name="connsiteY460" fmla="*/ 904333 h 1348373"/>
                <a:gd name="connsiteX461" fmla="*/ 755171 w 1467036"/>
                <a:gd name="connsiteY461" fmla="*/ 901125 h 1348373"/>
                <a:gd name="connsiteX462" fmla="*/ 759316 w 1467036"/>
                <a:gd name="connsiteY462" fmla="*/ 894661 h 1348373"/>
                <a:gd name="connsiteX463" fmla="*/ 765583 w 1467036"/>
                <a:gd name="connsiteY463" fmla="*/ 893033 h 1348373"/>
                <a:gd name="connsiteX464" fmla="*/ 767654 w 1467036"/>
                <a:gd name="connsiteY464" fmla="*/ 888099 h 1348373"/>
                <a:gd name="connsiteX465" fmla="*/ 773921 w 1467036"/>
                <a:gd name="connsiteY465" fmla="*/ 886471 h 1348373"/>
                <a:gd name="connsiteX466" fmla="*/ 775993 w 1467036"/>
                <a:gd name="connsiteY466" fmla="*/ 880057 h 1348373"/>
                <a:gd name="connsiteX467" fmla="*/ 782259 w 1467036"/>
                <a:gd name="connsiteY467" fmla="*/ 873594 h 1348373"/>
                <a:gd name="connsiteX468" fmla="*/ 798937 w 1467036"/>
                <a:gd name="connsiteY468" fmla="*/ 867179 h 1348373"/>
                <a:gd name="connsiteX469" fmla="*/ 798937 w 1467036"/>
                <a:gd name="connsiteY469" fmla="*/ 862245 h 1348373"/>
                <a:gd name="connsiteX470" fmla="*/ 803081 w 1467036"/>
                <a:gd name="connsiteY470" fmla="*/ 862245 h 1348373"/>
                <a:gd name="connsiteX471" fmla="*/ 815564 w 1467036"/>
                <a:gd name="connsiteY471" fmla="*/ 857311 h 1348373"/>
                <a:gd name="connsiteX472" fmla="*/ 817685 w 1467036"/>
                <a:gd name="connsiteY472" fmla="*/ 849219 h 1348373"/>
                <a:gd name="connsiteX473" fmla="*/ 828096 w 1467036"/>
                <a:gd name="connsiteY473" fmla="*/ 836341 h 1348373"/>
                <a:gd name="connsiteX474" fmla="*/ 838508 w 1467036"/>
                <a:gd name="connsiteY474" fmla="*/ 834713 h 1348373"/>
                <a:gd name="connsiteX475" fmla="*/ 842652 w 1467036"/>
                <a:gd name="connsiteY475" fmla="*/ 829779 h 1348373"/>
                <a:gd name="connsiteX476" fmla="*/ 838508 w 1467036"/>
                <a:gd name="connsiteY476" fmla="*/ 823315 h 1348373"/>
                <a:gd name="connsiteX477" fmla="*/ 840580 w 1467036"/>
                <a:gd name="connsiteY477" fmla="*/ 815224 h 1348373"/>
                <a:gd name="connsiteX478" fmla="*/ 844773 w 1467036"/>
                <a:gd name="connsiteY478" fmla="*/ 823315 h 1348373"/>
                <a:gd name="connsiteX479" fmla="*/ 844773 w 1467036"/>
                <a:gd name="connsiteY479" fmla="*/ 839400 h 1348373"/>
                <a:gd name="connsiteX480" fmla="*/ 840580 w 1467036"/>
                <a:gd name="connsiteY480" fmla="*/ 844335 h 1348373"/>
                <a:gd name="connsiteX481" fmla="*/ 837964 w 1467036"/>
                <a:gd name="connsiteY481" fmla="*/ 860420 h 1348373"/>
                <a:gd name="connsiteX482" fmla="*/ 823162 w 1467036"/>
                <a:gd name="connsiteY482" fmla="*/ 868462 h 1348373"/>
                <a:gd name="connsiteX483" fmla="*/ 821090 w 1467036"/>
                <a:gd name="connsiteY483" fmla="*/ 874925 h 1348373"/>
                <a:gd name="connsiteX484" fmla="*/ 816945 w 1467036"/>
                <a:gd name="connsiteY484" fmla="*/ 879859 h 1348373"/>
                <a:gd name="connsiteX485" fmla="*/ 816945 w 1467036"/>
                <a:gd name="connsiteY485" fmla="*/ 887902 h 1348373"/>
                <a:gd name="connsiteX486" fmla="*/ 808607 w 1467036"/>
                <a:gd name="connsiteY486" fmla="*/ 897770 h 1348373"/>
                <a:gd name="connsiteX487" fmla="*/ 810679 w 1467036"/>
                <a:gd name="connsiteY487" fmla="*/ 901027 h 1348373"/>
                <a:gd name="connsiteX488" fmla="*/ 804413 w 1467036"/>
                <a:gd name="connsiteY488" fmla="*/ 915484 h 1348373"/>
                <a:gd name="connsiteX489" fmla="*/ 787736 w 1467036"/>
                <a:gd name="connsiteY489" fmla="*/ 913904 h 1348373"/>
                <a:gd name="connsiteX490" fmla="*/ 783591 w 1467036"/>
                <a:gd name="connsiteY490" fmla="*/ 921947 h 1348373"/>
                <a:gd name="connsiteX491" fmla="*/ 779446 w 1467036"/>
                <a:gd name="connsiteY491" fmla="*/ 928411 h 1348373"/>
                <a:gd name="connsiteX492" fmla="*/ 779446 w 1467036"/>
                <a:gd name="connsiteY492" fmla="*/ 931618 h 1348373"/>
                <a:gd name="connsiteX493" fmla="*/ 789858 w 1467036"/>
                <a:gd name="connsiteY493" fmla="*/ 928411 h 1348373"/>
                <a:gd name="connsiteX494" fmla="*/ 800269 w 1467036"/>
                <a:gd name="connsiteY494" fmla="*/ 925154 h 1348373"/>
                <a:gd name="connsiteX495" fmla="*/ 812751 w 1467036"/>
                <a:gd name="connsiteY495" fmla="*/ 928411 h 1348373"/>
                <a:gd name="connsiteX496" fmla="*/ 825234 w 1467036"/>
                <a:gd name="connsiteY496" fmla="*/ 910697 h 1348373"/>
                <a:gd name="connsiteX497" fmla="*/ 827357 w 1467036"/>
                <a:gd name="connsiteY497" fmla="*/ 895895 h 1348373"/>
                <a:gd name="connsiteX498" fmla="*/ 837767 w 1467036"/>
                <a:gd name="connsiteY498" fmla="*/ 886027 h 1348373"/>
                <a:gd name="connsiteX499" fmla="*/ 841912 w 1467036"/>
                <a:gd name="connsiteY499" fmla="*/ 889234 h 1348373"/>
                <a:gd name="connsiteX500" fmla="*/ 841912 w 1467036"/>
                <a:gd name="connsiteY500" fmla="*/ 903790 h 1348373"/>
                <a:gd name="connsiteX501" fmla="*/ 846056 w 1467036"/>
                <a:gd name="connsiteY501" fmla="*/ 911832 h 1348373"/>
                <a:gd name="connsiteX502" fmla="*/ 841912 w 1467036"/>
                <a:gd name="connsiteY502" fmla="*/ 913460 h 1348373"/>
                <a:gd name="connsiteX503" fmla="*/ 844033 w 1467036"/>
                <a:gd name="connsiteY503" fmla="*/ 927966 h 1348373"/>
                <a:gd name="connsiteX504" fmla="*/ 835646 w 1467036"/>
                <a:gd name="connsiteY504" fmla="*/ 940845 h 1348373"/>
                <a:gd name="connsiteX505" fmla="*/ 821090 w 1467036"/>
                <a:gd name="connsiteY505" fmla="*/ 945779 h 1348373"/>
                <a:gd name="connsiteX506" fmla="*/ 823162 w 1467036"/>
                <a:gd name="connsiteY506" fmla="*/ 948985 h 1348373"/>
                <a:gd name="connsiteX507" fmla="*/ 841912 w 1467036"/>
                <a:gd name="connsiteY507" fmla="*/ 948985 h 1348373"/>
                <a:gd name="connsiteX508" fmla="*/ 846056 w 1467036"/>
                <a:gd name="connsiteY508" fmla="*/ 945779 h 1348373"/>
                <a:gd name="connsiteX509" fmla="*/ 852322 w 1467036"/>
                <a:gd name="connsiteY509" fmla="*/ 944199 h 1348373"/>
                <a:gd name="connsiteX510" fmla="*/ 860662 w 1467036"/>
                <a:gd name="connsiteY510" fmla="*/ 939265 h 1348373"/>
                <a:gd name="connsiteX511" fmla="*/ 864855 w 1467036"/>
                <a:gd name="connsiteY511" fmla="*/ 940894 h 1348373"/>
                <a:gd name="connsiteX512" fmla="*/ 871072 w 1467036"/>
                <a:gd name="connsiteY512" fmla="*/ 939265 h 1348373"/>
                <a:gd name="connsiteX513" fmla="*/ 866928 w 1467036"/>
                <a:gd name="connsiteY513" fmla="*/ 944199 h 1348373"/>
                <a:gd name="connsiteX514" fmla="*/ 862783 w 1467036"/>
                <a:gd name="connsiteY514" fmla="*/ 950614 h 1348373"/>
                <a:gd name="connsiteX515" fmla="*/ 856516 w 1467036"/>
                <a:gd name="connsiteY515" fmla="*/ 948985 h 1348373"/>
                <a:gd name="connsiteX516" fmla="*/ 854445 w 1467036"/>
                <a:gd name="connsiteY516" fmla="*/ 952192 h 1348373"/>
                <a:gd name="connsiteX517" fmla="*/ 860662 w 1467036"/>
                <a:gd name="connsiteY517" fmla="*/ 960284 h 1348373"/>
                <a:gd name="connsiteX518" fmla="*/ 864855 w 1467036"/>
                <a:gd name="connsiteY518" fmla="*/ 968327 h 1348373"/>
                <a:gd name="connsiteX519" fmla="*/ 869049 w 1467036"/>
                <a:gd name="connsiteY519" fmla="*/ 978195 h 1348373"/>
                <a:gd name="connsiteX520" fmla="*/ 869049 w 1467036"/>
                <a:gd name="connsiteY520" fmla="*/ 989494 h 1348373"/>
                <a:gd name="connsiteX521" fmla="*/ 866928 w 1467036"/>
                <a:gd name="connsiteY521" fmla="*/ 1003950 h 1348373"/>
                <a:gd name="connsiteX522" fmla="*/ 858588 w 1467036"/>
                <a:gd name="connsiteY522" fmla="*/ 1012042 h 1348373"/>
                <a:gd name="connsiteX523" fmla="*/ 860662 w 1467036"/>
                <a:gd name="connsiteY523" fmla="*/ 1015299 h 1348373"/>
                <a:gd name="connsiteX524" fmla="*/ 858588 w 1467036"/>
                <a:gd name="connsiteY524" fmla="*/ 1026549 h 1348373"/>
                <a:gd name="connsiteX525" fmla="*/ 864855 w 1467036"/>
                <a:gd name="connsiteY525" fmla="*/ 1031483 h 1348373"/>
                <a:gd name="connsiteX526" fmla="*/ 871072 w 1467036"/>
                <a:gd name="connsiteY526" fmla="*/ 1039525 h 1348373"/>
                <a:gd name="connsiteX527" fmla="*/ 873193 w 1467036"/>
                <a:gd name="connsiteY527" fmla="*/ 1049393 h 1348373"/>
                <a:gd name="connsiteX528" fmla="*/ 885676 w 1467036"/>
                <a:gd name="connsiteY528" fmla="*/ 1063899 h 1348373"/>
                <a:gd name="connsiteX529" fmla="*/ 896088 w 1467036"/>
                <a:gd name="connsiteY529" fmla="*/ 1065527 h 1348373"/>
                <a:gd name="connsiteX530" fmla="*/ 902354 w 1467036"/>
                <a:gd name="connsiteY530" fmla="*/ 1070461 h 1348373"/>
                <a:gd name="connsiteX531" fmla="*/ 904426 w 1467036"/>
                <a:gd name="connsiteY531" fmla="*/ 1078504 h 1348373"/>
                <a:gd name="connsiteX532" fmla="*/ 912764 w 1467036"/>
                <a:gd name="connsiteY532" fmla="*/ 1078504 h 1348373"/>
                <a:gd name="connsiteX533" fmla="*/ 914837 w 1467036"/>
                <a:gd name="connsiteY533" fmla="*/ 1075297 h 1348373"/>
                <a:gd name="connsiteX534" fmla="*/ 918981 w 1467036"/>
                <a:gd name="connsiteY534" fmla="*/ 1073668 h 1348373"/>
                <a:gd name="connsiteX535" fmla="*/ 927370 w 1467036"/>
                <a:gd name="connsiteY535" fmla="*/ 1076876 h 1348373"/>
                <a:gd name="connsiteX536" fmla="*/ 935659 w 1467036"/>
                <a:gd name="connsiteY536" fmla="*/ 1084918 h 1348373"/>
                <a:gd name="connsiteX537" fmla="*/ 943997 w 1467036"/>
                <a:gd name="connsiteY537" fmla="*/ 1084918 h 1348373"/>
                <a:gd name="connsiteX538" fmla="*/ 952335 w 1467036"/>
                <a:gd name="connsiteY538" fmla="*/ 1093010 h 1348373"/>
                <a:gd name="connsiteX539" fmla="*/ 954408 w 1467036"/>
                <a:gd name="connsiteY539" fmla="*/ 1099473 h 1348373"/>
                <a:gd name="connsiteX540" fmla="*/ 960674 w 1467036"/>
                <a:gd name="connsiteY540" fmla="*/ 1101053 h 1348373"/>
                <a:gd name="connsiteX541" fmla="*/ 969013 w 1467036"/>
                <a:gd name="connsiteY541" fmla="*/ 1109144 h 1348373"/>
                <a:gd name="connsiteX542" fmla="*/ 973206 w 1467036"/>
                <a:gd name="connsiteY542" fmla="*/ 1109144 h 1348373"/>
                <a:gd name="connsiteX543" fmla="*/ 977351 w 1467036"/>
                <a:gd name="connsiteY543" fmla="*/ 1104210 h 1348373"/>
                <a:gd name="connsiteX544" fmla="*/ 989834 w 1467036"/>
                <a:gd name="connsiteY544" fmla="*/ 1099276 h 1348373"/>
                <a:gd name="connsiteX545" fmla="*/ 994027 w 1467036"/>
                <a:gd name="connsiteY545" fmla="*/ 1092812 h 1348373"/>
                <a:gd name="connsiteX546" fmla="*/ 1002317 w 1467036"/>
                <a:gd name="connsiteY546" fmla="*/ 1092812 h 1348373"/>
                <a:gd name="connsiteX547" fmla="*/ 1012728 w 1467036"/>
                <a:gd name="connsiteY547" fmla="*/ 1084721 h 1348373"/>
                <a:gd name="connsiteX548" fmla="*/ 1018994 w 1467036"/>
                <a:gd name="connsiteY548" fmla="*/ 1086399 h 1348373"/>
                <a:gd name="connsiteX549" fmla="*/ 1023188 w 1467036"/>
                <a:gd name="connsiteY549" fmla="*/ 1083142 h 1348373"/>
                <a:gd name="connsiteX550" fmla="*/ 1021116 w 1467036"/>
                <a:gd name="connsiteY550" fmla="*/ 1079935 h 1348373"/>
                <a:gd name="connsiteX551" fmla="*/ 1012728 w 1467036"/>
                <a:gd name="connsiteY551" fmla="*/ 1078307 h 1348373"/>
                <a:gd name="connsiteX552" fmla="*/ 1014850 w 1467036"/>
                <a:gd name="connsiteY552" fmla="*/ 1073373 h 1348373"/>
                <a:gd name="connsiteX553" fmla="*/ 1029405 w 1467036"/>
                <a:gd name="connsiteY553" fmla="*/ 1065330 h 1348373"/>
                <a:gd name="connsiteX554" fmla="*/ 1041938 w 1467036"/>
                <a:gd name="connsiteY554" fmla="*/ 1073373 h 1348373"/>
                <a:gd name="connsiteX555" fmla="*/ 1039815 w 1467036"/>
                <a:gd name="connsiteY555" fmla="*/ 1079836 h 1348373"/>
                <a:gd name="connsiteX556" fmla="*/ 1027332 w 1467036"/>
                <a:gd name="connsiteY556" fmla="*/ 1086300 h 1348373"/>
                <a:gd name="connsiteX557" fmla="*/ 1029405 w 1467036"/>
                <a:gd name="connsiteY557" fmla="*/ 1092714 h 1348373"/>
                <a:gd name="connsiteX558" fmla="*/ 1033598 w 1467036"/>
                <a:gd name="connsiteY558" fmla="*/ 1092714 h 1348373"/>
                <a:gd name="connsiteX559" fmla="*/ 1039815 w 1467036"/>
                <a:gd name="connsiteY559" fmla="*/ 1087780 h 1348373"/>
                <a:gd name="connsiteX560" fmla="*/ 1046131 w 1467036"/>
                <a:gd name="connsiteY560" fmla="*/ 1084524 h 1348373"/>
                <a:gd name="connsiteX561" fmla="*/ 1052348 w 1467036"/>
                <a:gd name="connsiteY561" fmla="*/ 1087780 h 1348373"/>
                <a:gd name="connsiteX562" fmla="*/ 1052348 w 1467036"/>
                <a:gd name="connsiteY562" fmla="*/ 1094194 h 1348373"/>
                <a:gd name="connsiteX563" fmla="*/ 1048155 w 1467036"/>
                <a:gd name="connsiteY563" fmla="*/ 1094194 h 1348373"/>
                <a:gd name="connsiteX564" fmla="*/ 1041938 w 1467036"/>
                <a:gd name="connsiteY564" fmla="*/ 1099128 h 1348373"/>
                <a:gd name="connsiteX565" fmla="*/ 1052348 w 1467036"/>
                <a:gd name="connsiteY565" fmla="*/ 1108996 h 1348373"/>
                <a:gd name="connsiteX566" fmla="*/ 1054421 w 1467036"/>
                <a:gd name="connsiteY566" fmla="*/ 1118864 h 1348373"/>
                <a:gd name="connsiteX567" fmla="*/ 1056542 w 1467036"/>
                <a:gd name="connsiteY567" fmla="*/ 1117286 h 1348373"/>
                <a:gd name="connsiteX568" fmla="*/ 1062759 w 1467036"/>
                <a:gd name="connsiteY568" fmla="*/ 1118864 h 1348373"/>
                <a:gd name="connsiteX569" fmla="*/ 1062759 w 1467036"/>
                <a:gd name="connsiteY569" fmla="*/ 1123798 h 1348373"/>
                <a:gd name="connsiteX570" fmla="*/ 1066953 w 1467036"/>
                <a:gd name="connsiteY570" fmla="*/ 1130213 h 1348373"/>
                <a:gd name="connsiteX571" fmla="*/ 1073170 w 1467036"/>
                <a:gd name="connsiteY571" fmla="*/ 1123798 h 1348373"/>
                <a:gd name="connsiteX572" fmla="*/ 1073170 w 1467036"/>
                <a:gd name="connsiteY572" fmla="*/ 1113930 h 1348373"/>
                <a:gd name="connsiteX573" fmla="*/ 1066953 w 1467036"/>
                <a:gd name="connsiteY573" fmla="*/ 1118864 h 1348373"/>
                <a:gd name="connsiteX574" fmla="*/ 1064831 w 1467036"/>
                <a:gd name="connsiteY574" fmla="*/ 1115657 h 1348373"/>
                <a:gd name="connsiteX575" fmla="*/ 1069026 w 1467036"/>
                <a:gd name="connsiteY575" fmla="*/ 1110723 h 1348373"/>
                <a:gd name="connsiteX576" fmla="*/ 1087774 w 1467036"/>
                <a:gd name="connsiteY576" fmla="*/ 1110723 h 1348373"/>
                <a:gd name="connsiteX577" fmla="*/ 1089847 w 1467036"/>
                <a:gd name="connsiteY577" fmla="*/ 1113980 h 1348373"/>
                <a:gd name="connsiteX578" fmla="*/ 1091919 w 1467036"/>
                <a:gd name="connsiteY578" fmla="*/ 1110723 h 1348373"/>
                <a:gd name="connsiteX579" fmla="*/ 1100257 w 1467036"/>
                <a:gd name="connsiteY579" fmla="*/ 1099473 h 1348373"/>
                <a:gd name="connsiteX580" fmla="*/ 1119007 w 1467036"/>
                <a:gd name="connsiteY580" fmla="*/ 1091382 h 1348373"/>
                <a:gd name="connsiteX581" fmla="*/ 1129468 w 1467036"/>
                <a:gd name="connsiteY581" fmla="*/ 1083339 h 1348373"/>
                <a:gd name="connsiteX582" fmla="*/ 1125273 w 1467036"/>
                <a:gd name="connsiteY582" fmla="*/ 1083339 h 1348373"/>
                <a:gd name="connsiteX583" fmla="*/ 1121079 w 1467036"/>
                <a:gd name="connsiteY583" fmla="*/ 1084918 h 1348373"/>
                <a:gd name="connsiteX584" fmla="*/ 1121079 w 1467036"/>
                <a:gd name="connsiteY584" fmla="*/ 1083339 h 1348373"/>
                <a:gd name="connsiteX585" fmla="*/ 1114863 w 1467036"/>
                <a:gd name="connsiteY585" fmla="*/ 1081711 h 1348373"/>
                <a:gd name="connsiteX586" fmla="*/ 1123152 w 1467036"/>
                <a:gd name="connsiteY586" fmla="*/ 1080132 h 1348373"/>
                <a:gd name="connsiteX587" fmla="*/ 1131490 w 1467036"/>
                <a:gd name="connsiteY587" fmla="*/ 1080132 h 1348373"/>
                <a:gd name="connsiteX588" fmla="*/ 1146292 w 1467036"/>
                <a:gd name="connsiteY588" fmla="*/ 1076876 h 1348373"/>
                <a:gd name="connsiteX589" fmla="*/ 1173380 w 1467036"/>
                <a:gd name="connsiteY589" fmla="*/ 1071942 h 1348373"/>
                <a:gd name="connsiteX590" fmla="*/ 1196275 w 1467036"/>
                <a:gd name="connsiteY590" fmla="*/ 1076876 h 1348373"/>
                <a:gd name="connsiteX591" fmla="*/ 1204613 w 1467036"/>
                <a:gd name="connsiteY591" fmla="*/ 1071942 h 1348373"/>
                <a:gd name="connsiteX592" fmla="*/ 1204613 w 1467036"/>
                <a:gd name="connsiteY592" fmla="*/ 1065478 h 1348373"/>
                <a:gd name="connsiteX593" fmla="*/ 1210879 w 1467036"/>
                <a:gd name="connsiteY593" fmla="*/ 1065478 h 1348373"/>
                <a:gd name="connsiteX594" fmla="*/ 1219217 w 1467036"/>
                <a:gd name="connsiteY594" fmla="*/ 1062271 h 1348373"/>
                <a:gd name="connsiteX595" fmla="*/ 1225434 w 1467036"/>
                <a:gd name="connsiteY595" fmla="*/ 1050972 h 1348373"/>
                <a:gd name="connsiteX596" fmla="*/ 1221289 w 1467036"/>
                <a:gd name="connsiteY596" fmla="*/ 1039673 h 1348373"/>
                <a:gd name="connsiteX597" fmla="*/ 1221289 w 1467036"/>
                <a:gd name="connsiteY597" fmla="*/ 1033111 h 1348373"/>
                <a:gd name="connsiteX598" fmla="*/ 1233822 w 1467036"/>
                <a:gd name="connsiteY598" fmla="*/ 1021812 h 1348373"/>
                <a:gd name="connsiteX599" fmla="*/ 1233822 w 1467036"/>
                <a:gd name="connsiteY599" fmla="*/ 1004049 h 1348373"/>
                <a:gd name="connsiteX600" fmla="*/ 1240039 w 1467036"/>
                <a:gd name="connsiteY600" fmla="*/ 996007 h 1348373"/>
                <a:gd name="connsiteX601" fmla="*/ 1242111 w 1467036"/>
                <a:gd name="connsiteY601" fmla="*/ 984757 h 1348373"/>
                <a:gd name="connsiteX602" fmla="*/ 1248377 w 1467036"/>
                <a:gd name="connsiteY602" fmla="*/ 981550 h 1348373"/>
                <a:gd name="connsiteX603" fmla="*/ 1248377 w 1467036"/>
                <a:gd name="connsiteY603" fmla="*/ 975086 h 1348373"/>
                <a:gd name="connsiteX604" fmla="*/ 1271321 w 1467036"/>
                <a:gd name="connsiteY604" fmla="*/ 952489 h 1348373"/>
                <a:gd name="connsiteX605" fmla="*/ 1277538 w 1467036"/>
                <a:gd name="connsiteY605" fmla="*/ 950910 h 1348373"/>
                <a:gd name="connsiteX606" fmla="*/ 1279610 w 1467036"/>
                <a:gd name="connsiteY606" fmla="*/ 938032 h 1348373"/>
                <a:gd name="connsiteX607" fmla="*/ 1290021 w 1467036"/>
                <a:gd name="connsiteY607" fmla="*/ 928164 h 1348373"/>
                <a:gd name="connsiteX608" fmla="*/ 1294215 w 1467036"/>
                <a:gd name="connsiteY608" fmla="*/ 915237 h 1348373"/>
                <a:gd name="connsiteX609" fmla="*/ 1302553 w 1467036"/>
                <a:gd name="connsiteY609" fmla="*/ 907194 h 1348373"/>
                <a:gd name="connsiteX610" fmla="*/ 1302553 w 1467036"/>
                <a:gd name="connsiteY610" fmla="*/ 900780 h 1348373"/>
                <a:gd name="connsiteX611" fmla="*/ 1308770 w 1467036"/>
                <a:gd name="connsiteY611" fmla="*/ 899102 h 1348373"/>
                <a:gd name="connsiteX612" fmla="*/ 1315036 w 1467036"/>
                <a:gd name="connsiteY612" fmla="*/ 886224 h 1348373"/>
                <a:gd name="connsiteX613" fmla="*/ 1310843 w 1467036"/>
                <a:gd name="connsiteY613" fmla="*/ 883017 h 1348373"/>
                <a:gd name="connsiteX614" fmla="*/ 1321253 w 1467036"/>
                <a:gd name="connsiteY614" fmla="*/ 878083 h 1348373"/>
                <a:gd name="connsiteX615" fmla="*/ 1329641 w 1467036"/>
                <a:gd name="connsiteY615" fmla="*/ 868215 h 1348373"/>
                <a:gd name="connsiteX616" fmla="*/ 1333786 w 1467036"/>
                <a:gd name="connsiteY616" fmla="*/ 865008 h 1348373"/>
                <a:gd name="connsiteX617" fmla="*/ 1337980 w 1467036"/>
                <a:gd name="connsiteY617" fmla="*/ 853709 h 1348373"/>
                <a:gd name="connsiteX618" fmla="*/ 1350463 w 1467036"/>
                <a:gd name="connsiteY618" fmla="*/ 852081 h 1348373"/>
                <a:gd name="connsiteX619" fmla="*/ 1356679 w 1467036"/>
                <a:gd name="connsiteY619" fmla="*/ 848874 h 1348373"/>
                <a:gd name="connsiteX620" fmla="*/ 1344197 w 1467036"/>
                <a:gd name="connsiteY620" fmla="*/ 848874 h 1348373"/>
                <a:gd name="connsiteX621" fmla="*/ 1348390 w 1467036"/>
                <a:gd name="connsiteY621" fmla="*/ 845667 h 1348373"/>
                <a:gd name="connsiteX622" fmla="*/ 1360873 w 1467036"/>
                <a:gd name="connsiteY622" fmla="*/ 844039 h 1348373"/>
                <a:gd name="connsiteX623" fmla="*/ 1371285 w 1467036"/>
                <a:gd name="connsiteY623" fmla="*/ 837624 h 1348373"/>
                <a:gd name="connsiteX624" fmla="*/ 1375478 w 1467036"/>
                <a:gd name="connsiteY624" fmla="*/ 831160 h 1348373"/>
                <a:gd name="connsiteX625" fmla="*/ 1373357 w 1467036"/>
                <a:gd name="connsiteY625" fmla="*/ 826226 h 1348373"/>
                <a:gd name="connsiteX626" fmla="*/ 1375478 w 1467036"/>
                <a:gd name="connsiteY626" fmla="*/ 819813 h 1348373"/>
                <a:gd name="connsiteX627" fmla="*/ 1385889 w 1467036"/>
                <a:gd name="connsiteY627" fmla="*/ 813349 h 1348373"/>
                <a:gd name="connsiteX628" fmla="*/ 1385889 w 1467036"/>
                <a:gd name="connsiteY628" fmla="*/ 806885 h 1348373"/>
                <a:gd name="connsiteX629" fmla="*/ 1394178 w 1467036"/>
                <a:gd name="connsiteY629" fmla="*/ 803678 h 1348373"/>
                <a:gd name="connsiteX630" fmla="*/ 1402516 w 1467036"/>
                <a:gd name="connsiteY630" fmla="*/ 792379 h 1348373"/>
                <a:gd name="connsiteX631" fmla="*/ 1402516 w 1467036"/>
                <a:gd name="connsiteY631" fmla="*/ 786409 h 1348373"/>
                <a:gd name="connsiteX632" fmla="*/ 1406711 w 1467036"/>
                <a:gd name="connsiteY632" fmla="*/ 776541 h 1348373"/>
                <a:gd name="connsiteX633" fmla="*/ 1402516 w 1467036"/>
                <a:gd name="connsiteY633" fmla="*/ 773284 h 1348373"/>
                <a:gd name="connsiteX634" fmla="*/ 1404589 w 1467036"/>
                <a:gd name="connsiteY634" fmla="*/ 768350 h 1348373"/>
                <a:gd name="connsiteX635" fmla="*/ 1412977 w 1467036"/>
                <a:gd name="connsiteY635" fmla="*/ 749059 h 1348373"/>
                <a:gd name="connsiteX636" fmla="*/ 1417121 w 1467036"/>
                <a:gd name="connsiteY636" fmla="*/ 737710 h 1348373"/>
                <a:gd name="connsiteX637" fmla="*/ 1429604 w 1467036"/>
                <a:gd name="connsiteY637" fmla="*/ 718418 h 1348373"/>
                <a:gd name="connsiteX638" fmla="*/ 1429604 w 1467036"/>
                <a:gd name="connsiteY638" fmla="*/ 710326 h 1348373"/>
                <a:gd name="connsiteX639" fmla="*/ 1435871 w 1467036"/>
                <a:gd name="connsiteY639" fmla="*/ 695870 h 1348373"/>
                <a:gd name="connsiteX640" fmla="*/ 1446282 w 1467036"/>
                <a:gd name="connsiteY640" fmla="*/ 689406 h 1348373"/>
                <a:gd name="connsiteX641" fmla="*/ 1448403 w 1467036"/>
                <a:gd name="connsiteY641" fmla="*/ 681314 h 1348373"/>
                <a:gd name="connsiteX642" fmla="*/ 1446282 w 1467036"/>
                <a:gd name="connsiteY642" fmla="*/ 671446 h 1348373"/>
                <a:gd name="connsiteX643" fmla="*/ 1452548 w 1467036"/>
                <a:gd name="connsiteY643" fmla="*/ 664982 h 1348373"/>
                <a:gd name="connsiteX644" fmla="*/ 1446282 w 1467036"/>
                <a:gd name="connsiteY644" fmla="*/ 650476 h 1348373"/>
                <a:gd name="connsiteX645" fmla="*/ 1448403 w 1467036"/>
                <a:gd name="connsiteY645" fmla="*/ 644013 h 1348373"/>
                <a:gd name="connsiteX646" fmla="*/ 1442137 w 1467036"/>
                <a:gd name="connsiteY646" fmla="*/ 631135 h 1348373"/>
                <a:gd name="connsiteX647" fmla="*/ 1440016 w 1467036"/>
                <a:gd name="connsiteY647" fmla="*/ 627928 h 1348373"/>
                <a:gd name="connsiteX648" fmla="*/ 1440016 w 1467036"/>
                <a:gd name="connsiteY648" fmla="*/ 621464 h 1348373"/>
                <a:gd name="connsiteX649" fmla="*/ 1442137 w 1467036"/>
                <a:gd name="connsiteY649" fmla="*/ 618257 h 1348373"/>
                <a:gd name="connsiteX650" fmla="*/ 1442137 w 1467036"/>
                <a:gd name="connsiteY650" fmla="*/ 611793 h 1348373"/>
                <a:gd name="connsiteX651" fmla="*/ 1448403 w 1467036"/>
                <a:gd name="connsiteY651" fmla="*/ 601925 h 1348373"/>
                <a:gd name="connsiteX652" fmla="*/ 1448403 w 1467036"/>
                <a:gd name="connsiteY652" fmla="*/ 581005 h 1348373"/>
                <a:gd name="connsiteX653" fmla="*/ 1452548 w 1467036"/>
                <a:gd name="connsiteY653" fmla="*/ 574542 h 1348373"/>
                <a:gd name="connsiteX654" fmla="*/ 1448403 w 1467036"/>
                <a:gd name="connsiteY654" fmla="*/ 571334 h 1348373"/>
                <a:gd name="connsiteX655" fmla="*/ 1446282 w 1467036"/>
                <a:gd name="connsiteY655" fmla="*/ 564871 h 1348373"/>
                <a:gd name="connsiteX656" fmla="*/ 1448403 w 1467036"/>
                <a:gd name="connsiteY656" fmla="*/ 553621 h 1348373"/>
                <a:gd name="connsiteX657" fmla="*/ 1444210 w 1467036"/>
                <a:gd name="connsiteY657" fmla="*/ 551944 h 1348373"/>
                <a:gd name="connsiteX658" fmla="*/ 1448403 w 1467036"/>
                <a:gd name="connsiteY658" fmla="*/ 545529 h 1348373"/>
                <a:gd name="connsiteX659" fmla="*/ 1442137 w 1467036"/>
                <a:gd name="connsiteY659" fmla="*/ 542273 h 1348373"/>
                <a:gd name="connsiteX660" fmla="*/ 1437944 w 1467036"/>
                <a:gd name="connsiteY660" fmla="*/ 537339 h 1348373"/>
                <a:gd name="connsiteX661" fmla="*/ 1437944 w 1467036"/>
                <a:gd name="connsiteY661" fmla="*/ 529247 h 1348373"/>
                <a:gd name="connsiteX662" fmla="*/ 1429604 w 1467036"/>
                <a:gd name="connsiteY662" fmla="*/ 524313 h 1348373"/>
                <a:gd name="connsiteX663" fmla="*/ 1425460 w 1467036"/>
                <a:gd name="connsiteY663" fmla="*/ 514445 h 1348373"/>
                <a:gd name="connsiteX664" fmla="*/ 1423387 w 1467036"/>
                <a:gd name="connsiteY664" fmla="*/ 506403 h 1348373"/>
                <a:gd name="connsiteX665" fmla="*/ 1417121 w 1467036"/>
                <a:gd name="connsiteY665" fmla="*/ 498311 h 1348373"/>
                <a:gd name="connsiteX666" fmla="*/ 1412977 w 1467036"/>
                <a:gd name="connsiteY666" fmla="*/ 498311 h 1348373"/>
                <a:gd name="connsiteX667" fmla="*/ 1406711 w 1467036"/>
                <a:gd name="connsiteY667" fmla="*/ 499988 h 1348373"/>
                <a:gd name="connsiteX668" fmla="*/ 1402516 w 1467036"/>
                <a:gd name="connsiteY668" fmla="*/ 496732 h 1348373"/>
                <a:gd name="connsiteX669" fmla="*/ 1402516 w 1467036"/>
                <a:gd name="connsiteY669" fmla="*/ 489874 h 1348373"/>
                <a:gd name="connsiteX670" fmla="*/ 1398373 w 1467036"/>
                <a:gd name="connsiteY670" fmla="*/ 488245 h 1348373"/>
                <a:gd name="connsiteX671" fmla="*/ 1396299 w 1467036"/>
                <a:gd name="connsiteY671" fmla="*/ 483311 h 1348373"/>
                <a:gd name="connsiteX672" fmla="*/ 1387961 w 1467036"/>
                <a:gd name="connsiteY672" fmla="*/ 476897 h 1348373"/>
                <a:gd name="connsiteX673" fmla="*/ 1383768 w 1467036"/>
                <a:gd name="connsiteY673" fmla="*/ 473640 h 1348373"/>
                <a:gd name="connsiteX674" fmla="*/ 1385889 w 1467036"/>
                <a:gd name="connsiteY674" fmla="*/ 468706 h 1348373"/>
                <a:gd name="connsiteX675" fmla="*/ 1381695 w 1467036"/>
                <a:gd name="connsiteY675" fmla="*/ 462243 h 1348373"/>
                <a:gd name="connsiteX676" fmla="*/ 1387961 w 1467036"/>
                <a:gd name="connsiteY676" fmla="*/ 454200 h 1348373"/>
                <a:gd name="connsiteX677" fmla="*/ 1390033 w 1467036"/>
                <a:gd name="connsiteY677" fmla="*/ 444332 h 1348373"/>
                <a:gd name="connsiteX678" fmla="*/ 1387961 w 1467036"/>
                <a:gd name="connsiteY678" fmla="*/ 439398 h 1348373"/>
                <a:gd name="connsiteX679" fmla="*/ 1387961 w 1467036"/>
                <a:gd name="connsiteY679" fmla="*/ 434464 h 1348373"/>
                <a:gd name="connsiteX680" fmla="*/ 1383768 w 1467036"/>
                <a:gd name="connsiteY680" fmla="*/ 431257 h 1348373"/>
                <a:gd name="connsiteX681" fmla="*/ 1381695 w 1467036"/>
                <a:gd name="connsiteY681" fmla="*/ 434464 h 1348373"/>
                <a:gd name="connsiteX682" fmla="*/ 1383768 w 1467036"/>
                <a:gd name="connsiteY682" fmla="*/ 437671 h 1348373"/>
                <a:gd name="connsiteX683" fmla="*/ 1381695 w 1467036"/>
                <a:gd name="connsiteY683" fmla="*/ 440928 h 1348373"/>
                <a:gd name="connsiteX684" fmla="*/ 1365068 w 1467036"/>
                <a:gd name="connsiteY684" fmla="*/ 428001 h 1348373"/>
                <a:gd name="connsiteX685" fmla="*/ 1362945 w 1467036"/>
                <a:gd name="connsiteY685" fmla="*/ 421586 h 1348373"/>
                <a:gd name="connsiteX686" fmla="*/ 1358802 w 1467036"/>
                <a:gd name="connsiteY686" fmla="*/ 423215 h 1348373"/>
                <a:gd name="connsiteX687" fmla="*/ 1358802 w 1467036"/>
                <a:gd name="connsiteY687" fmla="*/ 426422 h 1348373"/>
                <a:gd name="connsiteX688" fmla="*/ 1356679 w 1467036"/>
                <a:gd name="connsiteY688" fmla="*/ 431356 h 1348373"/>
                <a:gd name="connsiteX689" fmla="*/ 1360873 w 1467036"/>
                <a:gd name="connsiteY689" fmla="*/ 441224 h 1348373"/>
                <a:gd name="connsiteX690" fmla="*/ 1352535 w 1467036"/>
                <a:gd name="connsiteY690" fmla="*/ 433181 h 1348373"/>
                <a:gd name="connsiteX691" fmla="*/ 1350463 w 1467036"/>
                <a:gd name="connsiteY691" fmla="*/ 436389 h 1348373"/>
                <a:gd name="connsiteX692" fmla="*/ 1350463 w 1467036"/>
                <a:gd name="connsiteY692" fmla="*/ 431455 h 1348373"/>
                <a:gd name="connsiteX693" fmla="*/ 1346269 w 1467036"/>
                <a:gd name="connsiteY693" fmla="*/ 426520 h 1348373"/>
                <a:gd name="connsiteX694" fmla="*/ 1344197 w 1467036"/>
                <a:gd name="connsiteY694" fmla="*/ 408807 h 1348373"/>
                <a:gd name="connsiteX695" fmla="*/ 1348390 w 1467036"/>
                <a:gd name="connsiteY695" fmla="*/ 407179 h 1348373"/>
                <a:gd name="connsiteX696" fmla="*/ 1348390 w 1467036"/>
                <a:gd name="connsiteY696" fmla="*/ 402245 h 1348373"/>
                <a:gd name="connsiteX697" fmla="*/ 1340052 w 1467036"/>
                <a:gd name="connsiteY697" fmla="*/ 399038 h 1348373"/>
                <a:gd name="connsiteX698" fmla="*/ 1344197 w 1467036"/>
                <a:gd name="connsiteY698" fmla="*/ 394104 h 1348373"/>
                <a:gd name="connsiteX699" fmla="*/ 1337980 w 1467036"/>
                <a:gd name="connsiteY699" fmla="*/ 389170 h 1348373"/>
                <a:gd name="connsiteX700" fmla="*/ 1340052 w 1467036"/>
                <a:gd name="connsiteY700" fmla="*/ 384236 h 1348373"/>
                <a:gd name="connsiteX701" fmla="*/ 1327421 w 1467036"/>
                <a:gd name="connsiteY701" fmla="*/ 376884 h 1348373"/>
                <a:gd name="connsiteX702" fmla="*/ 1325299 w 1467036"/>
                <a:gd name="connsiteY702" fmla="*/ 370421 h 1348373"/>
                <a:gd name="connsiteX703" fmla="*/ 1323227 w 1467036"/>
                <a:gd name="connsiteY703" fmla="*/ 362378 h 1348373"/>
                <a:gd name="connsiteX704" fmla="*/ 1331516 w 1467036"/>
                <a:gd name="connsiteY704" fmla="*/ 363957 h 1348373"/>
                <a:gd name="connsiteX705" fmla="*/ 1331516 w 1467036"/>
                <a:gd name="connsiteY705" fmla="*/ 357493 h 1348373"/>
                <a:gd name="connsiteX706" fmla="*/ 1325299 w 1467036"/>
                <a:gd name="connsiteY706" fmla="*/ 349451 h 1348373"/>
                <a:gd name="connsiteX707" fmla="*/ 1321105 w 1467036"/>
                <a:gd name="connsiteY707" fmla="*/ 351079 h 1348373"/>
                <a:gd name="connsiteX708" fmla="*/ 1314888 w 1467036"/>
                <a:gd name="connsiteY708" fmla="*/ 349451 h 1348373"/>
                <a:gd name="connsiteX709" fmla="*/ 1308622 w 1467036"/>
                <a:gd name="connsiteY709" fmla="*/ 341408 h 1348373"/>
                <a:gd name="connsiteX710" fmla="*/ 1302405 w 1467036"/>
                <a:gd name="connsiteY710" fmla="*/ 341408 h 1348373"/>
                <a:gd name="connsiteX711" fmla="*/ 1296140 w 1467036"/>
                <a:gd name="connsiteY711" fmla="*/ 336474 h 1348373"/>
                <a:gd name="connsiteX712" fmla="*/ 1291994 w 1467036"/>
                <a:gd name="connsiteY712" fmla="*/ 339682 h 1348373"/>
                <a:gd name="connsiteX713" fmla="*/ 1289873 w 1467036"/>
                <a:gd name="connsiteY713" fmla="*/ 336474 h 1348373"/>
                <a:gd name="connsiteX714" fmla="*/ 1281583 w 1467036"/>
                <a:gd name="connsiteY714" fmla="*/ 333267 h 1348373"/>
                <a:gd name="connsiteX715" fmla="*/ 1277390 w 1467036"/>
                <a:gd name="connsiteY715" fmla="*/ 338201 h 1348373"/>
                <a:gd name="connsiteX716" fmla="*/ 1281583 w 1467036"/>
                <a:gd name="connsiteY716" fmla="*/ 331787 h 1348373"/>
                <a:gd name="connsiteX717" fmla="*/ 1287800 w 1467036"/>
                <a:gd name="connsiteY717" fmla="*/ 330159 h 1348373"/>
                <a:gd name="connsiteX718" fmla="*/ 1287800 w 1467036"/>
                <a:gd name="connsiteY718" fmla="*/ 326952 h 1348373"/>
                <a:gd name="connsiteX719" fmla="*/ 1285728 w 1467036"/>
                <a:gd name="connsiteY719" fmla="*/ 322018 h 1348373"/>
                <a:gd name="connsiteX720" fmla="*/ 1277390 w 1467036"/>
                <a:gd name="connsiteY720" fmla="*/ 323646 h 1348373"/>
                <a:gd name="connsiteX721" fmla="*/ 1271173 w 1467036"/>
                <a:gd name="connsiteY721" fmla="*/ 323646 h 1348373"/>
                <a:gd name="connsiteX722" fmla="*/ 1269052 w 1467036"/>
                <a:gd name="connsiteY722" fmla="*/ 318712 h 1348373"/>
                <a:gd name="connsiteX723" fmla="*/ 1267226 w 1467036"/>
                <a:gd name="connsiteY723" fmla="*/ 318712 h 1348373"/>
                <a:gd name="connsiteX724" fmla="*/ 1252423 w 1467036"/>
                <a:gd name="connsiteY724" fmla="*/ 312248 h 1348373"/>
                <a:gd name="connsiteX725" fmla="*/ 1244135 w 1467036"/>
                <a:gd name="connsiteY725" fmla="*/ 300949 h 1348373"/>
                <a:gd name="connsiteX726" fmla="*/ 1244135 w 1467036"/>
                <a:gd name="connsiteY726" fmla="*/ 290045 h 1348373"/>
                <a:gd name="connsiteX727" fmla="*/ 1239940 w 1467036"/>
                <a:gd name="connsiteY727" fmla="*/ 282003 h 1348373"/>
                <a:gd name="connsiteX728" fmla="*/ 1239940 w 1467036"/>
                <a:gd name="connsiteY728" fmla="*/ 277069 h 1348373"/>
                <a:gd name="connsiteX729" fmla="*/ 1242012 w 1467036"/>
                <a:gd name="connsiteY729" fmla="*/ 275490 h 1348373"/>
                <a:gd name="connsiteX730" fmla="*/ 1246206 w 1467036"/>
                <a:gd name="connsiteY730" fmla="*/ 262612 h 1348373"/>
                <a:gd name="connsiteX731" fmla="*/ 1242012 w 1467036"/>
                <a:gd name="connsiteY731" fmla="*/ 246478 h 1348373"/>
                <a:gd name="connsiteX732" fmla="*/ 1237868 w 1467036"/>
                <a:gd name="connsiteY732" fmla="*/ 240014 h 1348373"/>
                <a:gd name="connsiteX733" fmla="*/ 1242012 w 1467036"/>
                <a:gd name="connsiteY733" fmla="*/ 238435 h 1348373"/>
                <a:gd name="connsiteX734" fmla="*/ 1235795 w 1467036"/>
                <a:gd name="connsiteY734" fmla="*/ 233501 h 1348373"/>
                <a:gd name="connsiteX735" fmla="*/ 1231602 w 1467036"/>
                <a:gd name="connsiteY735" fmla="*/ 233501 h 1348373"/>
                <a:gd name="connsiteX736" fmla="*/ 1225336 w 1467036"/>
                <a:gd name="connsiteY736" fmla="*/ 222251 h 1348373"/>
                <a:gd name="connsiteX737" fmla="*/ 1223313 w 1467036"/>
                <a:gd name="connsiteY737" fmla="*/ 206117 h 1348373"/>
                <a:gd name="connsiteX738" fmla="*/ 1227408 w 1467036"/>
                <a:gd name="connsiteY738" fmla="*/ 204538 h 1348373"/>
                <a:gd name="connsiteX739" fmla="*/ 1227408 w 1467036"/>
                <a:gd name="connsiteY739" fmla="*/ 201331 h 1348373"/>
                <a:gd name="connsiteX740" fmla="*/ 1223313 w 1467036"/>
                <a:gd name="connsiteY740" fmla="*/ 198075 h 1348373"/>
                <a:gd name="connsiteX741" fmla="*/ 1223313 w 1467036"/>
                <a:gd name="connsiteY741" fmla="*/ 167484 h 1348373"/>
                <a:gd name="connsiteX742" fmla="*/ 1225336 w 1467036"/>
                <a:gd name="connsiteY742" fmla="*/ 165855 h 1348373"/>
                <a:gd name="connsiteX743" fmla="*/ 1225336 w 1467036"/>
                <a:gd name="connsiteY743" fmla="*/ 160921 h 1348373"/>
                <a:gd name="connsiteX744" fmla="*/ 1212852 w 1467036"/>
                <a:gd name="connsiteY744" fmla="*/ 151053 h 1348373"/>
                <a:gd name="connsiteX745" fmla="*/ 1204514 w 1467036"/>
                <a:gd name="connsiteY745" fmla="*/ 146119 h 1348373"/>
                <a:gd name="connsiteX746" fmla="*/ 1206586 w 1467036"/>
                <a:gd name="connsiteY746" fmla="*/ 144491 h 1348373"/>
                <a:gd name="connsiteX747" fmla="*/ 1200369 w 1467036"/>
                <a:gd name="connsiteY747" fmla="*/ 136449 h 1348373"/>
                <a:gd name="connsiteX748" fmla="*/ 1192031 w 1467036"/>
                <a:gd name="connsiteY748" fmla="*/ 141383 h 1348373"/>
                <a:gd name="connsiteX749" fmla="*/ 1187886 w 1467036"/>
                <a:gd name="connsiteY749" fmla="*/ 139754 h 1348373"/>
                <a:gd name="connsiteX750" fmla="*/ 1183693 w 1467036"/>
                <a:gd name="connsiteY750" fmla="*/ 146218 h 1348373"/>
                <a:gd name="connsiteX751" fmla="*/ 1177426 w 1467036"/>
                <a:gd name="connsiteY751" fmla="*/ 146218 h 1348373"/>
                <a:gd name="connsiteX752" fmla="*/ 1171209 w 1467036"/>
                <a:gd name="connsiteY752" fmla="*/ 136350 h 1348373"/>
                <a:gd name="connsiteX753" fmla="*/ 1171209 w 1467036"/>
                <a:gd name="connsiteY753" fmla="*/ 131416 h 1348373"/>
                <a:gd name="connsiteX754" fmla="*/ 1167015 w 1467036"/>
                <a:gd name="connsiteY754" fmla="*/ 121548 h 1348373"/>
                <a:gd name="connsiteX755" fmla="*/ 1169088 w 1467036"/>
                <a:gd name="connsiteY755" fmla="*/ 110298 h 1348373"/>
                <a:gd name="connsiteX756" fmla="*/ 1169088 w 1467036"/>
                <a:gd name="connsiteY756" fmla="*/ 97371 h 1348373"/>
                <a:gd name="connsiteX757" fmla="*/ 1164943 w 1467036"/>
                <a:gd name="connsiteY757" fmla="*/ 97371 h 1348373"/>
                <a:gd name="connsiteX758" fmla="*/ 1162871 w 1467036"/>
                <a:gd name="connsiteY758" fmla="*/ 92437 h 1348373"/>
                <a:gd name="connsiteX759" fmla="*/ 1164943 w 1467036"/>
                <a:gd name="connsiteY759" fmla="*/ 87503 h 1348373"/>
                <a:gd name="connsiteX760" fmla="*/ 1160798 w 1467036"/>
                <a:gd name="connsiteY760" fmla="*/ 81039 h 1348373"/>
                <a:gd name="connsiteX761" fmla="*/ 1160798 w 1467036"/>
                <a:gd name="connsiteY761" fmla="*/ 75908 h 1348373"/>
                <a:gd name="connsiteX762" fmla="*/ 1156605 w 1467036"/>
                <a:gd name="connsiteY762" fmla="*/ 74280 h 1348373"/>
                <a:gd name="connsiteX763" fmla="*/ 1156605 w 1467036"/>
                <a:gd name="connsiteY763" fmla="*/ 66040 h 1348373"/>
                <a:gd name="connsiteX764" fmla="*/ 1160798 w 1467036"/>
                <a:gd name="connsiteY764" fmla="*/ 62833 h 1348373"/>
                <a:gd name="connsiteX765" fmla="*/ 1156605 w 1467036"/>
                <a:gd name="connsiteY765" fmla="*/ 59626 h 1348373"/>
                <a:gd name="connsiteX766" fmla="*/ 1150388 w 1467036"/>
                <a:gd name="connsiteY766" fmla="*/ 61254 h 1348373"/>
                <a:gd name="connsiteX767" fmla="*/ 1146194 w 1467036"/>
                <a:gd name="connsiteY767" fmla="*/ 58047 h 1348373"/>
                <a:gd name="connsiteX768" fmla="*/ 1148265 w 1467036"/>
                <a:gd name="connsiteY768" fmla="*/ 43541 h 1348373"/>
                <a:gd name="connsiteX769" fmla="*/ 1146194 w 1467036"/>
                <a:gd name="connsiteY769" fmla="*/ 40333 h 1348373"/>
                <a:gd name="connsiteX770" fmla="*/ 1144122 w 1467036"/>
                <a:gd name="connsiteY770" fmla="*/ 30465 h 1348373"/>
                <a:gd name="connsiteX771" fmla="*/ 1135783 w 1467036"/>
                <a:gd name="connsiteY771" fmla="*/ 28837 h 1348373"/>
                <a:gd name="connsiteX772" fmla="*/ 1135783 w 1467036"/>
                <a:gd name="connsiteY772" fmla="*/ 25630 h 1348373"/>
                <a:gd name="connsiteX773" fmla="*/ 1127444 w 1467036"/>
                <a:gd name="connsiteY773" fmla="*/ 28837 h 1348373"/>
                <a:gd name="connsiteX774" fmla="*/ 1123251 w 1467036"/>
                <a:gd name="connsiteY774" fmla="*/ 33771 h 1348373"/>
                <a:gd name="connsiteX775" fmla="*/ 1123251 w 1467036"/>
                <a:gd name="connsiteY775" fmla="*/ 45021 h 1348373"/>
                <a:gd name="connsiteX776" fmla="*/ 1119106 w 1467036"/>
                <a:gd name="connsiteY776" fmla="*/ 53063 h 1348373"/>
                <a:gd name="connsiteX777" fmla="*/ 1119106 w 1467036"/>
                <a:gd name="connsiteY777" fmla="*/ 62931 h 1348373"/>
                <a:gd name="connsiteX778" fmla="*/ 1114961 w 1467036"/>
                <a:gd name="connsiteY778" fmla="*/ 62931 h 1348373"/>
                <a:gd name="connsiteX779" fmla="*/ 1108696 w 1467036"/>
                <a:gd name="connsiteY779" fmla="*/ 72800 h 1348373"/>
                <a:gd name="connsiteX780" fmla="*/ 1102429 w 1467036"/>
                <a:gd name="connsiteY780" fmla="*/ 80891 h 1348373"/>
                <a:gd name="connsiteX781" fmla="*/ 1108696 w 1467036"/>
                <a:gd name="connsiteY781" fmla="*/ 84098 h 1348373"/>
                <a:gd name="connsiteX782" fmla="*/ 1114961 w 1467036"/>
                <a:gd name="connsiteY782" fmla="*/ 89032 h 1348373"/>
                <a:gd name="connsiteX783" fmla="*/ 1110767 w 1467036"/>
                <a:gd name="connsiteY783" fmla="*/ 92240 h 1348373"/>
                <a:gd name="connsiteX784" fmla="*/ 1106573 w 1467036"/>
                <a:gd name="connsiteY784" fmla="*/ 90661 h 1348373"/>
                <a:gd name="connsiteX785" fmla="*/ 1104551 w 1467036"/>
                <a:gd name="connsiteY785" fmla="*/ 97075 h 1348373"/>
                <a:gd name="connsiteX786" fmla="*/ 1100356 w 1467036"/>
                <a:gd name="connsiteY786" fmla="*/ 103538 h 1348373"/>
                <a:gd name="connsiteX787" fmla="*/ 1104551 w 1467036"/>
                <a:gd name="connsiteY787" fmla="*/ 109953 h 1348373"/>
                <a:gd name="connsiteX788" fmla="*/ 1106573 w 1467036"/>
                <a:gd name="connsiteY788" fmla="*/ 116417 h 1348373"/>
                <a:gd name="connsiteX789" fmla="*/ 1100356 w 1467036"/>
                <a:gd name="connsiteY789" fmla="*/ 113209 h 1348373"/>
                <a:gd name="connsiteX790" fmla="*/ 1096163 w 1467036"/>
                <a:gd name="connsiteY790" fmla="*/ 116417 h 1348373"/>
                <a:gd name="connsiteX791" fmla="*/ 1092018 w 1467036"/>
                <a:gd name="connsiteY791" fmla="*/ 130923 h 1348373"/>
                <a:gd name="connsiteX792" fmla="*/ 1096163 w 1467036"/>
                <a:gd name="connsiteY792" fmla="*/ 142221 h 1348373"/>
                <a:gd name="connsiteX793" fmla="*/ 1094139 w 1467036"/>
                <a:gd name="connsiteY793" fmla="*/ 153471 h 1348373"/>
                <a:gd name="connsiteX794" fmla="*/ 1098284 w 1467036"/>
                <a:gd name="connsiteY794" fmla="*/ 161563 h 1348373"/>
                <a:gd name="connsiteX795" fmla="*/ 1096163 w 1467036"/>
                <a:gd name="connsiteY795" fmla="*/ 169605 h 1348373"/>
                <a:gd name="connsiteX796" fmla="*/ 1089946 w 1467036"/>
                <a:gd name="connsiteY796" fmla="*/ 176069 h 1348373"/>
                <a:gd name="connsiteX797" fmla="*/ 1089946 w 1467036"/>
                <a:gd name="connsiteY797" fmla="*/ 181003 h 1348373"/>
                <a:gd name="connsiteX798" fmla="*/ 1081607 w 1467036"/>
                <a:gd name="connsiteY798" fmla="*/ 192351 h 1348373"/>
                <a:gd name="connsiteX799" fmla="*/ 1081607 w 1467036"/>
                <a:gd name="connsiteY799" fmla="*/ 210064 h 1348373"/>
                <a:gd name="connsiteX800" fmla="*/ 1075341 w 1467036"/>
                <a:gd name="connsiteY800" fmla="*/ 216479 h 1348373"/>
                <a:gd name="connsiteX801" fmla="*/ 1077463 w 1467036"/>
                <a:gd name="connsiteY801" fmla="*/ 222942 h 1348373"/>
                <a:gd name="connsiteX802" fmla="*/ 1073268 w 1467036"/>
                <a:gd name="connsiteY802" fmla="*/ 232810 h 1348373"/>
                <a:gd name="connsiteX803" fmla="*/ 1067051 w 1467036"/>
                <a:gd name="connsiteY803" fmla="*/ 237744 h 1348373"/>
                <a:gd name="connsiteX804" fmla="*/ 1064930 w 1467036"/>
                <a:gd name="connsiteY804" fmla="*/ 249043 h 1348373"/>
                <a:gd name="connsiteX805" fmla="*/ 1054519 w 1467036"/>
                <a:gd name="connsiteY805" fmla="*/ 257086 h 1348373"/>
                <a:gd name="connsiteX806" fmla="*/ 1031625 w 1467036"/>
                <a:gd name="connsiteY806" fmla="*/ 265128 h 1348373"/>
                <a:gd name="connsiteX807" fmla="*/ 1021214 w 1467036"/>
                <a:gd name="connsiteY807" fmla="*/ 258665 h 1348373"/>
                <a:gd name="connsiteX808" fmla="*/ 1012826 w 1467036"/>
                <a:gd name="connsiteY808" fmla="*/ 258665 h 1348373"/>
                <a:gd name="connsiteX809" fmla="*/ 1008683 w 1467036"/>
                <a:gd name="connsiteY809" fmla="*/ 253730 h 1348373"/>
                <a:gd name="connsiteX810" fmla="*/ 998271 w 1467036"/>
                <a:gd name="connsiteY810" fmla="*/ 247267 h 1348373"/>
                <a:gd name="connsiteX811" fmla="*/ 998271 w 1467036"/>
                <a:gd name="connsiteY811" fmla="*/ 242333 h 1348373"/>
                <a:gd name="connsiteX812" fmla="*/ 996199 w 1467036"/>
                <a:gd name="connsiteY812" fmla="*/ 240705 h 1348373"/>
                <a:gd name="connsiteX813" fmla="*/ 994126 w 1467036"/>
                <a:gd name="connsiteY813" fmla="*/ 232662 h 1348373"/>
                <a:gd name="connsiteX814" fmla="*/ 985986 w 1467036"/>
                <a:gd name="connsiteY814" fmla="*/ 232662 h 1348373"/>
                <a:gd name="connsiteX815" fmla="*/ 977647 w 1467036"/>
                <a:gd name="connsiteY815" fmla="*/ 229455 h 1348373"/>
                <a:gd name="connsiteX816" fmla="*/ 967236 w 1467036"/>
                <a:gd name="connsiteY816" fmla="*/ 229455 h 1348373"/>
                <a:gd name="connsiteX817" fmla="*/ 956826 w 1467036"/>
                <a:gd name="connsiteY817" fmla="*/ 222992 h 1348373"/>
                <a:gd name="connsiteX818" fmla="*/ 954703 w 1467036"/>
                <a:gd name="connsiteY818" fmla="*/ 218058 h 1348373"/>
                <a:gd name="connsiteX819" fmla="*/ 946365 w 1467036"/>
                <a:gd name="connsiteY819" fmla="*/ 210015 h 1348373"/>
                <a:gd name="connsiteX820" fmla="*/ 938076 w 1467036"/>
                <a:gd name="connsiteY820" fmla="*/ 208387 h 1348373"/>
                <a:gd name="connsiteX821" fmla="*/ 929689 w 1467036"/>
                <a:gd name="connsiteY821" fmla="*/ 203453 h 1348373"/>
                <a:gd name="connsiteX822" fmla="*/ 927665 w 1467036"/>
                <a:gd name="connsiteY822" fmla="*/ 200246 h 1348373"/>
                <a:gd name="connsiteX823" fmla="*/ 923472 w 1467036"/>
                <a:gd name="connsiteY823" fmla="*/ 200246 h 1348373"/>
                <a:gd name="connsiteX824" fmla="*/ 919277 w 1467036"/>
                <a:gd name="connsiteY824" fmla="*/ 196989 h 1348373"/>
                <a:gd name="connsiteX825" fmla="*/ 910988 w 1467036"/>
                <a:gd name="connsiteY825" fmla="*/ 196989 h 1348373"/>
                <a:gd name="connsiteX826" fmla="*/ 904722 w 1467036"/>
                <a:gd name="connsiteY826" fmla="*/ 195410 h 1348373"/>
                <a:gd name="connsiteX827" fmla="*/ 906794 w 1467036"/>
                <a:gd name="connsiteY827" fmla="*/ 193782 h 1348373"/>
                <a:gd name="connsiteX828" fmla="*/ 898456 w 1467036"/>
                <a:gd name="connsiteY828" fmla="*/ 187319 h 1348373"/>
                <a:gd name="connsiteX829" fmla="*/ 896384 w 1467036"/>
                <a:gd name="connsiteY829" fmla="*/ 180855 h 1348373"/>
                <a:gd name="connsiteX830" fmla="*/ 888044 w 1467036"/>
                <a:gd name="connsiteY830" fmla="*/ 172812 h 1348373"/>
                <a:gd name="connsiteX831" fmla="*/ 881778 w 1467036"/>
                <a:gd name="connsiteY831" fmla="*/ 171234 h 1348373"/>
                <a:gd name="connsiteX832" fmla="*/ 873489 w 1467036"/>
                <a:gd name="connsiteY832" fmla="*/ 163142 h 1348373"/>
                <a:gd name="connsiteX833" fmla="*/ 873489 w 1467036"/>
                <a:gd name="connsiteY833" fmla="*/ 156727 h 1348373"/>
                <a:gd name="connsiteX834" fmla="*/ 879756 w 1467036"/>
                <a:gd name="connsiteY834" fmla="*/ 146859 h 1348373"/>
                <a:gd name="connsiteX835" fmla="*/ 881778 w 1467036"/>
                <a:gd name="connsiteY835" fmla="*/ 138817 h 1348373"/>
                <a:gd name="connsiteX836" fmla="*/ 888044 w 1467036"/>
                <a:gd name="connsiteY836" fmla="*/ 135561 h 1348373"/>
                <a:gd name="connsiteX837" fmla="*/ 890167 w 1467036"/>
                <a:gd name="connsiteY837" fmla="*/ 125693 h 1348373"/>
                <a:gd name="connsiteX838" fmla="*/ 894311 w 1467036"/>
                <a:gd name="connsiteY838" fmla="*/ 120758 h 1348373"/>
                <a:gd name="connsiteX839" fmla="*/ 888044 w 1467036"/>
                <a:gd name="connsiteY839" fmla="*/ 123965 h 1348373"/>
                <a:gd name="connsiteX840" fmla="*/ 881778 w 1467036"/>
                <a:gd name="connsiteY840" fmla="*/ 115874 h 1348373"/>
                <a:gd name="connsiteX841" fmla="*/ 890167 w 1467036"/>
                <a:gd name="connsiteY841" fmla="*/ 110939 h 1348373"/>
                <a:gd name="connsiteX842" fmla="*/ 888044 w 1467036"/>
                <a:gd name="connsiteY842" fmla="*/ 104476 h 1348373"/>
                <a:gd name="connsiteX843" fmla="*/ 892239 w 1467036"/>
                <a:gd name="connsiteY843" fmla="*/ 104476 h 1348373"/>
                <a:gd name="connsiteX844" fmla="*/ 896384 w 1467036"/>
                <a:gd name="connsiteY844" fmla="*/ 102848 h 1348373"/>
                <a:gd name="connsiteX845" fmla="*/ 898456 w 1467036"/>
                <a:gd name="connsiteY845" fmla="*/ 106055 h 1348373"/>
                <a:gd name="connsiteX846" fmla="*/ 904722 w 1467036"/>
                <a:gd name="connsiteY846" fmla="*/ 107683 h 1348373"/>
                <a:gd name="connsiteX847" fmla="*/ 915132 w 1467036"/>
                <a:gd name="connsiteY847" fmla="*/ 102749 h 1348373"/>
                <a:gd name="connsiteX848" fmla="*/ 917255 w 1467036"/>
                <a:gd name="connsiteY848" fmla="*/ 96286 h 1348373"/>
                <a:gd name="connsiteX849" fmla="*/ 910988 w 1467036"/>
                <a:gd name="connsiteY849" fmla="*/ 91352 h 1348373"/>
                <a:gd name="connsiteX850" fmla="*/ 915132 w 1467036"/>
                <a:gd name="connsiteY850" fmla="*/ 88144 h 1348373"/>
                <a:gd name="connsiteX851" fmla="*/ 921399 w 1467036"/>
                <a:gd name="connsiteY851" fmla="*/ 89773 h 1348373"/>
                <a:gd name="connsiteX852" fmla="*/ 923472 w 1467036"/>
                <a:gd name="connsiteY852" fmla="*/ 79905 h 1348373"/>
                <a:gd name="connsiteX853" fmla="*/ 929689 w 1467036"/>
                <a:gd name="connsiteY853" fmla="*/ 76697 h 1348373"/>
                <a:gd name="connsiteX854" fmla="*/ 933882 w 1467036"/>
                <a:gd name="connsiteY854" fmla="*/ 71763 h 1348373"/>
                <a:gd name="connsiteX855" fmla="*/ 933882 w 1467036"/>
                <a:gd name="connsiteY855" fmla="*/ 68556 h 1348373"/>
                <a:gd name="connsiteX856" fmla="*/ 927665 w 1467036"/>
                <a:gd name="connsiteY856" fmla="*/ 65300 h 1348373"/>
                <a:gd name="connsiteX857" fmla="*/ 921399 w 1467036"/>
                <a:gd name="connsiteY857" fmla="*/ 70234 h 1348373"/>
                <a:gd name="connsiteX858" fmla="*/ 917255 w 1467036"/>
                <a:gd name="connsiteY858" fmla="*/ 68606 h 1348373"/>
                <a:gd name="connsiteX859" fmla="*/ 917255 w 1467036"/>
                <a:gd name="connsiteY859" fmla="*/ 57356 h 1348373"/>
                <a:gd name="connsiteX860" fmla="*/ 910988 w 1467036"/>
                <a:gd name="connsiteY860" fmla="*/ 60563 h 1348373"/>
                <a:gd name="connsiteX861" fmla="*/ 902650 w 1467036"/>
                <a:gd name="connsiteY861" fmla="*/ 68606 h 1348373"/>
                <a:gd name="connsiteX862" fmla="*/ 906794 w 1467036"/>
                <a:gd name="connsiteY862" fmla="*/ 70234 h 1348373"/>
                <a:gd name="connsiteX863" fmla="*/ 906794 w 1467036"/>
                <a:gd name="connsiteY863" fmla="*/ 75168 h 1348373"/>
                <a:gd name="connsiteX864" fmla="*/ 900577 w 1467036"/>
                <a:gd name="connsiteY864" fmla="*/ 76796 h 1348373"/>
                <a:gd name="connsiteX865" fmla="*/ 894311 w 1467036"/>
                <a:gd name="connsiteY865" fmla="*/ 73540 h 1348373"/>
                <a:gd name="connsiteX866" fmla="*/ 894311 w 1467036"/>
                <a:gd name="connsiteY866" fmla="*/ 70974 h 1348373"/>
                <a:gd name="connsiteX867" fmla="*/ 890167 w 1467036"/>
                <a:gd name="connsiteY867" fmla="*/ 67767 h 1348373"/>
                <a:gd name="connsiteX868" fmla="*/ 888044 w 1467036"/>
                <a:gd name="connsiteY868" fmla="*/ 70974 h 1348373"/>
                <a:gd name="connsiteX869" fmla="*/ 883901 w 1467036"/>
                <a:gd name="connsiteY869" fmla="*/ 72553 h 1348373"/>
                <a:gd name="connsiteX870" fmla="*/ 883901 w 1467036"/>
                <a:gd name="connsiteY870" fmla="*/ 69346 h 1348373"/>
                <a:gd name="connsiteX871" fmla="*/ 888044 w 1467036"/>
                <a:gd name="connsiteY871" fmla="*/ 64412 h 1348373"/>
                <a:gd name="connsiteX872" fmla="*/ 888044 w 1467036"/>
                <a:gd name="connsiteY872" fmla="*/ 61106 h 1348373"/>
                <a:gd name="connsiteX873" fmla="*/ 883901 w 1467036"/>
                <a:gd name="connsiteY873" fmla="*/ 64313 h 1348373"/>
                <a:gd name="connsiteX874" fmla="*/ 879756 w 1467036"/>
                <a:gd name="connsiteY874" fmla="*/ 67569 h 1348373"/>
                <a:gd name="connsiteX875" fmla="*/ 871368 w 1467036"/>
                <a:gd name="connsiteY875" fmla="*/ 69148 h 1348373"/>
                <a:gd name="connsiteX876" fmla="*/ 871368 w 1467036"/>
                <a:gd name="connsiteY876" fmla="*/ 72356 h 1348373"/>
                <a:gd name="connsiteX877" fmla="*/ 867223 w 1467036"/>
                <a:gd name="connsiteY877" fmla="*/ 72356 h 1348373"/>
                <a:gd name="connsiteX878" fmla="*/ 865151 w 1467036"/>
                <a:gd name="connsiteY878" fmla="*/ 70777 h 1348373"/>
                <a:gd name="connsiteX879" fmla="*/ 856813 w 1467036"/>
                <a:gd name="connsiteY879" fmla="*/ 70777 h 1348373"/>
                <a:gd name="connsiteX880" fmla="*/ 856813 w 1467036"/>
                <a:gd name="connsiteY880" fmla="*/ 67569 h 1348373"/>
                <a:gd name="connsiteX881" fmla="*/ 852618 w 1467036"/>
                <a:gd name="connsiteY881" fmla="*/ 61106 h 1348373"/>
                <a:gd name="connsiteX882" fmla="*/ 848473 w 1467036"/>
                <a:gd name="connsiteY882" fmla="*/ 59478 h 1348373"/>
                <a:gd name="connsiteX883" fmla="*/ 840135 w 1467036"/>
                <a:gd name="connsiteY883" fmla="*/ 64412 h 1348373"/>
                <a:gd name="connsiteX884" fmla="*/ 833918 w 1467036"/>
                <a:gd name="connsiteY884" fmla="*/ 61205 h 1348373"/>
                <a:gd name="connsiteX885" fmla="*/ 829725 w 1467036"/>
                <a:gd name="connsiteY885" fmla="*/ 64412 h 1348373"/>
                <a:gd name="connsiteX886" fmla="*/ 827652 w 1467036"/>
                <a:gd name="connsiteY886" fmla="*/ 59478 h 1348373"/>
                <a:gd name="connsiteX887" fmla="*/ 825531 w 1467036"/>
                <a:gd name="connsiteY887" fmla="*/ 57899 h 1348373"/>
                <a:gd name="connsiteX888" fmla="*/ 821386 w 1467036"/>
                <a:gd name="connsiteY888" fmla="*/ 51435 h 1348373"/>
                <a:gd name="connsiteX889" fmla="*/ 813047 w 1467036"/>
                <a:gd name="connsiteY889" fmla="*/ 54642 h 1348373"/>
                <a:gd name="connsiteX890" fmla="*/ 802637 w 1467036"/>
                <a:gd name="connsiteY890" fmla="*/ 54642 h 1348373"/>
                <a:gd name="connsiteX891" fmla="*/ 796420 w 1467036"/>
                <a:gd name="connsiteY891" fmla="*/ 51435 h 1348373"/>
                <a:gd name="connsiteX892" fmla="*/ 796420 w 1467036"/>
                <a:gd name="connsiteY892" fmla="*/ 46501 h 1348373"/>
                <a:gd name="connsiteX893" fmla="*/ 790154 w 1467036"/>
                <a:gd name="connsiteY893" fmla="*/ 40087 h 1348373"/>
                <a:gd name="connsiteX894" fmla="*/ 788031 w 1467036"/>
                <a:gd name="connsiteY894" fmla="*/ 41666 h 1348373"/>
                <a:gd name="connsiteX895" fmla="*/ 788031 w 1467036"/>
                <a:gd name="connsiteY895" fmla="*/ 43294 h 1348373"/>
                <a:gd name="connsiteX896" fmla="*/ 777621 w 1467036"/>
                <a:gd name="connsiteY896" fmla="*/ 46501 h 1348373"/>
                <a:gd name="connsiteX897" fmla="*/ 775549 w 1467036"/>
                <a:gd name="connsiteY897" fmla="*/ 41567 h 1348373"/>
                <a:gd name="connsiteX898" fmla="*/ 769332 w 1467036"/>
                <a:gd name="connsiteY898" fmla="*/ 39988 h 1348373"/>
                <a:gd name="connsiteX899" fmla="*/ 758872 w 1467036"/>
                <a:gd name="connsiteY899" fmla="*/ 35054 h 1348373"/>
                <a:gd name="connsiteX900" fmla="*/ 756800 w 1467036"/>
                <a:gd name="connsiteY900" fmla="*/ 36682 h 1348373"/>
                <a:gd name="connsiteX901" fmla="*/ 752605 w 1467036"/>
                <a:gd name="connsiteY901" fmla="*/ 33475 h 1348373"/>
                <a:gd name="connsiteX902" fmla="*/ 746388 w 1467036"/>
                <a:gd name="connsiteY902" fmla="*/ 38409 h 1348373"/>
                <a:gd name="connsiteX903" fmla="*/ 754727 w 1467036"/>
                <a:gd name="connsiteY903" fmla="*/ 43343 h 1348373"/>
                <a:gd name="connsiteX904" fmla="*/ 752605 w 1467036"/>
                <a:gd name="connsiteY904" fmla="*/ 44922 h 1348373"/>
                <a:gd name="connsiteX905" fmla="*/ 758872 w 1467036"/>
                <a:gd name="connsiteY905" fmla="*/ 44922 h 1348373"/>
                <a:gd name="connsiteX906" fmla="*/ 765138 w 1467036"/>
                <a:gd name="connsiteY906" fmla="*/ 43343 h 1348373"/>
                <a:gd name="connsiteX907" fmla="*/ 775549 w 1467036"/>
                <a:gd name="connsiteY907" fmla="*/ 51386 h 1348373"/>
                <a:gd name="connsiteX908" fmla="*/ 773476 w 1467036"/>
                <a:gd name="connsiteY908" fmla="*/ 54593 h 1348373"/>
                <a:gd name="connsiteX909" fmla="*/ 775549 w 1467036"/>
                <a:gd name="connsiteY909" fmla="*/ 64461 h 1348373"/>
                <a:gd name="connsiteX910" fmla="*/ 768888 w 1467036"/>
                <a:gd name="connsiteY910" fmla="*/ 66040 h 1348373"/>
                <a:gd name="connsiteX911" fmla="*/ 766767 w 1467036"/>
                <a:gd name="connsiteY911" fmla="*/ 72503 h 1348373"/>
                <a:gd name="connsiteX912" fmla="*/ 762622 w 1467036"/>
                <a:gd name="connsiteY912" fmla="*/ 67569 h 1348373"/>
                <a:gd name="connsiteX913" fmla="*/ 758427 w 1467036"/>
                <a:gd name="connsiteY913" fmla="*/ 67569 h 1348373"/>
                <a:gd name="connsiteX914" fmla="*/ 752162 w 1467036"/>
                <a:gd name="connsiteY914" fmla="*/ 70777 h 1348373"/>
                <a:gd name="connsiteX915" fmla="*/ 731339 w 1467036"/>
                <a:gd name="connsiteY915" fmla="*/ 70777 h 1348373"/>
                <a:gd name="connsiteX916" fmla="*/ 723051 w 1467036"/>
                <a:gd name="connsiteY916" fmla="*/ 65843 h 1348373"/>
                <a:gd name="connsiteX917" fmla="*/ 723051 w 1467036"/>
                <a:gd name="connsiteY917" fmla="*/ 67520 h 1348373"/>
                <a:gd name="connsiteX918" fmla="*/ 714712 w 1467036"/>
                <a:gd name="connsiteY918" fmla="*/ 70727 h 1348373"/>
                <a:gd name="connsiteX919" fmla="*/ 714712 w 1467036"/>
                <a:gd name="connsiteY919" fmla="*/ 75661 h 1348373"/>
                <a:gd name="connsiteX920" fmla="*/ 708446 w 1467036"/>
                <a:gd name="connsiteY920" fmla="*/ 75661 h 1348373"/>
                <a:gd name="connsiteX921" fmla="*/ 710518 w 1467036"/>
                <a:gd name="connsiteY921" fmla="*/ 83704 h 1348373"/>
                <a:gd name="connsiteX922" fmla="*/ 708446 w 1467036"/>
                <a:gd name="connsiteY922" fmla="*/ 80497 h 1348373"/>
                <a:gd name="connsiteX923" fmla="*/ 700108 w 1467036"/>
                <a:gd name="connsiteY923" fmla="*/ 77290 h 1348373"/>
                <a:gd name="connsiteX924" fmla="*/ 695963 w 1467036"/>
                <a:gd name="connsiteY924" fmla="*/ 82224 h 1348373"/>
                <a:gd name="connsiteX925" fmla="*/ 700108 w 1467036"/>
                <a:gd name="connsiteY925" fmla="*/ 85480 h 1348373"/>
                <a:gd name="connsiteX926" fmla="*/ 698035 w 1467036"/>
                <a:gd name="connsiteY926" fmla="*/ 88687 h 1348373"/>
                <a:gd name="connsiteX927" fmla="*/ 689696 w 1467036"/>
                <a:gd name="connsiteY927" fmla="*/ 87108 h 1348373"/>
                <a:gd name="connsiteX928" fmla="*/ 685553 w 1467036"/>
                <a:gd name="connsiteY928" fmla="*/ 90315 h 1348373"/>
                <a:gd name="connsiteX929" fmla="*/ 689696 w 1467036"/>
                <a:gd name="connsiteY929" fmla="*/ 93523 h 1348373"/>
                <a:gd name="connsiteX930" fmla="*/ 685553 w 1467036"/>
                <a:gd name="connsiteY930" fmla="*/ 95151 h 1348373"/>
                <a:gd name="connsiteX931" fmla="*/ 679286 w 1467036"/>
                <a:gd name="connsiteY931" fmla="*/ 98358 h 1348373"/>
                <a:gd name="connsiteX932" fmla="*/ 679286 w 1467036"/>
                <a:gd name="connsiteY932" fmla="*/ 101565 h 1348373"/>
                <a:gd name="connsiteX933" fmla="*/ 685553 w 1467036"/>
                <a:gd name="connsiteY933" fmla="*/ 106499 h 1348373"/>
                <a:gd name="connsiteX934" fmla="*/ 685553 w 1467036"/>
                <a:gd name="connsiteY934" fmla="*/ 109706 h 1348373"/>
                <a:gd name="connsiteX935" fmla="*/ 679286 w 1467036"/>
                <a:gd name="connsiteY935" fmla="*/ 106499 h 1348373"/>
                <a:gd name="connsiteX936" fmla="*/ 675141 w 1467036"/>
                <a:gd name="connsiteY936" fmla="*/ 111433 h 1348373"/>
                <a:gd name="connsiteX937" fmla="*/ 668826 w 1467036"/>
                <a:gd name="connsiteY937" fmla="*/ 111433 h 1348373"/>
                <a:gd name="connsiteX938" fmla="*/ 662609 w 1467036"/>
                <a:gd name="connsiteY938" fmla="*/ 119426 h 1348373"/>
                <a:gd name="connsiteX939" fmla="*/ 656392 w 1467036"/>
                <a:gd name="connsiteY939" fmla="*/ 129294 h 1348373"/>
                <a:gd name="connsiteX940" fmla="*/ 652199 w 1467036"/>
                <a:gd name="connsiteY940" fmla="*/ 130873 h 1348373"/>
                <a:gd name="connsiteX941" fmla="*/ 650125 w 1467036"/>
                <a:gd name="connsiteY941" fmla="*/ 138965 h 1348373"/>
                <a:gd name="connsiteX942" fmla="*/ 643859 w 1467036"/>
                <a:gd name="connsiteY942" fmla="*/ 142172 h 1348373"/>
                <a:gd name="connsiteX943" fmla="*/ 648004 w 1467036"/>
                <a:gd name="connsiteY943" fmla="*/ 147106 h 1348373"/>
                <a:gd name="connsiteX944" fmla="*/ 660537 w 1467036"/>
                <a:gd name="connsiteY944" fmla="*/ 148734 h 1348373"/>
                <a:gd name="connsiteX945" fmla="*/ 656392 w 1467036"/>
                <a:gd name="connsiteY945" fmla="*/ 150313 h 1348373"/>
                <a:gd name="connsiteX946" fmla="*/ 654270 w 1467036"/>
                <a:gd name="connsiteY946" fmla="*/ 153520 h 1348373"/>
                <a:gd name="connsiteX947" fmla="*/ 669073 w 1467036"/>
                <a:gd name="connsiteY947" fmla="*/ 158454 h 1348373"/>
                <a:gd name="connsiteX948" fmla="*/ 662856 w 1467036"/>
                <a:gd name="connsiteY948" fmla="*/ 160033 h 1348373"/>
                <a:gd name="connsiteX949" fmla="*/ 654517 w 1467036"/>
                <a:gd name="connsiteY949" fmla="*/ 160033 h 1348373"/>
                <a:gd name="connsiteX950" fmla="*/ 650372 w 1467036"/>
                <a:gd name="connsiteY950" fmla="*/ 155099 h 1348373"/>
                <a:gd name="connsiteX951" fmla="*/ 650372 w 1467036"/>
                <a:gd name="connsiteY951" fmla="*/ 160033 h 1348373"/>
                <a:gd name="connsiteX952" fmla="*/ 656639 w 1467036"/>
                <a:gd name="connsiteY952" fmla="*/ 163240 h 1348373"/>
                <a:gd name="connsiteX953" fmla="*/ 656639 w 1467036"/>
                <a:gd name="connsiteY953" fmla="*/ 169704 h 1348373"/>
                <a:gd name="connsiteX954" fmla="*/ 662856 w 1467036"/>
                <a:gd name="connsiteY954" fmla="*/ 177747 h 1348373"/>
                <a:gd name="connsiteX955" fmla="*/ 654517 w 1467036"/>
                <a:gd name="connsiteY955" fmla="*/ 171332 h 1348373"/>
                <a:gd name="connsiteX956" fmla="*/ 648251 w 1467036"/>
                <a:gd name="connsiteY956" fmla="*/ 161464 h 1348373"/>
                <a:gd name="connsiteX957" fmla="*/ 642034 w 1467036"/>
                <a:gd name="connsiteY957" fmla="*/ 161464 h 1348373"/>
                <a:gd name="connsiteX958" fmla="*/ 642034 w 1467036"/>
                <a:gd name="connsiteY958" fmla="*/ 164671 h 1348373"/>
                <a:gd name="connsiteX959" fmla="*/ 637840 w 1467036"/>
                <a:gd name="connsiteY959" fmla="*/ 169605 h 1348373"/>
                <a:gd name="connsiteX960" fmla="*/ 637840 w 1467036"/>
                <a:gd name="connsiteY960" fmla="*/ 164671 h 1348373"/>
                <a:gd name="connsiteX961" fmla="*/ 621163 w 1467036"/>
                <a:gd name="connsiteY961" fmla="*/ 154803 h 1348373"/>
                <a:gd name="connsiteX962" fmla="*/ 610752 w 1467036"/>
                <a:gd name="connsiteY962" fmla="*/ 158060 h 1348373"/>
                <a:gd name="connsiteX963" fmla="*/ 614946 w 1467036"/>
                <a:gd name="connsiteY963" fmla="*/ 161267 h 1348373"/>
                <a:gd name="connsiteX964" fmla="*/ 610752 w 1467036"/>
                <a:gd name="connsiteY964" fmla="*/ 164474 h 1348373"/>
                <a:gd name="connsiteX965" fmla="*/ 606608 w 1467036"/>
                <a:gd name="connsiteY965" fmla="*/ 161267 h 1348373"/>
                <a:gd name="connsiteX966" fmla="*/ 604535 w 1467036"/>
                <a:gd name="connsiteY966" fmla="*/ 161267 h 1348373"/>
                <a:gd name="connsiteX967" fmla="*/ 600342 w 1467036"/>
                <a:gd name="connsiteY967" fmla="*/ 164474 h 1348373"/>
                <a:gd name="connsiteX968" fmla="*/ 606608 w 1467036"/>
                <a:gd name="connsiteY968" fmla="*/ 170938 h 1348373"/>
                <a:gd name="connsiteX969" fmla="*/ 604535 w 1467036"/>
                <a:gd name="connsiteY969" fmla="*/ 174144 h 1348373"/>
                <a:gd name="connsiteX970" fmla="*/ 602463 w 1467036"/>
                <a:gd name="connsiteY970" fmla="*/ 172516 h 1348373"/>
                <a:gd name="connsiteX971" fmla="*/ 600342 w 1467036"/>
                <a:gd name="connsiteY971" fmla="*/ 172516 h 1348373"/>
                <a:gd name="connsiteX972" fmla="*/ 600342 w 1467036"/>
                <a:gd name="connsiteY972" fmla="*/ 175773 h 1348373"/>
                <a:gd name="connsiteX973" fmla="*/ 592052 w 1467036"/>
                <a:gd name="connsiteY973" fmla="*/ 178980 h 1348373"/>
                <a:gd name="connsiteX974" fmla="*/ 581642 w 1467036"/>
                <a:gd name="connsiteY974" fmla="*/ 180559 h 1348373"/>
                <a:gd name="connsiteX975" fmla="*/ 589930 w 1467036"/>
                <a:gd name="connsiteY975" fmla="*/ 177352 h 1348373"/>
                <a:gd name="connsiteX976" fmla="*/ 596197 w 1467036"/>
                <a:gd name="connsiteY976" fmla="*/ 170938 h 1348373"/>
                <a:gd name="connsiteX977" fmla="*/ 596197 w 1467036"/>
                <a:gd name="connsiteY977" fmla="*/ 161069 h 1348373"/>
                <a:gd name="connsiteX978" fmla="*/ 600342 w 1467036"/>
                <a:gd name="connsiteY978" fmla="*/ 154606 h 1348373"/>
                <a:gd name="connsiteX979" fmla="*/ 598269 w 1467036"/>
                <a:gd name="connsiteY979" fmla="*/ 151399 h 1348373"/>
                <a:gd name="connsiteX980" fmla="*/ 592052 w 1467036"/>
                <a:gd name="connsiteY980" fmla="*/ 151399 h 1348373"/>
                <a:gd name="connsiteX981" fmla="*/ 581395 w 1467036"/>
                <a:gd name="connsiteY981" fmla="*/ 135116 h 1348373"/>
                <a:gd name="connsiteX982" fmla="*/ 575079 w 1467036"/>
                <a:gd name="connsiteY982" fmla="*/ 127074 h 1348373"/>
                <a:gd name="connsiteX983" fmla="*/ 564669 w 1467036"/>
                <a:gd name="connsiteY983" fmla="*/ 125446 h 1348373"/>
                <a:gd name="connsiteX984" fmla="*/ 558452 w 1467036"/>
                <a:gd name="connsiteY984" fmla="*/ 122239 h 1348373"/>
                <a:gd name="connsiteX985" fmla="*/ 554257 w 1467036"/>
                <a:gd name="connsiteY985" fmla="*/ 123867 h 1348373"/>
                <a:gd name="connsiteX986" fmla="*/ 558452 w 1467036"/>
                <a:gd name="connsiteY986" fmla="*/ 127074 h 1348373"/>
                <a:gd name="connsiteX987" fmla="*/ 554257 w 1467036"/>
                <a:gd name="connsiteY987" fmla="*/ 128702 h 1348373"/>
                <a:gd name="connsiteX988" fmla="*/ 548041 w 1467036"/>
                <a:gd name="connsiteY988" fmla="*/ 135116 h 1348373"/>
                <a:gd name="connsiteX989" fmla="*/ 543846 w 1467036"/>
                <a:gd name="connsiteY989" fmla="*/ 133488 h 1348373"/>
                <a:gd name="connsiteX990" fmla="*/ 545969 w 1467036"/>
                <a:gd name="connsiteY990" fmla="*/ 130281 h 1348373"/>
                <a:gd name="connsiteX991" fmla="*/ 539702 w 1467036"/>
                <a:gd name="connsiteY991" fmla="*/ 131909 h 1348373"/>
                <a:gd name="connsiteX992" fmla="*/ 537629 w 1467036"/>
                <a:gd name="connsiteY992" fmla="*/ 135116 h 1348373"/>
                <a:gd name="connsiteX993" fmla="*/ 531364 w 1467036"/>
                <a:gd name="connsiteY993" fmla="*/ 127074 h 1348373"/>
                <a:gd name="connsiteX994" fmla="*/ 529291 w 1467036"/>
                <a:gd name="connsiteY994" fmla="*/ 125446 h 1348373"/>
                <a:gd name="connsiteX995" fmla="*/ 527170 w 1467036"/>
                <a:gd name="connsiteY995" fmla="*/ 130380 h 1348373"/>
                <a:gd name="connsiteX996" fmla="*/ 531364 w 1467036"/>
                <a:gd name="connsiteY996" fmla="*/ 133587 h 1348373"/>
                <a:gd name="connsiteX997" fmla="*/ 525147 w 1467036"/>
                <a:gd name="connsiteY997" fmla="*/ 138521 h 1348373"/>
                <a:gd name="connsiteX998" fmla="*/ 523025 w 1467036"/>
                <a:gd name="connsiteY998" fmla="*/ 144935 h 1348373"/>
                <a:gd name="connsiteX999" fmla="*/ 525147 w 1467036"/>
                <a:gd name="connsiteY999" fmla="*/ 148192 h 1348373"/>
                <a:gd name="connsiteX1000" fmla="*/ 518881 w 1467036"/>
                <a:gd name="connsiteY1000" fmla="*/ 151399 h 1348373"/>
                <a:gd name="connsiteX1001" fmla="*/ 514736 w 1467036"/>
                <a:gd name="connsiteY1001" fmla="*/ 148192 h 1348373"/>
                <a:gd name="connsiteX1002" fmla="*/ 510541 w 1467036"/>
                <a:gd name="connsiteY1002" fmla="*/ 146563 h 1348373"/>
                <a:gd name="connsiteX1003" fmla="*/ 508469 w 1467036"/>
                <a:gd name="connsiteY1003" fmla="*/ 143307 h 1348373"/>
                <a:gd name="connsiteX1004" fmla="*/ 514736 w 1467036"/>
                <a:gd name="connsiteY1004" fmla="*/ 138373 h 1348373"/>
                <a:gd name="connsiteX1005" fmla="*/ 508469 w 1467036"/>
                <a:gd name="connsiteY1005" fmla="*/ 138373 h 1348373"/>
                <a:gd name="connsiteX1006" fmla="*/ 506348 w 1467036"/>
                <a:gd name="connsiteY1006" fmla="*/ 144787 h 1348373"/>
                <a:gd name="connsiteX1007" fmla="*/ 498059 w 1467036"/>
                <a:gd name="connsiteY1007" fmla="*/ 146415 h 1348373"/>
                <a:gd name="connsiteX1008" fmla="*/ 495937 w 1467036"/>
                <a:gd name="connsiteY1008" fmla="*/ 151349 h 1348373"/>
                <a:gd name="connsiteX1009" fmla="*/ 493865 w 1467036"/>
                <a:gd name="connsiteY1009" fmla="*/ 157813 h 1348373"/>
                <a:gd name="connsiteX1010" fmla="*/ 504276 w 1467036"/>
                <a:gd name="connsiteY1010" fmla="*/ 161020 h 1348373"/>
                <a:gd name="connsiteX1011" fmla="*/ 495937 w 1467036"/>
                <a:gd name="connsiteY1011" fmla="*/ 167484 h 1348373"/>
                <a:gd name="connsiteX1012" fmla="*/ 489720 w 1467036"/>
                <a:gd name="connsiteY1012" fmla="*/ 164227 h 1348373"/>
                <a:gd name="connsiteX1013" fmla="*/ 479260 w 1467036"/>
                <a:gd name="connsiteY1013" fmla="*/ 169161 h 1348373"/>
                <a:gd name="connsiteX1014" fmla="*/ 481332 w 1467036"/>
                <a:gd name="connsiteY1014" fmla="*/ 172368 h 1348373"/>
                <a:gd name="connsiteX1015" fmla="*/ 491744 w 1467036"/>
                <a:gd name="connsiteY1015" fmla="*/ 173997 h 1348373"/>
                <a:gd name="connsiteX1016" fmla="*/ 487648 w 1467036"/>
                <a:gd name="connsiteY1016" fmla="*/ 178931 h 1348373"/>
                <a:gd name="connsiteX1017" fmla="*/ 483454 w 1467036"/>
                <a:gd name="connsiteY1017" fmla="*/ 180510 h 1348373"/>
                <a:gd name="connsiteX1018" fmla="*/ 477237 w 1467036"/>
                <a:gd name="connsiteY1018" fmla="*/ 172467 h 1348373"/>
                <a:gd name="connsiteX1019" fmla="*/ 470922 w 1467036"/>
                <a:gd name="connsiteY1019" fmla="*/ 178931 h 1348373"/>
                <a:gd name="connsiteX1020" fmla="*/ 462632 w 1467036"/>
                <a:gd name="connsiteY1020" fmla="*/ 180510 h 1348373"/>
                <a:gd name="connsiteX1021" fmla="*/ 464705 w 1467036"/>
                <a:gd name="connsiteY1021" fmla="*/ 183766 h 1348373"/>
                <a:gd name="connsiteX1022" fmla="*/ 466777 w 1467036"/>
                <a:gd name="connsiteY1022" fmla="*/ 188700 h 1348373"/>
                <a:gd name="connsiteX1023" fmla="*/ 466777 w 1467036"/>
                <a:gd name="connsiteY1023" fmla="*/ 191957 h 1348373"/>
                <a:gd name="connsiteX1024" fmla="*/ 470922 w 1467036"/>
                <a:gd name="connsiteY1024" fmla="*/ 191957 h 1348373"/>
                <a:gd name="connsiteX1025" fmla="*/ 466777 w 1467036"/>
                <a:gd name="connsiteY1025" fmla="*/ 196891 h 1348373"/>
                <a:gd name="connsiteX1026" fmla="*/ 468849 w 1467036"/>
                <a:gd name="connsiteY1026" fmla="*/ 201825 h 1348373"/>
                <a:gd name="connsiteX1027" fmla="*/ 462632 w 1467036"/>
                <a:gd name="connsiteY1027" fmla="*/ 205032 h 1348373"/>
                <a:gd name="connsiteX1028" fmla="*/ 460511 w 1467036"/>
                <a:gd name="connsiteY1028" fmla="*/ 208239 h 1348373"/>
                <a:gd name="connsiteX1029" fmla="*/ 473043 w 1467036"/>
                <a:gd name="connsiteY1029" fmla="*/ 211446 h 1348373"/>
                <a:gd name="connsiteX1030" fmla="*/ 464705 w 1467036"/>
                <a:gd name="connsiteY1030" fmla="*/ 214653 h 1348373"/>
                <a:gd name="connsiteX1031" fmla="*/ 462632 w 1467036"/>
                <a:gd name="connsiteY1031" fmla="*/ 216281 h 1348373"/>
                <a:gd name="connsiteX1032" fmla="*/ 456366 w 1467036"/>
                <a:gd name="connsiteY1032" fmla="*/ 216281 h 1348373"/>
                <a:gd name="connsiteX1033" fmla="*/ 452222 w 1467036"/>
                <a:gd name="connsiteY1033" fmla="*/ 211347 h 1348373"/>
                <a:gd name="connsiteX1034" fmla="*/ 445956 w 1467036"/>
                <a:gd name="connsiteY1034" fmla="*/ 208140 h 1348373"/>
                <a:gd name="connsiteX1035" fmla="*/ 439689 w 1467036"/>
                <a:gd name="connsiteY1035" fmla="*/ 211347 h 1348373"/>
                <a:gd name="connsiteX1036" fmla="*/ 437617 w 1467036"/>
                <a:gd name="connsiteY1036" fmla="*/ 208140 h 1348373"/>
                <a:gd name="connsiteX1037" fmla="*/ 431400 w 1467036"/>
                <a:gd name="connsiteY1037" fmla="*/ 203206 h 1348373"/>
                <a:gd name="connsiteX1038" fmla="*/ 427206 w 1467036"/>
                <a:gd name="connsiteY1038" fmla="*/ 206413 h 1348373"/>
                <a:gd name="connsiteX1039" fmla="*/ 435544 w 1467036"/>
                <a:gd name="connsiteY1039" fmla="*/ 212877 h 1348373"/>
                <a:gd name="connsiteX1040" fmla="*/ 431400 w 1467036"/>
                <a:gd name="connsiteY1040" fmla="*/ 214456 h 1348373"/>
                <a:gd name="connsiteX1041" fmla="*/ 429278 w 1467036"/>
                <a:gd name="connsiteY1041" fmla="*/ 219390 h 1348373"/>
                <a:gd name="connsiteX1042" fmla="*/ 435544 w 1467036"/>
                <a:gd name="connsiteY1042" fmla="*/ 225804 h 1348373"/>
                <a:gd name="connsiteX1043" fmla="*/ 443834 w 1467036"/>
                <a:gd name="connsiteY1043" fmla="*/ 225804 h 1348373"/>
                <a:gd name="connsiteX1044" fmla="*/ 439689 w 1467036"/>
                <a:gd name="connsiteY1044" fmla="*/ 230738 h 1348373"/>
                <a:gd name="connsiteX1045" fmla="*/ 439689 w 1467036"/>
                <a:gd name="connsiteY1045" fmla="*/ 235672 h 1348373"/>
                <a:gd name="connsiteX1046" fmla="*/ 437617 w 1467036"/>
                <a:gd name="connsiteY1046" fmla="*/ 233994 h 1348373"/>
                <a:gd name="connsiteX1047" fmla="*/ 433423 w 1467036"/>
                <a:gd name="connsiteY1047" fmla="*/ 233994 h 1348373"/>
                <a:gd name="connsiteX1048" fmla="*/ 433423 w 1467036"/>
                <a:gd name="connsiteY1048" fmla="*/ 240458 h 1348373"/>
                <a:gd name="connsiteX1049" fmla="*/ 431400 w 1467036"/>
                <a:gd name="connsiteY1049" fmla="*/ 246921 h 1348373"/>
                <a:gd name="connsiteX1050" fmla="*/ 429278 w 1467036"/>
                <a:gd name="connsiteY1050" fmla="*/ 254964 h 1348373"/>
                <a:gd name="connsiteX1051" fmla="*/ 419065 w 1467036"/>
                <a:gd name="connsiteY1051" fmla="*/ 233797 h 1348373"/>
                <a:gd name="connsiteX1052" fmla="*/ 410726 w 1467036"/>
                <a:gd name="connsiteY1052" fmla="*/ 220919 h 1348373"/>
                <a:gd name="connsiteX1053" fmla="*/ 406582 w 1467036"/>
                <a:gd name="connsiteY1053" fmla="*/ 215985 h 1348373"/>
                <a:gd name="connsiteX1054" fmla="*/ 408654 w 1467036"/>
                <a:gd name="connsiteY1054" fmla="*/ 207943 h 1348373"/>
                <a:gd name="connsiteX1055" fmla="*/ 406582 w 1467036"/>
                <a:gd name="connsiteY1055" fmla="*/ 212877 h 1348373"/>
                <a:gd name="connsiteX1056" fmla="*/ 398243 w 1467036"/>
                <a:gd name="connsiteY1056" fmla="*/ 217811 h 1348373"/>
                <a:gd name="connsiteX1057" fmla="*/ 396171 w 1467036"/>
                <a:gd name="connsiteY1057" fmla="*/ 225853 h 1348373"/>
                <a:gd name="connsiteX1058" fmla="*/ 391978 w 1467036"/>
                <a:gd name="connsiteY1058" fmla="*/ 225853 h 1348373"/>
                <a:gd name="connsiteX1059" fmla="*/ 389904 w 1467036"/>
                <a:gd name="connsiteY1059" fmla="*/ 230787 h 1348373"/>
                <a:gd name="connsiteX1060" fmla="*/ 383688 w 1467036"/>
                <a:gd name="connsiteY1060" fmla="*/ 229208 h 1348373"/>
                <a:gd name="connsiteX1061" fmla="*/ 379494 w 1467036"/>
                <a:gd name="connsiteY1061" fmla="*/ 234143 h 1348373"/>
                <a:gd name="connsiteX1062" fmla="*/ 373228 w 1467036"/>
                <a:gd name="connsiteY1062" fmla="*/ 239077 h 1348373"/>
                <a:gd name="connsiteX1063" fmla="*/ 375300 w 1467036"/>
                <a:gd name="connsiteY1063" fmla="*/ 247119 h 1348373"/>
                <a:gd name="connsiteX1064" fmla="*/ 375300 w 1467036"/>
                <a:gd name="connsiteY1064" fmla="*/ 263253 h 1348373"/>
                <a:gd name="connsiteX1065" fmla="*/ 377372 w 1467036"/>
                <a:gd name="connsiteY1065" fmla="*/ 264832 h 1348373"/>
                <a:gd name="connsiteX1066" fmla="*/ 377372 w 1467036"/>
                <a:gd name="connsiteY1066" fmla="*/ 269766 h 1348373"/>
                <a:gd name="connsiteX1067" fmla="*/ 371155 w 1467036"/>
                <a:gd name="connsiteY1067" fmla="*/ 273023 h 1348373"/>
                <a:gd name="connsiteX1068" fmla="*/ 366962 w 1467036"/>
                <a:gd name="connsiteY1068" fmla="*/ 279437 h 1348373"/>
                <a:gd name="connsiteX1069" fmla="*/ 358673 w 1467036"/>
                <a:gd name="connsiteY1069" fmla="*/ 281065 h 1348373"/>
                <a:gd name="connsiteX1070" fmla="*/ 358673 w 1467036"/>
                <a:gd name="connsiteY1070" fmla="*/ 285999 h 1348373"/>
                <a:gd name="connsiteX1071" fmla="*/ 350284 w 1467036"/>
                <a:gd name="connsiteY1071" fmla="*/ 290933 h 1348373"/>
                <a:gd name="connsiteX1072" fmla="*/ 350284 w 1467036"/>
                <a:gd name="connsiteY1072" fmla="*/ 297347 h 1348373"/>
                <a:gd name="connsiteX1073" fmla="*/ 346140 w 1467036"/>
                <a:gd name="connsiteY1073" fmla="*/ 302282 h 1348373"/>
                <a:gd name="connsiteX1074" fmla="*/ 333657 w 1467036"/>
                <a:gd name="connsiteY1074" fmla="*/ 315159 h 1348373"/>
                <a:gd name="connsiteX1075" fmla="*/ 312835 w 1467036"/>
                <a:gd name="connsiteY1075" fmla="*/ 326458 h 1348373"/>
                <a:gd name="connsiteX1076" fmla="*/ 294037 w 1467036"/>
                <a:gd name="connsiteY1076" fmla="*/ 328086 h 1348373"/>
                <a:gd name="connsiteX1077" fmla="*/ 285748 w 1467036"/>
                <a:gd name="connsiteY1077" fmla="*/ 329715 h 1348373"/>
                <a:gd name="connsiteX1078" fmla="*/ 275336 w 1467036"/>
                <a:gd name="connsiteY1078" fmla="*/ 331294 h 1348373"/>
                <a:gd name="connsiteX1079" fmla="*/ 266949 w 1467036"/>
                <a:gd name="connsiteY1079" fmla="*/ 332922 h 1348373"/>
                <a:gd name="connsiteX1080" fmla="*/ 258660 w 1467036"/>
                <a:gd name="connsiteY1080" fmla="*/ 331294 h 1348373"/>
                <a:gd name="connsiteX1081" fmla="*/ 246127 w 1467036"/>
                <a:gd name="connsiteY1081" fmla="*/ 334550 h 1348373"/>
                <a:gd name="connsiteX1082" fmla="*/ 246127 w 1467036"/>
                <a:gd name="connsiteY1082" fmla="*/ 339484 h 1348373"/>
                <a:gd name="connsiteX1083" fmla="*/ 237838 w 1467036"/>
                <a:gd name="connsiteY1083" fmla="*/ 342741 h 1348373"/>
                <a:gd name="connsiteX1084" fmla="*/ 214894 w 1467036"/>
                <a:gd name="connsiteY1084" fmla="*/ 342741 h 1348373"/>
                <a:gd name="connsiteX1085" fmla="*/ 208628 w 1467036"/>
                <a:gd name="connsiteY1085" fmla="*/ 345948 h 1348373"/>
                <a:gd name="connsiteX1086" fmla="*/ 206606 w 1467036"/>
                <a:gd name="connsiteY1086" fmla="*/ 350882 h 1348373"/>
                <a:gd name="connsiteX1087" fmla="*/ 191803 w 1467036"/>
                <a:gd name="connsiteY1087" fmla="*/ 355816 h 1348373"/>
                <a:gd name="connsiteX1088" fmla="*/ 181738 w 1467036"/>
                <a:gd name="connsiteY1088" fmla="*/ 355816 h 1348373"/>
                <a:gd name="connsiteX1089" fmla="*/ 175472 w 1467036"/>
                <a:gd name="connsiteY1089" fmla="*/ 354237 h 1348373"/>
                <a:gd name="connsiteX1090" fmla="*/ 169205 w 1467036"/>
                <a:gd name="connsiteY1090" fmla="*/ 354237 h 1348373"/>
                <a:gd name="connsiteX1091" fmla="*/ 167133 w 1467036"/>
                <a:gd name="connsiteY1091" fmla="*/ 350980 h 1348373"/>
                <a:gd name="connsiteX1092" fmla="*/ 160867 w 1467036"/>
                <a:gd name="connsiteY1092" fmla="*/ 354237 h 1348373"/>
                <a:gd name="connsiteX1093" fmla="*/ 154650 w 1467036"/>
                <a:gd name="connsiteY1093" fmla="*/ 360651 h 1348373"/>
                <a:gd name="connsiteX1094" fmla="*/ 139848 w 1467036"/>
                <a:gd name="connsiteY1094" fmla="*/ 363908 h 1348373"/>
                <a:gd name="connsiteX1095" fmla="*/ 137776 w 1467036"/>
                <a:gd name="connsiteY1095" fmla="*/ 365486 h 1348373"/>
                <a:gd name="connsiteX1096" fmla="*/ 133631 w 1467036"/>
                <a:gd name="connsiteY1096" fmla="*/ 365486 h 1348373"/>
                <a:gd name="connsiteX1097" fmla="*/ 123220 w 1467036"/>
                <a:gd name="connsiteY1097" fmla="*/ 375355 h 1348373"/>
                <a:gd name="connsiteX1098" fmla="*/ 106494 w 1467036"/>
                <a:gd name="connsiteY1098" fmla="*/ 381818 h 1348373"/>
                <a:gd name="connsiteX1099" fmla="*/ 85672 w 1467036"/>
                <a:gd name="connsiteY1099" fmla="*/ 386752 h 1348373"/>
                <a:gd name="connsiteX1100" fmla="*/ 77334 w 1467036"/>
                <a:gd name="connsiteY1100" fmla="*/ 398100 h 1348373"/>
                <a:gd name="connsiteX1101" fmla="*/ 77334 w 1467036"/>
                <a:gd name="connsiteY1101" fmla="*/ 407722 h 1348373"/>
                <a:gd name="connsiteX1102" fmla="*/ 68995 w 1467036"/>
                <a:gd name="connsiteY1102" fmla="*/ 414185 h 1348373"/>
                <a:gd name="connsiteX1103" fmla="*/ 62778 w 1467036"/>
                <a:gd name="connsiteY1103" fmla="*/ 410978 h 1348373"/>
                <a:gd name="connsiteX1104" fmla="*/ 66923 w 1467036"/>
                <a:gd name="connsiteY1104" fmla="*/ 407722 h 1348373"/>
                <a:gd name="connsiteX1105" fmla="*/ 64851 w 1467036"/>
                <a:gd name="connsiteY1105" fmla="*/ 402788 h 1348373"/>
                <a:gd name="connsiteX1106" fmla="*/ 68995 w 1467036"/>
                <a:gd name="connsiteY1106" fmla="*/ 394745 h 1348373"/>
                <a:gd name="connsiteX1107" fmla="*/ 68995 w 1467036"/>
                <a:gd name="connsiteY1107" fmla="*/ 386752 h 1348373"/>
                <a:gd name="connsiteX1108" fmla="*/ 56513 w 1467036"/>
                <a:gd name="connsiteY1108" fmla="*/ 394795 h 1348373"/>
                <a:gd name="connsiteX1109" fmla="*/ 54439 w 1467036"/>
                <a:gd name="connsiteY1109" fmla="*/ 404663 h 1348373"/>
                <a:gd name="connsiteX1110" fmla="*/ 46101 w 1467036"/>
                <a:gd name="connsiteY1110" fmla="*/ 417540 h 1348373"/>
                <a:gd name="connsiteX1111" fmla="*/ 52368 w 1467036"/>
                <a:gd name="connsiteY1111" fmla="*/ 427409 h 1348373"/>
                <a:gd name="connsiteX1112" fmla="*/ 48173 w 1467036"/>
                <a:gd name="connsiteY1112" fmla="*/ 435451 h 1348373"/>
                <a:gd name="connsiteX1113" fmla="*/ 48173 w 1467036"/>
                <a:gd name="connsiteY1113" fmla="*/ 448378 h 1348373"/>
                <a:gd name="connsiteX1114" fmla="*/ 33371 w 1467036"/>
                <a:gd name="connsiteY1114" fmla="*/ 464463 h 1348373"/>
                <a:gd name="connsiteX1115" fmla="*/ 29227 w 1467036"/>
                <a:gd name="connsiteY1115" fmla="*/ 483805 h 1348373"/>
                <a:gd name="connsiteX1116" fmla="*/ 33371 w 1467036"/>
                <a:gd name="connsiteY1116" fmla="*/ 495104 h 1348373"/>
                <a:gd name="connsiteX1117" fmla="*/ 31250 w 1467036"/>
                <a:gd name="connsiteY1117" fmla="*/ 509560 h 1348373"/>
                <a:gd name="connsiteX1118" fmla="*/ 43782 w 1467036"/>
                <a:gd name="connsiteY1118" fmla="*/ 527323 h 1348373"/>
                <a:gd name="connsiteX1119" fmla="*/ 43782 w 1467036"/>
                <a:gd name="connsiteY1119" fmla="*/ 534773 h 1348373"/>
                <a:gd name="connsiteX1120" fmla="*/ 47926 w 1467036"/>
                <a:gd name="connsiteY1120" fmla="*/ 539707 h 1348373"/>
                <a:gd name="connsiteX1121" fmla="*/ 43782 w 1467036"/>
                <a:gd name="connsiteY1121" fmla="*/ 547799 h 1348373"/>
                <a:gd name="connsiteX1122" fmla="*/ 47926 w 1467036"/>
                <a:gd name="connsiteY1122" fmla="*/ 557667 h 1348373"/>
                <a:gd name="connsiteX1123" fmla="*/ 39637 w 1467036"/>
                <a:gd name="connsiteY1123" fmla="*/ 559246 h 1348373"/>
                <a:gd name="connsiteX1124" fmla="*/ 35444 w 1467036"/>
                <a:gd name="connsiteY1124" fmla="*/ 554312 h 1348373"/>
                <a:gd name="connsiteX1125" fmla="*/ 35444 w 1467036"/>
                <a:gd name="connsiteY1125" fmla="*/ 542964 h 1348373"/>
                <a:gd name="connsiteX1126" fmla="*/ 31250 w 1467036"/>
                <a:gd name="connsiteY1126" fmla="*/ 549427 h 1348373"/>
                <a:gd name="connsiteX1127" fmla="*/ 29227 w 1467036"/>
                <a:gd name="connsiteY1127" fmla="*/ 547849 h 1348373"/>
                <a:gd name="connsiteX1128" fmla="*/ 29227 w 1467036"/>
                <a:gd name="connsiteY1128" fmla="*/ 537980 h 1348373"/>
                <a:gd name="connsiteX1129" fmla="*/ 22961 w 1467036"/>
                <a:gd name="connsiteY1129" fmla="*/ 523474 h 1348373"/>
                <a:gd name="connsiteX1130" fmla="*/ 16695 w 1467036"/>
                <a:gd name="connsiteY1130" fmla="*/ 529889 h 1348373"/>
                <a:gd name="connsiteX1131" fmla="*/ 18767 w 1467036"/>
                <a:gd name="connsiteY1131" fmla="*/ 544395 h 1348373"/>
                <a:gd name="connsiteX1132" fmla="*/ 29227 w 1467036"/>
                <a:gd name="connsiteY1132" fmla="*/ 552437 h 1348373"/>
                <a:gd name="connsiteX1133" fmla="*/ 35444 w 1467036"/>
                <a:gd name="connsiteY1133" fmla="*/ 563736 h 1348373"/>
                <a:gd name="connsiteX1134" fmla="*/ 25033 w 1467036"/>
                <a:gd name="connsiteY1134" fmla="*/ 565364 h 1348373"/>
                <a:gd name="connsiteX1135" fmla="*/ 16695 w 1467036"/>
                <a:gd name="connsiteY1135" fmla="*/ 555496 h 1348373"/>
                <a:gd name="connsiteX1136" fmla="*/ 14621 w 1467036"/>
                <a:gd name="connsiteY1136" fmla="*/ 545628 h 1348373"/>
                <a:gd name="connsiteX1137" fmla="*/ 12550 w 1467036"/>
                <a:gd name="connsiteY1137" fmla="*/ 548835 h 1348373"/>
                <a:gd name="connsiteX1138" fmla="*/ 8356 w 1467036"/>
                <a:gd name="connsiteY1138" fmla="*/ 552042 h 1348373"/>
                <a:gd name="connsiteX1139" fmla="*/ 14621 w 1467036"/>
                <a:gd name="connsiteY1139" fmla="*/ 561910 h 1348373"/>
                <a:gd name="connsiteX1140" fmla="*/ 27105 w 1467036"/>
                <a:gd name="connsiteY1140" fmla="*/ 574838 h 1348373"/>
                <a:gd name="connsiteX1141" fmla="*/ 33371 w 1467036"/>
                <a:gd name="connsiteY1141" fmla="*/ 592551 h 1348373"/>
                <a:gd name="connsiteX1142" fmla="*/ 33371 w 1467036"/>
                <a:gd name="connsiteY1142" fmla="*/ 624819 h 1348373"/>
                <a:gd name="connsiteX1143" fmla="*/ 37516 w 1467036"/>
                <a:gd name="connsiteY1143" fmla="*/ 629753 h 1348373"/>
                <a:gd name="connsiteX1144" fmla="*/ 41661 w 1467036"/>
                <a:gd name="connsiteY1144" fmla="*/ 647466 h 1348373"/>
                <a:gd name="connsiteX1145" fmla="*/ 52121 w 1467036"/>
                <a:gd name="connsiteY1145" fmla="*/ 670065 h 1348373"/>
                <a:gd name="connsiteX1146" fmla="*/ 47926 w 1467036"/>
                <a:gd name="connsiteY1146" fmla="*/ 678107 h 1348373"/>
                <a:gd name="connsiteX1147" fmla="*/ 50049 w 1467036"/>
                <a:gd name="connsiteY1147" fmla="*/ 713583 h 1348373"/>
                <a:gd name="connsiteX1148" fmla="*/ 47926 w 1467036"/>
                <a:gd name="connsiteY1148" fmla="*/ 718517 h 1348373"/>
                <a:gd name="connsiteX1149" fmla="*/ 52121 w 1467036"/>
                <a:gd name="connsiteY1149" fmla="*/ 728385 h 1348373"/>
                <a:gd name="connsiteX1150" fmla="*/ 52121 w 1467036"/>
                <a:gd name="connsiteY1150" fmla="*/ 738253 h 1348373"/>
                <a:gd name="connsiteX1151" fmla="*/ 60459 w 1467036"/>
                <a:gd name="connsiteY1151" fmla="*/ 754387 h 1348373"/>
                <a:gd name="connsiteX1152" fmla="*/ 60459 w 1467036"/>
                <a:gd name="connsiteY1152" fmla="*/ 762430 h 1348373"/>
                <a:gd name="connsiteX1153" fmla="*/ 52121 w 1467036"/>
                <a:gd name="connsiteY1153" fmla="*/ 765686 h 1348373"/>
                <a:gd name="connsiteX1154" fmla="*/ 56266 w 1467036"/>
                <a:gd name="connsiteY1154" fmla="*/ 768893 h 1348373"/>
                <a:gd name="connsiteX1155" fmla="*/ 54193 w 1467036"/>
                <a:gd name="connsiteY1155" fmla="*/ 776985 h 1348373"/>
                <a:gd name="connsiteX1156" fmla="*/ 52121 w 1467036"/>
                <a:gd name="connsiteY1156" fmla="*/ 791442 h 1348373"/>
                <a:gd name="connsiteX1157" fmla="*/ 45854 w 1467036"/>
                <a:gd name="connsiteY1157" fmla="*/ 796376 h 1348373"/>
                <a:gd name="connsiteX1158" fmla="*/ 47926 w 1467036"/>
                <a:gd name="connsiteY1158" fmla="*/ 799583 h 1348373"/>
                <a:gd name="connsiteX1159" fmla="*/ 45854 w 1467036"/>
                <a:gd name="connsiteY1159" fmla="*/ 807626 h 1348373"/>
                <a:gd name="connsiteX1160" fmla="*/ 39637 w 1467036"/>
                <a:gd name="connsiteY1160" fmla="*/ 812560 h 1348373"/>
                <a:gd name="connsiteX1161" fmla="*/ 41661 w 1467036"/>
                <a:gd name="connsiteY1161" fmla="*/ 820651 h 1348373"/>
                <a:gd name="connsiteX1162" fmla="*/ 29227 w 1467036"/>
                <a:gd name="connsiteY1162" fmla="*/ 827065 h 1348373"/>
                <a:gd name="connsiteX1163" fmla="*/ 25033 w 1467036"/>
                <a:gd name="connsiteY1163" fmla="*/ 823858 h 1348373"/>
                <a:gd name="connsiteX1164" fmla="*/ 14621 w 1467036"/>
                <a:gd name="connsiteY1164" fmla="*/ 835108 h 1348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</a:cxnLst>
              <a:rect l="l" t="t" r="r" b="b"/>
              <a:pathLst>
                <a:path w="1467036" h="1348373">
                  <a:moveTo>
                    <a:pt x="1450279" y="642977"/>
                  </a:moveTo>
                  <a:lnTo>
                    <a:pt x="1452400" y="631678"/>
                  </a:lnTo>
                  <a:lnTo>
                    <a:pt x="1454472" y="638141"/>
                  </a:lnTo>
                  <a:close/>
                  <a:moveTo>
                    <a:pt x="1452400" y="565611"/>
                  </a:moveTo>
                  <a:lnTo>
                    <a:pt x="1450279" y="555743"/>
                  </a:lnTo>
                  <a:lnTo>
                    <a:pt x="1450279" y="549575"/>
                  </a:lnTo>
                  <a:lnTo>
                    <a:pt x="1452400" y="544641"/>
                  </a:lnTo>
                  <a:lnTo>
                    <a:pt x="1458666" y="538227"/>
                  </a:lnTo>
                  <a:lnTo>
                    <a:pt x="1460738" y="531764"/>
                  </a:lnTo>
                  <a:lnTo>
                    <a:pt x="1458666" y="526829"/>
                  </a:lnTo>
                  <a:lnTo>
                    <a:pt x="1460738" y="521895"/>
                  </a:lnTo>
                  <a:lnTo>
                    <a:pt x="1464883" y="521895"/>
                  </a:lnTo>
                  <a:lnTo>
                    <a:pt x="1466955" y="529938"/>
                  </a:lnTo>
                  <a:lnTo>
                    <a:pt x="1464883" y="538030"/>
                  </a:lnTo>
                  <a:lnTo>
                    <a:pt x="1456545" y="547898"/>
                  </a:lnTo>
                  <a:lnTo>
                    <a:pt x="1454472" y="560776"/>
                  </a:lnTo>
                  <a:lnTo>
                    <a:pt x="1456545" y="567190"/>
                  </a:lnTo>
                  <a:close/>
                  <a:moveTo>
                    <a:pt x="1391958" y="473739"/>
                  </a:moveTo>
                  <a:lnTo>
                    <a:pt x="1398224" y="481782"/>
                  </a:lnTo>
                  <a:lnTo>
                    <a:pt x="1402368" y="486716"/>
                  </a:lnTo>
                  <a:lnTo>
                    <a:pt x="1404441" y="481782"/>
                  </a:lnTo>
                  <a:lnTo>
                    <a:pt x="1400296" y="478574"/>
                  </a:lnTo>
                  <a:lnTo>
                    <a:pt x="1402368" y="475368"/>
                  </a:lnTo>
                  <a:lnTo>
                    <a:pt x="1398224" y="473739"/>
                  </a:lnTo>
                  <a:lnTo>
                    <a:pt x="1394030" y="472111"/>
                  </a:lnTo>
                  <a:close/>
                  <a:moveTo>
                    <a:pt x="1383620" y="430270"/>
                  </a:moveTo>
                  <a:lnTo>
                    <a:pt x="1381547" y="427014"/>
                  </a:lnTo>
                  <a:lnTo>
                    <a:pt x="1379475" y="428593"/>
                  </a:lnTo>
                  <a:close/>
                  <a:moveTo>
                    <a:pt x="1246157" y="293252"/>
                  </a:moveTo>
                  <a:lnTo>
                    <a:pt x="1248229" y="288318"/>
                  </a:lnTo>
                  <a:lnTo>
                    <a:pt x="1241963" y="283384"/>
                  </a:lnTo>
                  <a:lnTo>
                    <a:pt x="1248229" y="281805"/>
                  </a:lnTo>
                  <a:lnTo>
                    <a:pt x="1250302" y="280177"/>
                  </a:lnTo>
                  <a:lnTo>
                    <a:pt x="1252374" y="291427"/>
                  </a:lnTo>
                  <a:lnTo>
                    <a:pt x="1248229" y="296361"/>
                  </a:lnTo>
                  <a:close/>
                  <a:moveTo>
                    <a:pt x="1127395" y="-27"/>
                  </a:moveTo>
                  <a:lnTo>
                    <a:pt x="1129517" y="4907"/>
                  </a:lnTo>
                  <a:lnTo>
                    <a:pt x="1131540" y="-27"/>
                  </a:lnTo>
                  <a:close/>
                  <a:moveTo>
                    <a:pt x="1121128" y="16058"/>
                  </a:moveTo>
                  <a:lnTo>
                    <a:pt x="1123201" y="24150"/>
                  </a:lnTo>
                  <a:lnTo>
                    <a:pt x="1125323" y="22522"/>
                  </a:lnTo>
                  <a:lnTo>
                    <a:pt x="1129517" y="20893"/>
                  </a:lnTo>
                  <a:lnTo>
                    <a:pt x="1127395" y="15959"/>
                  </a:lnTo>
                  <a:close/>
                  <a:moveTo>
                    <a:pt x="1006560" y="238731"/>
                  </a:moveTo>
                  <a:lnTo>
                    <a:pt x="1008633" y="241938"/>
                  </a:lnTo>
                  <a:lnTo>
                    <a:pt x="1012777" y="240310"/>
                  </a:lnTo>
                  <a:lnTo>
                    <a:pt x="1010754" y="237103"/>
                  </a:lnTo>
                  <a:close/>
                  <a:moveTo>
                    <a:pt x="998222" y="225804"/>
                  </a:moveTo>
                  <a:lnTo>
                    <a:pt x="1000294" y="227432"/>
                  </a:lnTo>
                  <a:lnTo>
                    <a:pt x="1004488" y="227432"/>
                  </a:lnTo>
                  <a:lnTo>
                    <a:pt x="1008633" y="222498"/>
                  </a:lnTo>
                  <a:lnTo>
                    <a:pt x="1016971" y="220870"/>
                  </a:lnTo>
                  <a:lnTo>
                    <a:pt x="1016971" y="218995"/>
                  </a:lnTo>
                  <a:lnTo>
                    <a:pt x="1008633" y="215739"/>
                  </a:lnTo>
                  <a:lnTo>
                    <a:pt x="998222" y="220673"/>
                  </a:lnTo>
                  <a:cubicBezTo>
                    <a:pt x="998222" y="220673"/>
                    <a:pt x="996150" y="225557"/>
                    <a:pt x="998222" y="225557"/>
                  </a:cubicBezTo>
                  <a:close/>
                  <a:moveTo>
                    <a:pt x="923225" y="195213"/>
                  </a:moveTo>
                  <a:lnTo>
                    <a:pt x="921153" y="192006"/>
                  </a:lnTo>
                  <a:lnTo>
                    <a:pt x="923225" y="187072"/>
                  </a:lnTo>
                  <a:lnTo>
                    <a:pt x="927418" y="190279"/>
                  </a:lnTo>
                  <a:close/>
                  <a:moveTo>
                    <a:pt x="900330" y="129146"/>
                  </a:moveTo>
                  <a:lnTo>
                    <a:pt x="900330" y="125890"/>
                  </a:lnTo>
                  <a:lnTo>
                    <a:pt x="898209" y="127518"/>
                  </a:lnTo>
                  <a:lnTo>
                    <a:pt x="896137" y="124311"/>
                  </a:lnTo>
                  <a:lnTo>
                    <a:pt x="900330" y="121104"/>
                  </a:lnTo>
                  <a:lnTo>
                    <a:pt x="904475" y="126038"/>
                  </a:lnTo>
                  <a:close/>
                  <a:moveTo>
                    <a:pt x="910741" y="137189"/>
                  </a:moveTo>
                  <a:lnTo>
                    <a:pt x="906547" y="138817"/>
                  </a:lnTo>
                  <a:lnTo>
                    <a:pt x="908620" y="140396"/>
                  </a:lnTo>
                  <a:lnTo>
                    <a:pt x="914887" y="137189"/>
                  </a:lnTo>
                  <a:lnTo>
                    <a:pt x="923225" y="138817"/>
                  </a:lnTo>
                  <a:lnTo>
                    <a:pt x="925297" y="133883"/>
                  </a:lnTo>
                  <a:lnTo>
                    <a:pt x="921153" y="133883"/>
                  </a:lnTo>
                  <a:lnTo>
                    <a:pt x="919030" y="132304"/>
                  </a:lnTo>
                  <a:lnTo>
                    <a:pt x="925297" y="127370"/>
                  </a:lnTo>
                  <a:lnTo>
                    <a:pt x="923225" y="125742"/>
                  </a:lnTo>
                  <a:lnTo>
                    <a:pt x="917008" y="127370"/>
                  </a:lnTo>
                  <a:lnTo>
                    <a:pt x="917008" y="122436"/>
                  </a:lnTo>
                  <a:lnTo>
                    <a:pt x="912813" y="124064"/>
                  </a:lnTo>
                  <a:lnTo>
                    <a:pt x="912813" y="127271"/>
                  </a:lnTo>
                  <a:lnTo>
                    <a:pt x="906547" y="127271"/>
                  </a:lnTo>
                  <a:lnTo>
                    <a:pt x="908620" y="128899"/>
                  </a:lnTo>
                  <a:lnTo>
                    <a:pt x="906547" y="128899"/>
                  </a:lnTo>
                  <a:close/>
                  <a:moveTo>
                    <a:pt x="914887" y="42110"/>
                  </a:moveTo>
                  <a:lnTo>
                    <a:pt x="919030" y="43738"/>
                  </a:lnTo>
                  <a:lnTo>
                    <a:pt x="921153" y="38804"/>
                  </a:lnTo>
                  <a:lnTo>
                    <a:pt x="927418" y="33870"/>
                  </a:lnTo>
                  <a:lnTo>
                    <a:pt x="923225" y="30614"/>
                  </a:lnTo>
                  <a:lnTo>
                    <a:pt x="917008" y="37077"/>
                  </a:lnTo>
                  <a:close/>
                  <a:moveTo>
                    <a:pt x="906547" y="47044"/>
                  </a:moveTo>
                  <a:lnTo>
                    <a:pt x="910741" y="48623"/>
                  </a:lnTo>
                  <a:lnTo>
                    <a:pt x="910741" y="45416"/>
                  </a:lnTo>
                  <a:close/>
                  <a:moveTo>
                    <a:pt x="902403" y="48623"/>
                  </a:moveTo>
                  <a:lnTo>
                    <a:pt x="904475" y="51879"/>
                  </a:lnTo>
                  <a:lnTo>
                    <a:pt x="906547" y="48623"/>
                  </a:lnTo>
                  <a:close/>
                  <a:moveTo>
                    <a:pt x="887601" y="55086"/>
                  </a:moveTo>
                  <a:lnTo>
                    <a:pt x="891794" y="55086"/>
                  </a:lnTo>
                  <a:lnTo>
                    <a:pt x="891794" y="51879"/>
                  </a:lnTo>
                  <a:close/>
                  <a:moveTo>
                    <a:pt x="879311" y="64955"/>
                  </a:moveTo>
                  <a:lnTo>
                    <a:pt x="879311" y="60021"/>
                  </a:lnTo>
                  <a:lnTo>
                    <a:pt x="885528" y="56813"/>
                  </a:lnTo>
                  <a:lnTo>
                    <a:pt x="892239" y="56813"/>
                  </a:lnTo>
                  <a:lnTo>
                    <a:pt x="890167" y="60021"/>
                  </a:lnTo>
                  <a:lnTo>
                    <a:pt x="883901" y="61649"/>
                  </a:lnTo>
                  <a:close/>
                  <a:moveTo>
                    <a:pt x="866780" y="66533"/>
                  </a:moveTo>
                  <a:lnTo>
                    <a:pt x="870923" y="68211"/>
                  </a:lnTo>
                  <a:lnTo>
                    <a:pt x="877437" y="66040"/>
                  </a:lnTo>
                  <a:lnTo>
                    <a:pt x="877437" y="64461"/>
                  </a:lnTo>
                  <a:close/>
                  <a:moveTo>
                    <a:pt x="775105" y="42406"/>
                  </a:moveTo>
                  <a:lnTo>
                    <a:pt x="770960" y="35942"/>
                  </a:lnTo>
                  <a:lnTo>
                    <a:pt x="773033" y="31008"/>
                  </a:lnTo>
                  <a:lnTo>
                    <a:pt x="779299" y="29380"/>
                  </a:lnTo>
                  <a:lnTo>
                    <a:pt x="777177" y="35844"/>
                  </a:lnTo>
                  <a:close/>
                  <a:moveTo>
                    <a:pt x="696160" y="39149"/>
                  </a:moveTo>
                  <a:lnTo>
                    <a:pt x="696160" y="45613"/>
                  </a:lnTo>
                  <a:lnTo>
                    <a:pt x="702427" y="52076"/>
                  </a:lnTo>
                  <a:lnTo>
                    <a:pt x="708644" y="57011"/>
                  </a:lnTo>
                  <a:lnTo>
                    <a:pt x="716982" y="60218"/>
                  </a:lnTo>
                  <a:lnTo>
                    <a:pt x="729465" y="50350"/>
                  </a:lnTo>
                  <a:lnTo>
                    <a:pt x="733660" y="50350"/>
                  </a:lnTo>
                  <a:lnTo>
                    <a:pt x="733660" y="47142"/>
                  </a:lnTo>
                  <a:lnTo>
                    <a:pt x="737803" y="43936"/>
                  </a:lnTo>
                  <a:lnTo>
                    <a:pt x="733660" y="42307"/>
                  </a:lnTo>
                  <a:lnTo>
                    <a:pt x="731537" y="39051"/>
                  </a:lnTo>
                  <a:lnTo>
                    <a:pt x="729416" y="39051"/>
                  </a:lnTo>
                  <a:lnTo>
                    <a:pt x="725271" y="40728"/>
                  </a:lnTo>
                  <a:lnTo>
                    <a:pt x="714861" y="40728"/>
                  </a:lnTo>
                  <a:lnTo>
                    <a:pt x="710666" y="45662"/>
                  </a:lnTo>
                  <a:lnTo>
                    <a:pt x="706522" y="42455"/>
                  </a:lnTo>
                  <a:lnTo>
                    <a:pt x="706522" y="40876"/>
                  </a:lnTo>
                  <a:lnTo>
                    <a:pt x="702377" y="40876"/>
                  </a:lnTo>
                  <a:lnTo>
                    <a:pt x="696111" y="35942"/>
                  </a:lnTo>
                  <a:lnTo>
                    <a:pt x="693990" y="35942"/>
                  </a:lnTo>
                  <a:close/>
                  <a:moveTo>
                    <a:pt x="694039" y="40827"/>
                  </a:moveTo>
                  <a:lnTo>
                    <a:pt x="696160" y="50695"/>
                  </a:lnTo>
                  <a:lnTo>
                    <a:pt x="702427" y="52323"/>
                  </a:lnTo>
                  <a:lnTo>
                    <a:pt x="704449" y="55530"/>
                  </a:lnTo>
                  <a:lnTo>
                    <a:pt x="696160" y="53902"/>
                  </a:lnTo>
                  <a:lnTo>
                    <a:pt x="692015" y="53902"/>
                  </a:lnTo>
                  <a:lnTo>
                    <a:pt x="685749" y="52323"/>
                  </a:lnTo>
                  <a:lnTo>
                    <a:pt x="685749" y="49067"/>
                  </a:lnTo>
                  <a:lnTo>
                    <a:pt x="687822" y="47488"/>
                  </a:lnTo>
                  <a:lnTo>
                    <a:pt x="689894" y="49067"/>
                  </a:lnTo>
                  <a:lnTo>
                    <a:pt x="689894" y="47488"/>
                  </a:lnTo>
                  <a:lnTo>
                    <a:pt x="689894" y="47488"/>
                  </a:lnTo>
                  <a:lnTo>
                    <a:pt x="689894" y="42554"/>
                  </a:lnTo>
                  <a:lnTo>
                    <a:pt x="687822" y="42554"/>
                  </a:lnTo>
                  <a:close/>
                  <a:moveTo>
                    <a:pt x="462978" y="172368"/>
                  </a:moveTo>
                  <a:lnTo>
                    <a:pt x="465050" y="175625"/>
                  </a:lnTo>
                  <a:lnTo>
                    <a:pt x="471267" y="173997"/>
                  </a:lnTo>
                  <a:lnTo>
                    <a:pt x="467123" y="169063"/>
                  </a:lnTo>
                  <a:close/>
                  <a:moveTo>
                    <a:pt x="465050" y="193338"/>
                  </a:moveTo>
                  <a:lnTo>
                    <a:pt x="465050" y="186874"/>
                  </a:lnTo>
                  <a:lnTo>
                    <a:pt x="460857" y="181940"/>
                  </a:lnTo>
                  <a:lnTo>
                    <a:pt x="460857" y="191808"/>
                  </a:lnTo>
                  <a:close/>
                  <a:moveTo>
                    <a:pt x="494211" y="148241"/>
                  </a:moveTo>
                  <a:lnTo>
                    <a:pt x="490066" y="148241"/>
                  </a:lnTo>
                  <a:lnTo>
                    <a:pt x="492088" y="144984"/>
                  </a:lnTo>
                  <a:lnTo>
                    <a:pt x="496283" y="144984"/>
                  </a:lnTo>
                  <a:close/>
                  <a:moveTo>
                    <a:pt x="112661" y="360947"/>
                  </a:moveTo>
                  <a:lnTo>
                    <a:pt x="110589" y="357691"/>
                  </a:lnTo>
                  <a:lnTo>
                    <a:pt x="116856" y="349648"/>
                  </a:lnTo>
                  <a:lnTo>
                    <a:pt x="116856" y="356112"/>
                  </a:lnTo>
                  <a:close/>
                  <a:moveTo>
                    <a:pt x="4113" y="520464"/>
                  </a:moveTo>
                  <a:lnTo>
                    <a:pt x="8258" y="507587"/>
                  </a:lnTo>
                  <a:lnTo>
                    <a:pt x="8258" y="515629"/>
                  </a:lnTo>
                  <a:close/>
                  <a:moveTo>
                    <a:pt x="4113" y="544641"/>
                  </a:moveTo>
                  <a:lnTo>
                    <a:pt x="-82" y="531764"/>
                  </a:lnTo>
                  <a:lnTo>
                    <a:pt x="1991" y="525300"/>
                  </a:lnTo>
                  <a:lnTo>
                    <a:pt x="6135" y="535168"/>
                  </a:lnTo>
                  <a:close/>
                  <a:moveTo>
                    <a:pt x="804067" y="945926"/>
                  </a:moveTo>
                  <a:lnTo>
                    <a:pt x="801995" y="950860"/>
                  </a:lnTo>
                  <a:lnTo>
                    <a:pt x="804067" y="954067"/>
                  </a:lnTo>
                  <a:lnTo>
                    <a:pt x="808261" y="954067"/>
                  </a:lnTo>
                  <a:lnTo>
                    <a:pt x="806190" y="955696"/>
                  </a:lnTo>
                  <a:lnTo>
                    <a:pt x="812407" y="955696"/>
                  </a:lnTo>
                  <a:lnTo>
                    <a:pt x="816600" y="954067"/>
                  </a:lnTo>
                  <a:lnTo>
                    <a:pt x="820745" y="957275"/>
                  </a:lnTo>
                  <a:lnTo>
                    <a:pt x="816600" y="960531"/>
                  </a:lnTo>
                  <a:lnTo>
                    <a:pt x="804067" y="958903"/>
                  </a:lnTo>
                  <a:lnTo>
                    <a:pt x="801995" y="962159"/>
                  </a:lnTo>
                  <a:lnTo>
                    <a:pt x="798492" y="962159"/>
                  </a:lnTo>
                  <a:lnTo>
                    <a:pt x="796420" y="963738"/>
                  </a:lnTo>
                  <a:lnTo>
                    <a:pt x="794298" y="963738"/>
                  </a:lnTo>
                  <a:lnTo>
                    <a:pt x="790154" y="960531"/>
                  </a:lnTo>
                  <a:lnTo>
                    <a:pt x="786009" y="962159"/>
                  </a:lnTo>
                  <a:lnTo>
                    <a:pt x="768888" y="962159"/>
                  </a:lnTo>
                  <a:lnTo>
                    <a:pt x="762622" y="958903"/>
                  </a:lnTo>
                  <a:lnTo>
                    <a:pt x="764694" y="955696"/>
                  </a:lnTo>
                  <a:lnTo>
                    <a:pt x="773033" y="950762"/>
                  </a:lnTo>
                  <a:lnTo>
                    <a:pt x="791781" y="945828"/>
                  </a:lnTo>
                  <a:lnTo>
                    <a:pt x="798048" y="947456"/>
                  </a:lnTo>
                  <a:close/>
                  <a:moveTo>
                    <a:pt x="1039471" y="1092566"/>
                  </a:moveTo>
                  <a:lnTo>
                    <a:pt x="1043664" y="1090937"/>
                  </a:lnTo>
                  <a:lnTo>
                    <a:pt x="1045787" y="1094145"/>
                  </a:lnTo>
                  <a:lnTo>
                    <a:pt x="1043664" y="1095822"/>
                  </a:lnTo>
                  <a:close/>
                  <a:moveTo>
                    <a:pt x="1074897" y="1113536"/>
                  </a:moveTo>
                  <a:lnTo>
                    <a:pt x="1079091" y="1115114"/>
                  </a:lnTo>
                  <a:lnTo>
                    <a:pt x="1081163" y="1113536"/>
                  </a:lnTo>
                  <a:close/>
                  <a:moveTo>
                    <a:pt x="989884" y="1195934"/>
                  </a:moveTo>
                  <a:lnTo>
                    <a:pt x="991956" y="1200868"/>
                  </a:lnTo>
                  <a:lnTo>
                    <a:pt x="996150" y="1200868"/>
                  </a:lnTo>
                  <a:lnTo>
                    <a:pt x="998222" y="1199240"/>
                  </a:lnTo>
                  <a:lnTo>
                    <a:pt x="994077" y="1194306"/>
                  </a:lnTo>
                  <a:close/>
                  <a:moveTo>
                    <a:pt x="991956" y="1184684"/>
                  </a:moveTo>
                  <a:lnTo>
                    <a:pt x="994077" y="1187891"/>
                  </a:lnTo>
                  <a:lnTo>
                    <a:pt x="996150" y="1187891"/>
                  </a:lnTo>
                  <a:lnTo>
                    <a:pt x="996150" y="1182957"/>
                  </a:lnTo>
                  <a:close/>
                  <a:moveTo>
                    <a:pt x="987812" y="1191099"/>
                  </a:moveTo>
                  <a:lnTo>
                    <a:pt x="981545" y="1189519"/>
                  </a:lnTo>
                  <a:lnTo>
                    <a:pt x="983667" y="1184585"/>
                  </a:lnTo>
                  <a:lnTo>
                    <a:pt x="989884" y="1181329"/>
                  </a:lnTo>
                  <a:lnTo>
                    <a:pt x="989884" y="1187793"/>
                  </a:lnTo>
                  <a:close/>
                  <a:moveTo>
                    <a:pt x="964868" y="1168550"/>
                  </a:moveTo>
                  <a:lnTo>
                    <a:pt x="964868" y="1163616"/>
                  </a:lnTo>
                  <a:lnTo>
                    <a:pt x="962845" y="1158682"/>
                  </a:lnTo>
                  <a:lnTo>
                    <a:pt x="966989" y="1153748"/>
                  </a:lnTo>
                  <a:lnTo>
                    <a:pt x="966989" y="1148814"/>
                  </a:lnTo>
                  <a:lnTo>
                    <a:pt x="971134" y="1143880"/>
                  </a:lnTo>
                  <a:lnTo>
                    <a:pt x="975328" y="1140673"/>
                  </a:lnTo>
                  <a:lnTo>
                    <a:pt x="979472" y="1143880"/>
                  </a:lnTo>
                  <a:lnTo>
                    <a:pt x="979472" y="1151971"/>
                  </a:lnTo>
                  <a:lnTo>
                    <a:pt x="981545" y="1156906"/>
                  </a:lnTo>
                  <a:lnTo>
                    <a:pt x="975328" y="1163320"/>
                  </a:lnTo>
                  <a:lnTo>
                    <a:pt x="975328" y="1166577"/>
                  </a:lnTo>
                  <a:lnTo>
                    <a:pt x="969062" y="1171511"/>
                  </a:lnTo>
                  <a:close/>
                  <a:moveTo>
                    <a:pt x="1106524" y="1184684"/>
                  </a:moveTo>
                  <a:lnTo>
                    <a:pt x="1121326" y="1179750"/>
                  </a:lnTo>
                  <a:lnTo>
                    <a:pt x="1121326" y="1173287"/>
                  </a:lnTo>
                  <a:lnTo>
                    <a:pt x="1108843" y="1163419"/>
                  </a:lnTo>
                  <a:lnTo>
                    <a:pt x="1102576" y="1164997"/>
                  </a:lnTo>
                  <a:lnTo>
                    <a:pt x="1106721" y="1169931"/>
                  </a:lnTo>
                  <a:lnTo>
                    <a:pt x="1102576" y="1176395"/>
                  </a:lnTo>
                  <a:lnTo>
                    <a:pt x="1104699" y="1179602"/>
                  </a:lnTo>
                  <a:close/>
                  <a:moveTo>
                    <a:pt x="1100307" y="1191099"/>
                  </a:moveTo>
                  <a:lnTo>
                    <a:pt x="1102380" y="1196033"/>
                  </a:lnTo>
                  <a:lnTo>
                    <a:pt x="1112790" y="1196033"/>
                  </a:lnTo>
                  <a:lnTo>
                    <a:pt x="1119056" y="1197661"/>
                  </a:lnTo>
                  <a:lnTo>
                    <a:pt x="1121128" y="1194453"/>
                  </a:lnTo>
                  <a:lnTo>
                    <a:pt x="1112790" y="1187990"/>
                  </a:lnTo>
                  <a:lnTo>
                    <a:pt x="1104501" y="1189618"/>
                  </a:lnTo>
                  <a:close/>
                  <a:moveTo>
                    <a:pt x="1106524" y="1205604"/>
                  </a:moveTo>
                  <a:lnTo>
                    <a:pt x="1104501" y="1202398"/>
                  </a:lnTo>
                  <a:lnTo>
                    <a:pt x="1108646" y="1200769"/>
                  </a:lnTo>
                  <a:close/>
                  <a:moveTo>
                    <a:pt x="1069075" y="1305519"/>
                  </a:moveTo>
                  <a:lnTo>
                    <a:pt x="1069075" y="1300585"/>
                  </a:lnTo>
                  <a:lnTo>
                    <a:pt x="1073219" y="1303792"/>
                  </a:lnTo>
                  <a:close/>
                  <a:moveTo>
                    <a:pt x="1027382" y="1342573"/>
                  </a:moveTo>
                  <a:lnTo>
                    <a:pt x="1023238" y="1339366"/>
                  </a:lnTo>
                  <a:lnTo>
                    <a:pt x="1027382" y="1332903"/>
                  </a:lnTo>
                  <a:lnTo>
                    <a:pt x="1027382" y="1327969"/>
                  </a:lnTo>
                  <a:lnTo>
                    <a:pt x="1031576" y="1326341"/>
                  </a:lnTo>
                  <a:lnTo>
                    <a:pt x="1033648" y="1329547"/>
                  </a:lnTo>
                  <a:lnTo>
                    <a:pt x="1029455" y="1332755"/>
                  </a:lnTo>
                  <a:close/>
                  <a:moveTo>
                    <a:pt x="979472" y="1339366"/>
                  </a:moveTo>
                  <a:lnTo>
                    <a:pt x="979472" y="1332903"/>
                  </a:lnTo>
                  <a:lnTo>
                    <a:pt x="983667" y="1327969"/>
                  </a:lnTo>
                  <a:lnTo>
                    <a:pt x="977400" y="1326341"/>
                  </a:lnTo>
                  <a:lnTo>
                    <a:pt x="975328" y="1318298"/>
                  </a:lnTo>
                  <a:lnTo>
                    <a:pt x="977400" y="1315042"/>
                  </a:lnTo>
                  <a:lnTo>
                    <a:pt x="973255" y="1313462"/>
                  </a:lnTo>
                  <a:lnTo>
                    <a:pt x="973255" y="1295700"/>
                  </a:lnTo>
                  <a:lnTo>
                    <a:pt x="975328" y="1292493"/>
                  </a:lnTo>
                  <a:lnTo>
                    <a:pt x="969062" y="1289237"/>
                  </a:lnTo>
                  <a:lnTo>
                    <a:pt x="969062" y="1277987"/>
                  </a:lnTo>
                  <a:lnTo>
                    <a:pt x="971134" y="1271523"/>
                  </a:lnTo>
                  <a:lnTo>
                    <a:pt x="977400" y="1277987"/>
                  </a:lnTo>
                  <a:lnTo>
                    <a:pt x="985986" y="1277987"/>
                  </a:lnTo>
                  <a:lnTo>
                    <a:pt x="979719" y="1273053"/>
                  </a:lnTo>
                  <a:lnTo>
                    <a:pt x="979719" y="1268119"/>
                  </a:lnTo>
                  <a:lnTo>
                    <a:pt x="975574" y="1266540"/>
                  </a:lnTo>
                  <a:lnTo>
                    <a:pt x="977647" y="1258448"/>
                  </a:lnTo>
                  <a:lnTo>
                    <a:pt x="975574" y="1247199"/>
                  </a:lnTo>
                  <a:lnTo>
                    <a:pt x="975574" y="1234271"/>
                  </a:lnTo>
                  <a:lnTo>
                    <a:pt x="977647" y="1226229"/>
                  </a:lnTo>
                  <a:lnTo>
                    <a:pt x="975574" y="1213351"/>
                  </a:lnTo>
                  <a:lnTo>
                    <a:pt x="975574" y="1206887"/>
                  </a:lnTo>
                  <a:lnTo>
                    <a:pt x="977647" y="1205259"/>
                  </a:lnTo>
                  <a:lnTo>
                    <a:pt x="977647" y="1198795"/>
                  </a:lnTo>
                  <a:lnTo>
                    <a:pt x="979719" y="1195589"/>
                  </a:lnTo>
                  <a:lnTo>
                    <a:pt x="988057" y="1200523"/>
                  </a:lnTo>
                  <a:lnTo>
                    <a:pt x="994324" y="1203779"/>
                  </a:lnTo>
                  <a:lnTo>
                    <a:pt x="1000541" y="1206986"/>
                  </a:lnTo>
                  <a:lnTo>
                    <a:pt x="1000541" y="1203779"/>
                  </a:lnTo>
                  <a:lnTo>
                    <a:pt x="1004735" y="1200523"/>
                  </a:lnTo>
                  <a:lnTo>
                    <a:pt x="1002614" y="1210391"/>
                  </a:lnTo>
                  <a:lnTo>
                    <a:pt x="1015145" y="1215325"/>
                  </a:lnTo>
                  <a:lnTo>
                    <a:pt x="1025557" y="1223416"/>
                  </a:lnTo>
                  <a:lnTo>
                    <a:pt x="1031823" y="1228350"/>
                  </a:lnTo>
                  <a:lnTo>
                    <a:pt x="1038040" y="1225094"/>
                  </a:lnTo>
                  <a:lnTo>
                    <a:pt x="1044306" y="1225094"/>
                  </a:lnTo>
                  <a:lnTo>
                    <a:pt x="1050572" y="1228350"/>
                  </a:lnTo>
                  <a:lnTo>
                    <a:pt x="1050572" y="1223416"/>
                  </a:lnTo>
                  <a:lnTo>
                    <a:pt x="1054716" y="1220210"/>
                  </a:lnTo>
                  <a:lnTo>
                    <a:pt x="1075538" y="1221788"/>
                  </a:lnTo>
                  <a:lnTo>
                    <a:pt x="1079732" y="1220210"/>
                  </a:lnTo>
                  <a:lnTo>
                    <a:pt x="1083877" y="1216953"/>
                  </a:lnTo>
                  <a:lnTo>
                    <a:pt x="1088070" y="1216953"/>
                  </a:lnTo>
                  <a:lnTo>
                    <a:pt x="1090144" y="1218532"/>
                  </a:lnTo>
                  <a:lnTo>
                    <a:pt x="1094337" y="1212118"/>
                  </a:lnTo>
                  <a:lnTo>
                    <a:pt x="1098482" y="1212118"/>
                  </a:lnTo>
                  <a:lnTo>
                    <a:pt x="1106771" y="1217052"/>
                  </a:lnTo>
                  <a:lnTo>
                    <a:pt x="1104748" y="1223515"/>
                  </a:lnTo>
                  <a:lnTo>
                    <a:pt x="1100554" y="1238021"/>
                  </a:lnTo>
                  <a:lnTo>
                    <a:pt x="1094337" y="1246064"/>
                  </a:lnTo>
                  <a:lnTo>
                    <a:pt x="1094337" y="1257362"/>
                  </a:lnTo>
                  <a:lnTo>
                    <a:pt x="1088070" y="1263777"/>
                  </a:lnTo>
                  <a:lnTo>
                    <a:pt x="1090144" y="1270241"/>
                  </a:lnTo>
                  <a:lnTo>
                    <a:pt x="1088070" y="1273447"/>
                  </a:lnTo>
                  <a:lnTo>
                    <a:pt x="1088070" y="1279862"/>
                  </a:lnTo>
                  <a:lnTo>
                    <a:pt x="1085949" y="1286325"/>
                  </a:lnTo>
                  <a:lnTo>
                    <a:pt x="1083877" y="1281391"/>
                  </a:lnTo>
                  <a:lnTo>
                    <a:pt x="1081804" y="1273300"/>
                  </a:lnTo>
                  <a:lnTo>
                    <a:pt x="1077660" y="1278234"/>
                  </a:lnTo>
                  <a:lnTo>
                    <a:pt x="1073466" y="1281490"/>
                  </a:lnTo>
                  <a:lnTo>
                    <a:pt x="1073466" y="1294368"/>
                  </a:lnTo>
                  <a:lnTo>
                    <a:pt x="1069321" y="1297575"/>
                  </a:lnTo>
                  <a:lnTo>
                    <a:pt x="1063056" y="1297575"/>
                  </a:lnTo>
                  <a:lnTo>
                    <a:pt x="1063056" y="1304039"/>
                  </a:lnTo>
                  <a:lnTo>
                    <a:pt x="1058911" y="1310453"/>
                  </a:lnTo>
                  <a:lnTo>
                    <a:pt x="1065128" y="1313709"/>
                  </a:lnTo>
                  <a:lnTo>
                    <a:pt x="1065128" y="1316917"/>
                  </a:lnTo>
                  <a:lnTo>
                    <a:pt x="1056839" y="1326785"/>
                  </a:lnTo>
                  <a:lnTo>
                    <a:pt x="1052644" y="1326785"/>
                  </a:lnTo>
                  <a:lnTo>
                    <a:pt x="1046427" y="1328413"/>
                  </a:lnTo>
                  <a:lnTo>
                    <a:pt x="1046427" y="1320321"/>
                  </a:lnTo>
                  <a:lnTo>
                    <a:pt x="1054716" y="1321949"/>
                  </a:lnTo>
                  <a:lnTo>
                    <a:pt x="1054716" y="1317015"/>
                  </a:lnTo>
                  <a:lnTo>
                    <a:pt x="1050572" y="1313808"/>
                  </a:lnTo>
                  <a:lnTo>
                    <a:pt x="1044306" y="1315387"/>
                  </a:lnTo>
                  <a:lnTo>
                    <a:pt x="1042233" y="1320321"/>
                  </a:lnTo>
                  <a:lnTo>
                    <a:pt x="1035967" y="1318742"/>
                  </a:lnTo>
                  <a:lnTo>
                    <a:pt x="1035967" y="1312278"/>
                  </a:lnTo>
                  <a:lnTo>
                    <a:pt x="1033895" y="1318742"/>
                  </a:lnTo>
                  <a:lnTo>
                    <a:pt x="1027628" y="1323676"/>
                  </a:lnTo>
                  <a:lnTo>
                    <a:pt x="1025557" y="1326933"/>
                  </a:lnTo>
                  <a:lnTo>
                    <a:pt x="1021412" y="1323676"/>
                  </a:lnTo>
                  <a:lnTo>
                    <a:pt x="1017218" y="1333544"/>
                  </a:lnTo>
                  <a:lnTo>
                    <a:pt x="1017218" y="1338478"/>
                  </a:lnTo>
                  <a:lnTo>
                    <a:pt x="1008879" y="1348346"/>
                  </a:lnTo>
                  <a:lnTo>
                    <a:pt x="1004735" y="1348346"/>
                  </a:lnTo>
                  <a:lnTo>
                    <a:pt x="1000541" y="1341882"/>
                  </a:lnTo>
                  <a:lnTo>
                    <a:pt x="1000541" y="1336948"/>
                  </a:lnTo>
                  <a:lnTo>
                    <a:pt x="994324" y="1343363"/>
                  </a:lnTo>
                  <a:lnTo>
                    <a:pt x="990131" y="1340156"/>
                  </a:lnTo>
                  <a:lnTo>
                    <a:pt x="979719" y="1340156"/>
                  </a:lnTo>
                  <a:close/>
                  <a:moveTo>
                    <a:pt x="16991" y="854301"/>
                  </a:moveTo>
                  <a:lnTo>
                    <a:pt x="21135" y="857558"/>
                  </a:lnTo>
                  <a:lnTo>
                    <a:pt x="27401" y="859137"/>
                  </a:lnTo>
                  <a:lnTo>
                    <a:pt x="42203" y="872014"/>
                  </a:lnTo>
                  <a:lnTo>
                    <a:pt x="42203" y="876948"/>
                  </a:lnTo>
                  <a:lnTo>
                    <a:pt x="44324" y="880205"/>
                  </a:lnTo>
                  <a:lnTo>
                    <a:pt x="52664" y="880205"/>
                  </a:lnTo>
                  <a:lnTo>
                    <a:pt x="56808" y="885139"/>
                  </a:lnTo>
                  <a:lnTo>
                    <a:pt x="67219" y="886718"/>
                  </a:lnTo>
                  <a:lnTo>
                    <a:pt x="71412" y="885139"/>
                  </a:lnTo>
                  <a:lnTo>
                    <a:pt x="73485" y="888346"/>
                  </a:lnTo>
                  <a:lnTo>
                    <a:pt x="81824" y="888346"/>
                  </a:lnTo>
                  <a:lnTo>
                    <a:pt x="90112" y="886718"/>
                  </a:lnTo>
                  <a:lnTo>
                    <a:pt x="92235" y="891652"/>
                  </a:lnTo>
                  <a:lnTo>
                    <a:pt x="96379" y="888396"/>
                  </a:lnTo>
                  <a:lnTo>
                    <a:pt x="98500" y="889974"/>
                  </a:lnTo>
                  <a:lnTo>
                    <a:pt x="108911" y="888396"/>
                  </a:lnTo>
                  <a:lnTo>
                    <a:pt x="117250" y="888396"/>
                  </a:lnTo>
                  <a:lnTo>
                    <a:pt x="119323" y="883462"/>
                  </a:lnTo>
                  <a:lnTo>
                    <a:pt x="125540" y="883462"/>
                  </a:lnTo>
                  <a:lnTo>
                    <a:pt x="129733" y="875419"/>
                  </a:lnTo>
                  <a:lnTo>
                    <a:pt x="142216" y="876998"/>
                  </a:lnTo>
                  <a:lnTo>
                    <a:pt x="142216" y="870288"/>
                  </a:lnTo>
                  <a:lnTo>
                    <a:pt x="148482" y="867080"/>
                  </a:lnTo>
                  <a:lnTo>
                    <a:pt x="152627" y="867080"/>
                  </a:lnTo>
                  <a:lnTo>
                    <a:pt x="158894" y="872014"/>
                  </a:lnTo>
                  <a:lnTo>
                    <a:pt x="165159" y="865600"/>
                  </a:lnTo>
                  <a:lnTo>
                    <a:pt x="167232" y="867229"/>
                  </a:lnTo>
                  <a:lnTo>
                    <a:pt x="171425" y="865600"/>
                  </a:lnTo>
                  <a:lnTo>
                    <a:pt x="173449" y="857558"/>
                  </a:lnTo>
                  <a:lnTo>
                    <a:pt x="192247" y="847690"/>
                  </a:lnTo>
                  <a:lnTo>
                    <a:pt x="200537" y="847690"/>
                  </a:lnTo>
                  <a:lnTo>
                    <a:pt x="206852" y="850897"/>
                  </a:lnTo>
                  <a:lnTo>
                    <a:pt x="213069" y="847690"/>
                  </a:lnTo>
                  <a:lnTo>
                    <a:pt x="231818" y="842756"/>
                  </a:lnTo>
                  <a:lnTo>
                    <a:pt x="233891" y="846012"/>
                  </a:lnTo>
                  <a:lnTo>
                    <a:pt x="246374" y="844384"/>
                  </a:lnTo>
                  <a:lnTo>
                    <a:pt x="250567" y="846012"/>
                  </a:lnTo>
                  <a:lnTo>
                    <a:pt x="254712" y="847641"/>
                  </a:lnTo>
                  <a:lnTo>
                    <a:pt x="263051" y="844384"/>
                  </a:lnTo>
                  <a:lnTo>
                    <a:pt x="265172" y="850848"/>
                  </a:lnTo>
                  <a:lnTo>
                    <a:pt x="269317" y="850848"/>
                  </a:lnTo>
                  <a:lnTo>
                    <a:pt x="275583" y="849219"/>
                  </a:lnTo>
                  <a:lnTo>
                    <a:pt x="279728" y="852426"/>
                  </a:lnTo>
                  <a:lnTo>
                    <a:pt x="283872" y="849219"/>
                  </a:lnTo>
                  <a:lnTo>
                    <a:pt x="298674" y="849219"/>
                  </a:lnTo>
                  <a:lnTo>
                    <a:pt x="298674" y="854153"/>
                  </a:lnTo>
                  <a:lnTo>
                    <a:pt x="300796" y="854153"/>
                  </a:lnTo>
                  <a:lnTo>
                    <a:pt x="309086" y="847739"/>
                  </a:lnTo>
                  <a:lnTo>
                    <a:pt x="317424" y="849318"/>
                  </a:lnTo>
                  <a:lnTo>
                    <a:pt x="325762" y="844384"/>
                  </a:lnTo>
                  <a:lnTo>
                    <a:pt x="329907" y="836341"/>
                  </a:lnTo>
                  <a:lnTo>
                    <a:pt x="334100" y="836341"/>
                  </a:lnTo>
                  <a:lnTo>
                    <a:pt x="340317" y="829927"/>
                  </a:lnTo>
                  <a:lnTo>
                    <a:pt x="344512" y="818579"/>
                  </a:lnTo>
                  <a:lnTo>
                    <a:pt x="354923" y="812165"/>
                  </a:lnTo>
                  <a:lnTo>
                    <a:pt x="363261" y="810536"/>
                  </a:lnTo>
                  <a:lnTo>
                    <a:pt x="367405" y="812165"/>
                  </a:lnTo>
                  <a:lnTo>
                    <a:pt x="384132" y="807230"/>
                  </a:lnTo>
                  <a:lnTo>
                    <a:pt x="402832" y="797362"/>
                  </a:lnTo>
                  <a:lnTo>
                    <a:pt x="413242" y="787494"/>
                  </a:lnTo>
                  <a:lnTo>
                    <a:pt x="419509" y="785916"/>
                  </a:lnTo>
                  <a:lnTo>
                    <a:pt x="429920" y="785916"/>
                  </a:lnTo>
                  <a:lnTo>
                    <a:pt x="442453" y="790850"/>
                  </a:lnTo>
                  <a:lnTo>
                    <a:pt x="450742" y="790850"/>
                  </a:lnTo>
                  <a:lnTo>
                    <a:pt x="459080" y="787643"/>
                  </a:lnTo>
                  <a:lnTo>
                    <a:pt x="473882" y="789271"/>
                  </a:lnTo>
                  <a:lnTo>
                    <a:pt x="492582" y="782807"/>
                  </a:lnTo>
                  <a:lnTo>
                    <a:pt x="505115" y="781179"/>
                  </a:lnTo>
                  <a:lnTo>
                    <a:pt x="513453" y="774715"/>
                  </a:lnTo>
                  <a:lnTo>
                    <a:pt x="519719" y="774715"/>
                  </a:lnTo>
                  <a:lnTo>
                    <a:pt x="528008" y="768301"/>
                  </a:lnTo>
                  <a:lnTo>
                    <a:pt x="544686" y="768301"/>
                  </a:lnTo>
                  <a:lnTo>
                    <a:pt x="584158" y="765094"/>
                  </a:lnTo>
                  <a:lnTo>
                    <a:pt x="596641" y="768301"/>
                  </a:lnTo>
                  <a:lnTo>
                    <a:pt x="604979" y="768301"/>
                  </a:lnTo>
                  <a:lnTo>
                    <a:pt x="615390" y="765094"/>
                  </a:lnTo>
                  <a:lnTo>
                    <a:pt x="623729" y="766722"/>
                  </a:lnTo>
                  <a:lnTo>
                    <a:pt x="636212" y="774715"/>
                  </a:lnTo>
                  <a:lnTo>
                    <a:pt x="644551" y="787643"/>
                  </a:lnTo>
                  <a:lnTo>
                    <a:pt x="650817" y="789271"/>
                  </a:lnTo>
                  <a:lnTo>
                    <a:pt x="654961" y="786064"/>
                  </a:lnTo>
                  <a:lnTo>
                    <a:pt x="659106" y="784435"/>
                  </a:lnTo>
                  <a:lnTo>
                    <a:pt x="663300" y="787643"/>
                  </a:lnTo>
                  <a:lnTo>
                    <a:pt x="667493" y="786064"/>
                  </a:lnTo>
                  <a:lnTo>
                    <a:pt x="673710" y="787643"/>
                  </a:lnTo>
                  <a:lnTo>
                    <a:pt x="682048" y="795734"/>
                  </a:lnTo>
                  <a:lnTo>
                    <a:pt x="690388" y="797313"/>
                  </a:lnTo>
                  <a:lnTo>
                    <a:pt x="694532" y="795734"/>
                  </a:lnTo>
                  <a:lnTo>
                    <a:pt x="709334" y="805602"/>
                  </a:lnTo>
                  <a:lnTo>
                    <a:pt x="709334" y="810536"/>
                  </a:lnTo>
                  <a:lnTo>
                    <a:pt x="713528" y="810536"/>
                  </a:lnTo>
                  <a:lnTo>
                    <a:pt x="719745" y="815471"/>
                  </a:lnTo>
                  <a:lnTo>
                    <a:pt x="717673" y="820405"/>
                  </a:lnTo>
                  <a:lnTo>
                    <a:pt x="711407" y="820405"/>
                  </a:lnTo>
                  <a:lnTo>
                    <a:pt x="709334" y="825339"/>
                  </a:lnTo>
                  <a:lnTo>
                    <a:pt x="715600" y="836638"/>
                  </a:lnTo>
                  <a:lnTo>
                    <a:pt x="721817" y="836638"/>
                  </a:lnTo>
                  <a:lnTo>
                    <a:pt x="730155" y="844680"/>
                  </a:lnTo>
                  <a:lnTo>
                    <a:pt x="732228" y="852722"/>
                  </a:lnTo>
                  <a:lnTo>
                    <a:pt x="730155" y="859186"/>
                  </a:lnTo>
                  <a:lnTo>
                    <a:pt x="738495" y="873692"/>
                  </a:lnTo>
                  <a:lnTo>
                    <a:pt x="736422" y="880156"/>
                  </a:lnTo>
                  <a:lnTo>
                    <a:pt x="738495" y="885090"/>
                  </a:lnTo>
                  <a:lnTo>
                    <a:pt x="738495" y="893132"/>
                  </a:lnTo>
                  <a:lnTo>
                    <a:pt x="734350" y="898066"/>
                  </a:lnTo>
                  <a:lnTo>
                    <a:pt x="730155" y="894859"/>
                  </a:lnTo>
                  <a:lnTo>
                    <a:pt x="728083" y="896438"/>
                  </a:lnTo>
                  <a:lnTo>
                    <a:pt x="734350" y="902901"/>
                  </a:lnTo>
                  <a:lnTo>
                    <a:pt x="740567" y="906109"/>
                  </a:lnTo>
                  <a:lnTo>
                    <a:pt x="742639" y="912572"/>
                  </a:lnTo>
                  <a:lnTo>
                    <a:pt x="748905" y="910993"/>
                  </a:lnTo>
                  <a:lnTo>
                    <a:pt x="755171" y="914201"/>
                  </a:lnTo>
                  <a:lnTo>
                    <a:pt x="755171" y="909267"/>
                  </a:lnTo>
                  <a:lnTo>
                    <a:pt x="751026" y="904333"/>
                  </a:lnTo>
                  <a:lnTo>
                    <a:pt x="755171" y="901125"/>
                  </a:lnTo>
                  <a:lnTo>
                    <a:pt x="759316" y="894661"/>
                  </a:lnTo>
                  <a:lnTo>
                    <a:pt x="765583" y="893033"/>
                  </a:lnTo>
                  <a:lnTo>
                    <a:pt x="767654" y="888099"/>
                  </a:lnTo>
                  <a:lnTo>
                    <a:pt x="773921" y="886471"/>
                  </a:lnTo>
                  <a:lnTo>
                    <a:pt x="775993" y="880057"/>
                  </a:lnTo>
                  <a:lnTo>
                    <a:pt x="782259" y="873594"/>
                  </a:lnTo>
                  <a:lnTo>
                    <a:pt x="798937" y="867179"/>
                  </a:lnTo>
                  <a:lnTo>
                    <a:pt x="798937" y="862245"/>
                  </a:lnTo>
                  <a:lnTo>
                    <a:pt x="803081" y="862245"/>
                  </a:lnTo>
                  <a:lnTo>
                    <a:pt x="815564" y="857311"/>
                  </a:lnTo>
                  <a:lnTo>
                    <a:pt x="817685" y="849219"/>
                  </a:lnTo>
                  <a:lnTo>
                    <a:pt x="828096" y="836341"/>
                  </a:lnTo>
                  <a:lnTo>
                    <a:pt x="838508" y="834713"/>
                  </a:lnTo>
                  <a:lnTo>
                    <a:pt x="842652" y="829779"/>
                  </a:lnTo>
                  <a:lnTo>
                    <a:pt x="838508" y="823315"/>
                  </a:lnTo>
                  <a:lnTo>
                    <a:pt x="840580" y="815224"/>
                  </a:lnTo>
                  <a:lnTo>
                    <a:pt x="844773" y="823315"/>
                  </a:lnTo>
                  <a:lnTo>
                    <a:pt x="844773" y="839400"/>
                  </a:lnTo>
                  <a:lnTo>
                    <a:pt x="840580" y="844335"/>
                  </a:lnTo>
                  <a:lnTo>
                    <a:pt x="837964" y="860420"/>
                  </a:lnTo>
                  <a:lnTo>
                    <a:pt x="823162" y="868462"/>
                  </a:lnTo>
                  <a:lnTo>
                    <a:pt x="821090" y="874925"/>
                  </a:lnTo>
                  <a:lnTo>
                    <a:pt x="816945" y="879859"/>
                  </a:lnTo>
                  <a:lnTo>
                    <a:pt x="816945" y="887902"/>
                  </a:lnTo>
                  <a:lnTo>
                    <a:pt x="808607" y="897770"/>
                  </a:lnTo>
                  <a:lnTo>
                    <a:pt x="810679" y="901027"/>
                  </a:lnTo>
                  <a:lnTo>
                    <a:pt x="804413" y="915484"/>
                  </a:lnTo>
                  <a:lnTo>
                    <a:pt x="787736" y="913904"/>
                  </a:lnTo>
                  <a:lnTo>
                    <a:pt x="783591" y="921947"/>
                  </a:lnTo>
                  <a:lnTo>
                    <a:pt x="779446" y="928411"/>
                  </a:lnTo>
                  <a:lnTo>
                    <a:pt x="779446" y="931618"/>
                  </a:lnTo>
                  <a:lnTo>
                    <a:pt x="789858" y="928411"/>
                  </a:lnTo>
                  <a:lnTo>
                    <a:pt x="800269" y="925154"/>
                  </a:lnTo>
                  <a:lnTo>
                    <a:pt x="812751" y="928411"/>
                  </a:lnTo>
                  <a:lnTo>
                    <a:pt x="825234" y="910697"/>
                  </a:lnTo>
                  <a:lnTo>
                    <a:pt x="827357" y="895895"/>
                  </a:lnTo>
                  <a:lnTo>
                    <a:pt x="837767" y="886027"/>
                  </a:lnTo>
                  <a:lnTo>
                    <a:pt x="841912" y="889234"/>
                  </a:lnTo>
                  <a:lnTo>
                    <a:pt x="841912" y="903790"/>
                  </a:lnTo>
                  <a:lnTo>
                    <a:pt x="846056" y="911832"/>
                  </a:lnTo>
                  <a:lnTo>
                    <a:pt x="841912" y="913460"/>
                  </a:lnTo>
                  <a:lnTo>
                    <a:pt x="844033" y="927966"/>
                  </a:lnTo>
                  <a:lnTo>
                    <a:pt x="835646" y="940845"/>
                  </a:lnTo>
                  <a:lnTo>
                    <a:pt x="821090" y="945779"/>
                  </a:lnTo>
                  <a:lnTo>
                    <a:pt x="823162" y="948985"/>
                  </a:lnTo>
                  <a:lnTo>
                    <a:pt x="841912" y="948985"/>
                  </a:lnTo>
                  <a:lnTo>
                    <a:pt x="846056" y="945779"/>
                  </a:lnTo>
                  <a:lnTo>
                    <a:pt x="852322" y="944199"/>
                  </a:lnTo>
                  <a:lnTo>
                    <a:pt x="860662" y="939265"/>
                  </a:lnTo>
                  <a:lnTo>
                    <a:pt x="864855" y="940894"/>
                  </a:lnTo>
                  <a:lnTo>
                    <a:pt x="871072" y="939265"/>
                  </a:lnTo>
                  <a:lnTo>
                    <a:pt x="866928" y="944199"/>
                  </a:lnTo>
                  <a:lnTo>
                    <a:pt x="862783" y="950614"/>
                  </a:lnTo>
                  <a:lnTo>
                    <a:pt x="856516" y="948985"/>
                  </a:lnTo>
                  <a:lnTo>
                    <a:pt x="854445" y="952192"/>
                  </a:lnTo>
                  <a:lnTo>
                    <a:pt x="860662" y="960284"/>
                  </a:lnTo>
                  <a:lnTo>
                    <a:pt x="864855" y="968327"/>
                  </a:lnTo>
                  <a:lnTo>
                    <a:pt x="869049" y="978195"/>
                  </a:lnTo>
                  <a:lnTo>
                    <a:pt x="869049" y="989494"/>
                  </a:lnTo>
                  <a:lnTo>
                    <a:pt x="866928" y="1003950"/>
                  </a:lnTo>
                  <a:lnTo>
                    <a:pt x="858588" y="1012042"/>
                  </a:lnTo>
                  <a:lnTo>
                    <a:pt x="860662" y="1015299"/>
                  </a:lnTo>
                  <a:lnTo>
                    <a:pt x="858588" y="1026549"/>
                  </a:lnTo>
                  <a:lnTo>
                    <a:pt x="864855" y="1031483"/>
                  </a:lnTo>
                  <a:lnTo>
                    <a:pt x="871072" y="1039525"/>
                  </a:lnTo>
                  <a:lnTo>
                    <a:pt x="873193" y="1049393"/>
                  </a:lnTo>
                  <a:lnTo>
                    <a:pt x="885676" y="1063899"/>
                  </a:lnTo>
                  <a:lnTo>
                    <a:pt x="896088" y="1065527"/>
                  </a:lnTo>
                  <a:lnTo>
                    <a:pt x="902354" y="1070461"/>
                  </a:lnTo>
                  <a:lnTo>
                    <a:pt x="904426" y="1078504"/>
                  </a:lnTo>
                  <a:lnTo>
                    <a:pt x="912764" y="1078504"/>
                  </a:lnTo>
                  <a:lnTo>
                    <a:pt x="914837" y="1075297"/>
                  </a:lnTo>
                  <a:lnTo>
                    <a:pt x="918981" y="1073668"/>
                  </a:lnTo>
                  <a:lnTo>
                    <a:pt x="927370" y="1076876"/>
                  </a:lnTo>
                  <a:lnTo>
                    <a:pt x="935659" y="1084918"/>
                  </a:lnTo>
                  <a:lnTo>
                    <a:pt x="943997" y="1084918"/>
                  </a:lnTo>
                  <a:lnTo>
                    <a:pt x="952335" y="1093010"/>
                  </a:lnTo>
                  <a:lnTo>
                    <a:pt x="954408" y="1099473"/>
                  </a:lnTo>
                  <a:lnTo>
                    <a:pt x="960674" y="1101053"/>
                  </a:lnTo>
                  <a:lnTo>
                    <a:pt x="969013" y="1109144"/>
                  </a:lnTo>
                  <a:lnTo>
                    <a:pt x="973206" y="1109144"/>
                  </a:lnTo>
                  <a:lnTo>
                    <a:pt x="977351" y="1104210"/>
                  </a:lnTo>
                  <a:lnTo>
                    <a:pt x="989834" y="1099276"/>
                  </a:lnTo>
                  <a:lnTo>
                    <a:pt x="994027" y="1092812"/>
                  </a:lnTo>
                  <a:lnTo>
                    <a:pt x="1002317" y="1092812"/>
                  </a:lnTo>
                  <a:lnTo>
                    <a:pt x="1012728" y="1084721"/>
                  </a:lnTo>
                  <a:lnTo>
                    <a:pt x="1018994" y="1086399"/>
                  </a:lnTo>
                  <a:lnTo>
                    <a:pt x="1023188" y="1083142"/>
                  </a:lnTo>
                  <a:lnTo>
                    <a:pt x="1021116" y="1079935"/>
                  </a:lnTo>
                  <a:lnTo>
                    <a:pt x="1012728" y="1078307"/>
                  </a:lnTo>
                  <a:lnTo>
                    <a:pt x="1014850" y="1073373"/>
                  </a:lnTo>
                  <a:lnTo>
                    <a:pt x="1029405" y="1065330"/>
                  </a:lnTo>
                  <a:lnTo>
                    <a:pt x="1041938" y="1073373"/>
                  </a:lnTo>
                  <a:lnTo>
                    <a:pt x="1039815" y="1079836"/>
                  </a:lnTo>
                  <a:lnTo>
                    <a:pt x="1027332" y="1086300"/>
                  </a:lnTo>
                  <a:lnTo>
                    <a:pt x="1029405" y="1092714"/>
                  </a:lnTo>
                  <a:lnTo>
                    <a:pt x="1033598" y="1092714"/>
                  </a:lnTo>
                  <a:lnTo>
                    <a:pt x="1039815" y="1087780"/>
                  </a:lnTo>
                  <a:lnTo>
                    <a:pt x="1046131" y="1084524"/>
                  </a:lnTo>
                  <a:lnTo>
                    <a:pt x="1052348" y="1087780"/>
                  </a:lnTo>
                  <a:lnTo>
                    <a:pt x="1052348" y="1094194"/>
                  </a:lnTo>
                  <a:lnTo>
                    <a:pt x="1048155" y="1094194"/>
                  </a:lnTo>
                  <a:lnTo>
                    <a:pt x="1041938" y="1099128"/>
                  </a:lnTo>
                  <a:lnTo>
                    <a:pt x="1052348" y="1108996"/>
                  </a:lnTo>
                  <a:lnTo>
                    <a:pt x="1054421" y="1118864"/>
                  </a:lnTo>
                  <a:lnTo>
                    <a:pt x="1056542" y="1117286"/>
                  </a:lnTo>
                  <a:lnTo>
                    <a:pt x="1062759" y="1118864"/>
                  </a:lnTo>
                  <a:lnTo>
                    <a:pt x="1062759" y="1123798"/>
                  </a:lnTo>
                  <a:lnTo>
                    <a:pt x="1066953" y="1130213"/>
                  </a:lnTo>
                  <a:lnTo>
                    <a:pt x="1073170" y="1123798"/>
                  </a:lnTo>
                  <a:lnTo>
                    <a:pt x="1073170" y="1113930"/>
                  </a:lnTo>
                  <a:lnTo>
                    <a:pt x="1066953" y="1118864"/>
                  </a:lnTo>
                  <a:lnTo>
                    <a:pt x="1064831" y="1115657"/>
                  </a:lnTo>
                  <a:lnTo>
                    <a:pt x="1069026" y="1110723"/>
                  </a:lnTo>
                  <a:lnTo>
                    <a:pt x="1087774" y="1110723"/>
                  </a:lnTo>
                  <a:lnTo>
                    <a:pt x="1089847" y="1113980"/>
                  </a:lnTo>
                  <a:lnTo>
                    <a:pt x="1091919" y="1110723"/>
                  </a:lnTo>
                  <a:lnTo>
                    <a:pt x="1100257" y="1099473"/>
                  </a:lnTo>
                  <a:lnTo>
                    <a:pt x="1119007" y="1091382"/>
                  </a:lnTo>
                  <a:lnTo>
                    <a:pt x="1129468" y="1083339"/>
                  </a:lnTo>
                  <a:lnTo>
                    <a:pt x="1125273" y="1083339"/>
                  </a:lnTo>
                  <a:lnTo>
                    <a:pt x="1121079" y="1084918"/>
                  </a:lnTo>
                  <a:lnTo>
                    <a:pt x="1121079" y="1083339"/>
                  </a:lnTo>
                  <a:lnTo>
                    <a:pt x="1114863" y="1081711"/>
                  </a:lnTo>
                  <a:lnTo>
                    <a:pt x="1123152" y="1080132"/>
                  </a:lnTo>
                  <a:lnTo>
                    <a:pt x="1131490" y="1080132"/>
                  </a:lnTo>
                  <a:lnTo>
                    <a:pt x="1146292" y="1076876"/>
                  </a:lnTo>
                  <a:lnTo>
                    <a:pt x="1173380" y="1071942"/>
                  </a:lnTo>
                  <a:lnTo>
                    <a:pt x="1196275" y="1076876"/>
                  </a:lnTo>
                  <a:lnTo>
                    <a:pt x="1204613" y="1071942"/>
                  </a:lnTo>
                  <a:lnTo>
                    <a:pt x="1204613" y="1065478"/>
                  </a:lnTo>
                  <a:lnTo>
                    <a:pt x="1210879" y="1065478"/>
                  </a:lnTo>
                  <a:lnTo>
                    <a:pt x="1219217" y="1062271"/>
                  </a:lnTo>
                  <a:lnTo>
                    <a:pt x="1225434" y="1050972"/>
                  </a:lnTo>
                  <a:lnTo>
                    <a:pt x="1221289" y="1039673"/>
                  </a:lnTo>
                  <a:lnTo>
                    <a:pt x="1221289" y="1033111"/>
                  </a:lnTo>
                  <a:lnTo>
                    <a:pt x="1233822" y="1021812"/>
                  </a:lnTo>
                  <a:lnTo>
                    <a:pt x="1233822" y="1004049"/>
                  </a:lnTo>
                  <a:lnTo>
                    <a:pt x="1240039" y="996007"/>
                  </a:lnTo>
                  <a:lnTo>
                    <a:pt x="1242111" y="984757"/>
                  </a:lnTo>
                  <a:lnTo>
                    <a:pt x="1248377" y="981550"/>
                  </a:lnTo>
                  <a:lnTo>
                    <a:pt x="1248377" y="975086"/>
                  </a:lnTo>
                  <a:lnTo>
                    <a:pt x="1271321" y="952489"/>
                  </a:lnTo>
                  <a:lnTo>
                    <a:pt x="1277538" y="950910"/>
                  </a:lnTo>
                  <a:lnTo>
                    <a:pt x="1279610" y="938032"/>
                  </a:lnTo>
                  <a:lnTo>
                    <a:pt x="1290021" y="928164"/>
                  </a:lnTo>
                  <a:lnTo>
                    <a:pt x="1294215" y="915237"/>
                  </a:lnTo>
                  <a:lnTo>
                    <a:pt x="1302553" y="907194"/>
                  </a:lnTo>
                  <a:lnTo>
                    <a:pt x="1302553" y="900780"/>
                  </a:lnTo>
                  <a:lnTo>
                    <a:pt x="1308770" y="899102"/>
                  </a:lnTo>
                  <a:lnTo>
                    <a:pt x="1315036" y="886224"/>
                  </a:lnTo>
                  <a:lnTo>
                    <a:pt x="1310843" y="883017"/>
                  </a:lnTo>
                  <a:lnTo>
                    <a:pt x="1321253" y="878083"/>
                  </a:lnTo>
                  <a:lnTo>
                    <a:pt x="1329641" y="868215"/>
                  </a:lnTo>
                  <a:lnTo>
                    <a:pt x="1333786" y="865008"/>
                  </a:lnTo>
                  <a:lnTo>
                    <a:pt x="1337980" y="853709"/>
                  </a:lnTo>
                  <a:lnTo>
                    <a:pt x="1350463" y="852081"/>
                  </a:lnTo>
                  <a:lnTo>
                    <a:pt x="1356679" y="848874"/>
                  </a:lnTo>
                  <a:lnTo>
                    <a:pt x="1344197" y="848874"/>
                  </a:lnTo>
                  <a:lnTo>
                    <a:pt x="1348390" y="845667"/>
                  </a:lnTo>
                  <a:lnTo>
                    <a:pt x="1360873" y="844039"/>
                  </a:lnTo>
                  <a:lnTo>
                    <a:pt x="1371285" y="837624"/>
                  </a:lnTo>
                  <a:lnTo>
                    <a:pt x="1375478" y="831160"/>
                  </a:lnTo>
                  <a:lnTo>
                    <a:pt x="1373357" y="826226"/>
                  </a:lnTo>
                  <a:lnTo>
                    <a:pt x="1375478" y="819813"/>
                  </a:lnTo>
                  <a:lnTo>
                    <a:pt x="1385889" y="813349"/>
                  </a:lnTo>
                  <a:lnTo>
                    <a:pt x="1385889" y="806885"/>
                  </a:lnTo>
                  <a:lnTo>
                    <a:pt x="1394178" y="803678"/>
                  </a:lnTo>
                  <a:lnTo>
                    <a:pt x="1402516" y="792379"/>
                  </a:lnTo>
                  <a:lnTo>
                    <a:pt x="1402516" y="786409"/>
                  </a:lnTo>
                  <a:lnTo>
                    <a:pt x="1406711" y="776541"/>
                  </a:lnTo>
                  <a:lnTo>
                    <a:pt x="1402516" y="773284"/>
                  </a:lnTo>
                  <a:lnTo>
                    <a:pt x="1404589" y="768350"/>
                  </a:lnTo>
                  <a:lnTo>
                    <a:pt x="1412977" y="749059"/>
                  </a:lnTo>
                  <a:lnTo>
                    <a:pt x="1417121" y="737710"/>
                  </a:lnTo>
                  <a:lnTo>
                    <a:pt x="1429604" y="718418"/>
                  </a:lnTo>
                  <a:lnTo>
                    <a:pt x="1429604" y="710326"/>
                  </a:lnTo>
                  <a:lnTo>
                    <a:pt x="1435871" y="695870"/>
                  </a:lnTo>
                  <a:lnTo>
                    <a:pt x="1446282" y="689406"/>
                  </a:lnTo>
                  <a:lnTo>
                    <a:pt x="1448403" y="681314"/>
                  </a:lnTo>
                  <a:lnTo>
                    <a:pt x="1446282" y="671446"/>
                  </a:lnTo>
                  <a:lnTo>
                    <a:pt x="1452548" y="664982"/>
                  </a:lnTo>
                  <a:lnTo>
                    <a:pt x="1446282" y="650476"/>
                  </a:lnTo>
                  <a:lnTo>
                    <a:pt x="1448403" y="644013"/>
                  </a:lnTo>
                  <a:lnTo>
                    <a:pt x="1442137" y="631135"/>
                  </a:lnTo>
                  <a:lnTo>
                    <a:pt x="1440016" y="627928"/>
                  </a:lnTo>
                  <a:lnTo>
                    <a:pt x="1440016" y="621464"/>
                  </a:lnTo>
                  <a:lnTo>
                    <a:pt x="1442137" y="618257"/>
                  </a:lnTo>
                  <a:lnTo>
                    <a:pt x="1442137" y="611793"/>
                  </a:lnTo>
                  <a:lnTo>
                    <a:pt x="1448403" y="601925"/>
                  </a:lnTo>
                  <a:lnTo>
                    <a:pt x="1448403" y="581005"/>
                  </a:lnTo>
                  <a:lnTo>
                    <a:pt x="1452548" y="574542"/>
                  </a:lnTo>
                  <a:lnTo>
                    <a:pt x="1448403" y="571334"/>
                  </a:lnTo>
                  <a:lnTo>
                    <a:pt x="1446282" y="564871"/>
                  </a:lnTo>
                  <a:lnTo>
                    <a:pt x="1448403" y="553621"/>
                  </a:lnTo>
                  <a:lnTo>
                    <a:pt x="1444210" y="551944"/>
                  </a:lnTo>
                  <a:lnTo>
                    <a:pt x="1448403" y="545529"/>
                  </a:lnTo>
                  <a:lnTo>
                    <a:pt x="1442137" y="542273"/>
                  </a:lnTo>
                  <a:lnTo>
                    <a:pt x="1437944" y="537339"/>
                  </a:lnTo>
                  <a:lnTo>
                    <a:pt x="1437944" y="529247"/>
                  </a:lnTo>
                  <a:lnTo>
                    <a:pt x="1429604" y="524313"/>
                  </a:lnTo>
                  <a:lnTo>
                    <a:pt x="1425460" y="514445"/>
                  </a:lnTo>
                  <a:lnTo>
                    <a:pt x="1423387" y="506403"/>
                  </a:lnTo>
                  <a:lnTo>
                    <a:pt x="1417121" y="498311"/>
                  </a:lnTo>
                  <a:lnTo>
                    <a:pt x="1412977" y="498311"/>
                  </a:lnTo>
                  <a:lnTo>
                    <a:pt x="1406711" y="499988"/>
                  </a:lnTo>
                  <a:lnTo>
                    <a:pt x="1402516" y="496732"/>
                  </a:lnTo>
                  <a:lnTo>
                    <a:pt x="1402516" y="489874"/>
                  </a:lnTo>
                  <a:lnTo>
                    <a:pt x="1398373" y="488245"/>
                  </a:lnTo>
                  <a:lnTo>
                    <a:pt x="1396299" y="483311"/>
                  </a:lnTo>
                  <a:lnTo>
                    <a:pt x="1387961" y="476897"/>
                  </a:lnTo>
                  <a:lnTo>
                    <a:pt x="1383768" y="473640"/>
                  </a:lnTo>
                  <a:lnTo>
                    <a:pt x="1385889" y="468706"/>
                  </a:lnTo>
                  <a:lnTo>
                    <a:pt x="1381695" y="462243"/>
                  </a:lnTo>
                  <a:lnTo>
                    <a:pt x="1387961" y="454200"/>
                  </a:lnTo>
                  <a:lnTo>
                    <a:pt x="1390033" y="444332"/>
                  </a:lnTo>
                  <a:lnTo>
                    <a:pt x="1387961" y="439398"/>
                  </a:lnTo>
                  <a:lnTo>
                    <a:pt x="1387961" y="434464"/>
                  </a:lnTo>
                  <a:lnTo>
                    <a:pt x="1383768" y="431257"/>
                  </a:lnTo>
                  <a:lnTo>
                    <a:pt x="1381695" y="434464"/>
                  </a:lnTo>
                  <a:lnTo>
                    <a:pt x="1383768" y="437671"/>
                  </a:lnTo>
                  <a:lnTo>
                    <a:pt x="1381695" y="440928"/>
                  </a:lnTo>
                  <a:lnTo>
                    <a:pt x="1365068" y="428001"/>
                  </a:lnTo>
                  <a:lnTo>
                    <a:pt x="1362945" y="421586"/>
                  </a:lnTo>
                  <a:lnTo>
                    <a:pt x="1358802" y="423215"/>
                  </a:lnTo>
                  <a:lnTo>
                    <a:pt x="1358802" y="426422"/>
                  </a:lnTo>
                  <a:lnTo>
                    <a:pt x="1356679" y="431356"/>
                  </a:lnTo>
                  <a:lnTo>
                    <a:pt x="1360873" y="441224"/>
                  </a:lnTo>
                  <a:lnTo>
                    <a:pt x="1352535" y="433181"/>
                  </a:lnTo>
                  <a:lnTo>
                    <a:pt x="1350463" y="436389"/>
                  </a:lnTo>
                  <a:lnTo>
                    <a:pt x="1350463" y="431455"/>
                  </a:lnTo>
                  <a:lnTo>
                    <a:pt x="1346269" y="426520"/>
                  </a:lnTo>
                  <a:lnTo>
                    <a:pt x="1344197" y="408807"/>
                  </a:lnTo>
                  <a:lnTo>
                    <a:pt x="1348390" y="407179"/>
                  </a:lnTo>
                  <a:lnTo>
                    <a:pt x="1348390" y="402245"/>
                  </a:lnTo>
                  <a:lnTo>
                    <a:pt x="1340052" y="399038"/>
                  </a:lnTo>
                  <a:lnTo>
                    <a:pt x="1344197" y="394104"/>
                  </a:lnTo>
                  <a:lnTo>
                    <a:pt x="1337980" y="389170"/>
                  </a:lnTo>
                  <a:lnTo>
                    <a:pt x="1340052" y="384236"/>
                  </a:lnTo>
                  <a:lnTo>
                    <a:pt x="1327421" y="376884"/>
                  </a:lnTo>
                  <a:lnTo>
                    <a:pt x="1325299" y="370421"/>
                  </a:lnTo>
                  <a:lnTo>
                    <a:pt x="1323227" y="362378"/>
                  </a:lnTo>
                  <a:lnTo>
                    <a:pt x="1331516" y="363957"/>
                  </a:lnTo>
                  <a:lnTo>
                    <a:pt x="1331516" y="357493"/>
                  </a:lnTo>
                  <a:lnTo>
                    <a:pt x="1325299" y="349451"/>
                  </a:lnTo>
                  <a:lnTo>
                    <a:pt x="1321105" y="351079"/>
                  </a:lnTo>
                  <a:lnTo>
                    <a:pt x="1314888" y="349451"/>
                  </a:lnTo>
                  <a:lnTo>
                    <a:pt x="1308622" y="341408"/>
                  </a:lnTo>
                  <a:lnTo>
                    <a:pt x="1302405" y="341408"/>
                  </a:lnTo>
                  <a:lnTo>
                    <a:pt x="1296140" y="336474"/>
                  </a:lnTo>
                  <a:lnTo>
                    <a:pt x="1291994" y="339682"/>
                  </a:lnTo>
                  <a:lnTo>
                    <a:pt x="1289873" y="336474"/>
                  </a:lnTo>
                  <a:lnTo>
                    <a:pt x="1281583" y="333267"/>
                  </a:lnTo>
                  <a:lnTo>
                    <a:pt x="1277390" y="338201"/>
                  </a:lnTo>
                  <a:lnTo>
                    <a:pt x="1281583" y="331787"/>
                  </a:lnTo>
                  <a:lnTo>
                    <a:pt x="1287800" y="330159"/>
                  </a:lnTo>
                  <a:lnTo>
                    <a:pt x="1287800" y="326952"/>
                  </a:lnTo>
                  <a:lnTo>
                    <a:pt x="1285728" y="322018"/>
                  </a:lnTo>
                  <a:lnTo>
                    <a:pt x="1277390" y="323646"/>
                  </a:lnTo>
                  <a:lnTo>
                    <a:pt x="1271173" y="323646"/>
                  </a:lnTo>
                  <a:lnTo>
                    <a:pt x="1269052" y="318712"/>
                  </a:lnTo>
                  <a:lnTo>
                    <a:pt x="1267226" y="318712"/>
                  </a:lnTo>
                  <a:lnTo>
                    <a:pt x="1252423" y="312248"/>
                  </a:lnTo>
                  <a:lnTo>
                    <a:pt x="1244135" y="300949"/>
                  </a:lnTo>
                  <a:lnTo>
                    <a:pt x="1244135" y="290045"/>
                  </a:lnTo>
                  <a:lnTo>
                    <a:pt x="1239940" y="282003"/>
                  </a:lnTo>
                  <a:lnTo>
                    <a:pt x="1239940" y="277069"/>
                  </a:lnTo>
                  <a:lnTo>
                    <a:pt x="1242012" y="275490"/>
                  </a:lnTo>
                  <a:lnTo>
                    <a:pt x="1246206" y="262612"/>
                  </a:lnTo>
                  <a:lnTo>
                    <a:pt x="1242012" y="246478"/>
                  </a:lnTo>
                  <a:lnTo>
                    <a:pt x="1237868" y="240014"/>
                  </a:lnTo>
                  <a:lnTo>
                    <a:pt x="1242012" y="238435"/>
                  </a:lnTo>
                  <a:lnTo>
                    <a:pt x="1235795" y="233501"/>
                  </a:lnTo>
                  <a:lnTo>
                    <a:pt x="1231602" y="233501"/>
                  </a:lnTo>
                  <a:lnTo>
                    <a:pt x="1225336" y="222251"/>
                  </a:lnTo>
                  <a:lnTo>
                    <a:pt x="1223313" y="206117"/>
                  </a:lnTo>
                  <a:lnTo>
                    <a:pt x="1227408" y="204538"/>
                  </a:lnTo>
                  <a:lnTo>
                    <a:pt x="1227408" y="201331"/>
                  </a:lnTo>
                  <a:lnTo>
                    <a:pt x="1223313" y="198075"/>
                  </a:lnTo>
                  <a:lnTo>
                    <a:pt x="1223313" y="167484"/>
                  </a:lnTo>
                  <a:lnTo>
                    <a:pt x="1225336" y="165855"/>
                  </a:lnTo>
                  <a:lnTo>
                    <a:pt x="1225336" y="160921"/>
                  </a:lnTo>
                  <a:lnTo>
                    <a:pt x="1212852" y="151053"/>
                  </a:lnTo>
                  <a:lnTo>
                    <a:pt x="1204514" y="146119"/>
                  </a:lnTo>
                  <a:lnTo>
                    <a:pt x="1206586" y="144491"/>
                  </a:lnTo>
                  <a:lnTo>
                    <a:pt x="1200369" y="136449"/>
                  </a:lnTo>
                  <a:lnTo>
                    <a:pt x="1192031" y="141383"/>
                  </a:lnTo>
                  <a:lnTo>
                    <a:pt x="1187886" y="139754"/>
                  </a:lnTo>
                  <a:lnTo>
                    <a:pt x="1183693" y="146218"/>
                  </a:lnTo>
                  <a:lnTo>
                    <a:pt x="1177426" y="146218"/>
                  </a:lnTo>
                  <a:lnTo>
                    <a:pt x="1171209" y="136350"/>
                  </a:lnTo>
                  <a:lnTo>
                    <a:pt x="1171209" y="131416"/>
                  </a:lnTo>
                  <a:lnTo>
                    <a:pt x="1167015" y="121548"/>
                  </a:lnTo>
                  <a:lnTo>
                    <a:pt x="1169088" y="110298"/>
                  </a:lnTo>
                  <a:lnTo>
                    <a:pt x="1169088" y="97371"/>
                  </a:lnTo>
                  <a:lnTo>
                    <a:pt x="1164943" y="97371"/>
                  </a:lnTo>
                  <a:lnTo>
                    <a:pt x="1162871" y="92437"/>
                  </a:lnTo>
                  <a:lnTo>
                    <a:pt x="1164943" y="87503"/>
                  </a:lnTo>
                  <a:lnTo>
                    <a:pt x="1160798" y="81039"/>
                  </a:lnTo>
                  <a:lnTo>
                    <a:pt x="1160798" y="75908"/>
                  </a:lnTo>
                  <a:lnTo>
                    <a:pt x="1156605" y="74280"/>
                  </a:lnTo>
                  <a:lnTo>
                    <a:pt x="1156605" y="66040"/>
                  </a:lnTo>
                  <a:lnTo>
                    <a:pt x="1160798" y="62833"/>
                  </a:lnTo>
                  <a:lnTo>
                    <a:pt x="1156605" y="59626"/>
                  </a:lnTo>
                  <a:lnTo>
                    <a:pt x="1150388" y="61254"/>
                  </a:lnTo>
                  <a:lnTo>
                    <a:pt x="1146194" y="58047"/>
                  </a:lnTo>
                  <a:lnTo>
                    <a:pt x="1148265" y="43541"/>
                  </a:lnTo>
                  <a:lnTo>
                    <a:pt x="1146194" y="40333"/>
                  </a:lnTo>
                  <a:lnTo>
                    <a:pt x="1144122" y="30465"/>
                  </a:lnTo>
                  <a:lnTo>
                    <a:pt x="1135783" y="28837"/>
                  </a:lnTo>
                  <a:lnTo>
                    <a:pt x="1135783" y="25630"/>
                  </a:lnTo>
                  <a:lnTo>
                    <a:pt x="1127444" y="28837"/>
                  </a:lnTo>
                  <a:lnTo>
                    <a:pt x="1123251" y="33771"/>
                  </a:lnTo>
                  <a:lnTo>
                    <a:pt x="1123251" y="45021"/>
                  </a:lnTo>
                  <a:lnTo>
                    <a:pt x="1119106" y="53063"/>
                  </a:lnTo>
                  <a:lnTo>
                    <a:pt x="1119106" y="62931"/>
                  </a:lnTo>
                  <a:lnTo>
                    <a:pt x="1114961" y="62931"/>
                  </a:lnTo>
                  <a:lnTo>
                    <a:pt x="1108696" y="72800"/>
                  </a:lnTo>
                  <a:lnTo>
                    <a:pt x="1102429" y="80891"/>
                  </a:lnTo>
                  <a:lnTo>
                    <a:pt x="1108696" y="84098"/>
                  </a:lnTo>
                  <a:lnTo>
                    <a:pt x="1114961" y="89032"/>
                  </a:lnTo>
                  <a:lnTo>
                    <a:pt x="1110767" y="92240"/>
                  </a:lnTo>
                  <a:lnTo>
                    <a:pt x="1106573" y="90661"/>
                  </a:lnTo>
                  <a:lnTo>
                    <a:pt x="1104551" y="97075"/>
                  </a:lnTo>
                  <a:lnTo>
                    <a:pt x="1100356" y="103538"/>
                  </a:lnTo>
                  <a:lnTo>
                    <a:pt x="1104551" y="109953"/>
                  </a:lnTo>
                  <a:lnTo>
                    <a:pt x="1106573" y="116417"/>
                  </a:lnTo>
                  <a:lnTo>
                    <a:pt x="1100356" y="113209"/>
                  </a:lnTo>
                  <a:lnTo>
                    <a:pt x="1096163" y="116417"/>
                  </a:lnTo>
                  <a:lnTo>
                    <a:pt x="1092018" y="130923"/>
                  </a:lnTo>
                  <a:lnTo>
                    <a:pt x="1096163" y="142221"/>
                  </a:lnTo>
                  <a:lnTo>
                    <a:pt x="1094139" y="153471"/>
                  </a:lnTo>
                  <a:lnTo>
                    <a:pt x="1098284" y="161563"/>
                  </a:lnTo>
                  <a:lnTo>
                    <a:pt x="1096163" y="169605"/>
                  </a:lnTo>
                  <a:lnTo>
                    <a:pt x="1089946" y="176069"/>
                  </a:lnTo>
                  <a:lnTo>
                    <a:pt x="1089946" y="181003"/>
                  </a:lnTo>
                  <a:lnTo>
                    <a:pt x="1081607" y="192351"/>
                  </a:lnTo>
                  <a:lnTo>
                    <a:pt x="1081607" y="210064"/>
                  </a:lnTo>
                  <a:lnTo>
                    <a:pt x="1075341" y="216479"/>
                  </a:lnTo>
                  <a:lnTo>
                    <a:pt x="1077463" y="222942"/>
                  </a:lnTo>
                  <a:lnTo>
                    <a:pt x="1073268" y="232810"/>
                  </a:lnTo>
                  <a:lnTo>
                    <a:pt x="1067051" y="237744"/>
                  </a:lnTo>
                  <a:lnTo>
                    <a:pt x="1064930" y="249043"/>
                  </a:lnTo>
                  <a:lnTo>
                    <a:pt x="1054519" y="257086"/>
                  </a:lnTo>
                  <a:lnTo>
                    <a:pt x="1031625" y="265128"/>
                  </a:lnTo>
                  <a:lnTo>
                    <a:pt x="1021214" y="258665"/>
                  </a:lnTo>
                  <a:lnTo>
                    <a:pt x="1012826" y="258665"/>
                  </a:lnTo>
                  <a:lnTo>
                    <a:pt x="1008683" y="253730"/>
                  </a:lnTo>
                  <a:lnTo>
                    <a:pt x="998271" y="247267"/>
                  </a:lnTo>
                  <a:lnTo>
                    <a:pt x="998271" y="242333"/>
                  </a:lnTo>
                  <a:lnTo>
                    <a:pt x="996199" y="240705"/>
                  </a:lnTo>
                  <a:lnTo>
                    <a:pt x="994126" y="232662"/>
                  </a:lnTo>
                  <a:lnTo>
                    <a:pt x="985986" y="232662"/>
                  </a:lnTo>
                  <a:lnTo>
                    <a:pt x="977647" y="229455"/>
                  </a:lnTo>
                  <a:lnTo>
                    <a:pt x="967236" y="229455"/>
                  </a:lnTo>
                  <a:lnTo>
                    <a:pt x="956826" y="222992"/>
                  </a:lnTo>
                  <a:lnTo>
                    <a:pt x="954703" y="218058"/>
                  </a:lnTo>
                  <a:lnTo>
                    <a:pt x="946365" y="210015"/>
                  </a:lnTo>
                  <a:lnTo>
                    <a:pt x="938076" y="208387"/>
                  </a:lnTo>
                  <a:lnTo>
                    <a:pt x="929689" y="203453"/>
                  </a:lnTo>
                  <a:lnTo>
                    <a:pt x="927665" y="200246"/>
                  </a:lnTo>
                  <a:lnTo>
                    <a:pt x="923472" y="200246"/>
                  </a:lnTo>
                  <a:lnTo>
                    <a:pt x="919277" y="196989"/>
                  </a:lnTo>
                  <a:lnTo>
                    <a:pt x="910988" y="196989"/>
                  </a:lnTo>
                  <a:lnTo>
                    <a:pt x="904722" y="195410"/>
                  </a:lnTo>
                  <a:lnTo>
                    <a:pt x="906794" y="193782"/>
                  </a:lnTo>
                  <a:lnTo>
                    <a:pt x="898456" y="187319"/>
                  </a:lnTo>
                  <a:lnTo>
                    <a:pt x="896384" y="180855"/>
                  </a:lnTo>
                  <a:lnTo>
                    <a:pt x="888044" y="172812"/>
                  </a:lnTo>
                  <a:lnTo>
                    <a:pt x="881778" y="171234"/>
                  </a:lnTo>
                  <a:lnTo>
                    <a:pt x="873489" y="163142"/>
                  </a:lnTo>
                  <a:lnTo>
                    <a:pt x="873489" y="156727"/>
                  </a:lnTo>
                  <a:lnTo>
                    <a:pt x="879756" y="146859"/>
                  </a:lnTo>
                  <a:lnTo>
                    <a:pt x="881778" y="138817"/>
                  </a:lnTo>
                  <a:lnTo>
                    <a:pt x="888044" y="135561"/>
                  </a:lnTo>
                  <a:lnTo>
                    <a:pt x="890167" y="125693"/>
                  </a:lnTo>
                  <a:lnTo>
                    <a:pt x="894311" y="120758"/>
                  </a:lnTo>
                  <a:lnTo>
                    <a:pt x="888044" y="123965"/>
                  </a:lnTo>
                  <a:lnTo>
                    <a:pt x="881778" y="115874"/>
                  </a:lnTo>
                  <a:lnTo>
                    <a:pt x="890167" y="110939"/>
                  </a:lnTo>
                  <a:lnTo>
                    <a:pt x="888044" y="104476"/>
                  </a:lnTo>
                  <a:lnTo>
                    <a:pt x="892239" y="104476"/>
                  </a:lnTo>
                  <a:lnTo>
                    <a:pt x="896384" y="102848"/>
                  </a:lnTo>
                  <a:lnTo>
                    <a:pt x="898456" y="106055"/>
                  </a:lnTo>
                  <a:lnTo>
                    <a:pt x="904722" y="107683"/>
                  </a:lnTo>
                  <a:lnTo>
                    <a:pt x="915132" y="102749"/>
                  </a:lnTo>
                  <a:lnTo>
                    <a:pt x="917255" y="96286"/>
                  </a:lnTo>
                  <a:lnTo>
                    <a:pt x="910988" y="91352"/>
                  </a:lnTo>
                  <a:lnTo>
                    <a:pt x="915132" y="88144"/>
                  </a:lnTo>
                  <a:lnTo>
                    <a:pt x="921399" y="89773"/>
                  </a:lnTo>
                  <a:lnTo>
                    <a:pt x="923472" y="79905"/>
                  </a:lnTo>
                  <a:lnTo>
                    <a:pt x="929689" y="76697"/>
                  </a:lnTo>
                  <a:lnTo>
                    <a:pt x="933882" y="71763"/>
                  </a:lnTo>
                  <a:lnTo>
                    <a:pt x="933882" y="68556"/>
                  </a:lnTo>
                  <a:lnTo>
                    <a:pt x="927665" y="65300"/>
                  </a:lnTo>
                  <a:lnTo>
                    <a:pt x="921399" y="70234"/>
                  </a:lnTo>
                  <a:lnTo>
                    <a:pt x="917255" y="68606"/>
                  </a:lnTo>
                  <a:lnTo>
                    <a:pt x="917255" y="57356"/>
                  </a:lnTo>
                  <a:lnTo>
                    <a:pt x="910988" y="60563"/>
                  </a:lnTo>
                  <a:lnTo>
                    <a:pt x="902650" y="68606"/>
                  </a:lnTo>
                  <a:lnTo>
                    <a:pt x="906794" y="70234"/>
                  </a:lnTo>
                  <a:lnTo>
                    <a:pt x="906794" y="75168"/>
                  </a:lnTo>
                  <a:lnTo>
                    <a:pt x="900577" y="76796"/>
                  </a:lnTo>
                  <a:lnTo>
                    <a:pt x="894311" y="73540"/>
                  </a:lnTo>
                  <a:lnTo>
                    <a:pt x="894311" y="70974"/>
                  </a:lnTo>
                  <a:lnTo>
                    <a:pt x="890167" y="67767"/>
                  </a:lnTo>
                  <a:lnTo>
                    <a:pt x="888044" y="70974"/>
                  </a:lnTo>
                  <a:lnTo>
                    <a:pt x="883901" y="72553"/>
                  </a:lnTo>
                  <a:lnTo>
                    <a:pt x="883901" y="69346"/>
                  </a:lnTo>
                  <a:lnTo>
                    <a:pt x="888044" y="64412"/>
                  </a:lnTo>
                  <a:lnTo>
                    <a:pt x="888044" y="61106"/>
                  </a:lnTo>
                  <a:lnTo>
                    <a:pt x="883901" y="64313"/>
                  </a:lnTo>
                  <a:lnTo>
                    <a:pt x="879756" y="67569"/>
                  </a:lnTo>
                  <a:lnTo>
                    <a:pt x="871368" y="69148"/>
                  </a:lnTo>
                  <a:lnTo>
                    <a:pt x="871368" y="72356"/>
                  </a:lnTo>
                  <a:lnTo>
                    <a:pt x="867223" y="72356"/>
                  </a:lnTo>
                  <a:lnTo>
                    <a:pt x="865151" y="70777"/>
                  </a:lnTo>
                  <a:lnTo>
                    <a:pt x="856813" y="70777"/>
                  </a:lnTo>
                  <a:lnTo>
                    <a:pt x="856813" y="67569"/>
                  </a:lnTo>
                  <a:lnTo>
                    <a:pt x="852618" y="61106"/>
                  </a:lnTo>
                  <a:lnTo>
                    <a:pt x="848473" y="59478"/>
                  </a:lnTo>
                  <a:lnTo>
                    <a:pt x="840135" y="64412"/>
                  </a:lnTo>
                  <a:lnTo>
                    <a:pt x="833918" y="61205"/>
                  </a:lnTo>
                  <a:lnTo>
                    <a:pt x="829725" y="64412"/>
                  </a:lnTo>
                  <a:lnTo>
                    <a:pt x="827652" y="59478"/>
                  </a:lnTo>
                  <a:lnTo>
                    <a:pt x="825531" y="57899"/>
                  </a:lnTo>
                  <a:lnTo>
                    <a:pt x="821386" y="51435"/>
                  </a:lnTo>
                  <a:lnTo>
                    <a:pt x="813047" y="54642"/>
                  </a:lnTo>
                  <a:lnTo>
                    <a:pt x="802637" y="54642"/>
                  </a:lnTo>
                  <a:lnTo>
                    <a:pt x="796420" y="51435"/>
                  </a:lnTo>
                  <a:lnTo>
                    <a:pt x="796420" y="46501"/>
                  </a:lnTo>
                  <a:lnTo>
                    <a:pt x="790154" y="40087"/>
                  </a:lnTo>
                  <a:lnTo>
                    <a:pt x="788031" y="41666"/>
                  </a:lnTo>
                  <a:lnTo>
                    <a:pt x="788031" y="43294"/>
                  </a:lnTo>
                  <a:lnTo>
                    <a:pt x="777621" y="46501"/>
                  </a:lnTo>
                  <a:lnTo>
                    <a:pt x="775549" y="41567"/>
                  </a:lnTo>
                  <a:lnTo>
                    <a:pt x="769332" y="39988"/>
                  </a:lnTo>
                  <a:lnTo>
                    <a:pt x="758872" y="35054"/>
                  </a:lnTo>
                  <a:lnTo>
                    <a:pt x="756800" y="36682"/>
                  </a:lnTo>
                  <a:lnTo>
                    <a:pt x="752605" y="33475"/>
                  </a:lnTo>
                  <a:lnTo>
                    <a:pt x="746388" y="38409"/>
                  </a:lnTo>
                  <a:lnTo>
                    <a:pt x="754727" y="43343"/>
                  </a:lnTo>
                  <a:lnTo>
                    <a:pt x="752605" y="44922"/>
                  </a:lnTo>
                  <a:lnTo>
                    <a:pt x="758872" y="44922"/>
                  </a:lnTo>
                  <a:lnTo>
                    <a:pt x="765138" y="43343"/>
                  </a:lnTo>
                  <a:lnTo>
                    <a:pt x="775549" y="51386"/>
                  </a:lnTo>
                  <a:lnTo>
                    <a:pt x="773476" y="54593"/>
                  </a:lnTo>
                  <a:lnTo>
                    <a:pt x="775549" y="64461"/>
                  </a:lnTo>
                  <a:lnTo>
                    <a:pt x="768888" y="66040"/>
                  </a:lnTo>
                  <a:lnTo>
                    <a:pt x="766767" y="72503"/>
                  </a:lnTo>
                  <a:lnTo>
                    <a:pt x="762622" y="67569"/>
                  </a:lnTo>
                  <a:lnTo>
                    <a:pt x="758427" y="67569"/>
                  </a:lnTo>
                  <a:lnTo>
                    <a:pt x="752162" y="70777"/>
                  </a:lnTo>
                  <a:lnTo>
                    <a:pt x="731339" y="70777"/>
                  </a:lnTo>
                  <a:lnTo>
                    <a:pt x="723051" y="65843"/>
                  </a:lnTo>
                  <a:lnTo>
                    <a:pt x="723051" y="67520"/>
                  </a:lnTo>
                  <a:lnTo>
                    <a:pt x="714712" y="70727"/>
                  </a:lnTo>
                  <a:lnTo>
                    <a:pt x="714712" y="75661"/>
                  </a:lnTo>
                  <a:lnTo>
                    <a:pt x="708446" y="75661"/>
                  </a:lnTo>
                  <a:lnTo>
                    <a:pt x="710518" y="83704"/>
                  </a:lnTo>
                  <a:lnTo>
                    <a:pt x="708446" y="80497"/>
                  </a:lnTo>
                  <a:lnTo>
                    <a:pt x="700108" y="77290"/>
                  </a:lnTo>
                  <a:lnTo>
                    <a:pt x="695963" y="82224"/>
                  </a:lnTo>
                  <a:lnTo>
                    <a:pt x="700108" y="85480"/>
                  </a:lnTo>
                  <a:lnTo>
                    <a:pt x="698035" y="88687"/>
                  </a:lnTo>
                  <a:lnTo>
                    <a:pt x="689696" y="87108"/>
                  </a:lnTo>
                  <a:lnTo>
                    <a:pt x="685553" y="90315"/>
                  </a:lnTo>
                  <a:lnTo>
                    <a:pt x="689696" y="93523"/>
                  </a:lnTo>
                  <a:lnTo>
                    <a:pt x="685553" y="95151"/>
                  </a:lnTo>
                  <a:lnTo>
                    <a:pt x="679286" y="98358"/>
                  </a:lnTo>
                  <a:lnTo>
                    <a:pt x="679286" y="101565"/>
                  </a:lnTo>
                  <a:lnTo>
                    <a:pt x="685553" y="106499"/>
                  </a:lnTo>
                  <a:lnTo>
                    <a:pt x="685553" y="109706"/>
                  </a:lnTo>
                  <a:lnTo>
                    <a:pt x="679286" y="106499"/>
                  </a:lnTo>
                  <a:lnTo>
                    <a:pt x="675141" y="111433"/>
                  </a:lnTo>
                  <a:lnTo>
                    <a:pt x="668826" y="111433"/>
                  </a:lnTo>
                  <a:lnTo>
                    <a:pt x="662609" y="119426"/>
                  </a:lnTo>
                  <a:lnTo>
                    <a:pt x="656392" y="129294"/>
                  </a:lnTo>
                  <a:lnTo>
                    <a:pt x="652199" y="130873"/>
                  </a:lnTo>
                  <a:lnTo>
                    <a:pt x="650125" y="138965"/>
                  </a:lnTo>
                  <a:lnTo>
                    <a:pt x="643859" y="142172"/>
                  </a:lnTo>
                  <a:lnTo>
                    <a:pt x="648004" y="147106"/>
                  </a:lnTo>
                  <a:lnTo>
                    <a:pt x="660537" y="148734"/>
                  </a:lnTo>
                  <a:lnTo>
                    <a:pt x="656392" y="150313"/>
                  </a:lnTo>
                  <a:lnTo>
                    <a:pt x="654270" y="153520"/>
                  </a:lnTo>
                  <a:lnTo>
                    <a:pt x="669073" y="158454"/>
                  </a:lnTo>
                  <a:lnTo>
                    <a:pt x="662856" y="160033"/>
                  </a:lnTo>
                  <a:lnTo>
                    <a:pt x="654517" y="160033"/>
                  </a:lnTo>
                  <a:lnTo>
                    <a:pt x="650372" y="155099"/>
                  </a:lnTo>
                  <a:lnTo>
                    <a:pt x="650372" y="160033"/>
                  </a:lnTo>
                  <a:lnTo>
                    <a:pt x="656639" y="163240"/>
                  </a:lnTo>
                  <a:lnTo>
                    <a:pt x="656639" y="169704"/>
                  </a:lnTo>
                  <a:lnTo>
                    <a:pt x="662856" y="177747"/>
                  </a:lnTo>
                  <a:lnTo>
                    <a:pt x="654517" y="171332"/>
                  </a:lnTo>
                  <a:lnTo>
                    <a:pt x="648251" y="161464"/>
                  </a:lnTo>
                  <a:lnTo>
                    <a:pt x="642034" y="161464"/>
                  </a:lnTo>
                  <a:lnTo>
                    <a:pt x="642034" y="164671"/>
                  </a:lnTo>
                  <a:lnTo>
                    <a:pt x="637840" y="169605"/>
                  </a:lnTo>
                  <a:lnTo>
                    <a:pt x="637840" y="164671"/>
                  </a:lnTo>
                  <a:lnTo>
                    <a:pt x="621163" y="154803"/>
                  </a:lnTo>
                  <a:lnTo>
                    <a:pt x="610752" y="158060"/>
                  </a:lnTo>
                  <a:lnTo>
                    <a:pt x="614946" y="161267"/>
                  </a:lnTo>
                  <a:lnTo>
                    <a:pt x="610752" y="164474"/>
                  </a:lnTo>
                  <a:lnTo>
                    <a:pt x="606608" y="161267"/>
                  </a:lnTo>
                  <a:lnTo>
                    <a:pt x="604535" y="161267"/>
                  </a:lnTo>
                  <a:lnTo>
                    <a:pt x="600342" y="164474"/>
                  </a:lnTo>
                  <a:lnTo>
                    <a:pt x="606608" y="170938"/>
                  </a:lnTo>
                  <a:lnTo>
                    <a:pt x="604535" y="174144"/>
                  </a:lnTo>
                  <a:lnTo>
                    <a:pt x="602463" y="172516"/>
                  </a:lnTo>
                  <a:lnTo>
                    <a:pt x="600342" y="172516"/>
                  </a:lnTo>
                  <a:lnTo>
                    <a:pt x="600342" y="175773"/>
                  </a:lnTo>
                  <a:lnTo>
                    <a:pt x="592052" y="178980"/>
                  </a:lnTo>
                  <a:lnTo>
                    <a:pt x="581642" y="180559"/>
                  </a:lnTo>
                  <a:lnTo>
                    <a:pt x="589930" y="177352"/>
                  </a:lnTo>
                  <a:lnTo>
                    <a:pt x="596197" y="170938"/>
                  </a:lnTo>
                  <a:lnTo>
                    <a:pt x="596197" y="161069"/>
                  </a:lnTo>
                  <a:lnTo>
                    <a:pt x="600342" y="154606"/>
                  </a:lnTo>
                  <a:lnTo>
                    <a:pt x="598269" y="151399"/>
                  </a:lnTo>
                  <a:lnTo>
                    <a:pt x="592052" y="151399"/>
                  </a:lnTo>
                  <a:lnTo>
                    <a:pt x="581395" y="135116"/>
                  </a:lnTo>
                  <a:lnTo>
                    <a:pt x="575079" y="127074"/>
                  </a:lnTo>
                  <a:lnTo>
                    <a:pt x="564669" y="125446"/>
                  </a:lnTo>
                  <a:lnTo>
                    <a:pt x="558452" y="122239"/>
                  </a:lnTo>
                  <a:lnTo>
                    <a:pt x="554257" y="123867"/>
                  </a:lnTo>
                  <a:lnTo>
                    <a:pt x="558452" y="127074"/>
                  </a:lnTo>
                  <a:lnTo>
                    <a:pt x="554257" y="128702"/>
                  </a:lnTo>
                  <a:lnTo>
                    <a:pt x="548041" y="135116"/>
                  </a:lnTo>
                  <a:lnTo>
                    <a:pt x="543846" y="133488"/>
                  </a:lnTo>
                  <a:lnTo>
                    <a:pt x="545969" y="130281"/>
                  </a:lnTo>
                  <a:lnTo>
                    <a:pt x="539702" y="131909"/>
                  </a:lnTo>
                  <a:lnTo>
                    <a:pt x="537629" y="135116"/>
                  </a:lnTo>
                  <a:lnTo>
                    <a:pt x="531364" y="127074"/>
                  </a:lnTo>
                  <a:lnTo>
                    <a:pt x="529291" y="125446"/>
                  </a:lnTo>
                  <a:lnTo>
                    <a:pt x="527170" y="130380"/>
                  </a:lnTo>
                  <a:lnTo>
                    <a:pt x="531364" y="133587"/>
                  </a:lnTo>
                  <a:lnTo>
                    <a:pt x="525147" y="138521"/>
                  </a:lnTo>
                  <a:lnTo>
                    <a:pt x="523025" y="144935"/>
                  </a:lnTo>
                  <a:lnTo>
                    <a:pt x="525147" y="148192"/>
                  </a:lnTo>
                  <a:lnTo>
                    <a:pt x="518881" y="151399"/>
                  </a:lnTo>
                  <a:lnTo>
                    <a:pt x="514736" y="148192"/>
                  </a:lnTo>
                  <a:lnTo>
                    <a:pt x="510541" y="146563"/>
                  </a:lnTo>
                  <a:lnTo>
                    <a:pt x="508469" y="143307"/>
                  </a:lnTo>
                  <a:lnTo>
                    <a:pt x="514736" y="138373"/>
                  </a:lnTo>
                  <a:lnTo>
                    <a:pt x="508469" y="138373"/>
                  </a:lnTo>
                  <a:lnTo>
                    <a:pt x="506348" y="144787"/>
                  </a:lnTo>
                  <a:lnTo>
                    <a:pt x="498059" y="146415"/>
                  </a:lnTo>
                  <a:lnTo>
                    <a:pt x="495937" y="151349"/>
                  </a:lnTo>
                  <a:lnTo>
                    <a:pt x="493865" y="157813"/>
                  </a:lnTo>
                  <a:lnTo>
                    <a:pt x="504276" y="161020"/>
                  </a:lnTo>
                  <a:lnTo>
                    <a:pt x="495937" y="167484"/>
                  </a:lnTo>
                  <a:lnTo>
                    <a:pt x="489720" y="164227"/>
                  </a:lnTo>
                  <a:lnTo>
                    <a:pt x="479260" y="169161"/>
                  </a:lnTo>
                  <a:lnTo>
                    <a:pt x="481332" y="172368"/>
                  </a:lnTo>
                  <a:lnTo>
                    <a:pt x="491744" y="173997"/>
                  </a:lnTo>
                  <a:lnTo>
                    <a:pt x="487648" y="178931"/>
                  </a:lnTo>
                  <a:lnTo>
                    <a:pt x="483454" y="180510"/>
                  </a:lnTo>
                  <a:lnTo>
                    <a:pt x="477237" y="172467"/>
                  </a:lnTo>
                  <a:lnTo>
                    <a:pt x="470922" y="178931"/>
                  </a:lnTo>
                  <a:lnTo>
                    <a:pt x="462632" y="180510"/>
                  </a:lnTo>
                  <a:lnTo>
                    <a:pt x="464705" y="183766"/>
                  </a:lnTo>
                  <a:lnTo>
                    <a:pt x="466777" y="188700"/>
                  </a:lnTo>
                  <a:lnTo>
                    <a:pt x="466777" y="191957"/>
                  </a:lnTo>
                  <a:lnTo>
                    <a:pt x="470922" y="191957"/>
                  </a:lnTo>
                  <a:lnTo>
                    <a:pt x="466777" y="196891"/>
                  </a:lnTo>
                  <a:lnTo>
                    <a:pt x="468849" y="201825"/>
                  </a:lnTo>
                  <a:lnTo>
                    <a:pt x="462632" y="205032"/>
                  </a:lnTo>
                  <a:lnTo>
                    <a:pt x="460511" y="208239"/>
                  </a:lnTo>
                  <a:lnTo>
                    <a:pt x="473043" y="211446"/>
                  </a:lnTo>
                  <a:lnTo>
                    <a:pt x="464705" y="214653"/>
                  </a:lnTo>
                  <a:lnTo>
                    <a:pt x="462632" y="216281"/>
                  </a:lnTo>
                  <a:lnTo>
                    <a:pt x="456366" y="216281"/>
                  </a:lnTo>
                  <a:lnTo>
                    <a:pt x="452222" y="211347"/>
                  </a:lnTo>
                  <a:lnTo>
                    <a:pt x="445956" y="208140"/>
                  </a:lnTo>
                  <a:lnTo>
                    <a:pt x="439689" y="211347"/>
                  </a:lnTo>
                  <a:lnTo>
                    <a:pt x="437617" y="208140"/>
                  </a:lnTo>
                  <a:lnTo>
                    <a:pt x="431400" y="203206"/>
                  </a:lnTo>
                  <a:lnTo>
                    <a:pt x="427206" y="206413"/>
                  </a:lnTo>
                  <a:lnTo>
                    <a:pt x="435544" y="212877"/>
                  </a:lnTo>
                  <a:lnTo>
                    <a:pt x="431400" y="214456"/>
                  </a:lnTo>
                  <a:lnTo>
                    <a:pt x="429278" y="219390"/>
                  </a:lnTo>
                  <a:lnTo>
                    <a:pt x="435544" y="225804"/>
                  </a:lnTo>
                  <a:lnTo>
                    <a:pt x="443834" y="225804"/>
                  </a:lnTo>
                  <a:lnTo>
                    <a:pt x="439689" y="230738"/>
                  </a:lnTo>
                  <a:lnTo>
                    <a:pt x="439689" y="235672"/>
                  </a:lnTo>
                  <a:lnTo>
                    <a:pt x="437617" y="233994"/>
                  </a:lnTo>
                  <a:lnTo>
                    <a:pt x="433423" y="233994"/>
                  </a:lnTo>
                  <a:lnTo>
                    <a:pt x="433423" y="240458"/>
                  </a:lnTo>
                  <a:lnTo>
                    <a:pt x="431400" y="246921"/>
                  </a:lnTo>
                  <a:lnTo>
                    <a:pt x="429278" y="254964"/>
                  </a:lnTo>
                  <a:lnTo>
                    <a:pt x="419065" y="233797"/>
                  </a:lnTo>
                  <a:lnTo>
                    <a:pt x="410726" y="220919"/>
                  </a:lnTo>
                  <a:lnTo>
                    <a:pt x="406582" y="215985"/>
                  </a:lnTo>
                  <a:lnTo>
                    <a:pt x="408654" y="207943"/>
                  </a:lnTo>
                  <a:lnTo>
                    <a:pt x="406582" y="212877"/>
                  </a:lnTo>
                  <a:lnTo>
                    <a:pt x="398243" y="217811"/>
                  </a:lnTo>
                  <a:lnTo>
                    <a:pt x="396171" y="225853"/>
                  </a:lnTo>
                  <a:lnTo>
                    <a:pt x="391978" y="225853"/>
                  </a:lnTo>
                  <a:lnTo>
                    <a:pt x="389904" y="230787"/>
                  </a:lnTo>
                  <a:lnTo>
                    <a:pt x="383688" y="229208"/>
                  </a:lnTo>
                  <a:lnTo>
                    <a:pt x="379494" y="234143"/>
                  </a:lnTo>
                  <a:lnTo>
                    <a:pt x="373228" y="239077"/>
                  </a:lnTo>
                  <a:lnTo>
                    <a:pt x="375300" y="247119"/>
                  </a:lnTo>
                  <a:lnTo>
                    <a:pt x="375300" y="263253"/>
                  </a:lnTo>
                  <a:lnTo>
                    <a:pt x="377372" y="264832"/>
                  </a:lnTo>
                  <a:lnTo>
                    <a:pt x="377372" y="269766"/>
                  </a:lnTo>
                  <a:lnTo>
                    <a:pt x="371155" y="273023"/>
                  </a:lnTo>
                  <a:lnTo>
                    <a:pt x="366962" y="279437"/>
                  </a:lnTo>
                  <a:lnTo>
                    <a:pt x="358673" y="281065"/>
                  </a:lnTo>
                  <a:lnTo>
                    <a:pt x="358673" y="285999"/>
                  </a:lnTo>
                  <a:lnTo>
                    <a:pt x="350284" y="290933"/>
                  </a:lnTo>
                  <a:lnTo>
                    <a:pt x="350284" y="297347"/>
                  </a:lnTo>
                  <a:lnTo>
                    <a:pt x="346140" y="302282"/>
                  </a:lnTo>
                  <a:lnTo>
                    <a:pt x="333657" y="315159"/>
                  </a:lnTo>
                  <a:lnTo>
                    <a:pt x="312835" y="326458"/>
                  </a:lnTo>
                  <a:lnTo>
                    <a:pt x="294037" y="328086"/>
                  </a:lnTo>
                  <a:lnTo>
                    <a:pt x="285748" y="329715"/>
                  </a:lnTo>
                  <a:lnTo>
                    <a:pt x="275336" y="331294"/>
                  </a:lnTo>
                  <a:lnTo>
                    <a:pt x="266949" y="332922"/>
                  </a:lnTo>
                  <a:lnTo>
                    <a:pt x="258660" y="331294"/>
                  </a:lnTo>
                  <a:lnTo>
                    <a:pt x="246127" y="334550"/>
                  </a:lnTo>
                  <a:lnTo>
                    <a:pt x="246127" y="339484"/>
                  </a:lnTo>
                  <a:lnTo>
                    <a:pt x="237838" y="342741"/>
                  </a:lnTo>
                  <a:lnTo>
                    <a:pt x="214894" y="342741"/>
                  </a:lnTo>
                  <a:lnTo>
                    <a:pt x="208628" y="345948"/>
                  </a:lnTo>
                  <a:lnTo>
                    <a:pt x="206606" y="350882"/>
                  </a:lnTo>
                  <a:lnTo>
                    <a:pt x="191803" y="355816"/>
                  </a:lnTo>
                  <a:lnTo>
                    <a:pt x="181738" y="355816"/>
                  </a:lnTo>
                  <a:lnTo>
                    <a:pt x="175472" y="354237"/>
                  </a:lnTo>
                  <a:lnTo>
                    <a:pt x="169205" y="354237"/>
                  </a:lnTo>
                  <a:lnTo>
                    <a:pt x="167133" y="350980"/>
                  </a:lnTo>
                  <a:lnTo>
                    <a:pt x="160867" y="354237"/>
                  </a:lnTo>
                  <a:lnTo>
                    <a:pt x="154650" y="360651"/>
                  </a:lnTo>
                  <a:lnTo>
                    <a:pt x="139848" y="363908"/>
                  </a:lnTo>
                  <a:lnTo>
                    <a:pt x="137776" y="365486"/>
                  </a:lnTo>
                  <a:lnTo>
                    <a:pt x="133631" y="365486"/>
                  </a:lnTo>
                  <a:lnTo>
                    <a:pt x="123220" y="375355"/>
                  </a:lnTo>
                  <a:lnTo>
                    <a:pt x="106494" y="381818"/>
                  </a:lnTo>
                  <a:lnTo>
                    <a:pt x="85672" y="386752"/>
                  </a:lnTo>
                  <a:lnTo>
                    <a:pt x="77334" y="398100"/>
                  </a:lnTo>
                  <a:lnTo>
                    <a:pt x="77334" y="407722"/>
                  </a:lnTo>
                  <a:lnTo>
                    <a:pt x="68995" y="414185"/>
                  </a:lnTo>
                  <a:lnTo>
                    <a:pt x="62778" y="410978"/>
                  </a:lnTo>
                  <a:lnTo>
                    <a:pt x="66923" y="407722"/>
                  </a:lnTo>
                  <a:lnTo>
                    <a:pt x="64851" y="402788"/>
                  </a:lnTo>
                  <a:lnTo>
                    <a:pt x="68995" y="394745"/>
                  </a:lnTo>
                  <a:lnTo>
                    <a:pt x="68995" y="386752"/>
                  </a:lnTo>
                  <a:lnTo>
                    <a:pt x="56513" y="394795"/>
                  </a:lnTo>
                  <a:lnTo>
                    <a:pt x="54439" y="404663"/>
                  </a:lnTo>
                  <a:lnTo>
                    <a:pt x="46101" y="417540"/>
                  </a:lnTo>
                  <a:lnTo>
                    <a:pt x="52368" y="427409"/>
                  </a:lnTo>
                  <a:lnTo>
                    <a:pt x="48173" y="435451"/>
                  </a:lnTo>
                  <a:lnTo>
                    <a:pt x="48173" y="448378"/>
                  </a:lnTo>
                  <a:lnTo>
                    <a:pt x="33371" y="464463"/>
                  </a:lnTo>
                  <a:lnTo>
                    <a:pt x="29227" y="483805"/>
                  </a:lnTo>
                  <a:lnTo>
                    <a:pt x="33371" y="495104"/>
                  </a:lnTo>
                  <a:lnTo>
                    <a:pt x="31250" y="509560"/>
                  </a:lnTo>
                  <a:lnTo>
                    <a:pt x="43782" y="527323"/>
                  </a:lnTo>
                  <a:lnTo>
                    <a:pt x="43782" y="534773"/>
                  </a:lnTo>
                  <a:lnTo>
                    <a:pt x="47926" y="539707"/>
                  </a:lnTo>
                  <a:lnTo>
                    <a:pt x="43782" y="547799"/>
                  </a:lnTo>
                  <a:lnTo>
                    <a:pt x="47926" y="557667"/>
                  </a:lnTo>
                  <a:lnTo>
                    <a:pt x="39637" y="559246"/>
                  </a:lnTo>
                  <a:lnTo>
                    <a:pt x="35444" y="554312"/>
                  </a:lnTo>
                  <a:lnTo>
                    <a:pt x="35444" y="542964"/>
                  </a:lnTo>
                  <a:lnTo>
                    <a:pt x="31250" y="549427"/>
                  </a:lnTo>
                  <a:lnTo>
                    <a:pt x="29227" y="547849"/>
                  </a:lnTo>
                  <a:lnTo>
                    <a:pt x="29227" y="537980"/>
                  </a:lnTo>
                  <a:lnTo>
                    <a:pt x="22961" y="523474"/>
                  </a:lnTo>
                  <a:lnTo>
                    <a:pt x="16695" y="529889"/>
                  </a:lnTo>
                  <a:lnTo>
                    <a:pt x="18767" y="544395"/>
                  </a:lnTo>
                  <a:lnTo>
                    <a:pt x="29227" y="552437"/>
                  </a:lnTo>
                  <a:lnTo>
                    <a:pt x="35444" y="563736"/>
                  </a:lnTo>
                  <a:lnTo>
                    <a:pt x="25033" y="565364"/>
                  </a:lnTo>
                  <a:lnTo>
                    <a:pt x="16695" y="555496"/>
                  </a:lnTo>
                  <a:lnTo>
                    <a:pt x="14621" y="545628"/>
                  </a:lnTo>
                  <a:lnTo>
                    <a:pt x="12550" y="548835"/>
                  </a:lnTo>
                  <a:lnTo>
                    <a:pt x="8356" y="552042"/>
                  </a:lnTo>
                  <a:lnTo>
                    <a:pt x="14621" y="561910"/>
                  </a:lnTo>
                  <a:lnTo>
                    <a:pt x="27105" y="574838"/>
                  </a:lnTo>
                  <a:lnTo>
                    <a:pt x="33371" y="592551"/>
                  </a:lnTo>
                  <a:lnTo>
                    <a:pt x="33371" y="624819"/>
                  </a:lnTo>
                  <a:lnTo>
                    <a:pt x="37516" y="629753"/>
                  </a:lnTo>
                  <a:lnTo>
                    <a:pt x="41661" y="647466"/>
                  </a:lnTo>
                  <a:lnTo>
                    <a:pt x="52121" y="670065"/>
                  </a:lnTo>
                  <a:lnTo>
                    <a:pt x="47926" y="678107"/>
                  </a:lnTo>
                  <a:lnTo>
                    <a:pt x="50049" y="713583"/>
                  </a:lnTo>
                  <a:lnTo>
                    <a:pt x="47926" y="718517"/>
                  </a:lnTo>
                  <a:lnTo>
                    <a:pt x="52121" y="728385"/>
                  </a:lnTo>
                  <a:lnTo>
                    <a:pt x="52121" y="738253"/>
                  </a:lnTo>
                  <a:lnTo>
                    <a:pt x="60459" y="754387"/>
                  </a:lnTo>
                  <a:lnTo>
                    <a:pt x="60459" y="762430"/>
                  </a:lnTo>
                  <a:lnTo>
                    <a:pt x="52121" y="765686"/>
                  </a:lnTo>
                  <a:lnTo>
                    <a:pt x="56266" y="768893"/>
                  </a:lnTo>
                  <a:lnTo>
                    <a:pt x="54193" y="776985"/>
                  </a:lnTo>
                  <a:lnTo>
                    <a:pt x="52121" y="791442"/>
                  </a:lnTo>
                  <a:lnTo>
                    <a:pt x="45854" y="796376"/>
                  </a:lnTo>
                  <a:lnTo>
                    <a:pt x="47926" y="799583"/>
                  </a:lnTo>
                  <a:lnTo>
                    <a:pt x="45854" y="807626"/>
                  </a:lnTo>
                  <a:lnTo>
                    <a:pt x="39637" y="812560"/>
                  </a:lnTo>
                  <a:lnTo>
                    <a:pt x="41661" y="820651"/>
                  </a:lnTo>
                  <a:lnTo>
                    <a:pt x="29227" y="827065"/>
                  </a:lnTo>
                  <a:lnTo>
                    <a:pt x="25033" y="823858"/>
                  </a:lnTo>
                  <a:lnTo>
                    <a:pt x="14621" y="83510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Graphic 2">
              <a:extLst>
                <a:ext uri="{FF2B5EF4-FFF2-40B4-BE49-F238E27FC236}">
                  <a16:creationId xmlns:a16="http://schemas.microsoft.com/office/drawing/2014/main" id="{34C67667-2F94-4ACB-A2E2-26119C64102B}"/>
                </a:ext>
              </a:extLst>
            </p:cNvPr>
            <p:cNvSpPr/>
            <p:nvPr/>
          </p:nvSpPr>
          <p:spPr>
            <a:xfrm>
              <a:off x="10547779" y="5831436"/>
              <a:ext cx="528907" cy="583300"/>
            </a:xfrm>
            <a:custGeom>
              <a:avLst/>
              <a:gdLst>
                <a:gd name="connsiteX0" fmla="*/ 3866 w 582166"/>
                <a:gd name="connsiteY0" fmla="*/ 553720 h 642065"/>
                <a:gd name="connsiteX1" fmla="*/ 7861 w 582166"/>
                <a:gd name="connsiteY1" fmla="*/ 555250 h 642065"/>
                <a:gd name="connsiteX2" fmla="*/ 9786 w 582166"/>
                <a:gd name="connsiteY2" fmla="*/ 555250 h 642065"/>
                <a:gd name="connsiteX3" fmla="*/ 9786 w 582166"/>
                <a:gd name="connsiteY3" fmla="*/ 552191 h 642065"/>
                <a:gd name="connsiteX4" fmla="*/ 3866 w 582166"/>
                <a:gd name="connsiteY4" fmla="*/ 552191 h 642065"/>
                <a:gd name="connsiteX5" fmla="*/ 3866 w 582166"/>
                <a:gd name="connsiteY5" fmla="*/ 553720 h 642065"/>
                <a:gd name="connsiteX6" fmla="*/ 469638 w 582166"/>
                <a:gd name="connsiteY6" fmla="*/ 136942 h 642065"/>
                <a:gd name="connsiteX7" fmla="*/ 477533 w 582166"/>
                <a:gd name="connsiteY7" fmla="*/ 136942 h 642065"/>
                <a:gd name="connsiteX8" fmla="*/ 477533 w 582166"/>
                <a:gd name="connsiteY8" fmla="*/ 138472 h 642065"/>
                <a:gd name="connsiteX9" fmla="*/ 471611 w 582166"/>
                <a:gd name="connsiteY9" fmla="*/ 138472 h 642065"/>
                <a:gd name="connsiteX10" fmla="*/ 469638 w 582166"/>
                <a:gd name="connsiteY10" fmla="*/ 136942 h 642065"/>
                <a:gd name="connsiteX11" fmla="*/ 481479 w 582166"/>
                <a:gd name="connsiteY11" fmla="*/ 109607 h 642065"/>
                <a:gd name="connsiteX12" fmla="*/ 479506 w 582166"/>
                <a:gd name="connsiteY12" fmla="*/ 106548 h 642065"/>
                <a:gd name="connsiteX13" fmla="*/ 483454 w 582166"/>
                <a:gd name="connsiteY13" fmla="*/ 106548 h 642065"/>
                <a:gd name="connsiteX14" fmla="*/ 481479 w 582166"/>
                <a:gd name="connsiteY14" fmla="*/ 109607 h 642065"/>
                <a:gd name="connsiteX15" fmla="*/ 493272 w 582166"/>
                <a:gd name="connsiteY15" fmla="*/ 112617 h 642065"/>
                <a:gd name="connsiteX16" fmla="*/ 489374 w 582166"/>
                <a:gd name="connsiteY16" fmla="*/ 106548 h 642065"/>
                <a:gd name="connsiteX17" fmla="*/ 493272 w 582166"/>
                <a:gd name="connsiteY17" fmla="*/ 98901 h 642065"/>
                <a:gd name="connsiteX18" fmla="*/ 493272 w 582166"/>
                <a:gd name="connsiteY18" fmla="*/ 103489 h 642065"/>
                <a:gd name="connsiteX19" fmla="*/ 495295 w 582166"/>
                <a:gd name="connsiteY19" fmla="*/ 106548 h 642065"/>
                <a:gd name="connsiteX20" fmla="*/ 493272 w 582166"/>
                <a:gd name="connsiteY20" fmla="*/ 109607 h 642065"/>
                <a:gd name="connsiteX21" fmla="*/ 493272 w 582166"/>
                <a:gd name="connsiteY21" fmla="*/ 112617 h 642065"/>
                <a:gd name="connsiteX22" fmla="*/ 376878 w 582166"/>
                <a:gd name="connsiteY22" fmla="*/ 354385 h 642065"/>
                <a:gd name="connsiteX23" fmla="*/ 382799 w 582166"/>
                <a:gd name="connsiteY23" fmla="*/ 355865 h 642065"/>
                <a:gd name="connsiteX24" fmla="*/ 384773 w 582166"/>
                <a:gd name="connsiteY24" fmla="*/ 352855 h 642065"/>
                <a:gd name="connsiteX25" fmla="*/ 386746 w 582166"/>
                <a:gd name="connsiteY25" fmla="*/ 352855 h 642065"/>
                <a:gd name="connsiteX26" fmla="*/ 388720 w 582166"/>
                <a:gd name="connsiteY26" fmla="*/ 357395 h 642065"/>
                <a:gd name="connsiteX27" fmla="*/ 386746 w 582166"/>
                <a:gd name="connsiteY27" fmla="*/ 360454 h 642065"/>
                <a:gd name="connsiteX28" fmla="*/ 392667 w 582166"/>
                <a:gd name="connsiteY28" fmla="*/ 360454 h 642065"/>
                <a:gd name="connsiteX29" fmla="*/ 394641 w 582166"/>
                <a:gd name="connsiteY29" fmla="*/ 361934 h 642065"/>
                <a:gd name="connsiteX30" fmla="*/ 392667 w 582166"/>
                <a:gd name="connsiteY30" fmla="*/ 366523 h 642065"/>
                <a:gd name="connsiteX31" fmla="*/ 394641 w 582166"/>
                <a:gd name="connsiteY31" fmla="*/ 368052 h 642065"/>
                <a:gd name="connsiteX32" fmla="*/ 400562 w 582166"/>
                <a:gd name="connsiteY32" fmla="*/ 368052 h 642065"/>
                <a:gd name="connsiteX33" fmla="*/ 414377 w 582166"/>
                <a:gd name="connsiteY33" fmla="*/ 360454 h 642065"/>
                <a:gd name="connsiteX34" fmla="*/ 426218 w 582166"/>
                <a:gd name="connsiteY34" fmla="*/ 352855 h 642065"/>
                <a:gd name="connsiteX35" fmla="*/ 436086 w 582166"/>
                <a:gd name="connsiteY35" fmla="*/ 342198 h 642065"/>
                <a:gd name="connsiteX36" fmla="*/ 447929 w 582166"/>
                <a:gd name="connsiteY36" fmla="*/ 333070 h 642065"/>
                <a:gd name="connsiteX37" fmla="*/ 457797 w 582166"/>
                <a:gd name="connsiteY37" fmla="*/ 320883 h 642065"/>
                <a:gd name="connsiteX38" fmla="*/ 465740 w 582166"/>
                <a:gd name="connsiteY38" fmla="*/ 314814 h 642065"/>
                <a:gd name="connsiteX39" fmla="*/ 469687 w 582166"/>
                <a:gd name="connsiteY39" fmla="*/ 314814 h 642065"/>
                <a:gd name="connsiteX40" fmla="*/ 471661 w 582166"/>
                <a:gd name="connsiteY40" fmla="*/ 311755 h 642065"/>
                <a:gd name="connsiteX41" fmla="*/ 471661 w 582166"/>
                <a:gd name="connsiteY41" fmla="*/ 307216 h 642065"/>
                <a:gd name="connsiteX42" fmla="*/ 477582 w 582166"/>
                <a:gd name="connsiteY42" fmla="*/ 304156 h 642065"/>
                <a:gd name="connsiteX43" fmla="*/ 483503 w 582166"/>
                <a:gd name="connsiteY43" fmla="*/ 302627 h 642065"/>
                <a:gd name="connsiteX44" fmla="*/ 487450 w 582166"/>
                <a:gd name="connsiteY44" fmla="*/ 288960 h 642065"/>
                <a:gd name="connsiteX45" fmla="*/ 495344 w 582166"/>
                <a:gd name="connsiteY45" fmla="*/ 279831 h 642065"/>
                <a:gd name="connsiteX46" fmla="*/ 495344 w 582166"/>
                <a:gd name="connsiteY46" fmla="*/ 278302 h 642065"/>
                <a:gd name="connsiteX47" fmla="*/ 499292 w 582166"/>
                <a:gd name="connsiteY47" fmla="*/ 275243 h 642065"/>
                <a:gd name="connsiteX48" fmla="*/ 493322 w 582166"/>
                <a:gd name="connsiteY48" fmla="*/ 270704 h 642065"/>
                <a:gd name="connsiteX49" fmla="*/ 487450 w 582166"/>
                <a:gd name="connsiteY49" fmla="*/ 269174 h 642065"/>
                <a:gd name="connsiteX50" fmla="*/ 483503 w 582166"/>
                <a:gd name="connsiteY50" fmla="*/ 270704 h 642065"/>
                <a:gd name="connsiteX51" fmla="*/ 487450 w 582166"/>
                <a:gd name="connsiteY51" fmla="*/ 267644 h 642065"/>
                <a:gd name="connsiteX52" fmla="*/ 491347 w 582166"/>
                <a:gd name="connsiteY52" fmla="*/ 264635 h 642065"/>
                <a:gd name="connsiteX53" fmla="*/ 507187 w 582166"/>
                <a:gd name="connsiteY53" fmla="*/ 250918 h 642065"/>
                <a:gd name="connsiteX54" fmla="*/ 515080 w 582166"/>
                <a:gd name="connsiteY54" fmla="*/ 249389 h 642065"/>
                <a:gd name="connsiteX55" fmla="*/ 526873 w 582166"/>
                <a:gd name="connsiteY55" fmla="*/ 249389 h 642065"/>
                <a:gd name="connsiteX56" fmla="*/ 532843 w 582166"/>
                <a:gd name="connsiteY56" fmla="*/ 250918 h 642065"/>
                <a:gd name="connsiteX57" fmla="*/ 530869 w 582166"/>
                <a:gd name="connsiteY57" fmla="*/ 253977 h 642065"/>
                <a:gd name="connsiteX58" fmla="*/ 532843 w 582166"/>
                <a:gd name="connsiteY58" fmla="*/ 258517 h 642065"/>
                <a:gd name="connsiteX59" fmla="*/ 538764 w 582166"/>
                <a:gd name="connsiteY59" fmla="*/ 253977 h 642065"/>
                <a:gd name="connsiteX60" fmla="*/ 544635 w 582166"/>
                <a:gd name="connsiteY60" fmla="*/ 250918 h 642065"/>
                <a:gd name="connsiteX61" fmla="*/ 534767 w 582166"/>
                <a:gd name="connsiteY61" fmla="*/ 249389 h 642065"/>
                <a:gd name="connsiteX62" fmla="*/ 534767 w 582166"/>
                <a:gd name="connsiteY62" fmla="*/ 243320 h 642065"/>
                <a:gd name="connsiteX63" fmla="*/ 538715 w 582166"/>
                <a:gd name="connsiteY63" fmla="*/ 232662 h 642065"/>
                <a:gd name="connsiteX64" fmla="*/ 544586 w 582166"/>
                <a:gd name="connsiteY64" fmla="*/ 228123 h 642065"/>
                <a:gd name="connsiteX65" fmla="*/ 550556 w 582166"/>
                <a:gd name="connsiteY65" fmla="*/ 229653 h 642065"/>
                <a:gd name="connsiteX66" fmla="*/ 552530 w 582166"/>
                <a:gd name="connsiteY66" fmla="*/ 231133 h 642065"/>
                <a:gd name="connsiteX67" fmla="*/ 554503 w 582166"/>
                <a:gd name="connsiteY67" fmla="*/ 228123 h 642065"/>
                <a:gd name="connsiteX68" fmla="*/ 558401 w 582166"/>
                <a:gd name="connsiteY68" fmla="*/ 223535 h 642065"/>
                <a:gd name="connsiteX69" fmla="*/ 568269 w 582166"/>
                <a:gd name="connsiteY69" fmla="*/ 209867 h 642065"/>
                <a:gd name="connsiteX70" fmla="*/ 568269 w 582166"/>
                <a:gd name="connsiteY70" fmla="*/ 206808 h 642065"/>
                <a:gd name="connsiteX71" fmla="*/ 566296 w 582166"/>
                <a:gd name="connsiteY71" fmla="*/ 202269 h 642065"/>
                <a:gd name="connsiteX72" fmla="*/ 570244 w 582166"/>
                <a:gd name="connsiteY72" fmla="*/ 196200 h 642065"/>
                <a:gd name="connsiteX73" fmla="*/ 574141 w 582166"/>
                <a:gd name="connsiteY73" fmla="*/ 190082 h 642065"/>
                <a:gd name="connsiteX74" fmla="*/ 582085 w 582166"/>
                <a:gd name="connsiteY74" fmla="*/ 185542 h 642065"/>
                <a:gd name="connsiteX75" fmla="*/ 582085 w 582166"/>
                <a:gd name="connsiteY75" fmla="*/ 184013 h 642065"/>
                <a:gd name="connsiteX76" fmla="*/ 572217 w 582166"/>
                <a:gd name="connsiteY76" fmla="*/ 182483 h 642065"/>
                <a:gd name="connsiteX77" fmla="*/ 568269 w 582166"/>
                <a:gd name="connsiteY77" fmla="*/ 177944 h 642065"/>
                <a:gd name="connsiteX78" fmla="*/ 572217 w 582166"/>
                <a:gd name="connsiteY78" fmla="*/ 177944 h 642065"/>
                <a:gd name="connsiteX79" fmla="*/ 572217 w 582166"/>
                <a:gd name="connsiteY79" fmla="*/ 176414 h 642065"/>
                <a:gd name="connsiteX80" fmla="*/ 564322 w 582166"/>
                <a:gd name="connsiteY80" fmla="*/ 174884 h 642065"/>
                <a:gd name="connsiteX81" fmla="*/ 556428 w 582166"/>
                <a:gd name="connsiteY81" fmla="*/ 179424 h 642065"/>
                <a:gd name="connsiteX82" fmla="*/ 544536 w 582166"/>
                <a:gd name="connsiteY82" fmla="*/ 191611 h 642065"/>
                <a:gd name="connsiteX83" fmla="*/ 534668 w 582166"/>
                <a:gd name="connsiteY83" fmla="*/ 191611 h 642065"/>
                <a:gd name="connsiteX84" fmla="*/ 530722 w 582166"/>
                <a:gd name="connsiteY84" fmla="*/ 194670 h 642065"/>
                <a:gd name="connsiteX85" fmla="*/ 524751 w 582166"/>
                <a:gd name="connsiteY85" fmla="*/ 191611 h 642065"/>
                <a:gd name="connsiteX86" fmla="*/ 510936 w 582166"/>
                <a:gd name="connsiteY86" fmla="*/ 177944 h 642065"/>
                <a:gd name="connsiteX87" fmla="*/ 503042 w 582166"/>
                <a:gd name="connsiteY87" fmla="*/ 177944 h 642065"/>
                <a:gd name="connsiteX88" fmla="*/ 499094 w 582166"/>
                <a:gd name="connsiteY88" fmla="*/ 171825 h 642065"/>
                <a:gd name="connsiteX89" fmla="*/ 497121 w 582166"/>
                <a:gd name="connsiteY89" fmla="*/ 168766 h 642065"/>
                <a:gd name="connsiteX90" fmla="*/ 501068 w 582166"/>
                <a:gd name="connsiteY90" fmla="*/ 165757 h 642065"/>
                <a:gd name="connsiteX91" fmla="*/ 501068 w 582166"/>
                <a:gd name="connsiteY91" fmla="*/ 156629 h 642065"/>
                <a:gd name="connsiteX92" fmla="*/ 497121 w 582166"/>
                <a:gd name="connsiteY92" fmla="*/ 147501 h 642065"/>
                <a:gd name="connsiteX93" fmla="*/ 497121 w 582166"/>
                <a:gd name="connsiteY93" fmla="*/ 142912 h 642065"/>
                <a:gd name="connsiteX94" fmla="*/ 493124 w 582166"/>
                <a:gd name="connsiteY94" fmla="*/ 139902 h 642065"/>
                <a:gd name="connsiteX95" fmla="*/ 495147 w 582166"/>
                <a:gd name="connsiteY95" fmla="*/ 135363 h 642065"/>
                <a:gd name="connsiteX96" fmla="*/ 497121 w 582166"/>
                <a:gd name="connsiteY96" fmla="*/ 129245 h 642065"/>
                <a:gd name="connsiteX97" fmla="*/ 493124 w 582166"/>
                <a:gd name="connsiteY97" fmla="*/ 127715 h 642065"/>
                <a:gd name="connsiteX98" fmla="*/ 491151 w 582166"/>
                <a:gd name="connsiteY98" fmla="*/ 121647 h 642065"/>
                <a:gd name="connsiteX99" fmla="*/ 491151 w 582166"/>
                <a:gd name="connsiteY99" fmla="*/ 118587 h 642065"/>
                <a:gd name="connsiteX100" fmla="*/ 487253 w 582166"/>
                <a:gd name="connsiteY100" fmla="*/ 120117 h 642065"/>
                <a:gd name="connsiteX101" fmla="*/ 483305 w 582166"/>
                <a:gd name="connsiteY101" fmla="*/ 117058 h 642065"/>
                <a:gd name="connsiteX102" fmla="*/ 481332 w 582166"/>
                <a:gd name="connsiteY102" fmla="*/ 120117 h 642065"/>
                <a:gd name="connsiteX103" fmla="*/ 485279 w 582166"/>
                <a:gd name="connsiteY103" fmla="*/ 123126 h 642065"/>
                <a:gd name="connsiteX104" fmla="*/ 485279 w 582166"/>
                <a:gd name="connsiteY104" fmla="*/ 129245 h 642065"/>
                <a:gd name="connsiteX105" fmla="*/ 487253 w 582166"/>
                <a:gd name="connsiteY105" fmla="*/ 130774 h 642065"/>
                <a:gd name="connsiteX106" fmla="*/ 481332 w 582166"/>
                <a:gd name="connsiteY106" fmla="*/ 136843 h 642065"/>
                <a:gd name="connsiteX107" fmla="*/ 481332 w 582166"/>
                <a:gd name="connsiteY107" fmla="*/ 141432 h 642065"/>
                <a:gd name="connsiteX108" fmla="*/ 485279 w 582166"/>
                <a:gd name="connsiteY108" fmla="*/ 145971 h 642065"/>
                <a:gd name="connsiteX109" fmla="*/ 485279 w 582166"/>
                <a:gd name="connsiteY109" fmla="*/ 149030 h 642065"/>
                <a:gd name="connsiteX110" fmla="*/ 481332 w 582166"/>
                <a:gd name="connsiteY110" fmla="*/ 150560 h 642065"/>
                <a:gd name="connsiteX111" fmla="*/ 477385 w 582166"/>
                <a:gd name="connsiteY111" fmla="*/ 147501 h 642065"/>
                <a:gd name="connsiteX112" fmla="*/ 475361 w 582166"/>
                <a:gd name="connsiteY112" fmla="*/ 141432 h 642065"/>
                <a:gd name="connsiteX113" fmla="*/ 467517 w 582166"/>
                <a:gd name="connsiteY113" fmla="*/ 141432 h 642065"/>
                <a:gd name="connsiteX114" fmla="*/ 467517 w 582166"/>
                <a:gd name="connsiteY114" fmla="*/ 138373 h 642065"/>
                <a:gd name="connsiteX115" fmla="*/ 461596 w 582166"/>
                <a:gd name="connsiteY115" fmla="*/ 136843 h 642065"/>
                <a:gd name="connsiteX116" fmla="*/ 457599 w 582166"/>
                <a:gd name="connsiteY116" fmla="*/ 136843 h 642065"/>
                <a:gd name="connsiteX117" fmla="*/ 457599 w 582166"/>
                <a:gd name="connsiteY117" fmla="*/ 132304 h 642065"/>
                <a:gd name="connsiteX118" fmla="*/ 461596 w 582166"/>
                <a:gd name="connsiteY118" fmla="*/ 130774 h 642065"/>
                <a:gd name="connsiteX119" fmla="*/ 463569 w 582166"/>
                <a:gd name="connsiteY119" fmla="*/ 126185 h 642065"/>
                <a:gd name="connsiteX120" fmla="*/ 457599 w 582166"/>
                <a:gd name="connsiteY120" fmla="*/ 121647 h 642065"/>
                <a:gd name="connsiteX121" fmla="*/ 461596 w 582166"/>
                <a:gd name="connsiteY121" fmla="*/ 115578 h 642065"/>
                <a:gd name="connsiteX122" fmla="*/ 467517 w 582166"/>
                <a:gd name="connsiteY122" fmla="*/ 115578 h 642065"/>
                <a:gd name="connsiteX123" fmla="*/ 469490 w 582166"/>
                <a:gd name="connsiteY123" fmla="*/ 109508 h 642065"/>
                <a:gd name="connsiteX124" fmla="*/ 467517 w 582166"/>
                <a:gd name="connsiteY124" fmla="*/ 103390 h 642065"/>
                <a:gd name="connsiteX125" fmla="*/ 467517 w 582166"/>
                <a:gd name="connsiteY125" fmla="*/ 100331 h 642065"/>
                <a:gd name="connsiteX126" fmla="*/ 465542 w 582166"/>
                <a:gd name="connsiteY126" fmla="*/ 94262 h 642065"/>
                <a:gd name="connsiteX127" fmla="*/ 467517 w 582166"/>
                <a:gd name="connsiteY127" fmla="*/ 88194 h 642065"/>
                <a:gd name="connsiteX128" fmla="*/ 459572 w 582166"/>
                <a:gd name="connsiteY128" fmla="*/ 83605 h 642065"/>
                <a:gd name="connsiteX129" fmla="*/ 459572 w 582166"/>
                <a:gd name="connsiteY129" fmla="*/ 79016 h 642065"/>
                <a:gd name="connsiteX130" fmla="*/ 463569 w 582166"/>
                <a:gd name="connsiteY130" fmla="*/ 83605 h 642065"/>
                <a:gd name="connsiteX131" fmla="*/ 469490 w 582166"/>
                <a:gd name="connsiteY131" fmla="*/ 80546 h 642065"/>
                <a:gd name="connsiteX132" fmla="*/ 471464 w 582166"/>
                <a:gd name="connsiteY132" fmla="*/ 74477 h 642065"/>
                <a:gd name="connsiteX133" fmla="*/ 475361 w 582166"/>
                <a:gd name="connsiteY133" fmla="*/ 72948 h 642065"/>
                <a:gd name="connsiteX134" fmla="*/ 475361 w 582166"/>
                <a:gd name="connsiteY134" fmla="*/ 63820 h 642065"/>
                <a:gd name="connsiteX135" fmla="*/ 471464 w 582166"/>
                <a:gd name="connsiteY135" fmla="*/ 56221 h 642065"/>
                <a:gd name="connsiteX136" fmla="*/ 471464 w 582166"/>
                <a:gd name="connsiteY136" fmla="*/ 50152 h 642065"/>
                <a:gd name="connsiteX137" fmla="*/ 469490 w 582166"/>
                <a:gd name="connsiteY137" fmla="*/ 51682 h 642065"/>
                <a:gd name="connsiteX138" fmla="*/ 461596 w 582166"/>
                <a:gd name="connsiteY138" fmla="*/ 56221 h 642065"/>
                <a:gd name="connsiteX139" fmla="*/ 455674 w 582166"/>
                <a:gd name="connsiteY139" fmla="*/ 48623 h 642065"/>
                <a:gd name="connsiteX140" fmla="*/ 459572 w 582166"/>
                <a:gd name="connsiteY140" fmla="*/ 45613 h 642065"/>
                <a:gd name="connsiteX141" fmla="*/ 455674 w 582166"/>
                <a:gd name="connsiteY141" fmla="*/ 42554 h 642065"/>
                <a:gd name="connsiteX142" fmla="*/ 451728 w 582166"/>
                <a:gd name="connsiteY142" fmla="*/ 42554 h 642065"/>
                <a:gd name="connsiteX143" fmla="*/ 455674 w 582166"/>
                <a:gd name="connsiteY143" fmla="*/ 39495 h 642065"/>
                <a:gd name="connsiteX144" fmla="*/ 459572 w 582166"/>
                <a:gd name="connsiteY144" fmla="*/ 37965 h 642065"/>
                <a:gd name="connsiteX145" fmla="*/ 459572 w 582166"/>
                <a:gd name="connsiteY145" fmla="*/ 34906 h 642065"/>
                <a:gd name="connsiteX146" fmla="*/ 453701 w 582166"/>
                <a:gd name="connsiteY146" fmla="*/ 33426 h 642065"/>
                <a:gd name="connsiteX147" fmla="*/ 449754 w 582166"/>
                <a:gd name="connsiteY147" fmla="*/ 27357 h 642065"/>
                <a:gd name="connsiteX148" fmla="*/ 443833 w 582166"/>
                <a:gd name="connsiteY148" fmla="*/ 30367 h 642065"/>
                <a:gd name="connsiteX149" fmla="*/ 443833 w 582166"/>
                <a:gd name="connsiteY149" fmla="*/ 24298 h 642065"/>
                <a:gd name="connsiteX150" fmla="*/ 445806 w 582166"/>
                <a:gd name="connsiteY150" fmla="*/ 24298 h 642065"/>
                <a:gd name="connsiteX151" fmla="*/ 447781 w 582166"/>
                <a:gd name="connsiteY151" fmla="*/ 21239 h 642065"/>
                <a:gd name="connsiteX152" fmla="*/ 445806 w 582166"/>
                <a:gd name="connsiteY152" fmla="*/ 21239 h 642065"/>
                <a:gd name="connsiteX153" fmla="*/ 441811 w 582166"/>
                <a:gd name="connsiteY153" fmla="*/ 22768 h 642065"/>
                <a:gd name="connsiteX154" fmla="*/ 441811 w 582166"/>
                <a:gd name="connsiteY154" fmla="*/ 25827 h 642065"/>
                <a:gd name="connsiteX155" fmla="*/ 435938 w 582166"/>
                <a:gd name="connsiteY155" fmla="*/ 31896 h 642065"/>
                <a:gd name="connsiteX156" fmla="*/ 431992 w 582166"/>
                <a:gd name="connsiteY156" fmla="*/ 30367 h 642065"/>
                <a:gd name="connsiteX157" fmla="*/ 433965 w 582166"/>
                <a:gd name="connsiteY157" fmla="*/ 24298 h 642065"/>
                <a:gd name="connsiteX158" fmla="*/ 431992 w 582166"/>
                <a:gd name="connsiteY158" fmla="*/ 19709 h 642065"/>
                <a:gd name="connsiteX159" fmla="*/ 430018 w 582166"/>
                <a:gd name="connsiteY159" fmla="*/ 12111 h 642065"/>
                <a:gd name="connsiteX160" fmla="*/ 430018 w 582166"/>
                <a:gd name="connsiteY160" fmla="*/ 6042 h 642065"/>
                <a:gd name="connsiteX161" fmla="*/ 431992 w 582166"/>
                <a:gd name="connsiteY161" fmla="*/ 4513 h 642065"/>
                <a:gd name="connsiteX162" fmla="*/ 428044 w 582166"/>
                <a:gd name="connsiteY162" fmla="*/ -27 h 642065"/>
                <a:gd name="connsiteX163" fmla="*/ 426070 w 582166"/>
                <a:gd name="connsiteY163" fmla="*/ 4513 h 642065"/>
                <a:gd name="connsiteX164" fmla="*/ 416202 w 582166"/>
                <a:gd name="connsiteY164" fmla="*/ 3032 h 642065"/>
                <a:gd name="connsiteX165" fmla="*/ 416202 w 582166"/>
                <a:gd name="connsiteY165" fmla="*/ 4513 h 642065"/>
                <a:gd name="connsiteX166" fmla="*/ 420150 w 582166"/>
                <a:gd name="connsiteY166" fmla="*/ 9101 h 642065"/>
                <a:gd name="connsiteX167" fmla="*/ 428044 w 582166"/>
                <a:gd name="connsiteY167" fmla="*/ 24298 h 642065"/>
                <a:gd name="connsiteX168" fmla="*/ 428044 w 582166"/>
                <a:gd name="connsiteY168" fmla="*/ 41025 h 642065"/>
                <a:gd name="connsiteX169" fmla="*/ 424097 w 582166"/>
                <a:gd name="connsiteY169" fmla="*/ 42554 h 642065"/>
                <a:gd name="connsiteX170" fmla="*/ 422124 w 582166"/>
                <a:gd name="connsiteY170" fmla="*/ 42554 h 642065"/>
                <a:gd name="connsiteX171" fmla="*/ 422124 w 582166"/>
                <a:gd name="connsiteY171" fmla="*/ 45613 h 642065"/>
                <a:gd name="connsiteX172" fmla="*/ 426070 w 582166"/>
                <a:gd name="connsiteY172" fmla="*/ 59280 h 642065"/>
                <a:gd name="connsiteX173" fmla="*/ 428044 w 582166"/>
                <a:gd name="connsiteY173" fmla="*/ 60761 h 642065"/>
                <a:gd name="connsiteX174" fmla="*/ 431992 w 582166"/>
                <a:gd name="connsiteY174" fmla="*/ 57750 h 642065"/>
                <a:gd name="connsiteX175" fmla="*/ 433965 w 582166"/>
                <a:gd name="connsiteY175" fmla="*/ 57750 h 642065"/>
                <a:gd name="connsiteX176" fmla="*/ 430018 w 582166"/>
                <a:gd name="connsiteY176" fmla="*/ 63820 h 642065"/>
                <a:gd name="connsiteX177" fmla="*/ 431992 w 582166"/>
                <a:gd name="connsiteY177" fmla="*/ 69938 h 642065"/>
                <a:gd name="connsiteX178" fmla="*/ 435938 w 582166"/>
                <a:gd name="connsiteY178" fmla="*/ 79016 h 642065"/>
                <a:gd name="connsiteX179" fmla="*/ 437913 w 582166"/>
                <a:gd name="connsiteY179" fmla="*/ 94262 h 642065"/>
                <a:gd name="connsiteX180" fmla="*/ 437913 w 582166"/>
                <a:gd name="connsiteY180" fmla="*/ 111038 h 642065"/>
                <a:gd name="connsiteX181" fmla="*/ 441811 w 582166"/>
                <a:gd name="connsiteY181" fmla="*/ 109558 h 642065"/>
                <a:gd name="connsiteX182" fmla="*/ 443833 w 582166"/>
                <a:gd name="connsiteY182" fmla="*/ 103440 h 642065"/>
                <a:gd name="connsiteX183" fmla="*/ 441811 w 582166"/>
                <a:gd name="connsiteY183" fmla="*/ 98851 h 642065"/>
                <a:gd name="connsiteX184" fmla="*/ 443833 w 582166"/>
                <a:gd name="connsiteY184" fmla="*/ 97371 h 642065"/>
                <a:gd name="connsiteX185" fmla="*/ 447781 w 582166"/>
                <a:gd name="connsiteY185" fmla="*/ 100381 h 642065"/>
                <a:gd name="connsiteX186" fmla="*/ 447781 w 582166"/>
                <a:gd name="connsiteY186" fmla="*/ 106499 h 642065"/>
                <a:gd name="connsiteX187" fmla="*/ 451728 w 582166"/>
                <a:gd name="connsiteY187" fmla="*/ 104970 h 642065"/>
                <a:gd name="connsiteX188" fmla="*/ 451728 w 582166"/>
                <a:gd name="connsiteY188" fmla="*/ 103440 h 642065"/>
                <a:gd name="connsiteX189" fmla="*/ 449754 w 582166"/>
                <a:gd name="connsiteY189" fmla="*/ 101910 h 642065"/>
                <a:gd name="connsiteX190" fmla="*/ 451728 w 582166"/>
                <a:gd name="connsiteY190" fmla="*/ 100381 h 642065"/>
                <a:gd name="connsiteX191" fmla="*/ 453701 w 582166"/>
                <a:gd name="connsiteY191" fmla="*/ 104970 h 642065"/>
                <a:gd name="connsiteX192" fmla="*/ 449754 w 582166"/>
                <a:gd name="connsiteY192" fmla="*/ 112568 h 642065"/>
                <a:gd name="connsiteX193" fmla="*/ 447781 w 582166"/>
                <a:gd name="connsiteY193" fmla="*/ 117107 h 642065"/>
                <a:gd name="connsiteX194" fmla="*/ 447781 w 582166"/>
                <a:gd name="connsiteY194" fmla="*/ 120166 h 642065"/>
                <a:gd name="connsiteX195" fmla="*/ 445806 w 582166"/>
                <a:gd name="connsiteY195" fmla="*/ 120166 h 642065"/>
                <a:gd name="connsiteX196" fmla="*/ 441811 w 582166"/>
                <a:gd name="connsiteY196" fmla="*/ 117107 h 642065"/>
                <a:gd name="connsiteX197" fmla="*/ 437913 w 582166"/>
                <a:gd name="connsiteY197" fmla="*/ 117107 h 642065"/>
                <a:gd name="connsiteX198" fmla="*/ 441811 w 582166"/>
                <a:gd name="connsiteY198" fmla="*/ 126235 h 642065"/>
                <a:gd name="connsiteX199" fmla="*/ 445806 w 582166"/>
                <a:gd name="connsiteY199" fmla="*/ 138422 h 642065"/>
                <a:gd name="connsiteX200" fmla="*/ 447781 w 582166"/>
                <a:gd name="connsiteY200" fmla="*/ 139952 h 642065"/>
                <a:gd name="connsiteX201" fmla="*/ 451728 w 582166"/>
                <a:gd name="connsiteY201" fmla="*/ 138422 h 642065"/>
                <a:gd name="connsiteX202" fmla="*/ 453701 w 582166"/>
                <a:gd name="connsiteY202" fmla="*/ 141481 h 642065"/>
                <a:gd name="connsiteX203" fmla="*/ 453701 w 582166"/>
                <a:gd name="connsiteY203" fmla="*/ 144491 h 642065"/>
                <a:gd name="connsiteX204" fmla="*/ 457599 w 582166"/>
                <a:gd name="connsiteY204" fmla="*/ 147550 h 642065"/>
                <a:gd name="connsiteX205" fmla="*/ 449754 w 582166"/>
                <a:gd name="connsiteY205" fmla="*/ 150609 h 642065"/>
                <a:gd name="connsiteX206" fmla="*/ 449754 w 582166"/>
                <a:gd name="connsiteY206" fmla="*/ 152139 h 642065"/>
                <a:gd name="connsiteX207" fmla="*/ 451728 w 582166"/>
                <a:gd name="connsiteY207" fmla="*/ 155148 h 642065"/>
                <a:gd name="connsiteX208" fmla="*/ 449754 w 582166"/>
                <a:gd name="connsiteY208" fmla="*/ 158208 h 642065"/>
                <a:gd name="connsiteX209" fmla="*/ 445806 w 582166"/>
                <a:gd name="connsiteY209" fmla="*/ 170345 h 642065"/>
                <a:gd name="connsiteX210" fmla="*/ 445806 w 582166"/>
                <a:gd name="connsiteY210" fmla="*/ 174934 h 642065"/>
                <a:gd name="connsiteX211" fmla="*/ 443833 w 582166"/>
                <a:gd name="connsiteY211" fmla="*/ 177993 h 642065"/>
                <a:gd name="connsiteX212" fmla="*/ 447781 w 582166"/>
                <a:gd name="connsiteY212" fmla="*/ 181003 h 642065"/>
                <a:gd name="connsiteX213" fmla="*/ 445806 w 582166"/>
                <a:gd name="connsiteY213" fmla="*/ 182532 h 642065"/>
                <a:gd name="connsiteX214" fmla="*/ 441811 w 582166"/>
                <a:gd name="connsiteY214" fmla="*/ 182532 h 642065"/>
                <a:gd name="connsiteX215" fmla="*/ 437913 w 582166"/>
                <a:gd name="connsiteY215" fmla="*/ 188601 h 642065"/>
                <a:gd name="connsiteX216" fmla="*/ 437913 w 582166"/>
                <a:gd name="connsiteY216" fmla="*/ 191660 h 642065"/>
                <a:gd name="connsiteX217" fmla="*/ 441811 w 582166"/>
                <a:gd name="connsiteY217" fmla="*/ 194719 h 642065"/>
                <a:gd name="connsiteX218" fmla="*/ 435938 w 582166"/>
                <a:gd name="connsiteY218" fmla="*/ 196249 h 642065"/>
                <a:gd name="connsiteX219" fmla="*/ 431992 w 582166"/>
                <a:gd name="connsiteY219" fmla="*/ 197778 h 642065"/>
                <a:gd name="connsiteX220" fmla="*/ 430018 w 582166"/>
                <a:gd name="connsiteY220" fmla="*/ 203848 h 642065"/>
                <a:gd name="connsiteX221" fmla="*/ 426070 w 582166"/>
                <a:gd name="connsiteY221" fmla="*/ 225113 h 642065"/>
                <a:gd name="connsiteX222" fmla="*/ 424097 w 582166"/>
                <a:gd name="connsiteY222" fmla="*/ 231182 h 642065"/>
                <a:gd name="connsiteX223" fmla="*/ 420150 w 582166"/>
                <a:gd name="connsiteY223" fmla="*/ 234241 h 642065"/>
                <a:gd name="connsiteX224" fmla="*/ 414229 w 582166"/>
                <a:gd name="connsiteY224" fmla="*/ 234241 h 642065"/>
                <a:gd name="connsiteX225" fmla="*/ 408259 w 582166"/>
                <a:gd name="connsiteY225" fmla="*/ 231182 h 642065"/>
                <a:gd name="connsiteX226" fmla="*/ 400413 w 582166"/>
                <a:gd name="connsiteY226" fmla="*/ 232712 h 642065"/>
                <a:gd name="connsiteX227" fmla="*/ 386598 w 582166"/>
                <a:gd name="connsiteY227" fmla="*/ 237300 h 642065"/>
                <a:gd name="connsiteX228" fmla="*/ 380677 w 582166"/>
                <a:gd name="connsiteY228" fmla="*/ 244899 h 642065"/>
                <a:gd name="connsiteX229" fmla="*/ 380677 w 582166"/>
                <a:gd name="connsiteY229" fmla="*/ 260095 h 642065"/>
                <a:gd name="connsiteX230" fmla="*/ 386598 w 582166"/>
                <a:gd name="connsiteY230" fmla="*/ 264684 h 642065"/>
                <a:gd name="connsiteX231" fmla="*/ 396466 w 582166"/>
                <a:gd name="connsiteY231" fmla="*/ 272283 h 642065"/>
                <a:gd name="connsiteX232" fmla="*/ 402388 w 582166"/>
                <a:gd name="connsiteY232" fmla="*/ 279881 h 642065"/>
                <a:gd name="connsiteX233" fmla="*/ 412256 w 582166"/>
                <a:gd name="connsiteY233" fmla="*/ 281411 h 642065"/>
                <a:gd name="connsiteX234" fmla="*/ 416202 w 582166"/>
                <a:gd name="connsiteY234" fmla="*/ 284470 h 642065"/>
                <a:gd name="connsiteX235" fmla="*/ 418176 w 582166"/>
                <a:gd name="connsiteY235" fmla="*/ 299617 h 642065"/>
                <a:gd name="connsiteX236" fmla="*/ 418176 w 582166"/>
                <a:gd name="connsiteY236" fmla="*/ 299617 h 642065"/>
                <a:gd name="connsiteX237" fmla="*/ 416202 w 582166"/>
                <a:gd name="connsiteY237" fmla="*/ 301147 h 642065"/>
                <a:gd name="connsiteX238" fmla="*/ 416202 w 582166"/>
                <a:gd name="connsiteY238" fmla="*/ 308794 h 642065"/>
                <a:gd name="connsiteX239" fmla="*/ 414229 w 582166"/>
                <a:gd name="connsiteY239" fmla="*/ 313334 h 642065"/>
                <a:gd name="connsiteX240" fmla="*/ 398440 w 582166"/>
                <a:gd name="connsiteY240" fmla="*/ 330110 h 642065"/>
                <a:gd name="connsiteX241" fmla="*/ 388572 w 582166"/>
                <a:gd name="connsiteY241" fmla="*/ 339188 h 642065"/>
                <a:gd name="connsiteX242" fmla="*/ 378704 w 582166"/>
                <a:gd name="connsiteY242" fmla="*/ 348365 h 642065"/>
                <a:gd name="connsiteX243" fmla="*/ 374707 w 582166"/>
                <a:gd name="connsiteY243" fmla="*/ 351375 h 642065"/>
                <a:gd name="connsiteX244" fmla="*/ 376730 w 582166"/>
                <a:gd name="connsiteY244" fmla="*/ 354434 h 642065"/>
                <a:gd name="connsiteX245" fmla="*/ 351221 w 582166"/>
                <a:gd name="connsiteY245" fmla="*/ 330060 h 642065"/>
                <a:gd name="connsiteX246" fmla="*/ 353194 w 582166"/>
                <a:gd name="connsiteY246" fmla="*/ 327001 h 642065"/>
                <a:gd name="connsiteX247" fmla="*/ 355169 w 582166"/>
                <a:gd name="connsiteY247" fmla="*/ 322412 h 642065"/>
                <a:gd name="connsiteX248" fmla="*/ 361089 w 582166"/>
                <a:gd name="connsiteY248" fmla="*/ 322412 h 642065"/>
                <a:gd name="connsiteX249" fmla="*/ 361089 w 582166"/>
                <a:gd name="connsiteY249" fmla="*/ 325471 h 642065"/>
                <a:gd name="connsiteX250" fmla="*/ 355169 w 582166"/>
                <a:gd name="connsiteY250" fmla="*/ 328530 h 642065"/>
                <a:gd name="connsiteX251" fmla="*/ 353194 w 582166"/>
                <a:gd name="connsiteY251" fmla="*/ 331540 h 642065"/>
                <a:gd name="connsiteX252" fmla="*/ 351221 w 582166"/>
                <a:gd name="connsiteY252" fmla="*/ 331540 h 642065"/>
                <a:gd name="connsiteX253" fmla="*/ 351221 w 582166"/>
                <a:gd name="connsiteY253" fmla="*/ 330060 h 642065"/>
                <a:gd name="connsiteX254" fmla="*/ 349248 w 582166"/>
                <a:gd name="connsiteY254" fmla="*/ 337609 h 642065"/>
                <a:gd name="connsiteX255" fmla="*/ 353194 w 582166"/>
                <a:gd name="connsiteY255" fmla="*/ 336129 h 642065"/>
                <a:gd name="connsiteX256" fmla="*/ 355169 w 582166"/>
                <a:gd name="connsiteY256" fmla="*/ 334600 h 642065"/>
                <a:gd name="connsiteX257" fmla="*/ 353194 w 582166"/>
                <a:gd name="connsiteY257" fmla="*/ 337609 h 642065"/>
                <a:gd name="connsiteX258" fmla="*/ 345301 w 582166"/>
                <a:gd name="connsiteY258" fmla="*/ 337609 h 642065"/>
                <a:gd name="connsiteX259" fmla="*/ 347274 w 582166"/>
                <a:gd name="connsiteY259" fmla="*/ 336129 h 642065"/>
                <a:gd name="connsiteX260" fmla="*/ 351221 w 582166"/>
                <a:gd name="connsiteY260" fmla="*/ 336129 h 642065"/>
                <a:gd name="connsiteX261" fmla="*/ 351221 w 582166"/>
                <a:gd name="connsiteY261" fmla="*/ 334600 h 642065"/>
                <a:gd name="connsiteX262" fmla="*/ 345301 w 582166"/>
                <a:gd name="connsiteY262" fmla="*/ 337609 h 642065"/>
                <a:gd name="connsiteX263" fmla="*/ 47284 w 582166"/>
                <a:gd name="connsiteY263" fmla="*/ 623783 h 642065"/>
                <a:gd name="connsiteX264" fmla="*/ 49258 w 582166"/>
                <a:gd name="connsiteY264" fmla="*/ 622254 h 642065"/>
                <a:gd name="connsiteX265" fmla="*/ 49258 w 582166"/>
                <a:gd name="connsiteY265" fmla="*/ 625313 h 642065"/>
                <a:gd name="connsiteX266" fmla="*/ 47284 w 582166"/>
                <a:gd name="connsiteY266" fmla="*/ 623783 h 642065"/>
                <a:gd name="connsiteX267" fmla="*/ 11759 w 582166"/>
                <a:gd name="connsiteY267" fmla="*/ 637500 h 642065"/>
                <a:gd name="connsiteX268" fmla="*/ 7861 w 582166"/>
                <a:gd name="connsiteY268" fmla="*/ 642039 h 642065"/>
                <a:gd name="connsiteX269" fmla="*/ 3866 w 582166"/>
                <a:gd name="connsiteY269" fmla="*/ 642039 h 642065"/>
                <a:gd name="connsiteX270" fmla="*/ 1891 w 582166"/>
                <a:gd name="connsiteY270" fmla="*/ 639029 h 642065"/>
                <a:gd name="connsiteX271" fmla="*/ 9786 w 582166"/>
                <a:gd name="connsiteY271" fmla="*/ 632911 h 642065"/>
                <a:gd name="connsiteX272" fmla="*/ 11759 w 582166"/>
                <a:gd name="connsiteY272" fmla="*/ 631431 h 642065"/>
                <a:gd name="connsiteX273" fmla="*/ 11759 w 582166"/>
                <a:gd name="connsiteY273" fmla="*/ 626842 h 642065"/>
                <a:gd name="connsiteX274" fmla="*/ 17680 w 582166"/>
                <a:gd name="connsiteY274" fmla="*/ 626842 h 642065"/>
                <a:gd name="connsiteX275" fmla="*/ 19654 w 582166"/>
                <a:gd name="connsiteY275" fmla="*/ 620724 h 642065"/>
                <a:gd name="connsiteX276" fmla="*/ 17680 w 582166"/>
                <a:gd name="connsiteY276" fmla="*/ 614655 h 642065"/>
                <a:gd name="connsiteX277" fmla="*/ 19654 w 582166"/>
                <a:gd name="connsiteY277" fmla="*/ 611645 h 642065"/>
                <a:gd name="connsiteX278" fmla="*/ 27548 w 582166"/>
                <a:gd name="connsiteY278" fmla="*/ 608586 h 642065"/>
                <a:gd name="connsiteX279" fmla="*/ 33470 w 582166"/>
                <a:gd name="connsiteY279" fmla="*/ 614655 h 642065"/>
                <a:gd name="connsiteX280" fmla="*/ 35443 w 582166"/>
                <a:gd name="connsiteY280" fmla="*/ 620724 h 642065"/>
                <a:gd name="connsiteX281" fmla="*/ 37416 w 582166"/>
                <a:gd name="connsiteY281" fmla="*/ 623783 h 642065"/>
                <a:gd name="connsiteX282" fmla="*/ 37416 w 582166"/>
                <a:gd name="connsiteY282" fmla="*/ 623783 h 642065"/>
                <a:gd name="connsiteX283" fmla="*/ 33470 w 582166"/>
                <a:gd name="connsiteY283" fmla="*/ 625313 h 642065"/>
                <a:gd name="connsiteX284" fmla="*/ 31495 w 582166"/>
                <a:gd name="connsiteY284" fmla="*/ 623783 h 642065"/>
                <a:gd name="connsiteX285" fmla="*/ 27548 w 582166"/>
                <a:gd name="connsiteY285" fmla="*/ 625313 h 642065"/>
                <a:gd name="connsiteX286" fmla="*/ 31495 w 582166"/>
                <a:gd name="connsiteY286" fmla="*/ 625313 h 642065"/>
                <a:gd name="connsiteX287" fmla="*/ 33470 w 582166"/>
                <a:gd name="connsiteY287" fmla="*/ 626842 h 642065"/>
                <a:gd name="connsiteX288" fmla="*/ 37416 w 582166"/>
                <a:gd name="connsiteY288" fmla="*/ 628372 h 642065"/>
                <a:gd name="connsiteX289" fmla="*/ 37416 w 582166"/>
                <a:gd name="connsiteY289" fmla="*/ 631431 h 642065"/>
                <a:gd name="connsiteX290" fmla="*/ 35443 w 582166"/>
                <a:gd name="connsiteY290" fmla="*/ 632911 h 642065"/>
                <a:gd name="connsiteX291" fmla="*/ 31495 w 582166"/>
                <a:gd name="connsiteY291" fmla="*/ 632911 h 642065"/>
                <a:gd name="connsiteX292" fmla="*/ 23651 w 582166"/>
                <a:gd name="connsiteY292" fmla="*/ 634440 h 642065"/>
                <a:gd name="connsiteX293" fmla="*/ 19654 w 582166"/>
                <a:gd name="connsiteY293" fmla="*/ 637500 h 642065"/>
                <a:gd name="connsiteX294" fmla="*/ 11759 w 582166"/>
                <a:gd name="connsiteY294" fmla="*/ 637500 h 642065"/>
                <a:gd name="connsiteX295" fmla="*/ 5888 w 582166"/>
                <a:gd name="connsiteY295" fmla="*/ 582683 h 642065"/>
                <a:gd name="connsiteX296" fmla="*/ 1891 w 582166"/>
                <a:gd name="connsiteY296" fmla="*/ 579673 h 642065"/>
                <a:gd name="connsiteX297" fmla="*/ 3866 w 582166"/>
                <a:gd name="connsiteY297" fmla="*/ 573604 h 642065"/>
                <a:gd name="connsiteX298" fmla="*/ 5888 w 582166"/>
                <a:gd name="connsiteY298" fmla="*/ 572074 h 642065"/>
                <a:gd name="connsiteX299" fmla="*/ 3866 w 582166"/>
                <a:gd name="connsiteY299" fmla="*/ 570545 h 642065"/>
                <a:gd name="connsiteX300" fmla="*/ -82 w 582166"/>
                <a:gd name="connsiteY300" fmla="*/ 570545 h 642065"/>
                <a:gd name="connsiteX301" fmla="*/ 7861 w 582166"/>
                <a:gd name="connsiteY301" fmla="*/ 562946 h 642065"/>
                <a:gd name="connsiteX302" fmla="*/ 13734 w 582166"/>
                <a:gd name="connsiteY302" fmla="*/ 561417 h 642065"/>
                <a:gd name="connsiteX303" fmla="*/ 19654 w 582166"/>
                <a:gd name="connsiteY303" fmla="*/ 562946 h 642065"/>
                <a:gd name="connsiteX304" fmla="*/ 23651 w 582166"/>
                <a:gd name="connsiteY304" fmla="*/ 559887 h 642065"/>
                <a:gd name="connsiteX305" fmla="*/ 19654 w 582166"/>
                <a:gd name="connsiteY305" fmla="*/ 558358 h 642065"/>
                <a:gd name="connsiteX306" fmla="*/ 15707 w 582166"/>
                <a:gd name="connsiteY306" fmla="*/ 552289 h 642065"/>
                <a:gd name="connsiteX307" fmla="*/ 13734 w 582166"/>
                <a:gd name="connsiteY307" fmla="*/ 547750 h 642065"/>
                <a:gd name="connsiteX308" fmla="*/ 19654 w 582166"/>
                <a:gd name="connsiteY308" fmla="*/ 540102 h 642065"/>
                <a:gd name="connsiteX309" fmla="*/ 23651 w 582166"/>
                <a:gd name="connsiteY309" fmla="*/ 538573 h 642065"/>
                <a:gd name="connsiteX310" fmla="*/ 27548 w 582166"/>
                <a:gd name="connsiteY310" fmla="*/ 535563 h 642065"/>
                <a:gd name="connsiteX311" fmla="*/ 29522 w 582166"/>
                <a:gd name="connsiteY311" fmla="*/ 535563 h 642065"/>
                <a:gd name="connsiteX312" fmla="*/ 31495 w 582166"/>
                <a:gd name="connsiteY312" fmla="*/ 541632 h 642065"/>
                <a:gd name="connsiteX313" fmla="*/ 35443 w 582166"/>
                <a:gd name="connsiteY313" fmla="*/ 538573 h 642065"/>
                <a:gd name="connsiteX314" fmla="*/ 35443 w 582166"/>
                <a:gd name="connsiteY314" fmla="*/ 526434 h 642065"/>
                <a:gd name="connsiteX315" fmla="*/ 39440 w 582166"/>
                <a:gd name="connsiteY315" fmla="*/ 523425 h 642065"/>
                <a:gd name="connsiteX316" fmla="*/ 41364 w 582166"/>
                <a:gd name="connsiteY316" fmla="*/ 523425 h 642065"/>
                <a:gd name="connsiteX317" fmla="*/ 51232 w 582166"/>
                <a:gd name="connsiteY317" fmla="*/ 514247 h 642065"/>
                <a:gd name="connsiteX318" fmla="*/ 55179 w 582166"/>
                <a:gd name="connsiteY318" fmla="*/ 515777 h 642065"/>
                <a:gd name="connsiteX319" fmla="*/ 57202 w 582166"/>
                <a:gd name="connsiteY319" fmla="*/ 512768 h 642065"/>
                <a:gd name="connsiteX320" fmla="*/ 57202 w 582166"/>
                <a:gd name="connsiteY320" fmla="*/ 505169 h 642065"/>
                <a:gd name="connsiteX321" fmla="*/ 63074 w 582166"/>
                <a:gd name="connsiteY321" fmla="*/ 502110 h 642065"/>
                <a:gd name="connsiteX322" fmla="*/ 67020 w 582166"/>
                <a:gd name="connsiteY322" fmla="*/ 499051 h 642065"/>
                <a:gd name="connsiteX323" fmla="*/ 70968 w 582166"/>
                <a:gd name="connsiteY323" fmla="*/ 500580 h 642065"/>
                <a:gd name="connsiteX324" fmla="*/ 70968 w 582166"/>
                <a:gd name="connsiteY324" fmla="*/ 505169 h 642065"/>
                <a:gd name="connsiteX325" fmla="*/ 72942 w 582166"/>
                <a:gd name="connsiteY325" fmla="*/ 497521 h 642065"/>
                <a:gd name="connsiteX326" fmla="*/ 78863 w 582166"/>
                <a:gd name="connsiteY326" fmla="*/ 491452 h 642065"/>
                <a:gd name="connsiteX327" fmla="*/ 84783 w 582166"/>
                <a:gd name="connsiteY327" fmla="*/ 489923 h 642065"/>
                <a:gd name="connsiteX328" fmla="*/ 92678 w 582166"/>
                <a:gd name="connsiteY328" fmla="*/ 483854 h 642065"/>
                <a:gd name="connsiteX329" fmla="*/ 98599 w 582166"/>
                <a:gd name="connsiteY329" fmla="*/ 479315 h 642065"/>
                <a:gd name="connsiteX330" fmla="*/ 110440 w 582166"/>
                <a:gd name="connsiteY330" fmla="*/ 470137 h 642065"/>
                <a:gd name="connsiteX331" fmla="*/ 114388 w 582166"/>
                <a:gd name="connsiteY331" fmla="*/ 470137 h 642065"/>
                <a:gd name="connsiteX332" fmla="*/ 118335 w 582166"/>
                <a:gd name="connsiteY332" fmla="*/ 471667 h 642065"/>
                <a:gd name="connsiteX333" fmla="*/ 124256 w 582166"/>
                <a:gd name="connsiteY333" fmla="*/ 470137 h 642065"/>
                <a:gd name="connsiteX334" fmla="*/ 132151 w 582166"/>
                <a:gd name="connsiteY334" fmla="*/ 468657 h 642065"/>
                <a:gd name="connsiteX335" fmla="*/ 134124 w 582166"/>
                <a:gd name="connsiteY335" fmla="*/ 470137 h 642065"/>
                <a:gd name="connsiteX336" fmla="*/ 140044 w 582166"/>
                <a:gd name="connsiteY336" fmla="*/ 474726 h 642065"/>
                <a:gd name="connsiteX337" fmla="*/ 138071 w 582166"/>
                <a:gd name="connsiteY337" fmla="*/ 468657 h 642065"/>
                <a:gd name="connsiteX338" fmla="*/ 136097 w 582166"/>
                <a:gd name="connsiteY338" fmla="*/ 464069 h 642065"/>
                <a:gd name="connsiteX339" fmla="*/ 138071 w 582166"/>
                <a:gd name="connsiteY339" fmla="*/ 461058 h 642065"/>
                <a:gd name="connsiteX340" fmla="*/ 149912 w 582166"/>
                <a:gd name="connsiteY340" fmla="*/ 454940 h 642065"/>
                <a:gd name="connsiteX341" fmla="*/ 155833 w 582166"/>
                <a:gd name="connsiteY341" fmla="*/ 453411 h 642065"/>
                <a:gd name="connsiteX342" fmla="*/ 169648 w 582166"/>
                <a:gd name="connsiteY342" fmla="*/ 442803 h 642065"/>
                <a:gd name="connsiteX343" fmla="*/ 181491 w 582166"/>
                <a:gd name="connsiteY343" fmla="*/ 438214 h 642065"/>
                <a:gd name="connsiteX344" fmla="*/ 187411 w 582166"/>
                <a:gd name="connsiteY344" fmla="*/ 438214 h 642065"/>
                <a:gd name="connsiteX345" fmla="*/ 189385 w 582166"/>
                <a:gd name="connsiteY345" fmla="*/ 433675 h 642065"/>
                <a:gd name="connsiteX346" fmla="*/ 197280 w 582166"/>
                <a:gd name="connsiteY346" fmla="*/ 430616 h 642065"/>
                <a:gd name="connsiteX347" fmla="*/ 207148 w 582166"/>
                <a:gd name="connsiteY347" fmla="*/ 429086 h 642065"/>
                <a:gd name="connsiteX348" fmla="*/ 220963 w 582166"/>
                <a:gd name="connsiteY348" fmla="*/ 418478 h 642065"/>
                <a:gd name="connsiteX349" fmla="*/ 234777 w 582166"/>
                <a:gd name="connsiteY349" fmla="*/ 406241 h 642065"/>
                <a:gd name="connsiteX350" fmla="*/ 234777 w 582166"/>
                <a:gd name="connsiteY350" fmla="*/ 401702 h 642065"/>
                <a:gd name="connsiteX351" fmla="*/ 238725 w 582166"/>
                <a:gd name="connsiteY351" fmla="*/ 397163 h 642065"/>
                <a:gd name="connsiteX352" fmla="*/ 238725 w 582166"/>
                <a:gd name="connsiteY352" fmla="*/ 391094 h 642065"/>
                <a:gd name="connsiteX353" fmla="*/ 244646 w 582166"/>
                <a:gd name="connsiteY353" fmla="*/ 384976 h 642065"/>
                <a:gd name="connsiteX354" fmla="*/ 248593 w 582166"/>
                <a:gd name="connsiteY354" fmla="*/ 383446 h 642065"/>
                <a:gd name="connsiteX355" fmla="*/ 248593 w 582166"/>
                <a:gd name="connsiteY355" fmla="*/ 377476 h 642065"/>
                <a:gd name="connsiteX356" fmla="*/ 250567 w 582166"/>
                <a:gd name="connsiteY356" fmla="*/ 371407 h 642065"/>
                <a:gd name="connsiteX357" fmla="*/ 256488 w 582166"/>
                <a:gd name="connsiteY357" fmla="*/ 368348 h 642065"/>
                <a:gd name="connsiteX358" fmla="*/ 262409 w 582166"/>
                <a:gd name="connsiteY358" fmla="*/ 368348 h 642065"/>
                <a:gd name="connsiteX359" fmla="*/ 270304 w 582166"/>
                <a:gd name="connsiteY359" fmla="*/ 366818 h 642065"/>
                <a:gd name="connsiteX360" fmla="*/ 272277 w 582166"/>
                <a:gd name="connsiteY360" fmla="*/ 362230 h 642065"/>
                <a:gd name="connsiteX361" fmla="*/ 280172 w 582166"/>
                <a:gd name="connsiteY361" fmla="*/ 354681 h 642065"/>
                <a:gd name="connsiteX362" fmla="*/ 284118 w 582166"/>
                <a:gd name="connsiteY362" fmla="*/ 353151 h 642065"/>
                <a:gd name="connsiteX363" fmla="*/ 290040 w 582166"/>
                <a:gd name="connsiteY363" fmla="*/ 343974 h 642065"/>
                <a:gd name="connsiteX364" fmla="*/ 295960 w 582166"/>
                <a:gd name="connsiteY364" fmla="*/ 331836 h 642065"/>
                <a:gd name="connsiteX365" fmla="*/ 295960 w 582166"/>
                <a:gd name="connsiteY365" fmla="*/ 324238 h 642065"/>
                <a:gd name="connsiteX366" fmla="*/ 303854 w 582166"/>
                <a:gd name="connsiteY366" fmla="*/ 318169 h 642065"/>
                <a:gd name="connsiteX367" fmla="*/ 309776 w 582166"/>
                <a:gd name="connsiteY367" fmla="*/ 316640 h 642065"/>
                <a:gd name="connsiteX368" fmla="*/ 317670 w 582166"/>
                <a:gd name="connsiteY368" fmla="*/ 312051 h 642065"/>
                <a:gd name="connsiteX369" fmla="*/ 323590 w 582166"/>
                <a:gd name="connsiteY369" fmla="*/ 312051 h 642065"/>
                <a:gd name="connsiteX370" fmla="*/ 319644 w 582166"/>
                <a:gd name="connsiteY370" fmla="*/ 316640 h 642065"/>
                <a:gd name="connsiteX371" fmla="*/ 319644 w 582166"/>
                <a:gd name="connsiteY371" fmla="*/ 322708 h 642065"/>
                <a:gd name="connsiteX372" fmla="*/ 321617 w 582166"/>
                <a:gd name="connsiteY372" fmla="*/ 325768 h 642065"/>
                <a:gd name="connsiteX373" fmla="*/ 323590 w 582166"/>
                <a:gd name="connsiteY373" fmla="*/ 325768 h 642065"/>
                <a:gd name="connsiteX374" fmla="*/ 327538 w 582166"/>
                <a:gd name="connsiteY374" fmla="*/ 324238 h 642065"/>
                <a:gd name="connsiteX375" fmla="*/ 329512 w 582166"/>
                <a:gd name="connsiteY375" fmla="*/ 325768 h 642065"/>
                <a:gd name="connsiteX376" fmla="*/ 329512 w 582166"/>
                <a:gd name="connsiteY376" fmla="*/ 328827 h 642065"/>
                <a:gd name="connsiteX377" fmla="*/ 331485 w 582166"/>
                <a:gd name="connsiteY377" fmla="*/ 328827 h 642065"/>
                <a:gd name="connsiteX378" fmla="*/ 329512 w 582166"/>
                <a:gd name="connsiteY378" fmla="*/ 331836 h 642065"/>
                <a:gd name="connsiteX379" fmla="*/ 327538 w 582166"/>
                <a:gd name="connsiteY379" fmla="*/ 334895 h 642065"/>
                <a:gd name="connsiteX380" fmla="*/ 323590 w 582166"/>
                <a:gd name="connsiteY380" fmla="*/ 336425 h 642065"/>
                <a:gd name="connsiteX381" fmla="*/ 327538 w 582166"/>
                <a:gd name="connsiteY381" fmla="*/ 347082 h 642065"/>
                <a:gd name="connsiteX382" fmla="*/ 331485 w 582166"/>
                <a:gd name="connsiteY382" fmla="*/ 348612 h 642065"/>
                <a:gd name="connsiteX383" fmla="*/ 339380 w 582166"/>
                <a:gd name="connsiteY383" fmla="*/ 342494 h 642065"/>
                <a:gd name="connsiteX384" fmla="*/ 343326 w 582166"/>
                <a:gd name="connsiteY384" fmla="*/ 339435 h 642065"/>
                <a:gd name="connsiteX385" fmla="*/ 347274 w 582166"/>
                <a:gd name="connsiteY385" fmla="*/ 340964 h 642065"/>
                <a:gd name="connsiteX386" fmla="*/ 349248 w 582166"/>
                <a:gd name="connsiteY386" fmla="*/ 340964 h 642065"/>
                <a:gd name="connsiteX387" fmla="*/ 349248 w 582166"/>
                <a:gd name="connsiteY387" fmla="*/ 343974 h 642065"/>
                <a:gd name="connsiteX388" fmla="*/ 353194 w 582166"/>
                <a:gd name="connsiteY388" fmla="*/ 348612 h 642065"/>
                <a:gd name="connsiteX389" fmla="*/ 359116 w 582166"/>
                <a:gd name="connsiteY389" fmla="*/ 342494 h 642065"/>
                <a:gd name="connsiteX390" fmla="*/ 355169 w 582166"/>
                <a:gd name="connsiteY390" fmla="*/ 342494 h 642065"/>
                <a:gd name="connsiteX391" fmla="*/ 355169 w 582166"/>
                <a:gd name="connsiteY391" fmla="*/ 340964 h 642065"/>
                <a:gd name="connsiteX392" fmla="*/ 359116 w 582166"/>
                <a:gd name="connsiteY392" fmla="*/ 333366 h 642065"/>
                <a:gd name="connsiteX393" fmla="*/ 363062 w 582166"/>
                <a:gd name="connsiteY393" fmla="*/ 334895 h 642065"/>
                <a:gd name="connsiteX394" fmla="*/ 363062 w 582166"/>
                <a:gd name="connsiteY394" fmla="*/ 337905 h 642065"/>
                <a:gd name="connsiteX395" fmla="*/ 365037 w 582166"/>
                <a:gd name="connsiteY395" fmla="*/ 337905 h 642065"/>
                <a:gd name="connsiteX396" fmla="*/ 361089 w 582166"/>
                <a:gd name="connsiteY396" fmla="*/ 343974 h 642065"/>
                <a:gd name="connsiteX397" fmla="*/ 355169 w 582166"/>
                <a:gd name="connsiteY397" fmla="*/ 350092 h 642065"/>
                <a:gd name="connsiteX398" fmla="*/ 359116 w 582166"/>
                <a:gd name="connsiteY398" fmla="*/ 348612 h 642065"/>
                <a:gd name="connsiteX399" fmla="*/ 365037 w 582166"/>
                <a:gd name="connsiteY399" fmla="*/ 348612 h 642065"/>
                <a:gd name="connsiteX400" fmla="*/ 357142 w 582166"/>
                <a:gd name="connsiteY400" fmla="*/ 354681 h 642065"/>
                <a:gd name="connsiteX401" fmla="*/ 355169 w 582166"/>
                <a:gd name="connsiteY401" fmla="*/ 354681 h 642065"/>
                <a:gd name="connsiteX402" fmla="*/ 353194 w 582166"/>
                <a:gd name="connsiteY402" fmla="*/ 359220 h 642065"/>
                <a:gd name="connsiteX403" fmla="*/ 353194 w 582166"/>
                <a:gd name="connsiteY403" fmla="*/ 365289 h 642065"/>
                <a:gd name="connsiteX404" fmla="*/ 357142 w 582166"/>
                <a:gd name="connsiteY404" fmla="*/ 369878 h 642065"/>
                <a:gd name="connsiteX405" fmla="*/ 357142 w 582166"/>
                <a:gd name="connsiteY405" fmla="*/ 377476 h 642065"/>
                <a:gd name="connsiteX406" fmla="*/ 361089 w 582166"/>
                <a:gd name="connsiteY406" fmla="*/ 379006 h 642065"/>
                <a:gd name="connsiteX407" fmla="*/ 355169 w 582166"/>
                <a:gd name="connsiteY407" fmla="*/ 382016 h 642065"/>
                <a:gd name="connsiteX408" fmla="*/ 335433 w 582166"/>
                <a:gd name="connsiteY408" fmla="*/ 394203 h 642065"/>
                <a:gd name="connsiteX409" fmla="*/ 333458 w 582166"/>
                <a:gd name="connsiteY409" fmla="*/ 400271 h 642065"/>
                <a:gd name="connsiteX410" fmla="*/ 321617 w 582166"/>
                <a:gd name="connsiteY410" fmla="*/ 409399 h 642065"/>
                <a:gd name="connsiteX411" fmla="*/ 321617 w 582166"/>
                <a:gd name="connsiteY411" fmla="*/ 412458 h 642065"/>
                <a:gd name="connsiteX412" fmla="*/ 317670 w 582166"/>
                <a:gd name="connsiteY412" fmla="*/ 412458 h 642065"/>
                <a:gd name="connsiteX413" fmla="*/ 309776 w 582166"/>
                <a:gd name="connsiteY413" fmla="*/ 418576 h 642065"/>
                <a:gd name="connsiteX414" fmla="*/ 307801 w 582166"/>
                <a:gd name="connsiteY414" fmla="*/ 423116 h 642065"/>
                <a:gd name="connsiteX415" fmla="*/ 299908 w 582166"/>
                <a:gd name="connsiteY415" fmla="*/ 433774 h 642065"/>
                <a:gd name="connsiteX416" fmla="*/ 297933 w 582166"/>
                <a:gd name="connsiteY416" fmla="*/ 436833 h 642065"/>
                <a:gd name="connsiteX417" fmla="*/ 288065 w 582166"/>
                <a:gd name="connsiteY417" fmla="*/ 441372 h 642065"/>
                <a:gd name="connsiteX418" fmla="*/ 278197 w 582166"/>
                <a:gd name="connsiteY418" fmla="*/ 444382 h 642065"/>
                <a:gd name="connsiteX419" fmla="*/ 272277 w 582166"/>
                <a:gd name="connsiteY419" fmla="*/ 445911 h 642065"/>
                <a:gd name="connsiteX420" fmla="*/ 270304 w 582166"/>
                <a:gd name="connsiteY420" fmla="*/ 456569 h 642065"/>
                <a:gd name="connsiteX421" fmla="*/ 272277 w 582166"/>
                <a:gd name="connsiteY421" fmla="*/ 464167 h 642065"/>
                <a:gd name="connsiteX422" fmla="*/ 270304 w 582166"/>
                <a:gd name="connsiteY422" fmla="*/ 465697 h 642065"/>
                <a:gd name="connsiteX423" fmla="*/ 274250 w 582166"/>
                <a:gd name="connsiteY423" fmla="*/ 467226 h 642065"/>
                <a:gd name="connsiteX424" fmla="*/ 276224 w 582166"/>
                <a:gd name="connsiteY424" fmla="*/ 470236 h 642065"/>
                <a:gd name="connsiteX425" fmla="*/ 276224 w 582166"/>
                <a:gd name="connsiteY425" fmla="*/ 480943 h 642065"/>
                <a:gd name="connsiteX426" fmla="*/ 272277 w 582166"/>
                <a:gd name="connsiteY426" fmla="*/ 482423 h 642065"/>
                <a:gd name="connsiteX427" fmla="*/ 270304 w 582166"/>
                <a:gd name="connsiteY427" fmla="*/ 480943 h 642065"/>
                <a:gd name="connsiteX428" fmla="*/ 272277 w 582166"/>
                <a:gd name="connsiteY428" fmla="*/ 473295 h 642065"/>
                <a:gd name="connsiteX429" fmla="*/ 270304 w 582166"/>
                <a:gd name="connsiteY429" fmla="*/ 471765 h 642065"/>
                <a:gd name="connsiteX430" fmla="*/ 266356 w 582166"/>
                <a:gd name="connsiteY430" fmla="*/ 473295 h 642065"/>
                <a:gd name="connsiteX431" fmla="*/ 266356 w 582166"/>
                <a:gd name="connsiteY431" fmla="*/ 479413 h 642065"/>
                <a:gd name="connsiteX432" fmla="*/ 264382 w 582166"/>
                <a:gd name="connsiteY432" fmla="*/ 482423 h 642065"/>
                <a:gd name="connsiteX433" fmla="*/ 258461 w 582166"/>
                <a:gd name="connsiteY433" fmla="*/ 480943 h 642065"/>
                <a:gd name="connsiteX434" fmla="*/ 252540 w 582166"/>
                <a:gd name="connsiteY434" fmla="*/ 480943 h 642065"/>
                <a:gd name="connsiteX435" fmla="*/ 258461 w 582166"/>
                <a:gd name="connsiteY435" fmla="*/ 476354 h 642065"/>
                <a:gd name="connsiteX436" fmla="*/ 258461 w 582166"/>
                <a:gd name="connsiteY436" fmla="*/ 474825 h 642065"/>
                <a:gd name="connsiteX437" fmla="*/ 252540 w 582166"/>
                <a:gd name="connsiteY437" fmla="*/ 473295 h 642065"/>
                <a:gd name="connsiteX438" fmla="*/ 248593 w 582166"/>
                <a:gd name="connsiteY438" fmla="*/ 476354 h 642065"/>
                <a:gd name="connsiteX439" fmla="*/ 248593 w 582166"/>
                <a:gd name="connsiteY439" fmla="*/ 479413 h 642065"/>
                <a:gd name="connsiteX440" fmla="*/ 244646 w 582166"/>
                <a:gd name="connsiteY440" fmla="*/ 480943 h 642065"/>
                <a:gd name="connsiteX441" fmla="*/ 242672 w 582166"/>
                <a:gd name="connsiteY441" fmla="*/ 480943 h 642065"/>
                <a:gd name="connsiteX442" fmla="*/ 238725 w 582166"/>
                <a:gd name="connsiteY442" fmla="*/ 473295 h 642065"/>
                <a:gd name="connsiteX443" fmla="*/ 234777 w 582166"/>
                <a:gd name="connsiteY443" fmla="*/ 470236 h 642065"/>
                <a:gd name="connsiteX444" fmla="*/ 238725 w 582166"/>
                <a:gd name="connsiteY444" fmla="*/ 474825 h 642065"/>
                <a:gd name="connsiteX445" fmla="*/ 238725 w 582166"/>
                <a:gd name="connsiteY445" fmla="*/ 480943 h 642065"/>
                <a:gd name="connsiteX446" fmla="*/ 234777 w 582166"/>
                <a:gd name="connsiteY446" fmla="*/ 485482 h 642065"/>
                <a:gd name="connsiteX447" fmla="*/ 228857 w 582166"/>
                <a:gd name="connsiteY447" fmla="*/ 487011 h 642065"/>
                <a:gd name="connsiteX448" fmla="*/ 222936 w 582166"/>
                <a:gd name="connsiteY448" fmla="*/ 487011 h 642065"/>
                <a:gd name="connsiteX449" fmla="*/ 220963 w 582166"/>
                <a:gd name="connsiteY449" fmla="*/ 491551 h 642065"/>
                <a:gd name="connsiteX450" fmla="*/ 217016 w 582166"/>
                <a:gd name="connsiteY450" fmla="*/ 491551 h 642065"/>
                <a:gd name="connsiteX451" fmla="*/ 213068 w 582166"/>
                <a:gd name="connsiteY451" fmla="*/ 488492 h 642065"/>
                <a:gd name="connsiteX452" fmla="*/ 211095 w 582166"/>
                <a:gd name="connsiteY452" fmla="*/ 493081 h 642065"/>
                <a:gd name="connsiteX453" fmla="*/ 205173 w 582166"/>
                <a:gd name="connsiteY453" fmla="*/ 496091 h 642065"/>
                <a:gd name="connsiteX454" fmla="*/ 197280 w 582166"/>
                <a:gd name="connsiteY454" fmla="*/ 500679 h 642065"/>
                <a:gd name="connsiteX455" fmla="*/ 197280 w 582166"/>
                <a:gd name="connsiteY455" fmla="*/ 508277 h 642065"/>
                <a:gd name="connsiteX456" fmla="*/ 193332 w 582166"/>
                <a:gd name="connsiteY456" fmla="*/ 512866 h 642065"/>
                <a:gd name="connsiteX457" fmla="*/ 187411 w 582166"/>
                <a:gd name="connsiteY457" fmla="*/ 521994 h 642065"/>
                <a:gd name="connsiteX458" fmla="*/ 185437 w 582166"/>
                <a:gd name="connsiteY458" fmla="*/ 528063 h 642065"/>
                <a:gd name="connsiteX459" fmla="*/ 183464 w 582166"/>
                <a:gd name="connsiteY459" fmla="*/ 534132 h 642065"/>
                <a:gd name="connsiteX460" fmla="*/ 167675 w 582166"/>
                <a:gd name="connsiteY460" fmla="*/ 543260 h 642065"/>
                <a:gd name="connsiteX461" fmla="*/ 161755 w 582166"/>
                <a:gd name="connsiteY461" fmla="*/ 547849 h 642065"/>
                <a:gd name="connsiteX462" fmla="*/ 157807 w 582166"/>
                <a:gd name="connsiteY462" fmla="*/ 558457 h 642065"/>
                <a:gd name="connsiteX463" fmla="*/ 153860 w 582166"/>
                <a:gd name="connsiteY463" fmla="*/ 567634 h 642065"/>
                <a:gd name="connsiteX464" fmla="*/ 145965 w 582166"/>
                <a:gd name="connsiteY464" fmla="*/ 573703 h 642065"/>
                <a:gd name="connsiteX465" fmla="*/ 147939 w 582166"/>
                <a:gd name="connsiteY465" fmla="*/ 575232 h 642065"/>
                <a:gd name="connsiteX466" fmla="*/ 145965 w 582166"/>
                <a:gd name="connsiteY466" fmla="*/ 576713 h 642065"/>
                <a:gd name="connsiteX467" fmla="*/ 142019 w 582166"/>
                <a:gd name="connsiteY467" fmla="*/ 578242 h 642065"/>
                <a:gd name="connsiteX468" fmla="*/ 147939 w 582166"/>
                <a:gd name="connsiteY468" fmla="*/ 578242 h 642065"/>
                <a:gd name="connsiteX469" fmla="*/ 149912 w 582166"/>
                <a:gd name="connsiteY469" fmla="*/ 579772 h 642065"/>
                <a:gd name="connsiteX470" fmla="*/ 145965 w 582166"/>
                <a:gd name="connsiteY470" fmla="*/ 581301 h 642065"/>
                <a:gd name="connsiteX471" fmla="*/ 137923 w 582166"/>
                <a:gd name="connsiteY471" fmla="*/ 581301 h 642065"/>
                <a:gd name="connsiteX472" fmla="*/ 126082 w 582166"/>
                <a:gd name="connsiteY472" fmla="*/ 585890 h 642065"/>
                <a:gd name="connsiteX473" fmla="*/ 120160 w 582166"/>
                <a:gd name="connsiteY473" fmla="*/ 591959 h 642065"/>
                <a:gd name="connsiteX474" fmla="*/ 118187 w 582166"/>
                <a:gd name="connsiteY474" fmla="*/ 598027 h 642065"/>
                <a:gd name="connsiteX475" fmla="*/ 110292 w 582166"/>
                <a:gd name="connsiteY475" fmla="*/ 601086 h 642065"/>
                <a:gd name="connsiteX476" fmla="*/ 112266 w 582166"/>
                <a:gd name="connsiteY476" fmla="*/ 598027 h 642065"/>
                <a:gd name="connsiteX477" fmla="*/ 108319 w 582166"/>
                <a:gd name="connsiteY477" fmla="*/ 594968 h 642065"/>
                <a:gd name="connsiteX478" fmla="*/ 108319 w 582166"/>
                <a:gd name="connsiteY478" fmla="*/ 602567 h 642065"/>
                <a:gd name="connsiteX479" fmla="*/ 102398 w 582166"/>
                <a:gd name="connsiteY479" fmla="*/ 604097 h 642065"/>
                <a:gd name="connsiteX480" fmla="*/ 90605 w 582166"/>
                <a:gd name="connsiteY480" fmla="*/ 613274 h 642065"/>
                <a:gd name="connsiteX481" fmla="*/ 78715 w 582166"/>
                <a:gd name="connsiteY481" fmla="*/ 617813 h 642065"/>
                <a:gd name="connsiteX482" fmla="*/ 70820 w 582166"/>
                <a:gd name="connsiteY482" fmla="*/ 617813 h 642065"/>
                <a:gd name="connsiteX483" fmla="*/ 64899 w 582166"/>
                <a:gd name="connsiteY483" fmla="*/ 616284 h 642065"/>
                <a:gd name="connsiteX484" fmla="*/ 64899 w 582166"/>
                <a:gd name="connsiteY484" fmla="*/ 613274 h 642065"/>
                <a:gd name="connsiteX485" fmla="*/ 53058 w 582166"/>
                <a:gd name="connsiteY485" fmla="*/ 617813 h 642065"/>
                <a:gd name="connsiteX486" fmla="*/ 51083 w 582166"/>
                <a:gd name="connsiteY486" fmla="*/ 616284 h 642065"/>
                <a:gd name="connsiteX487" fmla="*/ 57055 w 582166"/>
                <a:gd name="connsiteY487" fmla="*/ 613274 h 642065"/>
                <a:gd name="connsiteX488" fmla="*/ 53058 w 582166"/>
                <a:gd name="connsiteY488" fmla="*/ 608685 h 642065"/>
                <a:gd name="connsiteX489" fmla="*/ 45163 w 582166"/>
                <a:gd name="connsiteY489" fmla="*/ 604097 h 642065"/>
                <a:gd name="connsiteX490" fmla="*/ 45163 w 582166"/>
                <a:gd name="connsiteY490" fmla="*/ 599508 h 642065"/>
                <a:gd name="connsiteX491" fmla="*/ 43190 w 582166"/>
                <a:gd name="connsiteY491" fmla="*/ 596449 h 642065"/>
                <a:gd name="connsiteX492" fmla="*/ 37269 w 582166"/>
                <a:gd name="connsiteY492" fmla="*/ 596449 h 642065"/>
                <a:gd name="connsiteX493" fmla="*/ 33322 w 582166"/>
                <a:gd name="connsiteY493" fmla="*/ 593439 h 642065"/>
                <a:gd name="connsiteX494" fmla="*/ 35295 w 582166"/>
                <a:gd name="connsiteY494" fmla="*/ 591909 h 642065"/>
                <a:gd name="connsiteX495" fmla="*/ 33322 w 582166"/>
                <a:gd name="connsiteY495" fmla="*/ 587370 h 642065"/>
                <a:gd name="connsiteX496" fmla="*/ 27401 w 582166"/>
                <a:gd name="connsiteY496" fmla="*/ 585840 h 642065"/>
                <a:gd name="connsiteX497" fmla="*/ 23503 w 582166"/>
                <a:gd name="connsiteY497" fmla="*/ 585840 h 642065"/>
                <a:gd name="connsiteX498" fmla="*/ 21479 w 582166"/>
                <a:gd name="connsiteY498" fmla="*/ 588850 h 642065"/>
                <a:gd name="connsiteX499" fmla="*/ 19506 w 582166"/>
                <a:gd name="connsiteY499" fmla="*/ 588850 h 642065"/>
                <a:gd name="connsiteX500" fmla="*/ 17533 w 582166"/>
                <a:gd name="connsiteY500" fmla="*/ 587370 h 642065"/>
                <a:gd name="connsiteX501" fmla="*/ 9638 w 582166"/>
                <a:gd name="connsiteY501" fmla="*/ 585840 h 64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</a:cxnLst>
              <a:rect l="l" t="t" r="r" b="b"/>
              <a:pathLst>
                <a:path w="582166" h="642065">
                  <a:moveTo>
                    <a:pt x="3866" y="553720"/>
                  </a:moveTo>
                  <a:lnTo>
                    <a:pt x="7861" y="555250"/>
                  </a:lnTo>
                  <a:lnTo>
                    <a:pt x="9786" y="555250"/>
                  </a:lnTo>
                  <a:lnTo>
                    <a:pt x="9786" y="552191"/>
                  </a:lnTo>
                  <a:lnTo>
                    <a:pt x="3866" y="552191"/>
                  </a:lnTo>
                  <a:lnTo>
                    <a:pt x="3866" y="553720"/>
                  </a:lnTo>
                  <a:close/>
                  <a:moveTo>
                    <a:pt x="469638" y="136942"/>
                  </a:moveTo>
                  <a:lnTo>
                    <a:pt x="477533" y="136942"/>
                  </a:lnTo>
                  <a:lnTo>
                    <a:pt x="477533" y="138472"/>
                  </a:lnTo>
                  <a:lnTo>
                    <a:pt x="471611" y="138472"/>
                  </a:lnTo>
                  <a:lnTo>
                    <a:pt x="469638" y="136942"/>
                  </a:lnTo>
                  <a:close/>
                  <a:moveTo>
                    <a:pt x="481479" y="109607"/>
                  </a:moveTo>
                  <a:lnTo>
                    <a:pt x="479506" y="106548"/>
                  </a:lnTo>
                  <a:lnTo>
                    <a:pt x="483454" y="106548"/>
                  </a:lnTo>
                  <a:lnTo>
                    <a:pt x="481479" y="109607"/>
                  </a:lnTo>
                  <a:close/>
                  <a:moveTo>
                    <a:pt x="493272" y="112617"/>
                  </a:moveTo>
                  <a:lnTo>
                    <a:pt x="489374" y="106548"/>
                  </a:lnTo>
                  <a:lnTo>
                    <a:pt x="493272" y="98901"/>
                  </a:lnTo>
                  <a:lnTo>
                    <a:pt x="493272" y="103489"/>
                  </a:lnTo>
                  <a:lnTo>
                    <a:pt x="495295" y="106548"/>
                  </a:lnTo>
                  <a:lnTo>
                    <a:pt x="493272" y="109607"/>
                  </a:lnTo>
                  <a:lnTo>
                    <a:pt x="493272" y="112617"/>
                  </a:lnTo>
                  <a:close/>
                  <a:moveTo>
                    <a:pt x="376878" y="354385"/>
                  </a:moveTo>
                  <a:lnTo>
                    <a:pt x="382799" y="355865"/>
                  </a:lnTo>
                  <a:lnTo>
                    <a:pt x="384773" y="352855"/>
                  </a:lnTo>
                  <a:lnTo>
                    <a:pt x="386746" y="352855"/>
                  </a:lnTo>
                  <a:lnTo>
                    <a:pt x="388720" y="357395"/>
                  </a:lnTo>
                  <a:lnTo>
                    <a:pt x="386746" y="360454"/>
                  </a:lnTo>
                  <a:lnTo>
                    <a:pt x="392667" y="360454"/>
                  </a:lnTo>
                  <a:lnTo>
                    <a:pt x="394641" y="361934"/>
                  </a:lnTo>
                  <a:lnTo>
                    <a:pt x="392667" y="366523"/>
                  </a:lnTo>
                  <a:lnTo>
                    <a:pt x="394641" y="368052"/>
                  </a:lnTo>
                  <a:lnTo>
                    <a:pt x="400562" y="368052"/>
                  </a:lnTo>
                  <a:lnTo>
                    <a:pt x="414377" y="360454"/>
                  </a:lnTo>
                  <a:lnTo>
                    <a:pt x="426218" y="352855"/>
                  </a:lnTo>
                  <a:lnTo>
                    <a:pt x="436086" y="342198"/>
                  </a:lnTo>
                  <a:lnTo>
                    <a:pt x="447929" y="333070"/>
                  </a:lnTo>
                  <a:lnTo>
                    <a:pt x="457797" y="320883"/>
                  </a:lnTo>
                  <a:lnTo>
                    <a:pt x="465740" y="314814"/>
                  </a:lnTo>
                  <a:lnTo>
                    <a:pt x="469687" y="314814"/>
                  </a:lnTo>
                  <a:lnTo>
                    <a:pt x="471661" y="311755"/>
                  </a:lnTo>
                  <a:lnTo>
                    <a:pt x="471661" y="307216"/>
                  </a:lnTo>
                  <a:lnTo>
                    <a:pt x="477582" y="304156"/>
                  </a:lnTo>
                  <a:lnTo>
                    <a:pt x="483503" y="302627"/>
                  </a:lnTo>
                  <a:lnTo>
                    <a:pt x="487450" y="288960"/>
                  </a:lnTo>
                  <a:lnTo>
                    <a:pt x="495344" y="279831"/>
                  </a:lnTo>
                  <a:lnTo>
                    <a:pt x="495344" y="278302"/>
                  </a:lnTo>
                  <a:lnTo>
                    <a:pt x="499292" y="275243"/>
                  </a:lnTo>
                  <a:lnTo>
                    <a:pt x="493322" y="270704"/>
                  </a:lnTo>
                  <a:lnTo>
                    <a:pt x="487450" y="269174"/>
                  </a:lnTo>
                  <a:lnTo>
                    <a:pt x="483503" y="270704"/>
                  </a:lnTo>
                  <a:lnTo>
                    <a:pt x="487450" y="267644"/>
                  </a:lnTo>
                  <a:lnTo>
                    <a:pt x="491347" y="264635"/>
                  </a:lnTo>
                  <a:lnTo>
                    <a:pt x="507187" y="250918"/>
                  </a:lnTo>
                  <a:lnTo>
                    <a:pt x="515080" y="249389"/>
                  </a:lnTo>
                  <a:lnTo>
                    <a:pt x="526873" y="249389"/>
                  </a:lnTo>
                  <a:lnTo>
                    <a:pt x="532843" y="250918"/>
                  </a:lnTo>
                  <a:lnTo>
                    <a:pt x="530869" y="253977"/>
                  </a:lnTo>
                  <a:lnTo>
                    <a:pt x="532843" y="258517"/>
                  </a:lnTo>
                  <a:lnTo>
                    <a:pt x="538764" y="253977"/>
                  </a:lnTo>
                  <a:lnTo>
                    <a:pt x="544635" y="250918"/>
                  </a:lnTo>
                  <a:lnTo>
                    <a:pt x="534767" y="249389"/>
                  </a:lnTo>
                  <a:lnTo>
                    <a:pt x="534767" y="243320"/>
                  </a:lnTo>
                  <a:lnTo>
                    <a:pt x="538715" y="232662"/>
                  </a:lnTo>
                  <a:lnTo>
                    <a:pt x="544586" y="228123"/>
                  </a:lnTo>
                  <a:lnTo>
                    <a:pt x="550556" y="229653"/>
                  </a:lnTo>
                  <a:lnTo>
                    <a:pt x="552530" y="231133"/>
                  </a:lnTo>
                  <a:lnTo>
                    <a:pt x="554503" y="228123"/>
                  </a:lnTo>
                  <a:lnTo>
                    <a:pt x="558401" y="223535"/>
                  </a:lnTo>
                  <a:lnTo>
                    <a:pt x="568269" y="209867"/>
                  </a:lnTo>
                  <a:lnTo>
                    <a:pt x="568269" y="206808"/>
                  </a:lnTo>
                  <a:lnTo>
                    <a:pt x="566296" y="202269"/>
                  </a:lnTo>
                  <a:lnTo>
                    <a:pt x="570244" y="196200"/>
                  </a:lnTo>
                  <a:lnTo>
                    <a:pt x="574141" y="190082"/>
                  </a:lnTo>
                  <a:lnTo>
                    <a:pt x="582085" y="185542"/>
                  </a:lnTo>
                  <a:lnTo>
                    <a:pt x="582085" y="184013"/>
                  </a:lnTo>
                  <a:lnTo>
                    <a:pt x="572217" y="182483"/>
                  </a:lnTo>
                  <a:lnTo>
                    <a:pt x="568269" y="177944"/>
                  </a:lnTo>
                  <a:lnTo>
                    <a:pt x="572217" y="177944"/>
                  </a:lnTo>
                  <a:lnTo>
                    <a:pt x="572217" y="176414"/>
                  </a:lnTo>
                  <a:lnTo>
                    <a:pt x="564322" y="174884"/>
                  </a:lnTo>
                  <a:lnTo>
                    <a:pt x="556428" y="179424"/>
                  </a:lnTo>
                  <a:lnTo>
                    <a:pt x="544536" y="191611"/>
                  </a:lnTo>
                  <a:lnTo>
                    <a:pt x="534668" y="191611"/>
                  </a:lnTo>
                  <a:lnTo>
                    <a:pt x="530722" y="194670"/>
                  </a:lnTo>
                  <a:lnTo>
                    <a:pt x="524751" y="191611"/>
                  </a:lnTo>
                  <a:lnTo>
                    <a:pt x="510936" y="177944"/>
                  </a:lnTo>
                  <a:lnTo>
                    <a:pt x="503042" y="177944"/>
                  </a:lnTo>
                  <a:lnTo>
                    <a:pt x="499094" y="171825"/>
                  </a:lnTo>
                  <a:lnTo>
                    <a:pt x="497121" y="168766"/>
                  </a:lnTo>
                  <a:lnTo>
                    <a:pt x="501068" y="165757"/>
                  </a:lnTo>
                  <a:lnTo>
                    <a:pt x="501068" y="156629"/>
                  </a:lnTo>
                  <a:lnTo>
                    <a:pt x="497121" y="147501"/>
                  </a:lnTo>
                  <a:lnTo>
                    <a:pt x="497121" y="142912"/>
                  </a:lnTo>
                  <a:lnTo>
                    <a:pt x="493124" y="139902"/>
                  </a:lnTo>
                  <a:lnTo>
                    <a:pt x="495147" y="135363"/>
                  </a:lnTo>
                  <a:lnTo>
                    <a:pt x="497121" y="129245"/>
                  </a:lnTo>
                  <a:lnTo>
                    <a:pt x="493124" y="127715"/>
                  </a:lnTo>
                  <a:lnTo>
                    <a:pt x="491151" y="121647"/>
                  </a:lnTo>
                  <a:lnTo>
                    <a:pt x="491151" y="118587"/>
                  </a:lnTo>
                  <a:lnTo>
                    <a:pt x="487253" y="120117"/>
                  </a:lnTo>
                  <a:lnTo>
                    <a:pt x="483305" y="117058"/>
                  </a:lnTo>
                  <a:lnTo>
                    <a:pt x="481332" y="120117"/>
                  </a:lnTo>
                  <a:lnTo>
                    <a:pt x="485279" y="123126"/>
                  </a:lnTo>
                  <a:lnTo>
                    <a:pt x="485279" y="129245"/>
                  </a:lnTo>
                  <a:lnTo>
                    <a:pt x="487253" y="130774"/>
                  </a:lnTo>
                  <a:lnTo>
                    <a:pt x="481332" y="136843"/>
                  </a:lnTo>
                  <a:lnTo>
                    <a:pt x="481332" y="141432"/>
                  </a:lnTo>
                  <a:lnTo>
                    <a:pt x="485279" y="145971"/>
                  </a:lnTo>
                  <a:lnTo>
                    <a:pt x="485279" y="149030"/>
                  </a:lnTo>
                  <a:lnTo>
                    <a:pt x="481332" y="150560"/>
                  </a:lnTo>
                  <a:lnTo>
                    <a:pt x="477385" y="147501"/>
                  </a:lnTo>
                  <a:lnTo>
                    <a:pt x="475361" y="141432"/>
                  </a:lnTo>
                  <a:lnTo>
                    <a:pt x="467517" y="141432"/>
                  </a:lnTo>
                  <a:lnTo>
                    <a:pt x="467517" y="138373"/>
                  </a:lnTo>
                  <a:lnTo>
                    <a:pt x="461596" y="136843"/>
                  </a:lnTo>
                  <a:lnTo>
                    <a:pt x="457599" y="136843"/>
                  </a:lnTo>
                  <a:lnTo>
                    <a:pt x="457599" y="132304"/>
                  </a:lnTo>
                  <a:lnTo>
                    <a:pt x="461596" y="130774"/>
                  </a:lnTo>
                  <a:lnTo>
                    <a:pt x="463569" y="126185"/>
                  </a:lnTo>
                  <a:lnTo>
                    <a:pt x="457599" y="121647"/>
                  </a:lnTo>
                  <a:lnTo>
                    <a:pt x="461596" y="115578"/>
                  </a:lnTo>
                  <a:lnTo>
                    <a:pt x="467517" y="115578"/>
                  </a:lnTo>
                  <a:lnTo>
                    <a:pt x="469490" y="109508"/>
                  </a:lnTo>
                  <a:lnTo>
                    <a:pt x="467517" y="103390"/>
                  </a:lnTo>
                  <a:lnTo>
                    <a:pt x="467517" y="100331"/>
                  </a:lnTo>
                  <a:lnTo>
                    <a:pt x="465542" y="94262"/>
                  </a:lnTo>
                  <a:lnTo>
                    <a:pt x="467517" y="88194"/>
                  </a:lnTo>
                  <a:lnTo>
                    <a:pt x="459572" y="83605"/>
                  </a:lnTo>
                  <a:lnTo>
                    <a:pt x="459572" y="79016"/>
                  </a:lnTo>
                  <a:lnTo>
                    <a:pt x="463569" y="83605"/>
                  </a:lnTo>
                  <a:lnTo>
                    <a:pt x="469490" y="80546"/>
                  </a:lnTo>
                  <a:lnTo>
                    <a:pt x="471464" y="74477"/>
                  </a:lnTo>
                  <a:lnTo>
                    <a:pt x="475361" y="72948"/>
                  </a:lnTo>
                  <a:lnTo>
                    <a:pt x="475361" y="63820"/>
                  </a:lnTo>
                  <a:lnTo>
                    <a:pt x="471464" y="56221"/>
                  </a:lnTo>
                  <a:lnTo>
                    <a:pt x="471464" y="50152"/>
                  </a:lnTo>
                  <a:lnTo>
                    <a:pt x="469490" y="51682"/>
                  </a:lnTo>
                  <a:lnTo>
                    <a:pt x="461596" y="56221"/>
                  </a:lnTo>
                  <a:lnTo>
                    <a:pt x="455674" y="48623"/>
                  </a:lnTo>
                  <a:lnTo>
                    <a:pt x="459572" y="45613"/>
                  </a:lnTo>
                  <a:lnTo>
                    <a:pt x="455674" y="42554"/>
                  </a:lnTo>
                  <a:lnTo>
                    <a:pt x="451728" y="42554"/>
                  </a:lnTo>
                  <a:lnTo>
                    <a:pt x="455674" y="39495"/>
                  </a:lnTo>
                  <a:lnTo>
                    <a:pt x="459572" y="37965"/>
                  </a:lnTo>
                  <a:lnTo>
                    <a:pt x="459572" y="34906"/>
                  </a:lnTo>
                  <a:lnTo>
                    <a:pt x="453701" y="33426"/>
                  </a:lnTo>
                  <a:lnTo>
                    <a:pt x="449754" y="27357"/>
                  </a:lnTo>
                  <a:lnTo>
                    <a:pt x="443833" y="30367"/>
                  </a:lnTo>
                  <a:lnTo>
                    <a:pt x="443833" y="24298"/>
                  </a:lnTo>
                  <a:lnTo>
                    <a:pt x="445806" y="24298"/>
                  </a:lnTo>
                  <a:lnTo>
                    <a:pt x="447781" y="21239"/>
                  </a:lnTo>
                  <a:lnTo>
                    <a:pt x="445806" y="21239"/>
                  </a:lnTo>
                  <a:lnTo>
                    <a:pt x="441811" y="22768"/>
                  </a:lnTo>
                  <a:lnTo>
                    <a:pt x="441811" y="25827"/>
                  </a:lnTo>
                  <a:lnTo>
                    <a:pt x="435938" y="31896"/>
                  </a:lnTo>
                  <a:lnTo>
                    <a:pt x="431992" y="30367"/>
                  </a:lnTo>
                  <a:lnTo>
                    <a:pt x="433965" y="24298"/>
                  </a:lnTo>
                  <a:lnTo>
                    <a:pt x="431992" y="19709"/>
                  </a:lnTo>
                  <a:lnTo>
                    <a:pt x="430018" y="12111"/>
                  </a:lnTo>
                  <a:lnTo>
                    <a:pt x="430018" y="6042"/>
                  </a:lnTo>
                  <a:lnTo>
                    <a:pt x="431992" y="4513"/>
                  </a:lnTo>
                  <a:lnTo>
                    <a:pt x="428044" y="-27"/>
                  </a:lnTo>
                  <a:lnTo>
                    <a:pt x="426070" y="4513"/>
                  </a:lnTo>
                  <a:lnTo>
                    <a:pt x="416202" y="3032"/>
                  </a:lnTo>
                  <a:lnTo>
                    <a:pt x="416202" y="4513"/>
                  </a:lnTo>
                  <a:lnTo>
                    <a:pt x="420150" y="9101"/>
                  </a:lnTo>
                  <a:lnTo>
                    <a:pt x="428044" y="24298"/>
                  </a:lnTo>
                  <a:lnTo>
                    <a:pt x="428044" y="41025"/>
                  </a:lnTo>
                  <a:lnTo>
                    <a:pt x="424097" y="42554"/>
                  </a:lnTo>
                  <a:lnTo>
                    <a:pt x="422124" y="42554"/>
                  </a:lnTo>
                  <a:lnTo>
                    <a:pt x="422124" y="45613"/>
                  </a:lnTo>
                  <a:lnTo>
                    <a:pt x="426070" y="59280"/>
                  </a:lnTo>
                  <a:lnTo>
                    <a:pt x="428044" y="60761"/>
                  </a:lnTo>
                  <a:lnTo>
                    <a:pt x="431992" y="57750"/>
                  </a:lnTo>
                  <a:lnTo>
                    <a:pt x="433965" y="57750"/>
                  </a:lnTo>
                  <a:lnTo>
                    <a:pt x="430018" y="63820"/>
                  </a:lnTo>
                  <a:lnTo>
                    <a:pt x="431992" y="69938"/>
                  </a:lnTo>
                  <a:lnTo>
                    <a:pt x="435938" y="79016"/>
                  </a:lnTo>
                  <a:lnTo>
                    <a:pt x="437913" y="94262"/>
                  </a:lnTo>
                  <a:lnTo>
                    <a:pt x="437913" y="111038"/>
                  </a:lnTo>
                  <a:lnTo>
                    <a:pt x="441811" y="109558"/>
                  </a:lnTo>
                  <a:lnTo>
                    <a:pt x="443833" y="103440"/>
                  </a:lnTo>
                  <a:lnTo>
                    <a:pt x="441811" y="98851"/>
                  </a:lnTo>
                  <a:lnTo>
                    <a:pt x="443833" y="97371"/>
                  </a:lnTo>
                  <a:lnTo>
                    <a:pt x="447781" y="100381"/>
                  </a:lnTo>
                  <a:lnTo>
                    <a:pt x="447781" y="106499"/>
                  </a:lnTo>
                  <a:lnTo>
                    <a:pt x="451728" y="104970"/>
                  </a:lnTo>
                  <a:lnTo>
                    <a:pt x="451728" y="103440"/>
                  </a:lnTo>
                  <a:lnTo>
                    <a:pt x="449754" y="101910"/>
                  </a:lnTo>
                  <a:lnTo>
                    <a:pt x="451728" y="100381"/>
                  </a:lnTo>
                  <a:lnTo>
                    <a:pt x="453701" y="104970"/>
                  </a:lnTo>
                  <a:lnTo>
                    <a:pt x="449754" y="112568"/>
                  </a:lnTo>
                  <a:lnTo>
                    <a:pt x="447781" y="117107"/>
                  </a:lnTo>
                  <a:lnTo>
                    <a:pt x="447781" y="120166"/>
                  </a:lnTo>
                  <a:lnTo>
                    <a:pt x="445806" y="120166"/>
                  </a:lnTo>
                  <a:lnTo>
                    <a:pt x="441811" y="117107"/>
                  </a:lnTo>
                  <a:lnTo>
                    <a:pt x="437913" y="117107"/>
                  </a:lnTo>
                  <a:lnTo>
                    <a:pt x="441811" y="126235"/>
                  </a:lnTo>
                  <a:lnTo>
                    <a:pt x="445806" y="138422"/>
                  </a:lnTo>
                  <a:lnTo>
                    <a:pt x="447781" y="139952"/>
                  </a:lnTo>
                  <a:lnTo>
                    <a:pt x="451728" y="138422"/>
                  </a:lnTo>
                  <a:lnTo>
                    <a:pt x="453701" y="141481"/>
                  </a:lnTo>
                  <a:lnTo>
                    <a:pt x="453701" y="144491"/>
                  </a:lnTo>
                  <a:lnTo>
                    <a:pt x="457599" y="147550"/>
                  </a:lnTo>
                  <a:lnTo>
                    <a:pt x="449754" y="150609"/>
                  </a:lnTo>
                  <a:lnTo>
                    <a:pt x="449754" y="152139"/>
                  </a:lnTo>
                  <a:lnTo>
                    <a:pt x="451728" y="155148"/>
                  </a:lnTo>
                  <a:lnTo>
                    <a:pt x="449754" y="158208"/>
                  </a:lnTo>
                  <a:lnTo>
                    <a:pt x="445806" y="170345"/>
                  </a:lnTo>
                  <a:lnTo>
                    <a:pt x="445806" y="174934"/>
                  </a:lnTo>
                  <a:lnTo>
                    <a:pt x="443833" y="177993"/>
                  </a:lnTo>
                  <a:lnTo>
                    <a:pt x="447781" y="181003"/>
                  </a:lnTo>
                  <a:lnTo>
                    <a:pt x="445806" y="182532"/>
                  </a:lnTo>
                  <a:lnTo>
                    <a:pt x="441811" y="182532"/>
                  </a:lnTo>
                  <a:lnTo>
                    <a:pt x="437913" y="188601"/>
                  </a:lnTo>
                  <a:lnTo>
                    <a:pt x="437913" y="191660"/>
                  </a:lnTo>
                  <a:lnTo>
                    <a:pt x="441811" y="194719"/>
                  </a:lnTo>
                  <a:lnTo>
                    <a:pt x="435938" y="196249"/>
                  </a:lnTo>
                  <a:lnTo>
                    <a:pt x="431992" y="197778"/>
                  </a:lnTo>
                  <a:lnTo>
                    <a:pt x="430018" y="203848"/>
                  </a:lnTo>
                  <a:lnTo>
                    <a:pt x="426070" y="225113"/>
                  </a:lnTo>
                  <a:lnTo>
                    <a:pt x="424097" y="231182"/>
                  </a:lnTo>
                  <a:lnTo>
                    <a:pt x="420150" y="234241"/>
                  </a:lnTo>
                  <a:lnTo>
                    <a:pt x="414229" y="234241"/>
                  </a:lnTo>
                  <a:lnTo>
                    <a:pt x="408259" y="231182"/>
                  </a:lnTo>
                  <a:lnTo>
                    <a:pt x="400413" y="232712"/>
                  </a:lnTo>
                  <a:lnTo>
                    <a:pt x="386598" y="237300"/>
                  </a:lnTo>
                  <a:lnTo>
                    <a:pt x="380677" y="244899"/>
                  </a:lnTo>
                  <a:lnTo>
                    <a:pt x="380677" y="260095"/>
                  </a:lnTo>
                  <a:lnTo>
                    <a:pt x="386598" y="264684"/>
                  </a:lnTo>
                  <a:lnTo>
                    <a:pt x="396466" y="272283"/>
                  </a:lnTo>
                  <a:lnTo>
                    <a:pt x="402388" y="279881"/>
                  </a:lnTo>
                  <a:lnTo>
                    <a:pt x="412256" y="281411"/>
                  </a:lnTo>
                  <a:lnTo>
                    <a:pt x="416202" y="284470"/>
                  </a:lnTo>
                  <a:lnTo>
                    <a:pt x="418176" y="299617"/>
                  </a:lnTo>
                  <a:lnTo>
                    <a:pt x="418176" y="299617"/>
                  </a:lnTo>
                  <a:lnTo>
                    <a:pt x="416202" y="301147"/>
                  </a:lnTo>
                  <a:lnTo>
                    <a:pt x="416202" y="308794"/>
                  </a:lnTo>
                  <a:lnTo>
                    <a:pt x="414229" y="313334"/>
                  </a:lnTo>
                  <a:lnTo>
                    <a:pt x="398440" y="330110"/>
                  </a:lnTo>
                  <a:lnTo>
                    <a:pt x="388572" y="339188"/>
                  </a:lnTo>
                  <a:lnTo>
                    <a:pt x="378704" y="348365"/>
                  </a:lnTo>
                  <a:lnTo>
                    <a:pt x="374707" y="351375"/>
                  </a:lnTo>
                  <a:lnTo>
                    <a:pt x="376730" y="354434"/>
                  </a:lnTo>
                  <a:close/>
                  <a:moveTo>
                    <a:pt x="351221" y="330060"/>
                  </a:moveTo>
                  <a:lnTo>
                    <a:pt x="353194" y="327001"/>
                  </a:lnTo>
                  <a:lnTo>
                    <a:pt x="355169" y="322412"/>
                  </a:lnTo>
                  <a:lnTo>
                    <a:pt x="361089" y="322412"/>
                  </a:lnTo>
                  <a:lnTo>
                    <a:pt x="361089" y="325471"/>
                  </a:lnTo>
                  <a:lnTo>
                    <a:pt x="355169" y="328530"/>
                  </a:lnTo>
                  <a:lnTo>
                    <a:pt x="353194" y="331540"/>
                  </a:lnTo>
                  <a:lnTo>
                    <a:pt x="351221" y="331540"/>
                  </a:lnTo>
                  <a:lnTo>
                    <a:pt x="351221" y="330060"/>
                  </a:lnTo>
                  <a:close/>
                  <a:moveTo>
                    <a:pt x="349248" y="337609"/>
                  </a:moveTo>
                  <a:lnTo>
                    <a:pt x="353194" y="336129"/>
                  </a:lnTo>
                  <a:lnTo>
                    <a:pt x="355169" y="334600"/>
                  </a:lnTo>
                  <a:lnTo>
                    <a:pt x="353194" y="337609"/>
                  </a:lnTo>
                  <a:close/>
                  <a:moveTo>
                    <a:pt x="345301" y="337609"/>
                  </a:moveTo>
                  <a:lnTo>
                    <a:pt x="347274" y="336129"/>
                  </a:lnTo>
                  <a:lnTo>
                    <a:pt x="351221" y="336129"/>
                  </a:lnTo>
                  <a:lnTo>
                    <a:pt x="351221" y="334600"/>
                  </a:lnTo>
                  <a:lnTo>
                    <a:pt x="345301" y="337609"/>
                  </a:lnTo>
                  <a:close/>
                  <a:moveTo>
                    <a:pt x="47284" y="623783"/>
                  </a:moveTo>
                  <a:lnTo>
                    <a:pt x="49258" y="622254"/>
                  </a:lnTo>
                  <a:lnTo>
                    <a:pt x="49258" y="625313"/>
                  </a:lnTo>
                  <a:lnTo>
                    <a:pt x="47284" y="623783"/>
                  </a:lnTo>
                  <a:close/>
                  <a:moveTo>
                    <a:pt x="11759" y="637500"/>
                  </a:moveTo>
                  <a:lnTo>
                    <a:pt x="7861" y="642039"/>
                  </a:lnTo>
                  <a:lnTo>
                    <a:pt x="3866" y="642039"/>
                  </a:lnTo>
                  <a:lnTo>
                    <a:pt x="1891" y="639029"/>
                  </a:lnTo>
                  <a:lnTo>
                    <a:pt x="9786" y="632911"/>
                  </a:lnTo>
                  <a:lnTo>
                    <a:pt x="11759" y="631431"/>
                  </a:lnTo>
                  <a:lnTo>
                    <a:pt x="11759" y="626842"/>
                  </a:lnTo>
                  <a:lnTo>
                    <a:pt x="17680" y="626842"/>
                  </a:lnTo>
                  <a:lnTo>
                    <a:pt x="19654" y="620724"/>
                  </a:lnTo>
                  <a:lnTo>
                    <a:pt x="17680" y="614655"/>
                  </a:lnTo>
                  <a:lnTo>
                    <a:pt x="19654" y="611645"/>
                  </a:lnTo>
                  <a:lnTo>
                    <a:pt x="27548" y="608586"/>
                  </a:lnTo>
                  <a:lnTo>
                    <a:pt x="33470" y="614655"/>
                  </a:lnTo>
                  <a:lnTo>
                    <a:pt x="35443" y="620724"/>
                  </a:lnTo>
                  <a:lnTo>
                    <a:pt x="37416" y="623783"/>
                  </a:lnTo>
                  <a:lnTo>
                    <a:pt x="37416" y="623783"/>
                  </a:lnTo>
                  <a:lnTo>
                    <a:pt x="33470" y="625313"/>
                  </a:lnTo>
                  <a:lnTo>
                    <a:pt x="31495" y="623783"/>
                  </a:lnTo>
                  <a:lnTo>
                    <a:pt x="27548" y="625313"/>
                  </a:lnTo>
                  <a:lnTo>
                    <a:pt x="31495" y="625313"/>
                  </a:lnTo>
                  <a:lnTo>
                    <a:pt x="33470" y="626842"/>
                  </a:lnTo>
                  <a:lnTo>
                    <a:pt x="37416" y="628372"/>
                  </a:lnTo>
                  <a:lnTo>
                    <a:pt x="37416" y="631431"/>
                  </a:lnTo>
                  <a:lnTo>
                    <a:pt x="35443" y="632911"/>
                  </a:lnTo>
                  <a:lnTo>
                    <a:pt x="31495" y="632911"/>
                  </a:lnTo>
                  <a:lnTo>
                    <a:pt x="23651" y="634440"/>
                  </a:lnTo>
                  <a:lnTo>
                    <a:pt x="19654" y="637500"/>
                  </a:lnTo>
                  <a:lnTo>
                    <a:pt x="11759" y="637500"/>
                  </a:lnTo>
                  <a:close/>
                  <a:moveTo>
                    <a:pt x="5888" y="582683"/>
                  </a:moveTo>
                  <a:lnTo>
                    <a:pt x="1891" y="579673"/>
                  </a:lnTo>
                  <a:lnTo>
                    <a:pt x="3866" y="573604"/>
                  </a:lnTo>
                  <a:lnTo>
                    <a:pt x="5888" y="572074"/>
                  </a:lnTo>
                  <a:lnTo>
                    <a:pt x="3866" y="570545"/>
                  </a:lnTo>
                  <a:lnTo>
                    <a:pt x="-82" y="570545"/>
                  </a:lnTo>
                  <a:lnTo>
                    <a:pt x="7861" y="562946"/>
                  </a:lnTo>
                  <a:lnTo>
                    <a:pt x="13734" y="561417"/>
                  </a:lnTo>
                  <a:lnTo>
                    <a:pt x="19654" y="562946"/>
                  </a:lnTo>
                  <a:lnTo>
                    <a:pt x="23651" y="559887"/>
                  </a:lnTo>
                  <a:lnTo>
                    <a:pt x="19654" y="558358"/>
                  </a:lnTo>
                  <a:lnTo>
                    <a:pt x="15707" y="552289"/>
                  </a:lnTo>
                  <a:lnTo>
                    <a:pt x="13734" y="547750"/>
                  </a:lnTo>
                  <a:lnTo>
                    <a:pt x="19654" y="540102"/>
                  </a:lnTo>
                  <a:lnTo>
                    <a:pt x="23651" y="538573"/>
                  </a:lnTo>
                  <a:lnTo>
                    <a:pt x="27548" y="535563"/>
                  </a:lnTo>
                  <a:lnTo>
                    <a:pt x="29522" y="535563"/>
                  </a:lnTo>
                  <a:lnTo>
                    <a:pt x="31495" y="541632"/>
                  </a:lnTo>
                  <a:lnTo>
                    <a:pt x="35443" y="538573"/>
                  </a:lnTo>
                  <a:lnTo>
                    <a:pt x="35443" y="526434"/>
                  </a:lnTo>
                  <a:lnTo>
                    <a:pt x="39440" y="523425"/>
                  </a:lnTo>
                  <a:lnTo>
                    <a:pt x="41364" y="523425"/>
                  </a:lnTo>
                  <a:lnTo>
                    <a:pt x="51232" y="514247"/>
                  </a:lnTo>
                  <a:lnTo>
                    <a:pt x="55179" y="515777"/>
                  </a:lnTo>
                  <a:lnTo>
                    <a:pt x="57202" y="512768"/>
                  </a:lnTo>
                  <a:lnTo>
                    <a:pt x="57202" y="505169"/>
                  </a:lnTo>
                  <a:lnTo>
                    <a:pt x="63074" y="502110"/>
                  </a:lnTo>
                  <a:lnTo>
                    <a:pt x="67020" y="499051"/>
                  </a:lnTo>
                  <a:lnTo>
                    <a:pt x="70968" y="500580"/>
                  </a:lnTo>
                  <a:lnTo>
                    <a:pt x="70968" y="505169"/>
                  </a:lnTo>
                  <a:lnTo>
                    <a:pt x="72942" y="497521"/>
                  </a:lnTo>
                  <a:lnTo>
                    <a:pt x="78863" y="491452"/>
                  </a:lnTo>
                  <a:lnTo>
                    <a:pt x="84783" y="489923"/>
                  </a:lnTo>
                  <a:lnTo>
                    <a:pt x="92678" y="483854"/>
                  </a:lnTo>
                  <a:lnTo>
                    <a:pt x="98599" y="479315"/>
                  </a:lnTo>
                  <a:lnTo>
                    <a:pt x="110440" y="470137"/>
                  </a:lnTo>
                  <a:lnTo>
                    <a:pt x="114388" y="470137"/>
                  </a:lnTo>
                  <a:lnTo>
                    <a:pt x="118335" y="471667"/>
                  </a:lnTo>
                  <a:lnTo>
                    <a:pt x="124256" y="470137"/>
                  </a:lnTo>
                  <a:lnTo>
                    <a:pt x="132151" y="468657"/>
                  </a:lnTo>
                  <a:lnTo>
                    <a:pt x="134124" y="470137"/>
                  </a:lnTo>
                  <a:lnTo>
                    <a:pt x="140044" y="474726"/>
                  </a:lnTo>
                  <a:lnTo>
                    <a:pt x="138071" y="468657"/>
                  </a:lnTo>
                  <a:lnTo>
                    <a:pt x="136097" y="464069"/>
                  </a:lnTo>
                  <a:lnTo>
                    <a:pt x="138071" y="461058"/>
                  </a:lnTo>
                  <a:lnTo>
                    <a:pt x="149912" y="454940"/>
                  </a:lnTo>
                  <a:lnTo>
                    <a:pt x="155833" y="453411"/>
                  </a:lnTo>
                  <a:lnTo>
                    <a:pt x="169648" y="442803"/>
                  </a:lnTo>
                  <a:lnTo>
                    <a:pt x="181491" y="438214"/>
                  </a:lnTo>
                  <a:lnTo>
                    <a:pt x="187411" y="438214"/>
                  </a:lnTo>
                  <a:lnTo>
                    <a:pt x="189385" y="433675"/>
                  </a:lnTo>
                  <a:lnTo>
                    <a:pt x="197280" y="430616"/>
                  </a:lnTo>
                  <a:lnTo>
                    <a:pt x="207148" y="429086"/>
                  </a:lnTo>
                  <a:lnTo>
                    <a:pt x="220963" y="418478"/>
                  </a:lnTo>
                  <a:lnTo>
                    <a:pt x="234777" y="406241"/>
                  </a:lnTo>
                  <a:lnTo>
                    <a:pt x="234777" y="401702"/>
                  </a:lnTo>
                  <a:lnTo>
                    <a:pt x="238725" y="397163"/>
                  </a:lnTo>
                  <a:lnTo>
                    <a:pt x="238725" y="391094"/>
                  </a:lnTo>
                  <a:lnTo>
                    <a:pt x="244646" y="384976"/>
                  </a:lnTo>
                  <a:lnTo>
                    <a:pt x="248593" y="383446"/>
                  </a:lnTo>
                  <a:lnTo>
                    <a:pt x="248593" y="377476"/>
                  </a:lnTo>
                  <a:lnTo>
                    <a:pt x="250567" y="371407"/>
                  </a:lnTo>
                  <a:lnTo>
                    <a:pt x="256488" y="368348"/>
                  </a:lnTo>
                  <a:lnTo>
                    <a:pt x="262409" y="368348"/>
                  </a:lnTo>
                  <a:lnTo>
                    <a:pt x="270304" y="366818"/>
                  </a:lnTo>
                  <a:lnTo>
                    <a:pt x="272277" y="362230"/>
                  </a:lnTo>
                  <a:lnTo>
                    <a:pt x="280172" y="354681"/>
                  </a:lnTo>
                  <a:lnTo>
                    <a:pt x="284118" y="353151"/>
                  </a:lnTo>
                  <a:lnTo>
                    <a:pt x="290040" y="343974"/>
                  </a:lnTo>
                  <a:lnTo>
                    <a:pt x="295960" y="331836"/>
                  </a:lnTo>
                  <a:lnTo>
                    <a:pt x="295960" y="324238"/>
                  </a:lnTo>
                  <a:lnTo>
                    <a:pt x="303854" y="318169"/>
                  </a:lnTo>
                  <a:lnTo>
                    <a:pt x="309776" y="316640"/>
                  </a:lnTo>
                  <a:lnTo>
                    <a:pt x="317670" y="312051"/>
                  </a:lnTo>
                  <a:lnTo>
                    <a:pt x="323590" y="312051"/>
                  </a:lnTo>
                  <a:lnTo>
                    <a:pt x="319644" y="316640"/>
                  </a:lnTo>
                  <a:lnTo>
                    <a:pt x="319644" y="322708"/>
                  </a:lnTo>
                  <a:lnTo>
                    <a:pt x="321617" y="325768"/>
                  </a:lnTo>
                  <a:lnTo>
                    <a:pt x="323590" y="325768"/>
                  </a:lnTo>
                  <a:lnTo>
                    <a:pt x="327538" y="324238"/>
                  </a:lnTo>
                  <a:lnTo>
                    <a:pt x="329512" y="325768"/>
                  </a:lnTo>
                  <a:lnTo>
                    <a:pt x="329512" y="328827"/>
                  </a:lnTo>
                  <a:lnTo>
                    <a:pt x="331485" y="328827"/>
                  </a:lnTo>
                  <a:lnTo>
                    <a:pt x="329512" y="331836"/>
                  </a:lnTo>
                  <a:lnTo>
                    <a:pt x="327538" y="334895"/>
                  </a:lnTo>
                  <a:lnTo>
                    <a:pt x="323590" y="336425"/>
                  </a:lnTo>
                  <a:lnTo>
                    <a:pt x="327538" y="347082"/>
                  </a:lnTo>
                  <a:lnTo>
                    <a:pt x="331485" y="348612"/>
                  </a:lnTo>
                  <a:lnTo>
                    <a:pt x="339380" y="342494"/>
                  </a:lnTo>
                  <a:lnTo>
                    <a:pt x="343326" y="339435"/>
                  </a:lnTo>
                  <a:lnTo>
                    <a:pt x="347274" y="340964"/>
                  </a:lnTo>
                  <a:lnTo>
                    <a:pt x="349248" y="340964"/>
                  </a:lnTo>
                  <a:lnTo>
                    <a:pt x="349248" y="343974"/>
                  </a:lnTo>
                  <a:lnTo>
                    <a:pt x="353194" y="348612"/>
                  </a:lnTo>
                  <a:lnTo>
                    <a:pt x="359116" y="342494"/>
                  </a:lnTo>
                  <a:lnTo>
                    <a:pt x="355169" y="342494"/>
                  </a:lnTo>
                  <a:lnTo>
                    <a:pt x="355169" y="340964"/>
                  </a:lnTo>
                  <a:lnTo>
                    <a:pt x="359116" y="333366"/>
                  </a:lnTo>
                  <a:lnTo>
                    <a:pt x="363062" y="334895"/>
                  </a:lnTo>
                  <a:lnTo>
                    <a:pt x="363062" y="337905"/>
                  </a:lnTo>
                  <a:lnTo>
                    <a:pt x="365037" y="337905"/>
                  </a:lnTo>
                  <a:lnTo>
                    <a:pt x="361089" y="343974"/>
                  </a:lnTo>
                  <a:lnTo>
                    <a:pt x="355169" y="350092"/>
                  </a:lnTo>
                  <a:lnTo>
                    <a:pt x="359116" y="348612"/>
                  </a:lnTo>
                  <a:lnTo>
                    <a:pt x="365037" y="348612"/>
                  </a:lnTo>
                  <a:lnTo>
                    <a:pt x="357142" y="354681"/>
                  </a:lnTo>
                  <a:lnTo>
                    <a:pt x="355169" y="354681"/>
                  </a:lnTo>
                  <a:lnTo>
                    <a:pt x="353194" y="359220"/>
                  </a:lnTo>
                  <a:lnTo>
                    <a:pt x="353194" y="365289"/>
                  </a:lnTo>
                  <a:lnTo>
                    <a:pt x="357142" y="369878"/>
                  </a:lnTo>
                  <a:lnTo>
                    <a:pt x="357142" y="377476"/>
                  </a:lnTo>
                  <a:lnTo>
                    <a:pt x="361089" y="379006"/>
                  </a:lnTo>
                  <a:lnTo>
                    <a:pt x="355169" y="382016"/>
                  </a:lnTo>
                  <a:lnTo>
                    <a:pt x="335433" y="394203"/>
                  </a:lnTo>
                  <a:lnTo>
                    <a:pt x="333458" y="400271"/>
                  </a:lnTo>
                  <a:lnTo>
                    <a:pt x="321617" y="409399"/>
                  </a:lnTo>
                  <a:lnTo>
                    <a:pt x="321617" y="412458"/>
                  </a:lnTo>
                  <a:lnTo>
                    <a:pt x="317670" y="412458"/>
                  </a:lnTo>
                  <a:lnTo>
                    <a:pt x="309776" y="418576"/>
                  </a:lnTo>
                  <a:lnTo>
                    <a:pt x="307801" y="423116"/>
                  </a:lnTo>
                  <a:lnTo>
                    <a:pt x="299908" y="433774"/>
                  </a:lnTo>
                  <a:lnTo>
                    <a:pt x="297933" y="436833"/>
                  </a:lnTo>
                  <a:lnTo>
                    <a:pt x="288065" y="441372"/>
                  </a:lnTo>
                  <a:lnTo>
                    <a:pt x="278197" y="444382"/>
                  </a:lnTo>
                  <a:lnTo>
                    <a:pt x="272277" y="445911"/>
                  </a:lnTo>
                  <a:lnTo>
                    <a:pt x="270304" y="456569"/>
                  </a:lnTo>
                  <a:lnTo>
                    <a:pt x="272277" y="464167"/>
                  </a:lnTo>
                  <a:lnTo>
                    <a:pt x="270304" y="465697"/>
                  </a:lnTo>
                  <a:lnTo>
                    <a:pt x="274250" y="467226"/>
                  </a:lnTo>
                  <a:lnTo>
                    <a:pt x="276224" y="470236"/>
                  </a:lnTo>
                  <a:lnTo>
                    <a:pt x="276224" y="480943"/>
                  </a:lnTo>
                  <a:lnTo>
                    <a:pt x="272277" y="482423"/>
                  </a:lnTo>
                  <a:lnTo>
                    <a:pt x="270304" y="480943"/>
                  </a:lnTo>
                  <a:lnTo>
                    <a:pt x="272277" y="473295"/>
                  </a:lnTo>
                  <a:lnTo>
                    <a:pt x="270304" y="471765"/>
                  </a:lnTo>
                  <a:lnTo>
                    <a:pt x="266356" y="473295"/>
                  </a:lnTo>
                  <a:lnTo>
                    <a:pt x="266356" y="479413"/>
                  </a:lnTo>
                  <a:lnTo>
                    <a:pt x="264382" y="482423"/>
                  </a:lnTo>
                  <a:lnTo>
                    <a:pt x="258461" y="480943"/>
                  </a:lnTo>
                  <a:lnTo>
                    <a:pt x="252540" y="480943"/>
                  </a:lnTo>
                  <a:lnTo>
                    <a:pt x="258461" y="476354"/>
                  </a:lnTo>
                  <a:lnTo>
                    <a:pt x="258461" y="474825"/>
                  </a:lnTo>
                  <a:lnTo>
                    <a:pt x="252540" y="473295"/>
                  </a:lnTo>
                  <a:lnTo>
                    <a:pt x="248593" y="476354"/>
                  </a:lnTo>
                  <a:lnTo>
                    <a:pt x="248593" y="479413"/>
                  </a:lnTo>
                  <a:lnTo>
                    <a:pt x="244646" y="480943"/>
                  </a:lnTo>
                  <a:lnTo>
                    <a:pt x="242672" y="480943"/>
                  </a:lnTo>
                  <a:lnTo>
                    <a:pt x="238725" y="473295"/>
                  </a:lnTo>
                  <a:lnTo>
                    <a:pt x="234777" y="470236"/>
                  </a:lnTo>
                  <a:lnTo>
                    <a:pt x="238725" y="474825"/>
                  </a:lnTo>
                  <a:lnTo>
                    <a:pt x="238725" y="480943"/>
                  </a:lnTo>
                  <a:lnTo>
                    <a:pt x="234777" y="485482"/>
                  </a:lnTo>
                  <a:lnTo>
                    <a:pt x="228857" y="487011"/>
                  </a:lnTo>
                  <a:lnTo>
                    <a:pt x="222936" y="487011"/>
                  </a:lnTo>
                  <a:lnTo>
                    <a:pt x="220963" y="491551"/>
                  </a:lnTo>
                  <a:lnTo>
                    <a:pt x="217016" y="491551"/>
                  </a:lnTo>
                  <a:lnTo>
                    <a:pt x="213068" y="488492"/>
                  </a:lnTo>
                  <a:lnTo>
                    <a:pt x="211095" y="493081"/>
                  </a:lnTo>
                  <a:lnTo>
                    <a:pt x="205173" y="496091"/>
                  </a:lnTo>
                  <a:lnTo>
                    <a:pt x="197280" y="500679"/>
                  </a:lnTo>
                  <a:lnTo>
                    <a:pt x="197280" y="508277"/>
                  </a:lnTo>
                  <a:lnTo>
                    <a:pt x="193332" y="512866"/>
                  </a:lnTo>
                  <a:lnTo>
                    <a:pt x="187411" y="521994"/>
                  </a:lnTo>
                  <a:lnTo>
                    <a:pt x="185437" y="528063"/>
                  </a:lnTo>
                  <a:lnTo>
                    <a:pt x="183464" y="534132"/>
                  </a:lnTo>
                  <a:lnTo>
                    <a:pt x="167675" y="543260"/>
                  </a:lnTo>
                  <a:lnTo>
                    <a:pt x="161755" y="547849"/>
                  </a:lnTo>
                  <a:lnTo>
                    <a:pt x="157807" y="558457"/>
                  </a:lnTo>
                  <a:lnTo>
                    <a:pt x="153860" y="567634"/>
                  </a:lnTo>
                  <a:lnTo>
                    <a:pt x="145965" y="573703"/>
                  </a:lnTo>
                  <a:lnTo>
                    <a:pt x="147939" y="575232"/>
                  </a:lnTo>
                  <a:lnTo>
                    <a:pt x="145965" y="576713"/>
                  </a:lnTo>
                  <a:lnTo>
                    <a:pt x="142019" y="578242"/>
                  </a:lnTo>
                  <a:lnTo>
                    <a:pt x="147939" y="578242"/>
                  </a:lnTo>
                  <a:lnTo>
                    <a:pt x="149912" y="579772"/>
                  </a:lnTo>
                  <a:lnTo>
                    <a:pt x="145965" y="581301"/>
                  </a:lnTo>
                  <a:lnTo>
                    <a:pt x="137923" y="581301"/>
                  </a:lnTo>
                  <a:lnTo>
                    <a:pt x="126082" y="585890"/>
                  </a:lnTo>
                  <a:lnTo>
                    <a:pt x="120160" y="591959"/>
                  </a:lnTo>
                  <a:lnTo>
                    <a:pt x="118187" y="598027"/>
                  </a:lnTo>
                  <a:lnTo>
                    <a:pt x="110292" y="601086"/>
                  </a:lnTo>
                  <a:lnTo>
                    <a:pt x="112266" y="598027"/>
                  </a:lnTo>
                  <a:lnTo>
                    <a:pt x="108319" y="594968"/>
                  </a:lnTo>
                  <a:lnTo>
                    <a:pt x="108319" y="602567"/>
                  </a:lnTo>
                  <a:lnTo>
                    <a:pt x="102398" y="604097"/>
                  </a:lnTo>
                  <a:lnTo>
                    <a:pt x="90605" y="613274"/>
                  </a:lnTo>
                  <a:lnTo>
                    <a:pt x="78715" y="617813"/>
                  </a:lnTo>
                  <a:lnTo>
                    <a:pt x="70820" y="617813"/>
                  </a:lnTo>
                  <a:lnTo>
                    <a:pt x="64899" y="616284"/>
                  </a:lnTo>
                  <a:lnTo>
                    <a:pt x="64899" y="613274"/>
                  </a:lnTo>
                  <a:lnTo>
                    <a:pt x="53058" y="617813"/>
                  </a:lnTo>
                  <a:lnTo>
                    <a:pt x="51083" y="616284"/>
                  </a:lnTo>
                  <a:lnTo>
                    <a:pt x="57055" y="613274"/>
                  </a:lnTo>
                  <a:lnTo>
                    <a:pt x="53058" y="608685"/>
                  </a:lnTo>
                  <a:lnTo>
                    <a:pt x="45163" y="604097"/>
                  </a:lnTo>
                  <a:lnTo>
                    <a:pt x="45163" y="599508"/>
                  </a:lnTo>
                  <a:lnTo>
                    <a:pt x="43190" y="596449"/>
                  </a:lnTo>
                  <a:lnTo>
                    <a:pt x="37269" y="596449"/>
                  </a:lnTo>
                  <a:lnTo>
                    <a:pt x="33322" y="593439"/>
                  </a:lnTo>
                  <a:lnTo>
                    <a:pt x="35295" y="591909"/>
                  </a:lnTo>
                  <a:lnTo>
                    <a:pt x="33322" y="587370"/>
                  </a:lnTo>
                  <a:lnTo>
                    <a:pt x="27401" y="585840"/>
                  </a:lnTo>
                  <a:lnTo>
                    <a:pt x="23503" y="585840"/>
                  </a:lnTo>
                  <a:lnTo>
                    <a:pt x="21479" y="588850"/>
                  </a:lnTo>
                  <a:lnTo>
                    <a:pt x="19506" y="588850"/>
                  </a:lnTo>
                  <a:lnTo>
                    <a:pt x="17533" y="587370"/>
                  </a:lnTo>
                  <a:lnTo>
                    <a:pt x="9638" y="58584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Graphic 2">
              <a:extLst>
                <a:ext uri="{FF2B5EF4-FFF2-40B4-BE49-F238E27FC236}">
                  <a16:creationId xmlns:a16="http://schemas.microsoft.com/office/drawing/2014/main" id="{E51C9E46-12A1-4D34-9C37-1ACDDB4CC6DC}"/>
                </a:ext>
              </a:extLst>
            </p:cNvPr>
            <p:cNvSpPr/>
            <p:nvPr/>
          </p:nvSpPr>
          <p:spPr>
            <a:xfrm>
              <a:off x="9161077" y="4509247"/>
              <a:ext cx="23713" cy="3405"/>
            </a:xfrm>
            <a:custGeom>
              <a:avLst/>
              <a:gdLst>
                <a:gd name="connsiteX0" fmla="*/ -82 w 26101"/>
                <a:gd name="connsiteY0" fmla="*/ 3723 h 3749"/>
                <a:gd name="connsiteX1" fmla="*/ -82 w 26101"/>
                <a:gd name="connsiteY1" fmla="*/ -27 h 3749"/>
                <a:gd name="connsiteX2" fmla="*/ -82 w 26101"/>
                <a:gd name="connsiteY2" fmla="*/ -27 h 3749"/>
                <a:gd name="connsiteX3" fmla="*/ 2090 w 26101"/>
                <a:gd name="connsiteY3" fmla="*/ 1207 h 3749"/>
                <a:gd name="connsiteX4" fmla="*/ 2090 w 26101"/>
                <a:gd name="connsiteY4" fmla="*/ 1207 h 3749"/>
                <a:gd name="connsiteX5" fmla="*/ 2090 w 26101"/>
                <a:gd name="connsiteY5" fmla="*/ 2341 h 3749"/>
                <a:gd name="connsiteX6" fmla="*/ 2090 w 26101"/>
                <a:gd name="connsiteY6" fmla="*/ 2341 h 3749"/>
                <a:gd name="connsiteX7" fmla="*/ 2090 w 26101"/>
                <a:gd name="connsiteY7" fmla="*/ 3575 h 3749"/>
                <a:gd name="connsiteX8" fmla="*/ -82 w 26101"/>
                <a:gd name="connsiteY8" fmla="*/ 3575 h 3749"/>
                <a:gd name="connsiteX9" fmla="*/ -82 w 26101"/>
                <a:gd name="connsiteY9" fmla="*/ 2490 h 3749"/>
                <a:gd name="connsiteX10" fmla="*/ 2090 w 26101"/>
                <a:gd name="connsiteY10" fmla="*/ 2490 h 3749"/>
                <a:gd name="connsiteX11" fmla="*/ 2090 w 26101"/>
                <a:gd name="connsiteY11" fmla="*/ 1207 h 3749"/>
                <a:gd name="connsiteX12" fmla="*/ -82 w 26101"/>
                <a:gd name="connsiteY12" fmla="*/ 1207 h 3749"/>
                <a:gd name="connsiteX13" fmla="*/ -82 w 26101"/>
                <a:gd name="connsiteY13" fmla="*/ 3723 h 3749"/>
                <a:gd name="connsiteX14" fmla="*/ 2090 w 26101"/>
                <a:gd name="connsiteY14" fmla="*/ 3723 h 3749"/>
                <a:gd name="connsiteX15" fmla="*/ 2090 w 26101"/>
                <a:gd name="connsiteY15" fmla="*/ 2341 h 3749"/>
                <a:gd name="connsiteX16" fmla="*/ -82 w 26101"/>
                <a:gd name="connsiteY16" fmla="*/ 2341 h 3749"/>
                <a:gd name="connsiteX17" fmla="*/ 4261 w 26101"/>
                <a:gd name="connsiteY17" fmla="*/ 3723 h 3749"/>
                <a:gd name="connsiteX18" fmla="*/ 4261 w 26101"/>
                <a:gd name="connsiteY18" fmla="*/ -27 h 3749"/>
                <a:gd name="connsiteX19" fmla="*/ 6431 w 26101"/>
                <a:gd name="connsiteY19" fmla="*/ -27 h 3749"/>
                <a:gd name="connsiteX20" fmla="*/ 6431 w 26101"/>
                <a:gd name="connsiteY20" fmla="*/ 1207 h 3749"/>
                <a:gd name="connsiteX21" fmla="*/ 8602 w 26101"/>
                <a:gd name="connsiteY21" fmla="*/ 1207 h 3749"/>
                <a:gd name="connsiteX22" fmla="*/ 8602 w 26101"/>
                <a:gd name="connsiteY22" fmla="*/ 2341 h 3749"/>
                <a:gd name="connsiteX23" fmla="*/ 8602 w 26101"/>
                <a:gd name="connsiteY23" fmla="*/ 2341 h 3749"/>
                <a:gd name="connsiteX24" fmla="*/ 8602 w 26101"/>
                <a:gd name="connsiteY24" fmla="*/ 3575 h 3749"/>
                <a:gd name="connsiteX25" fmla="*/ 6431 w 26101"/>
                <a:gd name="connsiteY25" fmla="*/ 3575 h 3749"/>
                <a:gd name="connsiteX26" fmla="*/ 6431 w 26101"/>
                <a:gd name="connsiteY26" fmla="*/ 2341 h 3749"/>
                <a:gd name="connsiteX27" fmla="*/ 4261 w 26101"/>
                <a:gd name="connsiteY27" fmla="*/ 2341 h 3749"/>
                <a:gd name="connsiteX28" fmla="*/ 4261 w 26101"/>
                <a:gd name="connsiteY28" fmla="*/ 3575 h 3749"/>
                <a:gd name="connsiteX29" fmla="*/ 4261 w 26101"/>
                <a:gd name="connsiteY29" fmla="*/ 2490 h 3749"/>
                <a:gd name="connsiteX30" fmla="*/ 6431 w 26101"/>
                <a:gd name="connsiteY30" fmla="*/ 2490 h 3749"/>
                <a:gd name="connsiteX31" fmla="*/ 6431 w 26101"/>
                <a:gd name="connsiteY31" fmla="*/ 1207 h 3749"/>
                <a:gd name="connsiteX32" fmla="*/ 4261 w 26101"/>
                <a:gd name="connsiteY32" fmla="*/ 1207 h 3749"/>
                <a:gd name="connsiteX33" fmla="*/ 12994 w 26101"/>
                <a:gd name="connsiteY33" fmla="*/ -27 h 3749"/>
                <a:gd name="connsiteX34" fmla="*/ 12994 w 26101"/>
                <a:gd name="connsiteY34" fmla="*/ -27 h 3749"/>
                <a:gd name="connsiteX35" fmla="*/ 12994 w 26101"/>
                <a:gd name="connsiteY35" fmla="*/ 3723 h 3749"/>
                <a:gd name="connsiteX36" fmla="*/ 8602 w 26101"/>
                <a:gd name="connsiteY36" fmla="*/ 3723 h 3749"/>
                <a:gd name="connsiteX37" fmla="*/ 8602 w 26101"/>
                <a:gd name="connsiteY37" fmla="*/ -27 h 3749"/>
                <a:gd name="connsiteX38" fmla="*/ 10822 w 26101"/>
                <a:gd name="connsiteY38" fmla="*/ -27 h 3749"/>
                <a:gd name="connsiteX39" fmla="*/ 10822 w 26101"/>
                <a:gd name="connsiteY39" fmla="*/ 3723 h 3749"/>
                <a:gd name="connsiteX40" fmla="*/ 12994 w 26101"/>
                <a:gd name="connsiteY40" fmla="*/ 3723 h 3749"/>
                <a:gd name="connsiteX41" fmla="*/ 12994 w 26101"/>
                <a:gd name="connsiteY41" fmla="*/ -27 h 3749"/>
                <a:gd name="connsiteX42" fmla="*/ 15115 w 26101"/>
                <a:gd name="connsiteY42" fmla="*/ 3723 h 3749"/>
                <a:gd name="connsiteX43" fmla="*/ 15115 w 26101"/>
                <a:gd name="connsiteY43" fmla="*/ -27 h 3749"/>
                <a:gd name="connsiteX44" fmla="*/ 15115 w 26101"/>
                <a:gd name="connsiteY44" fmla="*/ -27 h 3749"/>
                <a:gd name="connsiteX45" fmla="*/ 17335 w 26101"/>
                <a:gd name="connsiteY45" fmla="*/ 3723 h 3749"/>
                <a:gd name="connsiteX46" fmla="*/ 17335 w 26101"/>
                <a:gd name="connsiteY46" fmla="*/ -27 h 3749"/>
                <a:gd name="connsiteX47" fmla="*/ 19506 w 26101"/>
                <a:gd name="connsiteY47" fmla="*/ -27 h 3749"/>
                <a:gd name="connsiteX48" fmla="*/ 19506 w 26101"/>
                <a:gd name="connsiteY48" fmla="*/ 3723 h 3749"/>
                <a:gd name="connsiteX49" fmla="*/ 17335 w 26101"/>
                <a:gd name="connsiteY49" fmla="*/ 3723 h 3749"/>
                <a:gd name="connsiteX50" fmla="*/ 15115 w 26101"/>
                <a:gd name="connsiteY50" fmla="*/ 1207 h 3749"/>
                <a:gd name="connsiteX51" fmla="*/ 15115 w 26101"/>
                <a:gd name="connsiteY51" fmla="*/ 3723 h 3749"/>
                <a:gd name="connsiteX52" fmla="*/ 19506 w 26101"/>
                <a:gd name="connsiteY52" fmla="*/ 3723 h 3749"/>
                <a:gd name="connsiteX53" fmla="*/ 19506 w 26101"/>
                <a:gd name="connsiteY53" fmla="*/ -27 h 3749"/>
                <a:gd name="connsiteX54" fmla="*/ 23849 w 26101"/>
                <a:gd name="connsiteY54" fmla="*/ -27 h 3749"/>
                <a:gd name="connsiteX55" fmla="*/ 23849 w 26101"/>
                <a:gd name="connsiteY55" fmla="*/ 1207 h 3749"/>
                <a:gd name="connsiteX56" fmla="*/ 19506 w 26101"/>
                <a:gd name="connsiteY56" fmla="*/ 1207 h 3749"/>
                <a:gd name="connsiteX57" fmla="*/ 19506 w 26101"/>
                <a:gd name="connsiteY57" fmla="*/ 2341 h 3749"/>
                <a:gd name="connsiteX58" fmla="*/ 19506 w 26101"/>
                <a:gd name="connsiteY58" fmla="*/ 2341 h 3749"/>
                <a:gd name="connsiteX59" fmla="*/ 19506 w 26101"/>
                <a:gd name="connsiteY59" fmla="*/ 3575 h 3749"/>
                <a:gd name="connsiteX60" fmla="*/ 19506 w 26101"/>
                <a:gd name="connsiteY60" fmla="*/ 3575 h 3749"/>
                <a:gd name="connsiteX61" fmla="*/ 23849 w 26101"/>
                <a:gd name="connsiteY61" fmla="*/ 3723 h 3749"/>
                <a:gd name="connsiteX62" fmla="*/ 23849 w 26101"/>
                <a:gd name="connsiteY62" fmla="*/ -27 h 3749"/>
                <a:gd name="connsiteX63" fmla="*/ 26019 w 26101"/>
                <a:gd name="connsiteY63" fmla="*/ -27 h 3749"/>
                <a:gd name="connsiteX64" fmla="*/ 26019 w 26101"/>
                <a:gd name="connsiteY64" fmla="*/ 3723 h 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6101" h="3749">
                  <a:moveTo>
                    <a:pt x="-82" y="3723"/>
                  </a:moveTo>
                  <a:lnTo>
                    <a:pt x="-82" y="-27"/>
                  </a:lnTo>
                  <a:lnTo>
                    <a:pt x="-82" y="-27"/>
                  </a:lnTo>
                  <a:cubicBezTo>
                    <a:pt x="2090" y="-27"/>
                    <a:pt x="2090" y="-27"/>
                    <a:pt x="2090" y="1207"/>
                  </a:cubicBezTo>
                  <a:lnTo>
                    <a:pt x="2090" y="1207"/>
                  </a:lnTo>
                  <a:lnTo>
                    <a:pt x="2090" y="2341"/>
                  </a:lnTo>
                  <a:lnTo>
                    <a:pt x="2090" y="2341"/>
                  </a:lnTo>
                  <a:lnTo>
                    <a:pt x="2090" y="3575"/>
                  </a:lnTo>
                  <a:lnTo>
                    <a:pt x="-82" y="3575"/>
                  </a:lnTo>
                  <a:close/>
                  <a:moveTo>
                    <a:pt x="-82" y="2490"/>
                  </a:moveTo>
                  <a:lnTo>
                    <a:pt x="2090" y="2490"/>
                  </a:lnTo>
                  <a:lnTo>
                    <a:pt x="2090" y="1207"/>
                  </a:lnTo>
                  <a:lnTo>
                    <a:pt x="-82" y="1207"/>
                  </a:lnTo>
                  <a:close/>
                  <a:moveTo>
                    <a:pt x="-82" y="3723"/>
                  </a:moveTo>
                  <a:lnTo>
                    <a:pt x="2090" y="3723"/>
                  </a:lnTo>
                  <a:lnTo>
                    <a:pt x="2090" y="2341"/>
                  </a:lnTo>
                  <a:lnTo>
                    <a:pt x="-82" y="2341"/>
                  </a:lnTo>
                  <a:close/>
                  <a:moveTo>
                    <a:pt x="4261" y="3723"/>
                  </a:moveTo>
                  <a:lnTo>
                    <a:pt x="4261" y="-27"/>
                  </a:lnTo>
                  <a:lnTo>
                    <a:pt x="6431" y="-27"/>
                  </a:lnTo>
                  <a:lnTo>
                    <a:pt x="6431" y="1207"/>
                  </a:lnTo>
                  <a:lnTo>
                    <a:pt x="8602" y="1207"/>
                  </a:lnTo>
                  <a:lnTo>
                    <a:pt x="8602" y="2341"/>
                  </a:lnTo>
                  <a:lnTo>
                    <a:pt x="8602" y="2341"/>
                  </a:lnTo>
                  <a:lnTo>
                    <a:pt x="8602" y="3575"/>
                  </a:lnTo>
                  <a:lnTo>
                    <a:pt x="6431" y="3575"/>
                  </a:lnTo>
                  <a:lnTo>
                    <a:pt x="6431" y="2341"/>
                  </a:lnTo>
                  <a:lnTo>
                    <a:pt x="4261" y="2341"/>
                  </a:lnTo>
                  <a:lnTo>
                    <a:pt x="4261" y="3575"/>
                  </a:lnTo>
                  <a:close/>
                  <a:moveTo>
                    <a:pt x="4261" y="2490"/>
                  </a:moveTo>
                  <a:lnTo>
                    <a:pt x="6431" y="2490"/>
                  </a:lnTo>
                  <a:lnTo>
                    <a:pt x="6431" y="1207"/>
                  </a:lnTo>
                  <a:lnTo>
                    <a:pt x="4261" y="1207"/>
                  </a:lnTo>
                  <a:close/>
                  <a:moveTo>
                    <a:pt x="12994" y="-27"/>
                  </a:moveTo>
                  <a:lnTo>
                    <a:pt x="12994" y="-27"/>
                  </a:lnTo>
                  <a:lnTo>
                    <a:pt x="12994" y="3723"/>
                  </a:lnTo>
                  <a:lnTo>
                    <a:pt x="8602" y="3723"/>
                  </a:lnTo>
                  <a:lnTo>
                    <a:pt x="8602" y="-27"/>
                  </a:lnTo>
                  <a:lnTo>
                    <a:pt x="10822" y="-27"/>
                  </a:lnTo>
                  <a:lnTo>
                    <a:pt x="10822" y="3723"/>
                  </a:lnTo>
                  <a:lnTo>
                    <a:pt x="12994" y="3723"/>
                  </a:lnTo>
                  <a:lnTo>
                    <a:pt x="12994" y="-27"/>
                  </a:lnTo>
                  <a:close/>
                  <a:moveTo>
                    <a:pt x="15115" y="3723"/>
                  </a:moveTo>
                  <a:lnTo>
                    <a:pt x="15115" y="-27"/>
                  </a:lnTo>
                  <a:lnTo>
                    <a:pt x="15115" y="-27"/>
                  </a:lnTo>
                  <a:lnTo>
                    <a:pt x="17335" y="3723"/>
                  </a:lnTo>
                  <a:lnTo>
                    <a:pt x="17335" y="-27"/>
                  </a:lnTo>
                  <a:lnTo>
                    <a:pt x="19506" y="-27"/>
                  </a:lnTo>
                  <a:lnTo>
                    <a:pt x="19506" y="3723"/>
                  </a:lnTo>
                  <a:lnTo>
                    <a:pt x="17335" y="3723"/>
                  </a:lnTo>
                  <a:lnTo>
                    <a:pt x="15115" y="1207"/>
                  </a:lnTo>
                  <a:lnTo>
                    <a:pt x="15115" y="3723"/>
                  </a:lnTo>
                  <a:close/>
                  <a:moveTo>
                    <a:pt x="19506" y="3723"/>
                  </a:moveTo>
                  <a:lnTo>
                    <a:pt x="19506" y="-27"/>
                  </a:lnTo>
                  <a:lnTo>
                    <a:pt x="23849" y="-27"/>
                  </a:lnTo>
                  <a:lnTo>
                    <a:pt x="23849" y="1207"/>
                  </a:lnTo>
                  <a:lnTo>
                    <a:pt x="19506" y="1207"/>
                  </a:lnTo>
                  <a:lnTo>
                    <a:pt x="19506" y="2341"/>
                  </a:lnTo>
                  <a:lnTo>
                    <a:pt x="19506" y="2341"/>
                  </a:lnTo>
                  <a:lnTo>
                    <a:pt x="19506" y="3575"/>
                  </a:lnTo>
                  <a:lnTo>
                    <a:pt x="19506" y="3575"/>
                  </a:lnTo>
                  <a:close/>
                  <a:moveTo>
                    <a:pt x="23849" y="3723"/>
                  </a:moveTo>
                  <a:lnTo>
                    <a:pt x="23849" y="-27"/>
                  </a:lnTo>
                  <a:lnTo>
                    <a:pt x="26019" y="-27"/>
                  </a:lnTo>
                  <a:lnTo>
                    <a:pt x="26019" y="372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Graphic 2">
              <a:extLst>
                <a:ext uri="{FF2B5EF4-FFF2-40B4-BE49-F238E27FC236}">
                  <a16:creationId xmlns:a16="http://schemas.microsoft.com/office/drawing/2014/main" id="{39529AC2-994B-4240-AD68-258D721BF243}"/>
                </a:ext>
              </a:extLst>
            </p:cNvPr>
            <p:cNvSpPr/>
            <p:nvPr/>
          </p:nvSpPr>
          <p:spPr>
            <a:xfrm>
              <a:off x="8676236" y="4024425"/>
              <a:ext cx="3361" cy="3405"/>
            </a:xfrm>
            <a:custGeom>
              <a:avLst/>
              <a:gdLst>
                <a:gd name="connsiteX0" fmla="*/ -82 w 3700"/>
                <a:gd name="connsiteY0" fmla="*/ 3723 h 3749"/>
                <a:gd name="connsiteX1" fmla="*/ -82 w 3700"/>
                <a:gd name="connsiteY1" fmla="*/ 3723 h 3749"/>
                <a:gd name="connsiteX2" fmla="*/ 3619 w 3700"/>
                <a:gd name="connsiteY2" fmla="*/ -27 h 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" h="3749">
                  <a:moveTo>
                    <a:pt x="-82" y="3723"/>
                  </a:moveTo>
                  <a:lnTo>
                    <a:pt x="-82" y="3723"/>
                  </a:lnTo>
                  <a:lnTo>
                    <a:pt x="3619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Graphic 2">
              <a:extLst>
                <a:ext uri="{FF2B5EF4-FFF2-40B4-BE49-F238E27FC236}">
                  <a16:creationId xmlns:a16="http://schemas.microsoft.com/office/drawing/2014/main" id="{A5449654-0F06-4188-BFF2-0EF4FF4F0D0B}"/>
                </a:ext>
              </a:extLst>
            </p:cNvPr>
            <p:cNvSpPr/>
            <p:nvPr/>
          </p:nvSpPr>
          <p:spPr>
            <a:xfrm>
              <a:off x="8750825" y="4014249"/>
              <a:ext cx="3405" cy="3405"/>
            </a:xfrm>
            <a:custGeom>
              <a:avLst/>
              <a:gdLst>
                <a:gd name="connsiteX0" fmla="*/ 0 w 3749"/>
                <a:gd name="connsiteY0" fmla="*/ 0 h 3749"/>
                <a:gd name="connsiteX1" fmla="*/ 3750 w 3749"/>
                <a:gd name="connsiteY1" fmla="*/ 0 h 3749"/>
                <a:gd name="connsiteX2" fmla="*/ 3750 w 3749"/>
                <a:gd name="connsiteY2" fmla="*/ 3750 h 3749"/>
                <a:gd name="connsiteX3" fmla="*/ 0 w 3749"/>
                <a:gd name="connsiteY3" fmla="*/ 3750 h 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9" h="3749">
                  <a:moveTo>
                    <a:pt x="0" y="0"/>
                  </a:moveTo>
                  <a:lnTo>
                    <a:pt x="3750" y="0"/>
                  </a:lnTo>
                  <a:lnTo>
                    <a:pt x="3750" y="3750"/>
                  </a:lnTo>
                  <a:lnTo>
                    <a:pt x="0" y="375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Graphic 2">
              <a:extLst>
                <a:ext uri="{FF2B5EF4-FFF2-40B4-BE49-F238E27FC236}">
                  <a16:creationId xmlns:a16="http://schemas.microsoft.com/office/drawing/2014/main" id="{75731D97-1FA9-405A-A7ED-6DA96EEF0DDC}"/>
                </a:ext>
              </a:extLst>
            </p:cNvPr>
            <p:cNvSpPr/>
            <p:nvPr/>
          </p:nvSpPr>
          <p:spPr>
            <a:xfrm>
              <a:off x="8256883" y="3853687"/>
              <a:ext cx="169622" cy="188308"/>
            </a:xfrm>
            <a:custGeom>
              <a:avLst/>
              <a:gdLst>
                <a:gd name="connsiteX0" fmla="*/ 186622 w 186704"/>
                <a:gd name="connsiteY0" fmla="*/ 170395 h 207278"/>
                <a:gd name="connsiteX1" fmla="*/ 186622 w 186704"/>
                <a:gd name="connsiteY1" fmla="*/ 178388 h 207278"/>
                <a:gd name="connsiteX2" fmla="*/ 182428 w 186704"/>
                <a:gd name="connsiteY2" fmla="*/ 184802 h 207278"/>
                <a:gd name="connsiteX3" fmla="*/ 178234 w 186704"/>
                <a:gd name="connsiteY3" fmla="*/ 184802 h 207278"/>
                <a:gd name="connsiteX4" fmla="*/ 171968 w 186704"/>
                <a:gd name="connsiteY4" fmla="*/ 191216 h 207278"/>
                <a:gd name="connsiteX5" fmla="*/ 169847 w 186704"/>
                <a:gd name="connsiteY5" fmla="*/ 197631 h 207278"/>
                <a:gd name="connsiteX6" fmla="*/ 171968 w 186704"/>
                <a:gd name="connsiteY6" fmla="*/ 199209 h 207278"/>
                <a:gd name="connsiteX7" fmla="*/ 169847 w 186704"/>
                <a:gd name="connsiteY7" fmla="*/ 199209 h 207278"/>
                <a:gd name="connsiteX8" fmla="*/ 171968 w 186704"/>
                <a:gd name="connsiteY8" fmla="*/ 207252 h 207278"/>
                <a:gd name="connsiteX9" fmla="*/ 171968 w 186704"/>
                <a:gd name="connsiteY9" fmla="*/ 207252 h 207278"/>
                <a:gd name="connsiteX10" fmla="*/ 165653 w 186704"/>
                <a:gd name="connsiteY10" fmla="*/ 197631 h 207278"/>
                <a:gd name="connsiteX11" fmla="*/ 159386 w 186704"/>
                <a:gd name="connsiteY11" fmla="*/ 189588 h 207278"/>
                <a:gd name="connsiteX12" fmla="*/ 157265 w 186704"/>
                <a:gd name="connsiteY12" fmla="*/ 186381 h 207278"/>
                <a:gd name="connsiteX13" fmla="*/ 157265 w 186704"/>
                <a:gd name="connsiteY13" fmla="*/ 181447 h 207278"/>
                <a:gd name="connsiteX14" fmla="*/ 159386 w 186704"/>
                <a:gd name="connsiteY14" fmla="*/ 176513 h 207278"/>
                <a:gd name="connsiteX15" fmla="*/ 157265 w 186704"/>
                <a:gd name="connsiteY15" fmla="*/ 179720 h 207278"/>
                <a:gd name="connsiteX16" fmla="*/ 153071 w 186704"/>
                <a:gd name="connsiteY16" fmla="*/ 182878 h 207278"/>
                <a:gd name="connsiteX17" fmla="*/ 150998 w 186704"/>
                <a:gd name="connsiteY17" fmla="*/ 181299 h 207278"/>
                <a:gd name="connsiteX18" fmla="*/ 153071 w 186704"/>
                <a:gd name="connsiteY18" fmla="*/ 171431 h 207278"/>
                <a:gd name="connsiteX19" fmla="*/ 150998 w 186704"/>
                <a:gd name="connsiteY19" fmla="*/ 169852 h 207278"/>
                <a:gd name="connsiteX20" fmla="*/ 153071 w 186704"/>
                <a:gd name="connsiteY20" fmla="*/ 163388 h 207278"/>
                <a:gd name="connsiteX21" fmla="*/ 153071 w 186704"/>
                <a:gd name="connsiteY21" fmla="*/ 158454 h 207278"/>
                <a:gd name="connsiteX22" fmla="*/ 148877 w 186704"/>
                <a:gd name="connsiteY22" fmla="*/ 156826 h 207278"/>
                <a:gd name="connsiteX23" fmla="*/ 136295 w 186704"/>
                <a:gd name="connsiteY23" fmla="*/ 134376 h 207278"/>
                <a:gd name="connsiteX24" fmla="*/ 134222 w 186704"/>
                <a:gd name="connsiteY24" fmla="*/ 134376 h 207278"/>
                <a:gd name="connsiteX25" fmla="*/ 134222 w 186704"/>
                <a:gd name="connsiteY25" fmla="*/ 137583 h 207278"/>
                <a:gd name="connsiteX26" fmla="*/ 132101 w 186704"/>
                <a:gd name="connsiteY26" fmla="*/ 136004 h 207278"/>
                <a:gd name="connsiteX27" fmla="*/ 125835 w 186704"/>
                <a:gd name="connsiteY27" fmla="*/ 139211 h 207278"/>
                <a:gd name="connsiteX28" fmla="*/ 111033 w 186704"/>
                <a:gd name="connsiteY28" fmla="*/ 134277 h 207278"/>
                <a:gd name="connsiteX29" fmla="*/ 111033 w 186704"/>
                <a:gd name="connsiteY29" fmla="*/ 132698 h 207278"/>
                <a:gd name="connsiteX30" fmla="*/ 106839 w 186704"/>
                <a:gd name="connsiteY30" fmla="*/ 132698 h 207278"/>
                <a:gd name="connsiteX31" fmla="*/ 100573 w 186704"/>
                <a:gd name="connsiteY31" fmla="*/ 127764 h 207278"/>
                <a:gd name="connsiteX32" fmla="*/ 96329 w 186704"/>
                <a:gd name="connsiteY32" fmla="*/ 117896 h 207278"/>
                <a:gd name="connsiteX33" fmla="*/ 98451 w 186704"/>
                <a:gd name="connsiteY33" fmla="*/ 129097 h 207278"/>
                <a:gd name="connsiteX34" fmla="*/ 102645 w 186704"/>
                <a:gd name="connsiteY34" fmla="*/ 135511 h 207278"/>
                <a:gd name="connsiteX35" fmla="*/ 102645 w 186704"/>
                <a:gd name="connsiteY35" fmla="*/ 138718 h 207278"/>
                <a:gd name="connsiteX36" fmla="*/ 94257 w 186704"/>
                <a:gd name="connsiteY36" fmla="*/ 140297 h 207278"/>
                <a:gd name="connsiteX37" fmla="*/ 98451 w 186704"/>
                <a:gd name="connsiteY37" fmla="*/ 141925 h 207278"/>
                <a:gd name="connsiteX38" fmla="*/ 104766 w 186704"/>
                <a:gd name="connsiteY38" fmla="*/ 148340 h 207278"/>
                <a:gd name="connsiteX39" fmla="*/ 102645 w 186704"/>
                <a:gd name="connsiteY39" fmla="*/ 156333 h 207278"/>
                <a:gd name="connsiteX40" fmla="*/ 96329 w 186704"/>
                <a:gd name="connsiteY40" fmla="*/ 159540 h 207278"/>
                <a:gd name="connsiteX41" fmla="*/ 90063 w 186704"/>
                <a:gd name="connsiteY41" fmla="*/ 169408 h 207278"/>
                <a:gd name="connsiteX42" fmla="*/ 85869 w 186704"/>
                <a:gd name="connsiteY42" fmla="*/ 166201 h 207278"/>
                <a:gd name="connsiteX43" fmla="*/ 87991 w 186704"/>
                <a:gd name="connsiteY43" fmla="*/ 159737 h 207278"/>
                <a:gd name="connsiteX44" fmla="*/ 92185 w 186704"/>
                <a:gd name="connsiteY44" fmla="*/ 159737 h 207278"/>
                <a:gd name="connsiteX45" fmla="*/ 92185 w 186704"/>
                <a:gd name="connsiteY45" fmla="*/ 156530 h 207278"/>
                <a:gd name="connsiteX46" fmla="*/ 87991 w 186704"/>
                <a:gd name="connsiteY46" fmla="*/ 158158 h 207278"/>
                <a:gd name="connsiteX47" fmla="*/ 83797 w 186704"/>
                <a:gd name="connsiteY47" fmla="*/ 164572 h 207278"/>
                <a:gd name="connsiteX48" fmla="*/ 79603 w 186704"/>
                <a:gd name="connsiteY48" fmla="*/ 158158 h 207278"/>
                <a:gd name="connsiteX49" fmla="*/ 81675 w 186704"/>
                <a:gd name="connsiteY49" fmla="*/ 148537 h 207278"/>
                <a:gd name="connsiteX50" fmla="*/ 81675 w 186704"/>
                <a:gd name="connsiteY50" fmla="*/ 146909 h 207278"/>
                <a:gd name="connsiteX51" fmla="*/ 79603 w 186704"/>
                <a:gd name="connsiteY51" fmla="*/ 143702 h 207278"/>
                <a:gd name="connsiteX52" fmla="*/ 81675 w 186704"/>
                <a:gd name="connsiteY52" fmla="*/ 146909 h 207278"/>
                <a:gd name="connsiteX53" fmla="*/ 77530 w 186704"/>
                <a:gd name="connsiteY53" fmla="*/ 150116 h 207278"/>
                <a:gd name="connsiteX54" fmla="*/ 77530 w 186704"/>
                <a:gd name="connsiteY54" fmla="*/ 156530 h 207278"/>
                <a:gd name="connsiteX55" fmla="*/ 75360 w 186704"/>
                <a:gd name="connsiteY55" fmla="*/ 156530 h 207278"/>
                <a:gd name="connsiteX56" fmla="*/ 79603 w 186704"/>
                <a:gd name="connsiteY56" fmla="*/ 164572 h 207278"/>
                <a:gd name="connsiteX57" fmla="*/ 79603 w 186704"/>
                <a:gd name="connsiteY57" fmla="*/ 169506 h 207278"/>
                <a:gd name="connsiteX58" fmla="*/ 75360 w 186704"/>
                <a:gd name="connsiteY58" fmla="*/ 171085 h 207278"/>
                <a:gd name="connsiteX59" fmla="*/ 75360 w 186704"/>
                <a:gd name="connsiteY59" fmla="*/ 171085 h 207278"/>
                <a:gd name="connsiteX60" fmla="*/ 71215 w 186704"/>
                <a:gd name="connsiteY60" fmla="*/ 167878 h 207278"/>
                <a:gd name="connsiteX61" fmla="*/ 67021 w 186704"/>
                <a:gd name="connsiteY61" fmla="*/ 169506 h 207278"/>
                <a:gd name="connsiteX62" fmla="*/ 64949 w 186704"/>
                <a:gd name="connsiteY62" fmla="*/ 174441 h 207278"/>
                <a:gd name="connsiteX63" fmla="*/ 60706 w 186704"/>
                <a:gd name="connsiteY63" fmla="*/ 174441 h 207278"/>
                <a:gd name="connsiteX64" fmla="*/ 58633 w 186704"/>
                <a:gd name="connsiteY64" fmla="*/ 171233 h 207278"/>
                <a:gd name="connsiteX65" fmla="*/ 56511 w 186704"/>
                <a:gd name="connsiteY65" fmla="*/ 164819 h 207278"/>
                <a:gd name="connsiteX66" fmla="*/ 52367 w 186704"/>
                <a:gd name="connsiteY66" fmla="*/ 166447 h 207278"/>
                <a:gd name="connsiteX67" fmla="*/ 52367 w 186704"/>
                <a:gd name="connsiteY67" fmla="*/ 156579 h 207278"/>
                <a:gd name="connsiteX68" fmla="*/ 50246 w 186704"/>
                <a:gd name="connsiteY68" fmla="*/ 151645 h 207278"/>
                <a:gd name="connsiteX69" fmla="*/ 50246 w 186704"/>
                <a:gd name="connsiteY69" fmla="*/ 141777 h 207278"/>
                <a:gd name="connsiteX70" fmla="*/ 39736 w 186704"/>
                <a:gd name="connsiteY70" fmla="*/ 130527 h 207278"/>
                <a:gd name="connsiteX71" fmla="*/ 37664 w 186704"/>
                <a:gd name="connsiteY71" fmla="*/ 120955 h 207278"/>
                <a:gd name="connsiteX72" fmla="*/ 37664 w 186704"/>
                <a:gd name="connsiteY72" fmla="*/ 114541 h 207278"/>
                <a:gd name="connsiteX73" fmla="*/ 35542 w 186704"/>
                <a:gd name="connsiteY73" fmla="*/ 106499 h 207278"/>
                <a:gd name="connsiteX74" fmla="*/ 35542 w 186704"/>
                <a:gd name="connsiteY74" fmla="*/ 96631 h 207278"/>
                <a:gd name="connsiteX75" fmla="*/ 27154 w 186704"/>
                <a:gd name="connsiteY75" fmla="*/ 87009 h 207278"/>
                <a:gd name="connsiteX76" fmla="*/ 16694 w 186704"/>
                <a:gd name="connsiteY76" fmla="*/ 83802 h 207278"/>
                <a:gd name="connsiteX77" fmla="*/ 8306 w 186704"/>
                <a:gd name="connsiteY77" fmla="*/ 75809 h 207278"/>
                <a:gd name="connsiteX78" fmla="*/ 8306 w 186704"/>
                <a:gd name="connsiteY78" fmla="*/ 62981 h 207278"/>
                <a:gd name="connsiteX79" fmla="*/ 16694 w 186704"/>
                <a:gd name="connsiteY79" fmla="*/ 62981 h 207278"/>
                <a:gd name="connsiteX80" fmla="*/ 18816 w 186704"/>
                <a:gd name="connsiteY80" fmla="*/ 54938 h 207278"/>
                <a:gd name="connsiteX81" fmla="*/ 25082 w 186704"/>
                <a:gd name="connsiteY81" fmla="*/ 51731 h 207278"/>
                <a:gd name="connsiteX82" fmla="*/ 29276 w 186704"/>
                <a:gd name="connsiteY82" fmla="*/ 53310 h 207278"/>
                <a:gd name="connsiteX83" fmla="*/ 33470 w 186704"/>
                <a:gd name="connsiteY83" fmla="*/ 50103 h 207278"/>
                <a:gd name="connsiteX84" fmla="*/ 31397 w 186704"/>
                <a:gd name="connsiteY84" fmla="*/ 42110 h 207278"/>
                <a:gd name="connsiteX85" fmla="*/ 33470 w 186704"/>
                <a:gd name="connsiteY85" fmla="*/ 37176 h 207278"/>
                <a:gd name="connsiteX86" fmla="*/ 22960 w 186704"/>
                <a:gd name="connsiteY86" fmla="*/ 37176 h 207278"/>
                <a:gd name="connsiteX87" fmla="*/ 16694 w 186704"/>
                <a:gd name="connsiteY87" fmla="*/ 38804 h 207278"/>
                <a:gd name="connsiteX88" fmla="*/ -82 w 186704"/>
                <a:gd name="connsiteY88" fmla="*/ 33870 h 207278"/>
                <a:gd name="connsiteX89" fmla="*/ -82 w 186704"/>
                <a:gd name="connsiteY89" fmla="*/ 27456 h 207278"/>
                <a:gd name="connsiteX90" fmla="*/ 8306 w 186704"/>
                <a:gd name="connsiteY90" fmla="*/ 19462 h 207278"/>
                <a:gd name="connsiteX91" fmla="*/ 10428 w 186704"/>
                <a:gd name="connsiteY91" fmla="*/ 11420 h 207278"/>
                <a:gd name="connsiteX92" fmla="*/ 8306 w 186704"/>
                <a:gd name="connsiteY92" fmla="*/ 9841 h 207278"/>
                <a:gd name="connsiteX93" fmla="*/ 8306 w 186704"/>
                <a:gd name="connsiteY93" fmla="*/ 4907 h 207278"/>
                <a:gd name="connsiteX94" fmla="*/ 10428 w 186704"/>
                <a:gd name="connsiteY94" fmla="*/ 4907 h 207278"/>
                <a:gd name="connsiteX95" fmla="*/ 12500 w 186704"/>
                <a:gd name="connsiteY95" fmla="*/ -27 h 207278"/>
                <a:gd name="connsiteX96" fmla="*/ 14572 w 186704"/>
                <a:gd name="connsiteY96" fmla="*/ 3180 h 207278"/>
                <a:gd name="connsiteX97" fmla="*/ 20888 w 186704"/>
                <a:gd name="connsiteY97" fmla="*/ 8114 h 207278"/>
                <a:gd name="connsiteX98" fmla="*/ 20888 w 186704"/>
                <a:gd name="connsiteY98" fmla="*/ 13048 h 207278"/>
                <a:gd name="connsiteX99" fmla="*/ 25082 w 186704"/>
                <a:gd name="connsiteY99" fmla="*/ 17982 h 207278"/>
                <a:gd name="connsiteX100" fmla="*/ 33470 w 186704"/>
                <a:gd name="connsiteY100" fmla="*/ 19561 h 207278"/>
                <a:gd name="connsiteX101" fmla="*/ 37664 w 186704"/>
                <a:gd name="connsiteY101" fmla="*/ 17982 h 207278"/>
                <a:gd name="connsiteX102" fmla="*/ 31397 w 186704"/>
                <a:gd name="connsiteY102" fmla="*/ 14775 h 207278"/>
                <a:gd name="connsiteX103" fmla="*/ 33470 w 186704"/>
                <a:gd name="connsiteY103" fmla="*/ 11519 h 207278"/>
                <a:gd name="connsiteX104" fmla="*/ 35542 w 186704"/>
                <a:gd name="connsiteY104" fmla="*/ 11519 h 207278"/>
                <a:gd name="connsiteX105" fmla="*/ 41857 w 186704"/>
                <a:gd name="connsiteY105" fmla="*/ 14775 h 207278"/>
                <a:gd name="connsiteX106" fmla="*/ 46051 w 186704"/>
                <a:gd name="connsiteY106" fmla="*/ 17982 h 207278"/>
                <a:gd name="connsiteX107" fmla="*/ 52367 w 186704"/>
                <a:gd name="connsiteY107" fmla="*/ 19561 h 207278"/>
                <a:gd name="connsiteX108" fmla="*/ 52367 w 186704"/>
                <a:gd name="connsiteY108" fmla="*/ 17982 h 207278"/>
                <a:gd name="connsiteX109" fmla="*/ 56511 w 186704"/>
                <a:gd name="connsiteY109" fmla="*/ 17982 h 207278"/>
                <a:gd name="connsiteX110" fmla="*/ 60706 w 186704"/>
                <a:gd name="connsiteY110" fmla="*/ 24396 h 207278"/>
                <a:gd name="connsiteX111" fmla="*/ 62827 w 186704"/>
                <a:gd name="connsiteY111" fmla="*/ 32390 h 207278"/>
                <a:gd name="connsiteX112" fmla="*/ 64949 w 186704"/>
                <a:gd name="connsiteY112" fmla="*/ 35597 h 207278"/>
                <a:gd name="connsiteX113" fmla="*/ 67021 w 186704"/>
                <a:gd name="connsiteY113" fmla="*/ 42011 h 207278"/>
                <a:gd name="connsiteX114" fmla="*/ 67021 w 186704"/>
                <a:gd name="connsiteY114" fmla="*/ 46945 h 207278"/>
                <a:gd name="connsiteX115" fmla="*/ 73287 w 186704"/>
                <a:gd name="connsiteY115" fmla="*/ 50152 h 207278"/>
                <a:gd name="connsiteX116" fmla="*/ 79603 w 186704"/>
                <a:gd name="connsiteY116" fmla="*/ 48573 h 207278"/>
                <a:gd name="connsiteX117" fmla="*/ 87991 w 186704"/>
                <a:gd name="connsiteY117" fmla="*/ 51780 h 207278"/>
                <a:gd name="connsiteX118" fmla="*/ 96329 w 186704"/>
                <a:gd name="connsiteY118" fmla="*/ 51780 h 207278"/>
                <a:gd name="connsiteX119" fmla="*/ 111131 w 186704"/>
                <a:gd name="connsiteY119" fmla="*/ 50152 h 207278"/>
                <a:gd name="connsiteX120" fmla="*/ 123714 w 186704"/>
                <a:gd name="connsiteY120" fmla="*/ 51780 h 207278"/>
                <a:gd name="connsiteX121" fmla="*/ 140489 w 186704"/>
                <a:gd name="connsiteY121" fmla="*/ 51780 h 207278"/>
                <a:gd name="connsiteX122" fmla="*/ 144683 w 186704"/>
                <a:gd name="connsiteY122" fmla="*/ 53359 h 207278"/>
                <a:gd name="connsiteX123" fmla="*/ 148877 w 186704"/>
                <a:gd name="connsiteY123" fmla="*/ 51780 h 207278"/>
                <a:gd name="connsiteX124" fmla="*/ 155143 w 186704"/>
                <a:gd name="connsiteY124" fmla="*/ 56715 h 207278"/>
                <a:gd name="connsiteX125" fmla="*/ 157265 w 186704"/>
                <a:gd name="connsiteY125" fmla="*/ 58343 h 207278"/>
                <a:gd name="connsiteX126" fmla="*/ 155143 w 186704"/>
                <a:gd name="connsiteY126" fmla="*/ 64757 h 207278"/>
                <a:gd name="connsiteX127" fmla="*/ 153071 w 186704"/>
                <a:gd name="connsiteY127" fmla="*/ 72800 h 207278"/>
                <a:gd name="connsiteX128" fmla="*/ 148877 w 186704"/>
                <a:gd name="connsiteY128" fmla="*/ 82371 h 207278"/>
                <a:gd name="connsiteX129" fmla="*/ 144683 w 186704"/>
                <a:gd name="connsiteY129" fmla="*/ 85578 h 207278"/>
                <a:gd name="connsiteX130" fmla="*/ 144683 w 186704"/>
                <a:gd name="connsiteY130" fmla="*/ 88786 h 207278"/>
                <a:gd name="connsiteX131" fmla="*/ 140489 w 186704"/>
                <a:gd name="connsiteY131" fmla="*/ 91993 h 207278"/>
                <a:gd name="connsiteX132" fmla="*/ 136295 w 186704"/>
                <a:gd name="connsiteY132" fmla="*/ 91993 h 207278"/>
                <a:gd name="connsiteX133" fmla="*/ 134222 w 186704"/>
                <a:gd name="connsiteY133" fmla="*/ 88786 h 207278"/>
                <a:gd name="connsiteX134" fmla="*/ 127907 w 186704"/>
                <a:gd name="connsiteY134" fmla="*/ 93720 h 207278"/>
                <a:gd name="connsiteX135" fmla="*/ 125835 w 186704"/>
                <a:gd name="connsiteY135" fmla="*/ 96927 h 207278"/>
                <a:gd name="connsiteX136" fmla="*/ 123714 w 186704"/>
                <a:gd name="connsiteY136" fmla="*/ 100134 h 207278"/>
                <a:gd name="connsiteX137" fmla="*/ 123714 w 186704"/>
                <a:gd name="connsiteY137" fmla="*/ 103341 h 207278"/>
                <a:gd name="connsiteX138" fmla="*/ 125835 w 186704"/>
                <a:gd name="connsiteY138" fmla="*/ 111334 h 207278"/>
                <a:gd name="connsiteX139" fmla="*/ 129979 w 186704"/>
                <a:gd name="connsiteY139" fmla="*/ 114591 h 207278"/>
                <a:gd name="connsiteX140" fmla="*/ 132101 w 186704"/>
                <a:gd name="connsiteY140" fmla="*/ 117798 h 207278"/>
                <a:gd name="connsiteX141" fmla="*/ 138417 w 186704"/>
                <a:gd name="connsiteY141" fmla="*/ 122732 h 207278"/>
                <a:gd name="connsiteX142" fmla="*/ 142561 w 186704"/>
                <a:gd name="connsiteY142" fmla="*/ 129146 h 207278"/>
                <a:gd name="connsiteX143" fmla="*/ 146804 w 186704"/>
                <a:gd name="connsiteY143" fmla="*/ 129146 h 207278"/>
                <a:gd name="connsiteX144" fmla="*/ 146804 w 186704"/>
                <a:gd name="connsiteY144" fmla="*/ 124212 h 207278"/>
                <a:gd name="connsiteX145" fmla="*/ 144683 w 186704"/>
                <a:gd name="connsiteY145" fmla="*/ 122584 h 207278"/>
                <a:gd name="connsiteX146" fmla="*/ 148877 w 186704"/>
                <a:gd name="connsiteY146" fmla="*/ 117650 h 207278"/>
                <a:gd name="connsiteX147" fmla="*/ 148877 w 186704"/>
                <a:gd name="connsiteY147" fmla="*/ 114442 h 207278"/>
                <a:gd name="connsiteX148" fmla="*/ 150998 w 186704"/>
                <a:gd name="connsiteY148" fmla="*/ 111186 h 207278"/>
                <a:gd name="connsiteX149" fmla="*/ 148877 w 186704"/>
                <a:gd name="connsiteY149" fmla="*/ 107979 h 207278"/>
                <a:gd name="connsiteX150" fmla="*/ 153071 w 186704"/>
                <a:gd name="connsiteY150" fmla="*/ 106400 h 207278"/>
                <a:gd name="connsiteX151" fmla="*/ 157265 w 186704"/>
                <a:gd name="connsiteY151" fmla="*/ 107979 h 207278"/>
                <a:gd name="connsiteX152" fmla="*/ 163531 w 186704"/>
                <a:gd name="connsiteY152" fmla="*/ 107979 h 207278"/>
                <a:gd name="connsiteX153" fmla="*/ 165653 w 186704"/>
                <a:gd name="connsiteY153" fmla="*/ 111186 h 207278"/>
                <a:gd name="connsiteX154" fmla="*/ 167725 w 186704"/>
                <a:gd name="connsiteY154" fmla="*/ 116120 h 207278"/>
                <a:gd name="connsiteX155" fmla="*/ 169847 w 186704"/>
                <a:gd name="connsiteY155" fmla="*/ 124163 h 207278"/>
                <a:gd name="connsiteX156" fmla="*/ 169847 w 186704"/>
                <a:gd name="connsiteY156" fmla="*/ 131860 h 207278"/>
                <a:gd name="connsiteX157" fmla="*/ 174040 w 186704"/>
                <a:gd name="connsiteY157" fmla="*/ 136794 h 207278"/>
                <a:gd name="connsiteX158" fmla="*/ 176113 w 186704"/>
                <a:gd name="connsiteY158" fmla="*/ 149622 h 207278"/>
                <a:gd name="connsiteX159" fmla="*/ 178234 w 186704"/>
                <a:gd name="connsiteY159" fmla="*/ 157615 h 207278"/>
                <a:gd name="connsiteX160" fmla="*/ 180307 w 186704"/>
                <a:gd name="connsiteY160" fmla="*/ 162549 h 207278"/>
                <a:gd name="connsiteX161" fmla="*/ 182428 w 186704"/>
                <a:gd name="connsiteY161" fmla="*/ 164128 h 207278"/>
                <a:gd name="connsiteX162" fmla="*/ 182428 w 186704"/>
                <a:gd name="connsiteY162" fmla="*/ 167385 h 207278"/>
                <a:gd name="connsiteX163" fmla="*/ 184550 w 186704"/>
                <a:gd name="connsiteY163" fmla="*/ 170592 h 207278"/>
                <a:gd name="connsiteX164" fmla="*/ 136295 w 186704"/>
                <a:gd name="connsiteY164" fmla="*/ 146316 h 207278"/>
                <a:gd name="connsiteX165" fmla="*/ 134222 w 186704"/>
                <a:gd name="connsiteY165" fmla="*/ 144688 h 207278"/>
                <a:gd name="connsiteX166" fmla="*/ 132101 w 186704"/>
                <a:gd name="connsiteY166" fmla="*/ 144688 h 207278"/>
                <a:gd name="connsiteX167" fmla="*/ 132101 w 186704"/>
                <a:gd name="connsiteY167" fmla="*/ 151103 h 207278"/>
                <a:gd name="connsiteX168" fmla="*/ 136295 w 186704"/>
                <a:gd name="connsiteY168" fmla="*/ 151103 h 207278"/>
                <a:gd name="connsiteX169" fmla="*/ 117447 w 186704"/>
                <a:gd name="connsiteY169" fmla="*/ 144688 h 207278"/>
                <a:gd name="connsiteX170" fmla="*/ 121592 w 186704"/>
                <a:gd name="connsiteY170" fmla="*/ 151103 h 207278"/>
                <a:gd name="connsiteX171" fmla="*/ 121592 w 186704"/>
                <a:gd name="connsiteY171" fmla="*/ 156037 h 207278"/>
                <a:gd name="connsiteX172" fmla="*/ 123714 w 186704"/>
                <a:gd name="connsiteY172" fmla="*/ 160971 h 207278"/>
                <a:gd name="connsiteX173" fmla="*/ 127907 w 186704"/>
                <a:gd name="connsiteY173" fmla="*/ 152978 h 207278"/>
                <a:gd name="connsiteX174" fmla="*/ 125835 w 186704"/>
                <a:gd name="connsiteY174" fmla="*/ 148044 h 207278"/>
                <a:gd name="connsiteX175" fmla="*/ 117447 w 186704"/>
                <a:gd name="connsiteY175" fmla="*/ 141629 h 207278"/>
                <a:gd name="connsiteX176" fmla="*/ 111131 w 186704"/>
                <a:gd name="connsiteY176" fmla="*/ 139754 h 207278"/>
                <a:gd name="connsiteX177" fmla="*/ 104865 w 186704"/>
                <a:gd name="connsiteY177" fmla="*/ 142961 h 207278"/>
                <a:gd name="connsiteX178" fmla="*/ 104865 w 186704"/>
                <a:gd name="connsiteY178" fmla="*/ 144540 h 207278"/>
                <a:gd name="connsiteX179" fmla="*/ 109010 w 186704"/>
                <a:gd name="connsiteY179" fmla="*/ 154162 h 207278"/>
                <a:gd name="connsiteX180" fmla="*/ 115325 w 186704"/>
                <a:gd name="connsiteY180" fmla="*/ 154162 h 207278"/>
                <a:gd name="connsiteX181" fmla="*/ 115325 w 186704"/>
                <a:gd name="connsiteY181" fmla="*/ 144688 h 207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186704" h="207278">
                  <a:moveTo>
                    <a:pt x="186622" y="170395"/>
                  </a:moveTo>
                  <a:lnTo>
                    <a:pt x="186622" y="178388"/>
                  </a:lnTo>
                  <a:lnTo>
                    <a:pt x="182428" y="184802"/>
                  </a:lnTo>
                  <a:lnTo>
                    <a:pt x="178234" y="184802"/>
                  </a:lnTo>
                  <a:lnTo>
                    <a:pt x="171968" y="191216"/>
                  </a:lnTo>
                  <a:lnTo>
                    <a:pt x="169847" y="197631"/>
                  </a:lnTo>
                  <a:lnTo>
                    <a:pt x="171968" y="199209"/>
                  </a:lnTo>
                  <a:lnTo>
                    <a:pt x="169847" y="199209"/>
                  </a:lnTo>
                  <a:lnTo>
                    <a:pt x="171968" y="207252"/>
                  </a:lnTo>
                  <a:lnTo>
                    <a:pt x="171968" y="207252"/>
                  </a:lnTo>
                  <a:lnTo>
                    <a:pt x="165653" y="197631"/>
                  </a:lnTo>
                  <a:lnTo>
                    <a:pt x="159386" y="189588"/>
                  </a:lnTo>
                  <a:lnTo>
                    <a:pt x="157265" y="186381"/>
                  </a:lnTo>
                  <a:lnTo>
                    <a:pt x="157265" y="181447"/>
                  </a:lnTo>
                  <a:lnTo>
                    <a:pt x="159386" y="176513"/>
                  </a:lnTo>
                  <a:lnTo>
                    <a:pt x="157265" y="179720"/>
                  </a:lnTo>
                  <a:lnTo>
                    <a:pt x="153071" y="182878"/>
                  </a:lnTo>
                  <a:lnTo>
                    <a:pt x="150998" y="181299"/>
                  </a:lnTo>
                  <a:lnTo>
                    <a:pt x="153071" y="171431"/>
                  </a:lnTo>
                  <a:lnTo>
                    <a:pt x="150998" y="169852"/>
                  </a:lnTo>
                  <a:lnTo>
                    <a:pt x="153071" y="163388"/>
                  </a:lnTo>
                  <a:lnTo>
                    <a:pt x="153071" y="158454"/>
                  </a:lnTo>
                  <a:lnTo>
                    <a:pt x="148877" y="156826"/>
                  </a:lnTo>
                  <a:lnTo>
                    <a:pt x="136295" y="134376"/>
                  </a:lnTo>
                  <a:lnTo>
                    <a:pt x="134222" y="134376"/>
                  </a:lnTo>
                  <a:lnTo>
                    <a:pt x="134222" y="137583"/>
                  </a:lnTo>
                  <a:lnTo>
                    <a:pt x="132101" y="136004"/>
                  </a:lnTo>
                  <a:lnTo>
                    <a:pt x="125835" y="139211"/>
                  </a:lnTo>
                  <a:lnTo>
                    <a:pt x="111033" y="134277"/>
                  </a:lnTo>
                  <a:lnTo>
                    <a:pt x="111033" y="132698"/>
                  </a:lnTo>
                  <a:lnTo>
                    <a:pt x="106839" y="132698"/>
                  </a:lnTo>
                  <a:lnTo>
                    <a:pt x="100573" y="127764"/>
                  </a:lnTo>
                  <a:lnTo>
                    <a:pt x="96329" y="117896"/>
                  </a:lnTo>
                  <a:lnTo>
                    <a:pt x="98451" y="129097"/>
                  </a:lnTo>
                  <a:lnTo>
                    <a:pt x="102645" y="135511"/>
                  </a:lnTo>
                  <a:lnTo>
                    <a:pt x="102645" y="138718"/>
                  </a:lnTo>
                  <a:lnTo>
                    <a:pt x="94257" y="140297"/>
                  </a:lnTo>
                  <a:lnTo>
                    <a:pt x="98451" y="141925"/>
                  </a:lnTo>
                  <a:lnTo>
                    <a:pt x="104766" y="148340"/>
                  </a:lnTo>
                  <a:lnTo>
                    <a:pt x="102645" y="156333"/>
                  </a:lnTo>
                  <a:lnTo>
                    <a:pt x="96329" y="159540"/>
                  </a:lnTo>
                  <a:lnTo>
                    <a:pt x="90063" y="169408"/>
                  </a:lnTo>
                  <a:lnTo>
                    <a:pt x="85869" y="166201"/>
                  </a:lnTo>
                  <a:lnTo>
                    <a:pt x="87991" y="159737"/>
                  </a:lnTo>
                  <a:lnTo>
                    <a:pt x="92185" y="159737"/>
                  </a:lnTo>
                  <a:lnTo>
                    <a:pt x="92185" y="156530"/>
                  </a:lnTo>
                  <a:lnTo>
                    <a:pt x="87991" y="158158"/>
                  </a:lnTo>
                  <a:lnTo>
                    <a:pt x="83797" y="164572"/>
                  </a:lnTo>
                  <a:lnTo>
                    <a:pt x="79603" y="158158"/>
                  </a:lnTo>
                  <a:lnTo>
                    <a:pt x="81675" y="148537"/>
                  </a:lnTo>
                  <a:lnTo>
                    <a:pt x="81675" y="146909"/>
                  </a:lnTo>
                  <a:lnTo>
                    <a:pt x="79603" y="143702"/>
                  </a:lnTo>
                  <a:lnTo>
                    <a:pt x="81675" y="146909"/>
                  </a:lnTo>
                  <a:lnTo>
                    <a:pt x="77530" y="150116"/>
                  </a:lnTo>
                  <a:lnTo>
                    <a:pt x="77530" y="156530"/>
                  </a:lnTo>
                  <a:lnTo>
                    <a:pt x="75360" y="156530"/>
                  </a:lnTo>
                  <a:lnTo>
                    <a:pt x="79603" y="164572"/>
                  </a:lnTo>
                  <a:lnTo>
                    <a:pt x="79603" y="169506"/>
                  </a:lnTo>
                  <a:lnTo>
                    <a:pt x="75360" y="171085"/>
                  </a:lnTo>
                  <a:lnTo>
                    <a:pt x="75360" y="171085"/>
                  </a:lnTo>
                  <a:lnTo>
                    <a:pt x="71215" y="167878"/>
                  </a:lnTo>
                  <a:lnTo>
                    <a:pt x="67021" y="169506"/>
                  </a:lnTo>
                  <a:lnTo>
                    <a:pt x="64949" y="174441"/>
                  </a:lnTo>
                  <a:lnTo>
                    <a:pt x="60706" y="174441"/>
                  </a:lnTo>
                  <a:lnTo>
                    <a:pt x="58633" y="171233"/>
                  </a:lnTo>
                  <a:lnTo>
                    <a:pt x="56511" y="164819"/>
                  </a:lnTo>
                  <a:lnTo>
                    <a:pt x="52367" y="166447"/>
                  </a:lnTo>
                  <a:lnTo>
                    <a:pt x="52367" y="156579"/>
                  </a:lnTo>
                  <a:lnTo>
                    <a:pt x="50246" y="151645"/>
                  </a:lnTo>
                  <a:lnTo>
                    <a:pt x="50246" y="141777"/>
                  </a:lnTo>
                  <a:lnTo>
                    <a:pt x="39736" y="130527"/>
                  </a:lnTo>
                  <a:lnTo>
                    <a:pt x="37664" y="120955"/>
                  </a:lnTo>
                  <a:lnTo>
                    <a:pt x="37664" y="114541"/>
                  </a:lnTo>
                  <a:lnTo>
                    <a:pt x="35542" y="106499"/>
                  </a:lnTo>
                  <a:lnTo>
                    <a:pt x="35542" y="96631"/>
                  </a:lnTo>
                  <a:lnTo>
                    <a:pt x="27154" y="87009"/>
                  </a:lnTo>
                  <a:lnTo>
                    <a:pt x="16694" y="83802"/>
                  </a:lnTo>
                  <a:lnTo>
                    <a:pt x="8306" y="75809"/>
                  </a:lnTo>
                  <a:lnTo>
                    <a:pt x="8306" y="62981"/>
                  </a:lnTo>
                  <a:lnTo>
                    <a:pt x="16694" y="62981"/>
                  </a:lnTo>
                  <a:lnTo>
                    <a:pt x="18816" y="54938"/>
                  </a:lnTo>
                  <a:lnTo>
                    <a:pt x="25082" y="51731"/>
                  </a:lnTo>
                  <a:lnTo>
                    <a:pt x="29276" y="53310"/>
                  </a:lnTo>
                  <a:lnTo>
                    <a:pt x="33470" y="50103"/>
                  </a:lnTo>
                  <a:lnTo>
                    <a:pt x="31397" y="42110"/>
                  </a:lnTo>
                  <a:lnTo>
                    <a:pt x="33470" y="37176"/>
                  </a:lnTo>
                  <a:lnTo>
                    <a:pt x="22960" y="37176"/>
                  </a:lnTo>
                  <a:lnTo>
                    <a:pt x="16694" y="38804"/>
                  </a:lnTo>
                  <a:lnTo>
                    <a:pt x="-82" y="33870"/>
                  </a:lnTo>
                  <a:lnTo>
                    <a:pt x="-82" y="27456"/>
                  </a:lnTo>
                  <a:lnTo>
                    <a:pt x="8306" y="19462"/>
                  </a:lnTo>
                  <a:lnTo>
                    <a:pt x="10428" y="11420"/>
                  </a:lnTo>
                  <a:lnTo>
                    <a:pt x="8306" y="9841"/>
                  </a:lnTo>
                  <a:lnTo>
                    <a:pt x="8306" y="4907"/>
                  </a:lnTo>
                  <a:lnTo>
                    <a:pt x="10428" y="4907"/>
                  </a:lnTo>
                  <a:lnTo>
                    <a:pt x="12500" y="-27"/>
                  </a:lnTo>
                  <a:lnTo>
                    <a:pt x="14572" y="3180"/>
                  </a:lnTo>
                  <a:lnTo>
                    <a:pt x="20888" y="8114"/>
                  </a:lnTo>
                  <a:lnTo>
                    <a:pt x="20888" y="13048"/>
                  </a:lnTo>
                  <a:lnTo>
                    <a:pt x="25082" y="17982"/>
                  </a:lnTo>
                  <a:lnTo>
                    <a:pt x="33470" y="19561"/>
                  </a:lnTo>
                  <a:lnTo>
                    <a:pt x="37664" y="17982"/>
                  </a:lnTo>
                  <a:lnTo>
                    <a:pt x="31397" y="14775"/>
                  </a:lnTo>
                  <a:lnTo>
                    <a:pt x="33470" y="11519"/>
                  </a:lnTo>
                  <a:lnTo>
                    <a:pt x="35542" y="11519"/>
                  </a:lnTo>
                  <a:lnTo>
                    <a:pt x="41857" y="14775"/>
                  </a:lnTo>
                  <a:lnTo>
                    <a:pt x="46051" y="17982"/>
                  </a:lnTo>
                  <a:lnTo>
                    <a:pt x="52367" y="19561"/>
                  </a:lnTo>
                  <a:lnTo>
                    <a:pt x="52367" y="17982"/>
                  </a:lnTo>
                  <a:lnTo>
                    <a:pt x="56511" y="17982"/>
                  </a:lnTo>
                  <a:lnTo>
                    <a:pt x="60706" y="24396"/>
                  </a:lnTo>
                  <a:lnTo>
                    <a:pt x="62827" y="32390"/>
                  </a:lnTo>
                  <a:lnTo>
                    <a:pt x="64949" y="35597"/>
                  </a:lnTo>
                  <a:lnTo>
                    <a:pt x="67021" y="42011"/>
                  </a:lnTo>
                  <a:lnTo>
                    <a:pt x="67021" y="46945"/>
                  </a:lnTo>
                  <a:lnTo>
                    <a:pt x="73287" y="50152"/>
                  </a:lnTo>
                  <a:lnTo>
                    <a:pt x="79603" y="48573"/>
                  </a:lnTo>
                  <a:lnTo>
                    <a:pt x="87991" y="51780"/>
                  </a:lnTo>
                  <a:lnTo>
                    <a:pt x="96329" y="51780"/>
                  </a:lnTo>
                  <a:lnTo>
                    <a:pt x="111131" y="50152"/>
                  </a:lnTo>
                  <a:lnTo>
                    <a:pt x="123714" y="51780"/>
                  </a:lnTo>
                  <a:lnTo>
                    <a:pt x="140489" y="51780"/>
                  </a:lnTo>
                  <a:lnTo>
                    <a:pt x="144683" y="53359"/>
                  </a:lnTo>
                  <a:lnTo>
                    <a:pt x="148877" y="51780"/>
                  </a:lnTo>
                  <a:lnTo>
                    <a:pt x="155143" y="56715"/>
                  </a:lnTo>
                  <a:lnTo>
                    <a:pt x="157265" y="58343"/>
                  </a:lnTo>
                  <a:lnTo>
                    <a:pt x="155143" y="64757"/>
                  </a:lnTo>
                  <a:lnTo>
                    <a:pt x="153071" y="72800"/>
                  </a:lnTo>
                  <a:lnTo>
                    <a:pt x="148877" y="82371"/>
                  </a:lnTo>
                  <a:lnTo>
                    <a:pt x="144683" y="85578"/>
                  </a:lnTo>
                  <a:lnTo>
                    <a:pt x="144683" y="88786"/>
                  </a:lnTo>
                  <a:lnTo>
                    <a:pt x="140489" y="91993"/>
                  </a:lnTo>
                  <a:lnTo>
                    <a:pt x="136295" y="91993"/>
                  </a:lnTo>
                  <a:lnTo>
                    <a:pt x="134222" y="88786"/>
                  </a:lnTo>
                  <a:lnTo>
                    <a:pt x="127907" y="93720"/>
                  </a:lnTo>
                  <a:lnTo>
                    <a:pt x="125835" y="96927"/>
                  </a:lnTo>
                  <a:lnTo>
                    <a:pt x="123714" y="100134"/>
                  </a:lnTo>
                  <a:lnTo>
                    <a:pt x="123714" y="103341"/>
                  </a:lnTo>
                  <a:lnTo>
                    <a:pt x="125835" y="111334"/>
                  </a:lnTo>
                  <a:lnTo>
                    <a:pt x="129979" y="114591"/>
                  </a:lnTo>
                  <a:lnTo>
                    <a:pt x="132101" y="117798"/>
                  </a:lnTo>
                  <a:lnTo>
                    <a:pt x="138417" y="122732"/>
                  </a:lnTo>
                  <a:lnTo>
                    <a:pt x="142561" y="129146"/>
                  </a:lnTo>
                  <a:lnTo>
                    <a:pt x="146804" y="129146"/>
                  </a:lnTo>
                  <a:lnTo>
                    <a:pt x="146804" y="124212"/>
                  </a:lnTo>
                  <a:lnTo>
                    <a:pt x="144683" y="122584"/>
                  </a:lnTo>
                  <a:lnTo>
                    <a:pt x="148877" y="117650"/>
                  </a:lnTo>
                  <a:lnTo>
                    <a:pt x="148877" y="114442"/>
                  </a:lnTo>
                  <a:lnTo>
                    <a:pt x="150998" y="111186"/>
                  </a:lnTo>
                  <a:lnTo>
                    <a:pt x="148877" y="107979"/>
                  </a:lnTo>
                  <a:lnTo>
                    <a:pt x="153071" y="106400"/>
                  </a:lnTo>
                  <a:lnTo>
                    <a:pt x="157265" y="107979"/>
                  </a:lnTo>
                  <a:lnTo>
                    <a:pt x="163531" y="107979"/>
                  </a:lnTo>
                  <a:lnTo>
                    <a:pt x="165653" y="111186"/>
                  </a:lnTo>
                  <a:lnTo>
                    <a:pt x="167725" y="116120"/>
                  </a:lnTo>
                  <a:lnTo>
                    <a:pt x="169847" y="124163"/>
                  </a:lnTo>
                  <a:lnTo>
                    <a:pt x="169847" y="131860"/>
                  </a:lnTo>
                  <a:lnTo>
                    <a:pt x="174040" y="136794"/>
                  </a:lnTo>
                  <a:lnTo>
                    <a:pt x="176113" y="149622"/>
                  </a:lnTo>
                  <a:lnTo>
                    <a:pt x="178234" y="157615"/>
                  </a:lnTo>
                  <a:lnTo>
                    <a:pt x="180307" y="162549"/>
                  </a:lnTo>
                  <a:lnTo>
                    <a:pt x="182428" y="164128"/>
                  </a:lnTo>
                  <a:lnTo>
                    <a:pt x="182428" y="167385"/>
                  </a:lnTo>
                  <a:lnTo>
                    <a:pt x="184550" y="170592"/>
                  </a:lnTo>
                  <a:close/>
                  <a:moveTo>
                    <a:pt x="136295" y="146316"/>
                  </a:moveTo>
                  <a:lnTo>
                    <a:pt x="134222" y="144688"/>
                  </a:lnTo>
                  <a:lnTo>
                    <a:pt x="132101" y="144688"/>
                  </a:lnTo>
                  <a:lnTo>
                    <a:pt x="132101" y="151103"/>
                  </a:lnTo>
                  <a:lnTo>
                    <a:pt x="136295" y="151103"/>
                  </a:lnTo>
                  <a:close/>
                  <a:moveTo>
                    <a:pt x="117447" y="144688"/>
                  </a:moveTo>
                  <a:lnTo>
                    <a:pt x="121592" y="151103"/>
                  </a:lnTo>
                  <a:lnTo>
                    <a:pt x="121592" y="156037"/>
                  </a:lnTo>
                  <a:lnTo>
                    <a:pt x="123714" y="160971"/>
                  </a:lnTo>
                  <a:lnTo>
                    <a:pt x="127907" y="152978"/>
                  </a:lnTo>
                  <a:lnTo>
                    <a:pt x="125835" y="148044"/>
                  </a:lnTo>
                  <a:lnTo>
                    <a:pt x="117447" y="141629"/>
                  </a:lnTo>
                  <a:close/>
                  <a:moveTo>
                    <a:pt x="111131" y="139754"/>
                  </a:moveTo>
                  <a:lnTo>
                    <a:pt x="104865" y="142961"/>
                  </a:lnTo>
                  <a:lnTo>
                    <a:pt x="104865" y="144540"/>
                  </a:lnTo>
                  <a:lnTo>
                    <a:pt x="109010" y="154162"/>
                  </a:lnTo>
                  <a:lnTo>
                    <a:pt x="115325" y="154162"/>
                  </a:lnTo>
                  <a:lnTo>
                    <a:pt x="115325" y="14468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Graphic 2">
              <a:extLst>
                <a:ext uri="{FF2B5EF4-FFF2-40B4-BE49-F238E27FC236}">
                  <a16:creationId xmlns:a16="http://schemas.microsoft.com/office/drawing/2014/main" id="{2C391D5B-6A6F-40E3-B250-06809EBACBF4}"/>
                </a:ext>
              </a:extLst>
            </p:cNvPr>
            <p:cNvSpPr/>
            <p:nvPr/>
          </p:nvSpPr>
          <p:spPr>
            <a:xfrm>
              <a:off x="7031644" y="3329420"/>
              <a:ext cx="474845" cy="254333"/>
            </a:xfrm>
            <a:custGeom>
              <a:avLst/>
              <a:gdLst>
                <a:gd name="connsiteX0" fmla="*/ 522580 w 522661"/>
                <a:gd name="connsiteY0" fmla="*/ 196200 h 279957"/>
                <a:gd name="connsiteX1" fmla="*/ 520607 w 522661"/>
                <a:gd name="connsiteY1" fmla="*/ 181003 h 279957"/>
                <a:gd name="connsiteX2" fmla="*/ 520607 w 522661"/>
                <a:gd name="connsiteY2" fmla="*/ 173405 h 279957"/>
                <a:gd name="connsiteX3" fmla="*/ 506890 w 522661"/>
                <a:gd name="connsiteY3" fmla="*/ 167286 h 279957"/>
                <a:gd name="connsiteX4" fmla="*/ 500969 w 522661"/>
                <a:gd name="connsiteY4" fmla="*/ 167286 h 279957"/>
                <a:gd name="connsiteX5" fmla="*/ 497072 w 522661"/>
                <a:gd name="connsiteY5" fmla="*/ 162697 h 279957"/>
                <a:gd name="connsiteX6" fmla="*/ 477335 w 522661"/>
                <a:gd name="connsiteY6" fmla="*/ 159688 h 279957"/>
                <a:gd name="connsiteX7" fmla="*/ 453800 w 522661"/>
                <a:gd name="connsiteY7" fmla="*/ 145971 h 279957"/>
                <a:gd name="connsiteX8" fmla="*/ 426268 w 522661"/>
                <a:gd name="connsiteY8" fmla="*/ 135363 h 279957"/>
                <a:gd name="connsiteX9" fmla="*/ 400759 w 522661"/>
                <a:gd name="connsiteY9" fmla="*/ 120117 h 279957"/>
                <a:gd name="connsiteX10" fmla="*/ 377174 w 522661"/>
                <a:gd name="connsiteY10" fmla="*/ 106450 h 279957"/>
                <a:gd name="connsiteX11" fmla="*/ 365382 w 522661"/>
                <a:gd name="connsiteY11" fmla="*/ 101861 h 279957"/>
                <a:gd name="connsiteX12" fmla="*/ 357537 w 522661"/>
                <a:gd name="connsiteY12" fmla="*/ 89723 h 279957"/>
                <a:gd name="connsiteX13" fmla="*/ 355563 w 522661"/>
                <a:gd name="connsiteY13" fmla="*/ 80546 h 279957"/>
                <a:gd name="connsiteX14" fmla="*/ 347718 w 522661"/>
                <a:gd name="connsiteY14" fmla="*/ 76006 h 279957"/>
                <a:gd name="connsiteX15" fmla="*/ 339873 w 522661"/>
                <a:gd name="connsiteY15" fmla="*/ 59280 h 279957"/>
                <a:gd name="connsiteX16" fmla="*/ 326107 w 522661"/>
                <a:gd name="connsiteY16" fmla="*/ 48623 h 279957"/>
                <a:gd name="connsiteX17" fmla="*/ 318262 w 522661"/>
                <a:gd name="connsiteY17" fmla="*/ 48623 h 279957"/>
                <a:gd name="connsiteX18" fmla="*/ 314315 w 522661"/>
                <a:gd name="connsiteY18" fmla="*/ 51682 h 279957"/>
                <a:gd name="connsiteX19" fmla="*/ 290730 w 522661"/>
                <a:gd name="connsiteY19" fmla="*/ 42554 h 279957"/>
                <a:gd name="connsiteX20" fmla="*/ 263297 w 522661"/>
                <a:gd name="connsiteY20" fmla="*/ 28837 h 279957"/>
                <a:gd name="connsiteX21" fmla="*/ 261323 w 522661"/>
                <a:gd name="connsiteY21" fmla="*/ 22768 h 279957"/>
                <a:gd name="connsiteX22" fmla="*/ 239712 w 522661"/>
                <a:gd name="connsiteY22" fmla="*/ 12111 h 279957"/>
                <a:gd name="connsiteX23" fmla="*/ 216127 w 522661"/>
                <a:gd name="connsiteY23" fmla="*/ 1503 h 279957"/>
                <a:gd name="connsiteX24" fmla="*/ 198464 w 522661"/>
                <a:gd name="connsiteY24" fmla="*/ -27 h 279957"/>
                <a:gd name="connsiteX25" fmla="*/ 204335 w 522661"/>
                <a:gd name="connsiteY25" fmla="*/ 9101 h 279957"/>
                <a:gd name="connsiteX26" fmla="*/ 200388 w 522661"/>
                <a:gd name="connsiteY26" fmla="*/ 10581 h 279957"/>
                <a:gd name="connsiteX27" fmla="*/ 192543 w 522661"/>
                <a:gd name="connsiteY27" fmla="*/ 6042 h 279957"/>
                <a:gd name="connsiteX28" fmla="*/ 184698 w 522661"/>
                <a:gd name="connsiteY28" fmla="*/ 10581 h 279957"/>
                <a:gd name="connsiteX29" fmla="*/ 178777 w 522661"/>
                <a:gd name="connsiteY29" fmla="*/ 18229 h 279957"/>
                <a:gd name="connsiteX30" fmla="*/ 167034 w 522661"/>
                <a:gd name="connsiteY30" fmla="*/ 18229 h 279957"/>
                <a:gd name="connsiteX31" fmla="*/ 159140 w 522661"/>
                <a:gd name="connsiteY31" fmla="*/ 30367 h 279957"/>
                <a:gd name="connsiteX32" fmla="*/ 163086 w 522661"/>
                <a:gd name="connsiteY32" fmla="*/ 42554 h 279957"/>
                <a:gd name="connsiteX33" fmla="*/ 168958 w 522661"/>
                <a:gd name="connsiteY33" fmla="*/ 48623 h 279957"/>
                <a:gd name="connsiteX34" fmla="*/ 165060 w 522661"/>
                <a:gd name="connsiteY34" fmla="*/ 54692 h 279957"/>
                <a:gd name="connsiteX35" fmla="*/ 151343 w 522661"/>
                <a:gd name="connsiteY35" fmla="*/ 53211 h 279957"/>
                <a:gd name="connsiteX36" fmla="*/ 127759 w 522661"/>
                <a:gd name="connsiteY36" fmla="*/ 54692 h 279957"/>
                <a:gd name="connsiteX37" fmla="*/ 113993 w 522661"/>
                <a:gd name="connsiteY37" fmla="*/ 59280 h 279957"/>
                <a:gd name="connsiteX38" fmla="*/ 90507 w 522661"/>
                <a:gd name="connsiteY38" fmla="*/ 34956 h 279957"/>
                <a:gd name="connsiteX39" fmla="*/ 64998 w 522661"/>
                <a:gd name="connsiteY39" fmla="*/ 21288 h 279957"/>
                <a:gd name="connsiteX40" fmla="*/ 41167 w 522661"/>
                <a:gd name="connsiteY40" fmla="*/ 18180 h 279957"/>
                <a:gd name="connsiteX41" fmla="*/ 23503 w 522661"/>
                <a:gd name="connsiteY41" fmla="*/ 24248 h 279957"/>
                <a:gd name="connsiteX42" fmla="*/ -82 w 522661"/>
                <a:gd name="connsiteY42" fmla="*/ 40975 h 279957"/>
                <a:gd name="connsiteX43" fmla="*/ -82 w 522661"/>
                <a:gd name="connsiteY43" fmla="*/ 44034 h 279957"/>
                <a:gd name="connsiteX44" fmla="*/ 7763 w 522661"/>
                <a:gd name="connsiteY44" fmla="*/ 48573 h 279957"/>
                <a:gd name="connsiteX45" fmla="*/ 9737 w 522661"/>
                <a:gd name="connsiteY45" fmla="*/ 53162 h 279957"/>
                <a:gd name="connsiteX46" fmla="*/ 15608 w 522661"/>
                <a:gd name="connsiteY46" fmla="*/ 56172 h 279957"/>
                <a:gd name="connsiteX47" fmla="*/ 17582 w 522661"/>
                <a:gd name="connsiteY47" fmla="*/ 63820 h 279957"/>
                <a:gd name="connsiteX48" fmla="*/ 25427 w 522661"/>
                <a:gd name="connsiteY48" fmla="*/ 72947 h 279957"/>
                <a:gd name="connsiteX49" fmla="*/ 23503 w 522661"/>
                <a:gd name="connsiteY49" fmla="*/ 82026 h 279957"/>
                <a:gd name="connsiteX50" fmla="*/ 19556 w 522661"/>
                <a:gd name="connsiteY50" fmla="*/ 89674 h 279957"/>
                <a:gd name="connsiteX51" fmla="*/ 21529 w 522661"/>
                <a:gd name="connsiteY51" fmla="*/ 103341 h 279957"/>
                <a:gd name="connsiteX52" fmla="*/ 25427 w 522661"/>
                <a:gd name="connsiteY52" fmla="*/ 107930 h 279957"/>
                <a:gd name="connsiteX53" fmla="*/ 27400 w 522661"/>
                <a:gd name="connsiteY53" fmla="*/ 113999 h 279957"/>
                <a:gd name="connsiteX54" fmla="*/ 39193 w 522661"/>
                <a:gd name="connsiteY54" fmla="*/ 123127 h 279957"/>
                <a:gd name="connsiteX55" fmla="*/ 39193 w 522661"/>
                <a:gd name="connsiteY55" fmla="*/ 120068 h 279957"/>
                <a:gd name="connsiteX56" fmla="*/ 33322 w 522661"/>
                <a:gd name="connsiteY56" fmla="*/ 117058 h 279957"/>
                <a:gd name="connsiteX57" fmla="*/ 35246 w 522661"/>
                <a:gd name="connsiteY57" fmla="*/ 113999 h 279957"/>
                <a:gd name="connsiteX58" fmla="*/ 47038 w 522661"/>
                <a:gd name="connsiteY58" fmla="*/ 115528 h 279957"/>
                <a:gd name="connsiteX59" fmla="*/ 52959 w 522661"/>
                <a:gd name="connsiteY59" fmla="*/ 112469 h 279957"/>
                <a:gd name="connsiteX60" fmla="*/ 54933 w 522661"/>
                <a:gd name="connsiteY60" fmla="*/ 115528 h 279957"/>
                <a:gd name="connsiteX61" fmla="*/ 52959 w 522661"/>
                <a:gd name="connsiteY61" fmla="*/ 121597 h 279957"/>
                <a:gd name="connsiteX62" fmla="*/ 54933 w 522661"/>
                <a:gd name="connsiteY62" fmla="*/ 127666 h 279957"/>
                <a:gd name="connsiteX63" fmla="*/ 58830 w 522661"/>
                <a:gd name="connsiteY63" fmla="*/ 126136 h 279957"/>
                <a:gd name="connsiteX64" fmla="*/ 64751 w 522661"/>
                <a:gd name="connsiteY64" fmla="*/ 130725 h 279957"/>
                <a:gd name="connsiteX65" fmla="*/ 62778 w 522661"/>
                <a:gd name="connsiteY65" fmla="*/ 133784 h 279957"/>
                <a:gd name="connsiteX66" fmla="*/ 56857 w 522661"/>
                <a:gd name="connsiteY66" fmla="*/ 132255 h 279957"/>
                <a:gd name="connsiteX67" fmla="*/ 52959 w 522661"/>
                <a:gd name="connsiteY67" fmla="*/ 132255 h 279957"/>
                <a:gd name="connsiteX68" fmla="*/ 49012 w 522661"/>
                <a:gd name="connsiteY68" fmla="*/ 130725 h 279957"/>
                <a:gd name="connsiteX69" fmla="*/ 43140 w 522661"/>
                <a:gd name="connsiteY69" fmla="*/ 135314 h 279957"/>
                <a:gd name="connsiteX70" fmla="*/ 43140 w 522661"/>
                <a:gd name="connsiteY70" fmla="*/ 141531 h 279957"/>
                <a:gd name="connsiteX71" fmla="*/ 47038 w 522661"/>
                <a:gd name="connsiteY71" fmla="*/ 146070 h 279957"/>
                <a:gd name="connsiteX72" fmla="*/ 47038 w 522661"/>
                <a:gd name="connsiteY72" fmla="*/ 140001 h 279957"/>
                <a:gd name="connsiteX73" fmla="*/ 50985 w 522661"/>
                <a:gd name="connsiteY73" fmla="*/ 138471 h 279957"/>
                <a:gd name="connsiteX74" fmla="*/ 52959 w 522661"/>
                <a:gd name="connsiteY74" fmla="*/ 140001 h 279957"/>
                <a:gd name="connsiteX75" fmla="*/ 58830 w 522661"/>
                <a:gd name="connsiteY75" fmla="*/ 141531 h 279957"/>
                <a:gd name="connsiteX76" fmla="*/ 62778 w 522661"/>
                <a:gd name="connsiteY76" fmla="*/ 146070 h 279957"/>
                <a:gd name="connsiteX77" fmla="*/ 72646 w 522661"/>
                <a:gd name="connsiteY77" fmla="*/ 150658 h 279957"/>
                <a:gd name="connsiteX78" fmla="*/ 74620 w 522661"/>
                <a:gd name="connsiteY78" fmla="*/ 156727 h 279957"/>
                <a:gd name="connsiteX79" fmla="*/ 74620 w 522661"/>
                <a:gd name="connsiteY79" fmla="*/ 165855 h 279957"/>
                <a:gd name="connsiteX80" fmla="*/ 76593 w 522661"/>
                <a:gd name="connsiteY80" fmla="*/ 170395 h 279957"/>
                <a:gd name="connsiteX81" fmla="*/ 76593 w 522661"/>
                <a:gd name="connsiteY81" fmla="*/ 185641 h 279957"/>
                <a:gd name="connsiteX82" fmla="*/ 78517 w 522661"/>
                <a:gd name="connsiteY82" fmla="*/ 197828 h 279957"/>
                <a:gd name="connsiteX83" fmla="*/ 84438 w 522661"/>
                <a:gd name="connsiteY83" fmla="*/ 213025 h 279957"/>
                <a:gd name="connsiteX84" fmla="*/ 92283 w 522661"/>
                <a:gd name="connsiteY84" fmla="*/ 208436 h 279957"/>
                <a:gd name="connsiteX85" fmla="*/ 110243 w 522661"/>
                <a:gd name="connsiteY85" fmla="*/ 208436 h 279957"/>
                <a:gd name="connsiteX86" fmla="*/ 114191 w 522661"/>
                <a:gd name="connsiteY86" fmla="*/ 200838 h 279957"/>
                <a:gd name="connsiteX87" fmla="*/ 118137 w 522661"/>
                <a:gd name="connsiteY87" fmla="*/ 194769 h 279957"/>
                <a:gd name="connsiteX88" fmla="*/ 124009 w 522661"/>
                <a:gd name="connsiteY88" fmla="*/ 194769 h 279957"/>
                <a:gd name="connsiteX89" fmla="*/ 137725 w 522661"/>
                <a:gd name="connsiteY89" fmla="*/ 182582 h 279957"/>
                <a:gd name="connsiteX90" fmla="*/ 155439 w 522661"/>
                <a:gd name="connsiteY90" fmla="*/ 181102 h 279957"/>
                <a:gd name="connsiteX91" fmla="*/ 167231 w 522661"/>
                <a:gd name="connsiteY91" fmla="*/ 182582 h 279957"/>
                <a:gd name="connsiteX92" fmla="*/ 169155 w 522661"/>
                <a:gd name="connsiteY92" fmla="*/ 176513 h 279957"/>
                <a:gd name="connsiteX93" fmla="*/ 179023 w 522661"/>
                <a:gd name="connsiteY93" fmla="*/ 175033 h 279957"/>
                <a:gd name="connsiteX94" fmla="*/ 184944 w 522661"/>
                <a:gd name="connsiteY94" fmla="*/ 176513 h 279957"/>
                <a:gd name="connsiteX95" fmla="*/ 192789 w 522661"/>
                <a:gd name="connsiteY95" fmla="*/ 176513 h 279957"/>
                <a:gd name="connsiteX96" fmla="*/ 204582 w 522661"/>
                <a:gd name="connsiteY96" fmla="*/ 185641 h 279957"/>
                <a:gd name="connsiteX97" fmla="*/ 218348 w 522661"/>
                <a:gd name="connsiteY97" fmla="*/ 187170 h 279957"/>
                <a:gd name="connsiteX98" fmla="*/ 238084 w 522661"/>
                <a:gd name="connsiteY98" fmla="*/ 199357 h 279957"/>
                <a:gd name="connsiteX99" fmla="*/ 245929 w 522661"/>
                <a:gd name="connsiteY99" fmla="*/ 199357 h 279957"/>
                <a:gd name="connsiteX100" fmla="*/ 249877 w 522661"/>
                <a:gd name="connsiteY100" fmla="*/ 196298 h 279957"/>
                <a:gd name="connsiteX101" fmla="*/ 263642 w 522661"/>
                <a:gd name="connsiteY101" fmla="*/ 200838 h 279957"/>
                <a:gd name="connsiteX102" fmla="*/ 271438 w 522661"/>
                <a:gd name="connsiteY102" fmla="*/ 202367 h 279957"/>
                <a:gd name="connsiteX103" fmla="*/ 273461 w 522661"/>
                <a:gd name="connsiteY103" fmla="*/ 211495 h 279957"/>
                <a:gd name="connsiteX104" fmla="*/ 279333 w 522661"/>
                <a:gd name="connsiteY104" fmla="*/ 213025 h 279957"/>
                <a:gd name="connsiteX105" fmla="*/ 285253 w 522661"/>
                <a:gd name="connsiteY105" fmla="*/ 211495 h 279957"/>
                <a:gd name="connsiteX106" fmla="*/ 298970 w 522661"/>
                <a:gd name="connsiteY106" fmla="*/ 214554 h 279957"/>
                <a:gd name="connsiteX107" fmla="*/ 314660 w 522661"/>
                <a:gd name="connsiteY107" fmla="*/ 232761 h 279957"/>
                <a:gd name="connsiteX108" fmla="*/ 328426 w 522661"/>
                <a:gd name="connsiteY108" fmla="*/ 232761 h 279957"/>
                <a:gd name="connsiteX109" fmla="*/ 338294 w 522661"/>
                <a:gd name="connsiteY109" fmla="*/ 235820 h 279957"/>
                <a:gd name="connsiteX110" fmla="*/ 342242 w 522661"/>
                <a:gd name="connsiteY110" fmla="*/ 246478 h 279957"/>
                <a:gd name="connsiteX111" fmla="*/ 340268 w 522661"/>
                <a:gd name="connsiteY111" fmla="*/ 251066 h 279957"/>
                <a:gd name="connsiteX112" fmla="*/ 344215 w 522661"/>
                <a:gd name="connsiteY112" fmla="*/ 257135 h 279957"/>
                <a:gd name="connsiteX113" fmla="*/ 344215 w 522661"/>
                <a:gd name="connsiteY113" fmla="*/ 261724 h 279957"/>
                <a:gd name="connsiteX114" fmla="*/ 348113 w 522661"/>
                <a:gd name="connsiteY114" fmla="*/ 266263 h 279957"/>
                <a:gd name="connsiteX115" fmla="*/ 352060 w 522661"/>
                <a:gd name="connsiteY115" fmla="*/ 266263 h 279957"/>
                <a:gd name="connsiteX116" fmla="*/ 359905 w 522661"/>
                <a:gd name="connsiteY116" fmla="*/ 267793 h 279957"/>
                <a:gd name="connsiteX117" fmla="*/ 363853 w 522661"/>
                <a:gd name="connsiteY117" fmla="*/ 272332 h 279957"/>
                <a:gd name="connsiteX118" fmla="*/ 369724 w 522661"/>
                <a:gd name="connsiteY118" fmla="*/ 272332 h 279957"/>
                <a:gd name="connsiteX119" fmla="*/ 373671 w 522661"/>
                <a:gd name="connsiteY119" fmla="*/ 267793 h 279957"/>
                <a:gd name="connsiteX120" fmla="*/ 381516 w 522661"/>
                <a:gd name="connsiteY120" fmla="*/ 267793 h 279957"/>
                <a:gd name="connsiteX121" fmla="*/ 389361 w 522661"/>
                <a:gd name="connsiteY121" fmla="*/ 273861 h 279957"/>
                <a:gd name="connsiteX122" fmla="*/ 391335 w 522661"/>
                <a:gd name="connsiteY122" fmla="*/ 278401 h 279957"/>
                <a:gd name="connsiteX123" fmla="*/ 395282 w 522661"/>
                <a:gd name="connsiteY123" fmla="*/ 279930 h 279957"/>
                <a:gd name="connsiteX124" fmla="*/ 399180 w 522661"/>
                <a:gd name="connsiteY124" fmla="*/ 276871 h 279957"/>
                <a:gd name="connsiteX125" fmla="*/ 407075 w 522661"/>
                <a:gd name="connsiteY125" fmla="*/ 275391 h 279957"/>
                <a:gd name="connsiteX126" fmla="*/ 412946 w 522661"/>
                <a:gd name="connsiteY126" fmla="*/ 270802 h 279957"/>
                <a:gd name="connsiteX127" fmla="*/ 412946 w 522661"/>
                <a:gd name="connsiteY127" fmla="*/ 266263 h 279957"/>
                <a:gd name="connsiteX128" fmla="*/ 420791 w 522661"/>
                <a:gd name="connsiteY128" fmla="*/ 261724 h 279957"/>
                <a:gd name="connsiteX129" fmla="*/ 418867 w 522661"/>
                <a:gd name="connsiteY129" fmla="*/ 258665 h 279957"/>
                <a:gd name="connsiteX130" fmla="*/ 428735 w 522661"/>
                <a:gd name="connsiteY130" fmla="*/ 254076 h 279957"/>
                <a:gd name="connsiteX131" fmla="*/ 442451 w 522661"/>
                <a:gd name="connsiteY131" fmla="*/ 251066 h 279957"/>
                <a:gd name="connsiteX132" fmla="*/ 444425 w 522661"/>
                <a:gd name="connsiteY132" fmla="*/ 248007 h 279957"/>
                <a:gd name="connsiteX133" fmla="*/ 450297 w 522661"/>
                <a:gd name="connsiteY133" fmla="*/ 244997 h 279957"/>
                <a:gd name="connsiteX134" fmla="*/ 456218 w 522661"/>
                <a:gd name="connsiteY134" fmla="*/ 241938 h 279957"/>
                <a:gd name="connsiteX135" fmla="*/ 458142 w 522661"/>
                <a:gd name="connsiteY135" fmla="*/ 234290 h 279957"/>
                <a:gd name="connsiteX136" fmla="*/ 458142 w 522661"/>
                <a:gd name="connsiteY136" fmla="*/ 226692 h 279957"/>
                <a:gd name="connsiteX137" fmla="*/ 465494 w 522661"/>
                <a:gd name="connsiteY137" fmla="*/ 220475 h 279957"/>
                <a:gd name="connsiteX138" fmla="*/ 465494 w 522661"/>
                <a:gd name="connsiteY138" fmla="*/ 212877 h 279957"/>
                <a:gd name="connsiteX139" fmla="*/ 463520 w 522661"/>
                <a:gd name="connsiteY139" fmla="*/ 209818 h 279957"/>
                <a:gd name="connsiteX140" fmla="*/ 463520 w 522661"/>
                <a:gd name="connsiteY140" fmla="*/ 206758 h 279957"/>
                <a:gd name="connsiteX141" fmla="*/ 467418 w 522661"/>
                <a:gd name="connsiteY141" fmla="*/ 205278 h 279957"/>
                <a:gd name="connsiteX142" fmla="*/ 469392 w 522661"/>
                <a:gd name="connsiteY142" fmla="*/ 202219 h 279957"/>
                <a:gd name="connsiteX143" fmla="*/ 479260 w 522661"/>
                <a:gd name="connsiteY143" fmla="*/ 200690 h 279957"/>
                <a:gd name="connsiteX144" fmla="*/ 481233 w 522661"/>
                <a:gd name="connsiteY144" fmla="*/ 200690 h 279957"/>
                <a:gd name="connsiteX145" fmla="*/ 494999 w 522661"/>
                <a:gd name="connsiteY145" fmla="*/ 194621 h 279957"/>
                <a:gd name="connsiteX146" fmla="*/ 502844 w 522661"/>
                <a:gd name="connsiteY146" fmla="*/ 193091 h 279957"/>
                <a:gd name="connsiteX147" fmla="*/ 508765 w 522661"/>
                <a:gd name="connsiteY147" fmla="*/ 196150 h 279957"/>
                <a:gd name="connsiteX148" fmla="*/ 518633 w 522661"/>
                <a:gd name="connsiteY148" fmla="*/ 194621 h 279957"/>
                <a:gd name="connsiteX149" fmla="*/ 520558 w 522661"/>
                <a:gd name="connsiteY149" fmla="*/ 196150 h 279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522661" h="279957">
                  <a:moveTo>
                    <a:pt x="522580" y="196200"/>
                  </a:moveTo>
                  <a:lnTo>
                    <a:pt x="520607" y="181003"/>
                  </a:lnTo>
                  <a:lnTo>
                    <a:pt x="520607" y="173405"/>
                  </a:lnTo>
                  <a:lnTo>
                    <a:pt x="506890" y="167286"/>
                  </a:lnTo>
                  <a:lnTo>
                    <a:pt x="500969" y="167286"/>
                  </a:lnTo>
                  <a:lnTo>
                    <a:pt x="497072" y="162697"/>
                  </a:lnTo>
                  <a:lnTo>
                    <a:pt x="477335" y="159688"/>
                  </a:lnTo>
                  <a:lnTo>
                    <a:pt x="453800" y="145971"/>
                  </a:lnTo>
                  <a:lnTo>
                    <a:pt x="426268" y="135363"/>
                  </a:lnTo>
                  <a:lnTo>
                    <a:pt x="400759" y="120117"/>
                  </a:lnTo>
                  <a:lnTo>
                    <a:pt x="377174" y="106450"/>
                  </a:lnTo>
                  <a:lnTo>
                    <a:pt x="365382" y="101861"/>
                  </a:lnTo>
                  <a:lnTo>
                    <a:pt x="357537" y="89723"/>
                  </a:lnTo>
                  <a:lnTo>
                    <a:pt x="355563" y="80546"/>
                  </a:lnTo>
                  <a:lnTo>
                    <a:pt x="347718" y="76006"/>
                  </a:lnTo>
                  <a:lnTo>
                    <a:pt x="339873" y="59280"/>
                  </a:lnTo>
                  <a:lnTo>
                    <a:pt x="326107" y="48623"/>
                  </a:lnTo>
                  <a:lnTo>
                    <a:pt x="318262" y="48623"/>
                  </a:lnTo>
                  <a:lnTo>
                    <a:pt x="314315" y="51682"/>
                  </a:lnTo>
                  <a:lnTo>
                    <a:pt x="290730" y="42554"/>
                  </a:lnTo>
                  <a:lnTo>
                    <a:pt x="263297" y="28837"/>
                  </a:lnTo>
                  <a:lnTo>
                    <a:pt x="261323" y="22768"/>
                  </a:lnTo>
                  <a:lnTo>
                    <a:pt x="239712" y="12111"/>
                  </a:lnTo>
                  <a:lnTo>
                    <a:pt x="216127" y="1503"/>
                  </a:lnTo>
                  <a:lnTo>
                    <a:pt x="198464" y="-27"/>
                  </a:lnTo>
                  <a:lnTo>
                    <a:pt x="204335" y="9101"/>
                  </a:lnTo>
                  <a:lnTo>
                    <a:pt x="200388" y="10581"/>
                  </a:lnTo>
                  <a:lnTo>
                    <a:pt x="192543" y="6042"/>
                  </a:lnTo>
                  <a:lnTo>
                    <a:pt x="184698" y="10581"/>
                  </a:lnTo>
                  <a:lnTo>
                    <a:pt x="178777" y="18229"/>
                  </a:lnTo>
                  <a:lnTo>
                    <a:pt x="167034" y="18229"/>
                  </a:lnTo>
                  <a:lnTo>
                    <a:pt x="159140" y="30367"/>
                  </a:lnTo>
                  <a:lnTo>
                    <a:pt x="163086" y="42554"/>
                  </a:lnTo>
                  <a:lnTo>
                    <a:pt x="168958" y="48623"/>
                  </a:lnTo>
                  <a:lnTo>
                    <a:pt x="165060" y="54692"/>
                  </a:lnTo>
                  <a:lnTo>
                    <a:pt x="151343" y="53211"/>
                  </a:lnTo>
                  <a:lnTo>
                    <a:pt x="127759" y="54692"/>
                  </a:lnTo>
                  <a:lnTo>
                    <a:pt x="113993" y="59280"/>
                  </a:lnTo>
                  <a:lnTo>
                    <a:pt x="90507" y="34956"/>
                  </a:lnTo>
                  <a:lnTo>
                    <a:pt x="64998" y="21288"/>
                  </a:lnTo>
                  <a:lnTo>
                    <a:pt x="41167" y="18180"/>
                  </a:lnTo>
                  <a:lnTo>
                    <a:pt x="23503" y="24248"/>
                  </a:lnTo>
                  <a:lnTo>
                    <a:pt x="-82" y="40975"/>
                  </a:lnTo>
                  <a:lnTo>
                    <a:pt x="-82" y="44034"/>
                  </a:lnTo>
                  <a:lnTo>
                    <a:pt x="7763" y="48573"/>
                  </a:lnTo>
                  <a:lnTo>
                    <a:pt x="9737" y="53162"/>
                  </a:lnTo>
                  <a:lnTo>
                    <a:pt x="15608" y="56172"/>
                  </a:lnTo>
                  <a:lnTo>
                    <a:pt x="17582" y="63820"/>
                  </a:lnTo>
                  <a:lnTo>
                    <a:pt x="25427" y="72947"/>
                  </a:lnTo>
                  <a:lnTo>
                    <a:pt x="23503" y="82026"/>
                  </a:lnTo>
                  <a:lnTo>
                    <a:pt x="19556" y="89674"/>
                  </a:lnTo>
                  <a:lnTo>
                    <a:pt x="21529" y="103341"/>
                  </a:lnTo>
                  <a:lnTo>
                    <a:pt x="25427" y="107930"/>
                  </a:lnTo>
                  <a:lnTo>
                    <a:pt x="27400" y="113999"/>
                  </a:lnTo>
                  <a:lnTo>
                    <a:pt x="39193" y="123127"/>
                  </a:lnTo>
                  <a:lnTo>
                    <a:pt x="39193" y="120068"/>
                  </a:lnTo>
                  <a:lnTo>
                    <a:pt x="33322" y="117058"/>
                  </a:lnTo>
                  <a:lnTo>
                    <a:pt x="35246" y="113999"/>
                  </a:lnTo>
                  <a:lnTo>
                    <a:pt x="47038" y="115528"/>
                  </a:lnTo>
                  <a:lnTo>
                    <a:pt x="52959" y="112469"/>
                  </a:lnTo>
                  <a:lnTo>
                    <a:pt x="54933" y="115528"/>
                  </a:lnTo>
                  <a:lnTo>
                    <a:pt x="52959" y="121597"/>
                  </a:lnTo>
                  <a:lnTo>
                    <a:pt x="54933" y="127666"/>
                  </a:lnTo>
                  <a:lnTo>
                    <a:pt x="58830" y="126136"/>
                  </a:lnTo>
                  <a:lnTo>
                    <a:pt x="64751" y="130725"/>
                  </a:lnTo>
                  <a:lnTo>
                    <a:pt x="62778" y="133784"/>
                  </a:lnTo>
                  <a:lnTo>
                    <a:pt x="56857" y="132255"/>
                  </a:lnTo>
                  <a:lnTo>
                    <a:pt x="52959" y="132255"/>
                  </a:lnTo>
                  <a:lnTo>
                    <a:pt x="49012" y="130725"/>
                  </a:lnTo>
                  <a:lnTo>
                    <a:pt x="43140" y="135314"/>
                  </a:lnTo>
                  <a:lnTo>
                    <a:pt x="43140" y="141531"/>
                  </a:lnTo>
                  <a:lnTo>
                    <a:pt x="47038" y="146070"/>
                  </a:lnTo>
                  <a:lnTo>
                    <a:pt x="47038" y="140001"/>
                  </a:lnTo>
                  <a:lnTo>
                    <a:pt x="50985" y="138471"/>
                  </a:lnTo>
                  <a:lnTo>
                    <a:pt x="52959" y="140001"/>
                  </a:lnTo>
                  <a:lnTo>
                    <a:pt x="58830" y="141531"/>
                  </a:lnTo>
                  <a:lnTo>
                    <a:pt x="62778" y="146070"/>
                  </a:lnTo>
                  <a:lnTo>
                    <a:pt x="72646" y="150658"/>
                  </a:lnTo>
                  <a:lnTo>
                    <a:pt x="74620" y="156727"/>
                  </a:lnTo>
                  <a:lnTo>
                    <a:pt x="74620" y="165855"/>
                  </a:lnTo>
                  <a:lnTo>
                    <a:pt x="76593" y="170395"/>
                  </a:lnTo>
                  <a:lnTo>
                    <a:pt x="76593" y="185641"/>
                  </a:lnTo>
                  <a:lnTo>
                    <a:pt x="78517" y="197828"/>
                  </a:lnTo>
                  <a:lnTo>
                    <a:pt x="84438" y="213025"/>
                  </a:lnTo>
                  <a:lnTo>
                    <a:pt x="92283" y="208436"/>
                  </a:lnTo>
                  <a:lnTo>
                    <a:pt x="110243" y="208436"/>
                  </a:lnTo>
                  <a:lnTo>
                    <a:pt x="114191" y="200838"/>
                  </a:lnTo>
                  <a:lnTo>
                    <a:pt x="118137" y="194769"/>
                  </a:lnTo>
                  <a:lnTo>
                    <a:pt x="124009" y="194769"/>
                  </a:lnTo>
                  <a:lnTo>
                    <a:pt x="137725" y="182582"/>
                  </a:lnTo>
                  <a:lnTo>
                    <a:pt x="155439" y="181102"/>
                  </a:lnTo>
                  <a:lnTo>
                    <a:pt x="167231" y="182582"/>
                  </a:lnTo>
                  <a:lnTo>
                    <a:pt x="169155" y="176513"/>
                  </a:lnTo>
                  <a:lnTo>
                    <a:pt x="179023" y="175033"/>
                  </a:lnTo>
                  <a:lnTo>
                    <a:pt x="184944" y="176513"/>
                  </a:lnTo>
                  <a:lnTo>
                    <a:pt x="192789" y="176513"/>
                  </a:lnTo>
                  <a:lnTo>
                    <a:pt x="204582" y="185641"/>
                  </a:lnTo>
                  <a:lnTo>
                    <a:pt x="218348" y="187170"/>
                  </a:lnTo>
                  <a:lnTo>
                    <a:pt x="238084" y="199357"/>
                  </a:lnTo>
                  <a:lnTo>
                    <a:pt x="245929" y="199357"/>
                  </a:lnTo>
                  <a:lnTo>
                    <a:pt x="249877" y="196298"/>
                  </a:lnTo>
                  <a:lnTo>
                    <a:pt x="263642" y="200838"/>
                  </a:lnTo>
                  <a:lnTo>
                    <a:pt x="271438" y="202367"/>
                  </a:lnTo>
                  <a:lnTo>
                    <a:pt x="273461" y="211495"/>
                  </a:lnTo>
                  <a:lnTo>
                    <a:pt x="279333" y="213025"/>
                  </a:lnTo>
                  <a:lnTo>
                    <a:pt x="285253" y="211495"/>
                  </a:lnTo>
                  <a:lnTo>
                    <a:pt x="298970" y="214554"/>
                  </a:lnTo>
                  <a:lnTo>
                    <a:pt x="314660" y="232761"/>
                  </a:lnTo>
                  <a:lnTo>
                    <a:pt x="328426" y="232761"/>
                  </a:lnTo>
                  <a:lnTo>
                    <a:pt x="338294" y="235820"/>
                  </a:lnTo>
                  <a:lnTo>
                    <a:pt x="342242" y="246478"/>
                  </a:lnTo>
                  <a:lnTo>
                    <a:pt x="340268" y="251066"/>
                  </a:lnTo>
                  <a:lnTo>
                    <a:pt x="344215" y="257135"/>
                  </a:lnTo>
                  <a:lnTo>
                    <a:pt x="344215" y="261724"/>
                  </a:lnTo>
                  <a:lnTo>
                    <a:pt x="348113" y="266263"/>
                  </a:lnTo>
                  <a:lnTo>
                    <a:pt x="352060" y="266263"/>
                  </a:lnTo>
                  <a:lnTo>
                    <a:pt x="359905" y="267793"/>
                  </a:lnTo>
                  <a:lnTo>
                    <a:pt x="363853" y="272332"/>
                  </a:lnTo>
                  <a:lnTo>
                    <a:pt x="369724" y="272332"/>
                  </a:lnTo>
                  <a:lnTo>
                    <a:pt x="373671" y="267793"/>
                  </a:lnTo>
                  <a:lnTo>
                    <a:pt x="381516" y="267793"/>
                  </a:lnTo>
                  <a:lnTo>
                    <a:pt x="389361" y="273861"/>
                  </a:lnTo>
                  <a:lnTo>
                    <a:pt x="391335" y="278401"/>
                  </a:lnTo>
                  <a:lnTo>
                    <a:pt x="395282" y="279930"/>
                  </a:lnTo>
                  <a:lnTo>
                    <a:pt x="399180" y="276871"/>
                  </a:lnTo>
                  <a:lnTo>
                    <a:pt x="407075" y="275391"/>
                  </a:lnTo>
                  <a:lnTo>
                    <a:pt x="412946" y="270802"/>
                  </a:lnTo>
                  <a:lnTo>
                    <a:pt x="412946" y="266263"/>
                  </a:lnTo>
                  <a:lnTo>
                    <a:pt x="420791" y="261724"/>
                  </a:lnTo>
                  <a:lnTo>
                    <a:pt x="418867" y="258665"/>
                  </a:lnTo>
                  <a:lnTo>
                    <a:pt x="428735" y="254076"/>
                  </a:lnTo>
                  <a:lnTo>
                    <a:pt x="442451" y="251066"/>
                  </a:lnTo>
                  <a:lnTo>
                    <a:pt x="444425" y="248007"/>
                  </a:lnTo>
                  <a:lnTo>
                    <a:pt x="450297" y="244997"/>
                  </a:lnTo>
                  <a:lnTo>
                    <a:pt x="456218" y="241938"/>
                  </a:lnTo>
                  <a:lnTo>
                    <a:pt x="458142" y="234290"/>
                  </a:lnTo>
                  <a:lnTo>
                    <a:pt x="458142" y="226692"/>
                  </a:lnTo>
                  <a:lnTo>
                    <a:pt x="465494" y="220475"/>
                  </a:lnTo>
                  <a:lnTo>
                    <a:pt x="465494" y="212877"/>
                  </a:lnTo>
                  <a:lnTo>
                    <a:pt x="463520" y="209818"/>
                  </a:lnTo>
                  <a:lnTo>
                    <a:pt x="463520" y="206758"/>
                  </a:lnTo>
                  <a:lnTo>
                    <a:pt x="467418" y="205278"/>
                  </a:lnTo>
                  <a:lnTo>
                    <a:pt x="469392" y="202219"/>
                  </a:lnTo>
                  <a:lnTo>
                    <a:pt x="479260" y="200690"/>
                  </a:lnTo>
                  <a:lnTo>
                    <a:pt x="481233" y="200690"/>
                  </a:lnTo>
                  <a:lnTo>
                    <a:pt x="494999" y="194621"/>
                  </a:lnTo>
                  <a:lnTo>
                    <a:pt x="502844" y="193091"/>
                  </a:lnTo>
                  <a:lnTo>
                    <a:pt x="508765" y="196150"/>
                  </a:lnTo>
                  <a:lnTo>
                    <a:pt x="518633" y="194621"/>
                  </a:lnTo>
                  <a:lnTo>
                    <a:pt x="520558" y="19615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Graphic 2">
              <a:extLst>
                <a:ext uri="{FF2B5EF4-FFF2-40B4-BE49-F238E27FC236}">
                  <a16:creationId xmlns:a16="http://schemas.microsoft.com/office/drawing/2014/main" id="{A81D73DA-5039-457E-98E2-6C73693BFA80}"/>
                </a:ext>
              </a:extLst>
            </p:cNvPr>
            <p:cNvSpPr/>
            <p:nvPr/>
          </p:nvSpPr>
          <p:spPr>
            <a:xfrm>
              <a:off x="5621497" y="1464852"/>
              <a:ext cx="467807" cy="342279"/>
            </a:xfrm>
            <a:custGeom>
              <a:avLst/>
              <a:gdLst>
                <a:gd name="connsiteX0" fmla="*/ 475016 w 514915"/>
                <a:gd name="connsiteY0" fmla="*/ 44922 h 376762"/>
                <a:gd name="connsiteX1" fmla="*/ 479160 w 514915"/>
                <a:gd name="connsiteY1" fmla="*/ 41666 h 376762"/>
                <a:gd name="connsiteX2" fmla="*/ 487598 w 514915"/>
                <a:gd name="connsiteY2" fmla="*/ 40087 h 376762"/>
                <a:gd name="connsiteX3" fmla="*/ 491742 w 514915"/>
                <a:gd name="connsiteY3" fmla="*/ 35153 h 376762"/>
                <a:gd name="connsiteX4" fmla="*/ 498009 w 514915"/>
                <a:gd name="connsiteY4" fmla="*/ 28689 h 376762"/>
                <a:gd name="connsiteX5" fmla="*/ 506446 w 514915"/>
                <a:gd name="connsiteY5" fmla="*/ 25482 h 376762"/>
                <a:gd name="connsiteX6" fmla="*/ 512761 w 514915"/>
                <a:gd name="connsiteY6" fmla="*/ 25482 h 376762"/>
                <a:gd name="connsiteX7" fmla="*/ 514834 w 514915"/>
                <a:gd name="connsiteY7" fmla="*/ 28689 h 376762"/>
                <a:gd name="connsiteX8" fmla="*/ 512761 w 514915"/>
                <a:gd name="connsiteY8" fmla="*/ 31896 h 376762"/>
                <a:gd name="connsiteX9" fmla="*/ 504374 w 514915"/>
                <a:gd name="connsiteY9" fmla="*/ 36830 h 376762"/>
                <a:gd name="connsiteX10" fmla="*/ 498058 w 514915"/>
                <a:gd name="connsiteY10" fmla="*/ 40087 h 376762"/>
                <a:gd name="connsiteX11" fmla="*/ 489719 w 514915"/>
                <a:gd name="connsiteY11" fmla="*/ 46501 h 376762"/>
                <a:gd name="connsiteX12" fmla="*/ 481332 w 514915"/>
                <a:gd name="connsiteY12" fmla="*/ 48129 h 376762"/>
                <a:gd name="connsiteX13" fmla="*/ 477138 w 514915"/>
                <a:gd name="connsiteY13" fmla="*/ 46501 h 376762"/>
                <a:gd name="connsiteX14" fmla="*/ 384970 w 514915"/>
                <a:gd name="connsiteY14" fmla="*/ 49856 h 376762"/>
                <a:gd name="connsiteX15" fmla="*/ 387092 w 514915"/>
                <a:gd name="connsiteY15" fmla="*/ 56320 h 376762"/>
                <a:gd name="connsiteX16" fmla="*/ 391236 w 514915"/>
                <a:gd name="connsiteY16" fmla="*/ 56320 h 376762"/>
                <a:gd name="connsiteX17" fmla="*/ 395430 w 514915"/>
                <a:gd name="connsiteY17" fmla="*/ 53113 h 376762"/>
                <a:gd name="connsiteX18" fmla="*/ 393358 w 514915"/>
                <a:gd name="connsiteY18" fmla="*/ 48179 h 376762"/>
                <a:gd name="connsiteX19" fmla="*/ 389164 w 514915"/>
                <a:gd name="connsiteY19" fmla="*/ 46550 h 376762"/>
                <a:gd name="connsiteX20" fmla="*/ 384970 w 514915"/>
                <a:gd name="connsiteY20" fmla="*/ 46550 h 376762"/>
                <a:gd name="connsiteX21" fmla="*/ 211243 w 514915"/>
                <a:gd name="connsiteY21" fmla="*/ 3230 h 376762"/>
                <a:gd name="connsiteX22" fmla="*/ 221653 w 514915"/>
                <a:gd name="connsiteY22" fmla="*/ 11272 h 376762"/>
                <a:gd name="connsiteX23" fmla="*/ 227969 w 514915"/>
                <a:gd name="connsiteY23" fmla="*/ 12900 h 376762"/>
                <a:gd name="connsiteX24" fmla="*/ 230090 w 514915"/>
                <a:gd name="connsiteY24" fmla="*/ 9644 h 376762"/>
                <a:gd name="connsiteX25" fmla="*/ 234235 w 514915"/>
                <a:gd name="connsiteY25" fmla="*/ 6437 h 376762"/>
                <a:gd name="connsiteX26" fmla="*/ 230090 w 514915"/>
                <a:gd name="connsiteY26" fmla="*/ 3230 h 376762"/>
                <a:gd name="connsiteX27" fmla="*/ 223775 w 514915"/>
                <a:gd name="connsiteY27" fmla="*/ 4808 h 376762"/>
                <a:gd name="connsiteX28" fmla="*/ 215387 w 514915"/>
                <a:gd name="connsiteY28" fmla="*/ 1601 h 376762"/>
                <a:gd name="connsiteX29" fmla="*/ 209121 w 514915"/>
                <a:gd name="connsiteY29" fmla="*/ -27 h 376762"/>
                <a:gd name="connsiteX30" fmla="*/ 209121 w 514915"/>
                <a:gd name="connsiteY30" fmla="*/ 1601 h 376762"/>
                <a:gd name="connsiteX31" fmla="*/ 175619 w 514915"/>
                <a:gd name="connsiteY31" fmla="*/ 56369 h 376762"/>
                <a:gd name="connsiteX32" fmla="*/ 171425 w 514915"/>
                <a:gd name="connsiteY32" fmla="*/ 53162 h 376762"/>
                <a:gd name="connsiteX33" fmla="*/ 169353 w 514915"/>
                <a:gd name="connsiteY33" fmla="*/ 49906 h 376762"/>
                <a:gd name="connsiteX34" fmla="*/ 171425 w 514915"/>
                <a:gd name="connsiteY34" fmla="*/ 46698 h 376762"/>
                <a:gd name="connsiteX35" fmla="*/ 175619 w 514915"/>
                <a:gd name="connsiteY35" fmla="*/ 43491 h 376762"/>
                <a:gd name="connsiteX36" fmla="*/ 177691 w 514915"/>
                <a:gd name="connsiteY36" fmla="*/ 45120 h 376762"/>
                <a:gd name="connsiteX37" fmla="*/ 181885 w 514915"/>
                <a:gd name="connsiteY37" fmla="*/ 50054 h 376762"/>
                <a:gd name="connsiteX38" fmla="*/ 181885 w 514915"/>
                <a:gd name="connsiteY38" fmla="*/ 53310 h 376762"/>
                <a:gd name="connsiteX39" fmla="*/ 179813 w 514915"/>
                <a:gd name="connsiteY39" fmla="*/ 56517 h 376762"/>
                <a:gd name="connsiteX40" fmla="*/ 209121 w 514915"/>
                <a:gd name="connsiteY40" fmla="*/ 103094 h 376762"/>
                <a:gd name="connsiteX41" fmla="*/ 213315 w 514915"/>
                <a:gd name="connsiteY41" fmla="*/ 103094 h 376762"/>
                <a:gd name="connsiteX42" fmla="*/ 219581 w 514915"/>
                <a:gd name="connsiteY42" fmla="*/ 98160 h 376762"/>
                <a:gd name="connsiteX43" fmla="*/ 223775 w 514915"/>
                <a:gd name="connsiteY43" fmla="*/ 96532 h 376762"/>
                <a:gd name="connsiteX44" fmla="*/ 246817 w 514915"/>
                <a:gd name="connsiteY44" fmla="*/ 96532 h 376762"/>
                <a:gd name="connsiteX45" fmla="*/ 253083 w 514915"/>
                <a:gd name="connsiteY45" fmla="*/ 93325 h 376762"/>
                <a:gd name="connsiteX46" fmla="*/ 257277 w 514915"/>
                <a:gd name="connsiteY46" fmla="*/ 91697 h 376762"/>
                <a:gd name="connsiteX47" fmla="*/ 259349 w 514915"/>
                <a:gd name="connsiteY47" fmla="*/ 94953 h 376762"/>
                <a:gd name="connsiteX48" fmla="*/ 259349 w 514915"/>
                <a:gd name="connsiteY48" fmla="*/ 96532 h 376762"/>
                <a:gd name="connsiteX49" fmla="*/ 257277 w 514915"/>
                <a:gd name="connsiteY49" fmla="*/ 98160 h 376762"/>
                <a:gd name="connsiteX50" fmla="*/ 255205 w 514915"/>
                <a:gd name="connsiteY50" fmla="*/ 103094 h 376762"/>
                <a:gd name="connsiteX51" fmla="*/ 251011 w 514915"/>
                <a:gd name="connsiteY51" fmla="*/ 104723 h 376762"/>
                <a:gd name="connsiteX52" fmla="*/ 244696 w 514915"/>
                <a:gd name="connsiteY52" fmla="*/ 103094 h 376762"/>
                <a:gd name="connsiteX53" fmla="*/ 236455 w 514915"/>
                <a:gd name="connsiteY53" fmla="*/ 103094 h 376762"/>
                <a:gd name="connsiteX54" fmla="*/ 228068 w 514915"/>
                <a:gd name="connsiteY54" fmla="*/ 101466 h 376762"/>
                <a:gd name="connsiteX55" fmla="*/ 228068 w 514915"/>
                <a:gd name="connsiteY55" fmla="*/ 104723 h 376762"/>
                <a:gd name="connsiteX56" fmla="*/ 230189 w 514915"/>
                <a:gd name="connsiteY56" fmla="*/ 106302 h 376762"/>
                <a:gd name="connsiteX57" fmla="*/ 240600 w 514915"/>
                <a:gd name="connsiteY57" fmla="*/ 107930 h 376762"/>
                <a:gd name="connsiteX58" fmla="*/ 244794 w 514915"/>
                <a:gd name="connsiteY58" fmla="*/ 111137 h 376762"/>
                <a:gd name="connsiteX59" fmla="*/ 244794 w 514915"/>
                <a:gd name="connsiteY59" fmla="*/ 114344 h 376762"/>
                <a:gd name="connsiteX60" fmla="*/ 240600 w 514915"/>
                <a:gd name="connsiteY60" fmla="*/ 114344 h 376762"/>
                <a:gd name="connsiteX61" fmla="*/ 234334 w 514915"/>
                <a:gd name="connsiteY61" fmla="*/ 111137 h 376762"/>
                <a:gd name="connsiteX62" fmla="*/ 232262 w 514915"/>
                <a:gd name="connsiteY62" fmla="*/ 114344 h 376762"/>
                <a:gd name="connsiteX63" fmla="*/ 228068 w 514915"/>
                <a:gd name="connsiteY63" fmla="*/ 114344 h 376762"/>
                <a:gd name="connsiteX64" fmla="*/ 221752 w 514915"/>
                <a:gd name="connsiteY64" fmla="*/ 109410 h 376762"/>
                <a:gd name="connsiteX65" fmla="*/ 213413 w 514915"/>
                <a:gd name="connsiteY65" fmla="*/ 107831 h 376762"/>
                <a:gd name="connsiteX66" fmla="*/ 205075 w 514915"/>
                <a:gd name="connsiteY66" fmla="*/ 111038 h 376762"/>
                <a:gd name="connsiteX67" fmla="*/ 205075 w 514915"/>
                <a:gd name="connsiteY67" fmla="*/ 114245 h 376762"/>
                <a:gd name="connsiteX68" fmla="*/ 211341 w 514915"/>
                <a:gd name="connsiteY68" fmla="*/ 115874 h 376762"/>
                <a:gd name="connsiteX69" fmla="*/ 223873 w 514915"/>
                <a:gd name="connsiteY69" fmla="*/ 125742 h 376762"/>
                <a:gd name="connsiteX70" fmla="*/ 228068 w 514915"/>
                <a:gd name="connsiteY70" fmla="*/ 125742 h 376762"/>
                <a:gd name="connsiteX71" fmla="*/ 234334 w 514915"/>
                <a:gd name="connsiteY71" fmla="*/ 124113 h 376762"/>
                <a:gd name="connsiteX72" fmla="*/ 236455 w 514915"/>
                <a:gd name="connsiteY72" fmla="*/ 124113 h 376762"/>
                <a:gd name="connsiteX73" fmla="*/ 240600 w 514915"/>
                <a:gd name="connsiteY73" fmla="*/ 130577 h 376762"/>
                <a:gd name="connsiteX74" fmla="*/ 240600 w 514915"/>
                <a:gd name="connsiteY74" fmla="*/ 135511 h 376762"/>
                <a:gd name="connsiteX75" fmla="*/ 244794 w 514915"/>
                <a:gd name="connsiteY75" fmla="*/ 137090 h 376762"/>
                <a:gd name="connsiteX76" fmla="*/ 251109 w 514915"/>
                <a:gd name="connsiteY76" fmla="*/ 135511 h 376762"/>
                <a:gd name="connsiteX77" fmla="*/ 261570 w 514915"/>
                <a:gd name="connsiteY77" fmla="*/ 133883 h 376762"/>
                <a:gd name="connsiteX78" fmla="*/ 272030 w 514915"/>
                <a:gd name="connsiteY78" fmla="*/ 130676 h 376762"/>
                <a:gd name="connsiteX79" fmla="*/ 278296 w 514915"/>
                <a:gd name="connsiteY79" fmla="*/ 130676 h 376762"/>
                <a:gd name="connsiteX80" fmla="*/ 288756 w 514915"/>
                <a:gd name="connsiteY80" fmla="*/ 129047 h 376762"/>
                <a:gd name="connsiteX81" fmla="*/ 288756 w 514915"/>
                <a:gd name="connsiteY81" fmla="*/ 132255 h 376762"/>
                <a:gd name="connsiteX82" fmla="*/ 286684 w 514915"/>
                <a:gd name="connsiteY82" fmla="*/ 138718 h 376762"/>
                <a:gd name="connsiteX83" fmla="*/ 288756 w 514915"/>
                <a:gd name="connsiteY83" fmla="*/ 143652 h 376762"/>
                <a:gd name="connsiteX84" fmla="*/ 297144 w 514915"/>
                <a:gd name="connsiteY84" fmla="*/ 148586 h 376762"/>
                <a:gd name="connsiteX85" fmla="*/ 305532 w 514915"/>
                <a:gd name="connsiteY85" fmla="*/ 150214 h 376762"/>
                <a:gd name="connsiteX86" fmla="*/ 315992 w 514915"/>
                <a:gd name="connsiteY86" fmla="*/ 146958 h 376762"/>
                <a:gd name="connsiteX87" fmla="*/ 318114 w 514915"/>
                <a:gd name="connsiteY87" fmla="*/ 143751 h 376762"/>
                <a:gd name="connsiteX88" fmla="*/ 315992 w 514915"/>
                <a:gd name="connsiteY88" fmla="*/ 140544 h 376762"/>
                <a:gd name="connsiteX89" fmla="*/ 315992 w 514915"/>
                <a:gd name="connsiteY89" fmla="*/ 137287 h 376762"/>
                <a:gd name="connsiteX90" fmla="*/ 318114 w 514915"/>
                <a:gd name="connsiteY90" fmla="*/ 134080 h 376762"/>
                <a:gd name="connsiteX91" fmla="*/ 326452 w 514915"/>
                <a:gd name="connsiteY91" fmla="*/ 127666 h 376762"/>
                <a:gd name="connsiteX92" fmla="*/ 330646 w 514915"/>
                <a:gd name="connsiteY92" fmla="*/ 127666 h 376762"/>
                <a:gd name="connsiteX93" fmla="*/ 334840 w 514915"/>
                <a:gd name="connsiteY93" fmla="*/ 130873 h 376762"/>
                <a:gd name="connsiteX94" fmla="*/ 341106 w 514915"/>
                <a:gd name="connsiteY94" fmla="*/ 134080 h 376762"/>
                <a:gd name="connsiteX95" fmla="*/ 347373 w 514915"/>
                <a:gd name="connsiteY95" fmla="*/ 134080 h 376762"/>
                <a:gd name="connsiteX96" fmla="*/ 353639 w 514915"/>
                <a:gd name="connsiteY96" fmla="*/ 129146 h 376762"/>
                <a:gd name="connsiteX97" fmla="*/ 355810 w 514915"/>
                <a:gd name="connsiteY97" fmla="*/ 125939 h 376762"/>
                <a:gd name="connsiteX98" fmla="*/ 355810 w 514915"/>
                <a:gd name="connsiteY98" fmla="*/ 117897 h 376762"/>
                <a:gd name="connsiteX99" fmla="*/ 353639 w 514915"/>
                <a:gd name="connsiteY99" fmla="*/ 112963 h 376762"/>
                <a:gd name="connsiteX100" fmla="*/ 357882 w 514915"/>
                <a:gd name="connsiteY100" fmla="*/ 109706 h 376762"/>
                <a:gd name="connsiteX101" fmla="*/ 362076 w 514915"/>
                <a:gd name="connsiteY101" fmla="*/ 104772 h 376762"/>
                <a:gd name="connsiteX102" fmla="*/ 368342 w 514915"/>
                <a:gd name="connsiteY102" fmla="*/ 94904 h 376762"/>
                <a:gd name="connsiteX103" fmla="*/ 372487 w 514915"/>
                <a:gd name="connsiteY103" fmla="*/ 89970 h 376762"/>
                <a:gd name="connsiteX104" fmla="*/ 380924 w 514915"/>
                <a:gd name="connsiteY104" fmla="*/ 81878 h 376762"/>
                <a:gd name="connsiteX105" fmla="*/ 382996 w 514915"/>
                <a:gd name="connsiteY105" fmla="*/ 76944 h 376762"/>
                <a:gd name="connsiteX106" fmla="*/ 380924 w 514915"/>
                <a:gd name="connsiteY106" fmla="*/ 73688 h 376762"/>
                <a:gd name="connsiteX107" fmla="*/ 378802 w 514915"/>
                <a:gd name="connsiteY107" fmla="*/ 68754 h 376762"/>
                <a:gd name="connsiteX108" fmla="*/ 378802 w 514915"/>
                <a:gd name="connsiteY108" fmla="*/ 63820 h 376762"/>
                <a:gd name="connsiteX109" fmla="*/ 380924 w 514915"/>
                <a:gd name="connsiteY109" fmla="*/ 60612 h 376762"/>
                <a:gd name="connsiteX110" fmla="*/ 380924 w 514915"/>
                <a:gd name="connsiteY110" fmla="*/ 57405 h 376762"/>
                <a:gd name="connsiteX111" fmla="*/ 378802 w 514915"/>
                <a:gd name="connsiteY111" fmla="*/ 55777 h 376762"/>
                <a:gd name="connsiteX112" fmla="*/ 368342 w 514915"/>
                <a:gd name="connsiteY112" fmla="*/ 54149 h 376762"/>
                <a:gd name="connsiteX113" fmla="*/ 362076 w 514915"/>
                <a:gd name="connsiteY113" fmla="*/ 50942 h 376762"/>
                <a:gd name="connsiteX114" fmla="*/ 359955 w 514915"/>
                <a:gd name="connsiteY114" fmla="*/ 49313 h 376762"/>
                <a:gd name="connsiteX115" fmla="*/ 347373 w 514915"/>
                <a:gd name="connsiteY115" fmla="*/ 50942 h 376762"/>
                <a:gd name="connsiteX116" fmla="*/ 341106 w 514915"/>
                <a:gd name="connsiteY116" fmla="*/ 49313 h 376762"/>
                <a:gd name="connsiteX117" fmla="*/ 334840 w 514915"/>
                <a:gd name="connsiteY117" fmla="*/ 47735 h 376762"/>
                <a:gd name="connsiteX118" fmla="*/ 328525 w 514915"/>
                <a:gd name="connsiteY118" fmla="*/ 47735 h 376762"/>
                <a:gd name="connsiteX119" fmla="*/ 324380 w 514915"/>
                <a:gd name="connsiteY119" fmla="*/ 44527 h 376762"/>
                <a:gd name="connsiteX120" fmla="*/ 322258 w 514915"/>
                <a:gd name="connsiteY120" fmla="*/ 41271 h 376762"/>
                <a:gd name="connsiteX121" fmla="*/ 320186 w 514915"/>
                <a:gd name="connsiteY121" fmla="*/ 39692 h 376762"/>
                <a:gd name="connsiteX122" fmla="*/ 313920 w 514915"/>
                <a:gd name="connsiteY122" fmla="*/ 42899 h 376762"/>
                <a:gd name="connsiteX123" fmla="*/ 313920 w 514915"/>
                <a:gd name="connsiteY123" fmla="*/ 33031 h 376762"/>
                <a:gd name="connsiteX124" fmla="*/ 309676 w 514915"/>
                <a:gd name="connsiteY124" fmla="*/ 36238 h 376762"/>
                <a:gd name="connsiteX125" fmla="*/ 307605 w 514915"/>
                <a:gd name="connsiteY125" fmla="*/ 41172 h 376762"/>
                <a:gd name="connsiteX126" fmla="*/ 305532 w 514915"/>
                <a:gd name="connsiteY126" fmla="*/ 42801 h 376762"/>
                <a:gd name="connsiteX127" fmla="*/ 303410 w 514915"/>
                <a:gd name="connsiteY127" fmla="*/ 34758 h 376762"/>
                <a:gd name="connsiteX128" fmla="*/ 301338 w 514915"/>
                <a:gd name="connsiteY128" fmla="*/ 34758 h 376762"/>
                <a:gd name="connsiteX129" fmla="*/ 299266 w 514915"/>
                <a:gd name="connsiteY129" fmla="*/ 37965 h 376762"/>
                <a:gd name="connsiteX130" fmla="*/ 299266 w 514915"/>
                <a:gd name="connsiteY130" fmla="*/ 42899 h 376762"/>
                <a:gd name="connsiteX131" fmla="*/ 295072 w 514915"/>
                <a:gd name="connsiteY131" fmla="*/ 47833 h 376762"/>
                <a:gd name="connsiteX132" fmla="*/ 295072 w 514915"/>
                <a:gd name="connsiteY132" fmla="*/ 52767 h 376762"/>
                <a:gd name="connsiteX133" fmla="*/ 292999 w 514915"/>
                <a:gd name="connsiteY133" fmla="*/ 55974 h 376762"/>
                <a:gd name="connsiteX134" fmla="*/ 288756 w 514915"/>
                <a:gd name="connsiteY134" fmla="*/ 54346 h 376762"/>
                <a:gd name="connsiteX135" fmla="*/ 286684 w 514915"/>
                <a:gd name="connsiteY135" fmla="*/ 51139 h 376762"/>
                <a:gd name="connsiteX136" fmla="*/ 284562 w 514915"/>
                <a:gd name="connsiteY136" fmla="*/ 51139 h 376762"/>
                <a:gd name="connsiteX137" fmla="*/ 284562 w 514915"/>
                <a:gd name="connsiteY137" fmla="*/ 54346 h 376762"/>
                <a:gd name="connsiteX138" fmla="*/ 282490 w 514915"/>
                <a:gd name="connsiteY138" fmla="*/ 57603 h 376762"/>
                <a:gd name="connsiteX139" fmla="*/ 280418 w 514915"/>
                <a:gd name="connsiteY139" fmla="*/ 54346 h 376762"/>
                <a:gd name="connsiteX140" fmla="*/ 280418 w 514915"/>
                <a:gd name="connsiteY140" fmla="*/ 49412 h 376762"/>
                <a:gd name="connsiteX141" fmla="*/ 282490 w 514915"/>
                <a:gd name="connsiteY141" fmla="*/ 42998 h 376762"/>
                <a:gd name="connsiteX142" fmla="*/ 282490 w 514915"/>
                <a:gd name="connsiteY142" fmla="*/ 33130 h 376762"/>
                <a:gd name="connsiteX143" fmla="*/ 280418 w 514915"/>
                <a:gd name="connsiteY143" fmla="*/ 29923 h 376762"/>
                <a:gd name="connsiteX144" fmla="*/ 272030 w 514915"/>
                <a:gd name="connsiteY144" fmla="*/ 24989 h 376762"/>
                <a:gd name="connsiteX145" fmla="*/ 269958 w 514915"/>
                <a:gd name="connsiteY145" fmla="*/ 21782 h 376762"/>
                <a:gd name="connsiteX146" fmla="*/ 267836 w 514915"/>
                <a:gd name="connsiteY146" fmla="*/ 21782 h 376762"/>
                <a:gd name="connsiteX147" fmla="*/ 265715 w 514915"/>
                <a:gd name="connsiteY147" fmla="*/ 26716 h 376762"/>
                <a:gd name="connsiteX148" fmla="*/ 269958 w 514915"/>
                <a:gd name="connsiteY148" fmla="*/ 29972 h 376762"/>
                <a:gd name="connsiteX149" fmla="*/ 272030 w 514915"/>
                <a:gd name="connsiteY149" fmla="*/ 33179 h 376762"/>
                <a:gd name="connsiteX150" fmla="*/ 265715 w 514915"/>
                <a:gd name="connsiteY150" fmla="*/ 31551 h 376762"/>
                <a:gd name="connsiteX151" fmla="*/ 263642 w 514915"/>
                <a:gd name="connsiteY151" fmla="*/ 29972 h 376762"/>
                <a:gd name="connsiteX152" fmla="*/ 259448 w 514915"/>
                <a:gd name="connsiteY152" fmla="*/ 31551 h 376762"/>
                <a:gd name="connsiteX153" fmla="*/ 261570 w 514915"/>
                <a:gd name="connsiteY153" fmla="*/ 36485 h 376762"/>
                <a:gd name="connsiteX154" fmla="*/ 265715 w 514915"/>
                <a:gd name="connsiteY154" fmla="*/ 42949 h 376762"/>
                <a:gd name="connsiteX155" fmla="*/ 265715 w 514915"/>
                <a:gd name="connsiteY155" fmla="*/ 60662 h 376762"/>
                <a:gd name="connsiteX156" fmla="*/ 269958 w 514915"/>
                <a:gd name="connsiteY156" fmla="*/ 68704 h 376762"/>
                <a:gd name="connsiteX157" fmla="*/ 267836 w 514915"/>
                <a:gd name="connsiteY157" fmla="*/ 73638 h 376762"/>
                <a:gd name="connsiteX158" fmla="*/ 263642 w 514915"/>
                <a:gd name="connsiteY158" fmla="*/ 73638 h 376762"/>
                <a:gd name="connsiteX159" fmla="*/ 261570 w 514915"/>
                <a:gd name="connsiteY159" fmla="*/ 68704 h 376762"/>
                <a:gd name="connsiteX160" fmla="*/ 255303 w 514915"/>
                <a:gd name="connsiteY160" fmla="*/ 63770 h 376762"/>
                <a:gd name="connsiteX161" fmla="*/ 249038 w 514915"/>
                <a:gd name="connsiteY161" fmla="*/ 60563 h 376762"/>
                <a:gd name="connsiteX162" fmla="*/ 249038 w 514915"/>
                <a:gd name="connsiteY162" fmla="*/ 55629 h 376762"/>
                <a:gd name="connsiteX163" fmla="*/ 251109 w 514915"/>
                <a:gd name="connsiteY163" fmla="*/ 52422 h 376762"/>
                <a:gd name="connsiteX164" fmla="*/ 251109 w 514915"/>
                <a:gd name="connsiteY164" fmla="*/ 49165 h 376762"/>
                <a:gd name="connsiteX165" fmla="*/ 246916 w 514915"/>
                <a:gd name="connsiteY165" fmla="*/ 47587 h 376762"/>
                <a:gd name="connsiteX166" fmla="*/ 240600 w 514915"/>
                <a:gd name="connsiteY166" fmla="*/ 50794 h 376762"/>
                <a:gd name="connsiteX167" fmla="*/ 236455 w 514915"/>
                <a:gd name="connsiteY167" fmla="*/ 49165 h 376762"/>
                <a:gd name="connsiteX168" fmla="*/ 236455 w 514915"/>
                <a:gd name="connsiteY168" fmla="*/ 52422 h 376762"/>
                <a:gd name="connsiteX169" fmla="*/ 230189 w 514915"/>
                <a:gd name="connsiteY169" fmla="*/ 55629 h 376762"/>
                <a:gd name="connsiteX170" fmla="*/ 223873 w 514915"/>
                <a:gd name="connsiteY170" fmla="*/ 54001 h 376762"/>
                <a:gd name="connsiteX171" fmla="*/ 225995 w 514915"/>
                <a:gd name="connsiteY171" fmla="*/ 50794 h 376762"/>
                <a:gd name="connsiteX172" fmla="*/ 223873 w 514915"/>
                <a:gd name="connsiteY172" fmla="*/ 47587 h 376762"/>
                <a:gd name="connsiteX173" fmla="*/ 219680 w 514915"/>
                <a:gd name="connsiteY173" fmla="*/ 47587 h 376762"/>
                <a:gd name="connsiteX174" fmla="*/ 215486 w 514915"/>
                <a:gd name="connsiteY174" fmla="*/ 42653 h 376762"/>
                <a:gd name="connsiteX175" fmla="*/ 213413 w 514915"/>
                <a:gd name="connsiteY175" fmla="*/ 37718 h 376762"/>
                <a:gd name="connsiteX176" fmla="*/ 209220 w 514915"/>
                <a:gd name="connsiteY176" fmla="*/ 36090 h 376762"/>
                <a:gd name="connsiteX177" fmla="*/ 206851 w 514915"/>
                <a:gd name="connsiteY177" fmla="*/ 36090 h 376762"/>
                <a:gd name="connsiteX178" fmla="*/ 202608 w 514915"/>
                <a:gd name="connsiteY178" fmla="*/ 32883 h 376762"/>
                <a:gd name="connsiteX179" fmla="*/ 202608 w 514915"/>
                <a:gd name="connsiteY179" fmla="*/ 27949 h 376762"/>
                <a:gd name="connsiteX180" fmla="*/ 200536 w 514915"/>
                <a:gd name="connsiteY180" fmla="*/ 23015 h 376762"/>
                <a:gd name="connsiteX181" fmla="*/ 198464 w 514915"/>
                <a:gd name="connsiteY181" fmla="*/ 21436 h 376762"/>
                <a:gd name="connsiteX182" fmla="*/ 194269 w 514915"/>
                <a:gd name="connsiteY182" fmla="*/ 26370 h 376762"/>
                <a:gd name="connsiteX183" fmla="*/ 194269 w 514915"/>
                <a:gd name="connsiteY183" fmla="*/ 40876 h 376762"/>
                <a:gd name="connsiteX184" fmla="*/ 198464 w 514915"/>
                <a:gd name="connsiteY184" fmla="*/ 47340 h 376762"/>
                <a:gd name="connsiteX185" fmla="*/ 200536 w 514915"/>
                <a:gd name="connsiteY185" fmla="*/ 55382 h 376762"/>
                <a:gd name="connsiteX186" fmla="*/ 198464 w 514915"/>
                <a:gd name="connsiteY186" fmla="*/ 57011 h 376762"/>
                <a:gd name="connsiteX187" fmla="*/ 194269 w 514915"/>
                <a:gd name="connsiteY187" fmla="*/ 52076 h 376762"/>
                <a:gd name="connsiteX188" fmla="*/ 192197 w 514915"/>
                <a:gd name="connsiteY188" fmla="*/ 47142 h 376762"/>
                <a:gd name="connsiteX189" fmla="*/ 190075 w 514915"/>
                <a:gd name="connsiteY189" fmla="*/ 45514 h 376762"/>
                <a:gd name="connsiteX190" fmla="*/ 188004 w 514915"/>
                <a:gd name="connsiteY190" fmla="*/ 50448 h 376762"/>
                <a:gd name="connsiteX191" fmla="*/ 190075 w 514915"/>
                <a:gd name="connsiteY191" fmla="*/ 56912 h 376762"/>
                <a:gd name="connsiteX192" fmla="*/ 194269 w 514915"/>
                <a:gd name="connsiteY192" fmla="*/ 61846 h 376762"/>
                <a:gd name="connsiteX193" fmla="*/ 194269 w 514915"/>
                <a:gd name="connsiteY193" fmla="*/ 66780 h 376762"/>
                <a:gd name="connsiteX194" fmla="*/ 192197 w 514915"/>
                <a:gd name="connsiteY194" fmla="*/ 69987 h 376762"/>
                <a:gd name="connsiteX195" fmla="*/ 188004 w 514915"/>
                <a:gd name="connsiteY195" fmla="*/ 69987 h 376762"/>
                <a:gd name="connsiteX196" fmla="*/ 185931 w 514915"/>
                <a:gd name="connsiteY196" fmla="*/ 61945 h 376762"/>
                <a:gd name="connsiteX197" fmla="*/ 183809 w 514915"/>
                <a:gd name="connsiteY197" fmla="*/ 60316 h 376762"/>
                <a:gd name="connsiteX198" fmla="*/ 171228 w 514915"/>
                <a:gd name="connsiteY198" fmla="*/ 60316 h 376762"/>
                <a:gd name="connsiteX199" fmla="*/ 164961 w 514915"/>
                <a:gd name="connsiteY199" fmla="*/ 57109 h 376762"/>
                <a:gd name="connsiteX200" fmla="*/ 162889 w 514915"/>
                <a:gd name="connsiteY200" fmla="*/ 60316 h 376762"/>
                <a:gd name="connsiteX201" fmla="*/ 164961 w 514915"/>
                <a:gd name="connsiteY201" fmla="*/ 66780 h 376762"/>
                <a:gd name="connsiteX202" fmla="*/ 169155 w 514915"/>
                <a:gd name="connsiteY202" fmla="*/ 66780 h 376762"/>
                <a:gd name="connsiteX203" fmla="*/ 173349 w 514915"/>
                <a:gd name="connsiteY203" fmla="*/ 69987 h 376762"/>
                <a:gd name="connsiteX204" fmla="*/ 171228 w 514915"/>
                <a:gd name="connsiteY204" fmla="*/ 73194 h 376762"/>
                <a:gd name="connsiteX205" fmla="*/ 173349 w 514915"/>
                <a:gd name="connsiteY205" fmla="*/ 74822 h 376762"/>
                <a:gd name="connsiteX206" fmla="*/ 179615 w 514915"/>
                <a:gd name="connsiteY206" fmla="*/ 74822 h 376762"/>
                <a:gd name="connsiteX207" fmla="*/ 181688 w 514915"/>
                <a:gd name="connsiteY207" fmla="*/ 78030 h 376762"/>
                <a:gd name="connsiteX208" fmla="*/ 171228 w 514915"/>
                <a:gd name="connsiteY208" fmla="*/ 82964 h 376762"/>
                <a:gd name="connsiteX209" fmla="*/ 171228 w 514915"/>
                <a:gd name="connsiteY209" fmla="*/ 86171 h 376762"/>
                <a:gd name="connsiteX210" fmla="*/ 179615 w 514915"/>
                <a:gd name="connsiteY210" fmla="*/ 96039 h 376762"/>
                <a:gd name="connsiteX211" fmla="*/ 183809 w 514915"/>
                <a:gd name="connsiteY211" fmla="*/ 97667 h 376762"/>
                <a:gd name="connsiteX212" fmla="*/ 190075 w 514915"/>
                <a:gd name="connsiteY212" fmla="*/ 102601 h 376762"/>
                <a:gd name="connsiteX213" fmla="*/ 198464 w 514915"/>
                <a:gd name="connsiteY213" fmla="*/ 102601 h 376762"/>
                <a:gd name="connsiteX214" fmla="*/ 204779 w 514915"/>
                <a:gd name="connsiteY214" fmla="*/ 100973 h 376762"/>
                <a:gd name="connsiteX215" fmla="*/ 414278 w 514915"/>
                <a:gd name="connsiteY215" fmla="*/ 172171 h 376762"/>
                <a:gd name="connsiteX216" fmla="*/ 420593 w 514915"/>
                <a:gd name="connsiteY216" fmla="*/ 164079 h 376762"/>
                <a:gd name="connsiteX217" fmla="*/ 426860 w 514915"/>
                <a:gd name="connsiteY217" fmla="*/ 159145 h 376762"/>
                <a:gd name="connsiteX218" fmla="*/ 431054 w 514915"/>
                <a:gd name="connsiteY218" fmla="*/ 159145 h 376762"/>
                <a:gd name="connsiteX219" fmla="*/ 435199 w 514915"/>
                <a:gd name="connsiteY219" fmla="*/ 157517 h 376762"/>
                <a:gd name="connsiteX220" fmla="*/ 437320 w 514915"/>
                <a:gd name="connsiteY220" fmla="*/ 160724 h 376762"/>
                <a:gd name="connsiteX221" fmla="*/ 452122 w 514915"/>
                <a:gd name="connsiteY221" fmla="*/ 160724 h 376762"/>
                <a:gd name="connsiteX222" fmla="*/ 450050 w 514915"/>
                <a:gd name="connsiteY222" fmla="*/ 165658 h 376762"/>
                <a:gd name="connsiteX223" fmla="*/ 443784 w 514915"/>
                <a:gd name="connsiteY223" fmla="*/ 167286 h 376762"/>
                <a:gd name="connsiteX224" fmla="*/ 435347 w 514915"/>
                <a:gd name="connsiteY224" fmla="*/ 164030 h 376762"/>
                <a:gd name="connsiteX225" fmla="*/ 431202 w 514915"/>
                <a:gd name="connsiteY225" fmla="*/ 164030 h 376762"/>
                <a:gd name="connsiteX226" fmla="*/ 427008 w 514915"/>
                <a:gd name="connsiteY226" fmla="*/ 165658 h 376762"/>
                <a:gd name="connsiteX227" fmla="*/ 422814 w 514915"/>
                <a:gd name="connsiteY227" fmla="*/ 165658 h 376762"/>
                <a:gd name="connsiteX228" fmla="*/ 416498 w 514915"/>
                <a:gd name="connsiteY228" fmla="*/ 172122 h 376762"/>
                <a:gd name="connsiteX229" fmla="*/ 387092 w 514915"/>
                <a:gd name="connsiteY229" fmla="*/ 193091 h 376762"/>
                <a:gd name="connsiteX230" fmla="*/ 387092 w 514915"/>
                <a:gd name="connsiteY230" fmla="*/ 188157 h 376762"/>
                <a:gd name="connsiteX231" fmla="*/ 382898 w 514915"/>
                <a:gd name="connsiteY231" fmla="*/ 181743 h 376762"/>
                <a:gd name="connsiteX232" fmla="*/ 382898 w 514915"/>
                <a:gd name="connsiteY232" fmla="*/ 176809 h 376762"/>
                <a:gd name="connsiteX233" fmla="*/ 384970 w 514915"/>
                <a:gd name="connsiteY233" fmla="*/ 175181 h 376762"/>
                <a:gd name="connsiteX234" fmla="*/ 387092 w 514915"/>
                <a:gd name="connsiteY234" fmla="*/ 173552 h 376762"/>
                <a:gd name="connsiteX235" fmla="*/ 389164 w 514915"/>
                <a:gd name="connsiteY235" fmla="*/ 173552 h 376762"/>
                <a:gd name="connsiteX236" fmla="*/ 389164 w 514915"/>
                <a:gd name="connsiteY236" fmla="*/ 180016 h 376762"/>
                <a:gd name="connsiteX237" fmla="*/ 395430 w 514915"/>
                <a:gd name="connsiteY237" fmla="*/ 184950 h 376762"/>
                <a:gd name="connsiteX238" fmla="*/ 395430 w 514915"/>
                <a:gd name="connsiteY238" fmla="*/ 188157 h 376762"/>
                <a:gd name="connsiteX239" fmla="*/ 391236 w 514915"/>
                <a:gd name="connsiteY239" fmla="*/ 193091 h 376762"/>
                <a:gd name="connsiteX240" fmla="*/ 257277 w 514915"/>
                <a:gd name="connsiteY240" fmla="*/ 244652 h 376762"/>
                <a:gd name="connsiteX241" fmla="*/ 261471 w 514915"/>
                <a:gd name="connsiteY241" fmla="*/ 238188 h 376762"/>
                <a:gd name="connsiteX242" fmla="*/ 267737 w 514915"/>
                <a:gd name="connsiteY242" fmla="*/ 233254 h 376762"/>
                <a:gd name="connsiteX243" fmla="*/ 282539 w 514915"/>
                <a:gd name="connsiteY243" fmla="*/ 230047 h 376762"/>
                <a:gd name="connsiteX244" fmla="*/ 288806 w 514915"/>
                <a:gd name="connsiteY244" fmla="*/ 230047 h 376762"/>
                <a:gd name="connsiteX245" fmla="*/ 299315 w 514915"/>
                <a:gd name="connsiteY245" fmla="*/ 223584 h 376762"/>
                <a:gd name="connsiteX246" fmla="*/ 309726 w 514915"/>
                <a:gd name="connsiteY246" fmla="*/ 217169 h 376762"/>
                <a:gd name="connsiteX247" fmla="*/ 311897 w 514915"/>
                <a:gd name="connsiteY247" fmla="*/ 223584 h 376762"/>
                <a:gd name="connsiteX248" fmla="*/ 318163 w 514915"/>
                <a:gd name="connsiteY248" fmla="*/ 231675 h 376762"/>
                <a:gd name="connsiteX249" fmla="*/ 316042 w 514915"/>
                <a:gd name="connsiteY249" fmla="*/ 234883 h 376762"/>
                <a:gd name="connsiteX250" fmla="*/ 311897 w 514915"/>
                <a:gd name="connsiteY250" fmla="*/ 236511 h 376762"/>
                <a:gd name="connsiteX251" fmla="*/ 309726 w 514915"/>
                <a:gd name="connsiteY251" fmla="*/ 238090 h 376762"/>
                <a:gd name="connsiteX252" fmla="*/ 309726 w 514915"/>
                <a:gd name="connsiteY252" fmla="*/ 246132 h 376762"/>
                <a:gd name="connsiteX253" fmla="*/ 318163 w 514915"/>
                <a:gd name="connsiteY253" fmla="*/ 254224 h 376762"/>
                <a:gd name="connsiteX254" fmla="*/ 326502 w 514915"/>
                <a:gd name="connsiteY254" fmla="*/ 259158 h 376762"/>
                <a:gd name="connsiteX255" fmla="*/ 332817 w 514915"/>
                <a:gd name="connsiteY255" fmla="*/ 254224 h 376762"/>
                <a:gd name="connsiteX256" fmla="*/ 341156 w 514915"/>
                <a:gd name="connsiteY256" fmla="*/ 250968 h 376762"/>
                <a:gd name="connsiteX257" fmla="*/ 345349 w 514915"/>
                <a:gd name="connsiteY257" fmla="*/ 254224 h 376762"/>
                <a:gd name="connsiteX258" fmla="*/ 349544 w 514915"/>
                <a:gd name="connsiteY258" fmla="*/ 257431 h 376762"/>
                <a:gd name="connsiteX259" fmla="*/ 355859 w 514915"/>
                <a:gd name="connsiteY259" fmla="*/ 259059 h 376762"/>
                <a:gd name="connsiteX260" fmla="*/ 353688 w 514915"/>
                <a:gd name="connsiteY260" fmla="*/ 262266 h 376762"/>
                <a:gd name="connsiteX261" fmla="*/ 345349 w 514915"/>
                <a:gd name="connsiteY261" fmla="*/ 263845 h 376762"/>
                <a:gd name="connsiteX262" fmla="*/ 339084 w 514915"/>
                <a:gd name="connsiteY262" fmla="*/ 273713 h 376762"/>
                <a:gd name="connsiteX263" fmla="*/ 339084 w 514915"/>
                <a:gd name="connsiteY263" fmla="*/ 278647 h 376762"/>
                <a:gd name="connsiteX264" fmla="*/ 332817 w 514915"/>
                <a:gd name="connsiteY264" fmla="*/ 291575 h 376762"/>
                <a:gd name="connsiteX265" fmla="*/ 328574 w 514915"/>
                <a:gd name="connsiteY265" fmla="*/ 293153 h 376762"/>
                <a:gd name="connsiteX266" fmla="*/ 322308 w 514915"/>
                <a:gd name="connsiteY266" fmla="*/ 296361 h 376762"/>
                <a:gd name="connsiteX267" fmla="*/ 318163 w 514915"/>
                <a:gd name="connsiteY267" fmla="*/ 301295 h 376762"/>
                <a:gd name="connsiteX268" fmla="*/ 318163 w 514915"/>
                <a:gd name="connsiteY268" fmla="*/ 306229 h 376762"/>
                <a:gd name="connsiteX269" fmla="*/ 311897 w 514915"/>
                <a:gd name="connsiteY269" fmla="*/ 311163 h 376762"/>
                <a:gd name="connsiteX270" fmla="*/ 307654 w 514915"/>
                <a:gd name="connsiteY270" fmla="*/ 309584 h 376762"/>
                <a:gd name="connsiteX271" fmla="*/ 305581 w 514915"/>
                <a:gd name="connsiteY271" fmla="*/ 304650 h 376762"/>
                <a:gd name="connsiteX272" fmla="*/ 309726 w 514915"/>
                <a:gd name="connsiteY272" fmla="*/ 299716 h 376762"/>
                <a:gd name="connsiteX273" fmla="*/ 307654 w 514915"/>
                <a:gd name="connsiteY273" fmla="*/ 293252 h 376762"/>
                <a:gd name="connsiteX274" fmla="*/ 311897 w 514915"/>
                <a:gd name="connsiteY274" fmla="*/ 283384 h 376762"/>
                <a:gd name="connsiteX275" fmla="*/ 311897 w 514915"/>
                <a:gd name="connsiteY275" fmla="*/ 276970 h 376762"/>
                <a:gd name="connsiteX276" fmla="*/ 307654 w 514915"/>
                <a:gd name="connsiteY276" fmla="*/ 280177 h 376762"/>
                <a:gd name="connsiteX277" fmla="*/ 303459 w 514915"/>
                <a:gd name="connsiteY277" fmla="*/ 278549 h 376762"/>
                <a:gd name="connsiteX278" fmla="*/ 299315 w 514915"/>
                <a:gd name="connsiteY278" fmla="*/ 280177 h 376762"/>
                <a:gd name="connsiteX279" fmla="*/ 295121 w 514915"/>
                <a:gd name="connsiteY279" fmla="*/ 288219 h 376762"/>
                <a:gd name="connsiteX280" fmla="*/ 290927 w 514915"/>
                <a:gd name="connsiteY280" fmla="*/ 291476 h 376762"/>
                <a:gd name="connsiteX281" fmla="*/ 284612 w 514915"/>
                <a:gd name="connsiteY281" fmla="*/ 291476 h 376762"/>
                <a:gd name="connsiteX282" fmla="*/ 278345 w 514915"/>
                <a:gd name="connsiteY282" fmla="*/ 296410 h 376762"/>
                <a:gd name="connsiteX283" fmla="*/ 272079 w 514915"/>
                <a:gd name="connsiteY283" fmla="*/ 298038 h 376762"/>
                <a:gd name="connsiteX284" fmla="*/ 265763 w 514915"/>
                <a:gd name="connsiteY284" fmla="*/ 299666 h 376762"/>
                <a:gd name="connsiteX285" fmla="*/ 263691 w 514915"/>
                <a:gd name="connsiteY285" fmla="*/ 299666 h 376762"/>
                <a:gd name="connsiteX286" fmla="*/ 261619 w 514915"/>
                <a:gd name="connsiteY286" fmla="*/ 294732 h 376762"/>
                <a:gd name="connsiteX287" fmla="*/ 263691 w 514915"/>
                <a:gd name="connsiteY287" fmla="*/ 291525 h 376762"/>
                <a:gd name="connsiteX288" fmla="*/ 263691 w 514915"/>
                <a:gd name="connsiteY288" fmla="*/ 286591 h 376762"/>
                <a:gd name="connsiteX289" fmla="*/ 267885 w 514915"/>
                <a:gd name="connsiteY289" fmla="*/ 283335 h 376762"/>
                <a:gd name="connsiteX290" fmla="*/ 270007 w 514915"/>
                <a:gd name="connsiteY290" fmla="*/ 273467 h 376762"/>
                <a:gd name="connsiteX291" fmla="*/ 276273 w 514915"/>
                <a:gd name="connsiteY291" fmla="*/ 265424 h 376762"/>
                <a:gd name="connsiteX292" fmla="*/ 276273 w 514915"/>
                <a:gd name="connsiteY292" fmla="*/ 252546 h 376762"/>
                <a:gd name="connsiteX293" fmla="*/ 270007 w 514915"/>
                <a:gd name="connsiteY293" fmla="*/ 252546 h 376762"/>
                <a:gd name="connsiteX294" fmla="*/ 263691 w 514915"/>
                <a:gd name="connsiteY294" fmla="*/ 247612 h 376762"/>
                <a:gd name="connsiteX295" fmla="*/ 223775 w 514915"/>
                <a:gd name="connsiteY295" fmla="*/ 154458 h 376762"/>
                <a:gd name="connsiteX296" fmla="*/ 225897 w 514915"/>
                <a:gd name="connsiteY296" fmla="*/ 160872 h 376762"/>
                <a:gd name="connsiteX297" fmla="*/ 230090 w 514915"/>
                <a:gd name="connsiteY297" fmla="*/ 164079 h 376762"/>
                <a:gd name="connsiteX298" fmla="*/ 236357 w 514915"/>
                <a:gd name="connsiteY298" fmla="*/ 165707 h 376762"/>
                <a:gd name="connsiteX299" fmla="*/ 242623 w 514915"/>
                <a:gd name="connsiteY299" fmla="*/ 164079 h 376762"/>
                <a:gd name="connsiteX300" fmla="*/ 242623 w 514915"/>
                <a:gd name="connsiteY300" fmla="*/ 157665 h 376762"/>
                <a:gd name="connsiteX301" fmla="*/ 238429 w 514915"/>
                <a:gd name="connsiteY301" fmla="*/ 154458 h 376762"/>
                <a:gd name="connsiteX302" fmla="*/ 225897 w 514915"/>
                <a:gd name="connsiteY302" fmla="*/ 151201 h 376762"/>
                <a:gd name="connsiteX303" fmla="*/ 223775 w 514915"/>
                <a:gd name="connsiteY303" fmla="*/ 152830 h 376762"/>
                <a:gd name="connsiteX304" fmla="*/ 238577 w 514915"/>
                <a:gd name="connsiteY304" fmla="*/ 209226 h 376762"/>
                <a:gd name="connsiteX305" fmla="*/ 242771 w 514915"/>
                <a:gd name="connsiteY305" fmla="*/ 212433 h 376762"/>
                <a:gd name="connsiteX306" fmla="*/ 251159 w 514915"/>
                <a:gd name="connsiteY306" fmla="*/ 212433 h 376762"/>
                <a:gd name="connsiteX307" fmla="*/ 253231 w 514915"/>
                <a:gd name="connsiteY307" fmla="*/ 217367 h 376762"/>
                <a:gd name="connsiteX308" fmla="*/ 255353 w 514915"/>
                <a:gd name="connsiteY308" fmla="*/ 220574 h 376762"/>
                <a:gd name="connsiteX309" fmla="*/ 255353 w 514915"/>
                <a:gd name="connsiteY309" fmla="*/ 223781 h 376762"/>
                <a:gd name="connsiteX310" fmla="*/ 259498 w 514915"/>
                <a:gd name="connsiteY310" fmla="*/ 225409 h 376762"/>
                <a:gd name="connsiteX311" fmla="*/ 255353 w 514915"/>
                <a:gd name="connsiteY311" fmla="*/ 230343 h 376762"/>
                <a:gd name="connsiteX312" fmla="*/ 261619 w 514915"/>
                <a:gd name="connsiteY312" fmla="*/ 230343 h 376762"/>
                <a:gd name="connsiteX313" fmla="*/ 263691 w 514915"/>
                <a:gd name="connsiteY313" fmla="*/ 231971 h 376762"/>
                <a:gd name="connsiteX314" fmla="*/ 267885 w 514915"/>
                <a:gd name="connsiteY314" fmla="*/ 228715 h 376762"/>
                <a:gd name="connsiteX315" fmla="*/ 276273 w 514915"/>
                <a:gd name="connsiteY315" fmla="*/ 223781 h 376762"/>
                <a:gd name="connsiteX316" fmla="*/ 280467 w 514915"/>
                <a:gd name="connsiteY316" fmla="*/ 223781 h 376762"/>
                <a:gd name="connsiteX317" fmla="*/ 286733 w 514915"/>
                <a:gd name="connsiteY317" fmla="*/ 220574 h 376762"/>
                <a:gd name="connsiteX318" fmla="*/ 284612 w 514915"/>
                <a:gd name="connsiteY318" fmla="*/ 217367 h 376762"/>
                <a:gd name="connsiteX319" fmla="*/ 286733 w 514915"/>
                <a:gd name="connsiteY319" fmla="*/ 209324 h 376762"/>
                <a:gd name="connsiteX320" fmla="*/ 290927 w 514915"/>
                <a:gd name="connsiteY320" fmla="*/ 207696 h 376762"/>
                <a:gd name="connsiteX321" fmla="*/ 293049 w 514915"/>
                <a:gd name="connsiteY321" fmla="*/ 201232 h 376762"/>
                <a:gd name="connsiteX322" fmla="*/ 290927 w 514915"/>
                <a:gd name="connsiteY322" fmla="*/ 196298 h 376762"/>
                <a:gd name="connsiteX323" fmla="*/ 284612 w 514915"/>
                <a:gd name="connsiteY323" fmla="*/ 196298 h 376762"/>
                <a:gd name="connsiteX324" fmla="*/ 282539 w 514915"/>
                <a:gd name="connsiteY324" fmla="*/ 193091 h 376762"/>
                <a:gd name="connsiteX325" fmla="*/ 278345 w 514915"/>
                <a:gd name="connsiteY325" fmla="*/ 191463 h 376762"/>
                <a:gd name="connsiteX326" fmla="*/ 276273 w 514915"/>
                <a:gd name="connsiteY326" fmla="*/ 194719 h 376762"/>
                <a:gd name="connsiteX327" fmla="*/ 265763 w 514915"/>
                <a:gd name="connsiteY327" fmla="*/ 199653 h 376762"/>
                <a:gd name="connsiteX328" fmla="*/ 263691 w 514915"/>
                <a:gd name="connsiteY328" fmla="*/ 196397 h 376762"/>
                <a:gd name="connsiteX329" fmla="*/ 261619 w 514915"/>
                <a:gd name="connsiteY329" fmla="*/ 194818 h 376762"/>
                <a:gd name="connsiteX330" fmla="*/ 255353 w 514915"/>
                <a:gd name="connsiteY330" fmla="*/ 198025 h 376762"/>
                <a:gd name="connsiteX331" fmla="*/ 255353 w 514915"/>
                <a:gd name="connsiteY331" fmla="*/ 201232 h 376762"/>
                <a:gd name="connsiteX332" fmla="*/ 253231 w 514915"/>
                <a:gd name="connsiteY332" fmla="*/ 202861 h 376762"/>
                <a:gd name="connsiteX333" fmla="*/ 246965 w 514915"/>
                <a:gd name="connsiteY333" fmla="*/ 202861 h 376762"/>
                <a:gd name="connsiteX334" fmla="*/ 242771 w 514915"/>
                <a:gd name="connsiteY334" fmla="*/ 206068 h 376762"/>
                <a:gd name="connsiteX335" fmla="*/ 37614 w 514915"/>
                <a:gd name="connsiteY335" fmla="*/ 236609 h 376762"/>
                <a:gd name="connsiteX336" fmla="*/ 33420 w 514915"/>
                <a:gd name="connsiteY336" fmla="*/ 230146 h 376762"/>
                <a:gd name="connsiteX337" fmla="*/ 31299 w 514915"/>
                <a:gd name="connsiteY337" fmla="*/ 228518 h 376762"/>
                <a:gd name="connsiteX338" fmla="*/ 29226 w 514915"/>
                <a:gd name="connsiteY338" fmla="*/ 222103 h 376762"/>
                <a:gd name="connsiteX339" fmla="*/ 22960 w 514915"/>
                <a:gd name="connsiteY339" fmla="*/ 218847 h 376762"/>
                <a:gd name="connsiteX340" fmla="*/ 16693 w 514915"/>
                <a:gd name="connsiteY340" fmla="*/ 217268 h 376762"/>
                <a:gd name="connsiteX341" fmla="*/ 12500 w 514915"/>
                <a:gd name="connsiteY341" fmla="*/ 212334 h 376762"/>
                <a:gd name="connsiteX342" fmla="*/ 12500 w 514915"/>
                <a:gd name="connsiteY342" fmla="*/ 202466 h 376762"/>
                <a:gd name="connsiteX343" fmla="*/ 8306 w 514915"/>
                <a:gd name="connsiteY343" fmla="*/ 196002 h 376762"/>
                <a:gd name="connsiteX344" fmla="*/ 4112 w 514915"/>
                <a:gd name="connsiteY344" fmla="*/ 192795 h 376762"/>
                <a:gd name="connsiteX345" fmla="*/ 4112 w 514915"/>
                <a:gd name="connsiteY345" fmla="*/ 184753 h 376762"/>
                <a:gd name="connsiteX346" fmla="*/ 6184 w 514915"/>
                <a:gd name="connsiteY346" fmla="*/ 181546 h 376762"/>
                <a:gd name="connsiteX347" fmla="*/ 10378 w 514915"/>
                <a:gd name="connsiteY347" fmla="*/ 183125 h 376762"/>
                <a:gd name="connsiteX348" fmla="*/ 18766 w 514915"/>
                <a:gd name="connsiteY348" fmla="*/ 189588 h 376762"/>
                <a:gd name="connsiteX349" fmla="*/ 18766 w 514915"/>
                <a:gd name="connsiteY349" fmla="*/ 196002 h 376762"/>
                <a:gd name="connsiteX350" fmla="*/ 16693 w 514915"/>
                <a:gd name="connsiteY350" fmla="*/ 202466 h 376762"/>
                <a:gd name="connsiteX351" fmla="*/ 22960 w 514915"/>
                <a:gd name="connsiteY351" fmla="*/ 208930 h 376762"/>
                <a:gd name="connsiteX352" fmla="*/ 27104 w 514915"/>
                <a:gd name="connsiteY352" fmla="*/ 212137 h 376762"/>
                <a:gd name="connsiteX353" fmla="*/ 29226 w 514915"/>
                <a:gd name="connsiteY353" fmla="*/ 212137 h 376762"/>
                <a:gd name="connsiteX354" fmla="*/ 31299 w 514915"/>
                <a:gd name="connsiteY354" fmla="*/ 213716 h 376762"/>
                <a:gd name="connsiteX355" fmla="*/ 33420 w 514915"/>
                <a:gd name="connsiteY355" fmla="*/ 213716 h 376762"/>
                <a:gd name="connsiteX356" fmla="*/ 35542 w 514915"/>
                <a:gd name="connsiteY356" fmla="*/ 220179 h 376762"/>
                <a:gd name="connsiteX357" fmla="*/ 41808 w 514915"/>
                <a:gd name="connsiteY357" fmla="*/ 228222 h 376762"/>
                <a:gd name="connsiteX358" fmla="*/ 43880 w 514915"/>
                <a:gd name="connsiteY358" fmla="*/ 233156 h 376762"/>
                <a:gd name="connsiteX359" fmla="*/ 41808 w 514915"/>
                <a:gd name="connsiteY359" fmla="*/ 238090 h 376762"/>
                <a:gd name="connsiteX360" fmla="*/ 39686 w 514915"/>
                <a:gd name="connsiteY360" fmla="*/ 238090 h 376762"/>
                <a:gd name="connsiteX361" fmla="*/ 37466 w 514915"/>
                <a:gd name="connsiteY361" fmla="*/ 236609 h 376762"/>
                <a:gd name="connsiteX362" fmla="*/ 171573 w 514915"/>
                <a:gd name="connsiteY362" fmla="*/ 376736 h 376762"/>
                <a:gd name="connsiteX363" fmla="*/ 167428 w 514915"/>
                <a:gd name="connsiteY363" fmla="*/ 373529 h 376762"/>
                <a:gd name="connsiteX364" fmla="*/ 165306 w 514915"/>
                <a:gd name="connsiteY364" fmla="*/ 373529 h 376762"/>
                <a:gd name="connsiteX365" fmla="*/ 163235 w 514915"/>
                <a:gd name="connsiteY365" fmla="*/ 376736 h 376762"/>
                <a:gd name="connsiteX366" fmla="*/ 161162 w 514915"/>
                <a:gd name="connsiteY366" fmla="*/ 376736 h 376762"/>
                <a:gd name="connsiteX367" fmla="*/ 158991 w 514915"/>
                <a:gd name="connsiteY367" fmla="*/ 371802 h 376762"/>
                <a:gd name="connsiteX368" fmla="*/ 161162 w 514915"/>
                <a:gd name="connsiteY368" fmla="*/ 363760 h 376762"/>
                <a:gd name="connsiteX369" fmla="*/ 158991 w 514915"/>
                <a:gd name="connsiteY369" fmla="*/ 362131 h 376762"/>
                <a:gd name="connsiteX370" fmla="*/ 154846 w 514915"/>
                <a:gd name="connsiteY370" fmla="*/ 360503 h 376762"/>
                <a:gd name="connsiteX371" fmla="*/ 144386 w 514915"/>
                <a:gd name="connsiteY371" fmla="*/ 350635 h 376762"/>
                <a:gd name="connsiteX372" fmla="*/ 144386 w 514915"/>
                <a:gd name="connsiteY372" fmla="*/ 347428 h 376762"/>
                <a:gd name="connsiteX373" fmla="*/ 150653 w 514915"/>
                <a:gd name="connsiteY373" fmla="*/ 342494 h 376762"/>
                <a:gd name="connsiteX374" fmla="*/ 152725 w 514915"/>
                <a:gd name="connsiteY374" fmla="*/ 342494 h 376762"/>
                <a:gd name="connsiteX375" fmla="*/ 154846 w 514915"/>
                <a:gd name="connsiteY375" fmla="*/ 340915 h 376762"/>
                <a:gd name="connsiteX376" fmla="*/ 156919 w 514915"/>
                <a:gd name="connsiteY376" fmla="*/ 335981 h 376762"/>
                <a:gd name="connsiteX377" fmla="*/ 154846 w 514915"/>
                <a:gd name="connsiteY377" fmla="*/ 334353 h 376762"/>
                <a:gd name="connsiteX378" fmla="*/ 150653 w 514915"/>
                <a:gd name="connsiteY378" fmla="*/ 335981 h 376762"/>
                <a:gd name="connsiteX379" fmla="*/ 148580 w 514915"/>
                <a:gd name="connsiteY379" fmla="*/ 332724 h 376762"/>
                <a:gd name="connsiteX380" fmla="*/ 144386 w 514915"/>
                <a:gd name="connsiteY380" fmla="*/ 332724 h 376762"/>
                <a:gd name="connsiteX381" fmla="*/ 142314 w 514915"/>
                <a:gd name="connsiteY381" fmla="*/ 337658 h 376762"/>
                <a:gd name="connsiteX382" fmla="*/ 133877 w 514915"/>
                <a:gd name="connsiteY382" fmla="*/ 339287 h 376762"/>
                <a:gd name="connsiteX383" fmla="*/ 127610 w 514915"/>
                <a:gd name="connsiteY383" fmla="*/ 334353 h 376762"/>
                <a:gd name="connsiteX384" fmla="*/ 125538 w 514915"/>
                <a:gd name="connsiteY384" fmla="*/ 329419 h 376762"/>
                <a:gd name="connsiteX385" fmla="*/ 123466 w 514915"/>
                <a:gd name="connsiteY385" fmla="*/ 329419 h 376762"/>
                <a:gd name="connsiteX386" fmla="*/ 119272 w 514915"/>
                <a:gd name="connsiteY386" fmla="*/ 324485 h 376762"/>
                <a:gd name="connsiteX387" fmla="*/ 112956 w 514915"/>
                <a:gd name="connsiteY387" fmla="*/ 324485 h 376762"/>
                <a:gd name="connsiteX388" fmla="*/ 110885 w 514915"/>
                <a:gd name="connsiteY388" fmla="*/ 321278 h 376762"/>
                <a:gd name="connsiteX389" fmla="*/ 110885 w 514915"/>
                <a:gd name="connsiteY389" fmla="*/ 318021 h 376762"/>
                <a:gd name="connsiteX390" fmla="*/ 106690 w 514915"/>
                <a:gd name="connsiteY390" fmla="*/ 314814 h 376762"/>
                <a:gd name="connsiteX391" fmla="*/ 102496 w 514915"/>
                <a:gd name="connsiteY391" fmla="*/ 314814 h 376762"/>
                <a:gd name="connsiteX392" fmla="*/ 102496 w 514915"/>
                <a:gd name="connsiteY392" fmla="*/ 309140 h 376762"/>
                <a:gd name="connsiteX393" fmla="*/ 96230 w 514915"/>
                <a:gd name="connsiteY393" fmla="*/ 305883 h 376762"/>
                <a:gd name="connsiteX394" fmla="*/ 96230 w 514915"/>
                <a:gd name="connsiteY394" fmla="*/ 302676 h 376762"/>
                <a:gd name="connsiteX395" fmla="*/ 94109 w 514915"/>
                <a:gd name="connsiteY395" fmla="*/ 301048 h 376762"/>
                <a:gd name="connsiteX396" fmla="*/ 96230 w 514915"/>
                <a:gd name="connsiteY396" fmla="*/ 297841 h 376762"/>
                <a:gd name="connsiteX397" fmla="*/ 96230 w 514915"/>
                <a:gd name="connsiteY397" fmla="*/ 294634 h 376762"/>
                <a:gd name="connsiteX398" fmla="*/ 92036 w 514915"/>
                <a:gd name="connsiteY398" fmla="*/ 291427 h 376762"/>
                <a:gd name="connsiteX399" fmla="*/ 92036 w 514915"/>
                <a:gd name="connsiteY399" fmla="*/ 288170 h 376762"/>
                <a:gd name="connsiteX400" fmla="*/ 100424 w 514915"/>
                <a:gd name="connsiteY400" fmla="*/ 283236 h 376762"/>
                <a:gd name="connsiteX401" fmla="*/ 104618 w 514915"/>
                <a:gd name="connsiteY401" fmla="*/ 284864 h 376762"/>
                <a:gd name="connsiteX402" fmla="*/ 108763 w 514915"/>
                <a:gd name="connsiteY402" fmla="*/ 289798 h 376762"/>
                <a:gd name="connsiteX403" fmla="*/ 110885 w 514915"/>
                <a:gd name="connsiteY403" fmla="*/ 291427 h 376762"/>
                <a:gd name="connsiteX404" fmla="*/ 112956 w 514915"/>
                <a:gd name="connsiteY404" fmla="*/ 291427 h 376762"/>
                <a:gd name="connsiteX405" fmla="*/ 115029 w 514915"/>
                <a:gd name="connsiteY405" fmla="*/ 288170 h 376762"/>
                <a:gd name="connsiteX406" fmla="*/ 121345 w 514915"/>
                <a:gd name="connsiteY406" fmla="*/ 289798 h 376762"/>
                <a:gd name="connsiteX407" fmla="*/ 125538 w 514915"/>
                <a:gd name="connsiteY407" fmla="*/ 291427 h 376762"/>
                <a:gd name="connsiteX408" fmla="*/ 129732 w 514915"/>
                <a:gd name="connsiteY408" fmla="*/ 291427 h 376762"/>
                <a:gd name="connsiteX409" fmla="*/ 142314 w 514915"/>
                <a:gd name="connsiteY409" fmla="*/ 289798 h 376762"/>
                <a:gd name="connsiteX410" fmla="*/ 142314 w 514915"/>
                <a:gd name="connsiteY410" fmla="*/ 286591 h 376762"/>
                <a:gd name="connsiteX411" fmla="*/ 135999 w 514915"/>
                <a:gd name="connsiteY411" fmla="*/ 283335 h 376762"/>
                <a:gd name="connsiteX412" fmla="*/ 129732 w 514915"/>
                <a:gd name="connsiteY412" fmla="*/ 283335 h 376762"/>
                <a:gd name="connsiteX413" fmla="*/ 121345 w 514915"/>
                <a:gd name="connsiteY413" fmla="*/ 281756 h 376762"/>
                <a:gd name="connsiteX414" fmla="*/ 115029 w 514915"/>
                <a:gd name="connsiteY414" fmla="*/ 280128 h 376762"/>
                <a:gd name="connsiteX415" fmla="*/ 115029 w 514915"/>
                <a:gd name="connsiteY415" fmla="*/ 278499 h 376762"/>
                <a:gd name="connsiteX416" fmla="*/ 119272 w 514915"/>
                <a:gd name="connsiteY416" fmla="*/ 276921 h 376762"/>
                <a:gd name="connsiteX417" fmla="*/ 125538 w 514915"/>
                <a:gd name="connsiteY417" fmla="*/ 276921 h 376762"/>
                <a:gd name="connsiteX418" fmla="*/ 135999 w 514915"/>
                <a:gd name="connsiteY418" fmla="*/ 271986 h 376762"/>
                <a:gd name="connsiteX419" fmla="*/ 142314 w 514915"/>
                <a:gd name="connsiteY419" fmla="*/ 268730 h 376762"/>
                <a:gd name="connsiteX420" fmla="*/ 152577 w 514915"/>
                <a:gd name="connsiteY420" fmla="*/ 268730 h 376762"/>
                <a:gd name="connsiteX421" fmla="*/ 156771 w 514915"/>
                <a:gd name="connsiteY421" fmla="*/ 267151 h 376762"/>
                <a:gd name="connsiteX422" fmla="*/ 158843 w 514915"/>
                <a:gd name="connsiteY422" fmla="*/ 267151 h 376762"/>
                <a:gd name="connsiteX423" fmla="*/ 161014 w 514915"/>
                <a:gd name="connsiteY423" fmla="*/ 268730 h 376762"/>
                <a:gd name="connsiteX424" fmla="*/ 161014 w 514915"/>
                <a:gd name="connsiteY424" fmla="*/ 263796 h 376762"/>
                <a:gd name="connsiteX425" fmla="*/ 165159 w 514915"/>
                <a:gd name="connsiteY425" fmla="*/ 262217 h 376762"/>
                <a:gd name="connsiteX426" fmla="*/ 165159 w 514915"/>
                <a:gd name="connsiteY426" fmla="*/ 259010 h 376762"/>
                <a:gd name="connsiteX427" fmla="*/ 163086 w 514915"/>
                <a:gd name="connsiteY427" fmla="*/ 257382 h 376762"/>
                <a:gd name="connsiteX428" fmla="*/ 156771 w 514915"/>
                <a:gd name="connsiteY428" fmla="*/ 260589 h 376762"/>
                <a:gd name="connsiteX429" fmla="*/ 152577 w 514915"/>
                <a:gd name="connsiteY429" fmla="*/ 263796 h 376762"/>
                <a:gd name="connsiteX430" fmla="*/ 135850 w 514915"/>
                <a:gd name="connsiteY430" fmla="*/ 263796 h 376762"/>
                <a:gd name="connsiteX431" fmla="*/ 133729 w 514915"/>
                <a:gd name="connsiteY431" fmla="*/ 262217 h 376762"/>
                <a:gd name="connsiteX432" fmla="*/ 127463 w 514915"/>
                <a:gd name="connsiteY432" fmla="*/ 262217 h 376762"/>
                <a:gd name="connsiteX433" fmla="*/ 125390 w 514915"/>
                <a:gd name="connsiteY433" fmla="*/ 263796 h 376762"/>
                <a:gd name="connsiteX434" fmla="*/ 123318 w 514915"/>
                <a:gd name="connsiteY434" fmla="*/ 263796 h 376762"/>
                <a:gd name="connsiteX435" fmla="*/ 119124 w 514915"/>
                <a:gd name="connsiteY435" fmla="*/ 270260 h 376762"/>
                <a:gd name="connsiteX436" fmla="*/ 108614 w 514915"/>
                <a:gd name="connsiteY436" fmla="*/ 270260 h 376762"/>
                <a:gd name="connsiteX437" fmla="*/ 104470 w 514915"/>
                <a:gd name="connsiteY437" fmla="*/ 271888 h 376762"/>
                <a:gd name="connsiteX438" fmla="*/ 98303 w 514915"/>
                <a:gd name="connsiteY438" fmla="*/ 271888 h 376762"/>
                <a:gd name="connsiteX439" fmla="*/ 91987 w 514915"/>
                <a:gd name="connsiteY439" fmla="*/ 275095 h 376762"/>
                <a:gd name="connsiteX440" fmla="*/ 87793 w 514915"/>
                <a:gd name="connsiteY440" fmla="*/ 275095 h 376762"/>
                <a:gd name="connsiteX441" fmla="*/ 85720 w 514915"/>
                <a:gd name="connsiteY441" fmla="*/ 273467 h 376762"/>
                <a:gd name="connsiteX442" fmla="*/ 85720 w 514915"/>
                <a:gd name="connsiteY442" fmla="*/ 265424 h 376762"/>
                <a:gd name="connsiteX443" fmla="*/ 83599 w 514915"/>
                <a:gd name="connsiteY443" fmla="*/ 257382 h 376762"/>
                <a:gd name="connsiteX444" fmla="*/ 83599 w 514915"/>
                <a:gd name="connsiteY444" fmla="*/ 250918 h 376762"/>
                <a:gd name="connsiteX445" fmla="*/ 87793 w 514915"/>
                <a:gd name="connsiteY445" fmla="*/ 249339 h 376762"/>
                <a:gd name="connsiteX446" fmla="*/ 91987 w 514915"/>
                <a:gd name="connsiteY446" fmla="*/ 247711 h 376762"/>
                <a:gd name="connsiteX447" fmla="*/ 96181 w 514915"/>
                <a:gd name="connsiteY447" fmla="*/ 249339 h 376762"/>
                <a:gd name="connsiteX448" fmla="*/ 96181 w 514915"/>
                <a:gd name="connsiteY448" fmla="*/ 252546 h 376762"/>
                <a:gd name="connsiteX449" fmla="*/ 98303 w 514915"/>
                <a:gd name="connsiteY449" fmla="*/ 252546 h 376762"/>
                <a:gd name="connsiteX450" fmla="*/ 100375 w 514915"/>
                <a:gd name="connsiteY450" fmla="*/ 247612 h 376762"/>
                <a:gd name="connsiteX451" fmla="*/ 106641 w 514915"/>
                <a:gd name="connsiteY451" fmla="*/ 244405 h 376762"/>
                <a:gd name="connsiteX452" fmla="*/ 110835 w 514915"/>
                <a:gd name="connsiteY452" fmla="*/ 245984 h 376762"/>
                <a:gd name="connsiteX453" fmla="*/ 114980 w 514915"/>
                <a:gd name="connsiteY453" fmla="*/ 241050 h 376762"/>
                <a:gd name="connsiteX454" fmla="*/ 121295 w 514915"/>
                <a:gd name="connsiteY454" fmla="*/ 234586 h 376762"/>
                <a:gd name="connsiteX455" fmla="*/ 127562 w 514915"/>
                <a:gd name="connsiteY455" fmla="*/ 232958 h 376762"/>
                <a:gd name="connsiteX456" fmla="*/ 125489 w 514915"/>
                <a:gd name="connsiteY456" fmla="*/ 228024 h 376762"/>
                <a:gd name="connsiteX457" fmla="*/ 127562 w 514915"/>
                <a:gd name="connsiteY457" fmla="*/ 224817 h 376762"/>
                <a:gd name="connsiteX458" fmla="*/ 138022 w 514915"/>
                <a:gd name="connsiteY458" fmla="*/ 221610 h 376762"/>
                <a:gd name="connsiteX459" fmla="*/ 148531 w 514915"/>
                <a:gd name="connsiteY459" fmla="*/ 221610 h 376762"/>
                <a:gd name="connsiteX460" fmla="*/ 154797 w 514915"/>
                <a:gd name="connsiteY460" fmla="*/ 216676 h 376762"/>
                <a:gd name="connsiteX461" fmla="*/ 161113 w 514915"/>
                <a:gd name="connsiteY461" fmla="*/ 215048 h 376762"/>
                <a:gd name="connsiteX462" fmla="*/ 165257 w 514915"/>
                <a:gd name="connsiteY462" fmla="*/ 211841 h 376762"/>
                <a:gd name="connsiteX463" fmla="*/ 165257 w 514915"/>
                <a:gd name="connsiteY463" fmla="*/ 210212 h 376762"/>
                <a:gd name="connsiteX464" fmla="*/ 161113 w 514915"/>
                <a:gd name="connsiteY464" fmla="*/ 210212 h 376762"/>
                <a:gd name="connsiteX465" fmla="*/ 154797 w 514915"/>
                <a:gd name="connsiteY465" fmla="*/ 213419 h 376762"/>
                <a:gd name="connsiteX466" fmla="*/ 150603 w 514915"/>
                <a:gd name="connsiteY466" fmla="*/ 215048 h 376762"/>
                <a:gd name="connsiteX467" fmla="*/ 144337 w 514915"/>
                <a:gd name="connsiteY467" fmla="*/ 211841 h 376762"/>
                <a:gd name="connsiteX468" fmla="*/ 144337 w 514915"/>
                <a:gd name="connsiteY468" fmla="*/ 208633 h 376762"/>
                <a:gd name="connsiteX469" fmla="*/ 148531 w 514915"/>
                <a:gd name="connsiteY469" fmla="*/ 202170 h 376762"/>
                <a:gd name="connsiteX470" fmla="*/ 148531 w 514915"/>
                <a:gd name="connsiteY470" fmla="*/ 195706 h 376762"/>
                <a:gd name="connsiteX471" fmla="*/ 146409 w 514915"/>
                <a:gd name="connsiteY471" fmla="*/ 190772 h 376762"/>
                <a:gd name="connsiteX472" fmla="*/ 142265 w 514915"/>
                <a:gd name="connsiteY472" fmla="*/ 190772 h 376762"/>
                <a:gd name="connsiteX473" fmla="*/ 140143 w 514915"/>
                <a:gd name="connsiteY473" fmla="*/ 194029 h 376762"/>
                <a:gd name="connsiteX474" fmla="*/ 140143 w 514915"/>
                <a:gd name="connsiteY474" fmla="*/ 200443 h 376762"/>
                <a:gd name="connsiteX475" fmla="*/ 138022 w 514915"/>
                <a:gd name="connsiteY475" fmla="*/ 206907 h 376762"/>
                <a:gd name="connsiteX476" fmla="*/ 127562 w 514915"/>
                <a:gd name="connsiteY476" fmla="*/ 214949 h 376762"/>
                <a:gd name="connsiteX477" fmla="*/ 123417 w 514915"/>
                <a:gd name="connsiteY477" fmla="*/ 216577 h 376762"/>
                <a:gd name="connsiteX478" fmla="*/ 119223 w 514915"/>
                <a:gd name="connsiteY478" fmla="*/ 214949 h 376762"/>
                <a:gd name="connsiteX479" fmla="*/ 117101 w 514915"/>
                <a:gd name="connsiteY479" fmla="*/ 206907 h 376762"/>
                <a:gd name="connsiteX480" fmla="*/ 119223 w 514915"/>
                <a:gd name="connsiteY480" fmla="*/ 203699 h 376762"/>
                <a:gd name="connsiteX481" fmla="*/ 123417 w 514915"/>
                <a:gd name="connsiteY481" fmla="*/ 200443 h 376762"/>
                <a:gd name="connsiteX482" fmla="*/ 123417 w 514915"/>
                <a:gd name="connsiteY482" fmla="*/ 195509 h 376762"/>
                <a:gd name="connsiteX483" fmla="*/ 121295 w 514915"/>
                <a:gd name="connsiteY483" fmla="*/ 192302 h 376762"/>
                <a:gd name="connsiteX484" fmla="*/ 119223 w 514915"/>
                <a:gd name="connsiteY484" fmla="*/ 185838 h 376762"/>
                <a:gd name="connsiteX485" fmla="*/ 117101 w 514915"/>
                <a:gd name="connsiteY485" fmla="*/ 182631 h 376762"/>
                <a:gd name="connsiteX486" fmla="*/ 114980 w 514915"/>
                <a:gd name="connsiteY486" fmla="*/ 182631 h 376762"/>
                <a:gd name="connsiteX487" fmla="*/ 112907 w 514915"/>
                <a:gd name="connsiteY487" fmla="*/ 185838 h 376762"/>
                <a:gd name="connsiteX488" fmla="*/ 112907 w 514915"/>
                <a:gd name="connsiteY488" fmla="*/ 200344 h 376762"/>
                <a:gd name="connsiteX489" fmla="*/ 108713 w 514915"/>
                <a:gd name="connsiteY489" fmla="*/ 203601 h 376762"/>
                <a:gd name="connsiteX490" fmla="*/ 106641 w 514915"/>
                <a:gd name="connsiteY490" fmla="*/ 200344 h 376762"/>
                <a:gd name="connsiteX491" fmla="*/ 108713 w 514915"/>
                <a:gd name="connsiteY491" fmla="*/ 198765 h 376762"/>
                <a:gd name="connsiteX492" fmla="*/ 104569 w 514915"/>
                <a:gd name="connsiteY492" fmla="*/ 192302 h 376762"/>
                <a:gd name="connsiteX493" fmla="*/ 100375 w 514915"/>
                <a:gd name="connsiteY493" fmla="*/ 190674 h 376762"/>
                <a:gd name="connsiteX494" fmla="*/ 98303 w 514915"/>
                <a:gd name="connsiteY494" fmla="*/ 192302 h 376762"/>
                <a:gd name="connsiteX495" fmla="*/ 98303 w 514915"/>
                <a:gd name="connsiteY495" fmla="*/ 197236 h 376762"/>
                <a:gd name="connsiteX496" fmla="*/ 100375 w 514915"/>
                <a:gd name="connsiteY496" fmla="*/ 202170 h 376762"/>
                <a:gd name="connsiteX497" fmla="*/ 100375 w 514915"/>
                <a:gd name="connsiteY497" fmla="*/ 208633 h 376762"/>
                <a:gd name="connsiteX498" fmla="*/ 102447 w 514915"/>
                <a:gd name="connsiteY498" fmla="*/ 213568 h 376762"/>
                <a:gd name="connsiteX499" fmla="*/ 106641 w 514915"/>
                <a:gd name="connsiteY499" fmla="*/ 220031 h 376762"/>
                <a:gd name="connsiteX500" fmla="*/ 106641 w 514915"/>
                <a:gd name="connsiteY500" fmla="*/ 223238 h 376762"/>
                <a:gd name="connsiteX501" fmla="*/ 100375 w 514915"/>
                <a:gd name="connsiteY501" fmla="*/ 223238 h 376762"/>
                <a:gd name="connsiteX502" fmla="*/ 96181 w 514915"/>
                <a:gd name="connsiteY502" fmla="*/ 224866 h 376762"/>
                <a:gd name="connsiteX503" fmla="*/ 94059 w 514915"/>
                <a:gd name="connsiteY503" fmla="*/ 231330 h 376762"/>
                <a:gd name="connsiteX504" fmla="*/ 94059 w 514915"/>
                <a:gd name="connsiteY504" fmla="*/ 236264 h 376762"/>
                <a:gd name="connsiteX505" fmla="*/ 89866 w 514915"/>
                <a:gd name="connsiteY505" fmla="*/ 239471 h 376762"/>
                <a:gd name="connsiteX506" fmla="*/ 68698 w 514915"/>
                <a:gd name="connsiteY506" fmla="*/ 239471 h 376762"/>
                <a:gd name="connsiteX507" fmla="*/ 68698 w 514915"/>
                <a:gd name="connsiteY507" fmla="*/ 236264 h 376762"/>
                <a:gd name="connsiteX508" fmla="*/ 70771 w 514915"/>
                <a:gd name="connsiteY508" fmla="*/ 233008 h 376762"/>
                <a:gd name="connsiteX509" fmla="*/ 68698 w 514915"/>
                <a:gd name="connsiteY509" fmla="*/ 230195 h 376762"/>
                <a:gd name="connsiteX510" fmla="*/ 60360 w 514915"/>
                <a:gd name="connsiteY510" fmla="*/ 222153 h 376762"/>
                <a:gd name="connsiteX511" fmla="*/ 54094 w 514915"/>
                <a:gd name="connsiteY511" fmla="*/ 220524 h 376762"/>
                <a:gd name="connsiteX512" fmla="*/ 51972 w 514915"/>
                <a:gd name="connsiteY512" fmla="*/ 222153 h 376762"/>
                <a:gd name="connsiteX513" fmla="*/ 47778 w 514915"/>
                <a:gd name="connsiteY513" fmla="*/ 215689 h 376762"/>
                <a:gd name="connsiteX514" fmla="*/ 47778 w 514915"/>
                <a:gd name="connsiteY514" fmla="*/ 210755 h 376762"/>
                <a:gd name="connsiteX515" fmla="*/ 56166 w 514915"/>
                <a:gd name="connsiteY515" fmla="*/ 210755 h 376762"/>
                <a:gd name="connsiteX516" fmla="*/ 60360 w 514915"/>
                <a:gd name="connsiteY516" fmla="*/ 207548 h 376762"/>
                <a:gd name="connsiteX517" fmla="*/ 58238 w 514915"/>
                <a:gd name="connsiteY517" fmla="*/ 205920 h 376762"/>
                <a:gd name="connsiteX518" fmla="*/ 49851 w 514915"/>
                <a:gd name="connsiteY518" fmla="*/ 205920 h 376762"/>
                <a:gd name="connsiteX519" fmla="*/ 45656 w 514915"/>
                <a:gd name="connsiteY519" fmla="*/ 204341 h 376762"/>
                <a:gd name="connsiteX520" fmla="*/ 43584 w 514915"/>
                <a:gd name="connsiteY520" fmla="*/ 201084 h 376762"/>
                <a:gd name="connsiteX521" fmla="*/ 39390 w 514915"/>
                <a:gd name="connsiteY521" fmla="*/ 197877 h 376762"/>
                <a:gd name="connsiteX522" fmla="*/ 33124 w 514915"/>
                <a:gd name="connsiteY522" fmla="*/ 194670 h 376762"/>
                <a:gd name="connsiteX523" fmla="*/ 28930 w 514915"/>
                <a:gd name="connsiteY523" fmla="*/ 191414 h 376762"/>
                <a:gd name="connsiteX524" fmla="*/ 31002 w 514915"/>
                <a:gd name="connsiteY524" fmla="*/ 188207 h 376762"/>
                <a:gd name="connsiteX525" fmla="*/ 31002 w 514915"/>
                <a:gd name="connsiteY525" fmla="*/ 186578 h 376762"/>
                <a:gd name="connsiteX526" fmla="*/ 28930 w 514915"/>
                <a:gd name="connsiteY526" fmla="*/ 183371 h 376762"/>
                <a:gd name="connsiteX527" fmla="*/ 22664 w 514915"/>
                <a:gd name="connsiteY527" fmla="*/ 181792 h 376762"/>
                <a:gd name="connsiteX528" fmla="*/ 18470 w 514915"/>
                <a:gd name="connsiteY528" fmla="*/ 175329 h 376762"/>
                <a:gd name="connsiteX529" fmla="*/ 18470 w 514915"/>
                <a:gd name="connsiteY529" fmla="*/ 172122 h 376762"/>
                <a:gd name="connsiteX530" fmla="*/ 20542 w 514915"/>
                <a:gd name="connsiteY530" fmla="*/ 170493 h 376762"/>
                <a:gd name="connsiteX531" fmla="*/ 31002 w 514915"/>
                <a:gd name="connsiteY531" fmla="*/ 176957 h 376762"/>
                <a:gd name="connsiteX532" fmla="*/ 33124 w 514915"/>
                <a:gd name="connsiteY532" fmla="*/ 180164 h 376762"/>
                <a:gd name="connsiteX533" fmla="*/ 33124 w 514915"/>
                <a:gd name="connsiteY533" fmla="*/ 181792 h 376762"/>
                <a:gd name="connsiteX534" fmla="*/ 35245 w 514915"/>
                <a:gd name="connsiteY534" fmla="*/ 181792 h 376762"/>
                <a:gd name="connsiteX535" fmla="*/ 41512 w 514915"/>
                <a:gd name="connsiteY535" fmla="*/ 178536 h 376762"/>
                <a:gd name="connsiteX536" fmla="*/ 41512 w 514915"/>
                <a:gd name="connsiteY536" fmla="*/ 173602 h 376762"/>
                <a:gd name="connsiteX537" fmla="*/ 39390 w 514915"/>
                <a:gd name="connsiteY537" fmla="*/ 172023 h 376762"/>
                <a:gd name="connsiteX538" fmla="*/ 35245 w 514915"/>
                <a:gd name="connsiteY538" fmla="*/ 172023 h 376762"/>
                <a:gd name="connsiteX539" fmla="*/ 31002 w 514915"/>
                <a:gd name="connsiteY539" fmla="*/ 170395 h 376762"/>
                <a:gd name="connsiteX540" fmla="*/ 31002 w 514915"/>
                <a:gd name="connsiteY540" fmla="*/ 168766 h 376762"/>
                <a:gd name="connsiteX541" fmla="*/ 26808 w 514915"/>
                <a:gd name="connsiteY541" fmla="*/ 163832 h 376762"/>
                <a:gd name="connsiteX542" fmla="*/ 24736 w 514915"/>
                <a:gd name="connsiteY542" fmla="*/ 160625 h 376762"/>
                <a:gd name="connsiteX543" fmla="*/ 26808 w 514915"/>
                <a:gd name="connsiteY543" fmla="*/ 159046 h 376762"/>
                <a:gd name="connsiteX544" fmla="*/ 29226 w 514915"/>
                <a:gd name="connsiteY544" fmla="*/ 151251 h 376762"/>
                <a:gd name="connsiteX545" fmla="*/ 33420 w 514915"/>
                <a:gd name="connsiteY545" fmla="*/ 146317 h 376762"/>
                <a:gd name="connsiteX546" fmla="*/ 31299 w 514915"/>
                <a:gd name="connsiteY546" fmla="*/ 144738 h 376762"/>
                <a:gd name="connsiteX547" fmla="*/ 27104 w 514915"/>
                <a:gd name="connsiteY547" fmla="*/ 146317 h 376762"/>
                <a:gd name="connsiteX548" fmla="*/ 22960 w 514915"/>
                <a:gd name="connsiteY548" fmla="*/ 143110 h 376762"/>
                <a:gd name="connsiteX549" fmla="*/ 20838 w 514915"/>
                <a:gd name="connsiteY549" fmla="*/ 144738 h 376762"/>
                <a:gd name="connsiteX550" fmla="*/ 18766 w 514915"/>
                <a:gd name="connsiteY550" fmla="*/ 151152 h 376762"/>
                <a:gd name="connsiteX551" fmla="*/ 20838 w 514915"/>
                <a:gd name="connsiteY551" fmla="*/ 156086 h 376762"/>
                <a:gd name="connsiteX552" fmla="*/ 16693 w 514915"/>
                <a:gd name="connsiteY552" fmla="*/ 159342 h 376762"/>
                <a:gd name="connsiteX553" fmla="*/ 12500 w 514915"/>
                <a:gd name="connsiteY553" fmla="*/ 162550 h 376762"/>
                <a:gd name="connsiteX554" fmla="*/ 10378 w 514915"/>
                <a:gd name="connsiteY554" fmla="*/ 156086 h 376762"/>
                <a:gd name="connsiteX555" fmla="*/ 4112 w 514915"/>
                <a:gd name="connsiteY555" fmla="*/ 148044 h 376762"/>
                <a:gd name="connsiteX556" fmla="*/ 1990 w 514915"/>
                <a:gd name="connsiteY556" fmla="*/ 140001 h 376762"/>
                <a:gd name="connsiteX557" fmla="*/ -82 w 514915"/>
                <a:gd name="connsiteY557" fmla="*/ 133537 h 376762"/>
                <a:gd name="connsiteX558" fmla="*/ -82 w 514915"/>
                <a:gd name="connsiteY558" fmla="*/ 127123 h 376762"/>
                <a:gd name="connsiteX559" fmla="*/ 4112 w 514915"/>
                <a:gd name="connsiteY559" fmla="*/ 127123 h 376762"/>
                <a:gd name="connsiteX560" fmla="*/ 10378 w 514915"/>
                <a:gd name="connsiteY560" fmla="*/ 122189 h 376762"/>
                <a:gd name="connsiteX561" fmla="*/ 12500 w 514915"/>
                <a:gd name="connsiteY561" fmla="*/ 122189 h 376762"/>
                <a:gd name="connsiteX562" fmla="*/ 12500 w 514915"/>
                <a:gd name="connsiteY562" fmla="*/ 115726 h 376762"/>
                <a:gd name="connsiteX563" fmla="*/ 10378 w 514915"/>
                <a:gd name="connsiteY563" fmla="*/ 112518 h 376762"/>
                <a:gd name="connsiteX564" fmla="*/ 10378 w 514915"/>
                <a:gd name="connsiteY564" fmla="*/ 106055 h 376762"/>
                <a:gd name="connsiteX565" fmla="*/ 16693 w 514915"/>
                <a:gd name="connsiteY565" fmla="*/ 101121 h 376762"/>
                <a:gd name="connsiteX566" fmla="*/ 20838 w 514915"/>
                <a:gd name="connsiteY566" fmla="*/ 101121 h 376762"/>
                <a:gd name="connsiteX567" fmla="*/ 25032 w 514915"/>
                <a:gd name="connsiteY567" fmla="*/ 109163 h 376762"/>
                <a:gd name="connsiteX568" fmla="*/ 29226 w 514915"/>
                <a:gd name="connsiteY568" fmla="*/ 114097 h 376762"/>
                <a:gd name="connsiteX569" fmla="*/ 33420 w 514915"/>
                <a:gd name="connsiteY569" fmla="*/ 115726 h 376762"/>
                <a:gd name="connsiteX570" fmla="*/ 35542 w 514915"/>
                <a:gd name="connsiteY570" fmla="*/ 112518 h 376762"/>
                <a:gd name="connsiteX571" fmla="*/ 29226 w 514915"/>
                <a:gd name="connsiteY571" fmla="*/ 104476 h 376762"/>
                <a:gd name="connsiteX572" fmla="*/ 29226 w 514915"/>
                <a:gd name="connsiteY572" fmla="*/ 98012 h 376762"/>
                <a:gd name="connsiteX573" fmla="*/ 31299 w 514915"/>
                <a:gd name="connsiteY573" fmla="*/ 98012 h 376762"/>
                <a:gd name="connsiteX574" fmla="*/ 35542 w 514915"/>
                <a:gd name="connsiteY574" fmla="*/ 99641 h 376762"/>
                <a:gd name="connsiteX575" fmla="*/ 35542 w 514915"/>
                <a:gd name="connsiteY575" fmla="*/ 102848 h 376762"/>
                <a:gd name="connsiteX576" fmla="*/ 39686 w 514915"/>
                <a:gd name="connsiteY576" fmla="*/ 106055 h 376762"/>
                <a:gd name="connsiteX577" fmla="*/ 43880 w 514915"/>
                <a:gd name="connsiteY577" fmla="*/ 102848 h 376762"/>
                <a:gd name="connsiteX578" fmla="*/ 58682 w 514915"/>
                <a:gd name="connsiteY578" fmla="*/ 92980 h 376762"/>
                <a:gd name="connsiteX579" fmla="*/ 67070 w 514915"/>
                <a:gd name="connsiteY579" fmla="*/ 91351 h 376762"/>
                <a:gd name="connsiteX580" fmla="*/ 71215 w 514915"/>
                <a:gd name="connsiteY580" fmla="*/ 94608 h 376762"/>
                <a:gd name="connsiteX581" fmla="*/ 75458 w 514915"/>
                <a:gd name="connsiteY581" fmla="*/ 101022 h 376762"/>
                <a:gd name="connsiteX582" fmla="*/ 73336 w 514915"/>
                <a:gd name="connsiteY582" fmla="*/ 105956 h 376762"/>
                <a:gd name="connsiteX583" fmla="*/ 69142 w 514915"/>
                <a:gd name="connsiteY583" fmla="*/ 110890 h 376762"/>
                <a:gd name="connsiteX584" fmla="*/ 64948 w 514915"/>
                <a:gd name="connsiteY584" fmla="*/ 109262 h 376762"/>
                <a:gd name="connsiteX585" fmla="*/ 62876 w 514915"/>
                <a:gd name="connsiteY585" fmla="*/ 107683 h 376762"/>
                <a:gd name="connsiteX586" fmla="*/ 60804 w 514915"/>
                <a:gd name="connsiteY586" fmla="*/ 109262 h 376762"/>
                <a:gd name="connsiteX587" fmla="*/ 52416 w 514915"/>
                <a:gd name="connsiteY587" fmla="*/ 114196 h 376762"/>
                <a:gd name="connsiteX588" fmla="*/ 50294 w 514915"/>
                <a:gd name="connsiteY588" fmla="*/ 117452 h 376762"/>
                <a:gd name="connsiteX589" fmla="*/ 48222 w 514915"/>
                <a:gd name="connsiteY589" fmla="*/ 117452 h 376762"/>
                <a:gd name="connsiteX590" fmla="*/ 46101 w 514915"/>
                <a:gd name="connsiteY590" fmla="*/ 120660 h 376762"/>
                <a:gd name="connsiteX591" fmla="*/ 50294 w 514915"/>
                <a:gd name="connsiteY591" fmla="*/ 123867 h 376762"/>
                <a:gd name="connsiteX592" fmla="*/ 56610 w 514915"/>
                <a:gd name="connsiteY592" fmla="*/ 120660 h 376762"/>
                <a:gd name="connsiteX593" fmla="*/ 64948 w 514915"/>
                <a:gd name="connsiteY593" fmla="*/ 117452 h 376762"/>
                <a:gd name="connsiteX594" fmla="*/ 67070 w 514915"/>
                <a:gd name="connsiteY594" fmla="*/ 119031 h 376762"/>
                <a:gd name="connsiteX595" fmla="*/ 67070 w 514915"/>
                <a:gd name="connsiteY595" fmla="*/ 120660 h 376762"/>
                <a:gd name="connsiteX596" fmla="*/ 60804 w 514915"/>
                <a:gd name="connsiteY596" fmla="*/ 125594 h 376762"/>
                <a:gd name="connsiteX597" fmla="*/ 60804 w 514915"/>
                <a:gd name="connsiteY597" fmla="*/ 128801 h 376762"/>
                <a:gd name="connsiteX598" fmla="*/ 64948 w 514915"/>
                <a:gd name="connsiteY598" fmla="*/ 130429 h 376762"/>
                <a:gd name="connsiteX599" fmla="*/ 67070 w 514915"/>
                <a:gd name="connsiteY599" fmla="*/ 127222 h 376762"/>
                <a:gd name="connsiteX600" fmla="*/ 69142 w 514915"/>
                <a:gd name="connsiteY600" fmla="*/ 128801 h 376762"/>
                <a:gd name="connsiteX601" fmla="*/ 71215 w 514915"/>
                <a:gd name="connsiteY601" fmla="*/ 132008 h 376762"/>
                <a:gd name="connsiteX602" fmla="*/ 75458 w 514915"/>
                <a:gd name="connsiteY602" fmla="*/ 133636 h 376762"/>
                <a:gd name="connsiteX603" fmla="*/ 73336 w 514915"/>
                <a:gd name="connsiteY603" fmla="*/ 138570 h 376762"/>
                <a:gd name="connsiteX604" fmla="*/ 75458 w 514915"/>
                <a:gd name="connsiteY604" fmla="*/ 145034 h 376762"/>
                <a:gd name="connsiteX605" fmla="*/ 79652 w 514915"/>
                <a:gd name="connsiteY605" fmla="*/ 148241 h 376762"/>
                <a:gd name="connsiteX606" fmla="*/ 81724 w 514915"/>
                <a:gd name="connsiteY606" fmla="*/ 149869 h 376762"/>
                <a:gd name="connsiteX607" fmla="*/ 81724 w 514915"/>
                <a:gd name="connsiteY607" fmla="*/ 141383 h 376762"/>
                <a:gd name="connsiteX608" fmla="*/ 77530 w 514915"/>
                <a:gd name="connsiteY608" fmla="*/ 133340 h 376762"/>
                <a:gd name="connsiteX609" fmla="*/ 75458 w 514915"/>
                <a:gd name="connsiteY609" fmla="*/ 126926 h 376762"/>
                <a:gd name="connsiteX610" fmla="*/ 77530 w 514915"/>
                <a:gd name="connsiteY610" fmla="*/ 120462 h 376762"/>
                <a:gd name="connsiteX611" fmla="*/ 83797 w 514915"/>
                <a:gd name="connsiteY611" fmla="*/ 110594 h 376762"/>
                <a:gd name="connsiteX612" fmla="*/ 85918 w 514915"/>
                <a:gd name="connsiteY612" fmla="*/ 104180 h 376762"/>
                <a:gd name="connsiteX613" fmla="*/ 90062 w 514915"/>
                <a:gd name="connsiteY613" fmla="*/ 100923 h 376762"/>
                <a:gd name="connsiteX614" fmla="*/ 92184 w 514915"/>
                <a:gd name="connsiteY614" fmla="*/ 102552 h 376762"/>
                <a:gd name="connsiteX615" fmla="*/ 98500 w 514915"/>
                <a:gd name="connsiteY615" fmla="*/ 108966 h 376762"/>
                <a:gd name="connsiteX616" fmla="*/ 106838 w 514915"/>
                <a:gd name="connsiteY616" fmla="*/ 113900 h 376762"/>
                <a:gd name="connsiteX617" fmla="*/ 106838 w 514915"/>
                <a:gd name="connsiteY617" fmla="*/ 128406 h 376762"/>
                <a:gd name="connsiteX618" fmla="*/ 113105 w 514915"/>
                <a:gd name="connsiteY618" fmla="*/ 141284 h 376762"/>
                <a:gd name="connsiteX619" fmla="*/ 113105 w 514915"/>
                <a:gd name="connsiteY619" fmla="*/ 146218 h 376762"/>
                <a:gd name="connsiteX620" fmla="*/ 111032 w 514915"/>
                <a:gd name="connsiteY620" fmla="*/ 151152 h 376762"/>
                <a:gd name="connsiteX621" fmla="*/ 106838 w 514915"/>
                <a:gd name="connsiteY621" fmla="*/ 154408 h 376762"/>
                <a:gd name="connsiteX622" fmla="*/ 106838 w 514915"/>
                <a:gd name="connsiteY622" fmla="*/ 157616 h 376762"/>
                <a:gd name="connsiteX623" fmla="*/ 108911 w 514915"/>
                <a:gd name="connsiteY623" fmla="*/ 157616 h 376762"/>
                <a:gd name="connsiteX624" fmla="*/ 115177 w 514915"/>
                <a:gd name="connsiteY624" fmla="*/ 155987 h 376762"/>
                <a:gd name="connsiteX625" fmla="*/ 119420 w 514915"/>
                <a:gd name="connsiteY625" fmla="*/ 155987 h 376762"/>
                <a:gd name="connsiteX626" fmla="*/ 123614 w 514915"/>
                <a:gd name="connsiteY626" fmla="*/ 162451 h 376762"/>
                <a:gd name="connsiteX627" fmla="*/ 127759 w 514915"/>
                <a:gd name="connsiteY627" fmla="*/ 172319 h 376762"/>
                <a:gd name="connsiteX628" fmla="*/ 131952 w 514915"/>
                <a:gd name="connsiteY628" fmla="*/ 173898 h 376762"/>
                <a:gd name="connsiteX629" fmla="*/ 136147 w 514915"/>
                <a:gd name="connsiteY629" fmla="*/ 173898 h 376762"/>
                <a:gd name="connsiteX630" fmla="*/ 136147 w 514915"/>
                <a:gd name="connsiteY630" fmla="*/ 168964 h 376762"/>
                <a:gd name="connsiteX631" fmla="*/ 129880 w 514915"/>
                <a:gd name="connsiteY631" fmla="*/ 162550 h 376762"/>
                <a:gd name="connsiteX632" fmla="*/ 129880 w 514915"/>
                <a:gd name="connsiteY632" fmla="*/ 156185 h 376762"/>
                <a:gd name="connsiteX633" fmla="*/ 123614 w 514915"/>
                <a:gd name="connsiteY633" fmla="*/ 148142 h 376762"/>
                <a:gd name="connsiteX634" fmla="*/ 119420 w 514915"/>
                <a:gd name="connsiteY634" fmla="*/ 141679 h 376762"/>
                <a:gd name="connsiteX635" fmla="*/ 119420 w 514915"/>
                <a:gd name="connsiteY635" fmla="*/ 131811 h 376762"/>
                <a:gd name="connsiteX636" fmla="*/ 121492 w 514915"/>
                <a:gd name="connsiteY636" fmla="*/ 114097 h 376762"/>
                <a:gd name="connsiteX637" fmla="*/ 119420 w 514915"/>
                <a:gd name="connsiteY637" fmla="*/ 109163 h 376762"/>
                <a:gd name="connsiteX638" fmla="*/ 115177 w 514915"/>
                <a:gd name="connsiteY638" fmla="*/ 107584 h 376762"/>
                <a:gd name="connsiteX639" fmla="*/ 117298 w 514915"/>
                <a:gd name="connsiteY639" fmla="*/ 102650 h 376762"/>
                <a:gd name="connsiteX640" fmla="*/ 117298 w 514915"/>
                <a:gd name="connsiteY640" fmla="*/ 96187 h 376762"/>
                <a:gd name="connsiteX641" fmla="*/ 119420 w 514915"/>
                <a:gd name="connsiteY641" fmla="*/ 91253 h 376762"/>
                <a:gd name="connsiteX642" fmla="*/ 119420 w 514915"/>
                <a:gd name="connsiteY642" fmla="*/ 81385 h 376762"/>
                <a:gd name="connsiteX643" fmla="*/ 123614 w 514915"/>
                <a:gd name="connsiteY643" fmla="*/ 74970 h 376762"/>
                <a:gd name="connsiteX644" fmla="*/ 127759 w 514915"/>
                <a:gd name="connsiteY644" fmla="*/ 73342 h 376762"/>
                <a:gd name="connsiteX645" fmla="*/ 129880 w 514915"/>
                <a:gd name="connsiteY645" fmla="*/ 74970 h 376762"/>
                <a:gd name="connsiteX646" fmla="*/ 136147 w 514915"/>
                <a:gd name="connsiteY646" fmla="*/ 83013 h 376762"/>
                <a:gd name="connsiteX647" fmla="*/ 138219 w 514915"/>
                <a:gd name="connsiteY647" fmla="*/ 89476 h 376762"/>
                <a:gd name="connsiteX648" fmla="*/ 142462 w 514915"/>
                <a:gd name="connsiteY648" fmla="*/ 91055 h 376762"/>
                <a:gd name="connsiteX649" fmla="*/ 144534 w 514915"/>
                <a:gd name="connsiteY649" fmla="*/ 86121 h 376762"/>
                <a:gd name="connsiteX650" fmla="*/ 150801 w 514915"/>
                <a:gd name="connsiteY650" fmla="*/ 84542 h 376762"/>
                <a:gd name="connsiteX651" fmla="*/ 154995 w 514915"/>
                <a:gd name="connsiteY651" fmla="*/ 87750 h 376762"/>
                <a:gd name="connsiteX652" fmla="*/ 163382 w 514915"/>
                <a:gd name="connsiteY652" fmla="*/ 95792 h 376762"/>
                <a:gd name="connsiteX653" fmla="*/ 165455 w 514915"/>
                <a:gd name="connsiteY653" fmla="*/ 102256 h 376762"/>
                <a:gd name="connsiteX654" fmla="*/ 165455 w 514915"/>
                <a:gd name="connsiteY654" fmla="*/ 110298 h 376762"/>
                <a:gd name="connsiteX655" fmla="*/ 163382 w 514915"/>
                <a:gd name="connsiteY655" fmla="*/ 111926 h 376762"/>
                <a:gd name="connsiteX656" fmla="*/ 163382 w 514915"/>
                <a:gd name="connsiteY656" fmla="*/ 134475 h 376762"/>
                <a:gd name="connsiteX657" fmla="*/ 161310 w 514915"/>
                <a:gd name="connsiteY657" fmla="*/ 136054 h 376762"/>
                <a:gd name="connsiteX658" fmla="*/ 165455 w 514915"/>
                <a:gd name="connsiteY658" fmla="*/ 137682 h 376762"/>
                <a:gd name="connsiteX659" fmla="*/ 169648 w 514915"/>
                <a:gd name="connsiteY659" fmla="*/ 134475 h 376762"/>
                <a:gd name="connsiteX660" fmla="*/ 169648 w 514915"/>
                <a:gd name="connsiteY660" fmla="*/ 127074 h 376762"/>
                <a:gd name="connsiteX661" fmla="*/ 167577 w 514915"/>
                <a:gd name="connsiteY661" fmla="*/ 115775 h 376762"/>
                <a:gd name="connsiteX662" fmla="*/ 169648 w 514915"/>
                <a:gd name="connsiteY662" fmla="*/ 110841 h 376762"/>
                <a:gd name="connsiteX663" fmla="*/ 173843 w 514915"/>
                <a:gd name="connsiteY663" fmla="*/ 107634 h 376762"/>
                <a:gd name="connsiteX664" fmla="*/ 184303 w 514915"/>
                <a:gd name="connsiteY664" fmla="*/ 114048 h 376762"/>
                <a:gd name="connsiteX665" fmla="*/ 188497 w 514915"/>
                <a:gd name="connsiteY665" fmla="*/ 125347 h 376762"/>
                <a:gd name="connsiteX666" fmla="*/ 192691 w 514915"/>
                <a:gd name="connsiteY666" fmla="*/ 139853 h 376762"/>
                <a:gd name="connsiteX667" fmla="*/ 194763 w 514915"/>
                <a:gd name="connsiteY667" fmla="*/ 143060 h 376762"/>
                <a:gd name="connsiteX668" fmla="*/ 198957 w 514915"/>
                <a:gd name="connsiteY668" fmla="*/ 147994 h 376762"/>
                <a:gd name="connsiteX669" fmla="*/ 205273 w 514915"/>
                <a:gd name="connsiteY669" fmla="*/ 147994 h 376762"/>
                <a:gd name="connsiteX670" fmla="*/ 209417 w 514915"/>
                <a:gd name="connsiteY670" fmla="*/ 149622 h 376762"/>
                <a:gd name="connsiteX671" fmla="*/ 217805 w 514915"/>
                <a:gd name="connsiteY671" fmla="*/ 157665 h 376762"/>
                <a:gd name="connsiteX672" fmla="*/ 221950 w 514915"/>
                <a:gd name="connsiteY672" fmla="*/ 160872 h 376762"/>
                <a:gd name="connsiteX673" fmla="*/ 230387 w 514915"/>
                <a:gd name="connsiteY673" fmla="*/ 168914 h 376762"/>
                <a:gd name="connsiteX674" fmla="*/ 238725 w 514915"/>
                <a:gd name="connsiteY674" fmla="*/ 173849 h 376762"/>
                <a:gd name="connsiteX675" fmla="*/ 255501 w 514915"/>
                <a:gd name="connsiteY675" fmla="*/ 177105 h 376762"/>
                <a:gd name="connsiteX676" fmla="*/ 259645 w 514915"/>
                <a:gd name="connsiteY676" fmla="*/ 178684 h 376762"/>
                <a:gd name="connsiteX677" fmla="*/ 259645 w 514915"/>
                <a:gd name="connsiteY677" fmla="*/ 185147 h 376762"/>
                <a:gd name="connsiteX678" fmla="*/ 257573 w 514915"/>
                <a:gd name="connsiteY678" fmla="*/ 188355 h 376762"/>
                <a:gd name="connsiteX679" fmla="*/ 257573 w 514915"/>
                <a:gd name="connsiteY679" fmla="*/ 193289 h 376762"/>
                <a:gd name="connsiteX680" fmla="*/ 253380 w 514915"/>
                <a:gd name="connsiteY680" fmla="*/ 193289 h 376762"/>
                <a:gd name="connsiteX681" fmla="*/ 249234 w 514915"/>
                <a:gd name="connsiteY681" fmla="*/ 186825 h 376762"/>
                <a:gd name="connsiteX682" fmla="*/ 242919 w 514915"/>
                <a:gd name="connsiteY682" fmla="*/ 190081 h 376762"/>
                <a:gd name="connsiteX683" fmla="*/ 236455 w 514915"/>
                <a:gd name="connsiteY683" fmla="*/ 190081 h 376762"/>
                <a:gd name="connsiteX684" fmla="*/ 228068 w 514915"/>
                <a:gd name="connsiteY684" fmla="*/ 196496 h 376762"/>
                <a:gd name="connsiteX685" fmla="*/ 219680 w 514915"/>
                <a:gd name="connsiteY685" fmla="*/ 196496 h 376762"/>
                <a:gd name="connsiteX686" fmla="*/ 219680 w 514915"/>
                <a:gd name="connsiteY686" fmla="*/ 199752 h 376762"/>
                <a:gd name="connsiteX687" fmla="*/ 221752 w 514915"/>
                <a:gd name="connsiteY687" fmla="*/ 202959 h 376762"/>
                <a:gd name="connsiteX688" fmla="*/ 221752 w 514915"/>
                <a:gd name="connsiteY688" fmla="*/ 206166 h 376762"/>
                <a:gd name="connsiteX689" fmla="*/ 213413 w 514915"/>
                <a:gd name="connsiteY689" fmla="*/ 211100 h 376762"/>
                <a:gd name="connsiteX690" fmla="*/ 211341 w 514915"/>
                <a:gd name="connsiteY690" fmla="*/ 214308 h 376762"/>
                <a:gd name="connsiteX691" fmla="*/ 213413 w 514915"/>
                <a:gd name="connsiteY691" fmla="*/ 222399 h 376762"/>
                <a:gd name="connsiteX692" fmla="*/ 213413 w 514915"/>
                <a:gd name="connsiteY692" fmla="*/ 244948 h 376762"/>
                <a:gd name="connsiteX693" fmla="*/ 215486 w 514915"/>
                <a:gd name="connsiteY693" fmla="*/ 248155 h 376762"/>
                <a:gd name="connsiteX694" fmla="*/ 211341 w 514915"/>
                <a:gd name="connsiteY694" fmla="*/ 253089 h 376762"/>
                <a:gd name="connsiteX695" fmla="*/ 205075 w 514915"/>
                <a:gd name="connsiteY695" fmla="*/ 249882 h 376762"/>
                <a:gd name="connsiteX696" fmla="*/ 202904 w 514915"/>
                <a:gd name="connsiteY696" fmla="*/ 251461 h 376762"/>
                <a:gd name="connsiteX697" fmla="*/ 200832 w 514915"/>
                <a:gd name="connsiteY697" fmla="*/ 257924 h 376762"/>
                <a:gd name="connsiteX698" fmla="*/ 207148 w 514915"/>
                <a:gd name="connsiteY698" fmla="*/ 265967 h 376762"/>
                <a:gd name="connsiteX699" fmla="*/ 207148 w 514915"/>
                <a:gd name="connsiteY699" fmla="*/ 272431 h 376762"/>
                <a:gd name="connsiteX700" fmla="*/ 205075 w 514915"/>
                <a:gd name="connsiteY700" fmla="*/ 278845 h 376762"/>
                <a:gd name="connsiteX701" fmla="*/ 205075 w 514915"/>
                <a:gd name="connsiteY701" fmla="*/ 293351 h 376762"/>
                <a:gd name="connsiteX702" fmla="*/ 194566 w 514915"/>
                <a:gd name="connsiteY702" fmla="*/ 293351 h 376762"/>
                <a:gd name="connsiteX703" fmla="*/ 188299 w 514915"/>
                <a:gd name="connsiteY703" fmla="*/ 296558 h 376762"/>
                <a:gd name="connsiteX704" fmla="*/ 194566 w 514915"/>
                <a:gd name="connsiteY704" fmla="*/ 299814 h 376762"/>
                <a:gd name="connsiteX705" fmla="*/ 192493 w 514915"/>
                <a:gd name="connsiteY705" fmla="*/ 303022 h 376762"/>
                <a:gd name="connsiteX706" fmla="*/ 188299 w 514915"/>
                <a:gd name="connsiteY706" fmla="*/ 306229 h 376762"/>
                <a:gd name="connsiteX707" fmla="*/ 188299 w 514915"/>
                <a:gd name="connsiteY707" fmla="*/ 316097 h 376762"/>
                <a:gd name="connsiteX708" fmla="*/ 186227 w 514915"/>
                <a:gd name="connsiteY708" fmla="*/ 335438 h 376762"/>
                <a:gd name="connsiteX709" fmla="*/ 184105 w 514915"/>
                <a:gd name="connsiteY709" fmla="*/ 340372 h 376762"/>
                <a:gd name="connsiteX710" fmla="*/ 181984 w 514915"/>
                <a:gd name="connsiteY710" fmla="*/ 343579 h 376762"/>
                <a:gd name="connsiteX711" fmla="*/ 181984 w 514915"/>
                <a:gd name="connsiteY711" fmla="*/ 351622 h 376762"/>
                <a:gd name="connsiteX712" fmla="*/ 186227 w 514915"/>
                <a:gd name="connsiteY712" fmla="*/ 359714 h 376762"/>
                <a:gd name="connsiteX713" fmla="*/ 184105 w 514915"/>
                <a:gd name="connsiteY713" fmla="*/ 362921 h 376762"/>
                <a:gd name="connsiteX714" fmla="*/ 184105 w 514915"/>
                <a:gd name="connsiteY714" fmla="*/ 364549 h 376762"/>
                <a:gd name="connsiteX715" fmla="*/ 181984 w 514915"/>
                <a:gd name="connsiteY715" fmla="*/ 370963 h 376762"/>
                <a:gd name="connsiteX716" fmla="*/ 177790 w 514915"/>
                <a:gd name="connsiteY716" fmla="*/ 375897 h 37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</a:cxnLst>
              <a:rect l="l" t="t" r="r" b="b"/>
              <a:pathLst>
                <a:path w="514915" h="376762">
                  <a:moveTo>
                    <a:pt x="475016" y="44922"/>
                  </a:moveTo>
                  <a:cubicBezTo>
                    <a:pt x="477088" y="44922"/>
                    <a:pt x="479160" y="41666"/>
                    <a:pt x="479160" y="41666"/>
                  </a:cubicBezTo>
                  <a:lnTo>
                    <a:pt x="487598" y="40087"/>
                  </a:lnTo>
                  <a:lnTo>
                    <a:pt x="491742" y="35153"/>
                  </a:lnTo>
                  <a:lnTo>
                    <a:pt x="498009" y="28689"/>
                  </a:lnTo>
                  <a:lnTo>
                    <a:pt x="506446" y="25482"/>
                  </a:lnTo>
                  <a:lnTo>
                    <a:pt x="512761" y="25482"/>
                  </a:lnTo>
                  <a:lnTo>
                    <a:pt x="514834" y="28689"/>
                  </a:lnTo>
                  <a:lnTo>
                    <a:pt x="512761" y="31896"/>
                  </a:lnTo>
                  <a:lnTo>
                    <a:pt x="504374" y="36830"/>
                  </a:lnTo>
                  <a:lnTo>
                    <a:pt x="498058" y="40087"/>
                  </a:lnTo>
                  <a:lnTo>
                    <a:pt x="489719" y="46501"/>
                  </a:lnTo>
                  <a:lnTo>
                    <a:pt x="481332" y="48129"/>
                  </a:lnTo>
                  <a:lnTo>
                    <a:pt x="477138" y="46501"/>
                  </a:lnTo>
                  <a:close/>
                  <a:moveTo>
                    <a:pt x="384970" y="49856"/>
                  </a:moveTo>
                  <a:lnTo>
                    <a:pt x="387092" y="56320"/>
                  </a:lnTo>
                  <a:lnTo>
                    <a:pt x="391236" y="56320"/>
                  </a:lnTo>
                  <a:lnTo>
                    <a:pt x="395430" y="53113"/>
                  </a:lnTo>
                  <a:lnTo>
                    <a:pt x="393358" y="48179"/>
                  </a:lnTo>
                  <a:lnTo>
                    <a:pt x="389164" y="46550"/>
                  </a:lnTo>
                  <a:lnTo>
                    <a:pt x="384970" y="46550"/>
                  </a:lnTo>
                  <a:close/>
                  <a:moveTo>
                    <a:pt x="211243" y="3230"/>
                  </a:moveTo>
                  <a:lnTo>
                    <a:pt x="221653" y="11272"/>
                  </a:lnTo>
                  <a:lnTo>
                    <a:pt x="227969" y="12900"/>
                  </a:lnTo>
                  <a:lnTo>
                    <a:pt x="230090" y="9644"/>
                  </a:lnTo>
                  <a:lnTo>
                    <a:pt x="234235" y="6437"/>
                  </a:lnTo>
                  <a:lnTo>
                    <a:pt x="230090" y="3230"/>
                  </a:lnTo>
                  <a:lnTo>
                    <a:pt x="223775" y="4808"/>
                  </a:lnTo>
                  <a:lnTo>
                    <a:pt x="215387" y="1601"/>
                  </a:lnTo>
                  <a:lnTo>
                    <a:pt x="209121" y="-27"/>
                  </a:lnTo>
                  <a:lnTo>
                    <a:pt x="209121" y="1601"/>
                  </a:lnTo>
                  <a:close/>
                  <a:moveTo>
                    <a:pt x="175619" y="56369"/>
                  </a:moveTo>
                  <a:lnTo>
                    <a:pt x="171425" y="53162"/>
                  </a:lnTo>
                  <a:lnTo>
                    <a:pt x="169353" y="49906"/>
                  </a:lnTo>
                  <a:lnTo>
                    <a:pt x="171425" y="46698"/>
                  </a:lnTo>
                  <a:lnTo>
                    <a:pt x="175619" y="43491"/>
                  </a:lnTo>
                  <a:lnTo>
                    <a:pt x="177691" y="45120"/>
                  </a:lnTo>
                  <a:lnTo>
                    <a:pt x="181885" y="50054"/>
                  </a:lnTo>
                  <a:lnTo>
                    <a:pt x="181885" y="53310"/>
                  </a:lnTo>
                  <a:lnTo>
                    <a:pt x="179813" y="56517"/>
                  </a:lnTo>
                  <a:close/>
                  <a:moveTo>
                    <a:pt x="209121" y="103094"/>
                  </a:moveTo>
                  <a:lnTo>
                    <a:pt x="213315" y="103094"/>
                  </a:lnTo>
                  <a:lnTo>
                    <a:pt x="219581" y="98160"/>
                  </a:lnTo>
                  <a:lnTo>
                    <a:pt x="223775" y="96532"/>
                  </a:lnTo>
                  <a:lnTo>
                    <a:pt x="246817" y="96532"/>
                  </a:lnTo>
                  <a:lnTo>
                    <a:pt x="253083" y="93325"/>
                  </a:lnTo>
                  <a:lnTo>
                    <a:pt x="257277" y="91697"/>
                  </a:lnTo>
                  <a:lnTo>
                    <a:pt x="259349" y="94953"/>
                  </a:lnTo>
                  <a:lnTo>
                    <a:pt x="259349" y="96532"/>
                  </a:lnTo>
                  <a:lnTo>
                    <a:pt x="257277" y="98160"/>
                  </a:lnTo>
                  <a:lnTo>
                    <a:pt x="255205" y="103094"/>
                  </a:lnTo>
                  <a:lnTo>
                    <a:pt x="251011" y="104723"/>
                  </a:lnTo>
                  <a:lnTo>
                    <a:pt x="244696" y="103094"/>
                  </a:lnTo>
                  <a:lnTo>
                    <a:pt x="236455" y="103094"/>
                  </a:lnTo>
                  <a:lnTo>
                    <a:pt x="228068" y="101466"/>
                  </a:lnTo>
                  <a:lnTo>
                    <a:pt x="228068" y="104723"/>
                  </a:lnTo>
                  <a:lnTo>
                    <a:pt x="230189" y="106302"/>
                  </a:lnTo>
                  <a:lnTo>
                    <a:pt x="240600" y="107930"/>
                  </a:lnTo>
                  <a:lnTo>
                    <a:pt x="244794" y="111137"/>
                  </a:lnTo>
                  <a:lnTo>
                    <a:pt x="244794" y="114344"/>
                  </a:lnTo>
                  <a:lnTo>
                    <a:pt x="240600" y="114344"/>
                  </a:lnTo>
                  <a:lnTo>
                    <a:pt x="234334" y="111137"/>
                  </a:lnTo>
                  <a:lnTo>
                    <a:pt x="232262" y="114344"/>
                  </a:lnTo>
                  <a:lnTo>
                    <a:pt x="228068" y="114344"/>
                  </a:lnTo>
                  <a:lnTo>
                    <a:pt x="221752" y="109410"/>
                  </a:lnTo>
                  <a:lnTo>
                    <a:pt x="213413" y="107831"/>
                  </a:lnTo>
                  <a:lnTo>
                    <a:pt x="205075" y="111038"/>
                  </a:lnTo>
                  <a:lnTo>
                    <a:pt x="205075" y="114245"/>
                  </a:lnTo>
                  <a:lnTo>
                    <a:pt x="211341" y="115874"/>
                  </a:lnTo>
                  <a:lnTo>
                    <a:pt x="223873" y="125742"/>
                  </a:lnTo>
                  <a:lnTo>
                    <a:pt x="228068" y="125742"/>
                  </a:lnTo>
                  <a:lnTo>
                    <a:pt x="234334" y="124113"/>
                  </a:lnTo>
                  <a:lnTo>
                    <a:pt x="236455" y="124113"/>
                  </a:lnTo>
                  <a:lnTo>
                    <a:pt x="240600" y="130577"/>
                  </a:lnTo>
                  <a:lnTo>
                    <a:pt x="240600" y="135511"/>
                  </a:lnTo>
                  <a:lnTo>
                    <a:pt x="244794" y="137090"/>
                  </a:lnTo>
                  <a:lnTo>
                    <a:pt x="251109" y="135511"/>
                  </a:lnTo>
                  <a:lnTo>
                    <a:pt x="261570" y="133883"/>
                  </a:lnTo>
                  <a:lnTo>
                    <a:pt x="272030" y="130676"/>
                  </a:lnTo>
                  <a:lnTo>
                    <a:pt x="278296" y="130676"/>
                  </a:lnTo>
                  <a:lnTo>
                    <a:pt x="288756" y="129047"/>
                  </a:lnTo>
                  <a:lnTo>
                    <a:pt x="288756" y="132255"/>
                  </a:lnTo>
                  <a:lnTo>
                    <a:pt x="286684" y="138718"/>
                  </a:lnTo>
                  <a:lnTo>
                    <a:pt x="288756" y="143652"/>
                  </a:lnTo>
                  <a:lnTo>
                    <a:pt x="297144" y="148586"/>
                  </a:lnTo>
                  <a:lnTo>
                    <a:pt x="305532" y="150214"/>
                  </a:lnTo>
                  <a:lnTo>
                    <a:pt x="315992" y="146958"/>
                  </a:lnTo>
                  <a:lnTo>
                    <a:pt x="318114" y="143751"/>
                  </a:lnTo>
                  <a:lnTo>
                    <a:pt x="315992" y="140544"/>
                  </a:lnTo>
                  <a:lnTo>
                    <a:pt x="315992" y="137287"/>
                  </a:lnTo>
                  <a:lnTo>
                    <a:pt x="318114" y="134080"/>
                  </a:lnTo>
                  <a:lnTo>
                    <a:pt x="326452" y="127666"/>
                  </a:lnTo>
                  <a:lnTo>
                    <a:pt x="330646" y="127666"/>
                  </a:lnTo>
                  <a:lnTo>
                    <a:pt x="334840" y="130873"/>
                  </a:lnTo>
                  <a:lnTo>
                    <a:pt x="341106" y="134080"/>
                  </a:lnTo>
                  <a:lnTo>
                    <a:pt x="347373" y="134080"/>
                  </a:lnTo>
                  <a:lnTo>
                    <a:pt x="353639" y="129146"/>
                  </a:lnTo>
                  <a:lnTo>
                    <a:pt x="355810" y="125939"/>
                  </a:lnTo>
                  <a:lnTo>
                    <a:pt x="355810" y="117897"/>
                  </a:lnTo>
                  <a:lnTo>
                    <a:pt x="353639" y="112963"/>
                  </a:lnTo>
                  <a:lnTo>
                    <a:pt x="357882" y="109706"/>
                  </a:lnTo>
                  <a:lnTo>
                    <a:pt x="362076" y="104772"/>
                  </a:lnTo>
                  <a:lnTo>
                    <a:pt x="368342" y="94904"/>
                  </a:lnTo>
                  <a:lnTo>
                    <a:pt x="372487" y="89970"/>
                  </a:lnTo>
                  <a:lnTo>
                    <a:pt x="380924" y="81878"/>
                  </a:lnTo>
                  <a:lnTo>
                    <a:pt x="382996" y="76944"/>
                  </a:lnTo>
                  <a:lnTo>
                    <a:pt x="380924" y="73688"/>
                  </a:lnTo>
                  <a:lnTo>
                    <a:pt x="378802" y="68754"/>
                  </a:lnTo>
                  <a:lnTo>
                    <a:pt x="378802" y="63820"/>
                  </a:lnTo>
                  <a:lnTo>
                    <a:pt x="380924" y="60612"/>
                  </a:lnTo>
                  <a:lnTo>
                    <a:pt x="380924" y="57405"/>
                  </a:lnTo>
                  <a:lnTo>
                    <a:pt x="378802" y="55777"/>
                  </a:lnTo>
                  <a:lnTo>
                    <a:pt x="368342" y="54149"/>
                  </a:lnTo>
                  <a:lnTo>
                    <a:pt x="362076" y="50942"/>
                  </a:lnTo>
                  <a:lnTo>
                    <a:pt x="359955" y="49313"/>
                  </a:lnTo>
                  <a:lnTo>
                    <a:pt x="347373" y="50942"/>
                  </a:lnTo>
                  <a:lnTo>
                    <a:pt x="341106" y="49313"/>
                  </a:lnTo>
                  <a:lnTo>
                    <a:pt x="334840" y="47735"/>
                  </a:lnTo>
                  <a:lnTo>
                    <a:pt x="328525" y="47735"/>
                  </a:lnTo>
                  <a:lnTo>
                    <a:pt x="324380" y="44527"/>
                  </a:lnTo>
                  <a:lnTo>
                    <a:pt x="322258" y="41271"/>
                  </a:lnTo>
                  <a:lnTo>
                    <a:pt x="320186" y="39692"/>
                  </a:lnTo>
                  <a:lnTo>
                    <a:pt x="313920" y="42899"/>
                  </a:lnTo>
                  <a:lnTo>
                    <a:pt x="313920" y="33031"/>
                  </a:lnTo>
                  <a:lnTo>
                    <a:pt x="309676" y="36238"/>
                  </a:lnTo>
                  <a:lnTo>
                    <a:pt x="307605" y="41172"/>
                  </a:lnTo>
                  <a:lnTo>
                    <a:pt x="305532" y="42801"/>
                  </a:lnTo>
                  <a:lnTo>
                    <a:pt x="303410" y="34758"/>
                  </a:lnTo>
                  <a:lnTo>
                    <a:pt x="301338" y="34758"/>
                  </a:lnTo>
                  <a:lnTo>
                    <a:pt x="299266" y="37965"/>
                  </a:lnTo>
                  <a:lnTo>
                    <a:pt x="299266" y="42899"/>
                  </a:lnTo>
                  <a:lnTo>
                    <a:pt x="295072" y="47833"/>
                  </a:lnTo>
                  <a:lnTo>
                    <a:pt x="295072" y="52767"/>
                  </a:lnTo>
                  <a:lnTo>
                    <a:pt x="292999" y="55974"/>
                  </a:lnTo>
                  <a:lnTo>
                    <a:pt x="288756" y="54346"/>
                  </a:lnTo>
                  <a:lnTo>
                    <a:pt x="286684" y="51139"/>
                  </a:lnTo>
                  <a:lnTo>
                    <a:pt x="284562" y="51139"/>
                  </a:lnTo>
                  <a:lnTo>
                    <a:pt x="284562" y="54346"/>
                  </a:lnTo>
                  <a:lnTo>
                    <a:pt x="282490" y="57603"/>
                  </a:lnTo>
                  <a:lnTo>
                    <a:pt x="280418" y="54346"/>
                  </a:lnTo>
                  <a:lnTo>
                    <a:pt x="280418" y="49412"/>
                  </a:lnTo>
                  <a:lnTo>
                    <a:pt x="282490" y="42998"/>
                  </a:lnTo>
                  <a:lnTo>
                    <a:pt x="282490" y="33130"/>
                  </a:lnTo>
                  <a:lnTo>
                    <a:pt x="280418" y="29923"/>
                  </a:lnTo>
                  <a:lnTo>
                    <a:pt x="272030" y="24989"/>
                  </a:lnTo>
                  <a:lnTo>
                    <a:pt x="269958" y="21782"/>
                  </a:lnTo>
                  <a:lnTo>
                    <a:pt x="267836" y="21782"/>
                  </a:lnTo>
                  <a:lnTo>
                    <a:pt x="265715" y="26716"/>
                  </a:lnTo>
                  <a:lnTo>
                    <a:pt x="269958" y="29972"/>
                  </a:lnTo>
                  <a:lnTo>
                    <a:pt x="272030" y="33179"/>
                  </a:lnTo>
                  <a:lnTo>
                    <a:pt x="265715" y="31551"/>
                  </a:lnTo>
                  <a:lnTo>
                    <a:pt x="263642" y="29972"/>
                  </a:lnTo>
                  <a:lnTo>
                    <a:pt x="259448" y="31551"/>
                  </a:lnTo>
                  <a:lnTo>
                    <a:pt x="261570" y="36485"/>
                  </a:lnTo>
                  <a:lnTo>
                    <a:pt x="265715" y="42949"/>
                  </a:lnTo>
                  <a:lnTo>
                    <a:pt x="265715" y="60662"/>
                  </a:lnTo>
                  <a:lnTo>
                    <a:pt x="269958" y="68704"/>
                  </a:lnTo>
                  <a:lnTo>
                    <a:pt x="267836" y="73638"/>
                  </a:lnTo>
                  <a:lnTo>
                    <a:pt x="263642" y="73638"/>
                  </a:lnTo>
                  <a:lnTo>
                    <a:pt x="261570" y="68704"/>
                  </a:lnTo>
                  <a:lnTo>
                    <a:pt x="255303" y="63770"/>
                  </a:lnTo>
                  <a:lnTo>
                    <a:pt x="249038" y="60563"/>
                  </a:lnTo>
                  <a:lnTo>
                    <a:pt x="249038" y="55629"/>
                  </a:lnTo>
                  <a:lnTo>
                    <a:pt x="251109" y="52422"/>
                  </a:lnTo>
                  <a:lnTo>
                    <a:pt x="251109" y="49165"/>
                  </a:lnTo>
                  <a:lnTo>
                    <a:pt x="246916" y="47587"/>
                  </a:lnTo>
                  <a:lnTo>
                    <a:pt x="240600" y="50794"/>
                  </a:lnTo>
                  <a:lnTo>
                    <a:pt x="236455" y="49165"/>
                  </a:lnTo>
                  <a:lnTo>
                    <a:pt x="236455" y="52422"/>
                  </a:lnTo>
                  <a:lnTo>
                    <a:pt x="230189" y="55629"/>
                  </a:lnTo>
                  <a:lnTo>
                    <a:pt x="223873" y="54001"/>
                  </a:lnTo>
                  <a:lnTo>
                    <a:pt x="225995" y="50794"/>
                  </a:lnTo>
                  <a:lnTo>
                    <a:pt x="223873" y="47587"/>
                  </a:lnTo>
                  <a:lnTo>
                    <a:pt x="219680" y="47587"/>
                  </a:lnTo>
                  <a:lnTo>
                    <a:pt x="215486" y="42653"/>
                  </a:lnTo>
                  <a:lnTo>
                    <a:pt x="213413" y="37718"/>
                  </a:lnTo>
                  <a:lnTo>
                    <a:pt x="209220" y="36090"/>
                  </a:lnTo>
                  <a:lnTo>
                    <a:pt x="206851" y="36090"/>
                  </a:lnTo>
                  <a:lnTo>
                    <a:pt x="202608" y="32883"/>
                  </a:lnTo>
                  <a:lnTo>
                    <a:pt x="202608" y="27949"/>
                  </a:lnTo>
                  <a:lnTo>
                    <a:pt x="200536" y="23015"/>
                  </a:lnTo>
                  <a:lnTo>
                    <a:pt x="198464" y="21436"/>
                  </a:lnTo>
                  <a:lnTo>
                    <a:pt x="194269" y="26370"/>
                  </a:lnTo>
                  <a:lnTo>
                    <a:pt x="194269" y="40876"/>
                  </a:lnTo>
                  <a:lnTo>
                    <a:pt x="198464" y="47340"/>
                  </a:lnTo>
                  <a:lnTo>
                    <a:pt x="200536" y="55382"/>
                  </a:lnTo>
                  <a:lnTo>
                    <a:pt x="198464" y="57011"/>
                  </a:lnTo>
                  <a:lnTo>
                    <a:pt x="194269" y="52076"/>
                  </a:lnTo>
                  <a:lnTo>
                    <a:pt x="192197" y="47142"/>
                  </a:lnTo>
                  <a:lnTo>
                    <a:pt x="190075" y="45514"/>
                  </a:lnTo>
                  <a:lnTo>
                    <a:pt x="188004" y="50448"/>
                  </a:lnTo>
                  <a:lnTo>
                    <a:pt x="190075" y="56912"/>
                  </a:lnTo>
                  <a:lnTo>
                    <a:pt x="194269" y="61846"/>
                  </a:lnTo>
                  <a:lnTo>
                    <a:pt x="194269" y="66780"/>
                  </a:lnTo>
                  <a:lnTo>
                    <a:pt x="192197" y="69987"/>
                  </a:lnTo>
                  <a:lnTo>
                    <a:pt x="188004" y="69987"/>
                  </a:lnTo>
                  <a:lnTo>
                    <a:pt x="185931" y="61945"/>
                  </a:lnTo>
                  <a:lnTo>
                    <a:pt x="183809" y="60316"/>
                  </a:lnTo>
                  <a:lnTo>
                    <a:pt x="171228" y="60316"/>
                  </a:lnTo>
                  <a:lnTo>
                    <a:pt x="164961" y="57109"/>
                  </a:lnTo>
                  <a:lnTo>
                    <a:pt x="162889" y="60316"/>
                  </a:lnTo>
                  <a:lnTo>
                    <a:pt x="164961" y="66780"/>
                  </a:lnTo>
                  <a:lnTo>
                    <a:pt x="169155" y="66780"/>
                  </a:lnTo>
                  <a:lnTo>
                    <a:pt x="173349" y="69987"/>
                  </a:lnTo>
                  <a:lnTo>
                    <a:pt x="171228" y="73194"/>
                  </a:lnTo>
                  <a:lnTo>
                    <a:pt x="173349" y="74822"/>
                  </a:lnTo>
                  <a:lnTo>
                    <a:pt x="179615" y="74822"/>
                  </a:lnTo>
                  <a:lnTo>
                    <a:pt x="181688" y="78030"/>
                  </a:lnTo>
                  <a:lnTo>
                    <a:pt x="171228" y="82964"/>
                  </a:lnTo>
                  <a:lnTo>
                    <a:pt x="171228" y="86171"/>
                  </a:lnTo>
                  <a:lnTo>
                    <a:pt x="179615" y="96039"/>
                  </a:lnTo>
                  <a:lnTo>
                    <a:pt x="183809" y="97667"/>
                  </a:lnTo>
                  <a:lnTo>
                    <a:pt x="190075" y="102601"/>
                  </a:lnTo>
                  <a:lnTo>
                    <a:pt x="198464" y="102601"/>
                  </a:lnTo>
                  <a:lnTo>
                    <a:pt x="204779" y="100973"/>
                  </a:lnTo>
                  <a:close/>
                  <a:moveTo>
                    <a:pt x="414278" y="172171"/>
                  </a:moveTo>
                  <a:lnTo>
                    <a:pt x="420593" y="164079"/>
                  </a:lnTo>
                  <a:lnTo>
                    <a:pt x="426860" y="159145"/>
                  </a:lnTo>
                  <a:lnTo>
                    <a:pt x="431054" y="159145"/>
                  </a:lnTo>
                  <a:lnTo>
                    <a:pt x="435199" y="157517"/>
                  </a:lnTo>
                  <a:lnTo>
                    <a:pt x="437320" y="160724"/>
                  </a:lnTo>
                  <a:lnTo>
                    <a:pt x="452122" y="160724"/>
                  </a:lnTo>
                  <a:lnTo>
                    <a:pt x="450050" y="165658"/>
                  </a:lnTo>
                  <a:lnTo>
                    <a:pt x="443784" y="167286"/>
                  </a:lnTo>
                  <a:lnTo>
                    <a:pt x="435347" y="164030"/>
                  </a:lnTo>
                  <a:lnTo>
                    <a:pt x="431202" y="164030"/>
                  </a:lnTo>
                  <a:lnTo>
                    <a:pt x="427008" y="165658"/>
                  </a:lnTo>
                  <a:lnTo>
                    <a:pt x="422814" y="165658"/>
                  </a:lnTo>
                  <a:lnTo>
                    <a:pt x="416498" y="172122"/>
                  </a:lnTo>
                  <a:close/>
                  <a:moveTo>
                    <a:pt x="387092" y="193091"/>
                  </a:moveTo>
                  <a:lnTo>
                    <a:pt x="387092" y="188157"/>
                  </a:lnTo>
                  <a:lnTo>
                    <a:pt x="382898" y="181743"/>
                  </a:lnTo>
                  <a:lnTo>
                    <a:pt x="382898" y="176809"/>
                  </a:lnTo>
                  <a:lnTo>
                    <a:pt x="384970" y="175181"/>
                  </a:lnTo>
                  <a:lnTo>
                    <a:pt x="387092" y="173552"/>
                  </a:lnTo>
                  <a:lnTo>
                    <a:pt x="389164" y="173552"/>
                  </a:lnTo>
                  <a:lnTo>
                    <a:pt x="389164" y="180016"/>
                  </a:lnTo>
                  <a:lnTo>
                    <a:pt x="395430" y="184950"/>
                  </a:lnTo>
                  <a:lnTo>
                    <a:pt x="395430" y="188157"/>
                  </a:lnTo>
                  <a:lnTo>
                    <a:pt x="391236" y="193091"/>
                  </a:lnTo>
                  <a:close/>
                  <a:moveTo>
                    <a:pt x="257277" y="244652"/>
                  </a:moveTo>
                  <a:lnTo>
                    <a:pt x="261471" y="238188"/>
                  </a:lnTo>
                  <a:lnTo>
                    <a:pt x="267737" y="233254"/>
                  </a:lnTo>
                  <a:lnTo>
                    <a:pt x="282539" y="230047"/>
                  </a:lnTo>
                  <a:lnTo>
                    <a:pt x="288806" y="230047"/>
                  </a:lnTo>
                  <a:lnTo>
                    <a:pt x="299315" y="223584"/>
                  </a:lnTo>
                  <a:lnTo>
                    <a:pt x="309726" y="217169"/>
                  </a:lnTo>
                  <a:lnTo>
                    <a:pt x="311897" y="223584"/>
                  </a:lnTo>
                  <a:lnTo>
                    <a:pt x="318163" y="231675"/>
                  </a:lnTo>
                  <a:lnTo>
                    <a:pt x="316042" y="234883"/>
                  </a:lnTo>
                  <a:lnTo>
                    <a:pt x="311897" y="236511"/>
                  </a:lnTo>
                  <a:lnTo>
                    <a:pt x="309726" y="238090"/>
                  </a:lnTo>
                  <a:lnTo>
                    <a:pt x="309726" y="246132"/>
                  </a:lnTo>
                  <a:lnTo>
                    <a:pt x="318163" y="254224"/>
                  </a:lnTo>
                  <a:lnTo>
                    <a:pt x="326502" y="259158"/>
                  </a:lnTo>
                  <a:lnTo>
                    <a:pt x="332817" y="254224"/>
                  </a:lnTo>
                  <a:lnTo>
                    <a:pt x="341156" y="250968"/>
                  </a:lnTo>
                  <a:lnTo>
                    <a:pt x="345349" y="254224"/>
                  </a:lnTo>
                  <a:lnTo>
                    <a:pt x="349544" y="257431"/>
                  </a:lnTo>
                  <a:lnTo>
                    <a:pt x="355859" y="259059"/>
                  </a:lnTo>
                  <a:lnTo>
                    <a:pt x="353688" y="262266"/>
                  </a:lnTo>
                  <a:lnTo>
                    <a:pt x="345349" y="263845"/>
                  </a:lnTo>
                  <a:lnTo>
                    <a:pt x="339084" y="273713"/>
                  </a:lnTo>
                  <a:lnTo>
                    <a:pt x="339084" y="278647"/>
                  </a:lnTo>
                  <a:lnTo>
                    <a:pt x="332817" y="291575"/>
                  </a:lnTo>
                  <a:lnTo>
                    <a:pt x="328574" y="293153"/>
                  </a:lnTo>
                  <a:lnTo>
                    <a:pt x="322308" y="296361"/>
                  </a:lnTo>
                  <a:lnTo>
                    <a:pt x="318163" y="301295"/>
                  </a:lnTo>
                  <a:lnTo>
                    <a:pt x="318163" y="306229"/>
                  </a:lnTo>
                  <a:lnTo>
                    <a:pt x="311897" y="311163"/>
                  </a:lnTo>
                  <a:lnTo>
                    <a:pt x="307654" y="309584"/>
                  </a:lnTo>
                  <a:lnTo>
                    <a:pt x="305581" y="304650"/>
                  </a:lnTo>
                  <a:lnTo>
                    <a:pt x="309726" y="299716"/>
                  </a:lnTo>
                  <a:lnTo>
                    <a:pt x="307654" y="293252"/>
                  </a:lnTo>
                  <a:lnTo>
                    <a:pt x="311897" y="283384"/>
                  </a:lnTo>
                  <a:lnTo>
                    <a:pt x="311897" y="276970"/>
                  </a:lnTo>
                  <a:lnTo>
                    <a:pt x="307654" y="280177"/>
                  </a:lnTo>
                  <a:lnTo>
                    <a:pt x="303459" y="278549"/>
                  </a:lnTo>
                  <a:lnTo>
                    <a:pt x="299315" y="280177"/>
                  </a:lnTo>
                  <a:lnTo>
                    <a:pt x="295121" y="288219"/>
                  </a:lnTo>
                  <a:lnTo>
                    <a:pt x="290927" y="291476"/>
                  </a:lnTo>
                  <a:lnTo>
                    <a:pt x="284612" y="291476"/>
                  </a:lnTo>
                  <a:lnTo>
                    <a:pt x="278345" y="296410"/>
                  </a:lnTo>
                  <a:lnTo>
                    <a:pt x="272079" y="298038"/>
                  </a:lnTo>
                  <a:lnTo>
                    <a:pt x="265763" y="299666"/>
                  </a:lnTo>
                  <a:lnTo>
                    <a:pt x="263691" y="299666"/>
                  </a:lnTo>
                  <a:lnTo>
                    <a:pt x="261619" y="294732"/>
                  </a:lnTo>
                  <a:lnTo>
                    <a:pt x="263691" y="291525"/>
                  </a:lnTo>
                  <a:lnTo>
                    <a:pt x="263691" y="286591"/>
                  </a:lnTo>
                  <a:lnTo>
                    <a:pt x="267885" y="283335"/>
                  </a:lnTo>
                  <a:lnTo>
                    <a:pt x="270007" y="273467"/>
                  </a:lnTo>
                  <a:lnTo>
                    <a:pt x="276273" y="265424"/>
                  </a:lnTo>
                  <a:lnTo>
                    <a:pt x="276273" y="252546"/>
                  </a:lnTo>
                  <a:lnTo>
                    <a:pt x="270007" y="252546"/>
                  </a:lnTo>
                  <a:lnTo>
                    <a:pt x="263691" y="247612"/>
                  </a:lnTo>
                  <a:close/>
                  <a:moveTo>
                    <a:pt x="223775" y="154458"/>
                  </a:moveTo>
                  <a:lnTo>
                    <a:pt x="225897" y="160872"/>
                  </a:lnTo>
                  <a:lnTo>
                    <a:pt x="230090" y="164079"/>
                  </a:lnTo>
                  <a:lnTo>
                    <a:pt x="236357" y="165707"/>
                  </a:lnTo>
                  <a:lnTo>
                    <a:pt x="242623" y="164079"/>
                  </a:lnTo>
                  <a:lnTo>
                    <a:pt x="242623" y="157665"/>
                  </a:lnTo>
                  <a:lnTo>
                    <a:pt x="238429" y="154458"/>
                  </a:lnTo>
                  <a:lnTo>
                    <a:pt x="225897" y="151201"/>
                  </a:lnTo>
                  <a:lnTo>
                    <a:pt x="223775" y="152830"/>
                  </a:lnTo>
                  <a:close/>
                  <a:moveTo>
                    <a:pt x="238577" y="209226"/>
                  </a:moveTo>
                  <a:lnTo>
                    <a:pt x="242771" y="212433"/>
                  </a:lnTo>
                  <a:lnTo>
                    <a:pt x="251159" y="212433"/>
                  </a:lnTo>
                  <a:lnTo>
                    <a:pt x="253231" y="217367"/>
                  </a:lnTo>
                  <a:lnTo>
                    <a:pt x="255353" y="220574"/>
                  </a:lnTo>
                  <a:lnTo>
                    <a:pt x="255353" y="223781"/>
                  </a:lnTo>
                  <a:lnTo>
                    <a:pt x="259498" y="225409"/>
                  </a:lnTo>
                  <a:lnTo>
                    <a:pt x="255353" y="230343"/>
                  </a:lnTo>
                  <a:lnTo>
                    <a:pt x="261619" y="230343"/>
                  </a:lnTo>
                  <a:lnTo>
                    <a:pt x="263691" y="231971"/>
                  </a:lnTo>
                  <a:lnTo>
                    <a:pt x="267885" y="228715"/>
                  </a:lnTo>
                  <a:lnTo>
                    <a:pt x="276273" y="223781"/>
                  </a:lnTo>
                  <a:lnTo>
                    <a:pt x="280467" y="223781"/>
                  </a:lnTo>
                  <a:lnTo>
                    <a:pt x="286733" y="220574"/>
                  </a:lnTo>
                  <a:lnTo>
                    <a:pt x="284612" y="217367"/>
                  </a:lnTo>
                  <a:lnTo>
                    <a:pt x="286733" y="209324"/>
                  </a:lnTo>
                  <a:lnTo>
                    <a:pt x="290927" y="207696"/>
                  </a:lnTo>
                  <a:lnTo>
                    <a:pt x="293049" y="201232"/>
                  </a:lnTo>
                  <a:lnTo>
                    <a:pt x="290927" y="196298"/>
                  </a:lnTo>
                  <a:lnTo>
                    <a:pt x="284612" y="196298"/>
                  </a:lnTo>
                  <a:lnTo>
                    <a:pt x="282539" y="193091"/>
                  </a:lnTo>
                  <a:lnTo>
                    <a:pt x="278345" y="191463"/>
                  </a:lnTo>
                  <a:lnTo>
                    <a:pt x="276273" y="194719"/>
                  </a:lnTo>
                  <a:lnTo>
                    <a:pt x="265763" y="199653"/>
                  </a:lnTo>
                  <a:lnTo>
                    <a:pt x="263691" y="196397"/>
                  </a:lnTo>
                  <a:lnTo>
                    <a:pt x="261619" y="194818"/>
                  </a:lnTo>
                  <a:lnTo>
                    <a:pt x="255353" y="198025"/>
                  </a:lnTo>
                  <a:lnTo>
                    <a:pt x="255353" y="201232"/>
                  </a:lnTo>
                  <a:lnTo>
                    <a:pt x="253231" y="202861"/>
                  </a:lnTo>
                  <a:lnTo>
                    <a:pt x="246965" y="202861"/>
                  </a:lnTo>
                  <a:lnTo>
                    <a:pt x="242771" y="206068"/>
                  </a:lnTo>
                  <a:close/>
                  <a:moveTo>
                    <a:pt x="37614" y="236609"/>
                  </a:moveTo>
                  <a:lnTo>
                    <a:pt x="33420" y="230146"/>
                  </a:lnTo>
                  <a:lnTo>
                    <a:pt x="31299" y="228518"/>
                  </a:lnTo>
                  <a:lnTo>
                    <a:pt x="29226" y="222103"/>
                  </a:lnTo>
                  <a:lnTo>
                    <a:pt x="22960" y="218847"/>
                  </a:lnTo>
                  <a:lnTo>
                    <a:pt x="16693" y="217268"/>
                  </a:lnTo>
                  <a:lnTo>
                    <a:pt x="12500" y="212334"/>
                  </a:lnTo>
                  <a:lnTo>
                    <a:pt x="12500" y="202466"/>
                  </a:lnTo>
                  <a:lnTo>
                    <a:pt x="8306" y="196002"/>
                  </a:lnTo>
                  <a:lnTo>
                    <a:pt x="4112" y="192795"/>
                  </a:lnTo>
                  <a:lnTo>
                    <a:pt x="4112" y="184753"/>
                  </a:lnTo>
                  <a:lnTo>
                    <a:pt x="6184" y="181546"/>
                  </a:lnTo>
                  <a:lnTo>
                    <a:pt x="10378" y="183125"/>
                  </a:lnTo>
                  <a:lnTo>
                    <a:pt x="18766" y="189588"/>
                  </a:lnTo>
                  <a:lnTo>
                    <a:pt x="18766" y="196002"/>
                  </a:lnTo>
                  <a:lnTo>
                    <a:pt x="16693" y="202466"/>
                  </a:lnTo>
                  <a:lnTo>
                    <a:pt x="22960" y="208930"/>
                  </a:lnTo>
                  <a:lnTo>
                    <a:pt x="27104" y="212137"/>
                  </a:lnTo>
                  <a:lnTo>
                    <a:pt x="29226" y="212137"/>
                  </a:lnTo>
                  <a:lnTo>
                    <a:pt x="31299" y="213716"/>
                  </a:lnTo>
                  <a:lnTo>
                    <a:pt x="33420" y="213716"/>
                  </a:lnTo>
                  <a:lnTo>
                    <a:pt x="35542" y="220179"/>
                  </a:lnTo>
                  <a:lnTo>
                    <a:pt x="41808" y="228222"/>
                  </a:lnTo>
                  <a:lnTo>
                    <a:pt x="43880" y="233156"/>
                  </a:lnTo>
                  <a:lnTo>
                    <a:pt x="41808" y="238090"/>
                  </a:lnTo>
                  <a:lnTo>
                    <a:pt x="39686" y="238090"/>
                  </a:lnTo>
                  <a:cubicBezTo>
                    <a:pt x="39686" y="238090"/>
                    <a:pt x="35394" y="236609"/>
                    <a:pt x="37466" y="236609"/>
                  </a:cubicBezTo>
                  <a:close/>
                  <a:moveTo>
                    <a:pt x="171573" y="376736"/>
                  </a:moveTo>
                  <a:lnTo>
                    <a:pt x="167428" y="373529"/>
                  </a:lnTo>
                  <a:lnTo>
                    <a:pt x="165306" y="373529"/>
                  </a:lnTo>
                  <a:lnTo>
                    <a:pt x="163235" y="376736"/>
                  </a:lnTo>
                  <a:lnTo>
                    <a:pt x="161162" y="376736"/>
                  </a:lnTo>
                  <a:lnTo>
                    <a:pt x="158991" y="371802"/>
                  </a:lnTo>
                  <a:lnTo>
                    <a:pt x="161162" y="363760"/>
                  </a:lnTo>
                  <a:lnTo>
                    <a:pt x="158991" y="362131"/>
                  </a:lnTo>
                  <a:lnTo>
                    <a:pt x="154846" y="360503"/>
                  </a:lnTo>
                  <a:lnTo>
                    <a:pt x="144386" y="350635"/>
                  </a:lnTo>
                  <a:lnTo>
                    <a:pt x="144386" y="347428"/>
                  </a:lnTo>
                  <a:lnTo>
                    <a:pt x="150653" y="342494"/>
                  </a:lnTo>
                  <a:lnTo>
                    <a:pt x="152725" y="342494"/>
                  </a:lnTo>
                  <a:lnTo>
                    <a:pt x="154846" y="340915"/>
                  </a:lnTo>
                  <a:lnTo>
                    <a:pt x="156919" y="335981"/>
                  </a:lnTo>
                  <a:lnTo>
                    <a:pt x="154846" y="334353"/>
                  </a:lnTo>
                  <a:lnTo>
                    <a:pt x="150653" y="335981"/>
                  </a:lnTo>
                  <a:lnTo>
                    <a:pt x="148580" y="332724"/>
                  </a:lnTo>
                  <a:lnTo>
                    <a:pt x="144386" y="332724"/>
                  </a:lnTo>
                  <a:lnTo>
                    <a:pt x="142314" y="337658"/>
                  </a:lnTo>
                  <a:lnTo>
                    <a:pt x="133877" y="339287"/>
                  </a:lnTo>
                  <a:lnTo>
                    <a:pt x="127610" y="334353"/>
                  </a:lnTo>
                  <a:lnTo>
                    <a:pt x="125538" y="329419"/>
                  </a:lnTo>
                  <a:lnTo>
                    <a:pt x="123466" y="329419"/>
                  </a:lnTo>
                  <a:lnTo>
                    <a:pt x="119272" y="324485"/>
                  </a:lnTo>
                  <a:lnTo>
                    <a:pt x="112956" y="324485"/>
                  </a:lnTo>
                  <a:lnTo>
                    <a:pt x="110885" y="321278"/>
                  </a:lnTo>
                  <a:lnTo>
                    <a:pt x="110885" y="318021"/>
                  </a:lnTo>
                  <a:lnTo>
                    <a:pt x="106690" y="314814"/>
                  </a:lnTo>
                  <a:lnTo>
                    <a:pt x="102496" y="314814"/>
                  </a:lnTo>
                  <a:lnTo>
                    <a:pt x="102496" y="309140"/>
                  </a:lnTo>
                  <a:lnTo>
                    <a:pt x="96230" y="305883"/>
                  </a:lnTo>
                  <a:lnTo>
                    <a:pt x="96230" y="302676"/>
                  </a:lnTo>
                  <a:lnTo>
                    <a:pt x="94109" y="301048"/>
                  </a:lnTo>
                  <a:lnTo>
                    <a:pt x="96230" y="297841"/>
                  </a:lnTo>
                  <a:lnTo>
                    <a:pt x="96230" y="294634"/>
                  </a:lnTo>
                  <a:lnTo>
                    <a:pt x="92036" y="291427"/>
                  </a:lnTo>
                  <a:lnTo>
                    <a:pt x="92036" y="288170"/>
                  </a:lnTo>
                  <a:lnTo>
                    <a:pt x="100424" y="283236"/>
                  </a:lnTo>
                  <a:lnTo>
                    <a:pt x="104618" y="284864"/>
                  </a:lnTo>
                  <a:lnTo>
                    <a:pt x="108763" y="289798"/>
                  </a:lnTo>
                  <a:lnTo>
                    <a:pt x="110885" y="291427"/>
                  </a:lnTo>
                  <a:lnTo>
                    <a:pt x="112956" y="291427"/>
                  </a:lnTo>
                  <a:lnTo>
                    <a:pt x="115029" y="288170"/>
                  </a:lnTo>
                  <a:lnTo>
                    <a:pt x="121345" y="289798"/>
                  </a:lnTo>
                  <a:lnTo>
                    <a:pt x="125538" y="291427"/>
                  </a:lnTo>
                  <a:lnTo>
                    <a:pt x="129732" y="291427"/>
                  </a:lnTo>
                  <a:lnTo>
                    <a:pt x="142314" y="289798"/>
                  </a:lnTo>
                  <a:lnTo>
                    <a:pt x="142314" y="286591"/>
                  </a:lnTo>
                  <a:lnTo>
                    <a:pt x="135999" y="283335"/>
                  </a:lnTo>
                  <a:lnTo>
                    <a:pt x="129732" y="283335"/>
                  </a:lnTo>
                  <a:lnTo>
                    <a:pt x="121345" y="281756"/>
                  </a:lnTo>
                  <a:lnTo>
                    <a:pt x="115029" y="280128"/>
                  </a:lnTo>
                  <a:lnTo>
                    <a:pt x="115029" y="278499"/>
                  </a:lnTo>
                  <a:lnTo>
                    <a:pt x="119272" y="276921"/>
                  </a:lnTo>
                  <a:lnTo>
                    <a:pt x="125538" y="276921"/>
                  </a:lnTo>
                  <a:lnTo>
                    <a:pt x="135999" y="271986"/>
                  </a:lnTo>
                  <a:lnTo>
                    <a:pt x="142314" y="268730"/>
                  </a:lnTo>
                  <a:lnTo>
                    <a:pt x="152577" y="268730"/>
                  </a:lnTo>
                  <a:lnTo>
                    <a:pt x="156771" y="267151"/>
                  </a:lnTo>
                  <a:lnTo>
                    <a:pt x="158843" y="267151"/>
                  </a:lnTo>
                  <a:lnTo>
                    <a:pt x="161014" y="268730"/>
                  </a:lnTo>
                  <a:lnTo>
                    <a:pt x="161014" y="263796"/>
                  </a:lnTo>
                  <a:lnTo>
                    <a:pt x="165159" y="262217"/>
                  </a:lnTo>
                  <a:lnTo>
                    <a:pt x="165159" y="259010"/>
                  </a:lnTo>
                  <a:lnTo>
                    <a:pt x="163086" y="257382"/>
                  </a:lnTo>
                  <a:lnTo>
                    <a:pt x="156771" y="260589"/>
                  </a:lnTo>
                  <a:lnTo>
                    <a:pt x="152577" y="263796"/>
                  </a:lnTo>
                  <a:lnTo>
                    <a:pt x="135850" y="263796"/>
                  </a:lnTo>
                  <a:lnTo>
                    <a:pt x="133729" y="262217"/>
                  </a:lnTo>
                  <a:lnTo>
                    <a:pt x="127463" y="262217"/>
                  </a:lnTo>
                  <a:lnTo>
                    <a:pt x="125390" y="263796"/>
                  </a:lnTo>
                  <a:lnTo>
                    <a:pt x="123318" y="263796"/>
                  </a:lnTo>
                  <a:lnTo>
                    <a:pt x="119124" y="270260"/>
                  </a:lnTo>
                  <a:lnTo>
                    <a:pt x="108614" y="270260"/>
                  </a:lnTo>
                  <a:lnTo>
                    <a:pt x="104470" y="271888"/>
                  </a:lnTo>
                  <a:lnTo>
                    <a:pt x="98303" y="271888"/>
                  </a:lnTo>
                  <a:lnTo>
                    <a:pt x="91987" y="275095"/>
                  </a:lnTo>
                  <a:lnTo>
                    <a:pt x="87793" y="275095"/>
                  </a:lnTo>
                  <a:lnTo>
                    <a:pt x="85720" y="273467"/>
                  </a:lnTo>
                  <a:lnTo>
                    <a:pt x="85720" y="265424"/>
                  </a:lnTo>
                  <a:lnTo>
                    <a:pt x="83599" y="257382"/>
                  </a:lnTo>
                  <a:lnTo>
                    <a:pt x="83599" y="250918"/>
                  </a:lnTo>
                  <a:lnTo>
                    <a:pt x="87793" y="249339"/>
                  </a:lnTo>
                  <a:lnTo>
                    <a:pt x="91987" y="247711"/>
                  </a:lnTo>
                  <a:lnTo>
                    <a:pt x="96181" y="249339"/>
                  </a:lnTo>
                  <a:lnTo>
                    <a:pt x="96181" y="252546"/>
                  </a:lnTo>
                  <a:lnTo>
                    <a:pt x="98303" y="252546"/>
                  </a:lnTo>
                  <a:lnTo>
                    <a:pt x="100375" y="247612"/>
                  </a:lnTo>
                  <a:lnTo>
                    <a:pt x="106641" y="244405"/>
                  </a:lnTo>
                  <a:lnTo>
                    <a:pt x="110835" y="245984"/>
                  </a:lnTo>
                  <a:lnTo>
                    <a:pt x="114980" y="241050"/>
                  </a:lnTo>
                  <a:lnTo>
                    <a:pt x="121295" y="234586"/>
                  </a:lnTo>
                  <a:lnTo>
                    <a:pt x="127562" y="232958"/>
                  </a:lnTo>
                  <a:lnTo>
                    <a:pt x="125489" y="228024"/>
                  </a:lnTo>
                  <a:lnTo>
                    <a:pt x="127562" y="224817"/>
                  </a:lnTo>
                  <a:lnTo>
                    <a:pt x="138022" y="221610"/>
                  </a:lnTo>
                  <a:lnTo>
                    <a:pt x="148531" y="221610"/>
                  </a:lnTo>
                  <a:lnTo>
                    <a:pt x="154797" y="216676"/>
                  </a:lnTo>
                  <a:lnTo>
                    <a:pt x="161113" y="215048"/>
                  </a:lnTo>
                  <a:lnTo>
                    <a:pt x="165257" y="211841"/>
                  </a:lnTo>
                  <a:lnTo>
                    <a:pt x="165257" y="210212"/>
                  </a:lnTo>
                  <a:lnTo>
                    <a:pt x="161113" y="210212"/>
                  </a:lnTo>
                  <a:lnTo>
                    <a:pt x="154797" y="213419"/>
                  </a:lnTo>
                  <a:lnTo>
                    <a:pt x="150603" y="215048"/>
                  </a:lnTo>
                  <a:lnTo>
                    <a:pt x="144337" y="211841"/>
                  </a:lnTo>
                  <a:lnTo>
                    <a:pt x="144337" y="208633"/>
                  </a:lnTo>
                  <a:lnTo>
                    <a:pt x="148531" y="202170"/>
                  </a:lnTo>
                  <a:lnTo>
                    <a:pt x="148531" y="195706"/>
                  </a:lnTo>
                  <a:lnTo>
                    <a:pt x="146409" y="190772"/>
                  </a:lnTo>
                  <a:lnTo>
                    <a:pt x="142265" y="190772"/>
                  </a:lnTo>
                  <a:lnTo>
                    <a:pt x="140143" y="194029"/>
                  </a:lnTo>
                  <a:lnTo>
                    <a:pt x="140143" y="200443"/>
                  </a:lnTo>
                  <a:lnTo>
                    <a:pt x="138022" y="206907"/>
                  </a:lnTo>
                  <a:lnTo>
                    <a:pt x="127562" y="214949"/>
                  </a:lnTo>
                  <a:lnTo>
                    <a:pt x="123417" y="216577"/>
                  </a:lnTo>
                  <a:lnTo>
                    <a:pt x="119223" y="214949"/>
                  </a:lnTo>
                  <a:lnTo>
                    <a:pt x="117101" y="206907"/>
                  </a:lnTo>
                  <a:lnTo>
                    <a:pt x="119223" y="203699"/>
                  </a:lnTo>
                  <a:lnTo>
                    <a:pt x="123417" y="200443"/>
                  </a:lnTo>
                  <a:lnTo>
                    <a:pt x="123417" y="195509"/>
                  </a:lnTo>
                  <a:lnTo>
                    <a:pt x="121295" y="192302"/>
                  </a:lnTo>
                  <a:lnTo>
                    <a:pt x="119223" y="185838"/>
                  </a:lnTo>
                  <a:lnTo>
                    <a:pt x="117101" y="182631"/>
                  </a:lnTo>
                  <a:lnTo>
                    <a:pt x="114980" y="182631"/>
                  </a:lnTo>
                  <a:lnTo>
                    <a:pt x="112907" y="185838"/>
                  </a:lnTo>
                  <a:lnTo>
                    <a:pt x="112907" y="200344"/>
                  </a:lnTo>
                  <a:lnTo>
                    <a:pt x="108713" y="203601"/>
                  </a:lnTo>
                  <a:lnTo>
                    <a:pt x="106641" y="200344"/>
                  </a:lnTo>
                  <a:lnTo>
                    <a:pt x="108713" y="198765"/>
                  </a:lnTo>
                  <a:lnTo>
                    <a:pt x="104569" y="192302"/>
                  </a:lnTo>
                  <a:lnTo>
                    <a:pt x="100375" y="190674"/>
                  </a:lnTo>
                  <a:lnTo>
                    <a:pt x="98303" y="192302"/>
                  </a:lnTo>
                  <a:lnTo>
                    <a:pt x="98303" y="197236"/>
                  </a:lnTo>
                  <a:lnTo>
                    <a:pt x="100375" y="202170"/>
                  </a:lnTo>
                  <a:lnTo>
                    <a:pt x="100375" y="208633"/>
                  </a:lnTo>
                  <a:lnTo>
                    <a:pt x="102447" y="213568"/>
                  </a:lnTo>
                  <a:lnTo>
                    <a:pt x="106641" y="220031"/>
                  </a:lnTo>
                  <a:lnTo>
                    <a:pt x="106641" y="223238"/>
                  </a:lnTo>
                  <a:lnTo>
                    <a:pt x="100375" y="223238"/>
                  </a:lnTo>
                  <a:lnTo>
                    <a:pt x="96181" y="224866"/>
                  </a:lnTo>
                  <a:lnTo>
                    <a:pt x="94059" y="231330"/>
                  </a:lnTo>
                  <a:lnTo>
                    <a:pt x="94059" y="236264"/>
                  </a:lnTo>
                  <a:lnTo>
                    <a:pt x="89866" y="239471"/>
                  </a:lnTo>
                  <a:lnTo>
                    <a:pt x="68698" y="239471"/>
                  </a:lnTo>
                  <a:lnTo>
                    <a:pt x="68698" y="236264"/>
                  </a:lnTo>
                  <a:lnTo>
                    <a:pt x="70771" y="233008"/>
                  </a:lnTo>
                  <a:lnTo>
                    <a:pt x="68698" y="230195"/>
                  </a:lnTo>
                  <a:lnTo>
                    <a:pt x="60360" y="222153"/>
                  </a:lnTo>
                  <a:lnTo>
                    <a:pt x="54094" y="220524"/>
                  </a:lnTo>
                  <a:lnTo>
                    <a:pt x="51972" y="222153"/>
                  </a:lnTo>
                  <a:lnTo>
                    <a:pt x="47778" y="215689"/>
                  </a:lnTo>
                  <a:lnTo>
                    <a:pt x="47778" y="210755"/>
                  </a:lnTo>
                  <a:lnTo>
                    <a:pt x="56166" y="210755"/>
                  </a:lnTo>
                  <a:lnTo>
                    <a:pt x="60360" y="207548"/>
                  </a:lnTo>
                  <a:lnTo>
                    <a:pt x="58238" y="205920"/>
                  </a:lnTo>
                  <a:lnTo>
                    <a:pt x="49851" y="205920"/>
                  </a:lnTo>
                  <a:lnTo>
                    <a:pt x="45656" y="204341"/>
                  </a:lnTo>
                  <a:lnTo>
                    <a:pt x="43584" y="201084"/>
                  </a:lnTo>
                  <a:lnTo>
                    <a:pt x="39390" y="197877"/>
                  </a:lnTo>
                  <a:lnTo>
                    <a:pt x="33124" y="194670"/>
                  </a:lnTo>
                  <a:lnTo>
                    <a:pt x="28930" y="191414"/>
                  </a:lnTo>
                  <a:lnTo>
                    <a:pt x="31002" y="188207"/>
                  </a:lnTo>
                  <a:lnTo>
                    <a:pt x="31002" y="186578"/>
                  </a:lnTo>
                  <a:lnTo>
                    <a:pt x="28930" y="183371"/>
                  </a:lnTo>
                  <a:lnTo>
                    <a:pt x="22664" y="181792"/>
                  </a:lnTo>
                  <a:lnTo>
                    <a:pt x="18470" y="175329"/>
                  </a:lnTo>
                  <a:lnTo>
                    <a:pt x="18470" y="172122"/>
                  </a:lnTo>
                  <a:lnTo>
                    <a:pt x="20542" y="170493"/>
                  </a:lnTo>
                  <a:lnTo>
                    <a:pt x="31002" y="176957"/>
                  </a:lnTo>
                  <a:lnTo>
                    <a:pt x="33124" y="180164"/>
                  </a:lnTo>
                  <a:lnTo>
                    <a:pt x="33124" y="181792"/>
                  </a:lnTo>
                  <a:lnTo>
                    <a:pt x="35245" y="181792"/>
                  </a:lnTo>
                  <a:lnTo>
                    <a:pt x="41512" y="178536"/>
                  </a:lnTo>
                  <a:lnTo>
                    <a:pt x="41512" y="173602"/>
                  </a:lnTo>
                  <a:lnTo>
                    <a:pt x="39390" y="172023"/>
                  </a:lnTo>
                  <a:lnTo>
                    <a:pt x="35245" y="172023"/>
                  </a:lnTo>
                  <a:lnTo>
                    <a:pt x="31002" y="170395"/>
                  </a:lnTo>
                  <a:lnTo>
                    <a:pt x="31002" y="168766"/>
                  </a:lnTo>
                  <a:lnTo>
                    <a:pt x="26808" y="163832"/>
                  </a:lnTo>
                  <a:lnTo>
                    <a:pt x="24736" y="160625"/>
                  </a:lnTo>
                  <a:lnTo>
                    <a:pt x="26808" y="159046"/>
                  </a:lnTo>
                  <a:lnTo>
                    <a:pt x="29226" y="151251"/>
                  </a:lnTo>
                  <a:lnTo>
                    <a:pt x="33420" y="146317"/>
                  </a:lnTo>
                  <a:lnTo>
                    <a:pt x="31299" y="144738"/>
                  </a:lnTo>
                  <a:lnTo>
                    <a:pt x="27104" y="146317"/>
                  </a:lnTo>
                  <a:lnTo>
                    <a:pt x="22960" y="143110"/>
                  </a:lnTo>
                  <a:lnTo>
                    <a:pt x="20838" y="144738"/>
                  </a:lnTo>
                  <a:lnTo>
                    <a:pt x="18766" y="151152"/>
                  </a:lnTo>
                  <a:lnTo>
                    <a:pt x="20838" y="156086"/>
                  </a:lnTo>
                  <a:lnTo>
                    <a:pt x="16693" y="159342"/>
                  </a:lnTo>
                  <a:lnTo>
                    <a:pt x="12500" y="162550"/>
                  </a:lnTo>
                  <a:lnTo>
                    <a:pt x="10378" y="156086"/>
                  </a:lnTo>
                  <a:lnTo>
                    <a:pt x="4112" y="148044"/>
                  </a:lnTo>
                  <a:lnTo>
                    <a:pt x="1990" y="140001"/>
                  </a:lnTo>
                  <a:lnTo>
                    <a:pt x="-82" y="133537"/>
                  </a:lnTo>
                  <a:lnTo>
                    <a:pt x="-82" y="127123"/>
                  </a:lnTo>
                  <a:lnTo>
                    <a:pt x="4112" y="127123"/>
                  </a:lnTo>
                  <a:lnTo>
                    <a:pt x="10378" y="122189"/>
                  </a:lnTo>
                  <a:lnTo>
                    <a:pt x="12500" y="122189"/>
                  </a:lnTo>
                  <a:lnTo>
                    <a:pt x="12500" y="115726"/>
                  </a:lnTo>
                  <a:lnTo>
                    <a:pt x="10378" y="112518"/>
                  </a:lnTo>
                  <a:lnTo>
                    <a:pt x="10378" y="106055"/>
                  </a:lnTo>
                  <a:lnTo>
                    <a:pt x="16693" y="101121"/>
                  </a:lnTo>
                  <a:lnTo>
                    <a:pt x="20838" y="101121"/>
                  </a:lnTo>
                  <a:lnTo>
                    <a:pt x="25032" y="109163"/>
                  </a:lnTo>
                  <a:lnTo>
                    <a:pt x="29226" y="114097"/>
                  </a:lnTo>
                  <a:lnTo>
                    <a:pt x="33420" y="115726"/>
                  </a:lnTo>
                  <a:lnTo>
                    <a:pt x="35542" y="112518"/>
                  </a:lnTo>
                  <a:lnTo>
                    <a:pt x="29226" y="104476"/>
                  </a:lnTo>
                  <a:lnTo>
                    <a:pt x="29226" y="98012"/>
                  </a:lnTo>
                  <a:lnTo>
                    <a:pt x="31299" y="98012"/>
                  </a:lnTo>
                  <a:lnTo>
                    <a:pt x="35542" y="99641"/>
                  </a:lnTo>
                  <a:lnTo>
                    <a:pt x="35542" y="102848"/>
                  </a:lnTo>
                  <a:lnTo>
                    <a:pt x="39686" y="106055"/>
                  </a:lnTo>
                  <a:lnTo>
                    <a:pt x="43880" y="102848"/>
                  </a:lnTo>
                  <a:lnTo>
                    <a:pt x="58682" y="92980"/>
                  </a:lnTo>
                  <a:lnTo>
                    <a:pt x="67070" y="91351"/>
                  </a:lnTo>
                  <a:lnTo>
                    <a:pt x="71215" y="94608"/>
                  </a:lnTo>
                  <a:lnTo>
                    <a:pt x="75458" y="101022"/>
                  </a:lnTo>
                  <a:lnTo>
                    <a:pt x="73336" y="105956"/>
                  </a:lnTo>
                  <a:lnTo>
                    <a:pt x="69142" y="110890"/>
                  </a:lnTo>
                  <a:lnTo>
                    <a:pt x="64948" y="109262"/>
                  </a:lnTo>
                  <a:lnTo>
                    <a:pt x="62876" y="107683"/>
                  </a:lnTo>
                  <a:lnTo>
                    <a:pt x="60804" y="109262"/>
                  </a:lnTo>
                  <a:lnTo>
                    <a:pt x="52416" y="114196"/>
                  </a:lnTo>
                  <a:lnTo>
                    <a:pt x="50294" y="117452"/>
                  </a:lnTo>
                  <a:lnTo>
                    <a:pt x="48222" y="117452"/>
                  </a:lnTo>
                  <a:lnTo>
                    <a:pt x="46101" y="120660"/>
                  </a:lnTo>
                  <a:lnTo>
                    <a:pt x="50294" y="123867"/>
                  </a:lnTo>
                  <a:lnTo>
                    <a:pt x="56610" y="120660"/>
                  </a:lnTo>
                  <a:lnTo>
                    <a:pt x="64948" y="117452"/>
                  </a:lnTo>
                  <a:lnTo>
                    <a:pt x="67070" y="119031"/>
                  </a:lnTo>
                  <a:lnTo>
                    <a:pt x="67070" y="120660"/>
                  </a:lnTo>
                  <a:lnTo>
                    <a:pt x="60804" y="125594"/>
                  </a:lnTo>
                  <a:lnTo>
                    <a:pt x="60804" y="128801"/>
                  </a:lnTo>
                  <a:lnTo>
                    <a:pt x="64948" y="130429"/>
                  </a:lnTo>
                  <a:lnTo>
                    <a:pt x="67070" y="127222"/>
                  </a:lnTo>
                  <a:lnTo>
                    <a:pt x="69142" y="128801"/>
                  </a:lnTo>
                  <a:lnTo>
                    <a:pt x="71215" y="132008"/>
                  </a:lnTo>
                  <a:lnTo>
                    <a:pt x="75458" y="133636"/>
                  </a:lnTo>
                  <a:lnTo>
                    <a:pt x="73336" y="138570"/>
                  </a:lnTo>
                  <a:lnTo>
                    <a:pt x="75458" y="145034"/>
                  </a:lnTo>
                  <a:lnTo>
                    <a:pt x="79652" y="148241"/>
                  </a:lnTo>
                  <a:lnTo>
                    <a:pt x="81724" y="149869"/>
                  </a:lnTo>
                  <a:lnTo>
                    <a:pt x="81724" y="141383"/>
                  </a:lnTo>
                  <a:lnTo>
                    <a:pt x="77530" y="133340"/>
                  </a:lnTo>
                  <a:lnTo>
                    <a:pt x="75458" y="126926"/>
                  </a:lnTo>
                  <a:lnTo>
                    <a:pt x="77530" y="120462"/>
                  </a:lnTo>
                  <a:lnTo>
                    <a:pt x="83797" y="110594"/>
                  </a:lnTo>
                  <a:lnTo>
                    <a:pt x="85918" y="104180"/>
                  </a:lnTo>
                  <a:lnTo>
                    <a:pt x="90062" y="100923"/>
                  </a:lnTo>
                  <a:lnTo>
                    <a:pt x="92184" y="102552"/>
                  </a:lnTo>
                  <a:lnTo>
                    <a:pt x="98500" y="108966"/>
                  </a:lnTo>
                  <a:lnTo>
                    <a:pt x="106838" y="113900"/>
                  </a:lnTo>
                  <a:lnTo>
                    <a:pt x="106838" y="128406"/>
                  </a:lnTo>
                  <a:lnTo>
                    <a:pt x="113105" y="141284"/>
                  </a:lnTo>
                  <a:lnTo>
                    <a:pt x="113105" y="146218"/>
                  </a:lnTo>
                  <a:lnTo>
                    <a:pt x="111032" y="151152"/>
                  </a:lnTo>
                  <a:lnTo>
                    <a:pt x="106838" y="154408"/>
                  </a:lnTo>
                  <a:lnTo>
                    <a:pt x="106838" y="157616"/>
                  </a:lnTo>
                  <a:lnTo>
                    <a:pt x="108911" y="157616"/>
                  </a:lnTo>
                  <a:lnTo>
                    <a:pt x="115177" y="155987"/>
                  </a:lnTo>
                  <a:lnTo>
                    <a:pt x="119420" y="155987"/>
                  </a:lnTo>
                  <a:lnTo>
                    <a:pt x="123614" y="162451"/>
                  </a:lnTo>
                  <a:lnTo>
                    <a:pt x="127759" y="172319"/>
                  </a:lnTo>
                  <a:lnTo>
                    <a:pt x="131952" y="173898"/>
                  </a:lnTo>
                  <a:lnTo>
                    <a:pt x="136147" y="173898"/>
                  </a:lnTo>
                  <a:lnTo>
                    <a:pt x="136147" y="168964"/>
                  </a:lnTo>
                  <a:lnTo>
                    <a:pt x="129880" y="162550"/>
                  </a:lnTo>
                  <a:lnTo>
                    <a:pt x="129880" y="156185"/>
                  </a:lnTo>
                  <a:lnTo>
                    <a:pt x="123614" y="148142"/>
                  </a:lnTo>
                  <a:lnTo>
                    <a:pt x="119420" y="141679"/>
                  </a:lnTo>
                  <a:lnTo>
                    <a:pt x="119420" y="131811"/>
                  </a:lnTo>
                  <a:lnTo>
                    <a:pt x="121492" y="114097"/>
                  </a:lnTo>
                  <a:lnTo>
                    <a:pt x="119420" y="109163"/>
                  </a:lnTo>
                  <a:lnTo>
                    <a:pt x="115177" y="107584"/>
                  </a:lnTo>
                  <a:lnTo>
                    <a:pt x="117298" y="102650"/>
                  </a:lnTo>
                  <a:lnTo>
                    <a:pt x="117298" y="96187"/>
                  </a:lnTo>
                  <a:lnTo>
                    <a:pt x="119420" y="91253"/>
                  </a:lnTo>
                  <a:lnTo>
                    <a:pt x="119420" y="81385"/>
                  </a:lnTo>
                  <a:lnTo>
                    <a:pt x="123614" y="74970"/>
                  </a:lnTo>
                  <a:lnTo>
                    <a:pt x="127759" y="73342"/>
                  </a:lnTo>
                  <a:lnTo>
                    <a:pt x="129880" y="74970"/>
                  </a:lnTo>
                  <a:lnTo>
                    <a:pt x="136147" y="83013"/>
                  </a:lnTo>
                  <a:lnTo>
                    <a:pt x="138219" y="89476"/>
                  </a:lnTo>
                  <a:lnTo>
                    <a:pt x="142462" y="91055"/>
                  </a:lnTo>
                  <a:lnTo>
                    <a:pt x="144534" y="86121"/>
                  </a:lnTo>
                  <a:lnTo>
                    <a:pt x="150801" y="84542"/>
                  </a:lnTo>
                  <a:lnTo>
                    <a:pt x="154995" y="87750"/>
                  </a:lnTo>
                  <a:lnTo>
                    <a:pt x="163382" y="95792"/>
                  </a:lnTo>
                  <a:lnTo>
                    <a:pt x="165455" y="102256"/>
                  </a:lnTo>
                  <a:lnTo>
                    <a:pt x="165455" y="110298"/>
                  </a:lnTo>
                  <a:lnTo>
                    <a:pt x="163382" y="111926"/>
                  </a:lnTo>
                  <a:lnTo>
                    <a:pt x="163382" y="134475"/>
                  </a:lnTo>
                  <a:lnTo>
                    <a:pt x="161310" y="136054"/>
                  </a:lnTo>
                  <a:lnTo>
                    <a:pt x="165455" y="137682"/>
                  </a:lnTo>
                  <a:lnTo>
                    <a:pt x="169648" y="134475"/>
                  </a:lnTo>
                  <a:lnTo>
                    <a:pt x="169648" y="127074"/>
                  </a:lnTo>
                  <a:lnTo>
                    <a:pt x="167577" y="115775"/>
                  </a:lnTo>
                  <a:lnTo>
                    <a:pt x="169648" y="110841"/>
                  </a:lnTo>
                  <a:lnTo>
                    <a:pt x="173843" y="107634"/>
                  </a:lnTo>
                  <a:lnTo>
                    <a:pt x="184303" y="114048"/>
                  </a:lnTo>
                  <a:lnTo>
                    <a:pt x="188497" y="125347"/>
                  </a:lnTo>
                  <a:lnTo>
                    <a:pt x="192691" y="139853"/>
                  </a:lnTo>
                  <a:lnTo>
                    <a:pt x="194763" y="143060"/>
                  </a:lnTo>
                  <a:lnTo>
                    <a:pt x="198957" y="147994"/>
                  </a:lnTo>
                  <a:lnTo>
                    <a:pt x="205273" y="147994"/>
                  </a:lnTo>
                  <a:lnTo>
                    <a:pt x="209417" y="149622"/>
                  </a:lnTo>
                  <a:lnTo>
                    <a:pt x="217805" y="157665"/>
                  </a:lnTo>
                  <a:lnTo>
                    <a:pt x="221950" y="160872"/>
                  </a:lnTo>
                  <a:lnTo>
                    <a:pt x="230387" y="168914"/>
                  </a:lnTo>
                  <a:lnTo>
                    <a:pt x="238725" y="173849"/>
                  </a:lnTo>
                  <a:lnTo>
                    <a:pt x="255501" y="177105"/>
                  </a:lnTo>
                  <a:lnTo>
                    <a:pt x="259645" y="178684"/>
                  </a:lnTo>
                  <a:lnTo>
                    <a:pt x="259645" y="185147"/>
                  </a:lnTo>
                  <a:lnTo>
                    <a:pt x="257573" y="188355"/>
                  </a:lnTo>
                  <a:lnTo>
                    <a:pt x="257573" y="193289"/>
                  </a:lnTo>
                  <a:lnTo>
                    <a:pt x="253380" y="193289"/>
                  </a:lnTo>
                  <a:lnTo>
                    <a:pt x="249234" y="186825"/>
                  </a:lnTo>
                  <a:lnTo>
                    <a:pt x="242919" y="190081"/>
                  </a:lnTo>
                  <a:lnTo>
                    <a:pt x="236455" y="190081"/>
                  </a:lnTo>
                  <a:lnTo>
                    <a:pt x="228068" y="196496"/>
                  </a:lnTo>
                  <a:lnTo>
                    <a:pt x="219680" y="196496"/>
                  </a:lnTo>
                  <a:lnTo>
                    <a:pt x="219680" y="199752"/>
                  </a:lnTo>
                  <a:lnTo>
                    <a:pt x="221752" y="202959"/>
                  </a:lnTo>
                  <a:lnTo>
                    <a:pt x="221752" y="206166"/>
                  </a:lnTo>
                  <a:lnTo>
                    <a:pt x="213413" y="211100"/>
                  </a:lnTo>
                  <a:lnTo>
                    <a:pt x="211341" y="214308"/>
                  </a:lnTo>
                  <a:lnTo>
                    <a:pt x="213413" y="222399"/>
                  </a:lnTo>
                  <a:lnTo>
                    <a:pt x="213413" y="244948"/>
                  </a:lnTo>
                  <a:lnTo>
                    <a:pt x="215486" y="248155"/>
                  </a:lnTo>
                  <a:lnTo>
                    <a:pt x="211341" y="253089"/>
                  </a:lnTo>
                  <a:lnTo>
                    <a:pt x="205075" y="249882"/>
                  </a:lnTo>
                  <a:lnTo>
                    <a:pt x="202904" y="251461"/>
                  </a:lnTo>
                  <a:lnTo>
                    <a:pt x="200832" y="257924"/>
                  </a:lnTo>
                  <a:lnTo>
                    <a:pt x="207148" y="265967"/>
                  </a:lnTo>
                  <a:lnTo>
                    <a:pt x="207148" y="272431"/>
                  </a:lnTo>
                  <a:lnTo>
                    <a:pt x="205075" y="278845"/>
                  </a:lnTo>
                  <a:lnTo>
                    <a:pt x="205075" y="293351"/>
                  </a:lnTo>
                  <a:lnTo>
                    <a:pt x="194566" y="293351"/>
                  </a:lnTo>
                  <a:lnTo>
                    <a:pt x="188299" y="296558"/>
                  </a:lnTo>
                  <a:lnTo>
                    <a:pt x="194566" y="299814"/>
                  </a:lnTo>
                  <a:lnTo>
                    <a:pt x="192493" y="303022"/>
                  </a:lnTo>
                  <a:lnTo>
                    <a:pt x="188299" y="306229"/>
                  </a:lnTo>
                  <a:lnTo>
                    <a:pt x="188299" y="316097"/>
                  </a:lnTo>
                  <a:lnTo>
                    <a:pt x="186227" y="335438"/>
                  </a:lnTo>
                  <a:lnTo>
                    <a:pt x="184105" y="340372"/>
                  </a:lnTo>
                  <a:lnTo>
                    <a:pt x="181984" y="343579"/>
                  </a:lnTo>
                  <a:lnTo>
                    <a:pt x="181984" y="351622"/>
                  </a:lnTo>
                  <a:lnTo>
                    <a:pt x="186227" y="359714"/>
                  </a:lnTo>
                  <a:lnTo>
                    <a:pt x="184105" y="362921"/>
                  </a:lnTo>
                  <a:lnTo>
                    <a:pt x="184105" y="364549"/>
                  </a:lnTo>
                  <a:lnTo>
                    <a:pt x="181984" y="370963"/>
                  </a:lnTo>
                  <a:lnTo>
                    <a:pt x="177790" y="37589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Graphic 2">
              <a:extLst>
                <a:ext uri="{FF2B5EF4-FFF2-40B4-BE49-F238E27FC236}">
                  <a16:creationId xmlns:a16="http://schemas.microsoft.com/office/drawing/2014/main" id="{03460F3C-8E07-4D2C-B4E2-785FAD089267}"/>
                </a:ext>
              </a:extLst>
            </p:cNvPr>
            <p:cNvSpPr/>
            <p:nvPr/>
          </p:nvSpPr>
          <p:spPr>
            <a:xfrm>
              <a:off x="9327203" y="3193825"/>
              <a:ext cx="156177" cy="230444"/>
            </a:xfrm>
            <a:custGeom>
              <a:avLst/>
              <a:gdLst>
                <a:gd name="connsiteX0" fmla="*/ -82 w 171902"/>
                <a:gd name="connsiteY0" fmla="*/ 158898 h 253658"/>
                <a:gd name="connsiteX1" fmla="*/ -82 w 171902"/>
                <a:gd name="connsiteY1" fmla="*/ 140593 h 253658"/>
                <a:gd name="connsiteX2" fmla="*/ 9786 w 171902"/>
                <a:gd name="connsiteY2" fmla="*/ 134475 h 253658"/>
                <a:gd name="connsiteX3" fmla="*/ 15657 w 171902"/>
                <a:gd name="connsiteY3" fmla="*/ 125298 h 253658"/>
                <a:gd name="connsiteX4" fmla="*/ 15657 w 171902"/>
                <a:gd name="connsiteY4" fmla="*/ 120709 h 253658"/>
                <a:gd name="connsiteX5" fmla="*/ 23454 w 171902"/>
                <a:gd name="connsiteY5" fmla="*/ 116120 h 253658"/>
                <a:gd name="connsiteX6" fmla="*/ 29325 w 171902"/>
                <a:gd name="connsiteY6" fmla="*/ 105413 h 253658"/>
                <a:gd name="connsiteX7" fmla="*/ 37121 w 171902"/>
                <a:gd name="connsiteY7" fmla="*/ 103884 h 253658"/>
                <a:gd name="connsiteX8" fmla="*/ 41068 w 171902"/>
                <a:gd name="connsiteY8" fmla="*/ 87059 h 253658"/>
                <a:gd name="connsiteX9" fmla="*/ 44917 w 171902"/>
                <a:gd name="connsiteY9" fmla="*/ 82470 h 253658"/>
                <a:gd name="connsiteX10" fmla="*/ 44917 w 171902"/>
                <a:gd name="connsiteY10" fmla="*/ 68754 h 253658"/>
                <a:gd name="connsiteX11" fmla="*/ 52712 w 171902"/>
                <a:gd name="connsiteY11" fmla="*/ 61155 h 253658"/>
                <a:gd name="connsiteX12" fmla="*/ 58583 w 171902"/>
                <a:gd name="connsiteY12" fmla="*/ 70283 h 253658"/>
                <a:gd name="connsiteX13" fmla="*/ 64456 w 171902"/>
                <a:gd name="connsiteY13" fmla="*/ 71813 h 253658"/>
                <a:gd name="connsiteX14" fmla="*/ 70327 w 171902"/>
                <a:gd name="connsiteY14" fmla="*/ 77931 h 253658"/>
                <a:gd name="connsiteX15" fmla="*/ 76149 w 171902"/>
                <a:gd name="connsiteY15" fmla="*/ 76401 h 253658"/>
                <a:gd name="connsiteX16" fmla="*/ 83945 w 171902"/>
                <a:gd name="connsiteY16" fmla="*/ 77931 h 253658"/>
                <a:gd name="connsiteX17" fmla="*/ 97612 w 171902"/>
                <a:gd name="connsiteY17" fmla="*/ 76401 h 253658"/>
                <a:gd name="connsiteX18" fmla="*/ 107480 w 171902"/>
                <a:gd name="connsiteY18" fmla="*/ 77931 h 253658"/>
                <a:gd name="connsiteX19" fmla="*/ 111378 w 171902"/>
                <a:gd name="connsiteY19" fmla="*/ 68754 h 253658"/>
                <a:gd name="connsiteX20" fmla="*/ 111378 w 171902"/>
                <a:gd name="connsiteY20" fmla="*/ 64165 h 253658"/>
                <a:gd name="connsiteX21" fmla="*/ 103533 w 171902"/>
                <a:gd name="connsiteY21" fmla="*/ 58096 h 253658"/>
                <a:gd name="connsiteX22" fmla="*/ 95737 w 171902"/>
                <a:gd name="connsiteY22" fmla="*/ 53507 h 253658"/>
                <a:gd name="connsiteX23" fmla="*/ 101609 w 171902"/>
                <a:gd name="connsiteY23" fmla="*/ 50448 h 253658"/>
                <a:gd name="connsiteX24" fmla="*/ 109404 w 171902"/>
                <a:gd name="connsiteY24" fmla="*/ 47389 h 253658"/>
                <a:gd name="connsiteX25" fmla="*/ 124996 w 171902"/>
                <a:gd name="connsiteY25" fmla="*/ 38212 h 253658"/>
                <a:gd name="connsiteX26" fmla="*/ 124996 w 171902"/>
                <a:gd name="connsiteY26" fmla="*/ 32094 h 253658"/>
                <a:gd name="connsiteX27" fmla="*/ 130868 w 171902"/>
                <a:gd name="connsiteY27" fmla="*/ 25975 h 253658"/>
                <a:gd name="connsiteX28" fmla="*/ 136739 w 171902"/>
                <a:gd name="connsiteY28" fmla="*/ 25975 h 253658"/>
                <a:gd name="connsiteX29" fmla="*/ 140637 w 171902"/>
                <a:gd name="connsiteY29" fmla="*/ 18328 h 253658"/>
                <a:gd name="connsiteX30" fmla="*/ 136739 w 171902"/>
                <a:gd name="connsiteY30" fmla="*/ 13739 h 253658"/>
                <a:gd name="connsiteX31" fmla="*/ 138664 w 171902"/>
                <a:gd name="connsiteY31" fmla="*/ 7621 h 253658"/>
                <a:gd name="connsiteX32" fmla="*/ 138664 w 171902"/>
                <a:gd name="connsiteY32" fmla="*/ 1503 h 253658"/>
                <a:gd name="connsiteX33" fmla="*/ 142561 w 171902"/>
                <a:gd name="connsiteY33" fmla="*/ -27 h 253658"/>
                <a:gd name="connsiteX34" fmla="*/ 150357 w 171902"/>
                <a:gd name="connsiteY34" fmla="*/ 4562 h 253658"/>
                <a:gd name="connsiteX35" fmla="*/ 150357 w 171902"/>
                <a:gd name="connsiteY35" fmla="*/ 10680 h 253658"/>
                <a:gd name="connsiteX36" fmla="*/ 152330 w 171902"/>
                <a:gd name="connsiteY36" fmla="*/ 13739 h 253658"/>
                <a:gd name="connsiteX37" fmla="*/ 164024 w 171902"/>
                <a:gd name="connsiteY37" fmla="*/ 15269 h 253658"/>
                <a:gd name="connsiteX38" fmla="*/ 171820 w 171902"/>
                <a:gd name="connsiteY38" fmla="*/ 25975 h 253658"/>
                <a:gd name="connsiteX39" fmla="*/ 169895 w 171902"/>
                <a:gd name="connsiteY39" fmla="*/ 25975 h 253658"/>
                <a:gd name="connsiteX40" fmla="*/ 158202 w 171902"/>
                <a:gd name="connsiteY40" fmla="*/ 36682 h 253658"/>
                <a:gd name="connsiteX41" fmla="*/ 154156 w 171902"/>
                <a:gd name="connsiteY41" fmla="*/ 36682 h 253658"/>
                <a:gd name="connsiteX42" fmla="*/ 154156 w 171902"/>
                <a:gd name="connsiteY42" fmla="*/ 42800 h 253658"/>
                <a:gd name="connsiteX43" fmla="*/ 150209 w 171902"/>
                <a:gd name="connsiteY43" fmla="*/ 59626 h 253658"/>
                <a:gd name="connsiteX44" fmla="*/ 150209 w 171902"/>
                <a:gd name="connsiteY44" fmla="*/ 67224 h 253658"/>
                <a:gd name="connsiteX45" fmla="*/ 158054 w 171902"/>
                <a:gd name="connsiteY45" fmla="*/ 71813 h 253658"/>
                <a:gd name="connsiteX46" fmla="*/ 158054 w 171902"/>
                <a:gd name="connsiteY46" fmla="*/ 88490 h 253658"/>
                <a:gd name="connsiteX47" fmla="*/ 161952 w 171902"/>
                <a:gd name="connsiteY47" fmla="*/ 93078 h 253658"/>
                <a:gd name="connsiteX48" fmla="*/ 159978 w 171902"/>
                <a:gd name="connsiteY48" fmla="*/ 99196 h 253658"/>
                <a:gd name="connsiteX49" fmla="*/ 152183 w 171902"/>
                <a:gd name="connsiteY49" fmla="*/ 106844 h 253658"/>
                <a:gd name="connsiteX50" fmla="*/ 152183 w 171902"/>
                <a:gd name="connsiteY50" fmla="*/ 109904 h 253658"/>
                <a:gd name="connsiteX51" fmla="*/ 134618 w 171902"/>
                <a:gd name="connsiteY51" fmla="*/ 125199 h 253658"/>
                <a:gd name="connsiteX52" fmla="*/ 136591 w 171902"/>
                <a:gd name="connsiteY52" fmla="*/ 131317 h 253658"/>
                <a:gd name="connsiteX53" fmla="*/ 130719 w 171902"/>
                <a:gd name="connsiteY53" fmla="*/ 134376 h 253658"/>
                <a:gd name="connsiteX54" fmla="*/ 130719 w 171902"/>
                <a:gd name="connsiteY54" fmla="*/ 137435 h 253658"/>
                <a:gd name="connsiteX55" fmla="*/ 122923 w 171902"/>
                <a:gd name="connsiteY55" fmla="*/ 137435 h 253658"/>
                <a:gd name="connsiteX56" fmla="*/ 117052 w 171902"/>
                <a:gd name="connsiteY56" fmla="*/ 140494 h 253658"/>
                <a:gd name="connsiteX57" fmla="*/ 111230 w 171902"/>
                <a:gd name="connsiteY57" fmla="*/ 148093 h 253658"/>
                <a:gd name="connsiteX58" fmla="*/ 103385 w 171902"/>
                <a:gd name="connsiteY58" fmla="*/ 152682 h 253658"/>
                <a:gd name="connsiteX59" fmla="*/ 103385 w 171902"/>
                <a:gd name="connsiteY59" fmla="*/ 161859 h 253658"/>
                <a:gd name="connsiteX60" fmla="*/ 105359 w 171902"/>
                <a:gd name="connsiteY60" fmla="*/ 167977 h 253658"/>
                <a:gd name="connsiteX61" fmla="*/ 101461 w 171902"/>
                <a:gd name="connsiteY61" fmla="*/ 171036 h 253658"/>
                <a:gd name="connsiteX62" fmla="*/ 103385 w 171902"/>
                <a:gd name="connsiteY62" fmla="*/ 178684 h 253658"/>
                <a:gd name="connsiteX63" fmla="*/ 119025 w 171902"/>
                <a:gd name="connsiteY63" fmla="*/ 180214 h 253658"/>
                <a:gd name="connsiteX64" fmla="*/ 120950 w 171902"/>
                <a:gd name="connsiteY64" fmla="*/ 187911 h 253658"/>
                <a:gd name="connsiteX65" fmla="*/ 146311 w 171902"/>
                <a:gd name="connsiteY65" fmla="*/ 200098 h 253658"/>
                <a:gd name="connsiteX66" fmla="*/ 152183 w 171902"/>
                <a:gd name="connsiteY66" fmla="*/ 206216 h 253658"/>
                <a:gd name="connsiteX67" fmla="*/ 136591 w 171902"/>
                <a:gd name="connsiteY67" fmla="*/ 215393 h 253658"/>
                <a:gd name="connsiteX68" fmla="*/ 111230 w 171902"/>
                <a:gd name="connsiteY68" fmla="*/ 216923 h 253658"/>
                <a:gd name="connsiteX69" fmla="*/ 99536 w 171902"/>
                <a:gd name="connsiteY69" fmla="*/ 226100 h 253658"/>
                <a:gd name="connsiteX70" fmla="*/ 87794 w 171902"/>
                <a:gd name="connsiteY70" fmla="*/ 229159 h 253658"/>
                <a:gd name="connsiteX71" fmla="*/ 76099 w 171902"/>
                <a:gd name="connsiteY71" fmla="*/ 238287 h 253658"/>
                <a:gd name="connsiteX72" fmla="*/ 74126 w 171902"/>
                <a:gd name="connsiteY72" fmla="*/ 245935 h 253658"/>
                <a:gd name="connsiteX73" fmla="*/ 66330 w 171902"/>
                <a:gd name="connsiteY73" fmla="*/ 238287 h 253658"/>
                <a:gd name="connsiteX74" fmla="*/ 62432 w 171902"/>
                <a:gd name="connsiteY74" fmla="*/ 241346 h 253658"/>
                <a:gd name="connsiteX75" fmla="*/ 64406 w 171902"/>
                <a:gd name="connsiteY75" fmla="*/ 244405 h 253658"/>
                <a:gd name="connsiteX76" fmla="*/ 56610 w 171902"/>
                <a:gd name="connsiteY76" fmla="*/ 250524 h 253658"/>
                <a:gd name="connsiteX77" fmla="*/ 52663 w 171902"/>
                <a:gd name="connsiteY77" fmla="*/ 248994 h 253658"/>
                <a:gd name="connsiteX78" fmla="*/ 44868 w 171902"/>
                <a:gd name="connsiteY78" fmla="*/ 253632 h 253658"/>
                <a:gd name="connsiteX79" fmla="*/ 41019 w 171902"/>
                <a:gd name="connsiteY79" fmla="*/ 248994 h 253658"/>
                <a:gd name="connsiteX80" fmla="*/ 50887 w 171902"/>
                <a:gd name="connsiteY80" fmla="*/ 241346 h 253658"/>
                <a:gd name="connsiteX81" fmla="*/ 41019 w 171902"/>
                <a:gd name="connsiteY81" fmla="*/ 238287 h 253658"/>
                <a:gd name="connsiteX82" fmla="*/ 35147 w 171902"/>
                <a:gd name="connsiteY82" fmla="*/ 241346 h 253658"/>
                <a:gd name="connsiteX83" fmla="*/ 31200 w 171902"/>
                <a:gd name="connsiteY83" fmla="*/ 241346 h 253658"/>
                <a:gd name="connsiteX84" fmla="*/ 33173 w 171902"/>
                <a:gd name="connsiteY84" fmla="*/ 233698 h 253658"/>
                <a:gd name="connsiteX85" fmla="*/ 33173 w 171902"/>
                <a:gd name="connsiteY85" fmla="*/ 221709 h 253658"/>
                <a:gd name="connsiteX86" fmla="*/ 38995 w 171902"/>
                <a:gd name="connsiteY86" fmla="*/ 214061 h 253658"/>
                <a:gd name="connsiteX87" fmla="*/ 48863 w 171902"/>
                <a:gd name="connsiteY87" fmla="*/ 212531 h 253658"/>
                <a:gd name="connsiteX88" fmla="*/ 56660 w 171902"/>
                <a:gd name="connsiteY88" fmla="*/ 206413 h 253658"/>
                <a:gd name="connsiteX89" fmla="*/ 50788 w 171902"/>
                <a:gd name="connsiteY89" fmla="*/ 211002 h 253658"/>
                <a:gd name="connsiteX90" fmla="*/ 35196 w 171902"/>
                <a:gd name="connsiteY90" fmla="*/ 209472 h 253658"/>
                <a:gd name="connsiteX91" fmla="*/ 33223 w 171902"/>
                <a:gd name="connsiteY91" fmla="*/ 206413 h 253658"/>
                <a:gd name="connsiteX92" fmla="*/ 33223 w 171902"/>
                <a:gd name="connsiteY92" fmla="*/ 192647 h 253658"/>
                <a:gd name="connsiteX93" fmla="*/ 41068 w 171902"/>
                <a:gd name="connsiteY93" fmla="*/ 178881 h 253658"/>
                <a:gd name="connsiteX94" fmla="*/ 37121 w 171902"/>
                <a:gd name="connsiteY94" fmla="*/ 172763 h 253658"/>
                <a:gd name="connsiteX95" fmla="*/ 41068 w 171902"/>
                <a:gd name="connsiteY95" fmla="*/ 171234 h 253658"/>
                <a:gd name="connsiteX96" fmla="*/ 42992 w 171902"/>
                <a:gd name="connsiteY96" fmla="*/ 165115 h 253658"/>
                <a:gd name="connsiteX97" fmla="*/ 39045 w 171902"/>
                <a:gd name="connsiteY97" fmla="*/ 166645 h 253658"/>
                <a:gd name="connsiteX98" fmla="*/ 35196 w 171902"/>
                <a:gd name="connsiteY98" fmla="*/ 169704 h 253658"/>
                <a:gd name="connsiteX99" fmla="*/ 23454 w 171902"/>
                <a:gd name="connsiteY99" fmla="*/ 171234 h 253658"/>
                <a:gd name="connsiteX100" fmla="*/ 21530 w 171902"/>
                <a:gd name="connsiteY100" fmla="*/ 168174 h 253658"/>
                <a:gd name="connsiteX101" fmla="*/ 13734 w 171902"/>
                <a:gd name="connsiteY101" fmla="*/ 163586 h 253658"/>
                <a:gd name="connsiteX102" fmla="*/ 13734 w 171902"/>
                <a:gd name="connsiteY102" fmla="*/ 168174 h 253658"/>
                <a:gd name="connsiteX103" fmla="*/ 5938 w 171902"/>
                <a:gd name="connsiteY103" fmla="*/ 171234 h 253658"/>
                <a:gd name="connsiteX104" fmla="*/ 3964 w 171902"/>
                <a:gd name="connsiteY104" fmla="*/ 160526 h 253658"/>
                <a:gd name="connsiteX105" fmla="*/ 1990 w 171902"/>
                <a:gd name="connsiteY105" fmla="*/ 162056 h 25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71902" h="253658">
                  <a:moveTo>
                    <a:pt x="-82" y="158898"/>
                  </a:moveTo>
                  <a:lnTo>
                    <a:pt x="-82" y="140593"/>
                  </a:lnTo>
                  <a:lnTo>
                    <a:pt x="9786" y="134475"/>
                  </a:lnTo>
                  <a:lnTo>
                    <a:pt x="15657" y="125298"/>
                  </a:lnTo>
                  <a:lnTo>
                    <a:pt x="15657" y="120709"/>
                  </a:lnTo>
                  <a:lnTo>
                    <a:pt x="23454" y="116120"/>
                  </a:lnTo>
                  <a:lnTo>
                    <a:pt x="29325" y="105413"/>
                  </a:lnTo>
                  <a:lnTo>
                    <a:pt x="37121" y="103884"/>
                  </a:lnTo>
                  <a:lnTo>
                    <a:pt x="41068" y="87059"/>
                  </a:lnTo>
                  <a:lnTo>
                    <a:pt x="44917" y="82470"/>
                  </a:lnTo>
                  <a:lnTo>
                    <a:pt x="44917" y="68754"/>
                  </a:lnTo>
                  <a:lnTo>
                    <a:pt x="52712" y="61155"/>
                  </a:lnTo>
                  <a:lnTo>
                    <a:pt x="58583" y="70283"/>
                  </a:lnTo>
                  <a:lnTo>
                    <a:pt x="64456" y="71813"/>
                  </a:lnTo>
                  <a:lnTo>
                    <a:pt x="70327" y="77931"/>
                  </a:lnTo>
                  <a:lnTo>
                    <a:pt x="76149" y="76401"/>
                  </a:lnTo>
                  <a:lnTo>
                    <a:pt x="83945" y="77931"/>
                  </a:lnTo>
                  <a:lnTo>
                    <a:pt x="97612" y="76401"/>
                  </a:lnTo>
                  <a:lnTo>
                    <a:pt x="107480" y="77931"/>
                  </a:lnTo>
                  <a:lnTo>
                    <a:pt x="111378" y="68754"/>
                  </a:lnTo>
                  <a:lnTo>
                    <a:pt x="111378" y="64165"/>
                  </a:lnTo>
                  <a:lnTo>
                    <a:pt x="103533" y="58096"/>
                  </a:lnTo>
                  <a:lnTo>
                    <a:pt x="95737" y="53507"/>
                  </a:lnTo>
                  <a:lnTo>
                    <a:pt x="101609" y="50448"/>
                  </a:lnTo>
                  <a:lnTo>
                    <a:pt x="109404" y="47389"/>
                  </a:lnTo>
                  <a:lnTo>
                    <a:pt x="124996" y="38212"/>
                  </a:lnTo>
                  <a:lnTo>
                    <a:pt x="124996" y="32094"/>
                  </a:lnTo>
                  <a:lnTo>
                    <a:pt x="130868" y="25975"/>
                  </a:lnTo>
                  <a:lnTo>
                    <a:pt x="136739" y="25975"/>
                  </a:lnTo>
                  <a:lnTo>
                    <a:pt x="140637" y="18328"/>
                  </a:lnTo>
                  <a:lnTo>
                    <a:pt x="136739" y="13739"/>
                  </a:lnTo>
                  <a:lnTo>
                    <a:pt x="138664" y="7621"/>
                  </a:lnTo>
                  <a:lnTo>
                    <a:pt x="138664" y="1503"/>
                  </a:lnTo>
                  <a:lnTo>
                    <a:pt x="142561" y="-27"/>
                  </a:lnTo>
                  <a:lnTo>
                    <a:pt x="150357" y="4562"/>
                  </a:lnTo>
                  <a:lnTo>
                    <a:pt x="150357" y="10680"/>
                  </a:lnTo>
                  <a:lnTo>
                    <a:pt x="152330" y="13739"/>
                  </a:lnTo>
                  <a:lnTo>
                    <a:pt x="164024" y="15269"/>
                  </a:lnTo>
                  <a:lnTo>
                    <a:pt x="171820" y="25975"/>
                  </a:lnTo>
                  <a:lnTo>
                    <a:pt x="169895" y="25975"/>
                  </a:lnTo>
                  <a:lnTo>
                    <a:pt x="158202" y="36682"/>
                  </a:lnTo>
                  <a:lnTo>
                    <a:pt x="154156" y="36682"/>
                  </a:lnTo>
                  <a:lnTo>
                    <a:pt x="154156" y="42800"/>
                  </a:lnTo>
                  <a:lnTo>
                    <a:pt x="150209" y="59626"/>
                  </a:lnTo>
                  <a:lnTo>
                    <a:pt x="150209" y="67224"/>
                  </a:lnTo>
                  <a:lnTo>
                    <a:pt x="158054" y="71813"/>
                  </a:lnTo>
                  <a:lnTo>
                    <a:pt x="158054" y="88490"/>
                  </a:lnTo>
                  <a:lnTo>
                    <a:pt x="161952" y="93078"/>
                  </a:lnTo>
                  <a:lnTo>
                    <a:pt x="159978" y="99196"/>
                  </a:lnTo>
                  <a:lnTo>
                    <a:pt x="152183" y="106844"/>
                  </a:lnTo>
                  <a:lnTo>
                    <a:pt x="152183" y="109904"/>
                  </a:lnTo>
                  <a:lnTo>
                    <a:pt x="134618" y="125199"/>
                  </a:lnTo>
                  <a:lnTo>
                    <a:pt x="136591" y="131317"/>
                  </a:lnTo>
                  <a:lnTo>
                    <a:pt x="130719" y="134376"/>
                  </a:lnTo>
                  <a:lnTo>
                    <a:pt x="130719" y="137435"/>
                  </a:lnTo>
                  <a:lnTo>
                    <a:pt x="122923" y="137435"/>
                  </a:lnTo>
                  <a:lnTo>
                    <a:pt x="117052" y="140494"/>
                  </a:lnTo>
                  <a:lnTo>
                    <a:pt x="111230" y="148093"/>
                  </a:lnTo>
                  <a:lnTo>
                    <a:pt x="103385" y="152682"/>
                  </a:lnTo>
                  <a:lnTo>
                    <a:pt x="103385" y="161859"/>
                  </a:lnTo>
                  <a:lnTo>
                    <a:pt x="105359" y="167977"/>
                  </a:lnTo>
                  <a:lnTo>
                    <a:pt x="101461" y="171036"/>
                  </a:lnTo>
                  <a:lnTo>
                    <a:pt x="103385" y="178684"/>
                  </a:lnTo>
                  <a:lnTo>
                    <a:pt x="119025" y="180214"/>
                  </a:lnTo>
                  <a:lnTo>
                    <a:pt x="120950" y="187911"/>
                  </a:lnTo>
                  <a:lnTo>
                    <a:pt x="146311" y="200098"/>
                  </a:lnTo>
                  <a:lnTo>
                    <a:pt x="152183" y="206216"/>
                  </a:lnTo>
                  <a:lnTo>
                    <a:pt x="136591" y="215393"/>
                  </a:lnTo>
                  <a:lnTo>
                    <a:pt x="111230" y="216923"/>
                  </a:lnTo>
                  <a:lnTo>
                    <a:pt x="99536" y="226100"/>
                  </a:lnTo>
                  <a:lnTo>
                    <a:pt x="87794" y="229159"/>
                  </a:lnTo>
                  <a:lnTo>
                    <a:pt x="76099" y="238287"/>
                  </a:lnTo>
                  <a:lnTo>
                    <a:pt x="74126" y="245935"/>
                  </a:lnTo>
                  <a:lnTo>
                    <a:pt x="66330" y="238287"/>
                  </a:lnTo>
                  <a:lnTo>
                    <a:pt x="62432" y="241346"/>
                  </a:lnTo>
                  <a:lnTo>
                    <a:pt x="64406" y="244405"/>
                  </a:lnTo>
                  <a:lnTo>
                    <a:pt x="56610" y="250524"/>
                  </a:lnTo>
                  <a:lnTo>
                    <a:pt x="52663" y="248994"/>
                  </a:lnTo>
                  <a:lnTo>
                    <a:pt x="44868" y="253632"/>
                  </a:lnTo>
                  <a:lnTo>
                    <a:pt x="41019" y="248994"/>
                  </a:lnTo>
                  <a:lnTo>
                    <a:pt x="50887" y="241346"/>
                  </a:lnTo>
                  <a:lnTo>
                    <a:pt x="41019" y="238287"/>
                  </a:lnTo>
                  <a:lnTo>
                    <a:pt x="35147" y="241346"/>
                  </a:lnTo>
                  <a:lnTo>
                    <a:pt x="31200" y="241346"/>
                  </a:lnTo>
                  <a:lnTo>
                    <a:pt x="33173" y="233698"/>
                  </a:lnTo>
                  <a:lnTo>
                    <a:pt x="33173" y="221709"/>
                  </a:lnTo>
                  <a:lnTo>
                    <a:pt x="38995" y="214061"/>
                  </a:lnTo>
                  <a:lnTo>
                    <a:pt x="48863" y="212531"/>
                  </a:lnTo>
                  <a:lnTo>
                    <a:pt x="56660" y="206413"/>
                  </a:lnTo>
                  <a:lnTo>
                    <a:pt x="50788" y="211002"/>
                  </a:lnTo>
                  <a:lnTo>
                    <a:pt x="35196" y="209472"/>
                  </a:lnTo>
                  <a:lnTo>
                    <a:pt x="33223" y="206413"/>
                  </a:lnTo>
                  <a:lnTo>
                    <a:pt x="33223" y="192647"/>
                  </a:lnTo>
                  <a:lnTo>
                    <a:pt x="41068" y="178881"/>
                  </a:lnTo>
                  <a:lnTo>
                    <a:pt x="37121" y="172763"/>
                  </a:lnTo>
                  <a:lnTo>
                    <a:pt x="41068" y="171234"/>
                  </a:lnTo>
                  <a:lnTo>
                    <a:pt x="42992" y="165115"/>
                  </a:lnTo>
                  <a:lnTo>
                    <a:pt x="39045" y="166645"/>
                  </a:lnTo>
                  <a:lnTo>
                    <a:pt x="35196" y="169704"/>
                  </a:lnTo>
                  <a:lnTo>
                    <a:pt x="23454" y="171234"/>
                  </a:lnTo>
                  <a:lnTo>
                    <a:pt x="21530" y="168174"/>
                  </a:lnTo>
                  <a:lnTo>
                    <a:pt x="13734" y="163586"/>
                  </a:lnTo>
                  <a:lnTo>
                    <a:pt x="13734" y="168174"/>
                  </a:lnTo>
                  <a:lnTo>
                    <a:pt x="5938" y="171234"/>
                  </a:lnTo>
                  <a:lnTo>
                    <a:pt x="3964" y="160526"/>
                  </a:lnTo>
                  <a:lnTo>
                    <a:pt x="1990" y="16205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Graphic 2">
              <a:extLst>
                <a:ext uri="{FF2B5EF4-FFF2-40B4-BE49-F238E27FC236}">
                  <a16:creationId xmlns:a16="http://schemas.microsoft.com/office/drawing/2014/main" id="{D3DD7177-A32B-4AB4-A0A9-3C6E6EAC273E}"/>
                </a:ext>
              </a:extLst>
            </p:cNvPr>
            <p:cNvSpPr/>
            <p:nvPr/>
          </p:nvSpPr>
          <p:spPr>
            <a:xfrm>
              <a:off x="8065924" y="2895608"/>
              <a:ext cx="1010653" cy="410188"/>
            </a:xfrm>
            <a:custGeom>
              <a:avLst/>
              <a:gdLst>
                <a:gd name="connsiteX0" fmla="*/ -82 w 1112427"/>
                <a:gd name="connsiteY0" fmla="*/ 160181 h 451513"/>
                <a:gd name="connsiteX1" fmla="*/ 5839 w 1112427"/>
                <a:gd name="connsiteY1" fmla="*/ 149474 h 451513"/>
                <a:gd name="connsiteX2" fmla="*/ 11661 w 1112427"/>
                <a:gd name="connsiteY2" fmla="*/ 146415 h 451513"/>
                <a:gd name="connsiteX3" fmla="*/ 27400 w 1112427"/>
                <a:gd name="connsiteY3" fmla="*/ 147945 h 451513"/>
                <a:gd name="connsiteX4" fmla="*/ 31299 w 1112427"/>
                <a:gd name="connsiteY4" fmla="*/ 144886 h 451513"/>
                <a:gd name="connsiteX5" fmla="*/ 37220 w 1112427"/>
                <a:gd name="connsiteY5" fmla="*/ 137287 h 451513"/>
                <a:gd name="connsiteX6" fmla="*/ 48963 w 1112427"/>
                <a:gd name="connsiteY6" fmla="*/ 134228 h 451513"/>
                <a:gd name="connsiteX7" fmla="*/ 48963 w 1112427"/>
                <a:gd name="connsiteY7" fmla="*/ 128159 h 451513"/>
                <a:gd name="connsiteX8" fmla="*/ 50936 w 1112427"/>
                <a:gd name="connsiteY8" fmla="*/ 121992 h 451513"/>
                <a:gd name="connsiteX9" fmla="*/ 60804 w 1112427"/>
                <a:gd name="connsiteY9" fmla="*/ 118982 h 451513"/>
                <a:gd name="connsiteX10" fmla="*/ 60804 w 1112427"/>
                <a:gd name="connsiteY10" fmla="*/ 114393 h 451513"/>
                <a:gd name="connsiteX11" fmla="*/ 68699 w 1112427"/>
                <a:gd name="connsiteY11" fmla="*/ 108275 h 451513"/>
                <a:gd name="connsiteX12" fmla="*/ 74570 w 1112427"/>
                <a:gd name="connsiteY12" fmla="*/ 106746 h 451513"/>
                <a:gd name="connsiteX13" fmla="*/ 78468 w 1112427"/>
                <a:gd name="connsiteY13" fmla="*/ 100677 h 451513"/>
                <a:gd name="connsiteX14" fmla="*/ 80441 w 1112427"/>
                <a:gd name="connsiteY14" fmla="*/ 99147 h 451513"/>
                <a:gd name="connsiteX15" fmla="*/ 78468 w 1112427"/>
                <a:gd name="connsiteY15" fmla="*/ 96088 h 451513"/>
                <a:gd name="connsiteX16" fmla="*/ 76544 w 1112427"/>
                <a:gd name="connsiteY16" fmla="*/ 93078 h 451513"/>
                <a:gd name="connsiteX17" fmla="*/ 80441 w 1112427"/>
                <a:gd name="connsiteY17" fmla="*/ 90019 h 451513"/>
                <a:gd name="connsiteX18" fmla="*/ 90309 w 1112427"/>
                <a:gd name="connsiteY18" fmla="*/ 93078 h 451513"/>
                <a:gd name="connsiteX19" fmla="*/ 96181 w 1112427"/>
                <a:gd name="connsiteY19" fmla="*/ 90019 h 451513"/>
                <a:gd name="connsiteX20" fmla="*/ 100079 w 1112427"/>
                <a:gd name="connsiteY20" fmla="*/ 80842 h 451513"/>
                <a:gd name="connsiteX21" fmla="*/ 106000 w 1112427"/>
                <a:gd name="connsiteY21" fmla="*/ 79312 h 451513"/>
                <a:gd name="connsiteX22" fmla="*/ 117743 w 1112427"/>
                <a:gd name="connsiteY22" fmla="*/ 77783 h 451513"/>
                <a:gd name="connsiteX23" fmla="*/ 125637 w 1112427"/>
                <a:gd name="connsiteY23" fmla="*/ 76253 h 451513"/>
                <a:gd name="connsiteX24" fmla="*/ 133433 w 1112427"/>
                <a:gd name="connsiteY24" fmla="*/ 76253 h 451513"/>
                <a:gd name="connsiteX25" fmla="*/ 141278 w 1112427"/>
                <a:gd name="connsiteY25" fmla="*/ 77783 h 451513"/>
                <a:gd name="connsiteX26" fmla="*/ 145225 w 1112427"/>
                <a:gd name="connsiteY26" fmla="*/ 74724 h 451513"/>
                <a:gd name="connsiteX27" fmla="*/ 147199 w 1112427"/>
                <a:gd name="connsiteY27" fmla="*/ 74724 h 451513"/>
                <a:gd name="connsiteX28" fmla="*/ 151097 w 1112427"/>
                <a:gd name="connsiteY28" fmla="*/ 79312 h 451513"/>
                <a:gd name="connsiteX29" fmla="*/ 153071 w 1112427"/>
                <a:gd name="connsiteY29" fmla="*/ 82322 h 451513"/>
                <a:gd name="connsiteX30" fmla="*/ 157018 w 1112427"/>
                <a:gd name="connsiteY30" fmla="*/ 88490 h 451513"/>
                <a:gd name="connsiteX31" fmla="*/ 162840 w 1112427"/>
                <a:gd name="connsiteY31" fmla="*/ 85431 h 451513"/>
                <a:gd name="connsiteX32" fmla="*/ 174632 w 1112427"/>
                <a:gd name="connsiteY32" fmla="*/ 85431 h 451513"/>
                <a:gd name="connsiteX33" fmla="*/ 180504 w 1112427"/>
                <a:gd name="connsiteY33" fmla="*/ 82322 h 451513"/>
                <a:gd name="connsiteX34" fmla="*/ 190372 w 1112427"/>
                <a:gd name="connsiteY34" fmla="*/ 82322 h 451513"/>
                <a:gd name="connsiteX35" fmla="*/ 192346 w 1112427"/>
                <a:gd name="connsiteY35" fmla="*/ 88490 h 451513"/>
                <a:gd name="connsiteX36" fmla="*/ 194319 w 1112427"/>
                <a:gd name="connsiteY36" fmla="*/ 93078 h 451513"/>
                <a:gd name="connsiteX37" fmla="*/ 196293 w 1112427"/>
                <a:gd name="connsiteY37" fmla="*/ 96088 h 451513"/>
                <a:gd name="connsiteX38" fmla="*/ 213907 w 1112427"/>
                <a:gd name="connsiteY38" fmla="*/ 105265 h 451513"/>
                <a:gd name="connsiteX39" fmla="*/ 221752 w 1112427"/>
                <a:gd name="connsiteY39" fmla="*/ 109805 h 451513"/>
                <a:gd name="connsiteX40" fmla="*/ 233545 w 1112427"/>
                <a:gd name="connsiteY40" fmla="*/ 115923 h 451513"/>
                <a:gd name="connsiteX41" fmla="*/ 239416 w 1112427"/>
                <a:gd name="connsiteY41" fmla="*/ 111334 h 451513"/>
                <a:gd name="connsiteX42" fmla="*/ 247261 w 1112427"/>
                <a:gd name="connsiteY42" fmla="*/ 109805 h 451513"/>
                <a:gd name="connsiteX43" fmla="*/ 253133 w 1112427"/>
                <a:gd name="connsiteY43" fmla="*/ 105265 h 451513"/>
                <a:gd name="connsiteX44" fmla="*/ 259054 w 1112427"/>
                <a:gd name="connsiteY44" fmla="*/ 105265 h 451513"/>
                <a:gd name="connsiteX45" fmla="*/ 266899 w 1112427"/>
                <a:gd name="connsiteY45" fmla="*/ 106746 h 451513"/>
                <a:gd name="connsiteX46" fmla="*/ 272721 w 1112427"/>
                <a:gd name="connsiteY46" fmla="*/ 109805 h 451513"/>
                <a:gd name="connsiteX47" fmla="*/ 278642 w 1112427"/>
                <a:gd name="connsiteY47" fmla="*/ 108275 h 451513"/>
                <a:gd name="connsiteX48" fmla="*/ 294135 w 1112427"/>
                <a:gd name="connsiteY48" fmla="*/ 108275 h 451513"/>
                <a:gd name="connsiteX49" fmla="*/ 298082 w 1112427"/>
                <a:gd name="connsiteY49" fmla="*/ 109805 h 451513"/>
                <a:gd name="connsiteX50" fmla="*/ 307950 w 1112427"/>
                <a:gd name="connsiteY50" fmla="*/ 109805 h 451513"/>
                <a:gd name="connsiteX51" fmla="*/ 307950 w 1112427"/>
                <a:gd name="connsiteY51" fmla="*/ 108275 h 451513"/>
                <a:gd name="connsiteX52" fmla="*/ 315795 w 1112427"/>
                <a:gd name="connsiteY52" fmla="*/ 109805 h 451513"/>
                <a:gd name="connsiteX53" fmla="*/ 325663 w 1112427"/>
                <a:gd name="connsiteY53" fmla="*/ 108275 h 451513"/>
                <a:gd name="connsiteX54" fmla="*/ 333508 w 1112427"/>
                <a:gd name="connsiteY54" fmla="*/ 99147 h 451513"/>
                <a:gd name="connsiteX55" fmla="*/ 329610 w 1112427"/>
                <a:gd name="connsiteY55" fmla="*/ 96088 h 451513"/>
                <a:gd name="connsiteX56" fmla="*/ 321716 w 1112427"/>
                <a:gd name="connsiteY56" fmla="*/ 91549 h 451513"/>
                <a:gd name="connsiteX57" fmla="*/ 321716 w 1112427"/>
                <a:gd name="connsiteY57" fmla="*/ 80842 h 451513"/>
                <a:gd name="connsiteX58" fmla="*/ 325663 w 1112427"/>
                <a:gd name="connsiteY58" fmla="*/ 71665 h 451513"/>
                <a:gd name="connsiteX59" fmla="*/ 323690 w 1112427"/>
                <a:gd name="connsiteY59" fmla="*/ 68655 h 451513"/>
                <a:gd name="connsiteX60" fmla="*/ 317818 w 1112427"/>
                <a:gd name="connsiteY60" fmla="*/ 65596 h 451513"/>
                <a:gd name="connsiteX61" fmla="*/ 313871 w 1112427"/>
                <a:gd name="connsiteY61" fmla="*/ 62537 h 451513"/>
                <a:gd name="connsiteX62" fmla="*/ 302128 w 1112427"/>
                <a:gd name="connsiteY62" fmla="*/ 57948 h 451513"/>
                <a:gd name="connsiteX63" fmla="*/ 300154 w 1112427"/>
                <a:gd name="connsiteY63" fmla="*/ 51879 h 451513"/>
                <a:gd name="connsiteX64" fmla="*/ 300154 w 1112427"/>
                <a:gd name="connsiteY64" fmla="*/ 36584 h 451513"/>
                <a:gd name="connsiteX65" fmla="*/ 308048 w 1112427"/>
                <a:gd name="connsiteY65" fmla="*/ 28985 h 451513"/>
                <a:gd name="connsiteX66" fmla="*/ 308048 w 1112427"/>
                <a:gd name="connsiteY66" fmla="*/ 24397 h 451513"/>
                <a:gd name="connsiteX67" fmla="*/ 311946 w 1112427"/>
                <a:gd name="connsiteY67" fmla="*/ 19808 h 451513"/>
                <a:gd name="connsiteX68" fmla="*/ 317818 w 1112427"/>
                <a:gd name="connsiteY68" fmla="*/ 18328 h 451513"/>
                <a:gd name="connsiteX69" fmla="*/ 321716 w 1112427"/>
                <a:gd name="connsiteY69" fmla="*/ 18328 h 451513"/>
                <a:gd name="connsiteX70" fmla="*/ 323690 w 1112427"/>
                <a:gd name="connsiteY70" fmla="*/ 13739 h 451513"/>
                <a:gd name="connsiteX71" fmla="*/ 321716 w 1112427"/>
                <a:gd name="connsiteY71" fmla="*/ 9101 h 451513"/>
                <a:gd name="connsiteX72" fmla="*/ 321716 w 1112427"/>
                <a:gd name="connsiteY72" fmla="*/ 3032 h 451513"/>
                <a:gd name="connsiteX73" fmla="*/ 325663 w 1112427"/>
                <a:gd name="connsiteY73" fmla="*/ -27 h 451513"/>
                <a:gd name="connsiteX74" fmla="*/ 333607 w 1112427"/>
                <a:gd name="connsiteY74" fmla="*/ -27 h 451513"/>
                <a:gd name="connsiteX75" fmla="*/ 339478 w 1112427"/>
                <a:gd name="connsiteY75" fmla="*/ 3032 h 451513"/>
                <a:gd name="connsiteX76" fmla="*/ 349346 w 1112427"/>
                <a:gd name="connsiteY76" fmla="*/ 4562 h 451513"/>
                <a:gd name="connsiteX77" fmla="*/ 357192 w 1112427"/>
                <a:gd name="connsiteY77" fmla="*/ 9101 h 451513"/>
                <a:gd name="connsiteX78" fmla="*/ 359166 w 1112427"/>
                <a:gd name="connsiteY78" fmla="*/ 12210 h 451513"/>
                <a:gd name="connsiteX79" fmla="*/ 367010 w 1112427"/>
                <a:gd name="connsiteY79" fmla="*/ 13739 h 451513"/>
                <a:gd name="connsiteX80" fmla="*/ 376879 w 1112427"/>
                <a:gd name="connsiteY80" fmla="*/ 15269 h 451513"/>
                <a:gd name="connsiteX81" fmla="*/ 388622 w 1112427"/>
                <a:gd name="connsiteY81" fmla="*/ 13739 h 451513"/>
                <a:gd name="connsiteX82" fmla="*/ 394493 w 1112427"/>
                <a:gd name="connsiteY82" fmla="*/ 16798 h 451513"/>
                <a:gd name="connsiteX83" fmla="*/ 396516 w 1112427"/>
                <a:gd name="connsiteY83" fmla="*/ 19808 h 451513"/>
                <a:gd name="connsiteX84" fmla="*/ 408259 w 1112427"/>
                <a:gd name="connsiteY84" fmla="*/ 19808 h 451513"/>
                <a:gd name="connsiteX85" fmla="*/ 412157 w 1112427"/>
                <a:gd name="connsiteY85" fmla="*/ 22867 h 451513"/>
                <a:gd name="connsiteX86" fmla="*/ 433719 w 1112427"/>
                <a:gd name="connsiteY86" fmla="*/ 22867 h 451513"/>
                <a:gd name="connsiteX87" fmla="*/ 437666 w 1112427"/>
                <a:gd name="connsiteY87" fmla="*/ 24397 h 451513"/>
                <a:gd name="connsiteX88" fmla="*/ 443537 w 1112427"/>
                <a:gd name="connsiteY88" fmla="*/ 28985 h 451513"/>
                <a:gd name="connsiteX89" fmla="*/ 443537 w 1112427"/>
                <a:gd name="connsiteY89" fmla="*/ 35054 h 451513"/>
                <a:gd name="connsiteX90" fmla="*/ 445511 w 1112427"/>
                <a:gd name="connsiteY90" fmla="*/ 38113 h 451513"/>
                <a:gd name="connsiteX91" fmla="*/ 445511 w 1112427"/>
                <a:gd name="connsiteY91" fmla="*/ 42702 h 451513"/>
                <a:gd name="connsiteX92" fmla="*/ 449458 w 1112427"/>
                <a:gd name="connsiteY92" fmla="*/ 45712 h 451513"/>
                <a:gd name="connsiteX93" fmla="*/ 453356 w 1112427"/>
                <a:gd name="connsiteY93" fmla="*/ 53409 h 451513"/>
                <a:gd name="connsiteX94" fmla="*/ 453356 w 1112427"/>
                <a:gd name="connsiteY94" fmla="*/ 57948 h 451513"/>
                <a:gd name="connsiteX95" fmla="*/ 457303 w 1112427"/>
                <a:gd name="connsiteY95" fmla="*/ 62537 h 451513"/>
                <a:gd name="connsiteX96" fmla="*/ 461201 w 1112427"/>
                <a:gd name="connsiteY96" fmla="*/ 62537 h 451513"/>
                <a:gd name="connsiteX97" fmla="*/ 467122 w 1112427"/>
                <a:gd name="connsiteY97" fmla="*/ 68655 h 451513"/>
                <a:gd name="connsiteX98" fmla="*/ 469046 w 1112427"/>
                <a:gd name="connsiteY98" fmla="*/ 71665 h 451513"/>
                <a:gd name="connsiteX99" fmla="*/ 480838 w 1112427"/>
                <a:gd name="connsiteY99" fmla="*/ 73194 h 451513"/>
                <a:gd name="connsiteX100" fmla="*/ 492581 w 1112427"/>
                <a:gd name="connsiteY100" fmla="*/ 77783 h 451513"/>
                <a:gd name="connsiteX101" fmla="*/ 496529 w 1112427"/>
                <a:gd name="connsiteY101" fmla="*/ 77783 h 451513"/>
                <a:gd name="connsiteX102" fmla="*/ 500427 w 1112427"/>
                <a:gd name="connsiteY102" fmla="*/ 76253 h 451513"/>
                <a:gd name="connsiteX103" fmla="*/ 512169 w 1112427"/>
                <a:gd name="connsiteY103" fmla="*/ 76253 h 451513"/>
                <a:gd name="connsiteX104" fmla="*/ 516117 w 1112427"/>
                <a:gd name="connsiteY104" fmla="*/ 74724 h 451513"/>
                <a:gd name="connsiteX105" fmla="*/ 521989 w 1112427"/>
                <a:gd name="connsiteY105" fmla="*/ 74724 h 451513"/>
                <a:gd name="connsiteX106" fmla="*/ 525936 w 1112427"/>
                <a:gd name="connsiteY106" fmla="*/ 76253 h 451513"/>
                <a:gd name="connsiteX107" fmla="*/ 529883 w 1112427"/>
                <a:gd name="connsiteY107" fmla="*/ 74724 h 451513"/>
                <a:gd name="connsiteX108" fmla="*/ 535754 w 1112427"/>
                <a:gd name="connsiteY108" fmla="*/ 68655 h 451513"/>
                <a:gd name="connsiteX109" fmla="*/ 547547 w 1112427"/>
                <a:gd name="connsiteY109" fmla="*/ 65596 h 451513"/>
                <a:gd name="connsiteX110" fmla="*/ 561214 w 1112427"/>
                <a:gd name="connsiteY110" fmla="*/ 65596 h 451513"/>
                <a:gd name="connsiteX111" fmla="*/ 567135 w 1112427"/>
                <a:gd name="connsiteY111" fmla="*/ 62537 h 451513"/>
                <a:gd name="connsiteX112" fmla="*/ 578878 w 1112427"/>
                <a:gd name="connsiteY112" fmla="*/ 59478 h 451513"/>
                <a:gd name="connsiteX113" fmla="*/ 586723 w 1112427"/>
                <a:gd name="connsiteY113" fmla="*/ 57948 h 451513"/>
                <a:gd name="connsiteX114" fmla="*/ 594568 w 1112427"/>
                <a:gd name="connsiteY114" fmla="*/ 62537 h 451513"/>
                <a:gd name="connsiteX115" fmla="*/ 604436 w 1112427"/>
                <a:gd name="connsiteY115" fmla="*/ 64066 h 451513"/>
                <a:gd name="connsiteX116" fmla="*/ 619781 w 1112427"/>
                <a:gd name="connsiteY116" fmla="*/ 64066 h 451513"/>
                <a:gd name="connsiteX117" fmla="*/ 627626 w 1112427"/>
                <a:gd name="connsiteY117" fmla="*/ 71665 h 451513"/>
                <a:gd name="connsiteX118" fmla="*/ 639418 w 1112427"/>
                <a:gd name="connsiteY118" fmla="*/ 76253 h 451513"/>
                <a:gd name="connsiteX119" fmla="*/ 651161 w 1112427"/>
                <a:gd name="connsiteY119" fmla="*/ 76253 h 451513"/>
                <a:gd name="connsiteX120" fmla="*/ 657083 w 1112427"/>
                <a:gd name="connsiteY120" fmla="*/ 74724 h 451513"/>
                <a:gd name="connsiteX121" fmla="*/ 660980 w 1112427"/>
                <a:gd name="connsiteY121" fmla="*/ 77783 h 451513"/>
                <a:gd name="connsiteX122" fmla="*/ 664878 w 1112427"/>
                <a:gd name="connsiteY122" fmla="*/ 88490 h 451513"/>
                <a:gd name="connsiteX123" fmla="*/ 670799 w 1112427"/>
                <a:gd name="connsiteY123" fmla="*/ 91549 h 451513"/>
                <a:gd name="connsiteX124" fmla="*/ 674697 w 1112427"/>
                <a:gd name="connsiteY124" fmla="*/ 94559 h 451513"/>
                <a:gd name="connsiteX125" fmla="*/ 682542 w 1112427"/>
                <a:gd name="connsiteY125" fmla="*/ 94559 h 451513"/>
                <a:gd name="connsiteX126" fmla="*/ 688463 w 1112427"/>
                <a:gd name="connsiteY126" fmla="*/ 100677 h 451513"/>
                <a:gd name="connsiteX127" fmla="*/ 692360 w 1112427"/>
                <a:gd name="connsiteY127" fmla="*/ 100677 h 451513"/>
                <a:gd name="connsiteX128" fmla="*/ 708051 w 1112427"/>
                <a:gd name="connsiteY128" fmla="*/ 99147 h 451513"/>
                <a:gd name="connsiteX129" fmla="*/ 723741 w 1112427"/>
                <a:gd name="connsiteY129" fmla="*/ 102206 h 451513"/>
                <a:gd name="connsiteX130" fmla="*/ 755122 w 1112427"/>
                <a:gd name="connsiteY130" fmla="*/ 102206 h 451513"/>
                <a:gd name="connsiteX131" fmla="*/ 759069 w 1112427"/>
                <a:gd name="connsiteY131" fmla="*/ 99147 h 451513"/>
                <a:gd name="connsiteX132" fmla="*/ 764891 w 1112427"/>
                <a:gd name="connsiteY132" fmla="*/ 99147 h 451513"/>
                <a:gd name="connsiteX133" fmla="*/ 772785 w 1112427"/>
                <a:gd name="connsiteY133" fmla="*/ 102206 h 451513"/>
                <a:gd name="connsiteX134" fmla="*/ 776684 w 1112427"/>
                <a:gd name="connsiteY134" fmla="*/ 102206 h 451513"/>
                <a:gd name="connsiteX135" fmla="*/ 780630 w 1112427"/>
                <a:gd name="connsiteY135" fmla="*/ 94559 h 451513"/>
                <a:gd name="connsiteX136" fmla="*/ 796321 w 1112427"/>
                <a:gd name="connsiteY136" fmla="*/ 88490 h 451513"/>
                <a:gd name="connsiteX137" fmla="*/ 804166 w 1112427"/>
                <a:gd name="connsiteY137" fmla="*/ 88490 h 451513"/>
                <a:gd name="connsiteX138" fmla="*/ 810038 w 1112427"/>
                <a:gd name="connsiteY138" fmla="*/ 80842 h 451513"/>
                <a:gd name="connsiteX139" fmla="*/ 831599 w 1112427"/>
                <a:gd name="connsiteY139" fmla="*/ 80842 h 451513"/>
                <a:gd name="connsiteX140" fmla="*/ 839494 w 1112427"/>
                <a:gd name="connsiteY140" fmla="*/ 76253 h 451513"/>
                <a:gd name="connsiteX141" fmla="*/ 841417 w 1112427"/>
                <a:gd name="connsiteY141" fmla="*/ 70135 h 451513"/>
                <a:gd name="connsiteX142" fmla="*/ 841417 w 1112427"/>
                <a:gd name="connsiteY142" fmla="*/ 67125 h 451513"/>
                <a:gd name="connsiteX143" fmla="*/ 845316 w 1112427"/>
                <a:gd name="connsiteY143" fmla="*/ 59478 h 451513"/>
                <a:gd name="connsiteX144" fmla="*/ 855184 w 1112427"/>
                <a:gd name="connsiteY144" fmla="*/ 57948 h 451513"/>
                <a:gd name="connsiteX145" fmla="*/ 859131 w 1112427"/>
                <a:gd name="connsiteY145" fmla="*/ 53409 h 451513"/>
                <a:gd name="connsiteX146" fmla="*/ 863029 w 1112427"/>
                <a:gd name="connsiteY146" fmla="*/ 47241 h 451513"/>
                <a:gd name="connsiteX147" fmla="*/ 866977 w 1112427"/>
                <a:gd name="connsiteY147" fmla="*/ 42702 h 451513"/>
                <a:gd name="connsiteX148" fmla="*/ 872848 w 1112427"/>
                <a:gd name="connsiteY148" fmla="*/ 42702 h 451513"/>
                <a:gd name="connsiteX149" fmla="*/ 874821 w 1112427"/>
                <a:gd name="connsiteY149" fmla="*/ 44182 h 451513"/>
                <a:gd name="connsiteX150" fmla="*/ 886565 w 1112427"/>
                <a:gd name="connsiteY150" fmla="*/ 42702 h 451513"/>
                <a:gd name="connsiteX151" fmla="*/ 894409 w 1112427"/>
                <a:gd name="connsiteY151" fmla="*/ 42702 h 451513"/>
                <a:gd name="connsiteX152" fmla="*/ 902254 w 1112427"/>
                <a:gd name="connsiteY152" fmla="*/ 47241 h 451513"/>
                <a:gd name="connsiteX153" fmla="*/ 906202 w 1112427"/>
                <a:gd name="connsiteY153" fmla="*/ 51879 h 451513"/>
                <a:gd name="connsiteX154" fmla="*/ 910149 w 1112427"/>
                <a:gd name="connsiteY154" fmla="*/ 53409 h 451513"/>
                <a:gd name="connsiteX155" fmla="*/ 917994 w 1112427"/>
                <a:gd name="connsiteY155" fmla="*/ 50350 h 451513"/>
                <a:gd name="connsiteX156" fmla="*/ 921892 w 1112427"/>
                <a:gd name="connsiteY156" fmla="*/ 53409 h 451513"/>
                <a:gd name="connsiteX157" fmla="*/ 929737 w 1112427"/>
                <a:gd name="connsiteY157" fmla="*/ 53409 h 451513"/>
                <a:gd name="connsiteX158" fmla="*/ 935609 w 1112427"/>
                <a:gd name="connsiteY158" fmla="*/ 48820 h 451513"/>
                <a:gd name="connsiteX159" fmla="*/ 937582 w 1112427"/>
                <a:gd name="connsiteY159" fmla="*/ 45712 h 451513"/>
                <a:gd name="connsiteX160" fmla="*/ 947450 w 1112427"/>
                <a:gd name="connsiteY160" fmla="*/ 44182 h 451513"/>
                <a:gd name="connsiteX161" fmla="*/ 963141 w 1112427"/>
                <a:gd name="connsiteY161" fmla="*/ 47241 h 451513"/>
                <a:gd name="connsiteX162" fmla="*/ 967038 w 1112427"/>
                <a:gd name="connsiteY162" fmla="*/ 51879 h 451513"/>
                <a:gd name="connsiteX163" fmla="*/ 959243 w 1112427"/>
                <a:gd name="connsiteY163" fmla="*/ 99147 h 451513"/>
                <a:gd name="connsiteX164" fmla="*/ 961167 w 1112427"/>
                <a:gd name="connsiteY164" fmla="*/ 109805 h 451513"/>
                <a:gd name="connsiteX165" fmla="*/ 957219 w 1112427"/>
                <a:gd name="connsiteY165" fmla="*/ 118982 h 451513"/>
                <a:gd name="connsiteX166" fmla="*/ 959243 w 1112427"/>
                <a:gd name="connsiteY166" fmla="*/ 125100 h 451513"/>
                <a:gd name="connsiteX167" fmla="*/ 951348 w 1112427"/>
                <a:gd name="connsiteY167" fmla="*/ 137287 h 451513"/>
                <a:gd name="connsiteX168" fmla="*/ 959243 w 1112427"/>
                <a:gd name="connsiteY168" fmla="*/ 149474 h 451513"/>
                <a:gd name="connsiteX169" fmla="*/ 974883 w 1112427"/>
                <a:gd name="connsiteY169" fmla="*/ 155593 h 451513"/>
                <a:gd name="connsiteX170" fmla="*/ 986676 w 1112427"/>
                <a:gd name="connsiteY170" fmla="*/ 147945 h 451513"/>
                <a:gd name="connsiteX171" fmla="*/ 1002366 w 1112427"/>
                <a:gd name="connsiteY171" fmla="*/ 147945 h 451513"/>
                <a:gd name="connsiteX172" fmla="*/ 1016083 w 1112427"/>
                <a:gd name="connsiteY172" fmla="*/ 151004 h 451513"/>
                <a:gd name="connsiteX173" fmla="*/ 1025951 w 1112427"/>
                <a:gd name="connsiteY173" fmla="*/ 155593 h 451513"/>
                <a:gd name="connsiteX174" fmla="*/ 1033795 w 1112427"/>
                <a:gd name="connsiteY174" fmla="*/ 144886 h 451513"/>
                <a:gd name="connsiteX175" fmla="*/ 1033795 w 1112427"/>
                <a:gd name="connsiteY175" fmla="*/ 132699 h 451513"/>
                <a:gd name="connsiteX176" fmla="*/ 1043663 w 1112427"/>
                <a:gd name="connsiteY176" fmla="*/ 129689 h 451513"/>
                <a:gd name="connsiteX177" fmla="*/ 1045588 w 1112427"/>
                <a:gd name="connsiteY177" fmla="*/ 126630 h 451513"/>
                <a:gd name="connsiteX178" fmla="*/ 1063251 w 1112427"/>
                <a:gd name="connsiteY178" fmla="*/ 129689 h 451513"/>
                <a:gd name="connsiteX179" fmla="*/ 1073120 w 1112427"/>
                <a:gd name="connsiteY179" fmla="*/ 141876 h 451513"/>
                <a:gd name="connsiteX180" fmla="*/ 1084863 w 1112427"/>
                <a:gd name="connsiteY180" fmla="*/ 151004 h 451513"/>
                <a:gd name="connsiteX181" fmla="*/ 1096655 w 1112427"/>
                <a:gd name="connsiteY181" fmla="*/ 161711 h 451513"/>
                <a:gd name="connsiteX182" fmla="*/ 1108448 w 1112427"/>
                <a:gd name="connsiteY182" fmla="*/ 170839 h 451513"/>
                <a:gd name="connsiteX183" fmla="*/ 1108448 w 1112427"/>
                <a:gd name="connsiteY183" fmla="*/ 175427 h 451513"/>
                <a:gd name="connsiteX184" fmla="*/ 1112346 w 1112427"/>
                <a:gd name="connsiteY184" fmla="*/ 180016 h 451513"/>
                <a:gd name="connsiteX185" fmla="*/ 1112346 w 1112427"/>
                <a:gd name="connsiteY185" fmla="*/ 184555 h 451513"/>
                <a:gd name="connsiteX186" fmla="*/ 1108448 w 1112427"/>
                <a:gd name="connsiteY186" fmla="*/ 187614 h 451513"/>
                <a:gd name="connsiteX187" fmla="*/ 1108448 w 1112427"/>
                <a:gd name="connsiteY187" fmla="*/ 193733 h 451513"/>
                <a:gd name="connsiteX188" fmla="*/ 1106424 w 1112427"/>
                <a:gd name="connsiteY188" fmla="*/ 196792 h 451513"/>
                <a:gd name="connsiteX189" fmla="*/ 1100602 w 1112427"/>
                <a:gd name="connsiteY189" fmla="*/ 196792 h 451513"/>
                <a:gd name="connsiteX190" fmla="*/ 1098629 w 1112427"/>
                <a:gd name="connsiteY190" fmla="*/ 193733 h 451513"/>
                <a:gd name="connsiteX191" fmla="*/ 1088761 w 1112427"/>
                <a:gd name="connsiteY191" fmla="*/ 193733 h 451513"/>
                <a:gd name="connsiteX192" fmla="*/ 1084814 w 1112427"/>
                <a:gd name="connsiteY192" fmla="*/ 196792 h 451513"/>
                <a:gd name="connsiteX193" fmla="*/ 1074946 w 1112427"/>
                <a:gd name="connsiteY193" fmla="*/ 193733 h 451513"/>
                <a:gd name="connsiteX194" fmla="*/ 1068778 w 1112427"/>
                <a:gd name="connsiteY194" fmla="*/ 193733 h 451513"/>
                <a:gd name="connsiteX195" fmla="*/ 1062858 w 1112427"/>
                <a:gd name="connsiteY195" fmla="*/ 201380 h 451513"/>
                <a:gd name="connsiteX196" fmla="*/ 1051114 w 1112427"/>
                <a:gd name="connsiteY196" fmla="*/ 207449 h 451513"/>
                <a:gd name="connsiteX197" fmla="*/ 1045193 w 1112427"/>
                <a:gd name="connsiteY197" fmla="*/ 210508 h 451513"/>
                <a:gd name="connsiteX198" fmla="*/ 1039322 w 1112427"/>
                <a:gd name="connsiteY198" fmla="*/ 207449 h 451513"/>
                <a:gd name="connsiteX199" fmla="*/ 1037348 w 1112427"/>
                <a:gd name="connsiteY199" fmla="*/ 207449 h 451513"/>
                <a:gd name="connsiteX200" fmla="*/ 1037348 w 1112427"/>
                <a:gd name="connsiteY200" fmla="*/ 213568 h 451513"/>
                <a:gd name="connsiteX201" fmla="*/ 1035375 w 1112427"/>
                <a:gd name="connsiteY201" fmla="*/ 216627 h 451513"/>
                <a:gd name="connsiteX202" fmla="*/ 1025507 w 1112427"/>
                <a:gd name="connsiteY202" fmla="*/ 216627 h 451513"/>
                <a:gd name="connsiteX203" fmla="*/ 1023533 w 1112427"/>
                <a:gd name="connsiteY203" fmla="*/ 221166 h 451513"/>
                <a:gd name="connsiteX204" fmla="*/ 1015688 w 1112427"/>
                <a:gd name="connsiteY204" fmla="*/ 228814 h 451513"/>
                <a:gd name="connsiteX205" fmla="*/ 1013715 w 1112427"/>
                <a:gd name="connsiteY205" fmla="*/ 237991 h 451513"/>
                <a:gd name="connsiteX206" fmla="*/ 1013715 w 1112427"/>
                <a:gd name="connsiteY206" fmla="*/ 244060 h 451513"/>
                <a:gd name="connsiteX207" fmla="*/ 1011790 w 1112427"/>
                <a:gd name="connsiteY207" fmla="*/ 250129 h 451513"/>
                <a:gd name="connsiteX208" fmla="*/ 1003896 w 1112427"/>
                <a:gd name="connsiteY208" fmla="*/ 251658 h 451513"/>
                <a:gd name="connsiteX209" fmla="*/ 986281 w 1112427"/>
                <a:gd name="connsiteY209" fmla="*/ 259257 h 451513"/>
                <a:gd name="connsiteX210" fmla="*/ 978436 w 1112427"/>
                <a:gd name="connsiteY210" fmla="*/ 259257 h 451513"/>
                <a:gd name="connsiteX211" fmla="*/ 970591 w 1112427"/>
                <a:gd name="connsiteY211" fmla="*/ 257727 h 451513"/>
                <a:gd name="connsiteX212" fmla="*/ 966644 w 1112427"/>
                <a:gd name="connsiteY212" fmla="*/ 260786 h 451513"/>
                <a:gd name="connsiteX213" fmla="*/ 960773 w 1112427"/>
                <a:gd name="connsiteY213" fmla="*/ 274552 h 451513"/>
                <a:gd name="connsiteX214" fmla="*/ 950905 w 1112427"/>
                <a:gd name="connsiteY214" fmla="*/ 277611 h 451513"/>
                <a:gd name="connsiteX215" fmla="*/ 945032 w 1112427"/>
                <a:gd name="connsiteY215" fmla="*/ 282151 h 451513"/>
                <a:gd name="connsiteX216" fmla="*/ 939161 w 1112427"/>
                <a:gd name="connsiteY216" fmla="*/ 286739 h 451513"/>
                <a:gd name="connsiteX217" fmla="*/ 937188 w 1112427"/>
                <a:gd name="connsiteY217" fmla="*/ 291328 h 451513"/>
                <a:gd name="connsiteX218" fmla="*/ 933240 w 1112427"/>
                <a:gd name="connsiteY218" fmla="*/ 292857 h 451513"/>
                <a:gd name="connsiteX219" fmla="*/ 927369 w 1112427"/>
                <a:gd name="connsiteY219" fmla="*/ 289798 h 451513"/>
                <a:gd name="connsiteX220" fmla="*/ 917501 w 1112427"/>
                <a:gd name="connsiteY220" fmla="*/ 288269 h 451513"/>
                <a:gd name="connsiteX221" fmla="*/ 905708 w 1112427"/>
                <a:gd name="connsiteY221" fmla="*/ 285210 h 451513"/>
                <a:gd name="connsiteX222" fmla="*/ 897864 w 1112427"/>
                <a:gd name="connsiteY222" fmla="*/ 279141 h 451513"/>
                <a:gd name="connsiteX223" fmla="*/ 890018 w 1112427"/>
                <a:gd name="connsiteY223" fmla="*/ 279141 h 451513"/>
                <a:gd name="connsiteX224" fmla="*/ 874328 w 1112427"/>
                <a:gd name="connsiteY224" fmla="*/ 282151 h 451513"/>
                <a:gd name="connsiteX225" fmla="*/ 866483 w 1112427"/>
                <a:gd name="connsiteY225" fmla="*/ 286739 h 451513"/>
                <a:gd name="connsiteX226" fmla="*/ 862535 w 1112427"/>
                <a:gd name="connsiteY226" fmla="*/ 292857 h 451513"/>
                <a:gd name="connsiteX227" fmla="*/ 860612 w 1112427"/>
                <a:gd name="connsiteY227" fmla="*/ 306574 h 451513"/>
                <a:gd name="connsiteX228" fmla="*/ 862535 w 1112427"/>
                <a:gd name="connsiteY228" fmla="*/ 314222 h 451513"/>
                <a:gd name="connsiteX229" fmla="*/ 860612 w 1112427"/>
                <a:gd name="connsiteY229" fmla="*/ 317281 h 451513"/>
                <a:gd name="connsiteX230" fmla="*/ 876301 w 1112427"/>
                <a:gd name="connsiteY230" fmla="*/ 327938 h 451513"/>
                <a:gd name="connsiteX231" fmla="*/ 891991 w 1112427"/>
                <a:gd name="connsiteY231" fmla="*/ 335537 h 451513"/>
                <a:gd name="connsiteX232" fmla="*/ 891991 w 1112427"/>
                <a:gd name="connsiteY232" fmla="*/ 338596 h 451513"/>
                <a:gd name="connsiteX233" fmla="*/ 890018 w 1112427"/>
                <a:gd name="connsiteY233" fmla="*/ 344714 h 451513"/>
                <a:gd name="connsiteX234" fmla="*/ 882173 w 1112427"/>
                <a:gd name="connsiteY234" fmla="*/ 349303 h 451513"/>
                <a:gd name="connsiteX235" fmla="*/ 868456 w 1112427"/>
                <a:gd name="connsiteY235" fmla="*/ 366078 h 451513"/>
                <a:gd name="connsiteX236" fmla="*/ 858588 w 1112427"/>
                <a:gd name="connsiteY236" fmla="*/ 379795 h 451513"/>
                <a:gd name="connsiteX237" fmla="*/ 854642 w 1112427"/>
                <a:gd name="connsiteY237" fmla="*/ 388972 h 451513"/>
                <a:gd name="connsiteX238" fmla="*/ 846845 w 1112427"/>
                <a:gd name="connsiteY238" fmla="*/ 388972 h 451513"/>
                <a:gd name="connsiteX239" fmla="*/ 835004 w 1112427"/>
                <a:gd name="connsiteY239" fmla="*/ 392031 h 451513"/>
                <a:gd name="connsiteX240" fmla="*/ 827208 w 1112427"/>
                <a:gd name="connsiteY240" fmla="*/ 392031 h 451513"/>
                <a:gd name="connsiteX241" fmla="*/ 819362 w 1112427"/>
                <a:gd name="connsiteY241" fmla="*/ 398100 h 451513"/>
                <a:gd name="connsiteX242" fmla="*/ 807619 w 1112427"/>
                <a:gd name="connsiteY242" fmla="*/ 405748 h 451513"/>
                <a:gd name="connsiteX243" fmla="*/ 797751 w 1112427"/>
                <a:gd name="connsiteY243" fmla="*/ 405748 h 451513"/>
                <a:gd name="connsiteX244" fmla="*/ 783986 w 1112427"/>
                <a:gd name="connsiteY244" fmla="*/ 407278 h 451513"/>
                <a:gd name="connsiteX245" fmla="*/ 772243 w 1112427"/>
                <a:gd name="connsiteY245" fmla="*/ 410287 h 451513"/>
                <a:gd name="connsiteX246" fmla="*/ 760450 w 1112427"/>
                <a:gd name="connsiteY246" fmla="*/ 413347 h 451513"/>
                <a:gd name="connsiteX247" fmla="*/ 734941 w 1112427"/>
                <a:gd name="connsiteY247" fmla="*/ 419465 h 451513"/>
                <a:gd name="connsiteX248" fmla="*/ 715205 w 1112427"/>
                <a:gd name="connsiteY248" fmla="*/ 425583 h 451513"/>
                <a:gd name="connsiteX249" fmla="*/ 703413 w 1112427"/>
                <a:gd name="connsiteY249" fmla="*/ 436241 h 451513"/>
                <a:gd name="connsiteX250" fmla="*/ 689696 w 1112427"/>
                <a:gd name="connsiteY250" fmla="*/ 446898 h 451513"/>
                <a:gd name="connsiteX251" fmla="*/ 683825 w 1112427"/>
                <a:gd name="connsiteY251" fmla="*/ 451487 h 451513"/>
                <a:gd name="connsiteX252" fmla="*/ 673957 w 1112427"/>
                <a:gd name="connsiteY252" fmla="*/ 451487 h 451513"/>
                <a:gd name="connsiteX253" fmla="*/ 664089 w 1112427"/>
                <a:gd name="connsiteY253" fmla="*/ 448427 h 451513"/>
                <a:gd name="connsiteX254" fmla="*/ 664089 w 1112427"/>
                <a:gd name="connsiteY254" fmla="*/ 445368 h 451513"/>
                <a:gd name="connsiteX255" fmla="*/ 662115 w 1112427"/>
                <a:gd name="connsiteY255" fmla="*/ 440829 h 451513"/>
                <a:gd name="connsiteX256" fmla="*/ 648448 w 1112427"/>
                <a:gd name="connsiteY256" fmla="*/ 443888 h 451513"/>
                <a:gd name="connsiteX257" fmla="*/ 634682 w 1112427"/>
                <a:gd name="connsiteY257" fmla="*/ 445368 h 451513"/>
                <a:gd name="connsiteX258" fmla="*/ 620965 w 1112427"/>
                <a:gd name="connsiteY258" fmla="*/ 440829 h 451513"/>
                <a:gd name="connsiteX259" fmla="*/ 609173 w 1112427"/>
                <a:gd name="connsiteY259" fmla="*/ 439300 h 451513"/>
                <a:gd name="connsiteX260" fmla="*/ 587611 w 1112427"/>
                <a:gd name="connsiteY260" fmla="*/ 433181 h 451513"/>
                <a:gd name="connsiteX261" fmla="*/ 566049 w 1112427"/>
                <a:gd name="connsiteY261" fmla="*/ 422524 h 451513"/>
                <a:gd name="connsiteX262" fmla="*/ 554257 w 1112427"/>
                <a:gd name="connsiteY262" fmla="*/ 413347 h 451513"/>
                <a:gd name="connsiteX263" fmla="*/ 544389 w 1112427"/>
                <a:gd name="connsiteY263" fmla="*/ 413347 h 451513"/>
                <a:gd name="connsiteX264" fmla="*/ 518930 w 1112427"/>
                <a:gd name="connsiteY264" fmla="*/ 410287 h 451513"/>
                <a:gd name="connsiteX265" fmla="*/ 496430 w 1112427"/>
                <a:gd name="connsiteY265" fmla="*/ 411817 h 451513"/>
                <a:gd name="connsiteX266" fmla="*/ 492483 w 1112427"/>
                <a:gd name="connsiteY266" fmla="*/ 410287 h 451513"/>
                <a:gd name="connsiteX267" fmla="*/ 488585 w 1112427"/>
                <a:gd name="connsiteY267" fmla="*/ 411817 h 451513"/>
                <a:gd name="connsiteX268" fmla="*/ 486611 w 1112427"/>
                <a:gd name="connsiteY268" fmla="*/ 414876 h 451513"/>
                <a:gd name="connsiteX269" fmla="*/ 472845 w 1112427"/>
                <a:gd name="connsiteY269" fmla="*/ 419465 h 451513"/>
                <a:gd name="connsiteX270" fmla="*/ 457205 w 1112427"/>
                <a:gd name="connsiteY270" fmla="*/ 420994 h 451513"/>
                <a:gd name="connsiteX271" fmla="*/ 425824 w 1112427"/>
                <a:gd name="connsiteY271" fmla="*/ 417935 h 451513"/>
                <a:gd name="connsiteX272" fmla="*/ 404213 w 1112427"/>
                <a:gd name="connsiteY272" fmla="*/ 419465 h 451513"/>
                <a:gd name="connsiteX273" fmla="*/ 388523 w 1112427"/>
                <a:gd name="connsiteY273" fmla="*/ 417935 h 451513"/>
                <a:gd name="connsiteX274" fmla="*/ 374806 w 1112427"/>
                <a:gd name="connsiteY274" fmla="*/ 419465 h 451513"/>
                <a:gd name="connsiteX275" fmla="*/ 364938 w 1112427"/>
                <a:gd name="connsiteY275" fmla="*/ 420994 h 451513"/>
                <a:gd name="connsiteX276" fmla="*/ 359067 w 1112427"/>
                <a:gd name="connsiteY276" fmla="*/ 417935 h 451513"/>
                <a:gd name="connsiteX277" fmla="*/ 353146 w 1112427"/>
                <a:gd name="connsiteY277" fmla="*/ 405748 h 451513"/>
                <a:gd name="connsiteX278" fmla="*/ 349248 w 1112427"/>
                <a:gd name="connsiteY278" fmla="*/ 398100 h 451513"/>
                <a:gd name="connsiteX279" fmla="*/ 341403 w 1112427"/>
                <a:gd name="connsiteY279" fmla="*/ 388972 h 451513"/>
                <a:gd name="connsiteX280" fmla="*/ 333607 w 1112427"/>
                <a:gd name="connsiteY280" fmla="*/ 382706 h 451513"/>
                <a:gd name="connsiteX281" fmla="*/ 329709 w 1112427"/>
                <a:gd name="connsiteY281" fmla="*/ 373529 h 451513"/>
                <a:gd name="connsiteX282" fmla="*/ 329709 w 1112427"/>
                <a:gd name="connsiteY282" fmla="*/ 368990 h 451513"/>
                <a:gd name="connsiteX283" fmla="*/ 325762 w 1112427"/>
                <a:gd name="connsiteY283" fmla="*/ 364401 h 451513"/>
                <a:gd name="connsiteX284" fmla="*/ 319890 w 1112427"/>
                <a:gd name="connsiteY284" fmla="*/ 362871 h 451513"/>
                <a:gd name="connsiteX285" fmla="*/ 315993 w 1112427"/>
                <a:gd name="connsiteY285" fmla="*/ 362871 h 451513"/>
                <a:gd name="connsiteX286" fmla="*/ 315993 w 1112427"/>
                <a:gd name="connsiteY286" fmla="*/ 359812 h 451513"/>
                <a:gd name="connsiteX287" fmla="*/ 313970 w 1112427"/>
                <a:gd name="connsiteY287" fmla="*/ 353743 h 451513"/>
                <a:gd name="connsiteX288" fmla="*/ 298328 w 1112427"/>
                <a:gd name="connsiteY288" fmla="*/ 353743 h 451513"/>
                <a:gd name="connsiteX289" fmla="*/ 288460 w 1112427"/>
                <a:gd name="connsiteY289" fmla="*/ 349155 h 451513"/>
                <a:gd name="connsiteX290" fmla="*/ 276717 w 1112427"/>
                <a:gd name="connsiteY290" fmla="*/ 341507 h 451513"/>
                <a:gd name="connsiteX291" fmla="*/ 272721 w 1112427"/>
                <a:gd name="connsiteY291" fmla="*/ 339977 h 451513"/>
                <a:gd name="connsiteX292" fmla="*/ 266899 w 1112427"/>
                <a:gd name="connsiteY292" fmla="*/ 339977 h 451513"/>
                <a:gd name="connsiteX293" fmla="*/ 260978 w 1112427"/>
                <a:gd name="connsiteY293" fmla="*/ 338448 h 451513"/>
                <a:gd name="connsiteX294" fmla="*/ 259054 w 1112427"/>
                <a:gd name="connsiteY294" fmla="*/ 335389 h 451513"/>
                <a:gd name="connsiteX295" fmla="*/ 247261 w 1112427"/>
                <a:gd name="connsiteY295" fmla="*/ 329320 h 451513"/>
                <a:gd name="connsiteX296" fmla="*/ 223726 w 1112427"/>
                <a:gd name="connsiteY296" fmla="*/ 323202 h 451513"/>
                <a:gd name="connsiteX297" fmla="*/ 219779 w 1112427"/>
                <a:gd name="connsiteY297" fmla="*/ 326261 h 451513"/>
                <a:gd name="connsiteX298" fmla="*/ 217855 w 1112427"/>
                <a:gd name="connsiteY298" fmla="*/ 327790 h 451513"/>
                <a:gd name="connsiteX299" fmla="*/ 207987 w 1112427"/>
                <a:gd name="connsiteY299" fmla="*/ 329320 h 451513"/>
                <a:gd name="connsiteX300" fmla="*/ 192296 w 1112427"/>
                <a:gd name="connsiteY300" fmla="*/ 329320 h 451513"/>
                <a:gd name="connsiteX301" fmla="*/ 157018 w 1112427"/>
                <a:gd name="connsiteY301" fmla="*/ 321672 h 451513"/>
                <a:gd name="connsiteX302" fmla="*/ 149123 w 1112427"/>
                <a:gd name="connsiteY302" fmla="*/ 317133 h 451513"/>
                <a:gd name="connsiteX303" fmla="*/ 141278 w 1112427"/>
                <a:gd name="connsiteY303" fmla="*/ 307906 h 451513"/>
                <a:gd name="connsiteX304" fmla="*/ 141278 w 1112427"/>
                <a:gd name="connsiteY304" fmla="*/ 297249 h 451513"/>
                <a:gd name="connsiteX305" fmla="*/ 143252 w 1112427"/>
                <a:gd name="connsiteY305" fmla="*/ 294239 h 451513"/>
                <a:gd name="connsiteX306" fmla="*/ 147199 w 1112427"/>
                <a:gd name="connsiteY306" fmla="*/ 291180 h 451513"/>
                <a:gd name="connsiteX307" fmla="*/ 149123 w 1112427"/>
                <a:gd name="connsiteY307" fmla="*/ 285062 h 451513"/>
                <a:gd name="connsiteX308" fmla="*/ 145225 w 1112427"/>
                <a:gd name="connsiteY308" fmla="*/ 282003 h 451513"/>
                <a:gd name="connsiteX309" fmla="*/ 143252 w 1112427"/>
                <a:gd name="connsiteY309" fmla="*/ 274404 h 451513"/>
                <a:gd name="connsiteX310" fmla="*/ 145225 w 1112427"/>
                <a:gd name="connsiteY310" fmla="*/ 269766 h 451513"/>
                <a:gd name="connsiteX311" fmla="*/ 145225 w 1112427"/>
                <a:gd name="connsiteY311" fmla="*/ 263796 h 451513"/>
                <a:gd name="connsiteX312" fmla="*/ 141278 w 1112427"/>
                <a:gd name="connsiteY312" fmla="*/ 259207 h 451513"/>
                <a:gd name="connsiteX313" fmla="*/ 137380 w 1112427"/>
                <a:gd name="connsiteY313" fmla="*/ 253138 h 451513"/>
                <a:gd name="connsiteX314" fmla="*/ 133433 w 1112427"/>
                <a:gd name="connsiteY314" fmla="*/ 251609 h 451513"/>
                <a:gd name="connsiteX315" fmla="*/ 125637 w 1112427"/>
                <a:gd name="connsiteY315" fmla="*/ 247020 h 451513"/>
                <a:gd name="connsiteX316" fmla="*/ 123664 w 1112427"/>
                <a:gd name="connsiteY316" fmla="*/ 240951 h 451513"/>
                <a:gd name="connsiteX317" fmla="*/ 119717 w 1112427"/>
                <a:gd name="connsiteY317" fmla="*/ 236363 h 451513"/>
                <a:gd name="connsiteX318" fmla="*/ 117743 w 1112427"/>
                <a:gd name="connsiteY318" fmla="*/ 231774 h 451513"/>
                <a:gd name="connsiteX319" fmla="*/ 117743 w 1112427"/>
                <a:gd name="connsiteY319" fmla="*/ 227185 h 451513"/>
                <a:gd name="connsiteX320" fmla="*/ 113845 w 1112427"/>
                <a:gd name="connsiteY320" fmla="*/ 222597 h 451513"/>
                <a:gd name="connsiteX321" fmla="*/ 107974 w 1112427"/>
                <a:gd name="connsiteY321" fmla="*/ 216528 h 451513"/>
                <a:gd name="connsiteX322" fmla="*/ 102052 w 1112427"/>
                <a:gd name="connsiteY322" fmla="*/ 214998 h 451513"/>
                <a:gd name="connsiteX323" fmla="*/ 100079 w 1112427"/>
                <a:gd name="connsiteY323" fmla="*/ 211939 h 451513"/>
                <a:gd name="connsiteX324" fmla="*/ 92234 w 1112427"/>
                <a:gd name="connsiteY324" fmla="*/ 210410 h 451513"/>
                <a:gd name="connsiteX325" fmla="*/ 88336 w 1112427"/>
                <a:gd name="connsiteY325" fmla="*/ 210410 h 451513"/>
                <a:gd name="connsiteX326" fmla="*/ 84438 w 1112427"/>
                <a:gd name="connsiteY326" fmla="*/ 213469 h 451513"/>
                <a:gd name="connsiteX327" fmla="*/ 80491 w 1112427"/>
                <a:gd name="connsiteY327" fmla="*/ 214998 h 451513"/>
                <a:gd name="connsiteX328" fmla="*/ 76593 w 1112427"/>
                <a:gd name="connsiteY328" fmla="*/ 213469 h 451513"/>
                <a:gd name="connsiteX329" fmla="*/ 70672 w 1112427"/>
                <a:gd name="connsiteY329" fmla="*/ 208880 h 451513"/>
                <a:gd name="connsiteX330" fmla="*/ 70672 w 1112427"/>
                <a:gd name="connsiteY330" fmla="*/ 205870 h 451513"/>
                <a:gd name="connsiteX331" fmla="*/ 60804 w 1112427"/>
                <a:gd name="connsiteY331" fmla="*/ 205870 h 451513"/>
                <a:gd name="connsiteX332" fmla="*/ 54982 w 1112427"/>
                <a:gd name="connsiteY332" fmla="*/ 208880 h 451513"/>
                <a:gd name="connsiteX333" fmla="*/ 52959 w 1112427"/>
                <a:gd name="connsiteY333" fmla="*/ 210410 h 451513"/>
                <a:gd name="connsiteX334" fmla="*/ 51035 w 1112427"/>
                <a:gd name="connsiteY334" fmla="*/ 214998 h 451513"/>
                <a:gd name="connsiteX335" fmla="*/ 47088 w 1112427"/>
                <a:gd name="connsiteY335" fmla="*/ 214998 h 451513"/>
                <a:gd name="connsiteX336" fmla="*/ 41216 w 1112427"/>
                <a:gd name="connsiteY336" fmla="*/ 210410 h 451513"/>
                <a:gd name="connsiteX337" fmla="*/ 39242 w 1112427"/>
                <a:gd name="connsiteY337" fmla="*/ 205870 h 451513"/>
                <a:gd name="connsiteX338" fmla="*/ 39242 w 1112427"/>
                <a:gd name="connsiteY338" fmla="*/ 204341 h 451513"/>
                <a:gd name="connsiteX339" fmla="*/ 35345 w 1112427"/>
                <a:gd name="connsiteY339" fmla="*/ 199752 h 451513"/>
                <a:gd name="connsiteX340" fmla="*/ 25477 w 1112427"/>
                <a:gd name="connsiteY340" fmla="*/ 195114 h 451513"/>
                <a:gd name="connsiteX341" fmla="*/ 19605 w 1112427"/>
                <a:gd name="connsiteY341" fmla="*/ 189045 h 451513"/>
                <a:gd name="connsiteX342" fmla="*/ 15658 w 1112427"/>
                <a:gd name="connsiteY342" fmla="*/ 187516 h 451513"/>
                <a:gd name="connsiteX343" fmla="*/ 13734 w 1112427"/>
                <a:gd name="connsiteY343" fmla="*/ 184457 h 451513"/>
                <a:gd name="connsiteX344" fmla="*/ 11711 w 1112427"/>
                <a:gd name="connsiteY344" fmla="*/ 181447 h 451513"/>
                <a:gd name="connsiteX345" fmla="*/ 11711 w 1112427"/>
                <a:gd name="connsiteY345" fmla="*/ 176858 h 451513"/>
                <a:gd name="connsiteX346" fmla="*/ 9786 w 1112427"/>
                <a:gd name="connsiteY346" fmla="*/ 173799 h 451513"/>
                <a:gd name="connsiteX347" fmla="*/ 7812 w 1112427"/>
                <a:gd name="connsiteY347" fmla="*/ 175329 h 451513"/>
                <a:gd name="connsiteX348" fmla="*/ 7812 w 1112427"/>
                <a:gd name="connsiteY348" fmla="*/ 176858 h 451513"/>
                <a:gd name="connsiteX349" fmla="*/ 5888 w 1112427"/>
                <a:gd name="connsiteY349" fmla="*/ 176858 h 451513"/>
                <a:gd name="connsiteX350" fmla="*/ 3915 w 1112427"/>
                <a:gd name="connsiteY350" fmla="*/ 173799 h 451513"/>
                <a:gd name="connsiteX351" fmla="*/ 1941 w 1112427"/>
                <a:gd name="connsiteY351" fmla="*/ 172270 h 451513"/>
                <a:gd name="connsiteX352" fmla="*/ 1941 w 1112427"/>
                <a:gd name="connsiteY352" fmla="*/ 163142 h 451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</a:cxnLst>
              <a:rect l="l" t="t" r="r" b="b"/>
              <a:pathLst>
                <a:path w="1112427" h="451513">
                  <a:moveTo>
                    <a:pt x="-82" y="160181"/>
                  </a:moveTo>
                  <a:lnTo>
                    <a:pt x="5839" y="149474"/>
                  </a:lnTo>
                  <a:lnTo>
                    <a:pt x="11661" y="146415"/>
                  </a:lnTo>
                  <a:lnTo>
                    <a:pt x="27400" y="147945"/>
                  </a:lnTo>
                  <a:lnTo>
                    <a:pt x="31299" y="144886"/>
                  </a:lnTo>
                  <a:lnTo>
                    <a:pt x="37220" y="137287"/>
                  </a:lnTo>
                  <a:lnTo>
                    <a:pt x="48963" y="134228"/>
                  </a:lnTo>
                  <a:lnTo>
                    <a:pt x="48963" y="128159"/>
                  </a:lnTo>
                  <a:lnTo>
                    <a:pt x="50936" y="121992"/>
                  </a:lnTo>
                  <a:lnTo>
                    <a:pt x="60804" y="118982"/>
                  </a:lnTo>
                  <a:lnTo>
                    <a:pt x="60804" y="114393"/>
                  </a:lnTo>
                  <a:lnTo>
                    <a:pt x="68699" y="108275"/>
                  </a:lnTo>
                  <a:lnTo>
                    <a:pt x="74570" y="106746"/>
                  </a:lnTo>
                  <a:lnTo>
                    <a:pt x="78468" y="100677"/>
                  </a:lnTo>
                  <a:lnTo>
                    <a:pt x="80441" y="99147"/>
                  </a:lnTo>
                  <a:lnTo>
                    <a:pt x="78468" y="96088"/>
                  </a:lnTo>
                  <a:lnTo>
                    <a:pt x="76544" y="93078"/>
                  </a:lnTo>
                  <a:lnTo>
                    <a:pt x="80441" y="90019"/>
                  </a:lnTo>
                  <a:lnTo>
                    <a:pt x="90309" y="93078"/>
                  </a:lnTo>
                  <a:lnTo>
                    <a:pt x="96181" y="90019"/>
                  </a:lnTo>
                  <a:lnTo>
                    <a:pt x="100079" y="80842"/>
                  </a:lnTo>
                  <a:lnTo>
                    <a:pt x="106000" y="79312"/>
                  </a:lnTo>
                  <a:lnTo>
                    <a:pt x="117743" y="77783"/>
                  </a:lnTo>
                  <a:lnTo>
                    <a:pt x="125637" y="76253"/>
                  </a:lnTo>
                  <a:lnTo>
                    <a:pt x="133433" y="76253"/>
                  </a:lnTo>
                  <a:lnTo>
                    <a:pt x="141278" y="77783"/>
                  </a:lnTo>
                  <a:lnTo>
                    <a:pt x="145225" y="74724"/>
                  </a:lnTo>
                  <a:lnTo>
                    <a:pt x="147199" y="74724"/>
                  </a:lnTo>
                  <a:lnTo>
                    <a:pt x="151097" y="79312"/>
                  </a:lnTo>
                  <a:lnTo>
                    <a:pt x="153071" y="82322"/>
                  </a:lnTo>
                  <a:lnTo>
                    <a:pt x="157018" y="88490"/>
                  </a:lnTo>
                  <a:lnTo>
                    <a:pt x="162840" y="85431"/>
                  </a:lnTo>
                  <a:lnTo>
                    <a:pt x="174632" y="85431"/>
                  </a:lnTo>
                  <a:lnTo>
                    <a:pt x="180504" y="82322"/>
                  </a:lnTo>
                  <a:lnTo>
                    <a:pt x="190372" y="82322"/>
                  </a:lnTo>
                  <a:lnTo>
                    <a:pt x="192346" y="88490"/>
                  </a:lnTo>
                  <a:lnTo>
                    <a:pt x="194319" y="93078"/>
                  </a:lnTo>
                  <a:lnTo>
                    <a:pt x="196293" y="96088"/>
                  </a:lnTo>
                  <a:lnTo>
                    <a:pt x="213907" y="105265"/>
                  </a:lnTo>
                  <a:lnTo>
                    <a:pt x="221752" y="109805"/>
                  </a:lnTo>
                  <a:lnTo>
                    <a:pt x="233545" y="115923"/>
                  </a:lnTo>
                  <a:lnTo>
                    <a:pt x="239416" y="111334"/>
                  </a:lnTo>
                  <a:lnTo>
                    <a:pt x="247261" y="109805"/>
                  </a:lnTo>
                  <a:lnTo>
                    <a:pt x="253133" y="105265"/>
                  </a:lnTo>
                  <a:lnTo>
                    <a:pt x="259054" y="105265"/>
                  </a:lnTo>
                  <a:lnTo>
                    <a:pt x="266899" y="106746"/>
                  </a:lnTo>
                  <a:lnTo>
                    <a:pt x="272721" y="109805"/>
                  </a:lnTo>
                  <a:lnTo>
                    <a:pt x="278642" y="108275"/>
                  </a:lnTo>
                  <a:lnTo>
                    <a:pt x="294135" y="108275"/>
                  </a:lnTo>
                  <a:lnTo>
                    <a:pt x="298082" y="109805"/>
                  </a:lnTo>
                  <a:lnTo>
                    <a:pt x="307950" y="109805"/>
                  </a:lnTo>
                  <a:lnTo>
                    <a:pt x="307950" y="108275"/>
                  </a:lnTo>
                  <a:lnTo>
                    <a:pt x="315795" y="109805"/>
                  </a:lnTo>
                  <a:lnTo>
                    <a:pt x="325663" y="108275"/>
                  </a:lnTo>
                  <a:lnTo>
                    <a:pt x="333508" y="99147"/>
                  </a:lnTo>
                  <a:lnTo>
                    <a:pt x="329610" y="96088"/>
                  </a:lnTo>
                  <a:lnTo>
                    <a:pt x="321716" y="91549"/>
                  </a:lnTo>
                  <a:lnTo>
                    <a:pt x="321716" y="80842"/>
                  </a:lnTo>
                  <a:lnTo>
                    <a:pt x="325663" y="71665"/>
                  </a:lnTo>
                  <a:lnTo>
                    <a:pt x="323690" y="68655"/>
                  </a:lnTo>
                  <a:lnTo>
                    <a:pt x="317818" y="65596"/>
                  </a:lnTo>
                  <a:lnTo>
                    <a:pt x="313871" y="62537"/>
                  </a:lnTo>
                  <a:lnTo>
                    <a:pt x="302128" y="57948"/>
                  </a:lnTo>
                  <a:lnTo>
                    <a:pt x="300154" y="51879"/>
                  </a:lnTo>
                  <a:lnTo>
                    <a:pt x="300154" y="36584"/>
                  </a:lnTo>
                  <a:lnTo>
                    <a:pt x="308048" y="28985"/>
                  </a:lnTo>
                  <a:lnTo>
                    <a:pt x="308048" y="24397"/>
                  </a:lnTo>
                  <a:lnTo>
                    <a:pt x="311946" y="19808"/>
                  </a:lnTo>
                  <a:lnTo>
                    <a:pt x="317818" y="18328"/>
                  </a:lnTo>
                  <a:lnTo>
                    <a:pt x="321716" y="18328"/>
                  </a:lnTo>
                  <a:lnTo>
                    <a:pt x="323690" y="13739"/>
                  </a:lnTo>
                  <a:lnTo>
                    <a:pt x="321716" y="9101"/>
                  </a:lnTo>
                  <a:lnTo>
                    <a:pt x="321716" y="3032"/>
                  </a:lnTo>
                  <a:lnTo>
                    <a:pt x="325663" y="-27"/>
                  </a:lnTo>
                  <a:lnTo>
                    <a:pt x="333607" y="-27"/>
                  </a:lnTo>
                  <a:lnTo>
                    <a:pt x="339478" y="3032"/>
                  </a:lnTo>
                  <a:lnTo>
                    <a:pt x="349346" y="4562"/>
                  </a:lnTo>
                  <a:lnTo>
                    <a:pt x="357192" y="9101"/>
                  </a:lnTo>
                  <a:lnTo>
                    <a:pt x="359166" y="12210"/>
                  </a:lnTo>
                  <a:lnTo>
                    <a:pt x="367010" y="13739"/>
                  </a:lnTo>
                  <a:lnTo>
                    <a:pt x="376879" y="15269"/>
                  </a:lnTo>
                  <a:lnTo>
                    <a:pt x="388622" y="13739"/>
                  </a:lnTo>
                  <a:lnTo>
                    <a:pt x="394493" y="16798"/>
                  </a:lnTo>
                  <a:lnTo>
                    <a:pt x="396516" y="19808"/>
                  </a:lnTo>
                  <a:lnTo>
                    <a:pt x="408259" y="19808"/>
                  </a:lnTo>
                  <a:lnTo>
                    <a:pt x="412157" y="22867"/>
                  </a:lnTo>
                  <a:lnTo>
                    <a:pt x="433719" y="22867"/>
                  </a:lnTo>
                  <a:lnTo>
                    <a:pt x="437666" y="24397"/>
                  </a:lnTo>
                  <a:lnTo>
                    <a:pt x="443537" y="28985"/>
                  </a:lnTo>
                  <a:lnTo>
                    <a:pt x="443537" y="35054"/>
                  </a:lnTo>
                  <a:lnTo>
                    <a:pt x="445511" y="38113"/>
                  </a:lnTo>
                  <a:lnTo>
                    <a:pt x="445511" y="42702"/>
                  </a:lnTo>
                  <a:lnTo>
                    <a:pt x="449458" y="45712"/>
                  </a:lnTo>
                  <a:lnTo>
                    <a:pt x="453356" y="53409"/>
                  </a:lnTo>
                  <a:lnTo>
                    <a:pt x="453356" y="57948"/>
                  </a:lnTo>
                  <a:lnTo>
                    <a:pt x="457303" y="62537"/>
                  </a:lnTo>
                  <a:lnTo>
                    <a:pt x="461201" y="62537"/>
                  </a:lnTo>
                  <a:lnTo>
                    <a:pt x="467122" y="68655"/>
                  </a:lnTo>
                  <a:lnTo>
                    <a:pt x="469046" y="71665"/>
                  </a:lnTo>
                  <a:lnTo>
                    <a:pt x="480838" y="73194"/>
                  </a:lnTo>
                  <a:lnTo>
                    <a:pt x="492581" y="77783"/>
                  </a:lnTo>
                  <a:lnTo>
                    <a:pt x="496529" y="77783"/>
                  </a:lnTo>
                  <a:lnTo>
                    <a:pt x="500427" y="76253"/>
                  </a:lnTo>
                  <a:lnTo>
                    <a:pt x="512169" y="76253"/>
                  </a:lnTo>
                  <a:lnTo>
                    <a:pt x="516117" y="74724"/>
                  </a:lnTo>
                  <a:lnTo>
                    <a:pt x="521989" y="74724"/>
                  </a:lnTo>
                  <a:lnTo>
                    <a:pt x="525936" y="76253"/>
                  </a:lnTo>
                  <a:lnTo>
                    <a:pt x="529883" y="74724"/>
                  </a:lnTo>
                  <a:lnTo>
                    <a:pt x="535754" y="68655"/>
                  </a:lnTo>
                  <a:lnTo>
                    <a:pt x="547547" y="65596"/>
                  </a:lnTo>
                  <a:lnTo>
                    <a:pt x="561214" y="65596"/>
                  </a:lnTo>
                  <a:lnTo>
                    <a:pt x="567135" y="62537"/>
                  </a:lnTo>
                  <a:lnTo>
                    <a:pt x="578878" y="59478"/>
                  </a:lnTo>
                  <a:lnTo>
                    <a:pt x="586723" y="57948"/>
                  </a:lnTo>
                  <a:lnTo>
                    <a:pt x="594568" y="62537"/>
                  </a:lnTo>
                  <a:lnTo>
                    <a:pt x="604436" y="64066"/>
                  </a:lnTo>
                  <a:lnTo>
                    <a:pt x="619781" y="64066"/>
                  </a:lnTo>
                  <a:lnTo>
                    <a:pt x="627626" y="71665"/>
                  </a:lnTo>
                  <a:lnTo>
                    <a:pt x="639418" y="76253"/>
                  </a:lnTo>
                  <a:lnTo>
                    <a:pt x="651161" y="76253"/>
                  </a:lnTo>
                  <a:lnTo>
                    <a:pt x="657083" y="74724"/>
                  </a:lnTo>
                  <a:lnTo>
                    <a:pt x="660980" y="77783"/>
                  </a:lnTo>
                  <a:lnTo>
                    <a:pt x="664878" y="88490"/>
                  </a:lnTo>
                  <a:lnTo>
                    <a:pt x="670799" y="91549"/>
                  </a:lnTo>
                  <a:lnTo>
                    <a:pt x="674697" y="94559"/>
                  </a:lnTo>
                  <a:lnTo>
                    <a:pt x="682542" y="94559"/>
                  </a:lnTo>
                  <a:lnTo>
                    <a:pt x="688463" y="100677"/>
                  </a:lnTo>
                  <a:lnTo>
                    <a:pt x="692360" y="100677"/>
                  </a:lnTo>
                  <a:lnTo>
                    <a:pt x="708051" y="99147"/>
                  </a:lnTo>
                  <a:lnTo>
                    <a:pt x="723741" y="102206"/>
                  </a:lnTo>
                  <a:lnTo>
                    <a:pt x="755122" y="102206"/>
                  </a:lnTo>
                  <a:lnTo>
                    <a:pt x="759069" y="99147"/>
                  </a:lnTo>
                  <a:lnTo>
                    <a:pt x="764891" y="99147"/>
                  </a:lnTo>
                  <a:lnTo>
                    <a:pt x="772785" y="102206"/>
                  </a:lnTo>
                  <a:lnTo>
                    <a:pt x="776684" y="102206"/>
                  </a:lnTo>
                  <a:lnTo>
                    <a:pt x="780630" y="94559"/>
                  </a:lnTo>
                  <a:lnTo>
                    <a:pt x="796321" y="88490"/>
                  </a:lnTo>
                  <a:lnTo>
                    <a:pt x="804166" y="88490"/>
                  </a:lnTo>
                  <a:lnTo>
                    <a:pt x="810038" y="80842"/>
                  </a:lnTo>
                  <a:lnTo>
                    <a:pt x="831599" y="80842"/>
                  </a:lnTo>
                  <a:lnTo>
                    <a:pt x="839494" y="76253"/>
                  </a:lnTo>
                  <a:lnTo>
                    <a:pt x="841417" y="70135"/>
                  </a:lnTo>
                  <a:lnTo>
                    <a:pt x="841417" y="67125"/>
                  </a:lnTo>
                  <a:lnTo>
                    <a:pt x="845316" y="59478"/>
                  </a:lnTo>
                  <a:lnTo>
                    <a:pt x="855184" y="57948"/>
                  </a:lnTo>
                  <a:lnTo>
                    <a:pt x="859131" y="53409"/>
                  </a:lnTo>
                  <a:lnTo>
                    <a:pt x="863029" y="47241"/>
                  </a:lnTo>
                  <a:lnTo>
                    <a:pt x="866977" y="42702"/>
                  </a:lnTo>
                  <a:lnTo>
                    <a:pt x="872848" y="42702"/>
                  </a:lnTo>
                  <a:lnTo>
                    <a:pt x="874821" y="44182"/>
                  </a:lnTo>
                  <a:lnTo>
                    <a:pt x="886565" y="42702"/>
                  </a:lnTo>
                  <a:lnTo>
                    <a:pt x="894409" y="42702"/>
                  </a:lnTo>
                  <a:lnTo>
                    <a:pt x="902254" y="47241"/>
                  </a:lnTo>
                  <a:lnTo>
                    <a:pt x="906202" y="51879"/>
                  </a:lnTo>
                  <a:lnTo>
                    <a:pt x="910149" y="53409"/>
                  </a:lnTo>
                  <a:lnTo>
                    <a:pt x="917994" y="50350"/>
                  </a:lnTo>
                  <a:lnTo>
                    <a:pt x="921892" y="53409"/>
                  </a:lnTo>
                  <a:lnTo>
                    <a:pt x="929737" y="53409"/>
                  </a:lnTo>
                  <a:lnTo>
                    <a:pt x="935609" y="48820"/>
                  </a:lnTo>
                  <a:lnTo>
                    <a:pt x="937582" y="45712"/>
                  </a:lnTo>
                  <a:lnTo>
                    <a:pt x="947450" y="44182"/>
                  </a:lnTo>
                  <a:lnTo>
                    <a:pt x="963141" y="47241"/>
                  </a:lnTo>
                  <a:lnTo>
                    <a:pt x="967038" y="51879"/>
                  </a:lnTo>
                  <a:lnTo>
                    <a:pt x="959243" y="99147"/>
                  </a:lnTo>
                  <a:lnTo>
                    <a:pt x="961167" y="109805"/>
                  </a:lnTo>
                  <a:lnTo>
                    <a:pt x="957219" y="118982"/>
                  </a:lnTo>
                  <a:lnTo>
                    <a:pt x="959243" y="125100"/>
                  </a:lnTo>
                  <a:lnTo>
                    <a:pt x="951348" y="137287"/>
                  </a:lnTo>
                  <a:lnTo>
                    <a:pt x="959243" y="149474"/>
                  </a:lnTo>
                  <a:lnTo>
                    <a:pt x="974883" y="155593"/>
                  </a:lnTo>
                  <a:lnTo>
                    <a:pt x="986676" y="147945"/>
                  </a:lnTo>
                  <a:lnTo>
                    <a:pt x="1002366" y="147945"/>
                  </a:lnTo>
                  <a:lnTo>
                    <a:pt x="1016083" y="151004"/>
                  </a:lnTo>
                  <a:lnTo>
                    <a:pt x="1025951" y="155593"/>
                  </a:lnTo>
                  <a:lnTo>
                    <a:pt x="1033795" y="144886"/>
                  </a:lnTo>
                  <a:lnTo>
                    <a:pt x="1033795" y="132699"/>
                  </a:lnTo>
                  <a:lnTo>
                    <a:pt x="1043663" y="129689"/>
                  </a:lnTo>
                  <a:lnTo>
                    <a:pt x="1045588" y="126630"/>
                  </a:lnTo>
                  <a:lnTo>
                    <a:pt x="1063251" y="129689"/>
                  </a:lnTo>
                  <a:lnTo>
                    <a:pt x="1073120" y="141876"/>
                  </a:lnTo>
                  <a:lnTo>
                    <a:pt x="1084863" y="151004"/>
                  </a:lnTo>
                  <a:lnTo>
                    <a:pt x="1096655" y="161711"/>
                  </a:lnTo>
                  <a:lnTo>
                    <a:pt x="1108448" y="170839"/>
                  </a:lnTo>
                  <a:lnTo>
                    <a:pt x="1108448" y="175427"/>
                  </a:lnTo>
                  <a:lnTo>
                    <a:pt x="1112346" y="180016"/>
                  </a:lnTo>
                  <a:lnTo>
                    <a:pt x="1112346" y="184555"/>
                  </a:lnTo>
                  <a:lnTo>
                    <a:pt x="1108448" y="187614"/>
                  </a:lnTo>
                  <a:lnTo>
                    <a:pt x="1108448" y="193733"/>
                  </a:lnTo>
                  <a:lnTo>
                    <a:pt x="1106424" y="196792"/>
                  </a:lnTo>
                  <a:lnTo>
                    <a:pt x="1100602" y="196792"/>
                  </a:lnTo>
                  <a:lnTo>
                    <a:pt x="1098629" y="193733"/>
                  </a:lnTo>
                  <a:lnTo>
                    <a:pt x="1088761" y="193733"/>
                  </a:lnTo>
                  <a:lnTo>
                    <a:pt x="1084814" y="196792"/>
                  </a:lnTo>
                  <a:lnTo>
                    <a:pt x="1074946" y="193733"/>
                  </a:lnTo>
                  <a:lnTo>
                    <a:pt x="1068778" y="193733"/>
                  </a:lnTo>
                  <a:lnTo>
                    <a:pt x="1062858" y="201380"/>
                  </a:lnTo>
                  <a:lnTo>
                    <a:pt x="1051114" y="207449"/>
                  </a:lnTo>
                  <a:lnTo>
                    <a:pt x="1045193" y="210508"/>
                  </a:lnTo>
                  <a:lnTo>
                    <a:pt x="1039322" y="207449"/>
                  </a:lnTo>
                  <a:lnTo>
                    <a:pt x="1037348" y="207449"/>
                  </a:lnTo>
                  <a:lnTo>
                    <a:pt x="1037348" y="213568"/>
                  </a:lnTo>
                  <a:lnTo>
                    <a:pt x="1035375" y="216627"/>
                  </a:lnTo>
                  <a:lnTo>
                    <a:pt x="1025507" y="216627"/>
                  </a:lnTo>
                  <a:lnTo>
                    <a:pt x="1023533" y="221166"/>
                  </a:lnTo>
                  <a:lnTo>
                    <a:pt x="1015688" y="228814"/>
                  </a:lnTo>
                  <a:lnTo>
                    <a:pt x="1013715" y="237991"/>
                  </a:lnTo>
                  <a:lnTo>
                    <a:pt x="1013715" y="244060"/>
                  </a:lnTo>
                  <a:lnTo>
                    <a:pt x="1011790" y="250129"/>
                  </a:lnTo>
                  <a:lnTo>
                    <a:pt x="1003896" y="251658"/>
                  </a:lnTo>
                  <a:lnTo>
                    <a:pt x="986281" y="259257"/>
                  </a:lnTo>
                  <a:lnTo>
                    <a:pt x="978436" y="259257"/>
                  </a:lnTo>
                  <a:lnTo>
                    <a:pt x="970591" y="257727"/>
                  </a:lnTo>
                  <a:lnTo>
                    <a:pt x="966644" y="260786"/>
                  </a:lnTo>
                  <a:lnTo>
                    <a:pt x="960773" y="274552"/>
                  </a:lnTo>
                  <a:lnTo>
                    <a:pt x="950905" y="277611"/>
                  </a:lnTo>
                  <a:lnTo>
                    <a:pt x="945032" y="282151"/>
                  </a:lnTo>
                  <a:lnTo>
                    <a:pt x="939161" y="286739"/>
                  </a:lnTo>
                  <a:lnTo>
                    <a:pt x="937188" y="291328"/>
                  </a:lnTo>
                  <a:lnTo>
                    <a:pt x="933240" y="292857"/>
                  </a:lnTo>
                  <a:lnTo>
                    <a:pt x="927369" y="289798"/>
                  </a:lnTo>
                  <a:lnTo>
                    <a:pt x="917501" y="288269"/>
                  </a:lnTo>
                  <a:lnTo>
                    <a:pt x="905708" y="285210"/>
                  </a:lnTo>
                  <a:lnTo>
                    <a:pt x="897864" y="279141"/>
                  </a:lnTo>
                  <a:lnTo>
                    <a:pt x="890018" y="279141"/>
                  </a:lnTo>
                  <a:lnTo>
                    <a:pt x="874328" y="282151"/>
                  </a:lnTo>
                  <a:lnTo>
                    <a:pt x="866483" y="286739"/>
                  </a:lnTo>
                  <a:lnTo>
                    <a:pt x="862535" y="292857"/>
                  </a:lnTo>
                  <a:lnTo>
                    <a:pt x="860612" y="306574"/>
                  </a:lnTo>
                  <a:lnTo>
                    <a:pt x="862535" y="314222"/>
                  </a:lnTo>
                  <a:lnTo>
                    <a:pt x="860612" y="317281"/>
                  </a:lnTo>
                  <a:lnTo>
                    <a:pt x="876301" y="327938"/>
                  </a:lnTo>
                  <a:lnTo>
                    <a:pt x="891991" y="335537"/>
                  </a:lnTo>
                  <a:lnTo>
                    <a:pt x="891991" y="338596"/>
                  </a:lnTo>
                  <a:lnTo>
                    <a:pt x="890018" y="344714"/>
                  </a:lnTo>
                  <a:lnTo>
                    <a:pt x="882173" y="349303"/>
                  </a:lnTo>
                  <a:lnTo>
                    <a:pt x="868456" y="366078"/>
                  </a:lnTo>
                  <a:lnTo>
                    <a:pt x="858588" y="379795"/>
                  </a:lnTo>
                  <a:lnTo>
                    <a:pt x="854642" y="388972"/>
                  </a:lnTo>
                  <a:lnTo>
                    <a:pt x="846845" y="388972"/>
                  </a:lnTo>
                  <a:lnTo>
                    <a:pt x="835004" y="392031"/>
                  </a:lnTo>
                  <a:lnTo>
                    <a:pt x="827208" y="392031"/>
                  </a:lnTo>
                  <a:lnTo>
                    <a:pt x="819362" y="398100"/>
                  </a:lnTo>
                  <a:lnTo>
                    <a:pt x="807619" y="405748"/>
                  </a:lnTo>
                  <a:lnTo>
                    <a:pt x="797751" y="405748"/>
                  </a:lnTo>
                  <a:lnTo>
                    <a:pt x="783986" y="407278"/>
                  </a:lnTo>
                  <a:lnTo>
                    <a:pt x="772243" y="410287"/>
                  </a:lnTo>
                  <a:lnTo>
                    <a:pt x="760450" y="413347"/>
                  </a:lnTo>
                  <a:lnTo>
                    <a:pt x="734941" y="419465"/>
                  </a:lnTo>
                  <a:lnTo>
                    <a:pt x="715205" y="425583"/>
                  </a:lnTo>
                  <a:lnTo>
                    <a:pt x="703413" y="436241"/>
                  </a:lnTo>
                  <a:lnTo>
                    <a:pt x="689696" y="446898"/>
                  </a:lnTo>
                  <a:lnTo>
                    <a:pt x="683825" y="451487"/>
                  </a:lnTo>
                  <a:lnTo>
                    <a:pt x="673957" y="451487"/>
                  </a:lnTo>
                  <a:lnTo>
                    <a:pt x="664089" y="448427"/>
                  </a:lnTo>
                  <a:lnTo>
                    <a:pt x="664089" y="445368"/>
                  </a:lnTo>
                  <a:lnTo>
                    <a:pt x="662115" y="440829"/>
                  </a:lnTo>
                  <a:lnTo>
                    <a:pt x="648448" y="443888"/>
                  </a:lnTo>
                  <a:lnTo>
                    <a:pt x="634682" y="445368"/>
                  </a:lnTo>
                  <a:lnTo>
                    <a:pt x="620965" y="440829"/>
                  </a:lnTo>
                  <a:lnTo>
                    <a:pt x="609173" y="439300"/>
                  </a:lnTo>
                  <a:lnTo>
                    <a:pt x="587611" y="433181"/>
                  </a:lnTo>
                  <a:lnTo>
                    <a:pt x="566049" y="422524"/>
                  </a:lnTo>
                  <a:lnTo>
                    <a:pt x="554257" y="413347"/>
                  </a:lnTo>
                  <a:lnTo>
                    <a:pt x="544389" y="413347"/>
                  </a:lnTo>
                  <a:lnTo>
                    <a:pt x="518930" y="410287"/>
                  </a:lnTo>
                  <a:lnTo>
                    <a:pt x="496430" y="411817"/>
                  </a:lnTo>
                  <a:lnTo>
                    <a:pt x="492483" y="410287"/>
                  </a:lnTo>
                  <a:lnTo>
                    <a:pt x="488585" y="411817"/>
                  </a:lnTo>
                  <a:lnTo>
                    <a:pt x="486611" y="414876"/>
                  </a:lnTo>
                  <a:lnTo>
                    <a:pt x="472845" y="419465"/>
                  </a:lnTo>
                  <a:lnTo>
                    <a:pt x="457205" y="420994"/>
                  </a:lnTo>
                  <a:lnTo>
                    <a:pt x="425824" y="417935"/>
                  </a:lnTo>
                  <a:lnTo>
                    <a:pt x="404213" y="419465"/>
                  </a:lnTo>
                  <a:lnTo>
                    <a:pt x="388523" y="417935"/>
                  </a:lnTo>
                  <a:lnTo>
                    <a:pt x="374806" y="419465"/>
                  </a:lnTo>
                  <a:lnTo>
                    <a:pt x="364938" y="420994"/>
                  </a:lnTo>
                  <a:lnTo>
                    <a:pt x="359067" y="417935"/>
                  </a:lnTo>
                  <a:lnTo>
                    <a:pt x="353146" y="405748"/>
                  </a:lnTo>
                  <a:lnTo>
                    <a:pt x="349248" y="398100"/>
                  </a:lnTo>
                  <a:lnTo>
                    <a:pt x="341403" y="388972"/>
                  </a:lnTo>
                  <a:lnTo>
                    <a:pt x="333607" y="382706"/>
                  </a:lnTo>
                  <a:lnTo>
                    <a:pt x="329709" y="373529"/>
                  </a:lnTo>
                  <a:lnTo>
                    <a:pt x="329709" y="368990"/>
                  </a:lnTo>
                  <a:lnTo>
                    <a:pt x="325762" y="364401"/>
                  </a:lnTo>
                  <a:lnTo>
                    <a:pt x="319890" y="362871"/>
                  </a:lnTo>
                  <a:lnTo>
                    <a:pt x="315993" y="362871"/>
                  </a:lnTo>
                  <a:lnTo>
                    <a:pt x="315993" y="359812"/>
                  </a:lnTo>
                  <a:lnTo>
                    <a:pt x="313970" y="353743"/>
                  </a:lnTo>
                  <a:lnTo>
                    <a:pt x="298328" y="353743"/>
                  </a:lnTo>
                  <a:lnTo>
                    <a:pt x="288460" y="349155"/>
                  </a:lnTo>
                  <a:lnTo>
                    <a:pt x="276717" y="341507"/>
                  </a:lnTo>
                  <a:lnTo>
                    <a:pt x="272721" y="339977"/>
                  </a:lnTo>
                  <a:lnTo>
                    <a:pt x="266899" y="339977"/>
                  </a:lnTo>
                  <a:lnTo>
                    <a:pt x="260978" y="338448"/>
                  </a:lnTo>
                  <a:lnTo>
                    <a:pt x="259054" y="335389"/>
                  </a:lnTo>
                  <a:lnTo>
                    <a:pt x="247261" y="329320"/>
                  </a:lnTo>
                  <a:lnTo>
                    <a:pt x="223726" y="323202"/>
                  </a:lnTo>
                  <a:lnTo>
                    <a:pt x="219779" y="326261"/>
                  </a:lnTo>
                  <a:lnTo>
                    <a:pt x="217855" y="327790"/>
                  </a:lnTo>
                  <a:lnTo>
                    <a:pt x="207987" y="329320"/>
                  </a:lnTo>
                  <a:lnTo>
                    <a:pt x="192296" y="329320"/>
                  </a:lnTo>
                  <a:lnTo>
                    <a:pt x="157018" y="321672"/>
                  </a:lnTo>
                  <a:lnTo>
                    <a:pt x="149123" y="317133"/>
                  </a:lnTo>
                  <a:lnTo>
                    <a:pt x="141278" y="307906"/>
                  </a:lnTo>
                  <a:lnTo>
                    <a:pt x="141278" y="297249"/>
                  </a:lnTo>
                  <a:lnTo>
                    <a:pt x="143252" y="294239"/>
                  </a:lnTo>
                  <a:lnTo>
                    <a:pt x="147199" y="291180"/>
                  </a:lnTo>
                  <a:lnTo>
                    <a:pt x="149123" y="285062"/>
                  </a:lnTo>
                  <a:lnTo>
                    <a:pt x="145225" y="282003"/>
                  </a:lnTo>
                  <a:lnTo>
                    <a:pt x="143252" y="274404"/>
                  </a:lnTo>
                  <a:lnTo>
                    <a:pt x="145225" y="269766"/>
                  </a:lnTo>
                  <a:lnTo>
                    <a:pt x="145225" y="263796"/>
                  </a:lnTo>
                  <a:lnTo>
                    <a:pt x="141278" y="259207"/>
                  </a:lnTo>
                  <a:lnTo>
                    <a:pt x="137380" y="253138"/>
                  </a:lnTo>
                  <a:lnTo>
                    <a:pt x="133433" y="251609"/>
                  </a:lnTo>
                  <a:lnTo>
                    <a:pt x="125637" y="247020"/>
                  </a:lnTo>
                  <a:lnTo>
                    <a:pt x="123664" y="240951"/>
                  </a:lnTo>
                  <a:lnTo>
                    <a:pt x="119717" y="236363"/>
                  </a:lnTo>
                  <a:lnTo>
                    <a:pt x="117743" y="231774"/>
                  </a:lnTo>
                  <a:lnTo>
                    <a:pt x="117743" y="227185"/>
                  </a:lnTo>
                  <a:lnTo>
                    <a:pt x="113845" y="222597"/>
                  </a:lnTo>
                  <a:lnTo>
                    <a:pt x="107974" y="216528"/>
                  </a:lnTo>
                  <a:lnTo>
                    <a:pt x="102052" y="214998"/>
                  </a:lnTo>
                  <a:lnTo>
                    <a:pt x="100079" y="211939"/>
                  </a:lnTo>
                  <a:lnTo>
                    <a:pt x="92234" y="210410"/>
                  </a:lnTo>
                  <a:lnTo>
                    <a:pt x="88336" y="210410"/>
                  </a:lnTo>
                  <a:lnTo>
                    <a:pt x="84438" y="213469"/>
                  </a:lnTo>
                  <a:lnTo>
                    <a:pt x="80491" y="214998"/>
                  </a:lnTo>
                  <a:lnTo>
                    <a:pt x="76593" y="213469"/>
                  </a:lnTo>
                  <a:lnTo>
                    <a:pt x="70672" y="208880"/>
                  </a:lnTo>
                  <a:lnTo>
                    <a:pt x="70672" y="205870"/>
                  </a:lnTo>
                  <a:lnTo>
                    <a:pt x="60804" y="205870"/>
                  </a:lnTo>
                  <a:lnTo>
                    <a:pt x="54982" y="208880"/>
                  </a:lnTo>
                  <a:lnTo>
                    <a:pt x="52959" y="210410"/>
                  </a:lnTo>
                  <a:lnTo>
                    <a:pt x="51035" y="214998"/>
                  </a:lnTo>
                  <a:lnTo>
                    <a:pt x="47088" y="214998"/>
                  </a:lnTo>
                  <a:lnTo>
                    <a:pt x="41216" y="210410"/>
                  </a:lnTo>
                  <a:lnTo>
                    <a:pt x="39242" y="205870"/>
                  </a:lnTo>
                  <a:lnTo>
                    <a:pt x="39242" y="204341"/>
                  </a:lnTo>
                  <a:lnTo>
                    <a:pt x="35345" y="199752"/>
                  </a:lnTo>
                  <a:lnTo>
                    <a:pt x="25477" y="195114"/>
                  </a:lnTo>
                  <a:lnTo>
                    <a:pt x="19605" y="189045"/>
                  </a:lnTo>
                  <a:lnTo>
                    <a:pt x="15658" y="187516"/>
                  </a:lnTo>
                  <a:lnTo>
                    <a:pt x="13734" y="184457"/>
                  </a:lnTo>
                  <a:lnTo>
                    <a:pt x="11711" y="181447"/>
                  </a:lnTo>
                  <a:lnTo>
                    <a:pt x="11711" y="176858"/>
                  </a:lnTo>
                  <a:lnTo>
                    <a:pt x="9786" y="173799"/>
                  </a:lnTo>
                  <a:lnTo>
                    <a:pt x="7812" y="175329"/>
                  </a:lnTo>
                  <a:lnTo>
                    <a:pt x="7812" y="176858"/>
                  </a:lnTo>
                  <a:lnTo>
                    <a:pt x="5888" y="176858"/>
                  </a:lnTo>
                  <a:lnTo>
                    <a:pt x="3915" y="173799"/>
                  </a:lnTo>
                  <a:lnTo>
                    <a:pt x="1941" y="172270"/>
                  </a:lnTo>
                  <a:lnTo>
                    <a:pt x="1941" y="16314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Graphic 2">
              <a:extLst>
                <a:ext uri="{FF2B5EF4-FFF2-40B4-BE49-F238E27FC236}">
                  <a16:creationId xmlns:a16="http://schemas.microsoft.com/office/drawing/2014/main" id="{78AC9587-C067-47D9-B7B6-78645CFA053A}"/>
                </a:ext>
              </a:extLst>
            </p:cNvPr>
            <p:cNvSpPr/>
            <p:nvPr/>
          </p:nvSpPr>
          <p:spPr>
            <a:xfrm>
              <a:off x="6807962" y="2820661"/>
              <a:ext cx="1244602" cy="562815"/>
            </a:xfrm>
            <a:custGeom>
              <a:avLst/>
              <a:gdLst>
                <a:gd name="connsiteX0" fmla="*/ 105802 w 1369934"/>
                <a:gd name="connsiteY0" fmla="*/ 415715 h 619517"/>
                <a:gd name="connsiteX1" fmla="*/ 95934 w 1369934"/>
                <a:gd name="connsiteY1" fmla="*/ 409597 h 619517"/>
                <a:gd name="connsiteX2" fmla="*/ 88089 w 1369934"/>
                <a:gd name="connsiteY2" fmla="*/ 412656 h 619517"/>
                <a:gd name="connsiteX3" fmla="*/ 72448 w 1369934"/>
                <a:gd name="connsiteY3" fmla="*/ 403528 h 619517"/>
                <a:gd name="connsiteX4" fmla="*/ 74373 w 1369934"/>
                <a:gd name="connsiteY4" fmla="*/ 398988 h 619517"/>
                <a:gd name="connsiteX5" fmla="*/ 88089 w 1369934"/>
                <a:gd name="connsiteY5" fmla="*/ 398988 h 619517"/>
                <a:gd name="connsiteX6" fmla="*/ 72448 w 1369934"/>
                <a:gd name="connsiteY6" fmla="*/ 377673 h 619517"/>
                <a:gd name="connsiteX7" fmla="*/ 56758 w 1369934"/>
                <a:gd name="connsiteY7" fmla="*/ 365486 h 619517"/>
                <a:gd name="connsiteX8" fmla="*/ 33223 w 1369934"/>
                <a:gd name="connsiteY8" fmla="*/ 360898 h 619517"/>
                <a:gd name="connsiteX9" fmla="*/ 31249 w 1369934"/>
                <a:gd name="connsiteY9" fmla="*/ 363957 h 619517"/>
                <a:gd name="connsiteX10" fmla="*/ 19506 w 1369934"/>
                <a:gd name="connsiteY10" fmla="*/ 356358 h 619517"/>
                <a:gd name="connsiteX11" fmla="*/ 21480 w 1369934"/>
                <a:gd name="connsiteY11" fmla="*/ 350290 h 619517"/>
                <a:gd name="connsiteX12" fmla="*/ 15609 w 1369934"/>
                <a:gd name="connsiteY12" fmla="*/ 342642 h 619517"/>
                <a:gd name="connsiteX13" fmla="*/ -82 w 1369934"/>
                <a:gd name="connsiteY13" fmla="*/ 338103 h 619517"/>
                <a:gd name="connsiteX14" fmla="*/ 5790 w 1369934"/>
                <a:gd name="connsiteY14" fmla="*/ 325915 h 619517"/>
                <a:gd name="connsiteX15" fmla="*/ 7763 w 1369934"/>
                <a:gd name="connsiteY15" fmla="*/ 307660 h 619517"/>
                <a:gd name="connsiteX16" fmla="*/ 3816 w 1369934"/>
                <a:gd name="connsiteY16" fmla="*/ 303071 h 619517"/>
                <a:gd name="connsiteX17" fmla="*/ 1842 w 1369934"/>
                <a:gd name="connsiteY17" fmla="*/ 287874 h 619517"/>
                <a:gd name="connsiteX18" fmla="*/ 7763 w 1369934"/>
                <a:gd name="connsiteY18" fmla="*/ 284815 h 619517"/>
                <a:gd name="connsiteX19" fmla="*/ 19506 w 1369934"/>
                <a:gd name="connsiteY19" fmla="*/ 275687 h 619517"/>
                <a:gd name="connsiteX20" fmla="*/ 19506 w 1369934"/>
                <a:gd name="connsiteY20" fmla="*/ 266559 h 619517"/>
                <a:gd name="connsiteX21" fmla="*/ 23404 w 1369934"/>
                <a:gd name="connsiteY21" fmla="*/ 260441 h 619517"/>
                <a:gd name="connsiteX22" fmla="*/ 41068 w 1369934"/>
                <a:gd name="connsiteY22" fmla="*/ 277217 h 619517"/>
                <a:gd name="connsiteX23" fmla="*/ 46940 w 1369934"/>
                <a:gd name="connsiteY23" fmla="*/ 281756 h 619517"/>
                <a:gd name="connsiteX24" fmla="*/ 56808 w 1369934"/>
                <a:gd name="connsiteY24" fmla="*/ 287874 h 619517"/>
                <a:gd name="connsiteX25" fmla="*/ 66676 w 1369934"/>
                <a:gd name="connsiteY25" fmla="*/ 286345 h 619517"/>
                <a:gd name="connsiteX26" fmla="*/ 66676 w 1369934"/>
                <a:gd name="connsiteY26" fmla="*/ 277217 h 619517"/>
                <a:gd name="connsiteX27" fmla="*/ 70574 w 1369934"/>
                <a:gd name="connsiteY27" fmla="*/ 272628 h 619517"/>
                <a:gd name="connsiteX28" fmla="*/ 62778 w 1369934"/>
                <a:gd name="connsiteY28" fmla="*/ 249833 h 619517"/>
                <a:gd name="connsiteX29" fmla="*/ 72646 w 1369934"/>
                <a:gd name="connsiteY29" fmla="*/ 246724 h 619517"/>
                <a:gd name="connsiteX30" fmla="*/ 86313 w 1369934"/>
                <a:gd name="connsiteY30" fmla="*/ 246724 h 619517"/>
                <a:gd name="connsiteX31" fmla="*/ 86313 w 1369934"/>
                <a:gd name="connsiteY31" fmla="*/ 240655 h 619517"/>
                <a:gd name="connsiteX32" fmla="*/ 80442 w 1369934"/>
                <a:gd name="connsiteY32" fmla="*/ 234586 h 619517"/>
                <a:gd name="connsiteX33" fmla="*/ 82415 w 1369934"/>
                <a:gd name="connsiteY33" fmla="*/ 228518 h 619517"/>
                <a:gd name="connsiteX34" fmla="*/ 92283 w 1369934"/>
                <a:gd name="connsiteY34" fmla="*/ 220870 h 619517"/>
                <a:gd name="connsiteX35" fmla="*/ 98106 w 1369934"/>
                <a:gd name="connsiteY35" fmla="*/ 220870 h 619517"/>
                <a:gd name="connsiteX36" fmla="*/ 99882 w 1369934"/>
                <a:gd name="connsiteY36" fmla="*/ 213074 h 619517"/>
                <a:gd name="connsiteX37" fmla="*/ 105704 w 1369934"/>
                <a:gd name="connsiteY37" fmla="*/ 210015 h 619517"/>
                <a:gd name="connsiteX38" fmla="*/ 115572 w 1369934"/>
                <a:gd name="connsiteY38" fmla="*/ 211545 h 619517"/>
                <a:gd name="connsiteX39" fmla="*/ 115572 w 1369934"/>
                <a:gd name="connsiteY39" fmla="*/ 207005 h 619517"/>
                <a:gd name="connsiteX40" fmla="*/ 111674 w 1369934"/>
                <a:gd name="connsiteY40" fmla="*/ 200887 h 619517"/>
                <a:gd name="connsiteX41" fmla="*/ 115572 w 1369934"/>
                <a:gd name="connsiteY41" fmla="*/ 197828 h 619517"/>
                <a:gd name="connsiteX42" fmla="*/ 125440 w 1369934"/>
                <a:gd name="connsiteY42" fmla="*/ 202417 h 619517"/>
                <a:gd name="connsiteX43" fmla="*/ 133285 w 1369934"/>
                <a:gd name="connsiteY43" fmla="*/ 205476 h 619517"/>
                <a:gd name="connsiteX44" fmla="*/ 133285 w 1369934"/>
                <a:gd name="connsiteY44" fmla="*/ 208535 h 619517"/>
                <a:gd name="connsiteX45" fmla="*/ 129387 w 1369934"/>
                <a:gd name="connsiteY45" fmla="*/ 214604 h 619517"/>
                <a:gd name="connsiteX46" fmla="*/ 131361 w 1369934"/>
                <a:gd name="connsiteY46" fmla="*/ 217613 h 619517"/>
                <a:gd name="connsiteX47" fmla="*/ 139354 w 1369934"/>
                <a:gd name="connsiteY47" fmla="*/ 213074 h 619517"/>
                <a:gd name="connsiteX48" fmla="*/ 139354 w 1369934"/>
                <a:gd name="connsiteY48" fmla="*/ 210015 h 619517"/>
                <a:gd name="connsiteX49" fmla="*/ 145176 w 1369934"/>
                <a:gd name="connsiteY49" fmla="*/ 207005 h 619517"/>
                <a:gd name="connsiteX50" fmla="*/ 145176 w 1369934"/>
                <a:gd name="connsiteY50" fmla="*/ 211545 h 619517"/>
                <a:gd name="connsiteX51" fmla="*/ 151097 w 1369934"/>
                <a:gd name="connsiteY51" fmla="*/ 208535 h 619517"/>
                <a:gd name="connsiteX52" fmla="*/ 153021 w 1369934"/>
                <a:gd name="connsiteY52" fmla="*/ 203946 h 619517"/>
                <a:gd name="connsiteX53" fmla="*/ 158942 w 1369934"/>
                <a:gd name="connsiteY53" fmla="*/ 203946 h 619517"/>
                <a:gd name="connsiteX54" fmla="*/ 166788 w 1369934"/>
                <a:gd name="connsiteY54" fmla="*/ 199357 h 619517"/>
                <a:gd name="connsiteX55" fmla="*/ 172609 w 1369934"/>
                <a:gd name="connsiteY55" fmla="*/ 199357 h 619517"/>
                <a:gd name="connsiteX56" fmla="*/ 176557 w 1369934"/>
                <a:gd name="connsiteY56" fmla="*/ 207005 h 619517"/>
                <a:gd name="connsiteX57" fmla="*/ 186425 w 1369934"/>
                <a:gd name="connsiteY57" fmla="*/ 211545 h 619517"/>
                <a:gd name="connsiteX58" fmla="*/ 198168 w 1369934"/>
                <a:gd name="connsiteY58" fmla="*/ 208535 h 619517"/>
                <a:gd name="connsiteX59" fmla="*/ 204039 w 1369934"/>
                <a:gd name="connsiteY59" fmla="*/ 208535 h 619517"/>
                <a:gd name="connsiteX60" fmla="*/ 206013 w 1369934"/>
                <a:gd name="connsiteY60" fmla="*/ 213074 h 619517"/>
                <a:gd name="connsiteX61" fmla="*/ 209911 w 1369934"/>
                <a:gd name="connsiteY61" fmla="*/ 213074 h 619517"/>
                <a:gd name="connsiteX62" fmla="*/ 219779 w 1369934"/>
                <a:gd name="connsiteY62" fmla="*/ 220673 h 619517"/>
                <a:gd name="connsiteX63" fmla="*/ 227624 w 1369934"/>
                <a:gd name="connsiteY63" fmla="*/ 220673 h 619517"/>
                <a:gd name="connsiteX64" fmla="*/ 231571 w 1369934"/>
                <a:gd name="connsiteY64" fmla="*/ 228320 h 619517"/>
                <a:gd name="connsiteX65" fmla="*/ 241439 w 1369934"/>
                <a:gd name="connsiteY65" fmla="*/ 234389 h 619517"/>
                <a:gd name="connsiteX66" fmla="*/ 247261 w 1369934"/>
                <a:gd name="connsiteY66" fmla="*/ 234389 h 619517"/>
                <a:gd name="connsiteX67" fmla="*/ 251209 w 1369934"/>
                <a:gd name="connsiteY67" fmla="*/ 238928 h 619517"/>
                <a:gd name="connsiteX68" fmla="*/ 253182 w 1369934"/>
                <a:gd name="connsiteY68" fmla="*/ 245047 h 619517"/>
                <a:gd name="connsiteX69" fmla="*/ 257080 w 1369934"/>
                <a:gd name="connsiteY69" fmla="*/ 246527 h 619517"/>
                <a:gd name="connsiteX70" fmla="*/ 261027 w 1369934"/>
                <a:gd name="connsiteY70" fmla="*/ 240458 h 619517"/>
                <a:gd name="connsiteX71" fmla="*/ 259054 w 1369934"/>
                <a:gd name="connsiteY71" fmla="*/ 232860 h 619517"/>
                <a:gd name="connsiteX72" fmla="*/ 266849 w 1369934"/>
                <a:gd name="connsiteY72" fmla="*/ 229850 h 619517"/>
                <a:gd name="connsiteX73" fmla="*/ 270797 w 1369934"/>
                <a:gd name="connsiteY73" fmla="*/ 235919 h 619517"/>
                <a:gd name="connsiteX74" fmla="*/ 286487 w 1369934"/>
                <a:gd name="connsiteY74" fmla="*/ 237448 h 619517"/>
                <a:gd name="connsiteX75" fmla="*/ 290434 w 1369934"/>
                <a:gd name="connsiteY75" fmla="*/ 243517 h 619517"/>
                <a:gd name="connsiteX76" fmla="*/ 296257 w 1369934"/>
                <a:gd name="connsiteY76" fmla="*/ 245047 h 619517"/>
                <a:gd name="connsiteX77" fmla="*/ 304102 w 1369934"/>
                <a:gd name="connsiteY77" fmla="*/ 238928 h 619517"/>
                <a:gd name="connsiteX78" fmla="*/ 304102 w 1369934"/>
                <a:gd name="connsiteY78" fmla="*/ 228320 h 619517"/>
                <a:gd name="connsiteX79" fmla="*/ 311946 w 1369934"/>
                <a:gd name="connsiteY79" fmla="*/ 228320 h 619517"/>
                <a:gd name="connsiteX80" fmla="*/ 311946 w 1369934"/>
                <a:gd name="connsiteY80" fmla="*/ 220673 h 619517"/>
                <a:gd name="connsiteX81" fmla="*/ 319791 w 1369934"/>
                <a:gd name="connsiteY81" fmla="*/ 219143 h 619517"/>
                <a:gd name="connsiteX82" fmla="*/ 323690 w 1369934"/>
                <a:gd name="connsiteY82" fmla="*/ 225261 h 619517"/>
                <a:gd name="connsiteX83" fmla="*/ 325663 w 1369934"/>
                <a:gd name="connsiteY83" fmla="*/ 219143 h 619517"/>
                <a:gd name="connsiteX84" fmla="*/ 333508 w 1369934"/>
                <a:gd name="connsiteY84" fmla="*/ 217613 h 619517"/>
                <a:gd name="connsiteX85" fmla="*/ 343376 w 1369934"/>
                <a:gd name="connsiteY85" fmla="*/ 226791 h 619517"/>
                <a:gd name="connsiteX86" fmla="*/ 345399 w 1369934"/>
                <a:gd name="connsiteY86" fmla="*/ 229850 h 619517"/>
                <a:gd name="connsiteX87" fmla="*/ 356452 w 1369934"/>
                <a:gd name="connsiteY87" fmla="*/ 229850 h 619517"/>
                <a:gd name="connsiteX88" fmla="*/ 356452 w 1369934"/>
                <a:gd name="connsiteY88" fmla="*/ 220673 h 619517"/>
                <a:gd name="connsiteX89" fmla="*/ 360350 w 1369934"/>
                <a:gd name="connsiteY89" fmla="*/ 219143 h 619517"/>
                <a:gd name="connsiteX90" fmla="*/ 368195 w 1369934"/>
                <a:gd name="connsiteY90" fmla="*/ 219143 h 619517"/>
                <a:gd name="connsiteX91" fmla="*/ 372093 w 1369934"/>
                <a:gd name="connsiteY91" fmla="*/ 216133 h 619517"/>
                <a:gd name="connsiteX92" fmla="*/ 379938 w 1369934"/>
                <a:gd name="connsiteY92" fmla="*/ 219143 h 619517"/>
                <a:gd name="connsiteX93" fmla="*/ 387783 w 1369934"/>
                <a:gd name="connsiteY93" fmla="*/ 223732 h 619517"/>
                <a:gd name="connsiteX94" fmla="*/ 381911 w 1369934"/>
                <a:gd name="connsiteY94" fmla="*/ 226791 h 619517"/>
                <a:gd name="connsiteX95" fmla="*/ 377964 w 1369934"/>
                <a:gd name="connsiteY95" fmla="*/ 229850 h 619517"/>
                <a:gd name="connsiteX96" fmla="*/ 383885 w 1369934"/>
                <a:gd name="connsiteY96" fmla="*/ 235919 h 619517"/>
                <a:gd name="connsiteX97" fmla="*/ 391730 w 1369934"/>
                <a:gd name="connsiteY97" fmla="*/ 237448 h 619517"/>
                <a:gd name="connsiteX98" fmla="*/ 395628 w 1369934"/>
                <a:gd name="connsiteY98" fmla="*/ 235919 h 619517"/>
                <a:gd name="connsiteX99" fmla="*/ 399526 w 1369934"/>
                <a:gd name="connsiteY99" fmla="*/ 238928 h 619517"/>
                <a:gd name="connsiteX100" fmla="*/ 409394 w 1369934"/>
                <a:gd name="connsiteY100" fmla="*/ 238928 h 619517"/>
                <a:gd name="connsiteX101" fmla="*/ 425035 w 1369934"/>
                <a:gd name="connsiteY101" fmla="*/ 243517 h 619517"/>
                <a:gd name="connsiteX102" fmla="*/ 430955 w 1369934"/>
                <a:gd name="connsiteY102" fmla="*/ 241987 h 619517"/>
                <a:gd name="connsiteX103" fmla="*/ 434853 w 1369934"/>
                <a:gd name="connsiteY103" fmla="*/ 235919 h 619517"/>
                <a:gd name="connsiteX104" fmla="*/ 434853 w 1369934"/>
                <a:gd name="connsiteY104" fmla="*/ 231330 h 619517"/>
                <a:gd name="connsiteX105" fmla="*/ 438800 w 1369934"/>
                <a:gd name="connsiteY105" fmla="*/ 228320 h 619517"/>
                <a:gd name="connsiteX106" fmla="*/ 450543 w 1369934"/>
                <a:gd name="connsiteY106" fmla="*/ 234389 h 619517"/>
                <a:gd name="connsiteX107" fmla="*/ 460411 w 1369934"/>
                <a:gd name="connsiteY107" fmla="*/ 234389 h 619517"/>
                <a:gd name="connsiteX108" fmla="*/ 472154 w 1369934"/>
                <a:gd name="connsiteY108" fmla="*/ 231330 h 619517"/>
                <a:gd name="connsiteX109" fmla="*/ 476102 w 1369934"/>
                <a:gd name="connsiteY109" fmla="*/ 226791 h 619517"/>
                <a:gd name="connsiteX110" fmla="*/ 474128 w 1369934"/>
                <a:gd name="connsiteY110" fmla="*/ 202417 h 619517"/>
                <a:gd name="connsiteX111" fmla="*/ 470231 w 1369934"/>
                <a:gd name="connsiteY111" fmla="*/ 199357 h 619517"/>
                <a:gd name="connsiteX112" fmla="*/ 460363 w 1369934"/>
                <a:gd name="connsiteY112" fmla="*/ 199357 h 619517"/>
                <a:gd name="connsiteX113" fmla="*/ 452517 w 1369934"/>
                <a:gd name="connsiteY113" fmla="*/ 193289 h 619517"/>
                <a:gd name="connsiteX114" fmla="*/ 450593 w 1369934"/>
                <a:gd name="connsiteY114" fmla="*/ 190229 h 619517"/>
                <a:gd name="connsiteX115" fmla="*/ 444672 w 1369934"/>
                <a:gd name="connsiteY115" fmla="*/ 188700 h 619517"/>
                <a:gd name="connsiteX116" fmla="*/ 438850 w 1369934"/>
                <a:gd name="connsiteY116" fmla="*/ 185690 h 619517"/>
                <a:gd name="connsiteX117" fmla="*/ 431005 w 1369934"/>
                <a:gd name="connsiteY117" fmla="*/ 185690 h 619517"/>
                <a:gd name="connsiteX118" fmla="*/ 431005 w 1369934"/>
                <a:gd name="connsiteY118" fmla="*/ 181151 h 619517"/>
                <a:gd name="connsiteX119" fmla="*/ 429031 w 1369934"/>
                <a:gd name="connsiteY119" fmla="*/ 178092 h 619517"/>
                <a:gd name="connsiteX120" fmla="*/ 429031 w 1369934"/>
                <a:gd name="connsiteY120" fmla="*/ 175033 h 619517"/>
                <a:gd name="connsiteX121" fmla="*/ 434903 w 1369934"/>
                <a:gd name="connsiteY121" fmla="*/ 173503 h 619517"/>
                <a:gd name="connsiteX122" fmla="*/ 436877 w 1369934"/>
                <a:gd name="connsiteY122" fmla="*/ 165905 h 619517"/>
                <a:gd name="connsiteX123" fmla="*/ 442748 w 1369934"/>
                <a:gd name="connsiteY123" fmla="*/ 161316 h 619517"/>
                <a:gd name="connsiteX124" fmla="*/ 440774 w 1369934"/>
                <a:gd name="connsiteY124" fmla="*/ 155247 h 619517"/>
                <a:gd name="connsiteX125" fmla="*/ 434903 w 1369934"/>
                <a:gd name="connsiteY125" fmla="*/ 153718 h 619517"/>
                <a:gd name="connsiteX126" fmla="*/ 434903 w 1369934"/>
                <a:gd name="connsiteY126" fmla="*/ 147599 h 619517"/>
                <a:gd name="connsiteX127" fmla="*/ 442748 w 1369934"/>
                <a:gd name="connsiteY127" fmla="*/ 136991 h 619517"/>
                <a:gd name="connsiteX128" fmla="*/ 450593 w 1369934"/>
                <a:gd name="connsiteY128" fmla="*/ 130922 h 619517"/>
                <a:gd name="connsiteX129" fmla="*/ 466283 w 1369934"/>
                <a:gd name="connsiteY129" fmla="*/ 129343 h 619517"/>
                <a:gd name="connsiteX130" fmla="*/ 472105 w 1369934"/>
                <a:gd name="connsiteY130" fmla="*/ 130922 h 619517"/>
                <a:gd name="connsiteX131" fmla="*/ 476053 w 1369934"/>
                <a:gd name="connsiteY131" fmla="*/ 129343 h 619517"/>
                <a:gd name="connsiteX132" fmla="*/ 476053 w 1369934"/>
                <a:gd name="connsiteY132" fmla="*/ 123275 h 619517"/>
                <a:gd name="connsiteX133" fmla="*/ 470181 w 1369934"/>
                <a:gd name="connsiteY133" fmla="*/ 121745 h 619517"/>
                <a:gd name="connsiteX134" fmla="*/ 464260 w 1369934"/>
                <a:gd name="connsiteY134" fmla="*/ 117206 h 619517"/>
                <a:gd name="connsiteX135" fmla="*/ 458438 w 1369934"/>
                <a:gd name="connsiteY135" fmla="*/ 117206 h 619517"/>
                <a:gd name="connsiteX136" fmla="*/ 452517 w 1369934"/>
                <a:gd name="connsiteY136" fmla="*/ 120216 h 619517"/>
                <a:gd name="connsiteX137" fmla="*/ 444672 w 1369934"/>
                <a:gd name="connsiteY137" fmla="*/ 117206 h 619517"/>
                <a:gd name="connsiteX138" fmla="*/ 436877 w 1369934"/>
                <a:gd name="connsiteY138" fmla="*/ 117206 h 619517"/>
                <a:gd name="connsiteX139" fmla="*/ 436877 w 1369934"/>
                <a:gd name="connsiteY139" fmla="*/ 111088 h 619517"/>
                <a:gd name="connsiteX140" fmla="*/ 438850 w 1369934"/>
                <a:gd name="connsiteY140" fmla="*/ 109607 h 619517"/>
                <a:gd name="connsiteX141" fmla="*/ 448718 w 1369934"/>
                <a:gd name="connsiteY141" fmla="*/ 109607 h 619517"/>
                <a:gd name="connsiteX142" fmla="*/ 444771 w 1369934"/>
                <a:gd name="connsiteY142" fmla="*/ 101960 h 619517"/>
                <a:gd name="connsiteX143" fmla="*/ 436975 w 1369934"/>
                <a:gd name="connsiteY143" fmla="*/ 103489 h 619517"/>
                <a:gd name="connsiteX144" fmla="*/ 431104 w 1369934"/>
                <a:gd name="connsiteY144" fmla="*/ 101960 h 619517"/>
                <a:gd name="connsiteX145" fmla="*/ 435002 w 1369934"/>
                <a:gd name="connsiteY145" fmla="*/ 98900 h 619517"/>
                <a:gd name="connsiteX146" fmla="*/ 431104 w 1369934"/>
                <a:gd name="connsiteY146" fmla="*/ 92832 h 619517"/>
                <a:gd name="connsiteX147" fmla="*/ 433028 w 1369934"/>
                <a:gd name="connsiteY147" fmla="*/ 88292 h 619517"/>
                <a:gd name="connsiteX148" fmla="*/ 440873 w 1369934"/>
                <a:gd name="connsiteY148" fmla="*/ 88292 h 619517"/>
                <a:gd name="connsiteX149" fmla="*/ 442847 w 1369934"/>
                <a:gd name="connsiteY149" fmla="*/ 85233 h 619517"/>
                <a:gd name="connsiteX150" fmla="*/ 448718 w 1369934"/>
                <a:gd name="connsiteY150" fmla="*/ 85233 h 619517"/>
                <a:gd name="connsiteX151" fmla="*/ 450692 w 1369934"/>
                <a:gd name="connsiteY151" fmla="*/ 88292 h 619517"/>
                <a:gd name="connsiteX152" fmla="*/ 460560 w 1369934"/>
                <a:gd name="connsiteY152" fmla="*/ 86763 h 619517"/>
                <a:gd name="connsiteX153" fmla="*/ 466481 w 1369934"/>
                <a:gd name="connsiteY153" fmla="*/ 92832 h 619517"/>
                <a:gd name="connsiteX154" fmla="*/ 470378 w 1369934"/>
                <a:gd name="connsiteY154" fmla="*/ 88292 h 619517"/>
                <a:gd name="connsiteX155" fmla="*/ 470378 w 1369934"/>
                <a:gd name="connsiteY155" fmla="*/ 85233 h 619517"/>
                <a:gd name="connsiteX156" fmla="*/ 476250 w 1369934"/>
                <a:gd name="connsiteY156" fmla="*/ 82174 h 619517"/>
                <a:gd name="connsiteX157" fmla="*/ 482121 w 1369934"/>
                <a:gd name="connsiteY157" fmla="*/ 82174 h 619517"/>
                <a:gd name="connsiteX158" fmla="*/ 486069 w 1369934"/>
                <a:gd name="connsiteY158" fmla="*/ 86763 h 619517"/>
                <a:gd name="connsiteX159" fmla="*/ 487993 w 1369934"/>
                <a:gd name="connsiteY159" fmla="*/ 83704 h 619517"/>
                <a:gd name="connsiteX160" fmla="*/ 491891 w 1369934"/>
                <a:gd name="connsiteY160" fmla="*/ 79115 h 619517"/>
                <a:gd name="connsiteX161" fmla="*/ 503683 w 1369934"/>
                <a:gd name="connsiteY161" fmla="*/ 76056 h 619517"/>
                <a:gd name="connsiteX162" fmla="*/ 511479 w 1369934"/>
                <a:gd name="connsiteY162" fmla="*/ 74576 h 619517"/>
                <a:gd name="connsiteX163" fmla="*/ 519324 w 1369934"/>
                <a:gd name="connsiteY163" fmla="*/ 71517 h 619517"/>
                <a:gd name="connsiteX164" fmla="*/ 531117 w 1369934"/>
                <a:gd name="connsiteY164" fmla="*/ 71517 h 619517"/>
                <a:gd name="connsiteX165" fmla="*/ 533090 w 1369934"/>
                <a:gd name="connsiteY165" fmla="*/ 68458 h 619517"/>
                <a:gd name="connsiteX166" fmla="*/ 540886 w 1369934"/>
                <a:gd name="connsiteY166" fmla="*/ 62389 h 619517"/>
                <a:gd name="connsiteX167" fmla="*/ 548879 w 1369934"/>
                <a:gd name="connsiteY167" fmla="*/ 62389 h 619517"/>
                <a:gd name="connsiteX168" fmla="*/ 554750 w 1369934"/>
                <a:gd name="connsiteY168" fmla="*/ 59379 h 619517"/>
                <a:gd name="connsiteX169" fmla="*/ 562645 w 1369934"/>
                <a:gd name="connsiteY169" fmla="*/ 57849 h 619517"/>
                <a:gd name="connsiteX170" fmla="*/ 566543 w 1369934"/>
                <a:gd name="connsiteY170" fmla="*/ 59379 h 619517"/>
                <a:gd name="connsiteX171" fmla="*/ 568467 w 1369934"/>
                <a:gd name="connsiteY171" fmla="*/ 57849 h 619517"/>
                <a:gd name="connsiteX172" fmla="*/ 568467 w 1369934"/>
                <a:gd name="connsiteY172" fmla="*/ 51731 h 619517"/>
                <a:gd name="connsiteX173" fmla="*/ 572414 w 1369934"/>
                <a:gd name="connsiteY173" fmla="*/ 48672 h 619517"/>
                <a:gd name="connsiteX174" fmla="*/ 580259 w 1369934"/>
                <a:gd name="connsiteY174" fmla="*/ 48672 h 619517"/>
                <a:gd name="connsiteX175" fmla="*/ 580259 w 1369934"/>
                <a:gd name="connsiteY175" fmla="*/ 45662 h 619517"/>
                <a:gd name="connsiteX176" fmla="*/ 586131 w 1369934"/>
                <a:gd name="connsiteY176" fmla="*/ 42603 h 619517"/>
                <a:gd name="connsiteX177" fmla="*/ 590078 w 1369934"/>
                <a:gd name="connsiteY177" fmla="*/ 45662 h 619517"/>
                <a:gd name="connsiteX178" fmla="*/ 595900 w 1369934"/>
                <a:gd name="connsiteY178" fmla="*/ 45662 h 619517"/>
                <a:gd name="connsiteX179" fmla="*/ 601821 w 1369934"/>
                <a:gd name="connsiteY179" fmla="*/ 42603 h 619517"/>
                <a:gd name="connsiteX180" fmla="*/ 609666 w 1369934"/>
                <a:gd name="connsiteY180" fmla="*/ 41074 h 619517"/>
                <a:gd name="connsiteX181" fmla="*/ 627281 w 1369934"/>
                <a:gd name="connsiteY181" fmla="*/ 30416 h 619517"/>
                <a:gd name="connsiteX182" fmla="*/ 629255 w 1369934"/>
                <a:gd name="connsiteY182" fmla="*/ 30416 h 619517"/>
                <a:gd name="connsiteX183" fmla="*/ 633152 w 1369934"/>
                <a:gd name="connsiteY183" fmla="*/ 28887 h 619517"/>
                <a:gd name="connsiteX184" fmla="*/ 640998 w 1369934"/>
                <a:gd name="connsiteY184" fmla="*/ 27357 h 619517"/>
                <a:gd name="connsiteX185" fmla="*/ 644895 w 1369934"/>
                <a:gd name="connsiteY185" fmla="*/ 22818 h 619517"/>
                <a:gd name="connsiteX186" fmla="*/ 650767 w 1369934"/>
                <a:gd name="connsiteY186" fmla="*/ 22818 h 619517"/>
                <a:gd name="connsiteX187" fmla="*/ 658612 w 1369934"/>
                <a:gd name="connsiteY187" fmla="*/ 21288 h 619517"/>
                <a:gd name="connsiteX188" fmla="*/ 658612 w 1369934"/>
                <a:gd name="connsiteY188" fmla="*/ 16749 h 619517"/>
                <a:gd name="connsiteX189" fmla="*/ 654714 w 1369934"/>
                <a:gd name="connsiteY189" fmla="*/ 12160 h 619517"/>
                <a:gd name="connsiteX190" fmla="*/ 658612 w 1369934"/>
                <a:gd name="connsiteY190" fmla="*/ 9101 h 619517"/>
                <a:gd name="connsiteX191" fmla="*/ 670355 w 1369934"/>
                <a:gd name="connsiteY191" fmla="*/ 9101 h 619517"/>
                <a:gd name="connsiteX192" fmla="*/ 672329 w 1369934"/>
                <a:gd name="connsiteY192" fmla="*/ 3032 h 619517"/>
                <a:gd name="connsiteX193" fmla="*/ 678200 w 1369934"/>
                <a:gd name="connsiteY193" fmla="*/ -27 h 619517"/>
                <a:gd name="connsiteX194" fmla="*/ 682147 w 1369934"/>
                <a:gd name="connsiteY194" fmla="*/ 1503 h 619517"/>
                <a:gd name="connsiteX195" fmla="*/ 688018 w 1369934"/>
                <a:gd name="connsiteY195" fmla="*/ -27 h 619517"/>
                <a:gd name="connsiteX196" fmla="*/ 697887 w 1369934"/>
                <a:gd name="connsiteY196" fmla="*/ 3032 h 619517"/>
                <a:gd name="connsiteX197" fmla="*/ 707755 w 1369934"/>
                <a:gd name="connsiteY197" fmla="*/ 1503 h 619517"/>
                <a:gd name="connsiteX198" fmla="*/ 715600 w 1369934"/>
                <a:gd name="connsiteY198" fmla="*/ 6042 h 619517"/>
                <a:gd name="connsiteX199" fmla="*/ 723445 w 1369934"/>
                <a:gd name="connsiteY199" fmla="*/ 6042 h 619517"/>
                <a:gd name="connsiteX200" fmla="*/ 733313 w 1369934"/>
                <a:gd name="connsiteY200" fmla="*/ 4512 h 619517"/>
                <a:gd name="connsiteX201" fmla="*/ 739184 w 1369934"/>
                <a:gd name="connsiteY201" fmla="*/ 4512 h 619517"/>
                <a:gd name="connsiteX202" fmla="*/ 743132 w 1369934"/>
                <a:gd name="connsiteY202" fmla="*/ 13690 h 619517"/>
                <a:gd name="connsiteX203" fmla="*/ 745056 w 1369934"/>
                <a:gd name="connsiteY203" fmla="*/ 15219 h 619517"/>
                <a:gd name="connsiteX204" fmla="*/ 747030 w 1369934"/>
                <a:gd name="connsiteY204" fmla="*/ 21288 h 619517"/>
                <a:gd name="connsiteX205" fmla="*/ 752901 w 1369934"/>
                <a:gd name="connsiteY205" fmla="*/ 25827 h 619517"/>
                <a:gd name="connsiteX206" fmla="*/ 756799 w 1369934"/>
                <a:gd name="connsiteY206" fmla="*/ 27357 h 619517"/>
                <a:gd name="connsiteX207" fmla="*/ 758822 w 1369934"/>
                <a:gd name="connsiteY207" fmla="*/ 31946 h 619517"/>
                <a:gd name="connsiteX208" fmla="*/ 756799 w 1369934"/>
                <a:gd name="connsiteY208" fmla="*/ 38064 h 619517"/>
                <a:gd name="connsiteX209" fmla="*/ 756799 w 1369934"/>
                <a:gd name="connsiteY209" fmla="*/ 45662 h 619517"/>
                <a:gd name="connsiteX210" fmla="*/ 750977 w 1369934"/>
                <a:gd name="connsiteY210" fmla="*/ 47142 h 619517"/>
                <a:gd name="connsiteX211" fmla="*/ 754875 w 1369934"/>
                <a:gd name="connsiteY211" fmla="*/ 51731 h 619517"/>
                <a:gd name="connsiteX212" fmla="*/ 758822 w 1369934"/>
                <a:gd name="connsiteY212" fmla="*/ 54790 h 619517"/>
                <a:gd name="connsiteX213" fmla="*/ 768690 w 1369934"/>
                <a:gd name="connsiteY213" fmla="*/ 50202 h 619517"/>
                <a:gd name="connsiteX214" fmla="*/ 774562 w 1369934"/>
                <a:gd name="connsiteY214" fmla="*/ 54790 h 619517"/>
                <a:gd name="connsiteX215" fmla="*/ 778509 w 1369934"/>
                <a:gd name="connsiteY215" fmla="*/ 53261 h 619517"/>
                <a:gd name="connsiteX216" fmla="*/ 778509 w 1369934"/>
                <a:gd name="connsiteY216" fmla="*/ 47142 h 619517"/>
                <a:gd name="connsiteX217" fmla="*/ 782407 w 1369934"/>
                <a:gd name="connsiteY217" fmla="*/ 45662 h 619517"/>
                <a:gd name="connsiteX218" fmla="*/ 784331 w 1369934"/>
                <a:gd name="connsiteY218" fmla="*/ 51731 h 619517"/>
                <a:gd name="connsiteX219" fmla="*/ 790252 w 1369934"/>
                <a:gd name="connsiteY219" fmla="*/ 51731 h 619517"/>
                <a:gd name="connsiteX220" fmla="*/ 790252 w 1369934"/>
                <a:gd name="connsiteY220" fmla="*/ 47142 h 619517"/>
                <a:gd name="connsiteX221" fmla="*/ 788278 w 1369934"/>
                <a:gd name="connsiteY221" fmla="*/ 41074 h 619517"/>
                <a:gd name="connsiteX222" fmla="*/ 790252 w 1369934"/>
                <a:gd name="connsiteY222" fmla="*/ 41074 h 619517"/>
                <a:gd name="connsiteX223" fmla="*/ 803968 w 1369934"/>
                <a:gd name="connsiteY223" fmla="*/ 47142 h 619517"/>
                <a:gd name="connsiteX224" fmla="*/ 803968 w 1369934"/>
                <a:gd name="connsiteY224" fmla="*/ 57849 h 619517"/>
                <a:gd name="connsiteX225" fmla="*/ 809840 w 1369934"/>
                <a:gd name="connsiteY225" fmla="*/ 65448 h 619517"/>
                <a:gd name="connsiteX226" fmla="*/ 813738 w 1369934"/>
                <a:gd name="connsiteY226" fmla="*/ 65448 h 619517"/>
                <a:gd name="connsiteX227" fmla="*/ 817685 w 1369934"/>
                <a:gd name="connsiteY227" fmla="*/ 59379 h 619517"/>
                <a:gd name="connsiteX228" fmla="*/ 813738 w 1369934"/>
                <a:gd name="connsiteY228" fmla="*/ 57849 h 619517"/>
                <a:gd name="connsiteX229" fmla="*/ 811764 w 1369934"/>
                <a:gd name="connsiteY229" fmla="*/ 54790 h 619517"/>
                <a:gd name="connsiteX230" fmla="*/ 819609 w 1369934"/>
                <a:gd name="connsiteY230" fmla="*/ 53261 h 619517"/>
                <a:gd name="connsiteX231" fmla="*/ 835349 w 1369934"/>
                <a:gd name="connsiteY231" fmla="*/ 59379 h 619517"/>
                <a:gd name="connsiteX232" fmla="*/ 839247 w 1369934"/>
                <a:gd name="connsiteY232" fmla="*/ 59379 h 619517"/>
                <a:gd name="connsiteX233" fmla="*/ 845119 w 1369934"/>
                <a:gd name="connsiteY233" fmla="*/ 54790 h 619517"/>
                <a:gd name="connsiteX234" fmla="*/ 847092 w 1369934"/>
                <a:gd name="connsiteY234" fmla="*/ 56320 h 619517"/>
                <a:gd name="connsiteX235" fmla="*/ 845119 w 1369934"/>
                <a:gd name="connsiteY235" fmla="*/ 62389 h 619517"/>
                <a:gd name="connsiteX236" fmla="*/ 841171 w 1369934"/>
                <a:gd name="connsiteY236" fmla="*/ 66977 h 619517"/>
                <a:gd name="connsiteX237" fmla="*/ 841171 w 1369934"/>
                <a:gd name="connsiteY237" fmla="*/ 74921 h 619517"/>
                <a:gd name="connsiteX238" fmla="*/ 845119 w 1369934"/>
                <a:gd name="connsiteY238" fmla="*/ 80990 h 619517"/>
                <a:gd name="connsiteX239" fmla="*/ 850990 w 1369934"/>
                <a:gd name="connsiteY239" fmla="*/ 79460 h 619517"/>
                <a:gd name="connsiteX240" fmla="*/ 854937 w 1369934"/>
                <a:gd name="connsiteY240" fmla="*/ 76401 h 619517"/>
                <a:gd name="connsiteX241" fmla="*/ 862782 w 1369934"/>
                <a:gd name="connsiteY241" fmla="*/ 74921 h 619517"/>
                <a:gd name="connsiteX242" fmla="*/ 876450 w 1369934"/>
                <a:gd name="connsiteY242" fmla="*/ 76401 h 619517"/>
                <a:gd name="connsiteX243" fmla="*/ 880396 w 1369934"/>
                <a:gd name="connsiteY243" fmla="*/ 79460 h 619517"/>
                <a:gd name="connsiteX244" fmla="*/ 884295 w 1369934"/>
                <a:gd name="connsiteY244" fmla="*/ 76401 h 619517"/>
                <a:gd name="connsiteX245" fmla="*/ 884295 w 1369934"/>
                <a:gd name="connsiteY245" fmla="*/ 69987 h 619517"/>
                <a:gd name="connsiteX246" fmla="*/ 890166 w 1369934"/>
                <a:gd name="connsiteY246" fmla="*/ 66977 h 619517"/>
                <a:gd name="connsiteX247" fmla="*/ 901959 w 1369934"/>
                <a:gd name="connsiteY247" fmla="*/ 66977 h 619517"/>
                <a:gd name="connsiteX248" fmla="*/ 907781 w 1369934"/>
                <a:gd name="connsiteY248" fmla="*/ 60859 h 619517"/>
                <a:gd name="connsiteX249" fmla="*/ 911728 w 1369934"/>
                <a:gd name="connsiteY249" fmla="*/ 56320 h 619517"/>
                <a:gd name="connsiteX250" fmla="*/ 915626 w 1369934"/>
                <a:gd name="connsiteY250" fmla="*/ 51731 h 619517"/>
                <a:gd name="connsiteX251" fmla="*/ 917599 w 1369934"/>
                <a:gd name="connsiteY251" fmla="*/ 48672 h 619517"/>
                <a:gd name="connsiteX252" fmla="*/ 923471 w 1369934"/>
                <a:gd name="connsiteY252" fmla="*/ 41074 h 619517"/>
                <a:gd name="connsiteX253" fmla="*/ 929392 w 1369934"/>
                <a:gd name="connsiteY253" fmla="*/ 39544 h 619517"/>
                <a:gd name="connsiteX254" fmla="*/ 937237 w 1369934"/>
                <a:gd name="connsiteY254" fmla="*/ 33475 h 619517"/>
                <a:gd name="connsiteX255" fmla="*/ 945033 w 1369934"/>
                <a:gd name="connsiteY255" fmla="*/ 31946 h 619517"/>
                <a:gd name="connsiteX256" fmla="*/ 952878 w 1369934"/>
                <a:gd name="connsiteY256" fmla="*/ 30416 h 619517"/>
                <a:gd name="connsiteX257" fmla="*/ 956825 w 1369934"/>
                <a:gd name="connsiteY257" fmla="*/ 31946 h 619517"/>
                <a:gd name="connsiteX258" fmla="*/ 956825 w 1369934"/>
                <a:gd name="connsiteY258" fmla="*/ 38064 h 619517"/>
                <a:gd name="connsiteX259" fmla="*/ 950904 w 1369934"/>
                <a:gd name="connsiteY259" fmla="*/ 44133 h 619517"/>
                <a:gd name="connsiteX260" fmla="*/ 945033 w 1369934"/>
                <a:gd name="connsiteY260" fmla="*/ 45662 h 619517"/>
                <a:gd name="connsiteX261" fmla="*/ 948980 w 1369934"/>
                <a:gd name="connsiteY261" fmla="*/ 50202 h 619517"/>
                <a:gd name="connsiteX262" fmla="*/ 1013615 w 1369934"/>
                <a:gd name="connsiteY262" fmla="*/ 91302 h 619517"/>
                <a:gd name="connsiteX263" fmla="*/ 1099813 w 1369934"/>
                <a:gd name="connsiteY263" fmla="*/ 185690 h 619517"/>
                <a:gd name="connsiteX264" fmla="*/ 1109682 w 1369934"/>
                <a:gd name="connsiteY264" fmla="*/ 185690 h 619517"/>
                <a:gd name="connsiteX265" fmla="*/ 1115553 w 1369934"/>
                <a:gd name="connsiteY265" fmla="*/ 182631 h 619517"/>
                <a:gd name="connsiteX266" fmla="*/ 1117526 w 1369934"/>
                <a:gd name="connsiteY266" fmla="*/ 178092 h 619517"/>
                <a:gd name="connsiteX267" fmla="*/ 1115553 w 1369934"/>
                <a:gd name="connsiteY267" fmla="*/ 176562 h 619517"/>
                <a:gd name="connsiteX268" fmla="*/ 1115553 w 1369934"/>
                <a:gd name="connsiteY268" fmla="*/ 170641 h 619517"/>
                <a:gd name="connsiteX269" fmla="*/ 1121425 w 1369934"/>
                <a:gd name="connsiteY269" fmla="*/ 167582 h 619517"/>
                <a:gd name="connsiteX270" fmla="*/ 1131293 w 1369934"/>
                <a:gd name="connsiteY270" fmla="*/ 172171 h 619517"/>
                <a:gd name="connsiteX271" fmla="*/ 1129319 w 1369934"/>
                <a:gd name="connsiteY271" fmla="*/ 176760 h 619517"/>
                <a:gd name="connsiteX272" fmla="*/ 1129319 w 1369934"/>
                <a:gd name="connsiteY272" fmla="*/ 181348 h 619517"/>
                <a:gd name="connsiteX273" fmla="*/ 1137164 w 1369934"/>
                <a:gd name="connsiteY273" fmla="*/ 182828 h 619517"/>
                <a:gd name="connsiteX274" fmla="*/ 1145009 w 1369934"/>
                <a:gd name="connsiteY274" fmla="*/ 187417 h 619517"/>
                <a:gd name="connsiteX275" fmla="*/ 1150881 w 1369934"/>
                <a:gd name="connsiteY275" fmla="*/ 187417 h 619517"/>
                <a:gd name="connsiteX276" fmla="*/ 1154828 w 1369934"/>
                <a:gd name="connsiteY276" fmla="*/ 184358 h 619517"/>
                <a:gd name="connsiteX277" fmla="*/ 1160650 w 1369934"/>
                <a:gd name="connsiteY277" fmla="*/ 182828 h 619517"/>
                <a:gd name="connsiteX278" fmla="*/ 1170518 w 1369934"/>
                <a:gd name="connsiteY278" fmla="*/ 187417 h 619517"/>
                <a:gd name="connsiteX279" fmla="*/ 1178363 w 1369934"/>
                <a:gd name="connsiteY279" fmla="*/ 184358 h 619517"/>
                <a:gd name="connsiteX280" fmla="*/ 1184235 w 1369934"/>
                <a:gd name="connsiteY280" fmla="*/ 185887 h 619517"/>
                <a:gd name="connsiteX281" fmla="*/ 1192080 w 1369934"/>
                <a:gd name="connsiteY281" fmla="*/ 184358 h 619517"/>
                <a:gd name="connsiteX282" fmla="*/ 1194053 w 1369934"/>
                <a:gd name="connsiteY282" fmla="*/ 181348 h 619517"/>
                <a:gd name="connsiteX283" fmla="*/ 1190106 w 1369934"/>
                <a:gd name="connsiteY283" fmla="*/ 178289 h 619517"/>
                <a:gd name="connsiteX284" fmla="*/ 1192080 w 1369934"/>
                <a:gd name="connsiteY284" fmla="*/ 175230 h 619517"/>
                <a:gd name="connsiteX285" fmla="*/ 1203823 w 1369934"/>
                <a:gd name="connsiteY285" fmla="*/ 173700 h 619517"/>
                <a:gd name="connsiteX286" fmla="*/ 1217539 w 1369934"/>
                <a:gd name="connsiteY286" fmla="*/ 173700 h 619517"/>
                <a:gd name="connsiteX287" fmla="*/ 1227408 w 1369934"/>
                <a:gd name="connsiteY287" fmla="*/ 175230 h 619517"/>
                <a:gd name="connsiteX288" fmla="*/ 1237276 w 1369934"/>
                <a:gd name="connsiteY288" fmla="*/ 182828 h 619517"/>
                <a:gd name="connsiteX289" fmla="*/ 1245121 w 1369934"/>
                <a:gd name="connsiteY289" fmla="*/ 190427 h 619517"/>
                <a:gd name="connsiteX290" fmla="*/ 1249068 w 1369934"/>
                <a:gd name="connsiteY290" fmla="*/ 199555 h 619517"/>
                <a:gd name="connsiteX291" fmla="*/ 1252965 w 1369934"/>
                <a:gd name="connsiteY291" fmla="*/ 199555 h 619517"/>
                <a:gd name="connsiteX292" fmla="*/ 1258837 w 1369934"/>
                <a:gd name="connsiteY292" fmla="*/ 201084 h 619517"/>
                <a:gd name="connsiteX293" fmla="*/ 1266682 w 1369934"/>
                <a:gd name="connsiteY293" fmla="*/ 205673 h 619517"/>
                <a:gd name="connsiteX294" fmla="*/ 1270580 w 1369934"/>
                <a:gd name="connsiteY294" fmla="*/ 205673 h 619517"/>
                <a:gd name="connsiteX295" fmla="*/ 1274527 w 1369934"/>
                <a:gd name="connsiteY295" fmla="*/ 207203 h 619517"/>
                <a:gd name="connsiteX296" fmla="*/ 1274527 w 1369934"/>
                <a:gd name="connsiteY296" fmla="*/ 218008 h 619517"/>
                <a:gd name="connsiteX297" fmla="*/ 1278425 w 1369934"/>
                <a:gd name="connsiteY297" fmla="*/ 224126 h 619517"/>
                <a:gd name="connsiteX298" fmla="*/ 1280399 w 1369934"/>
                <a:gd name="connsiteY298" fmla="*/ 225656 h 619517"/>
                <a:gd name="connsiteX299" fmla="*/ 1282323 w 1369934"/>
                <a:gd name="connsiteY299" fmla="*/ 227185 h 619517"/>
                <a:gd name="connsiteX300" fmla="*/ 1286270 w 1369934"/>
                <a:gd name="connsiteY300" fmla="*/ 227185 h 619517"/>
                <a:gd name="connsiteX301" fmla="*/ 1292142 w 1369934"/>
                <a:gd name="connsiteY301" fmla="*/ 230245 h 619517"/>
                <a:gd name="connsiteX302" fmla="*/ 1298013 w 1369934"/>
                <a:gd name="connsiteY302" fmla="*/ 231725 h 619517"/>
                <a:gd name="connsiteX303" fmla="*/ 1299987 w 1369934"/>
                <a:gd name="connsiteY303" fmla="*/ 230245 h 619517"/>
                <a:gd name="connsiteX304" fmla="*/ 1303934 w 1369934"/>
                <a:gd name="connsiteY304" fmla="*/ 227185 h 619517"/>
                <a:gd name="connsiteX305" fmla="*/ 1323671 w 1369934"/>
                <a:gd name="connsiteY305" fmla="*/ 225656 h 619517"/>
                <a:gd name="connsiteX306" fmla="*/ 1329492 w 1369934"/>
                <a:gd name="connsiteY306" fmla="*/ 224126 h 619517"/>
                <a:gd name="connsiteX307" fmla="*/ 1333440 w 1369934"/>
                <a:gd name="connsiteY307" fmla="*/ 218008 h 619517"/>
                <a:gd name="connsiteX308" fmla="*/ 1341285 w 1369934"/>
                <a:gd name="connsiteY308" fmla="*/ 214998 h 619517"/>
                <a:gd name="connsiteX309" fmla="*/ 1343259 w 1369934"/>
                <a:gd name="connsiteY309" fmla="*/ 216528 h 619517"/>
                <a:gd name="connsiteX310" fmla="*/ 1341285 w 1369934"/>
                <a:gd name="connsiteY310" fmla="*/ 224126 h 619517"/>
                <a:gd name="connsiteX311" fmla="*/ 1343259 w 1369934"/>
                <a:gd name="connsiteY311" fmla="*/ 230245 h 619517"/>
                <a:gd name="connsiteX312" fmla="*/ 1348193 w 1369934"/>
                <a:gd name="connsiteY312" fmla="*/ 230245 h 619517"/>
                <a:gd name="connsiteX313" fmla="*/ 1356038 w 1369934"/>
                <a:gd name="connsiteY313" fmla="*/ 236313 h 619517"/>
                <a:gd name="connsiteX314" fmla="*/ 1365906 w 1369934"/>
                <a:gd name="connsiteY314" fmla="*/ 239323 h 619517"/>
                <a:gd name="connsiteX315" fmla="*/ 1369853 w 1369934"/>
                <a:gd name="connsiteY315" fmla="*/ 242382 h 619517"/>
                <a:gd name="connsiteX316" fmla="*/ 1362008 w 1369934"/>
                <a:gd name="connsiteY316" fmla="*/ 246921 h 619517"/>
                <a:gd name="connsiteX317" fmla="*/ 1358061 w 1369934"/>
                <a:gd name="connsiteY317" fmla="*/ 251559 h 619517"/>
                <a:gd name="connsiteX318" fmla="*/ 1348193 w 1369934"/>
                <a:gd name="connsiteY318" fmla="*/ 259158 h 619517"/>
                <a:gd name="connsiteX319" fmla="*/ 1348193 w 1369934"/>
                <a:gd name="connsiteY319" fmla="*/ 263697 h 619517"/>
                <a:gd name="connsiteX320" fmla="*/ 1350216 w 1369934"/>
                <a:gd name="connsiteY320" fmla="*/ 266756 h 619517"/>
                <a:gd name="connsiteX321" fmla="*/ 1346268 w 1369934"/>
                <a:gd name="connsiteY321" fmla="*/ 275884 h 619517"/>
                <a:gd name="connsiteX322" fmla="*/ 1334525 w 1369934"/>
                <a:gd name="connsiteY322" fmla="*/ 278943 h 619517"/>
                <a:gd name="connsiteX323" fmla="*/ 1328605 w 1369934"/>
                <a:gd name="connsiteY323" fmla="*/ 281953 h 619517"/>
                <a:gd name="connsiteX324" fmla="*/ 1326680 w 1369934"/>
                <a:gd name="connsiteY324" fmla="*/ 289552 h 619517"/>
                <a:gd name="connsiteX325" fmla="*/ 1326680 w 1369934"/>
                <a:gd name="connsiteY325" fmla="*/ 303268 h 619517"/>
                <a:gd name="connsiteX326" fmla="*/ 1334525 w 1369934"/>
                <a:gd name="connsiteY326" fmla="*/ 313926 h 619517"/>
                <a:gd name="connsiteX327" fmla="*/ 1340397 w 1369934"/>
                <a:gd name="connsiteY327" fmla="*/ 321524 h 619517"/>
                <a:gd name="connsiteX328" fmla="*/ 1338423 w 1369934"/>
                <a:gd name="connsiteY328" fmla="*/ 326113 h 619517"/>
                <a:gd name="connsiteX329" fmla="*/ 1330578 w 1369934"/>
                <a:gd name="connsiteY329" fmla="*/ 335241 h 619517"/>
                <a:gd name="connsiteX330" fmla="*/ 1322782 w 1369934"/>
                <a:gd name="connsiteY330" fmla="*/ 338300 h 619517"/>
                <a:gd name="connsiteX331" fmla="*/ 1316862 w 1369934"/>
                <a:gd name="connsiteY331" fmla="*/ 344369 h 619517"/>
                <a:gd name="connsiteX332" fmla="*/ 1306994 w 1369934"/>
                <a:gd name="connsiteY332" fmla="*/ 344369 h 619517"/>
                <a:gd name="connsiteX333" fmla="*/ 1305020 w 1369934"/>
                <a:gd name="connsiteY333" fmla="*/ 341310 h 619517"/>
                <a:gd name="connsiteX334" fmla="*/ 1299149 w 1369934"/>
                <a:gd name="connsiteY334" fmla="*/ 341310 h 619517"/>
                <a:gd name="connsiteX335" fmla="*/ 1287406 w 1369934"/>
                <a:gd name="connsiteY335" fmla="*/ 342839 h 619517"/>
                <a:gd name="connsiteX336" fmla="*/ 1277537 w 1369934"/>
                <a:gd name="connsiteY336" fmla="*/ 342839 h 619517"/>
                <a:gd name="connsiteX337" fmla="*/ 1261847 w 1369934"/>
                <a:gd name="connsiteY337" fmla="*/ 338300 h 619517"/>
                <a:gd name="connsiteX338" fmla="*/ 1250104 w 1369934"/>
                <a:gd name="connsiteY338" fmla="*/ 338300 h 619517"/>
                <a:gd name="connsiteX339" fmla="*/ 1248180 w 1369934"/>
                <a:gd name="connsiteY339" fmla="*/ 352017 h 619517"/>
                <a:gd name="connsiteX340" fmla="*/ 1244233 w 1369934"/>
                <a:gd name="connsiteY340" fmla="*/ 361095 h 619517"/>
                <a:gd name="connsiteX341" fmla="*/ 1244233 w 1369934"/>
                <a:gd name="connsiteY341" fmla="*/ 367213 h 619517"/>
                <a:gd name="connsiteX342" fmla="*/ 1238361 w 1369934"/>
                <a:gd name="connsiteY342" fmla="*/ 385469 h 619517"/>
                <a:gd name="connsiteX343" fmla="*/ 1238361 w 1369934"/>
                <a:gd name="connsiteY343" fmla="*/ 399186 h 619517"/>
                <a:gd name="connsiteX344" fmla="*/ 1236387 w 1369934"/>
                <a:gd name="connsiteY344" fmla="*/ 403725 h 619517"/>
                <a:gd name="connsiteX345" fmla="*/ 1240335 w 1369934"/>
                <a:gd name="connsiteY345" fmla="*/ 408314 h 619517"/>
                <a:gd name="connsiteX346" fmla="*/ 1250203 w 1369934"/>
                <a:gd name="connsiteY346" fmla="*/ 411324 h 619517"/>
                <a:gd name="connsiteX347" fmla="*/ 1248278 w 1369934"/>
                <a:gd name="connsiteY347" fmla="*/ 415912 h 619517"/>
                <a:gd name="connsiteX348" fmla="*/ 1246305 w 1369934"/>
                <a:gd name="connsiteY348" fmla="*/ 420501 h 619517"/>
                <a:gd name="connsiteX349" fmla="*/ 1240433 w 1369934"/>
                <a:gd name="connsiteY349" fmla="*/ 420501 h 619517"/>
                <a:gd name="connsiteX350" fmla="*/ 1236486 w 1369934"/>
                <a:gd name="connsiteY350" fmla="*/ 423560 h 619517"/>
                <a:gd name="connsiteX351" fmla="*/ 1230615 w 1369934"/>
                <a:gd name="connsiteY351" fmla="*/ 423560 h 619517"/>
                <a:gd name="connsiteX352" fmla="*/ 1226667 w 1369934"/>
                <a:gd name="connsiteY352" fmla="*/ 420501 h 619517"/>
                <a:gd name="connsiteX353" fmla="*/ 1222769 w 1369934"/>
                <a:gd name="connsiteY353" fmla="*/ 422030 h 619517"/>
                <a:gd name="connsiteX354" fmla="*/ 1214924 w 1369934"/>
                <a:gd name="connsiteY354" fmla="*/ 423560 h 619517"/>
                <a:gd name="connsiteX355" fmla="*/ 1197310 w 1369934"/>
                <a:gd name="connsiteY355" fmla="*/ 426570 h 619517"/>
                <a:gd name="connsiteX356" fmla="*/ 1187442 w 1369934"/>
                <a:gd name="connsiteY356" fmla="*/ 429629 h 619517"/>
                <a:gd name="connsiteX357" fmla="*/ 1183544 w 1369934"/>
                <a:gd name="connsiteY357" fmla="*/ 429629 h 619517"/>
                <a:gd name="connsiteX358" fmla="*/ 1179596 w 1369934"/>
                <a:gd name="connsiteY358" fmla="*/ 428099 h 619517"/>
                <a:gd name="connsiteX359" fmla="*/ 1171801 w 1369934"/>
                <a:gd name="connsiteY359" fmla="*/ 429629 h 619517"/>
                <a:gd name="connsiteX360" fmla="*/ 1165930 w 1369934"/>
                <a:gd name="connsiteY360" fmla="*/ 435698 h 619517"/>
                <a:gd name="connsiteX361" fmla="*/ 1163956 w 1369934"/>
                <a:gd name="connsiteY361" fmla="*/ 440237 h 619517"/>
                <a:gd name="connsiteX362" fmla="*/ 1169827 w 1369934"/>
                <a:gd name="connsiteY362" fmla="*/ 444875 h 619517"/>
                <a:gd name="connsiteX363" fmla="*/ 1181620 w 1369934"/>
                <a:gd name="connsiteY363" fmla="*/ 443296 h 619517"/>
                <a:gd name="connsiteX364" fmla="*/ 1189415 w 1369934"/>
                <a:gd name="connsiteY364" fmla="*/ 444875 h 619517"/>
                <a:gd name="connsiteX365" fmla="*/ 1189415 w 1369934"/>
                <a:gd name="connsiteY365" fmla="*/ 447885 h 619517"/>
                <a:gd name="connsiteX366" fmla="*/ 1185518 w 1369934"/>
                <a:gd name="connsiteY366" fmla="*/ 450944 h 619517"/>
                <a:gd name="connsiteX367" fmla="*/ 1187442 w 1369934"/>
                <a:gd name="connsiteY367" fmla="*/ 461552 h 619517"/>
                <a:gd name="connsiteX368" fmla="*/ 1189415 w 1369934"/>
                <a:gd name="connsiteY368" fmla="*/ 466141 h 619517"/>
                <a:gd name="connsiteX369" fmla="*/ 1191389 w 1369934"/>
                <a:gd name="connsiteY369" fmla="*/ 469200 h 619517"/>
                <a:gd name="connsiteX370" fmla="*/ 1193363 w 1369934"/>
                <a:gd name="connsiteY370" fmla="*/ 475269 h 619517"/>
                <a:gd name="connsiteX371" fmla="*/ 1199234 w 1369934"/>
                <a:gd name="connsiteY371" fmla="*/ 484397 h 619517"/>
                <a:gd name="connsiteX372" fmla="*/ 1201208 w 1369934"/>
                <a:gd name="connsiteY372" fmla="*/ 490515 h 619517"/>
                <a:gd name="connsiteX373" fmla="*/ 1209004 w 1369934"/>
                <a:gd name="connsiteY373" fmla="*/ 495103 h 619517"/>
                <a:gd name="connsiteX374" fmla="*/ 1212951 w 1369934"/>
                <a:gd name="connsiteY374" fmla="*/ 507241 h 619517"/>
                <a:gd name="connsiteX375" fmla="*/ 1209004 w 1369934"/>
                <a:gd name="connsiteY375" fmla="*/ 510251 h 619517"/>
                <a:gd name="connsiteX376" fmla="*/ 1205106 w 1369934"/>
                <a:gd name="connsiteY376" fmla="*/ 517899 h 619517"/>
                <a:gd name="connsiteX377" fmla="*/ 1212951 w 1369934"/>
                <a:gd name="connsiteY377" fmla="*/ 523968 h 619517"/>
                <a:gd name="connsiteX378" fmla="*/ 1209004 w 1369934"/>
                <a:gd name="connsiteY378" fmla="*/ 523968 h 619517"/>
                <a:gd name="connsiteX379" fmla="*/ 1205106 w 1369934"/>
                <a:gd name="connsiteY379" fmla="*/ 528556 h 619517"/>
                <a:gd name="connsiteX380" fmla="*/ 1199234 w 1369934"/>
                <a:gd name="connsiteY380" fmla="*/ 531566 h 619517"/>
                <a:gd name="connsiteX381" fmla="*/ 1199234 w 1369934"/>
                <a:gd name="connsiteY381" fmla="*/ 540743 h 619517"/>
                <a:gd name="connsiteX382" fmla="*/ 1193363 w 1369934"/>
                <a:gd name="connsiteY382" fmla="*/ 543803 h 619517"/>
                <a:gd name="connsiteX383" fmla="*/ 1177672 w 1369934"/>
                <a:gd name="connsiteY383" fmla="*/ 540743 h 619517"/>
                <a:gd name="connsiteX384" fmla="*/ 1161982 w 1369934"/>
                <a:gd name="connsiteY384" fmla="*/ 525497 h 619517"/>
                <a:gd name="connsiteX385" fmla="*/ 1156110 w 1369934"/>
                <a:gd name="connsiteY385" fmla="*/ 525497 h 619517"/>
                <a:gd name="connsiteX386" fmla="*/ 1142394 w 1369934"/>
                <a:gd name="connsiteY386" fmla="*/ 520958 h 619517"/>
                <a:gd name="connsiteX387" fmla="*/ 1118908 w 1369934"/>
                <a:gd name="connsiteY387" fmla="*/ 520958 h 619517"/>
                <a:gd name="connsiteX388" fmla="*/ 1109040 w 1369934"/>
                <a:gd name="connsiteY388" fmla="*/ 523968 h 619517"/>
                <a:gd name="connsiteX389" fmla="*/ 1089304 w 1369934"/>
                <a:gd name="connsiteY389" fmla="*/ 519428 h 619517"/>
                <a:gd name="connsiteX390" fmla="*/ 1073613 w 1369934"/>
                <a:gd name="connsiteY390" fmla="*/ 522488 h 619517"/>
                <a:gd name="connsiteX391" fmla="*/ 1061870 w 1369934"/>
                <a:gd name="connsiteY391" fmla="*/ 523968 h 619517"/>
                <a:gd name="connsiteX392" fmla="*/ 1054025 w 1369934"/>
                <a:gd name="connsiteY392" fmla="*/ 522488 h 619517"/>
                <a:gd name="connsiteX393" fmla="*/ 1048154 w 1369934"/>
                <a:gd name="connsiteY393" fmla="*/ 527027 h 619517"/>
                <a:gd name="connsiteX394" fmla="*/ 1042282 w 1369934"/>
                <a:gd name="connsiteY394" fmla="*/ 528556 h 619517"/>
                <a:gd name="connsiteX395" fmla="*/ 1022546 w 1369934"/>
                <a:gd name="connsiteY395" fmla="*/ 527027 h 619517"/>
                <a:gd name="connsiteX396" fmla="*/ 1008780 w 1369934"/>
                <a:gd name="connsiteY396" fmla="*/ 523968 h 619517"/>
                <a:gd name="connsiteX397" fmla="*/ 998912 w 1369934"/>
                <a:gd name="connsiteY397" fmla="*/ 519428 h 619517"/>
                <a:gd name="connsiteX398" fmla="*/ 989044 w 1369934"/>
                <a:gd name="connsiteY398" fmla="*/ 519428 h 619517"/>
                <a:gd name="connsiteX399" fmla="*/ 985147 w 1369934"/>
                <a:gd name="connsiteY399" fmla="*/ 520958 h 619517"/>
                <a:gd name="connsiteX400" fmla="*/ 977301 w 1369934"/>
                <a:gd name="connsiteY400" fmla="*/ 520958 h 619517"/>
                <a:gd name="connsiteX401" fmla="*/ 969456 w 1369934"/>
                <a:gd name="connsiteY401" fmla="*/ 519428 h 619517"/>
                <a:gd name="connsiteX402" fmla="*/ 963585 w 1369934"/>
                <a:gd name="connsiteY402" fmla="*/ 522488 h 619517"/>
                <a:gd name="connsiteX403" fmla="*/ 965558 w 1369934"/>
                <a:gd name="connsiteY403" fmla="*/ 528556 h 619517"/>
                <a:gd name="connsiteX404" fmla="*/ 969456 w 1369934"/>
                <a:gd name="connsiteY404" fmla="*/ 534625 h 619517"/>
                <a:gd name="connsiteX405" fmla="*/ 969456 w 1369934"/>
                <a:gd name="connsiteY405" fmla="*/ 543654 h 619517"/>
                <a:gd name="connsiteX406" fmla="*/ 955789 w 1369934"/>
                <a:gd name="connsiteY406" fmla="*/ 545135 h 619517"/>
                <a:gd name="connsiteX407" fmla="*/ 936053 w 1369934"/>
                <a:gd name="connsiteY407" fmla="*/ 545135 h 619517"/>
                <a:gd name="connsiteX408" fmla="*/ 909063 w 1369934"/>
                <a:gd name="connsiteY408" fmla="*/ 543654 h 619517"/>
                <a:gd name="connsiteX409" fmla="*/ 903143 w 1369934"/>
                <a:gd name="connsiteY409" fmla="*/ 540595 h 619517"/>
                <a:gd name="connsiteX410" fmla="*/ 889426 w 1369934"/>
                <a:gd name="connsiteY410" fmla="*/ 537536 h 619517"/>
                <a:gd name="connsiteX411" fmla="*/ 883554 w 1369934"/>
                <a:gd name="connsiteY411" fmla="*/ 545135 h 619517"/>
                <a:gd name="connsiteX412" fmla="*/ 885528 w 1369934"/>
                <a:gd name="connsiteY412" fmla="*/ 548194 h 619517"/>
                <a:gd name="connsiteX413" fmla="*/ 877683 w 1369934"/>
                <a:gd name="connsiteY413" fmla="*/ 552733 h 619517"/>
                <a:gd name="connsiteX414" fmla="*/ 877683 w 1369934"/>
                <a:gd name="connsiteY414" fmla="*/ 555792 h 619517"/>
                <a:gd name="connsiteX415" fmla="*/ 875709 w 1369934"/>
                <a:gd name="connsiteY415" fmla="*/ 555792 h 619517"/>
                <a:gd name="connsiteX416" fmla="*/ 867864 w 1369934"/>
                <a:gd name="connsiteY416" fmla="*/ 563440 h 619517"/>
                <a:gd name="connsiteX417" fmla="*/ 860019 w 1369934"/>
                <a:gd name="connsiteY417" fmla="*/ 566450 h 619517"/>
                <a:gd name="connsiteX418" fmla="*/ 846352 w 1369934"/>
                <a:gd name="connsiteY418" fmla="*/ 580166 h 619517"/>
                <a:gd name="connsiteX419" fmla="*/ 842405 w 1369934"/>
                <a:gd name="connsiteY419" fmla="*/ 587765 h 619517"/>
                <a:gd name="connsiteX420" fmla="*/ 838507 w 1369934"/>
                <a:gd name="connsiteY420" fmla="*/ 593883 h 619517"/>
                <a:gd name="connsiteX421" fmla="*/ 832635 w 1369934"/>
                <a:gd name="connsiteY421" fmla="*/ 604491 h 619517"/>
                <a:gd name="connsiteX422" fmla="*/ 816945 w 1369934"/>
                <a:gd name="connsiteY422" fmla="*/ 615198 h 619517"/>
                <a:gd name="connsiteX423" fmla="*/ 812998 w 1369934"/>
                <a:gd name="connsiteY423" fmla="*/ 613668 h 619517"/>
                <a:gd name="connsiteX424" fmla="*/ 795383 w 1369934"/>
                <a:gd name="connsiteY424" fmla="*/ 607550 h 619517"/>
                <a:gd name="connsiteX425" fmla="*/ 783591 w 1369934"/>
                <a:gd name="connsiteY425" fmla="*/ 606021 h 619517"/>
                <a:gd name="connsiteX426" fmla="*/ 773723 w 1369934"/>
                <a:gd name="connsiteY426" fmla="*/ 607550 h 619517"/>
                <a:gd name="connsiteX427" fmla="*/ 756059 w 1369934"/>
                <a:gd name="connsiteY427" fmla="*/ 613668 h 619517"/>
                <a:gd name="connsiteX428" fmla="*/ 750237 w 1369934"/>
                <a:gd name="connsiteY428" fmla="*/ 613668 h 619517"/>
                <a:gd name="connsiteX429" fmla="*/ 734547 w 1369934"/>
                <a:gd name="connsiteY429" fmla="*/ 578637 h 619517"/>
                <a:gd name="connsiteX430" fmla="*/ 709038 w 1369934"/>
                <a:gd name="connsiteY430" fmla="*/ 575577 h 619517"/>
                <a:gd name="connsiteX431" fmla="*/ 709038 w 1369934"/>
                <a:gd name="connsiteY431" fmla="*/ 531171 h 619517"/>
                <a:gd name="connsiteX432" fmla="*/ 697294 w 1369934"/>
                <a:gd name="connsiteY432" fmla="*/ 534231 h 619517"/>
                <a:gd name="connsiteX433" fmla="*/ 685551 w 1369934"/>
                <a:gd name="connsiteY433" fmla="*/ 517504 h 619517"/>
                <a:gd name="connsiteX434" fmla="*/ 667937 w 1369934"/>
                <a:gd name="connsiteY434" fmla="*/ 503787 h 619517"/>
                <a:gd name="connsiteX435" fmla="*/ 609173 w 1369934"/>
                <a:gd name="connsiteY435" fmla="*/ 503787 h 619517"/>
                <a:gd name="connsiteX436" fmla="*/ 554257 w 1369934"/>
                <a:gd name="connsiteY436" fmla="*/ 508376 h 619517"/>
                <a:gd name="connsiteX437" fmla="*/ 526824 w 1369934"/>
                <a:gd name="connsiteY437" fmla="*/ 494709 h 619517"/>
                <a:gd name="connsiteX438" fmla="*/ 503338 w 1369934"/>
                <a:gd name="connsiteY438" fmla="*/ 487061 h 619517"/>
                <a:gd name="connsiteX439" fmla="*/ 444524 w 1369934"/>
                <a:gd name="connsiteY439" fmla="*/ 452079 h 619517"/>
                <a:gd name="connsiteX440" fmla="*/ 350482 w 1369934"/>
                <a:gd name="connsiteY440" fmla="*/ 467276 h 619517"/>
                <a:gd name="connsiteX441" fmla="*/ 380086 w 1369934"/>
                <a:gd name="connsiteY441" fmla="*/ 614951 h 619517"/>
                <a:gd name="connsiteX442" fmla="*/ 374214 w 1369934"/>
                <a:gd name="connsiteY442" fmla="*/ 614951 h 619517"/>
                <a:gd name="connsiteX443" fmla="*/ 360497 w 1369934"/>
                <a:gd name="connsiteY443" fmla="*/ 619491 h 619517"/>
                <a:gd name="connsiteX444" fmla="*/ 337012 w 1369934"/>
                <a:gd name="connsiteY444" fmla="*/ 595116 h 619517"/>
                <a:gd name="connsiteX445" fmla="*/ 311503 w 1369934"/>
                <a:gd name="connsiteY445" fmla="*/ 581400 h 619517"/>
                <a:gd name="connsiteX446" fmla="*/ 288017 w 1369934"/>
                <a:gd name="connsiteY446" fmla="*/ 578390 h 619517"/>
                <a:gd name="connsiteX447" fmla="*/ 270353 w 1369934"/>
                <a:gd name="connsiteY447" fmla="*/ 584459 h 619517"/>
                <a:gd name="connsiteX448" fmla="*/ 246817 w 1369934"/>
                <a:gd name="connsiteY448" fmla="*/ 601235 h 619517"/>
                <a:gd name="connsiteX449" fmla="*/ 246817 w 1369934"/>
                <a:gd name="connsiteY449" fmla="*/ 593636 h 619517"/>
                <a:gd name="connsiteX450" fmla="*/ 244893 w 1369934"/>
                <a:gd name="connsiteY450" fmla="*/ 585989 h 619517"/>
                <a:gd name="connsiteX451" fmla="*/ 250764 w 1369934"/>
                <a:gd name="connsiteY451" fmla="*/ 578390 h 619517"/>
                <a:gd name="connsiteX452" fmla="*/ 252738 w 1369934"/>
                <a:gd name="connsiteY452" fmla="*/ 569262 h 619517"/>
                <a:gd name="connsiteX453" fmla="*/ 250764 w 1369934"/>
                <a:gd name="connsiteY453" fmla="*/ 566203 h 619517"/>
                <a:gd name="connsiteX454" fmla="*/ 252738 w 1369934"/>
                <a:gd name="connsiteY454" fmla="*/ 563193 h 619517"/>
                <a:gd name="connsiteX455" fmla="*/ 250764 w 1369934"/>
                <a:gd name="connsiteY455" fmla="*/ 561614 h 619517"/>
                <a:gd name="connsiteX456" fmla="*/ 240896 w 1369934"/>
                <a:gd name="connsiteY456" fmla="*/ 561614 h 619517"/>
                <a:gd name="connsiteX457" fmla="*/ 234976 w 1369934"/>
                <a:gd name="connsiteY457" fmla="*/ 560085 h 619517"/>
                <a:gd name="connsiteX458" fmla="*/ 229104 w 1369934"/>
                <a:gd name="connsiteY458" fmla="*/ 558605 h 619517"/>
                <a:gd name="connsiteX459" fmla="*/ 225206 w 1369934"/>
                <a:gd name="connsiteY459" fmla="*/ 560085 h 619517"/>
                <a:gd name="connsiteX460" fmla="*/ 221259 w 1369934"/>
                <a:gd name="connsiteY460" fmla="*/ 560085 h 619517"/>
                <a:gd name="connsiteX461" fmla="*/ 219285 w 1369934"/>
                <a:gd name="connsiteY461" fmla="*/ 555545 h 619517"/>
                <a:gd name="connsiteX462" fmla="*/ 213463 w 1369934"/>
                <a:gd name="connsiteY462" fmla="*/ 552486 h 619517"/>
                <a:gd name="connsiteX463" fmla="*/ 211490 w 1369934"/>
                <a:gd name="connsiteY463" fmla="*/ 547947 h 619517"/>
                <a:gd name="connsiteX464" fmla="*/ 207542 w 1369934"/>
                <a:gd name="connsiteY464" fmla="*/ 546417 h 619517"/>
                <a:gd name="connsiteX465" fmla="*/ 205618 w 1369934"/>
                <a:gd name="connsiteY465" fmla="*/ 547947 h 619517"/>
                <a:gd name="connsiteX466" fmla="*/ 199697 w 1369934"/>
                <a:gd name="connsiteY466" fmla="*/ 549477 h 619517"/>
                <a:gd name="connsiteX467" fmla="*/ 195799 w 1369934"/>
                <a:gd name="connsiteY467" fmla="*/ 547947 h 619517"/>
                <a:gd name="connsiteX468" fmla="*/ 197773 w 1369934"/>
                <a:gd name="connsiteY468" fmla="*/ 541878 h 619517"/>
                <a:gd name="connsiteX469" fmla="*/ 195799 w 1369934"/>
                <a:gd name="connsiteY469" fmla="*/ 534231 h 619517"/>
                <a:gd name="connsiteX470" fmla="*/ 185931 w 1369934"/>
                <a:gd name="connsiteY470" fmla="*/ 525102 h 619517"/>
                <a:gd name="connsiteX471" fmla="*/ 185931 w 1369934"/>
                <a:gd name="connsiteY471" fmla="*/ 520563 h 619517"/>
                <a:gd name="connsiteX472" fmla="*/ 180010 w 1369934"/>
                <a:gd name="connsiteY472" fmla="*/ 520563 h 619517"/>
                <a:gd name="connsiteX473" fmla="*/ 178086 w 1369934"/>
                <a:gd name="connsiteY473" fmla="*/ 514445 h 619517"/>
                <a:gd name="connsiteX474" fmla="*/ 174139 w 1369934"/>
                <a:gd name="connsiteY474" fmla="*/ 509856 h 619517"/>
                <a:gd name="connsiteX475" fmla="*/ 172165 w 1369934"/>
                <a:gd name="connsiteY475" fmla="*/ 505317 h 619517"/>
                <a:gd name="connsiteX476" fmla="*/ 166343 w 1369934"/>
                <a:gd name="connsiteY476" fmla="*/ 503787 h 619517"/>
                <a:gd name="connsiteX477" fmla="*/ 160422 w 1369934"/>
                <a:gd name="connsiteY477" fmla="*/ 503787 h 619517"/>
                <a:gd name="connsiteX478" fmla="*/ 156524 w 1369934"/>
                <a:gd name="connsiteY478" fmla="*/ 499248 h 619517"/>
                <a:gd name="connsiteX479" fmla="*/ 156524 w 1369934"/>
                <a:gd name="connsiteY479" fmla="*/ 496189 h 619517"/>
                <a:gd name="connsiteX480" fmla="*/ 160422 w 1369934"/>
                <a:gd name="connsiteY480" fmla="*/ 493179 h 619517"/>
                <a:gd name="connsiteX481" fmla="*/ 162396 w 1369934"/>
                <a:gd name="connsiteY481" fmla="*/ 494709 h 619517"/>
                <a:gd name="connsiteX482" fmla="*/ 172264 w 1369934"/>
                <a:gd name="connsiteY482" fmla="*/ 494709 h 619517"/>
                <a:gd name="connsiteX483" fmla="*/ 176211 w 1369934"/>
                <a:gd name="connsiteY483" fmla="*/ 496189 h 619517"/>
                <a:gd name="connsiteX484" fmla="*/ 180109 w 1369934"/>
                <a:gd name="connsiteY484" fmla="*/ 494709 h 619517"/>
                <a:gd name="connsiteX485" fmla="*/ 184057 w 1369934"/>
                <a:gd name="connsiteY485" fmla="*/ 496189 h 619517"/>
                <a:gd name="connsiteX486" fmla="*/ 187954 w 1369934"/>
                <a:gd name="connsiteY486" fmla="*/ 494709 h 619517"/>
                <a:gd name="connsiteX487" fmla="*/ 191852 w 1369934"/>
                <a:gd name="connsiteY487" fmla="*/ 493179 h 619517"/>
                <a:gd name="connsiteX488" fmla="*/ 197773 w 1369934"/>
                <a:gd name="connsiteY488" fmla="*/ 494709 h 619517"/>
                <a:gd name="connsiteX489" fmla="*/ 197773 w 1369934"/>
                <a:gd name="connsiteY489" fmla="*/ 490120 h 619517"/>
                <a:gd name="connsiteX490" fmla="*/ 187905 w 1369934"/>
                <a:gd name="connsiteY490" fmla="*/ 490120 h 619517"/>
                <a:gd name="connsiteX491" fmla="*/ 187905 w 1369934"/>
                <a:gd name="connsiteY491" fmla="*/ 484446 h 619517"/>
                <a:gd name="connsiteX492" fmla="*/ 180060 w 1369934"/>
                <a:gd name="connsiteY492" fmla="*/ 478377 h 619517"/>
                <a:gd name="connsiteX493" fmla="*/ 180060 w 1369934"/>
                <a:gd name="connsiteY493" fmla="*/ 475318 h 619517"/>
                <a:gd name="connsiteX494" fmla="*/ 184007 w 1369934"/>
                <a:gd name="connsiteY494" fmla="*/ 472308 h 619517"/>
                <a:gd name="connsiteX495" fmla="*/ 184007 w 1369934"/>
                <a:gd name="connsiteY495" fmla="*/ 466190 h 619517"/>
                <a:gd name="connsiteX496" fmla="*/ 187905 w 1369934"/>
                <a:gd name="connsiteY496" fmla="*/ 461601 h 619517"/>
                <a:gd name="connsiteX497" fmla="*/ 195750 w 1369934"/>
                <a:gd name="connsiteY497" fmla="*/ 458592 h 619517"/>
                <a:gd name="connsiteX498" fmla="*/ 201622 w 1369934"/>
                <a:gd name="connsiteY498" fmla="*/ 457062 h 619517"/>
                <a:gd name="connsiteX499" fmla="*/ 205569 w 1369934"/>
                <a:gd name="connsiteY499" fmla="*/ 458592 h 619517"/>
                <a:gd name="connsiteX500" fmla="*/ 213414 w 1369934"/>
                <a:gd name="connsiteY500" fmla="*/ 457062 h 619517"/>
                <a:gd name="connsiteX501" fmla="*/ 219236 w 1369934"/>
                <a:gd name="connsiteY501" fmla="*/ 457062 h 619517"/>
                <a:gd name="connsiteX502" fmla="*/ 223183 w 1369934"/>
                <a:gd name="connsiteY502" fmla="*/ 458592 h 619517"/>
                <a:gd name="connsiteX503" fmla="*/ 225157 w 1369934"/>
                <a:gd name="connsiteY503" fmla="*/ 457062 h 619517"/>
                <a:gd name="connsiteX504" fmla="*/ 231028 w 1369934"/>
                <a:gd name="connsiteY504" fmla="*/ 457062 h 619517"/>
                <a:gd name="connsiteX505" fmla="*/ 236900 w 1369934"/>
                <a:gd name="connsiteY505" fmla="*/ 464660 h 619517"/>
                <a:gd name="connsiteX506" fmla="*/ 240847 w 1369934"/>
                <a:gd name="connsiteY506" fmla="*/ 464660 h 619517"/>
                <a:gd name="connsiteX507" fmla="*/ 250715 w 1369934"/>
                <a:gd name="connsiteY507" fmla="*/ 461601 h 619517"/>
                <a:gd name="connsiteX508" fmla="*/ 252689 w 1369934"/>
                <a:gd name="connsiteY508" fmla="*/ 457062 h 619517"/>
                <a:gd name="connsiteX509" fmla="*/ 244844 w 1369934"/>
                <a:gd name="connsiteY509" fmla="*/ 455533 h 619517"/>
                <a:gd name="connsiteX510" fmla="*/ 238923 w 1369934"/>
                <a:gd name="connsiteY510" fmla="*/ 454003 h 619517"/>
                <a:gd name="connsiteX511" fmla="*/ 235025 w 1369934"/>
                <a:gd name="connsiteY511" fmla="*/ 446404 h 619517"/>
                <a:gd name="connsiteX512" fmla="*/ 235025 w 1369934"/>
                <a:gd name="connsiteY512" fmla="*/ 440040 h 619517"/>
                <a:gd name="connsiteX513" fmla="*/ 238923 w 1369934"/>
                <a:gd name="connsiteY513" fmla="*/ 438510 h 619517"/>
                <a:gd name="connsiteX514" fmla="*/ 242870 w 1369934"/>
                <a:gd name="connsiteY514" fmla="*/ 435500 h 619517"/>
                <a:gd name="connsiteX515" fmla="*/ 240946 w 1369934"/>
                <a:gd name="connsiteY515" fmla="*/ 432441 h 619517"/>
                <a:gd name="connsiteX516" fmla="*/ 236999 w 1369934"/>
                <a:gd name="connsiteY516" fmla="*/ 429432 h 619517"/>
                <a:gd name="connsiteX517" fmla="*/ 236999 w 1369934"/>
                <a:gd name="connsiteY517" fmla="*/ 426372 h 619517"/>
                <a:gd name="connsiteX518" fmla="*/ 240946 w 1369934"/>
                <a:gd name="connsiteY518" fmla="*/ 420304 h 619517"/>
                <a:gd name="connsiteX519" fmla="*/ 240946 w 1369934"/>
                <a:gd name="connsiteY519" fmla="*/ 415715 h 619517"/>
                <a:gd name="connsiteX520" fmla="*/ 235025 w 1369934"/>
                <a:gd name="connsiteY520" fmla="*/ 411126 h 619517"/>
                <a:gd name="connsiteX521" fmla="*/ 235025 w 1369934"/>
                <a:gd name="connsiteY521" fmla="*/ 408116 h 619517"/>
                <a:gd name="connsiteX522" fmla="*/ 236999 w 1369934"/>
                <a:gd name="connsiteY522" fmla="*/ 403528 h 619517"/>
                <a:gd name="connsiteX523" fmla="*/ 236999 w 1369934"/>
                <a:gd name="connsiteY523" fmla="*/ 402048 h 619517"/>
                <a:gd name="connsiteX524" fmla="*/ 233101 w 1369934"/>
                <a:gd name="connsiteY524" fmla="*/ 400567 h 619517"/>
                <a:gd name="connsiteX525" fmla="*/ 229153 w 1369934"/>
                <a:gd name="connsiteY525" fmla="*/ 397508 h 619517"/>
                <a:gd name="connsiteX526" fmla="*/ 229153 w 1369934"/>
                <a:gd name="connsiteY526" fmla="*/ 394449 h 619517"/>
                <a:gd name="connsiteX527" fmla="*/ 217410 w 1369934"/>
                <a:gd name="connsiteY527" fmla="*/ 394449 h 619517"/>
                <a:gd name="connsiteX528" fmla="*/ 211539 w 1369934"/>
                <a:gd name="connsiteY528" fmla="*/ 392920 h 619517"/>
                <a:gd name="connsiteX529" fmla="*/ 205667 w 1369934"/>
                <a:gd name="connsiteY529" fmla="*/ 394449 h 619517"/>
                <a:gd name="connsiteX530" fmla="*/ 205667 w 1369934"/>
                <a:gd name="connsiteY530" fmla="*/ 395979 h 619517"/>
                <a:gd name="connsiteX531" fmla="*/ 201720 w 1369934"/>
                <a:gd name="connsiteY531" fmla="*/ 397508 h 619517"/>
                <a:gd name="connsiteX532" fmla="*/ 201720 w 1369934"/>
                <a:gd name="connsiteY532" fmla="*/ 400567 h 619517"/>
                <a:gd name="connsiteX533" fmla="*/ 197822 w 1369934"/>
                <a:gd name="connsiteY533" fmla="*/ 402097 h 619517"/>
                <a:gd name="connsiteX534" fmla="*/ 193925 w 1369934"/>
                <a:gd name="connsiteY534" fmla="*/ 400567 h 619517"/>
                <a:gd name="connsiteX535" fmla="*/ 193925 w 1369934"/>
                <a:gd name="connsiteY535" fmla="*/ 397508 h 619517"/>
                <a:gd name="connsiteX536" fmla="*/ 189977 w 1369934"/>
                <a:gd name="connsiteY536" fmla="*/ 399038 h 619517"/>
                <a:gd name="connsiteX537" fmla="*/ 186079 w 1369934"/>
                <a:gd name="connsiteY537" fmla="*/ 400567 h 619517"/>
                <a:gd name="connsiteX538" fmla="*/ 184105 w 1369934"/>
                <a:gd name="connsiteY538" fmla="*/ 397508 h 619517"/>
                <a:gd name="connsiteX539" fmla="*/ 184105 w 1369934"/>
                <a:gd name="connsiteY539" fmla="*/ 392920 h 619517"/>
                <a:gd name="connsiteX540" fmla="*/ 180159 w 1369934"/>
                <a:gd name="connsiteY540" fmla="*/ 391390 h 619517"/>
                <a:gd name="connsiteX541" fmla="*/ 178234 w 1369934"/>
                <a:gd name="connsiteY541" fmla="*/ 392920 h 619517"/>
                <a:gd name="connsiteX542" fmla="*/ 174287 w 1369934"/>
                <a:gd name="connsiteY542" fmla="*/ 392920 h 619517"/>
                <a:gd name="connsiteX543" fmla="*/ 170389 w 1369934"/>
                <a:gd name="connsiteY543" fmla="*/ 391390 h 619517"/>
                <a:gd name="connsiteX544" fmla="*/ 162544 w 1369934"/>
                <a:gd name="connsiteY544" fmla="*/ 391390 h 619517"/>
                <a:gd name="connsiteX545" fmla="*/ 156673 w 1369934"/>
                <a:gd name="connsiteY545" fmla="*/ 395979 h 619517"/>
                <a:gd name="connsiteX546" fmla="*/ 154699 w 1369934"/>
                <a:gd name="connsiteY546" fmla="*/ 399038 h 619517"/>
                <a:gd name="connsiteX547" fmla="*/ 152725 w 1369934"/>
                <a:gd name="connsiteY547" fmla="*/ 400567 h 619517"/>
                <a:gd name="connsiteX548" fmla="*/ 150801 w 1369934"/>
                <a:gd name="connsiteY548" fmla="*/ 399038 h 619517"/>
                <a:gd name="connsiteX549" fmla="*/ 148828 w 1369934"/>
                <a:gd name="connsiteY549" fmla="*/ 399038 h 619517"/>
                <a:gd name="connsiteX550" fmla="*/ 142956 w 1369934"/>
                <a:gd name="connsiteY550" fmla="*/ 403577 h 619517"/>
                <a:gd name="connsiteX551" fmla="*/ 139354 w 1369934"/>
                <a:gd name="connsiteY551" fmla="*/ 403577 h 619517"/>
                <a:gd name="connsiteX552" fmla="*/ 135407 w 1369934"/>
                <a:gd name="connsiteY552" fmla="*/ 408166 h 619517"/>
                <a:gd name="connsiteX553" fmla="*/ 129535 w 1369934"/>
                <a:gd name="connsiteY553" fmla="*/ 412705 h 619517"/>
                <a:gd name="connsiteX554" fmla="*/ 127562 w 1369934"/>
                <a:gd name="connsiteY554" fmla="*/ 411176 h 619517"/>
                <a:gd name="connsiteX555" fmla="*/ 125588 w 1369934"/>
                <a:gd name="connsiteY555" fmla="*/ 415764 h 619517"/>
                <a:gd name="connsiteX556" fmla="*/ 123664 w 1369934"/>
                <a:gd name="connsiteY556" fmla="*/ 417294 h 619517"/>
                <a:gd name="connsiteX557" fmla="*/ 121690 w 1369934"/>
                <a:gd name="connsiteY557" fmla="*/ 415764 h 619517"/>
                <a:gd name="connsiteX558" fmla="*/ 117792 w 1369934"/>
                <a:gd name="connsiteY558" fmla="*/ 414235 h 619517"/>
                <a:gd name="connsiteX559" fmla="*/ 115819 w 1369934"/>
                <a:gd name="connsiteY559" fmla="*/ 417294 h 619517"/>
                <a:gd name="connsiteX560" fmla="*/ 109750 w 1369934"/>
                <a:gd name="connsiteY560" fmla="*/ 417294 h 619517"/>
                <a:gd name="connsiteX561" fmla="*/ 107776 w 1369934"/>
                <a:gd name="connsiteY561" fmla="*/ 414235 h 619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</a:cxnLst>
              <a:rect l="l" t="t" r="r" b="b"/>
              <a:pathLst>
                <a:path w="1369934" h="619517">
                  <a:moveTo>
                    <a:pt x="105802" y="415715"/>
                  </a:moveTo>
                  <a:lnTo>
                    <a:pt x="95934" y="409597"/>
                  </a:lnTo>
                  <a:lnTo>
                    <a:pt x="88089" y="412656"/>
                  </a:lnTo>
                  <a:lnTo>
                    <a:pt x="72448" y="403528"/>
                  </a:lnTo>
                  <a:lnTo>
                    <a:pt x="74373" y="398988"/>
                  </a:lnTo>
                  <a:lnTo>
                    <a:pt x="88089" y="398988"/>
                  </a:lnTo>
                  <a:lnTo>
                    <a:pt x="72448" y="377673"/>
                  </a:lnTo>
                  <a:lnTo>
                    <a:pt x="56758" y="365486"/>
                  </a:lnTo>
                  <a:lnTo>
                    <a:pt x="33223" y="360898"/>
                  </a:lnTo>
                  <a:lnTo>
                    <a:pt x="31249" y="363957"/>
                  </a:lnTo>
                  <a:lnTo>
                    <a:pt x="19506" y="356358"/>
                  </a:lnTo>
                  <a:lnTo>
                    <a:pt x="21480" y="350290"/>
                  </a:lnTo>
                  <a:lnTo>
                    <a:pt x="15609" y="342642"/>
                  </a:lnTo>
                  <a:lnTo>
                    <a:pt x="-82" y="338103"/>
                  </a:lnTo>
                  <a:lnTo>
                    <a:pt x="5790" y="325915"/>
                  </a:lnTo>
                  <a:lnTo>
                    <a:pt x="7763" y="307660"/>
                  </a:lnTo>
                  <a:lnTo>
                    <a:pt x="3816" y="303071"/>
                  </a:lnTo>
                  <a:lnTo>
                    <a:pt x="1842" y="287874"/>
                  </a:lnTo>
                  <a:lnTo>
                    <a:pt x="7763" y="284815"/>
                  </a:lnTo>
                  <a:lnTo>
                    <a:pt x="19506" y="275687"/>
                  </a:lnTo>
                  <a:lnTo>
                    <a:pt x="19506" y="266559"/>
                  </a:lnTo>
                  <a:lnTo>
                    <a:pt x="23404" y="260441"/>
                  </a:lnTo>
                  <a:lnTo>
                    <a:pt x="41068" y="277217"/>
                  </a:lnTo>
                  <a:lnTo>
                    <a:pt x="46940" y="281756"/>
                  </a:lnTo>
                  <a:lnTo>
                    <a:pt x="56808" y="287874"/>
                  </a:lnTo>
                  <a:lnTo>
                    <a:pt x="66676" y="286345"/>
                  </a:lnTo>
                  <a:lnTo>
                    <a:pt x="66676" y="277217"/>
                  </a:lnTo>
                  <a:lnTo>
                    <a:pt x="70574" y="272628"/>
                  </a:lnTo>
                  <a:lnTo>
                    <a:pt x="62778" y="249833"/>
                  </a:lnTo>
                  <a:lnTo>
                    <a:pt x="72646" y="246724"/>
                  </a:lnTo>
                  <a:lnTo>
                    <a:pt x="86313" y="246724"/>
                  </a:lnTo>
                  <a:lnTo>
                    <a:pt x="86313" y="240655"/>
                  </a:lnTo>
                  <a:lnTo>
                    <a:pt x="80442" y="234586"/>
                  </a:lnTo>
                  <a:lnTo>
                    <a:pt x="82415" y="228518"/>
                  </a:lnTo>
                  <a:lnTo>
                    <a:pt x="92283" y="220870"/>
                  </a:lnTo>
                  <a:lnTo>
                    <a:pt x="98106" y="220870"/>
                  </a:lnTo>
                  <a:lnTo>
                    <a:pt x="99882" y="213074"/>
                  </a:lnTo>
                  <a:lnTo>
                    <a:pt x="105704" y="210015"/>
                  </a:lnTo>
                  <a:lnTo>
                    <a:pt x="115572" y="211545"/>
                  </a:lnTo>
                  <a:lnTo>
                    <a:pt x="115572" y="207005"/>
                  </a:lnTo>
                  <a:lnTo>
                    <a:pt x="111674" y="200887"/>
                  </a:lnTo>
                  <a:lnTo>
                    <a:pt x="115572" y="197828"/>
                  </a:lnTo>
                  <a:lnTo>
                    <a:pt x="125440" y="202417"/>
                  </a:lnTo>
                  <a:lnTo>
                    <a:pt x="133285" y="205476"/>
                  </a:lnTo>
                  <a:lnTo>
                    <a:pt x="133285" y="208535"/>
                  </a:lnTo>
                  <a:lnTo>
                    <a:pt x="129387" y="214604"/>
                  </a:lnTo>
                  <a:lnTo>
                    <a:pt x="131361" y="217613"/>
                  </a:lnTo>
                  <a:lnTo>
                    <a:pt x="139354" y="213074"/>
                  </a:lnTo>
                  <a:lnTo>
                    <a:pt x="139354" y="210015"/>
                  </a:lnTo>
                  <a:lnTo>
                    <a:pt x="145176" y="207005"/>
                  </a:lnTo>
                  <a:lnTo>
                    <a:pt x="145176" y="211545"/>
                  </a:lnTo>
                  <a:lnTo>
                    <a:pt x="151097" y="208535"/>
                  </a:lnTo>
                  <a:lnTo>
                    <a:pt x="153021" y="203946"/>
                  </a:lnTo>
                  <a:lnTo>
                    <a:pt x="158942" y="203946"/>
                  </a:lnTo>
                  <a:lnTo>
                    <a:pt x="166788" y="199357"/>
                  </a:lnTo>
                  <a:lnTo>
                    <a:pt x="172609" y="199357"/>
                  </a:lnTo>
                  <a:lnTo>
                    <a:pt x="176557" y="207005"/>
                  </a:lnTo>
                  <a:lnTo>
                    <a:pt x="186425" y="211545"/>
                  </a:lnTo>
                  <a:lnTo>
                    <a:pt x="198168" y="208535"/>
                  </a:lnTo>
                  <a:lnTo>
                    <a:pt x="204039" y="208535"/>
                  </a:lnTo>
                  <a:lnTo>
                    <a:pt x="206013" y="213074"/>
                  </a:lnTo>
                  <a:lnTo>
                    <a:pt x="209911" y="213074"/>
                  </a:lnTo>
                  <a:lnTo>
                    <a:pt x="219779" y="220673"/>
                  </a:lnTo>
                  <a:lnTo>
                    <a:pt x="227624" y="220673"/>
                  </a:lnTo>
                  <a:lnTo>
                    <a:pt x="231571" y="228320"/>
                  </a:lnTo>
                  <a:lnTo>
                    <a:pt x="241439" y="234389"/>
                  </a:lnTo>
                  <a:lnTo>
                    <a:pt x="247261" y="234389"/>
                  </a:lnTo>
                  <a:lnTo>
                    <a:pt x="251209" y="238928"/>
                  </a:lnTo>
                  <a:lnTo>
                    <a:pt x="253182" y="245047"/>
                  </a:lnTo>
                  <a:lnTo>
                    <a:pt x="257080" y="246527"/>
                  </a:lnTo>
                  <a:lnTo>
                    <a:pt x="261027" y="240458"/>
                  </a:lnTo>
                  <a:lnTo>
                    <a:pt x="259054" y="232860"/>
                  </a:lnTo>
                  <a:lnTo>
                    <a:pt x="266849" y="229850"/>
                  </a:lnTo>
                  <a:lnTo>
                    <a:pt x="270797" y="235919"/>
                  </a:lnTo>
                  <a:lnTo>
                    <a:pt x="286487" y="237448"/>
                  </a:lnTo>
                  <a:lnTo>
                    <a:pt x="290434" y="243517"/>
                  </a:lnTo>
                  <a:lnTo>
                    <a:pt x="296257" y="245047"/>
                  </a:lnTo>
                  <a:lnTo>
                    <a:pt x="304102" y="238928"/>
                  </a:lnTo>
                  <a:lnTo>
                    <a:pt x="304102" y="228320"/>
                  </a:lnTo>
                  <a:lnTo>
                    <a:pt x="311946" y="228320"/>
                  </a:lnTo>
                  <a:lnTo>
                    <a:pt x="311946" y="220673"/>
                  </a:lnTo>
                  <a:lnTo>
                    <a:pt x="319791" y="219143"/>
                  </a:lnTo>
                  <a:lnTo>
                    <a:pt x="323690" y="225261"/>
                  </a:lnTo>
                  <a:lnTo>
                    <a:pt x="325663" y="219143"/>
                  </a:lnTo>
                  <a:lnTo>
                    <a:pt x="333508" y="217613"/>
                  </a:lnTo>
                  <a:lnTo>
                    <a:pt x="343376" y="226791"/>
                  </a:lnTo>
                  <a:lnTo>
                    <a:pt x="345399" y="229850"/>
                  </a:lnTo>
                  <a:lnTo>
                    <a:pt x="356452" y="229850"/>
                  </a:lnTo>
                  <a:lnTo>
                    <a:pt x="356452" y="220673"/>
                  </a:lnTo>
                  <a:lnTo>
                    <a:pt x="360350" y="219143"/>
                  </a:lnTo>
                  <a:lnTo>
                    <a:pt x="368195" y="219143"/>
                  </a:lnTo>
                  <a:lnTo>
                    <a:pt x="372093" y="216133"/>
                  </a:lnTo>
                  <a:lnTo>
                    <a:pt x="379938" y="219143"/>
                  </a:lnTo>
                  <a:lnTo>
                    <a:pt x="387783" y="223732"/>
                  </a:lnTo>
                  <a:lnTo>
                    <a:pt x="381911" y="226791"/>
                  </a:lnTo>
                  <a:lnTo>
                    <a:pt x="377964" y="229850"/>
                  </a:lnTo>
                  <a:lnTo>
                    <a:pt x="383885" y="235919"/>
                  </a:lnTo>
                  <a:lnTo>
                    <a:pt x="391730" y="237448"/>
                  </a:lnTo>
                  <a:lnTo>
                    <a:pt x="395628" y="235919"/>
                  </a:lnTo>
                  <a:lnTo>
                    <a:pt x="399526" y="238928"/>
                  </a:lnTo>
                  <a:lnTo>
                    <a:pt x="409394" y="238928"/>
                  </a:lnTo>
                  <a:lnTo>
                    <a:pt x="425035" y="243517"/>
                  </a:lnTo>
                  <a:lnTo>
                    <a:pt x="430955" y="241987"/>
                  </a:lnTo>
                  <a:lnTo>
                    <a:pt x="434853" y="235919"/>
                  </a:lnTo>
                  <a:lnTo>
                    <a:pt x="434853" y="231330"/>
                  </a:lnTo>
                  <a:lnTo>
                    <a:pt x="438800" y="228320"/>
                  </a:lnTo>
                  <a:lnTo>
                    <a:pt x="450543" y="234389"/>
                  </a:lnTo>
                  <a:lnTo>
                    <a:pt x="460411" y="234389"/>
                  </a:lnTo>
                  <a:lnTo>
                    <a:pt x="472154" y="231330"/>
                  </a:lnTo>
                  <a:lnTo>
                    <a:pt x="476102" y="226791"/>
                  </a:lnTo>
                  <a:lnTo>
                    <a:pt x="474128" y="202417"/>
                  </a:lnTo>
                  <a:lnTo>
                    <a:pt x="470231" y="199357"/>
                  </a:lnTo>
                  <a:lnTo>
                    <a:pt x="460363" y="199357"/>
                  </a:lnTo>
                  <a:lnTo>
                    <a:pt x="452517" y="193289"/>
                  </a:lnTo>
                  <a:lnTo>
                    <a:pt x="450593" y="190229"/>
                  </a:lnTo>
                  <a:lnTo>
                    <a:pt x="444672" y="188700"/>
                  </a:lnTo>
                  <a:lnTo>
                    <a:pt x="438850" y="185690"/>
                  </a:lnTo>
                  <a:lnTo>
                    <a:pt x="431005" y="185690"/>
                  </a:lnTo>
                  <a:lnTo>
                    <a:pt x="431005" y="181151"/>
                  </a:lnTo>
                  <a:lnTo>
                    <a:pt x="429031" y="178092"/>
                  </a:lnTo>
                  <a:lnTo>
                    <a:pt x="429031" y="175033"/>
                  </a:lnTo>
                  <a:lnTo>
                    <a:pt x="434903" y="173503"/>
                  </a:lnTo>
                  <a:lnTo>
                    <a:pt x="436877" y="165905"/>
                  </a:lnTo>
                  <a:lnTo>
                    <a:pt x="442748" y="161316"/>
                  </a:lnTo>
                  <a:lnTo>
                    <a:pt x="440774" y="155247"/>
                  </a:lnTo>
                  <a:lnTo>
                    <a:pt x="434903" y="153718"/>
                  </a:lnTo>
                  <a:lnTo>
                    <a:pt x="434903" y="147599"/>
                  </a:lnTo>
                  <a:lnTo>
                    <a:pt x="442748" y="136991"/>
                  </a:lnTo>
                  <a:lnTo>
                    <a:pt x="450593" y="130922"/>
                  </a:lnTo>
                  <a:lnTo>
                    <a:pt x="466283" y="129343"/>
                  </a:lnTo>
                  <a:lnTo>
                    <a:pt x="472105" y="130922"/>
                  </a:lnTo>
                  <a:lnTo>
                    <a:pt x="476053" y="129343"/>
                  </a:lnTo>
                  <a:lnTo>
                    <a:pt x="476053" y="123275"/>
                  </a:lnTo>
                  <a:lnTo>
                    <a:pt x="470181" y="121745"/>
                  </a:lnTo>
                  <a:lnTo>
                    <a:pt x="464260" y="117206"/>
                  </a:lnTo>
                  <a:lnTo>
                    <a:pt x="458438" y="117206"/>
                  </a:lnTo>
                  <a:lnTo>
                    <a:pt x="452517" y="120216"/>
                  </a:lnTo>
                  <a:lnTo>
                    <a:pt x="444672" y="117206"/>
                  </a:lnTo>
                  <a:lnTo>
                    <a:pt x="436877" y="117206"/>
                  </a:lnTo>
                  <a:lnTo>
                    <a:pt x="436877" y="111088"/>
                  </a:lnTo>
                  <a:lnTo>
                    <a:pt x="438850" y="109607"/>
                  </a:lnTo>
                  <a:lnTo>
                    <a:pt x="448718" y="109607"/>
                  </a:lnTo>
                  <a:lnTo>
                    <a:pt x="444771" y="101960"/>
                  </a:lnTo>
                  <a:lnTo>
                    <a:pt x="436975" y="103489"/>
                  </a:lnTo>
                  <a:lnTo>
                    <a:pt x="431104" y="101960"/>
                  </a:lnTo>
                  <a:lnTo>
                    <a:pt x="435002" y="98900"/>
                  </a:lnTo>
                  <a:lnTo>
                    <a:pt x="431104" y="92832"/>
                  </a:lnTo>
                  <a:lnTo>
                    <a:pt x="433028" y="88292"/>
                  </a:lnTo>
                  <a:lnTo>
                    <a:pt x="440873" y="88292"/>
                  </a:lnTo>
                  <a:lnTo>
                    <a:pt x="442847" y="85233"/>
                  </a:lnTo>
                  <a:lnTo>
                    <a:pt x="448718" y="85233"/>
                  </a:lnTo>
                  <a:lnTo>
                    <a:pt x="450692" y="88292"/>
                  </a:lnTo>
                  <a:lnTo>
                    <a:pt x="460560" y="86763"/>
                  </a:lnTo>
                  <a:lnTo>
                    <a:pt x="466481" y="92832"/>
                  </a:lnTo>
                  <a:lnTo>
                    <a:pt x="470378" y="88292"/>
                  </a:lnTo>
                  <a:lnTo>
                    <a:pt x="470378" y="85233"/>
                  </a:lnTo>
                  <a:lnTo>
                    <a:pt x="476250" y="82174"/>
                  </a:lnTo>
                  <a:lnTo>
                    <a:pt x="482121" y="82174"/>
                  </a:lnTo>
                  <a:lnTo>
                    <a:pt x="486069" y="86763"/>
                  </a:lnTo>
                  <a:lnTo>
                    <a:pt x="487993" y="83704"/>
                  </a:lnTo>
                  <a:lnTo>
                    <a:pt x="491891" y="79115"/>
                  </a:lnTo>
                  <a:lnTo>
                    <a:pt x="503683" y="76056"/>
                  </a:lnTo>
                  <a:lnTo>
                    <a:pt x="511479" y="74576"/>
                  </a:lnTo>
                  <a:lnTo>
                    <a:pt x="519324" y="71517"/>
                  </a:lnTo>
                  <a:lnTo>
                    <a:pt x="531117" y="71517"/>
                  </a:lnTo>
                  <a:lnTo>
                    <a:pt x="533090" y="68458"/>
                  </a:lnTo>
                  <a:lnTo>
                    <a:pt x="540886" y="62389"/>
                  </a:lnTo>
                  <a:lnTo>
                    <a:pt x="548879" y="62389"/>
                  </a:lnTo>
                  <a:lnTo>
                    <a:pt x="554750" y="59379"/>
                  </a:lnTo>
                  <a:lnTo>
                    <a:pt x="562645" y="57849"/>
                  </a:lnTo>
                  <a:lnTo>
                    <a:pt x="566543" y="59379"/>
                  </a:lnTo>
                  <a:lnTo>
                    <a:pt x="568467" y="57849"/>
                  </a:lnTo>
                  <a:lnTo>
                    <a:pt x="568467" y="51731"/>
                  </a:lnTo>
                  <a:lnTo>
                    <a:pt x="572414" y="48672"/>
                  </a:lnTo>
                  <a:lnTo>
                    <a:pt x="580259" y="48672"/>
                  </a:lnTo>
                  <a:lnTo>
                    <a:pt x="580259" y="45662"/>
                  </a:lnTo>
                  <a:lnTo>
                    <a:pt x="586131" y="42603"/>
                  </a:lnTo>
                  <a:lnTo>
                    <a:pt x="590078" y="45662"/>
                  </a:lnTo>
                  <a:lnTo>
                    <a:pt x="595900" y="45662"/>
                  </a:lnTo>
                  <a:lnTo>
                    <a:pt x="601821" y="42603"/>
                  </a:lnTo>
                  <a:lnTo>
                    <a:pt x="609666" y="41074"/>
                  </a:lnTo>
                  <a:lnTo>
                    <a:pt x="627281" y="30416"/>
                  </a:lnTo>
                  <a:lnTo>
                    <a:pt x="629255" y="30416"/>
                  </a:lnTo>
                  <a:lnTo>
                    <a:pt x="633152" y="28887"/>
                  </a:lnTo>
                  <a:lnTo>
                    <a:pt x="640998" y="27357"/>
                  </a:lnTo>
                  <a:lnTo>
                    <a:pt x="644895" y="22818"/>
                  </a:lnTo>
                  <a:lnTo>
                    <a:pt x="650767" y="22818"/>
                  </a:lnTo>
                  <a:lnTo>
                    <a:pt x="658612" y="21288"/>
                  </a:lnTo>
                  <a:lnTo>
                    <a:pt x="658612" y="16749"/>
                  </a:lnTo>
                  <a:lnTo>
                    <a:pt x="654714" y="12160"/>
                  </a:lnTo>
                  <a:lnTo>
                    <a:pt x="658612" y="9101"/>
                  </a:lnTo>
                  <a:lnTo>
                    <a:pt x="670355" y="9101"/>
                  </a:lnTo>
                  <a:lnTo>
                    <a:pt x="672329" y="3032"/>
                  </a:lnTo>
                  <a:lnTo>
                    <a:pt x="678200" y="-27"/>
                  </a:lnTo>
                  <a:lnTo>
                    <a:pt x="682147" y="1503"/>
                  </a:lnTo>
                  <a:lnTo>
                    <a:pt x="688018" y="-27"/>
                  </a:lnTo>
                  <a:lnTo>
                    <a:pt x="697887" y="3032"/>
                  </a:lnTo>
                  <a:lnTo>
                    <a:pt x="707755" y="1503"/>
                  </a:lnTo>
                  <a:lnTo>
                    <a:pt x="715600" y="6042"/>
                  </a:lnTo>
                  <a:lnTo>
                    <a:pt x="723445" y="6042"/>
                  </a:lnTo>
                  <a:lnTo>
                    <a:pt x="733313" y="4512"/>
                  </a:lnTo>
                  <a:lnTo>
                    <a:pt x="739184" y="4512"/>
                  </a:lnTo>
                  <a:lnTo>
                    <a:pt x="743132" y="13690"/>
                  </a:lnTo>
                  <a:lnTo>
                    <a:pt x="745056" y="15219"/>
                  </a:lnTo>
                  <a:lnTo>
                    <a:pt x="747030" y="21288"/>
                  </a:lnTo>
                  <a:lnTo>
                    <a:pt x="752901" y="25827"/>
                  </a:lnTo>
                  <a:lnTo>
                    <a:pt x="756799" y="27357"/>
                  </a:lnTo>
                  <a:lnTo>
                    <a:pt x="758822" y="31946"/>
                  </a:lnTo>
                  <a:lnTo>
                    <a:pt x="756799" y="38064"/>
                  </a:lnTo>
                  <a:lnTo>
                    <a:pt x="756799" y="45662"/>
                  </a:lnTo>
                  <a:lnTo>
                    <a:pt x="750977" y="47142"/>
                  </a:lnTo>
                  <a:lnTo>
                    <a:pt x="754875" y="51731"/>
                  </a:lnTo>
                  <a:lnTo>
                    <a:pt x="758822" y="54790"/>
                  </a:lnTo>
                  <a:lnTo>
                    <a:pt x="768690" y="50202"/>
                  </a:lnTo>
                  <a:lnTo>
                    <a:pt x="774562" y="54790"/>
                  </a:lnTo>
                  <a:lnTo>
                    <a:pt x="778509" y="53261"/>
                  </a:lnTo>
                  <a:lnTo>
                    <a:pt x="778509" y="47142"/>
                  </a:lnTo>
                  <a:lnTo>
                    <a:pt x="782407" y="45662"/>
                  </a:lnTo>
                  <a:lnTo>
                    <a:pt x="784331" y="51731"/>
                  </a:lnTo>
                  <a:lnTo>
                    <a:pt x="790252" y="51731"/>
                  </a:lnTo>
                  <a:lnTo>
                    <a:pt x="790252" y="47142"/>
                  </a:lnTo>
                  <a:lnTo>
                    <a:pt x="788278" y="41074"/>
                  </a:lnTo>
                  <a:lnTo>
                    <a:pt x="790252" y="41074"/>
                  </a:lnTo>
                  <a:lnTo>
                    <a:pt x="803968" y="47142"/>
                  </a:lnTo>
                  <a:lnTo>
                    <a:pt x="803968" y="57849"/>
                  </a:lnTo>
                  <a:lnTo>
                    <a:pt x="809840" y="65448"/>
                  </a:lnTo>
                  <a:lnTo>
                    <a:pt x="813738" y="65448"/>
                  </a:lnTo>
                  <a:lnTo>
                    <a:pt x="817685" y="59379"/>
                  </a:lnTo>
                  <a:lnTo>
                    <a:pt x="813738" y="57849"/>
                  </a:lnTo>
                  <a:lnTo>
                    <a:pt x="811764" y="54790"/>
                  </a:lnTo>
                  <a:lnTo>
                    <a:pt x="819609" y="53261"/>
                  </a:lnTo>
                  <a:lnTo>
                    <a:pt x="835349" y="59379"/>
                  </a:lnTo>
                  <a:lnTo>
                    <a:pt x="839247" y="59379"/>
                  </a:lnTo>
                  <a:lnTo>
                    <a:pt x="845119" y="54790"/>
                  </a:lnTo>
                  <a:lnTo>
                    <a:pt x="847092" y="56320"/>
                  </a:lnTo>
                  <a:lnTo>
                    <a:pt x="845119" y="62389"/>
                  </a:lnTo>
                  <a:lnTo>
                    <a:pt x="841171" y="66977"/>
                  </a:lnTo>
                  <a:lnTo>
                    <a:pt x="841171" y="74921"/>
                  </a:lnTo>
                  <a:lnTo>
                    <a:pt x="845119" y="80990"/>
                  </a:lnTo>
                  <a:lnTo>
                    <a:pt x="850990" y="79460"/>
                  </a:lnTo>
                  <a:lnTo>
                    <a:pt x="854937" y="76401"/>
                  </a:lnTo>
                  <a:lnTo>
                    <a:pt x="862782" y="74921"/>
                  </a:lnTo>
                  <a:lnTo>
                    <a:pt x="876450" y="76401"/>
                  </a:lnTo>
                  <a:lnTo>
                    <a:pt x="880396" y="79460"/>
                  </a:lnTo>
                  <a:lnTo>
                    <a:pt x="884295" y="76401"/>
                  </a:lnTo>
                  <a:lnTo>
                    <a:pt x="884295" y="69987"/>
                  </a:lnTo>
                  <a:lnTo>
                    <a:pt x="890166" y="66977"/>
                  </a:lnTo>
                  <a:lnTo>
                    <a:pt x="901959" y="66977"/>
                  </a:lnTo>
                  <a:lnTo>
                    <a:pt x="907781" y="60859"/>
                  </a:lnTo>
                  <a:lnTo>
                    <a:pt x="911728" y="56320"/>
                  </a:lnTo>
                  <a:lnTo>
                    <a:pt x="915626" y="51731"/>
                  </a:lnTo>
                  <a:lnTo>
                    <a:pt x="917599" y="48672"/>
                  </a:lnTo>
                  <a:lnTo>
                    <a:pt x="923471" y="41074"/>
                  </a:lnTo>
                  <a:lnTo>
                    <a:pt x="929392" y="39544"/>
                  </a:lnTo>
                  <a:lnTo>
                    <a:pt x="937237" y="33475"/>
                  </a:lnTo>
                  <a:lnTo>
                    <a:pt x="945033" y="31946"/>
                  </a:lnTo>
                  <a:lnTo>
                    <a:pt x="952878" y="30416"/>
                  </a:lnTo>
                  <a:lnTo>
                    <a:pt x="956825" y="31946"/>
                  </a:lnTo>
                  <a:lnTo>
                    <a:pt x="956825" y="38064"/>
                  </a:lnTo>
                  <a:lnTo>
                    <a:pt x="950904" y="44133"/>
                  </a:lnTo>
                  <a:lnTo>
                    <a:pt x="945033" y="45662"/>
                  </a:lnTo>
                  <a:lnTo>
                    <a:pt x="948980" y="50202"/>
                  </a:lnTo>
                  <a:lnTo>
                    <a:pt x="1013615" y="91302"/>
                  </a:lnTo>
                  <a:lnTo>
                    <a:pt x="1099813" y="185690"/>
                  </a:lnTo>
                  <a:lnTo>
                    <a:pt x="1109682" y="185690"/>
                  </a:lnTo>
                  <a:lnTo>
                    <a:pt x="1115553" y="182631"/>
                  </a:lnTo>
                  <a:lnTo>
                    <a:pt x="1117526" y="178092"/>
                  </a:lnTo>
                  <a:lnTo>
                    <a:pt x="1115553" y="176562"/>
                  </a:lnTo>
                  <a:lnTo>
                    <a:pt x="1115553" y="170641"/>
                  </a:lnTo>
                  <a:lnTo>
                    <a:pt x="1121425" y="167582"/>
                  </a:lnTo>
                  <a:lnTo>
                    <a:pt x="1131293" y="172171"/>
                  </a:lnTo>
                  <a:lnTo>
                    <a:pt x="1129319" y="176760"/>
                  </a:lnTo>
                  <a:lnTo>
                    <a:pt x="1129319" y="181348"/>
                  </a:lnTo>
                  <a:lnTo>
                    <a:pt x="1137164" y="182828"/>
                  </a:lnTo>
                  <a:lnTo>
                    <a:pt x="1145009" y="187417"/>
                  </a:lnTo>
                  <a:lnTo>
                    <a:pt x="1150881" y="187417"/>
                  </a:lnTo>
                  <a:lnTo>
                    <a:pt x="1154828" y="184358"/>
                  </a:lnTo>
                  <a:lnTo>
                    <a:pt x="1160650" y="182828"/>
                  </a:lnTo>
                  <a:lnTo>
                    <a:pt x="1170518" y="187417"/>
                  </a:lnTo>
                  <a:lnTo>
                    <a:pt x="1178363" y="184358"/>
                  </a:lnTo>
                  <a:lnTo>
                    <a:pt x="1184235" y="185887"/>
                  </a:lnTo>
                  <a:lnTo>
                    <a:pt x="1192080" y="184358"/>
                  </a:lnTo>
                  <a:lnTo>
                    <a:pt x="1194053" y="181348"/>
                  </a:lnTo>
                  <a:lnTo>
                    <a:pt x="1190106" y="178289"/>
                  </a:lnTo>
                  <a:lnTo>
                    <a:pt x="1192080" y="175230"/>
                  </a:lnTo>
                  <a:lnTo>
                    <a:pt x="1203823" y="173700"/>
                  </a:lnTo>
                  <a:lnTo>
                    <a:pt x="1217539" y="173700"/>
                  </a:lnTo>
                  <a:lnTo>
                    <a:pt x="1227408" y="175230"/>
                  </a:lnTo>
                  <a:lnTo>
                    <a:pt x="1237276" y="182828"/>
                  </a:lnTo>
                  <a:lnTo>
                    <a:pt x="1245121" y="190427"/>
                  </a:lnTo>
                  <a:lnTo>
                    <a:pt x="1249068" y="199555"/>
                  </a:lnTo>
                  <a:lnTo>
                    <a:pt x="1252965" y="199555"/>
                  </a:lnTo>
                  <a:lnTo>
                    <a:pt x="1258837" y="201084"/>
                  </a:lnTo>
                  <a:lnTo>
                    <a:pt x="1266682" y="205673"/>
                  </a:lnTo>
                  <a:lnTo>
                    <a:pt x="1270580" y="205673"/>
                  </a:lnTo>
                  <a:lnTo>
                    <a:pt x="1274527" y="207203"/>
                  </a:lnTo>
                  <a:lnTo>
                    <a:pt x="1274527" y="218008"/>
                  </a:lnTo>
                  <a:lnTo>
                    <a:pt x="1278425" y="224126"/>
                  </a:lnTo>
                  <a:lnTo>
                    <a:pt x="1280399" y="225656"/>
                  </a:lnTo>
                  <a:lnTo>
                    <a:pt x="1282323" y="227185"/>
                  </a:lnTo>
                  <a:lnTo>
                    <a:pt x="1286270" y="227185"/>
                  </a:lnTo>
                  <a:lnTo>
                    <a:pt x="1292142" y="230245"/>
                  </a:lnTo>
                  <a:lnTo>
                    <a:pt x="1298013" y="231725"/>
                  </a:lnTo>
                  <a:lnTo>
                    <a:pt x="1299987" y="230245"/>
                  </a:lnTo>
                  <a:lnTo>
                    <a:pt x="1303934" y="227185"/>
                  </a:lnTo>
                  <a:lnTo>
                    <a:pt x="1323671" y="225656"/>
                  </a:lnTo>
                  <a:lnTo>
                    <a:pt x="1329492" y="224126"/>
                  </a:lnTo>
                  <a:lnTo>
                    <a:pt x="1333440" y="218008"/>
                  </a:lnTo>
                  <a:lnTo>
                    <a:pt x="1341285" y="214998"/>
                  </a:lnTo>
                  <a:lnTo>
                    <a:pt x="1343259" y="216528"/>
                  </a:lnTo>
                  <a:lnTo>
                    <a:pt x="1341285" y="224126"/>
                  </a:lnTo>
                  <a:lnTo>
                    <a:pt x="1343259" y="230245"/>
                  </a:lnTo>
                  <a:lnTo>
                    <a:pt x="1348193" y="230245"/>
                  </a:lnTo>
                  <a:lnTo>
                    <a:pt x="1356038" y="236313"/>
                  </a:lnTo>
                  <a:lnTo>
                    <a:pt x="1365906" y="239323"/>
                  </a:lnTo>
                  <a:lnTo>
                    <a:pt x="1369853" y="242382"/>
                  </a:lnTo>
                  <a:lnTo>
                    <a:pt x="1362008" y="246921"/>
                  </a:lnTo>
                  <a:lnTo>
                    <a:pt x="1358061" y="251559"/>
                  </a:lnTo>
                  <a:lnTo>
                    <a:pt x="1348193" y="259158"/>
                  </a:lnTo>
                  <a:lnTo>
                    <a:pt x="1348193" y="263697"/>
                  </a:lnTo>
                  <a:lnTo>
                    <a:pt x="1350216" y="266756"/>
                  </a:lnTo>
                  <a:lnTo>
                    <a:pt x="1346268" y="275884"/>
                  </a:lnTo>
                  <a:lnTo>
                    <a:pt x="1334525" y="278943"/>
                  </a:lnTo>
                  <a:lnTo>
                    <a:pt x="1328605" y="281953"/>
                  </a:lnTo>
                  <a:lnTo>
                    <a:pt x="1326680" y="289552"/>
                  </a:lnTo>
                  <a:lnTo>
                    <a:pt x="1326680" y="303268"/>
                  </a:lnTo>
                  <a:lnTo>
                    <a:pt x="1334525" y="313926"/>
                  </a:lnTo>
                  <a:lnTo>
                    <a:pt x="1340397" y="321524"/>
                  </a:lnTo>
                  <a:lnTo>
                    <a:pt x="1338423" y="326113"/>
                  </a:lnTo>
                  <a:lnTo>
                    <a:pt x="1330578" y="335241"/>
                  </a:lnTo>
                  <a:lnTo>
                    <a:pt x="1322782" y="338300"/>
                  </a:lnTo>
                  <a:lnTo>
                    <a:pt x="1316862" y="344369"/>
                  </a:lnTo>
                  <a:lnTo>
                    <a:pt x="1306994" y="344369"/>
                  </a:lnTo>
                  <a:lnTo>
                    <a:pt x="1305020" y="341310"/>
                  </a:lnTo>
                  <a:lnTo>
                    <a:pt x="1299149" y="341310"/>
                  </a:lnTo>
                  <a:lnTo>
                    <a:pt x="1287406" y="342839"/>
                  </a:lnTo>
                  <a:lnTo>
                    <a:pt x="1277537" y="342839"/>
                  </a:lnTo>
                  <a:lnTo>
                    <a:pt x="1261847" y="338300"/>
                  </a:lnTo>
                  <a:lnTo>
                    <a:pt x="1250104" y="338300"/>
                  </a:lnTo>
                  <a:lnTo>
                    <a:pt x="1248180" y="352017"/>
                  </a:lnTo>
                  <a:lnTo>
                    <a:pt x="1244233" y="361095"/>
                  </a:lnTo>
                  <a:lnTo>
                    <a:pt x="1244233" y="367213"/>
                  </a:lnTo>
                  <a:lnTo>
                    <a:pt x="1238361" y="385469"/>
                  </a:lnTo>
                  <a:lnTo>
                    <a:pt x="1238361" y="399186"/>
                  </a:lnTo>
                  <a:lnTo>
                    <a:pt x="1236387" y="403725"/>
                  </a:lnTo>
                  <a:lnTo>
                    <a:pt x="1240335" y="408314"/>
                  </a:lnTo>
                  <a:lnTo>
                    <a:pt x="1250203" y="411324"/>
                  </a:lnTo>
                  <a:lnTo>
                    <a:pt x="1248278" y="415912"/>
                  </a:lnTo>
                  <a:lnTo>
                    <a:pt x="1246305" y="420501"/>
                  </a:lnTo>
                  <a:lnTo>
                    <a:pt x="1240433" y="420501"/>
                  </a:lnTo>
                  <a:lnTo>
                    <a:pt x="1236486" y="423560"/>
                  </a:lnTo>
                  <a:lnTo>
                    <a:pt x="1230615" y="423560"/>
                  </a:lnTo>
                  <a:lnTo>
                    <a:pt x="1226667" y="420501"/>
                  </a:lnTo>
                  <a:lnTo>
                    <a:pt x="1222769" y="422030"/>
                  </a:lnTo>
                  <a:lnTo>
                    <a:pt x="1214924" y="423560"/>
                  </a:lnTo>
                  <a:lnTo>
                    <a:pt x="1197310" y="426570"/>
                  </a:lnTo>
                  <a:lnTo>
                    <a:pt x="1187442" y="429629"/>
                  </a:lnTo>
                  <a:lnTo>
                    <a:pt x="1183544" y="429629"/>
                  </a:lnTo>
                  <a:lnTo>
                    <a:pt x="1179596" y="428099"/>
                  </a:lnTo>
                  <a:lnTo>
                    <a:pt x="1171801" y="429629"/>
                  </a:lnTo>
                  <a:lnTo>
                    <a:pt x="1165930" y="435698"/>
                  </a:lnTo>
                  <a:lnTo>
                    <a:pt x="1163956" y="440237"/>
                  </a:lnTo>
                  <a:lnTo>
                    <a:pt x="1169827" y="444875"/>
                  </a:lnTo>
                  <a:lnTo>
                    <a:pt x="1181620" y="443296"/>
                  </a:lnTo>
                  <a:lnTo>
                    <a:pt x="1189415" y="444875"/>
                  </a:lnTo>
                  <a:lnTo>
                    <a:pt x="1189415" y="447885"/>
                  </a:lnTo>
                  <a:lnTo>
                    <a:pt x="1185518" y="450944"/>
                  </a:lnTo>
                  <a:lnTo>
                    <a:pt x="1187442" y="461552"/>
                  </a:lnTo>
                  <a:lnTo>
                    <a:pt x="1189415" y="466141"/>
                  </a:lnTo>
                  <a:lnTo>
                    <a:pt x="1191389" y="469200"/>
                  </a:lnTo>
                  <a:lnTo>
                    <a:pt x="1193363" y="475269"/>
                  </a:lnTo>
                  <a:lnTo>
                    <a:pt x="1199234" y="484397"/>
                  </a:lnTo>
                  <a:lnTo>
                    <a:pt x="1201208" y="490515"/>
                  </a:lnTo>
                  <a:lnTo>
                    <a:pt x="1209004" y="495103"/>
                  </a:lnTo>
                  <a:lnTo>
                    <a:pt x="1212951" y="507241"/>
                  </a:lnTo>
                  <a:lnTo>
                    <a:pt x="1209004" y="510251"/>
                  </a:lnTo>
                  <a:lnTo>
                    <a:pt x="1205106" y="517899"/>
                  </a:lnTo>
                  <a:lnTo>
                    <a:pt x="1212951" y="523968"/>
                  </a:lnTo>
                  <a:lnTo>
                    <a:pt x="1209004" y="523968"/>
                  </a:lnTo>
                  <a:lnTo>
                    <a:pt x="1205106" y="528556"/>
                  </a:lnTo>
                  <a:lnTo>
                    <a:pt x="1199234" y="531566"/>
                  </a:lnTo>
                  <a:lnTo>
                    <a:pt x="1199234" y="540743"/>
                  </a:lnTo>
                  <a:lnTo>
                    <a:pt x="1193363" y="543803"/>
                  </a:lnTo>
                  <a:lnTo>
                    <a:pt x="1177672" y="540743"/>
                  </a:lnTo>
                  <a:lnTo>
                    <a:pt x="1161982" y="525497"/>
                  </a:lnTo>
                  <a:lnTo>
                    <a:pt x="1156110" y="525497"/>
                  </a:lnTo>
                  <a:lnTo>
                    <a:pt x="1142394" y="520958"/>
                  </a:lnTo>
                  <a:lnTo>
                    <a:pt x="1118908" y="520958"/>
                  </a:lnTo>
                  <a:lnTo>
                    <a:pt x="1109040" y="523968"/>
                  </a:lnTo>
                  <a:lnTo>
                    <a:pt x="1089304" y="519428"/>
                  </a:lnTo>
                  <a:lnTo>
                    <a:pt x="1073613" y="522488"/>
                  </a:lnTo>
                  <a:lnTo>
                    <a:pt x="1061870" y="523968"/>
                  </a:lnTo>
                  <a:lnTo>
                    <a:pt x="1054025" y="522488"/>
                  </a:lnTo>
                  <a:lnTo>
                    <a:pt x="1048154" y="527027"/>
                  </a:lnTo>
                  <a:lnTo>
                    <a:pt x="1042282" y="528556"/>
                  </a:lnTo>
                  <a:lnTo>
                    <a:pt x="1022546" y="527027"/>
                  </a:lnTo>
                  <a:lnTo>
                    <a:pt x="1008780" y="523968"/>
                  </a:lnTo>
                  <a:lnTo>
                    <a:pt x="998912" y="519428"/>
                  </a:lnTo>
                  <a:lnTo>
                    <a:pt x="989044" y="519428"/>
                  </a:lnTo>
                  <a:lnTo>
                    <a:pt x="985147" y="520958"/>
                  </a:lnTo>
                  <a:lnTo>
                    <a:pt x="977301" y="520958"/>
                  </a:lnTo>
                  <a:lnTo>
                    <a:pt x="969456" y="519428"/>
                  </a:lnTo>
                  <a:lnTo>
                    <a:pt x="963585" y="522488"/>
                  </a:lnTo>
                  <a:lnTo>
                    <a:pt x="965558" y="528556"/>
                  </a:lnTo>
                  <a:lnTo>
                    <a:pt x="969456" y="534625"/>
                  </a:lnTo>
                  <a:lnTo>
                    <a:pt x="969456" y="543654"/>
                  </a:lnTo>
                  <a:lnTo>
                    <a:pt x="955789" y="545135"/>
                  </a:lnTo>
                  <a:lnTo>
                    <a:pt x="936053" y="545135"/>
                  </a:lnTo>
                  <a:lnTo>
                    <a:pt x="909063" y="543654"/>
                  </a:lnTo>
                  <a:lnTo>
                    <a:pt x="903143" y="540595"/>
                  </a:lnTo>
                  <a:lnTo>
                    <a:pt x="889426" y="537536"/>
                  </a:lnTo>
                  <a:lnTo>
                    <a:pt x="883554" y="545135"/>
                  </a:lnTo>
                  <a:lnTo>
                    <a:pt x="885528" y="548194"/>
                  </a:lnTo>
                  <a:lnTo>
                    <a:pt x="877683" y="552733"/>
                  </a:lnTo>
                  <a:lnTo>
                    <a:pt x="877683" y="555792"/>
                  </a:lnTo>
                  <a:lnTo>
                    <a:pt x="875709" y="555792"/>
                  </a:lnTo>
                  <a:lnTo>
                    <a:pt x="867864" y="563440"/>
                  </a:lnTo>
                  <a:lnTo>
                    <a:pt x="860019" y="566450"/>
                  </a:lnTo>
                  <a:lnTo>
                    <a:pt x="846352" y="580166"/>
                  </a:lnTo>
                  <a:lnTo>
                    <a:pt x="842405" y="587765"/>
                  </a:lnTo>
                  <a:lnTo>
                    <a:pt x="838507" y="593883"/>
                  </a:lnTo>
                  <a:lnTo>
                    <a:pt x="832635" y="604491"/>
                  </a:lnTo>
                  <a:lnTo>
                    <a:pt x="816945" y="615198"/>
                  </a:lnTo>
                  <a:lnTo>
                    <a:pt x="812998" y="613668"/>
                  </a:lnTo>
                  <a:lnTo>
                    <a:pt x="795383" y="607550"/>
                  </a:lnTo>
                  <a:lnTo>
                    <a:pt x="783591" y="606021"/>
                  </a:lnTo>
                  <a:lnTo>
                    <a:pt x="773723" y="607550"/>
                  </a:lnTo>
                  <a:lnTo>
                    <a:pt x="756059" y="613668"/>
                  </a:lnTo>
                  <a:lnTo>
                    <a:pt x="750237" y="613668"/>
                  </a:lnTo>
                  <a:lnTo>
                    <a:pt x="734547" y="578637"/>
                  </a:lnTo>
                  <a:lnTo>
                    <a:pt x="709038" y="575577"/>
                  </a:lnTo>
                  <a:lnTo>
                    <a:pt x="709038" y="531171"/>
                  </a:lnTo>
                  <a:lnTo>
                    <a:pt x="697294" y="534231"/>
                  </a:lnTo>
                  <a:lnTo>
                    <a:pt x="685551" y="517504"/>
                  </a:lnTo>
                  <a:lnTo>
                    <a:pt x="667937" y="503787"/>
                  </a:lnTo>
                  <a:lnTo>
                    <a:pt x="609173" y="503787"/>
                  </a:lnTo>
                  <a:lnTo>
                    <a:pt x="554257" y="508376"/>
                  </a:lnTo>
                  <a:lnTo>
                    <a:pt x="526824" y="494709"/>
                  </a:lnTo>
                  <a:lnTo>
                    <a:pt x="503338" y="487061"/>
                  </a:lnTo>
                  <a:lnTo>
                    <a:pt x="444524" y="452079"/>
                  </a:lnTo>
                  <a:lnTo>
                    <a:pt x="350482" y="467276"/>
                  </a:lnTo>
                  <a:lnTo>
                    <a:pt x="380086" y="614951"/>
                  </a:lnTo>
                  <a:lnTo>
                    <a:pt x="374214" y="614951"/>
                  </a:lnTo>
                  <a:lnTo>
                    <a:pt x="360497" y="619491"/>
                  </a:lnTo>
                  <a:lnTo>
                    <a:pt x="337012" y="595116"/>
                  </a:lnTo>
                  <a:lnTo>
                    <a:pt x="311503" y="581400"/>
                  </a:lnTo>
                  <a:lnTo>
                    <a:pt x="288017" y="578390"/>
                  </a:lnTo>
                  <a:lnTo>
                    <a:pt x="270353" y="584459"/>
                  </a:lnTo>
                  <a:lnTo>
                    <a:pt x="246817" y="601235"/>
                  </a:lnTo>
                  <a:lnTo>
                    <a:pt x="246817" y="593636"/>
                  </a:lnTo>
                  <a:lnTo>
                    <a:pt x="244893" y="585989"/>
                  </a:lnTo>
                  <a:lnTo>
                    <a:pt x="250764" y="578390"/>
                  </a:lnTo>
                  <a:lnTo>
                    <a:pt x="252738" y="569262"/>
                  </a:lnTo>
                  <a:lnTo>
                    <a:pt x="250764" y="566203"/>
                  </a:lnTo>
                  <a:lnTo>
                    <a:pt x="252738" y="563193"/>
                  </a:lnTo>
                  <a:lnTo>
                    <a:pt x="250764" y="561614"/>
                  </a:lnTo>
                  <a:lnTo>
                    <a:pt x="240896" y="561614"/>
                  </a:lnTo>
                  <a:lnTo>
                    <a:pt x="234976" y="560085"/>
                  </a:lnTo>
                  <a:lnTo>
                    <a:pt x="229104" y="558605"/>
                  </a:lnTo>
                  <a:lnTo>
                    <a:pt x="225206" y="560085"/>
                  </a:lnTo>
                  <a:lnTo>
                    <a:pt x="221259" y="560085"/>
                  </a:lnTo>
                  <a:lnTo>
                    <a:pt x="219285" y="555545"/>
                  </a:lnTo>
                  <a:lnTo>
                    <a:pt x="213463" y="552486"/>
                  </a:lnTo>
                  <a:lnTo>
                    <a:pt x="211490" y="547947"/>
                  </a:lnTo>
                  <a:lnTo>
                    <a:pt x="207542" y="546417"/>
                  </a:lnTo>
                  <a:lnTo>
                    <a:pt x="205618" y="547947"/>
                  </a:lnTo>
                  <a:lnTo>
                    <a:pt x="199697" y="549477"/>
                  </a:lnTo>
                  <a:lnTo>
                    <a:pt x="195799" y="547947"/>
                  </a:lnTo>
                  <a:lnTo>
                    <a:pt x="197773" y="541878"/>
                  </a:lnTo>
                  <a:lnTo>
                    <a:pt x="195799" y="534231"/>
                  </a:lnTo>
                  <a:lnTo>
                    <a:pt x="185931" y="525102"/>
                  </a:lnTo>
                  <a:lnTo>
                    <a:pt x="185931" y="520563"/>
                  </a:lnTo>
                  <a:lnTo>
                    <a:pt x="180010" y="520563"/>
                  </a:lnTo>
                  <a:lnTo>
                    <a:pt x="178086" y="514445"/>
                  </a:lnTo>
                  <a:lnTo>
                    <a:pt x="174139" y="509856"/>
                  </a:lnTo>
                  <a:lnTo>
                    <a:pt x="172165" y="505317"/>
                  </a:lnTo>
                  <a:lnTo>
                    <a:pt x="166343" y="503787"/>
                  </a:lnTo>
                  <a:lnTo>
                    <a:pt x="160422" y="503787"/>
                  </a:lnTo>
                  <a:lnTo>
                    <a:pt x="156524" y="499248"/>
                  </a:lnTo>
                  <a:lnTo>
                    <a:pt x="156524" y="496189"/>
                  </a:lnTo>
                  <a:lnTo>
                    <a:pt x="160422" y="493179"/>
                  </a:lnTo>
                  <a:lnTo>
                    <a:pt x="162396" y="494709"/>
                  </a:lnTo>
                  <a:lnTo>
                    <a:pt x="172264" y="494709"/>
                  </a:lnTo>
                  <a:lnTo>
                    <a:pt x="176211" y="496189"/>
                  </a:lnTo>
                  <a:lnTo>
                    <a:pt x="180109" y="494709"/>
                  </a:lnTo>
                  <a:lnTo>
                    <a:pt x="184057" y="496189"/>
                  </a:lnTo>
                  <a:lnTo>
                    <a:pt x="187954" y="494709"/>
                  </a:lnTo>
                  <a:lnTo>
                    <a:pt x="191852" y="493179"/>
                  </a:lnTo>
                  <a:lnTo>
                    <a:pt x="197773" y="494709"/>
                  </a:lnTo>
                  <a:lnTo>
                    <a:pt x="197773" y="490120"/>
                  </a:lnTo>
                  <a:lnTo>
                    <a:pt x="187905" y="490120"/>
                  </a:lnTo>
                  <a:lnTo>
                    <a:pt x="187905" y="484446"/>
                  </a:lnTo>
                  <a:lnTo>
                    <a:pt x="180060" y="478377"/>
                  </a:lnTo>
                  <a:lnTo>
                    <a:pt x="180060" y="475318"/>
                  </a:lnTo>
                  <a:lnTo>
                    <a:pt x="184007" y="472308"/>
                  </a:lnTo>
                  <a:lnTo>
                    <a:pt x="184007" y="466190"/>
                  </a:lnTo>
                  <a:lnTo>
                    <a:pt x="187905" y="461601"/>
                  </a:lnTo>
                  <a:lnTo>
                    <a:pt x="195750" y="458592"/>
                  </a:lnTo>
                  <a:lnTo>
                    <a:pt x="201622" y="457062"/>
                  </a:lnTo>
                  <a:lnTo>
                    <a:pt x="205569" y="458592"/>
                  </a:lnTo>
                  <a:lnTo>
                    <a:pt x="213414" y="457062"/>
                  </a:lnTo>
                  <a:lnTo>
                    <a:pt x="219236" y="457062"/>
                  </a:lnTo>
                  <a:lnTo>
                    <a:pt x="223183" y="458592"/>
                  </a:lnTo>
                  <a:lnTo>
                    <a:pt x="225157" y="457062"/>
                  </a:lnTo>
                  <a:lnTo>
                    <a:pt x="231028" y="457062"/>
                  </a:lnTo>
                  <a:lnTo>
                    <a:pt x="236900" y="464660"/>
                  </a:lnTo>
                  <a:lnTo>
                    <a:pt x="240847" y="464660"/>
                  </a:lnTo>
                  <a:lnTo>
                    <a:pt x="250715" y="461601"/>
                  </a:lnTo>
                  <a:lnTo>
                    <a:pt x="252689" y="457062"/>
                  </a:lnTo>
                  <a:lnTo>
                    <a:pt x="244844" y="455533"/>
                  </a:lnTo>
                  <a:lnTo>
                    <a:pt x="238923" y="454003"/>
                  </a:lnTo>
                  <a:lnTo>
                    <a:pt x="235025" y="446404"/>
                  </a:lnTo>
                  <a:lnTo>
                    <a:pt x="235025" y="440040"/>
                  </a:lnTo>
                  <a:lnTo>
                    <a:pt x="238923" y="438510"/>
                  </a:lnTo>
                  <a:lnTo>
                    <a:pt x="242870" y="435500"/>
                  </a:lnTo>
                  <a:lnTo>
                    <a:pt x="240946" y="432441"/>
                  </a:lnTo>
                  <a:lnTo>
                    <a:pt x="236999" y="429432"/>
                  </a:lnTo>
                  <a:lnTo>
                    <a:pt x="236999" y="426372"/>
                  </a:lnTo>
                  <a:lnTo>
                    <a:pt x="240946" y="420304"/>
                  </a:lnTo>
                  <a:lnTo>
                    <a:pt x="240946" y="415715"/>
                  </a:lnTo>
                  <a:lnTo>
                    <a:pt x="235025" y="411126"/>
                  </a:lnTo>
                  <a:lnTo>
                    <a:pt x="235025" y="408116"/>
                  </a:lnTo>
                  <a:lnTo>
                    <a:pt x="236999" y="403528"/>
                  </a:lnTo>
                  <a:lnTo>
                    <a:pt x="236999" y="402048"/>
                  </a:lnTo>
                  <a:lnTo>
                    <a:pt x="233101" y="400567"/>
                  </a:lnTo>
                  <a:lnTo>
                    <a:pt x="229153" y="397508"/>
                  </a:lnTo>
                  <a:lnTo>
                    <a:pt x="229153" y="394449"/>
                  </a:lnTo>
                  <a:lnTo>
                    <a:pt x="217410" y="394449"/>
                  </a:lnTo>
                  <a:lnTo>
                    <a:pt x="211539" y="392920"/>
                  </a:lnTo>
                  <a:lnTo>
                    <a:pt x="205667" y="394449"/>
                  </a:lnTo>
                  <a:lnTo>
                    <a:pt x="205667" y="395979"/>
                  </a:lnTo>
                  <a:lnTo>
                    <a:pt x="201720" y="397508"/>
                  </a:lnTo>
                  <a:lnTo>
                    <a:pt x="201720" y="400567"/>
                  </a:lnTo>
                  <a:lnTo>
                    <a:pt x="197822" y="402097"/>
                  </a:lnTo>
                  <a:lnTo>
                    <a:pt x="193925" y="400567"/>
                  </a:lnTo>
                  <a:lnTo>
                    <a:pt x="193925" y="397508"/>
                  </a:lnTo>
                  <a:lnTo>
                    <a:pt x="189977" y="399038"/>
                  </a:lnTo>
                  <a:lnTo>
                    <a:pt x="186079" y="400567"/>
                  </a:lnTo>
                  <a:lnTo>
                    <a:pt x="184105" y="397508"/>
                  </a:lnTo>
                  <a:lnTo>
                    <a:pt x="184105" y="392920"/>
                  </a:lnTo>
                  <a:lnTo>
                    <a:pt x="180159" y="391390"/>
                  </a:lnTo>
                  <a:lnTo>
                    <a:pt x="178234" y="392920"/>
                  </a:lnTo>
                  <a:lnTo>
                    <a:pt x="174287" y="392920"/>
                  </a:lnTo>
                  <a:lnTo>
                    <a:pt x="170389" y="391390"/>
                  </a:lnTo>
                  <a:lnTo>
                    <a:pt x="162544" y="391390"/>
                  </a:lnTo>
                  <a:lnTo>
                    <a:pt x="156673" y="395979"/>
                  </a:lnTo>
                  <a:lnTo>
                    <a:pt x="154699" y="399038"/>
                  </a:lnTo>
                  <a:lnTo>
                    <a:pt x="152725" y="400567"/>
                  </a:lnTo>
                  <a:lnTo>
                    <a:pt x="150801" y="399038"/>
                  </a:lnTo>
                  <a:lnTo>
                    <a:pt x="148828" y="399038"/>
                  </a:lnTo>
                  <a:lnTo>
                    <a:pt x="142956" y="403577"/>
                  </a:lnTo>
                  <a:lnTo>
                    <a:pt x="139354" y="403577"/>
                  </a:lnTo>
                  <a:lnTo>
                    <a:pt x="135407" y="408166"/>
                  </a:lnTo>
                  <a:lnTo>
                    <a:pt x="129535" y="412705"/>
                  </a:lnTo>
                  <a:lnTo>
                    <a:pt x="127562" y="411176"/>
                  </a:lnTo>
                  <a:lnTo>
                    <a:pt x="125588" y="415764"/>
                  </a:lnTo>
                  <a:lnTo>
                    <a:pt x="123664" y="417294"/>
                  </a:lnTo>
                  <a:lnTo>
                    <a:pt x="121690" y="415764"/>
                  </a:lnTo>
                  <a:lnTo>
                    <a:pt x="117792" y="414235"/>
                  </a:lnTo>
                  <a:lnTo>
                    <a:pt x="115819" y="417294"/>
                  </a:lnTo>
                  <a:lnTo>
                    <a:pt x="109750" y="417294"/>
                  </a:lnTo>
                  <a:lnTo>
                    <a:pt x="107776" y="41423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Graphic 2">
              <a:extLst>
                <a:ext uri="{FF2B5EF4-FFF2-40B4-BE49-F238E27FC236}">
                  <a16:creationId xmlns:a16="http://schemas.microsoft.com/office/drawing/2014/main" id="{6AF91727-B7DE-4B90-A269-F8176DF118D0}"/>
                </a:ext>
              </a:extLst>
            </p:cNvPr>
            <p:cNvSpPr/>
            <p:nvPr/>
          </p:nvSpPr>
          <p:spPr>
            <a:xfrm>
              <a:off x="7126317" y="3231074"/>
              <a:ext cx="529353" cy="281409"/>
            </a:xfrm>
            <a:custGeom>
              <a:avLst/>
              <a:gdLst>
                <a:gd name="connsiteX0" fmla="*/ 460609 w 582660"/>
                <a:gd name="connsiteY0" fmla="*/ 309732 h 309758"/>
                <a:gd name="connsiteX1" fmla="*/ 464556 w 582660"/>
                <a:gd name="connsiteY1" fmla="*/ 289996 h 309758"/>
                <a:gd name="connsiteX2" fmla="*/ 470477 w 582660"/>
                <a:gd name="connsiteY2" fmla="*/ 274799 h 309758"/>
                <a:gd name="connsiteX3" fmla="*/ 474375 w 582660"/>
                <a:gd name="connsiteY3" fmla="*/ 270260 h 309758"/>
                <a:gd name="connsiteX4" fmla="*/ 472451 w 582660"/>
                <a:gd name="connsiteY4" fmla="*/ 262661 h 309758"/>
                <a:gd name="connsiteX5" fmla="*/ 466579 w 582660"/>
                <a:gd name="connsiteY5" fmla="*/ 259602 h 309758"/>
                <a:gd name="connsiteX6" fmla="*/ 462583 w 582660"/>
                <a:gd name="connsiteY6" fmla="*/ 252053 h 309758"/>
                <a:gd name="connsiteX7" fmla="*/ 466579 w 582660"/>
                <a:gd name="connsiteY7" fmla="*/ 245935 h 309758"/>
                <a:gd name="connsiteX8" fmla="*/ 464556 w 582660"/>
                <a:gd name="connsiteY8" fmla="*/ 238386 h 309758"/>
                <a:gd name="connsiteX9" fmla="*/ 454688 w 582660"/>
                <a:gd name="connsiteY9" fmla="*/ 238386 h 309758"/>
                <a:gd name="connsiteX10" fmla="*/ 446843 w 582660"/>
                <a:gd name="connsiteY10" fmla="*/ 239866 h 309758"/>
                <a:gd name="connsiteX11" fmla="*/ 436975 w 582660"/>
                <a:gd name="connsiteY11" fmla="*/ 229258 h 309758"/>
                <a:gd name="connsiteX12" fmla="*/ 436975 w 582660"/>
                <a:gd name="connsiteY12" fmla="*/ 220179 h 309758"/>
                <a:gd name="connsiteX13" fmla="*/ 444869 w 582660"/>
                <a:gd name="connsiteY13" fmla="*/ 214061 h 309758"/>
                <a:gd name="connsiteX14" fmla="*/ 462533 w 582660"/>
                <a:gd name="connsiteY14" fmla="*/ 217120 h 309758"/>
                <a:gd name="connsiteX15" fmla="*/ 468454 w 582660"/>
                <a:gd name="connsiteY15" fmla="*/ 215590 h 309758"/>
                <a:gd name="connsiteX16" fmla="*/ 468454 w 582660"/>
                <a:gd name="connsiteY16" fmla="*/ 207992 h 309758"/>
                <a:gd name="connsiteX17" fmla="*/ 484194 w 582660"/>
                <a:gd name="connsiteY17" fmla="*/ 204982 h 309758"/>
                <a:gd name="connsiteX18" fmla="*/ 480246 w 582660"/>
                <a:gd name="connsiteY18" fmla="*/ 200443 h 309758"/>
                <a:gd name="connsiteX19" fmla="*/ 476348 w 582660"/>
                <a:gd name="connsiteY19" fmla="*/ 197384 h 309758"/>
                <a:gd name="connsiteX20" fmla="*/ 494012 w 582660"/>
                <a:gd name="connsiteY20" fmla="*/ 194325 h 309758"/>
                <a:gd name="connsiteX21" fmla="*/ 505854 w 582660"/>
                <a:gd name="connsiteY21" fmla="*/ 188256 h 309758"/>
                <a:gd name="connsiteX22" fmla="*/ 505854 w 582660"/>
                <a:gd name="connsiteY22" fmla="*/ 182187 h 309758"/>
                <a:gd name="connsiteX23" fmla="*/ 494012 w 582660"/>
                <a:gd name="connsiteY23" fmla="*/ 179177 h 309758"/>
                <a:gd name="connsiteX24" fmla="*/ 495986 w 582660"/>
                <a:gd name="connsiteY24" fmla="*/ 171579 h 309758"/>
                <a:gd name="connsiteX25" fmla="*/ 503881 w 582660"/>
                <a:gd name="connsiteY25" fmla="*/ 168520 h 309758"/>
                <a:gd name="connsiteX26" fmla="*/ 513749 w 582660"/>
                <a:gd name="connsiteY26" fmla="*/ 160921 h 309758"/>
                <a:gd name="connsiteX27" fmla="*/ 521594 w 582660"/>
                <a:gd name="connsiteY27" fmla="*/ 162451 h 309758"/>
                <a:gd name="connsiteX28" fmla="*/ 533386 w 582660"/>
                <a:gd name="connsiteY28" fmla="*/ 153323 h 309758"/>
                <a:gd name="connsiteX29" fmla="*/ 539356 w 582660"/>
                <a:gd name="connsiteY29" fmla="*/ 159392 h 309758"/>
                <a:gd name="connsiteX30" fmla="*/ 543254 w 582660"/>
                <a:gd name="connsiteY30" fmla="*/ 163980 h 309758"/>
                <a:gd name="connsiteX31" fmla="*/ 560918 w 582660"/>
                <a:gd name="connsiteY31" fmla="*/ 160921 h 309758"/>
                <a:gd name="connsiteX32" fmla="*/ 572710 w 582660"/>
                <a:gd name="connsiteY32" fmla="*/ 160921 h 309758"/>
                <a:gd name="connsiteX33" fmla="*/ 582578 w 582660"/>
                <a:gd name="connsiteY33" fmla="*/ 151843 h 309758"/>
                <a:gd name="connsiteX34" fmla="*/ 580604 w 582660"/>
                <a:gd name="connsiteY34" fmla="*/ 147303 h 309758"/>
                <a:gd name="connsiteX35" fmla="*/ 564915 w 582660"/>
                <a:gd name="connsiteY35" fmla="*/ 133587 h 309758"/>
                <a:gd name="connsiteX36" fmla="*/ 558993 w 582660"/>
                <a:gd name="connsiteY36" fmla="*/ 133587 h 309758"/>
                <a:gd name="connsiteX37" fmla="*/ 558993 w 582660"/>
                <a:gd name="connsiteY37" fmla="*/ 142715 h 309758"/>
                <a:gd name="connsiteX38" fmla="*/ 553073 w 582660"/>
                <a:gd name="connsiteY38" fmla="*/ 148784 h 309758"/>
                <a:gd name="connsiteX39" fmla="*/ 545228 w 582660"/>
                <a:gd name="connsiteY39" fmla="*/ 145774 h 309758"/>
                <a:gd name="connsiteX40" fmla="*/ 539356 w 582660"/>
                <a:gd name="connsiteY40" fmla="*/ 141185 h 309758"/>
                <a:gd name="connsiteX41" fmla="*/ 523567 w 582660"/>
                <a:gd name="connsiteY41" fmla="*/ 136646 h 309758"/>
                <a:gd name="connsiteX42" fmla="*/ 515722 w 582660"/>
                <a:gd name="connsiteY42" fmla="*/ 132107 h 309758"/>
                <a:gd name="connsiteX43" fmla="*/ 521594 w 582660"/>
                <a:gd name="connsiteY43" fmla="*/ 125988 h 309758"/>
                <a:gd name="connsiteX44" fmla="*/ 533386 w 582660"/>
                <a:gd name="connsiteY44" fmla="*/ 109311 h 309758"/>
                <a:gd name="connsiteX45" fmla="*/ 533386 w 582660"/>
                <a:gd name="connsiteY45" fmla="*/ 103242 h 309758"/>
                <a:gd name="connsiteX46" fmla="*/ 527514 w 582660"/>
                <a:gd name="connsiteY46" fmla="*/ 103242 h 309758"/>
                <a:gd name="connsiteX47" fmla="*/ 519669 w 582660"/>
                <a:gd name="connsiteY47" fmla="*/ 110841 h 309758"/>
                <a:gd name="connsiteX48" fmla="*/ 511775 w 582660"/>
                <a:gd name="connsiteY48" fmla="*/ 113851 h 309758"/>
                <a:gd name="connsiteX49" fmla="*/ 498009 w 582660"/>
                <a:gd name="connsiteY49" fmla="*/ 127518 h 309758"/>
                <a:gd name="connsiteX50" fmla="*/ 494062 w 582660"/>
                <a:gd name="connsiteY50" fmla="*/ 135116 h 309758"/>
                <a:gd name="connsiteX51" fmla="*/ 490164 w 582660"/>
                <a:gd name="connsiteY51" fmla="*/ 141185 h 309758"/>
                <a:gd name="connsiteX52" fmla="*/ 484243 w 582660"/>
                <a:gd name="connsiteY52" fmla="*/ 151843 h 309758"/>
                <a:gd name="connsiteX53" fmla="*/ 468503 w 582660"/>
                <a:gd name="connsiteY53" fmla="*/ 162451 h 309758"/>
                <a:gd name="connsiteX54" fmla="*/ 464556 w 582660"/>
                <a:gd name="connsiteY54" fmla="*/ 160921 h 309758"/>
                <a:gd name="connsiteX55" fmla="*/ 446892 w 582660"/>
                <a:gd name="connsiteY55" fmla="*/ 154853 h 309758"/>
                <a:gd name="connsiteX56" fmla="*/ 435050 w 582660"/>
                <a:gd name="connsiteY56" fmla="*/ 153323 h 309758"/>
                <a:gd name="connsiteX57" fmla="*/ 425182 w 582660"/>
                <a:gd name="connsiteY57" fmla="*/ 154853 h 309758"/>
                <a:gd name="connsiteX58" fmla="*/ 407469 w 582660"/>
                <a:gd name="connsiteY58" fmla="*/ 160921 h 309758"/>
                <a:gd name="connsiteX59" fmla="*/ 401598 w 582660"/>
                <a:gd name="connsiteY59" fmla="*/ 160921 h 309758"/>
                <a:gd name="connsiteX60" fmla="*/ 385858 w 582660"/>
                <a:gd name="connsiteY60" fmla="*/ 125988 h 309758"/>
                <a:gd name="connsiteX61" fmla="*/ 360300 w 582660"/>
                <a:gd name="connsiteY61" fmla="*/ 122979 h 309758"/>
                <a:gd name="connsiteX62" fmla="*/ 360300 w 582660"/>
                <a:gd name="connsiteY62" fmla="*/ 78967 h 309758"/>
                <a:gd name="connsiteX63" fmla="*/ 348458 w 582660"/>
                <a:gd name="connsiteY63" fmla="*/ 81977 h 309758"/>
                <a:gd name="connsiteX64" fmla="*/ 336617 w 582660"/>
                <a:gd name="connsiteY64" fmla="*/ 65250 h 309758"/>
                <a:gd name="connsiteX65" fmla="*/ 318953 w 582660"/>
                <a:gd name="connsiteY65" fmla="*/ 51583 h 309758"/>
                <a:gd name="connsiteX66" fmla="*/ 259745 w 582660"/>
                <a:gd name="connsiteY66" fmla="*/ 51583 h 309758"/>
                <a:gd name="connsiteX67" fmla="*/ 204631 w 582660"/>
                <a:gd name="connsiteY67" fmla="*/ 56172 h 309758"/>
                <a:gd name="connsiteX68" fmla="*/ 177100 w 582660"/>
                <a:gd name="connsiteY68" fmla="*/ 42504 h 309758"/>
                <a:gd name="connsiteX69" fmla="*/ 153515 w 582660"/>
                <a:gd name="connsiteY69" fmla="*/ 34906 h 309758"/>
                <a:gd name="connsiteX70" fmla="*/ 94306 w 582660"/>
                <a:gd name="connsiteY70" fmla="*/ -27 h 309758"/>
                <a:gd name="connsiteX71" fmla="*/ -82 w 582660"/>
                <a:gd name="connsiteY71" fmla="*/ 15170 h 309758"/>
                <a:gd name="connsiteX72" fmla="*/ 29522 w 582660"/>
                <a:gd name="connsiteY72" fmla="*/ 162451 h 309758"/>
                <a:gd name="connsiteX73" fmla="*/ 47235 w 582660"/>
                <a:gd name="connsiteY73" fmla="*/ 160921 h 309758"/>
                <a:gd name="connsiteX74" fmla="*/ 61002 w 582660"/>
                <a:gd name="connsiteY74" fmla="*/ 162451 h 309758"/>
                <a:gd name="connsiteX75" fmla="*/ 64900 w 582660"/>
                <a:gd name="connsiteY75" fmla="*/ 156382 h 309758"/>
                <a:gd name="connsiteX76" fmla="*/ 59028 w 582660"/>
                <a:gd name="connsiteY76" fmla="*/ 150313 h 309758"/>
                <a:gd name="connsiteX77" fmla="*/ 55080 w 582660"/>
                <a:gd name="connsiteY77" fmla="*/ 138126 h 309758"/>
                <a:gd name="connsiteX78" fmla="*/ 62926 w 582660"/>
                <a:gd name="connsiteY78" fmla="*/ 125988 h 309758"/>
                <a:gd name="connsiteX79" fmla="*/ 74768 w 582660"/>
                <a:gd name="connsiteY79" fmla="*/ 125988 h 309758"/>
                <a:gd name="connsiteX80" fmla="*/ 80639 w 582660"/>
                <a:gd name="connsiteY80" fmla="*/ 118439 h 309758"/>
                <a:gd name="connsiteX81" fmla="*/ 88533 w 582660"/>
                <a:gd name="connsiteY81" fmla="*/ 113851 h 309758"/>
                <a:gd name="connsiteX82" fmla="*/ 96379 w 582660"/>
                <a:gd name="connsiteY82" fmla="*/ 118439 h 309758"/>
                <a:gd name="connsiteX83" fmla="*/ 100326 w 582660"/>
                <a:gd name="connsiteY83" fmla="*/ 116910 h 309758"/>
                <a:gd name="connsiteX84" fmla="*/ 94405 w 582660"/>
                <a:gd name="connsiteY84" fmla="*/ 107782 h 309758"/>
                <a:gd name="connsiteX85" fmla="*/ 112118 w 582660"/>
                <a:gd name="connsiteY85" fmla="*/ 109311 h 309758"/>
                <a:gd name="connsiteX86" fmla="*/ 135703 w 582660"/>
                <a:gd name="connsiteY86" fmla="*/ 119919 h 309758"/>
                <a:gd name="connsiteX87" fmla="*/ 157363 w 582660"/>
                <a:gd name="connsiteY87" fmla="*/ 130577 h 309758"/>
                <a:gd name="connsiteX88" fmla="*/ 159337 w 582660"/>
                <a:gd name="connsiteY88" fmla="*/ 136646 h 309758"/>
                <a:gd name="connsiteX89" fmla="*/ 186869 w 582660"/>
                <a:gd name="connsiteY89" fmla="*/ 150313 h 309758"/>
                <a:gd name="connsiteX90" fmla="*/ 210454 w 582660"/>
                <a:gd name="connsiteY90" fmla="*/ 159392 h 309758"/>
                <a:gd name="connsiteX91" fmla="*/ 214401 w 582660"/>
                <a:gd name="connsiteY91" fmla="*/ 156382 h 309758"/>
                <a:gd name="connsiteX92" fmla="*/ 222245 w 582660"/>
                <a:gd name="connsiteY92" fmla="*/ 156382 h 309758"/>
                <a:gd name="connsiteX93" fmla="*/ 236012 w 582660"/>
                <a:gd name="connsiteY93" fmla="*/ 166990 h 309758"/>
                <a:gd name="connsiteX94" fmla="*/ 243906 w 582660"/>
                <a:gd name="connsiteY94" fmla="*/ 183717 h 309758"/>
                <a:gd name="connsiteX95" fmla="*/ 251751 w 582660"/>
                <a:gd name="connsiteY95" fmla="*/ 188256 h 309758"/>
                <a:gd name="connsiteX96" fmla="*/ 253725 w 582660"/>
                <a:gd name="connsiteY96" fmla="*/ 197384 h 309758"/>
                <a:gd name="connsiteX97" fmla="*/ 261570 w 582660"/>
                <a:gd name="connsiteY97" fmla="*/ 209522 h 309758"/>
                <a:gd name="connsiteX98" fmla="*/ 273411 w 582660"/>
                <a:gd name="connsiteY98" fmla="*/ 214061 h 309758"/>
                <a:gd name="connsiteX99" fmla="*/ 296996 w 582660"/>
                <a:gd name="connsiteY99" fmla="*/ 227728 h 309758"/>
                <a:gd name="connsiteX100" fmla="*/ 322555 w 582660"/>
                <a:gd name="connsiteY100" fmla="*/ 242925 h 309758"/>
                <a:gd name="connsiteX101" fmla="*/ 350086 w 582660"/>
                <a:gd name="connsiteY101" fmla="*/ 253583 h 309758"/>
                <a:gd name="connsiteX102" fmla="*/ 373721 w 582660"/>
                <a:gd name="connsiteY102" fmla="*/ 267250 h 309758"/>
                <a:gd name="connsiteX103" fmla="*/ 393457 w 582660"/>
                <a:gd name="connsiteY103" fmla="*/ 270260 h 309758"/>
                <a:gd name="connsiteX104" fmla="*/ 397355 w 582660"/>
                <a:gd name="connsiteY104" fmla="*/ 274799 h 309758"/>
                <a:gd name="connsiteX105" fmla="*/ 403276 w 582660"/>
                <a:gd name="connsiteY105" fmla="*/ 274799 h 309758"/>
                <a:gd name="connsiteX106" fmla="*/ 417042 w 582660"/>
                <a:gd name="connsiteY106" fmla="*/ 280868 h 309758"/>
                <a:gd name="connsiteX107" fmla="*/ 417042 w 582660"/>
                <a:gd name="connsiteY107" fmla="*/ 288466 h 309758"/>
                <a:gd name="connsiteX108" fmla="*/ 419015 w 582660"/>
                <a:gd name="connsiteY108" fmla="*/ 303663 h 309758"/>
                <a:gd name="connsiteX109" fmla="*/ 428883 w 582660"/>
                <a:gd name="connsiteY109" fmla="*/ 302183 h 309758"/>
                <a:gd name="connsiteX110" fmla="*/ 436728 w 582660"/>
                <a:gd name="connsiteY110" fmla="*/ 305192 h 309758"/>
                <a:gd name="connsiteX111" fmla="*/ 440675 w 582660"/>
                <a:gd name="connsiteY111" fmla="*/ 309732 h 309758"/>
                <a:gd name="connsiteX112" fmla="*/ 444623 w 582660"/>
                <a:gd name="connsiteY112" fmla="*/ 309732 h 309758"/>
                <a:gd name="connsiteX113" fmla="*/ 452468 w 582660"/>
                <a:gd name="connsiteY113" fmla="*/ 305192 h 309758"/>
                <a:gd name="connsiteX114" fmla="*/ 458389 w 582660"/>
                <a:gd name="connsiteY114" fmla="*/ 306722 h 309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582660" h="309758">
                  <a:moveTo>
                    <a:pt x="460609" y="309732"/>
                  </a:moveTo>
                  <a:lnTo>
                    <a:pt x="464556" y="289996"/>
                  </a:lnTo>
                  <a:lnTo>
                    <a:pt x="470477" y="274799"/>
                  </a:lnTo>
                  <a:lnTo>
                    <a:pt x="474375" y="270260"/>
                  </a:lnTo>
                  <a:lnTo>
                    <a:pt x="472451" y="262661"/>
                  </a:lnTo>
                  <a:lnTo>
                    <a:pt x="466579" y="259602"/>
                  </a:lnTo>
                  <a:lnTo>
                    <a:pt x="462583" y="252053"/>
                  </a:lnTo>
                  <a:lnTo>
                    <a:pt x="466579" y="245935"/>
                  </a:lnTo>
                  <a:lnTo>
                    <a:pt x="464556" y="238386"/>
                  </a:lnTo>
                  <a:lnTo>
                    <a:pt x="454688" y="238386"/>
                  </a:lnTo>
                  <a:lnTo>
                    <a:pt x="446843" y="239866"/>
                  </a:lnTo>
                  <a:lnTo>
                    <a:pt x="436975" y="229258"/>
                  </a:lnTo>
                  <a:lnTo>
                    <a:pt x="436975" y="220179"/>
                  </a:lnTo>
                  <a:lnTo>
                    <a:pt x="444869" y="214061"/>
                  </a:lnTo>
                  <a:lnTo>
                    <a:pt x="462533" y="217120"/>
                  </a:lnTo>
                  <a:lnTo>
                    <a:pt x="468454" y="215590"/>
                  </a:lnTo>
                  <a:lnTo>
                    <a:pt x="468454" y="207992"/>
                  </a:lnTo>
                  <a:lnTo>
                    <a:pt x="484194" y="204982"/>
                  </a:lnTo>
                  <a:lnTo>
                    <a:pt x="480246" y="200443"/>
                  </a:lnTo>
                  <a:lnTo>
                    <a:pt x="476348" y="197384"/>
                  </a:lnTo>
                  <a:lnTo>
                    <a:pt x="494012" y="194325"/>
                  </a:lnTo>
                  <a:lnTo>
                    <a:pt x="505854" y="188256"/>
                  </a:lnTo>
                  <a:lnTo>
                    <a:pt x="505854" y="182187"/>
                  </a:lnTo>
                  <a:lnTo>
                    <a:pt x="494012" y="179177"/>
                  </a:lnTo>
                  <a:lnTo>
                    <a:pt x="495986" y="171579"/>
                  </a:lnTo>
                  <a:lnTo>
                    <a:pt x="503881" y="168520"/>
                  </a:lnTo>
                  <a:lnTo>
                    <a:pt x="513749" y="160921"/>
                  </a:lnTo>
                  <a:lnTo>
                    <a:pt x="521594" y="162451"/>
                  </a:lnTo>
                  <a:lnTo>
                    <a:pt x="533386" y="153323"/>
                  </a:lnTo>
                  <a:lnTo>
                    <a:pt x="539356" y="159392"/>
                  </a:lnTo>
                  <a:lnTo>
                    <a:pt x="543254" y="163980"/>
                  </a:lnTo>
                  <a:lnTo>
                    <a:pt x="560918" y="160921"/>
                  </a:lnTo>
                  <a:lnTo>
                    <a:pt x="572710" y="160921"/>
                  </a:lnTo>
                  <a:lnTo>
                    <a:pt x="582578" y="151843"/>
                  </a:lnTo>
                  <a:lnTo>
                    <a:pt x="580604" y="147303"/>
                  </a:lnTo>
                  <a:lnTo>
                    <a:pt x="564915" y="133587"/>
                  </a:lnTo>
                  <a:lnTo>
                    <a:pt x="558993" y="133587"/>
                  </a:lnTo>
                  <a:lnTo>
                    <a:pt x="558993" y="142715"/>
                  </a:lnTo>
                  <a:lnTo>
                    <a:pt x="553073" y="148784"/>
                  </a:lnTo>
                  <a:lnTo>
                    <a:pt x="545228" y="145774"/>
                  </a:lnTo>
                  <a:lnTo>
                    <a:pt x="539356" y="141185"/>
                  </a:lnTo>
                  <a:lnTo>
                    <a:pt x="523567" y="136646"/>
                  </a:lnTo>
                  <a:lnTo>
                    <a:pt x="515722" y="132107"/>
                  </a:lnTo>
                  <a:lnTo>
                    <a:pt x="521594" y="125988"/>
                  </a:lnTo>
                  <a:lnTo>
                    <a:pt x="533386" y="109311"/>
                  </a:lnTo>
                  <a:lnTo>
                    <a:pt x="533386" y="103242"/>
                  </a:lnTo>
                  <a:lnTo>
                    <a:pt x="527514" y="103242"/>
                  </a:lnTo>
                  <a:lnTo>
                    <a:pt x="519669" y="110841"/>
                  </a:lnTo>
                  <a:lnTo>
                    <a:pt x="511775" y="113851"/>
                  </a:lnTo>
                  <a:lnTo>
                    <a:pt x="498009" y="127518"/>
                  </a:lnTo>
                  <a:lnTo>
                    <a:pt x="494062" y="135116"/>
                  </a:lnTo>
                  <a:lnTo>
                    <a:pt x="490164" y="141185"/>
                  </a:lnTo>
                  <a:lnTo>
                    <a:pt x="484243" y="151843"/>
                  </a:lnTo>
                  <a:lnTo>
                    <a:pt x="468503" y="162451"/>
                  </a:lnTo>
                  <a:lnTo>
                    <a:pt x="464556" y="160921"/>
                  </a:lnTo>
                  <a:lnTo>
                    <a:pt x="446892" y="154853"/>
                  </a:lnTo>
                  <a:lnTo>
                    <a:pt x="435050" y="153323"/>
                  </a:lnTo>
                  <a:lnTo>
                    <a:pt x="425182" y="154853"/>
                  </a:lnTo>
                  <a:lnTo>
                    <a:pt x="407469" y="160921"/>
                  </a:lnTo>
                  <a:lnTo>
                    <a:pt x="401598" y="160921"/>
                  </a:lnTo>
                  <a:lnTo>
                    <a:pt x="385858" y="125988"/>
                  </a:lnTo>
                  <a:lnTo>
                    <a:pt x="360300" y="122979"/>
                  </a:lnTo>
                  <a:lnTo>
                    <a:pt x="360300" y="78967"/>
                  </a:lnTo>
                  <a:lnTo>
                    <a:pt x="348458" y="81977"/>
                  </a:lnTo>
                  <a:lnTo>
                    <a:pt x="336617" y="65250"/>
                  </a:lnTo>
                  <a:lnTo>
                    <a:pt x="318953" y="51583"/>
                  </a:lnTo>
                  <a:lnTo>
                    <a:pt x="259745" y="51583"/>
                  </a:lnTo>
                  <a:lnTo>
                    <a:pt x="204631" y="56172"/>
                  </a:lnTo>
                  <a:lnTo>
                    <a:pt x="177100" y="42504"/>
                  </a:lnTo>
                  <a:lnTo>
                    <a:pt x="153515" y="34906"/>
                  </a:lnTo>
                  <a:lnTo>
                    <a:pt x="94306" y="-27"/>
                  </a:lnTo>
                  <a:lnTo>
                    <a:pt x="-82" y="15170"/>
                  </a:lnTo>
                  <a:lnTo>
                    <a:pt x="29522" y="162451"/>
                  </a:lnTo>
                  <a:lnTo>
                    <a:pt x="47235" y="160921"/>
                  </a:lnTo>
                  <a:lnTo>
                    <a:pt x="61002" y="162451"/>
                  </a:lnTo>
                  <a:lnTo>
                    <a:pt x="64900" y="156382"/>
                  </a:lnTo>
                  <a:lnTo>
                    <a:pt x="59028" y="150313"/>
                  </a:lnTo>
                  <a:lnTo>
                    <a:pt x="55080" y="138126"/>
                  </a:lnTo>
                  <a:lnTo>
                    <a:pt x="62926" y="125988"/>
                  </a:lnTo>
                  <a:lnTo>
                    <a:pt x="74768" y="125988"/>
                  </a:lnTo>
                  <a:lnTo>
                    <a:pt x="80639" y="118439"/>
                  </a:lnTo>
                  <a:lnTo>
                    <a:pt x="88533" y="113851"/>
                  </a:lnTo>
                  <a:lnTo>
                    <a:pt x="96379" y="118439"/>
                  </a:lnTo>
                  <a:lnTo>
                    <a:pt x="100326" y="116910"/>
                  </a:lnTo>
                  <a:lnTo>
                    <a:pt x="94405" y="107782"/>
                  </a:lnTo>
                  <a:lnTo>
                    <a:pt x="112118" y="109311"/>
                  </a:lnTo>
                  <a:lnTo>
                    <a:pt x="135703" y="119919"/>
                  </a:lnTo>
                  <a:lnTo>
                    <a:pt x="157363" y="130577"/>
                  </a:lnTo>
                  <a:lnTo>
                    <a:pt x="159337" y="136646"/>
                  </a:lnTo>
                  <a:lnTo>
                    <a:pt x="186869" y="150313"/>
                  </a:lnTo>
                  <a:lnTo>
                    <a:pt x="210454" y="159392"/>
                  </a:lnTo>
                  <a:lnTo>
                    <a:pt x="214401" y="156382"/>
                  </a:lnTo>
                  <a:lnTo>
                    <a:pt x="222245" y="156382"/>
                  </a:lnTo>
                  <a:lnTo>
                    <a:pt x="236012" y="166990"/>
                  </a:lnTo>
                  <a:lnTo>
                    <a:pt x="243906" y="183717"/>
                  </a:lnTo>
                  <a:lnTo>
                    <a:pt x="251751" y="188256"/>
                  </a:lnTo>
                  <a:lnTo>
                    <a:pt x="253725" y="197384"/>
                  </a:lnTo>
                  <a:lnTo>
                    <a:pt x="261570" y="209522"/>
                  </a:lnTo>
                  <a:lnTo>
                    <a:pt x="273411" y="214061"/>
                  </a:lnTo>
                  <a:lnTo>
                    <a:pt x="296996" y="227728"/>
                  </a:lnTo>
                  <a:lnTo>
                    <a:pt x="322555" y="242925"/>
                  </a:lnTo>
                  <a:lnTo>
                    <a:pt x="350086" y="253583"/>
                  </a:lnTo>
                  <a:lnTo>
                    <a:pt x="373721" y="267250"/>
                  </a:lnTo>
                  <a:lnTo>
                    <a:pt x="393457" y="270260"/>
                  </a:lnTo>
                  <a:lnTo>
                    <a:pt x="397355" y="274799"/>
                  </a:lnTo>
                  <a:lnTo>
                    <a:pt x="403276" y="274799"/>
                  </a:lnTo>
                  <a:lnTo>
                    <a:pt x="417042" y="280868"/>
                  </a:lnTo>
                  <a:lnTo>
                    <a:pt x="417042" y="288466"/>
                  </a:lnTo>
                  <a:lnTo>
                    <a:pt x="419015" y="303663"/>
                  </a:lnTo>
                  <a:lnTo>
                    <a:pt x="428883" y="302183"/>
                  </a:lnTo>
                  <a:lnTo>
                    <a:pt x="436728" y="305192"/>
                  </a:lnTo>
                  <a:lnTo>
                    <a:pt x="440675" y="309732"/>
                  </a:lnTo>
                  <a:lnTo>
                    <a:pt x="444623" y="309732"/>
                  </a:lnTo>
                  <a:lnTo>
                    <a:pt x="452468" y="305192"/>
                  </a:lnTo>
                  <a:lnTo>
                    <a:pt x="458389" y="30672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Graphic 2">
              <a:extLst>
                <a:ext uri="{FF2B5EF4-FFF2-40B4-BE49-F238E27FC236}">
                  <a16:creationId xmlns:a16="http://schemas.microsoft.com/office/drawing/2014/main" id="{874459E5-D6B4-4F02-91DB-B0C533F8EE19}"/>
                </a:ext>
              </a:extLst>
            </p:cNvPr>
            <p:cNvSpPr/>
            <p:nvPr/>
          </p:nvSpPr>
          <p:spPr>
            <a:xfrm>
              <a:off x="5631582" y="2797082"/>
              <a:ext cx="206784" cy="139043"/>
            </a:xfrm>
            <a:custGeom>
              <a:avLst/>
              <a:gdLst>
                <a:gd name="connsiteX0" fmla="*/ 162790 w 227606"/>
                <a:gd name="connsiteY0" fmla="*/ 148192 h 153053"/>
                <a:gd name="connsiteX1" fmla="*/ 164863 w 227606"/>
                <a:gd name="connsiteY1" fmla="*/ 151399 h 153053"/>
                <a:gd name="connsiteX2" fmla="*/ 173201 w 227606"/>
                <a:gd name="connsiteY2" fmla="*/ 153027 h 153053"/>
                <a:gd name="connsiteX3" fmla="*/ 177395 w 227606"/>
                <a:gd name="connsiteY3" fmla="*/ 148093 h 153053"/>
                <a:gd name="connsiteX4" fmla="*/ 181589 w 227606"/>
                <a:gd name="connsiteY4" fmla="*/ 148093 h 153053"/>
                <a:gd name="connsiteX5" fmla="*/ 181589 w 227606"/>
                <a:gd name="connsiteY5" fmla="*/ 144836 h 153053"/>
                <a:gd name="connsiteX6" fmla="*/ 179467 w 227606"/>
                <a:gd name="connsiteY6" fmla="*/ 141629 h 153053"/>
                <a:gd name="connsiteX7" fmla="*/ 181589 w 227606"/>
                <a:gd name="connsiteY7" fmla="*/ 135215 h 153053"/>
                <a:gd name="connsiteX8" fmla="*/ 175323 w 227606"/>
                <a:gd name="connsiteY8" fmla="*/ 135215 h 153053"/>
                <a:gd name="connsiteX9" fmla="*/ 173201 w 227606"/>
                <a:gd name="connsiteY9" fmla="*/ 136794 h 153053"/>
                <a:gd name="connsiteX10" fmla="*/ 171080 w 227606"/>
                <a:gd name="connsiteY10" fmla="*/ 135412 h 153053"/>
                <a:gd name="connsiteX11" fmla="*/ 164813 w 227606"/>
                <a:gd name="connsiteY11" fmla="*/ 136991 h 153053"/>
                <a:gd name="connsiteX12" fmla="*/ 164813 w 227606"/>
                <a:gd name="connsiteY12" fmla="*/ 140346 h 153053"/>
                <a:gd name="connsiteX13" fmla="*/ 171080 w 227606"/>
                <a:gd name="connsiteY13" fmla="*/ 140346 h 153053"/>
                <a:gd name="connsiteX14" fmla="*/ 169007 w 227606"/>
                <a:gd name="connsiteY14" fmla="*/ 141925 h 153053"/>
                <a:gd name="connsiteX15" fmla="*/ 164813 w 227606"/>
                <a:gd name="connsiteY15" fmla="*/ 145132 h 153053"/>
                <a:gd name="connsiteX16" fmla="*/ 214993 w 227606"/>
                <a:gd name="connsiteY16" fmla="*/ 106302 h 153053"/>
                <a:gd name="connsiteX17" fmla="*/ 212871 w 227606"/>
                <a:gd name="connsiteY17" fmla="*/ 114344 h 153053"/>
                <a:gd name="connsiteX18" fmla="*/ 214993 w 227606"/>
                <a:gd name="connsiteY18" fmla="*/ 119278 h 153053"/>
                <a:gd name="connsiteX19" fmla="*/ 227525 w 227606"/>
                <a:gd name="connsiteY19" fmla="*/ 122485 h 153053"/>
                <a:gd name="connsiteX20" fmla="*/ 227525 w 227606"/>
                <a:gd name="connsiteY20" fmla="*/ 117551 h 153053"/>
                <a:gd name="connsiteX21" fmla="*/ 221259 w 227606"/>
                <a:gd name="connsiteY21" fmla="*/ 109509 h 153053"/>
                <a:gd name="connsiteX22" fmla="*/ 143942 w 227606"/>
                <a:gd name="connsiteY22" fmla="*/ 91796 h 153053"/>
                <a:gd name="connsiteX23" fmla="*/ 141870 w 227606"/>
                <a:gd name="connsiteY23" fmla="*/ 98259 h 153053"/>
                <a:gd name="connsiteX24" fmla="*/ 146064 w 227606"/>
                <a:gd name="connsiteY24" fmla="*/ 99887 h 153053"/>
                <a:gd name="connsiteX25" fmla="*/ 127265 w 227606"/>
                <a:gd name="connsiteY25" fmla="*/ 122436 h 153053"/>
                <a:gd name="connsiteX26" fmla="*/ 120999 w 227606"/>
                <a:gd name="connsiteY26" fmla="*/ 122436 h 153053"/>
                <a:gd name="connsiteX27" fmla="*/ 118927 w 227606"/>
                <a:gd name="connsiteY27" fmla="*/ 119229 h 153053"/>
                <a:gd name="connsiteX28" fmla="*/ 120999 w 227606"/>
                <a:gd name="connsiteY28" fmla="*/ 115972 h 153053"/>
                <a:gd name="connsiteX29" fmla="*/ 120999 w 227606"/>
                <a:gd name="connsiteY29" fmla="*/ 112765 h 153053"/>
                <a:gd name="connsiteX30" fmla="*/ 112661 w 227606"/>
                <a:gd name="connsiteY30" fmla="*/ 111137 h 153053"/>
                <a:gd name="connsiteX31" fmla="*/ 108467 w 227606"/>
                <a:gd name="connsiteY31" fmla="*/ 111137 h 153053"/>
                <a:gd name="connsiteX32" fmla="*/ 104273 w 227606"/>
                <a:gd name="connsiteY32" fmla="*/ 106203 h 153053"/>
                <a:gd name="connsiteX33" fmla="*/ 104273 w 227606"/>
                <a:gd name="connsiteY33" fmla="*/ 99789 h 153053"/>
                <a:gd name="connsiteX34" fmla="*/ 100128 w 227606"/>
                <a:gd name="connsiteY34" fmla="*/ 96532 h 153053"/>
                <a:gd name="connsiteX35" fmla="*/ 100128 w 227606"/>
                <a:gd name="connsiteY35" fmla="*/ 91598 h 153053"/>
                <a:gd name="connsiteX36" fmla="*/ 104273 w 227606"/>
                <a:gd name="connsiteY36" fmla="*/ 91598 h 153053"/>
                <a:gd name="connsiteX37" fmla="*/ 106394 w 227606"/>
                <a:gd name="connsiteY37" fmla="*/ 86664 h 153053"/>
                <a:gd name="connsiteX38" fmla="*/ 110539 w 227606"/>
                <a:gd name="connsiteY38" fmla="*/ 85036 h 153053"/>
                <a:gd name="connsiteX39" fmla="*/ 114733 w 227606"/>
                <a:gd name="connsiteY39" fmla="*/ 88243 h 153053"/>
                <a:gd name="connsiteX40" fmla="*/ 114733 w 227606"/>
                <a:gd name="connsiteY40" fmla="*/ 91450 h 153053"/>
                <a:gd name="connsiteX41" fmla="*/ 120999 w 227606"/>
                <a:gd name="connsiteY41" fmla="*/ 94657 h 153053"/>
                <a:gd name="connsiteX42" fmla="*/ 123121 w 227606"/>
                <a:gd name="connsiteY42" fmla="*/ 93078 h 153053"/>
                <a:gd name="connsiteX43" fmla="*/ 125193 w 227606"/>
                <a:gd name="connsiteY43" fmla="*/ 93078 h 153053"/>
                <a:gd name="connsiteX44" fmla="*/ 127265 w 227606"/>
                <a:gd name="connsiteY44" fmla="*/ 89871 h 153053"/>
                <a:gd name="connsiteX45" fmla="*/ 120999 w 227606"/>
                <a:gd name="connsiteY45" fmla="*/ 86664 h 153053"/>
                <a:gd name="connsiteX46" fmla="*/ 118927 w 227606"/>
                <a:gd name="connsiteY46" fmla="*/ 85036 h 153053"/>
                <a:gd name="connsiteX47" fmla="*/ 120999 w 227606"/>
                <a:gd name="connsiteY47" fmla="*/ 78572 h 153053"/>
                <a:gd name="connsiteX48" fmla="*/ 131459 w 227606"/>
                <a:gd name="connsiteY48" fmla="*/ 76993 h 153053"/>
                <a:gd name="connsiteX49" fmla="*/ 139798 w 227606"/>
                <a:gd name="connsiteY49" fmla="*/ 76993 h 153053"/>
                <a:gd name="connsiteX50" fmla="*/ 141870 w 227606"/>
                <a:gd name="connsiteY50" fmla="*/ 81927 h 153053"/>
                <a:gd name="connsiteX51" fmla="*/ 141870 w 227606"/>
                <a:gd name="connsiteY51" fmla="*/ 88391 h 153053"/>
                <a:gd name="connsiteX52" fmla="*/ 139798 w 227606"/>
                <a:gd name="connsiteY52" fmla="*/ 96434 h 153053"/>
                <a:gd name="connsiteX53" fmla="*/ 133532 w 227606"/>
                <a:gd name="connsiteY53" fmla="*/ 99690 h 153053"/>
                <a:gd name="connsiteX54" fmla="*/ 133532 w 227606"/>
                <a:gd name="connsiteY54" fmla="*/ 101269 h 153053"/>
                <a:gd name="connsiteX55" fmla="*/ 139798 w 227606"/>
                <a:gd name="connsiteY55" fmla="*/ 104476 h 153053"/>
                <a:gd name="connsiteX56" fmla="*/ 139798 w 227606"/>
                <a:gd name="connsiteY56" fmla="*/ 109410 h 153053"/>
                <a:gd name="connsiteX57" fmla="*/ 137725 w 227606"/>
                <a:gd name="connsiteY57" fmla="*/ 112617 h 153053"/>
                <a:gd name="connsiteX58" fmla="*/ 129387 w 227606"/>
                <a:gd name="connsiteY58" fmla="*/ 114196 h 153053"/>
                <a:gd name="connsiteX59" fmla="*/ 129387 w 227606"/>
                <a:gd name="connsiteY59" fmla="*/ 119130 h 153053"/>
                <a:gd name="connsiteX60" fmla="*/ 131459 w 227606"/>
                <a:gd name="connsiteY60" fmla="*/ 124015 h 153053"/>
                <a:gd name="connsiteX61" fmla="*/ 131459 w 227606"/>
                <a:gd name="connsiteY61" fmla="*/ 125544 h 153053"/>
                <a:gd name="connsiteX62" fmla="*/ 135653 w 227606"/>
                <a:gd name="connsiteY62" fmla="*/ 122337 h 153053"/>
                <a:gd name="connsiteX63" fmla="*/ 139798 w 227606"/>
                <a:gd name="connsiteY63" fmla="*/ 122337 h 153053"/>
                <a:gd name="connsiteX64" fmla="*/ 139798 w 227606"/>
                <a:gd name="connsiteY64" fmla="*/ 117403 h 153053"/>
                <a:gd name="connsiteX65" fmla="*/ 133532 w 227606"/>
                <a:gd name="connsiteY65" fmla="*/ 120610 h 153053"/>
                <a:gd name="connsiteX66" fmla="*/ 104273 w 227606"/>
                <a:gd name="connsiteY66" fmla="*/ 122436 h 153053"/>
                <a:gd name="connsiteX67" fmla="*/ 110539 w 227606"/>
                <a:gd name="connsiteY67" fmla="*/ 130478 h 153053"/>
                <a:gd name="connsiteX68" fmla="*/ 118927 w 227606"/>
                <a:gd name="connsiteY68" fmla="*/ 130478 h 153053"/>
                <a:gd name="connsiteX69" fmla="*/ 120999 w 227606"/>
                <a:gd name="connsiteY69" fmla="*/ 125544 h 153053"/>
                <a:gd name="connsiteX70" fmla="*/ 127265 w 227606"/>
                <a:gd name="connsiteY70" fmla="*/ 125544 h 153053"/>
                <a:gd name="connsiteX71" fmla="*/ 129387 w 227606"/>
                <a:gd name="connsiteY71" fmla="*/ 123916 h 153053"/>
                <a:gd name="connsiteX72" fmla="*/ 129387 w 227606"/>
                <a:gd name="connsiteY72" fmla="*/ 128850 h 153053"/>
                <a:gd name="connsiteX73" fmla="*/ 127265 w 227606"/>
                <a:gd name="connsiteY73" fmla="*/ 133784 h 153053"/>
                <a:gd name="connsiteX74" fmla="*/ 127265 w 227606"/>
                <a:gd name="connsiteY74" fmla="*/ 138718 h 153053"/>
                <a:gd name="connsiteX75" fmla="*/ 125193 w 227606"/>
                <a:gd name="connsiteY75" fmla="*/ 138718 h 153053"/>
                <a:gd name="connsiteX76" fmla="*/ 123121 w 227606"/>
                <a:gd name="connsiteY76" fmla="*/ 133784 h 153053"/>
                <a:gd name="connsiteX77" fmla="*/ 118927 w 227606"/>
                <a:gd name="connsiteY77" fmla="*/ 136991 h 153053"/>
                <a:gd name="connsiteX78" fmla="*/ 108467 w 227606"/>
                <a:gd name="connsiteY78" fmla="*/ 138620 h 153053"/>
                <a:gd name="connsiteX79" fmla="*/ 98006 w 227606"/>
                <a:gd name="connsiteY79" fmla="*/ 135412 h 153053"/>
                <a:gd name="connsiteX80" fmla="*/ 95934 w 227606"/>
                <a:gd name="connsiteY80" fmla="*/ 132156 h 153053"/>
                <a:gd name="connsiteX81" fmla="*/ 100128 w 227606"/>
                <a:gd name="connsiteY81" fmla="*/ 130577 h 153053"/>
                <a:gd name="connsiteX82" fmla="*/ 98006 w 227606"/>
                <a:gd name="connsiteY82" fmla="*/ 127321 h 153053"/>
                <a:gd name="connsiteX83" fmla="*/ 100128 w 227606"/>
                <a:gd name="connsiteY83" fmla="*/ 124113 h 153053"/>
                <a:gd name="connsiteX84" fmla="*/ 79257 w 227606"/>
                <a:gd name="connsiteY84" fmla="*/ 91796 h 153053"/>
                <a:gd name="connsiteX85" fmla="*/ 81330 w 227606"/>
                <a:gd name="connsiteY85" fmla="*/ 86862 h 153053"/>
                <a:gd name="connsiteX86" fmla="*/ 81330 w 227606"/>
                <a:gd name="connsiteY86" fmla="*/ 78770 h 153053"/>
                <a:gd name="connsiteX87" fmla="*/ 85474 w 227606"/>
                <a:gd name="connsiteY87" fmla="*/ 86862 h 153053"/>
                <a:gd name="connsiteX88" fmla="*/ 83451 w 227606"/>
                <a:gd name="connsiteY88" fmla="*/ 91796 h 153053"/>
                <a:gd name="connsiteX89" fmla="*/ 75063 w 227606"/>
                <a:gd name="connsiteY89" fmla="*/ 125643 h 153053"/>
                <a:gd name="connsiteX90" fmla="*/ 79257 w 227606"/>
                <a:gd name="connsiteY90" fmla="*/ 130577 h 153053"/>
                <a:gd name="connsiteX91" fmla="*/ 83451 w 227606"/>
                <a:gd name="connsiteY91" fmla="*/ 127321 h 153053"/>
                <a:gd name="connsiteX92" fmla="*/ 91740 w 227606"/>
                <a:gd name="connsiteY92" fmla="*/ 115775 h 153053"/>
                <a:gd name="connsiteX93" fmla="*/ 89668 w 227606"/>
                <a:gd name="connsiteY93" fmla="*/ 123817 h 153053"/>
                <a:gd name="connsiteX94" fmla="*/ 85474 w 227606"/>
                <a:gd name="connsiteY94" fmla="*/ 128751 h 153053"/>
                <a:gd name="connsiteX95" fmla="*/ 87546 w 227606"/>
                <a:gd name="connsiteY95" fmla="*/ 131959 h 153053"/>
                <a:gd name="connsiteX96" fmla="*/ 91740 w 227606"/>
                <a:gd name="connsiteY96" fmla="*/ 127024 h 153053"/>
                <a:gd name="connsiteX97" fmla="*/ 95934 w 227606"/>
                <a:gd name="connsiteY97" fmla="*/ 119031 h 153053"/>
                <a:gd name="connsiteX98" fmla="*/ 91740 w 227606"/>
                <a:gd name="connsiteY98" fmla="*/ 115972 h 153053"/>
                <a:gd name="connsiteX99" fmla="*/ 58337 w 227606"/>
                <a:gd name="connsiteY99" fmla="*/ 99690 h 153053"/>
                <a:gd name="connsiteX100" fmla="*/ 68797 w 227606"/>
                <a:gd name="connsiteY100" fmla="*/ 98062 h 153053"/>
                <a:gd name="connsiteX101" fmla="*/ 77135 w 227606"/>
                <a:gd name="connsiteY101" fmla="*/ 101269 h 153053"/>
                <a:gd name="connsiteX102" fmla="*/ 81330 w 227606"/>
                <a:gd name="connsiteY102" fmla="*/ 101269 h 153053"/>
                <a:gd name="connsiteX103" fmla="*/ 85474 w 227606"/>
                <a:gd name="connsiteY103" fmla="*/ 109361 h 153053"/>
                <a:gd name="connsiteX104" fmla="*/ 87546 w 227606"/>
                <a:gd name="connsiteY104" fmla="*/ 114295 h 153053"/>
                <a:gd name="connsiteX105" fmla="*/ 83451 w 227606"/>
                <a:gd name="connsiteY105" fmla="*/ 122386 h 153053"/>
                <a:gd name="connsiteX106" fmla="*/ 77333 w 227606"/>
                <a:gd name="connsiteY106" fmla="*/ 122386 h 153053"/>
                <a:gd name="connsiteX107" fmla="*/ 73188 w 227606"/>
                <a:gd name="connsiteY107" fmla="*/ 120758 h 153053"/>
                <a:gd name="connsiteX108" fmla="*/ 66922 w 227606"/>
                <a:gd name="connsiteY108" fmla="*/ 119179 h 153053"/>
                <a:gd name="connsiteX109" fmla="*/ 60656 w 227606"/>
                <a:gd name="connsiteY109" fmla="*/ 114245 h 153053"/>
                <a:gd name="connsiteX110" fmla="*/ 56462 w 227606"/>
                <a:gd name="connsiteY110" fmla="*/ 107831 h 153053"/>
                <a:gd name="connsiteX111" fmla="*/ 87546 w 227606"/>
                <a:gd name="connsiteY111" fmla="*/ 22374 h 153053"/>
                <a:gd name="connsiteX112" fmla="*/ 89668 w 227606"/>
                <a:gd name="connsiteY112" fmla="*/ 17440 h 153053"/>
                <a:gd name="connsiteX113" fmla="*/ 98006 w 227606"/>
                <a:gd name="connsiteY113" fmla="*/ 17440 h 153053"/>
                <a:gd name="connsiteX114" fmla="*/ 91740 w 227606"/>
                <a:gd name="connsiteY114" fmla="*/ 22374 h 153053"/>
                <a:gd name="connsiteX115" fmla="*/ 23058 w 227606"/>
                <a:gd name="connsiteY115" fmla="*/ 51534 h 153053"/>
                <a:gd name="connsiteX116" fmla="*/ 20986 w 227606"/>
                <a:gd name="connsiteY116" fmla="*/ 45070 h 153053"/>
                <a:gd name="connsiteX117" fmla="*/ 27252 w 227606"/>
                <a:gd name="connsiteY117" fmla="*/ 40136 h 153053"/>
                <a:gd name="connsiteX118" fmla="*/ 33469 w 227606"/>
                <a:gd name="connsiteY118" fmla="*/ 40136 h 153053"/>
                <a:gd name="connsiteX119" fmla="*/ 31397 w 227606"/>
                <a:gd name="connsiteY119" fmla="*/ 45070 h 153053"/>
                <a:gd name="connsiteX120" fmla="*/ 27252 w 227606"/>
                <a:gd name="connsiteY120" fmla="*/ 50004 h 153053"/>
                <a:gd name="connsiteX121" fmla="*/ 20986 w 227606"/>
                <a:gd name="connsiteY121" fmla="*/ 54741 h 153053"/>
                <a:gd name="connsiteX122" fmla="*/ 18865 w 227606"/>
                <a:gd name="connsiteY122" fmla="*/ 46748 h 153053"/>
                <a:gd name="connsiteX123" fmla="*/ 20986 w 227606"/>
                <a:gd name="connsiteY123" fmla="*/ 41814 h 153053"/>
                <a:gd name="connsiteX124" fmla="*/ 31397 w 227606"/>
                <a:gd name="connsiteY124" fmla="*/ 35400 h 153053"/>
                <a:gd name="connsiteX125" fmla="*/ 33469 w 227606"/>
                <a:gd name="connsiteY125" fmla="*/ 37028 h 153053"/>
                <a:gd name="connsiteX126" fmla="*/ 39736 w 227606"/>
                <a:gd name="connsiteY126" fmla="*/ 35400 h 153053"/>
                <a:gd name="connsiteX127" fmla="*/ 48074 w 227606"/>
                <a:gd name="connsiteY127" fmla="*/ 37028 h 153053"/>
                <a:gd name="connsiteX128" fmla="*/ 52268 w 227606"/>
                <a:gd name="connsiteY128" fmla="*/ 35400 h 153053"/>
                <a:gd name="connsiteX129" fmla="*/ 60656 w 227606"/>
                <a:gd name="connsiteY129" fmla="*/ 35400 h 153053"/>
                <a:gd name="connsiteX130" fmla="*/ 66922 w 227606"/>
                <a:gd name="connsiteY130" fmla="*/ 38607 h 153053"/>
                <a:gd name="connsiteX131" fmla="*/ 68995 w 227606"/>
                <a:gd name="connsiteY131" fmla="*/ 37028 h 153053"/>
                <a:gd name="connsiteX132" fmla="*/ 77333 w 227606"/>
                <a:gd name="connsiteY132" fmla="*/ 25729 h 153053"/>
                <a:gd name="connsiteX133" fmla="*/ 75260 w 227606"/>
                <a:gd name="connsiteY133" fmla="*/ 19315 h 153053"/>
                <a:gd name="connsiteX134" fmla="*/ 77333 w 227606"/>
                <a:gd name="connsiteY134" fmla="*/ 17686 h 153053"/>
                <a:gd name="connsiteX135" fmla="*/ 75260 w 227606"/>
                <a:gd name="connsiteY135" fmla="*/ 11223 h 153053"/>
                <a:gd name="connsiteX136" fmla="*/ 79455 w 227606"/>
                <a:gd name="connsiteY136" fmla="*/ 3180 h 153053"/>
                <a:gd name="connsiteX137" fmla="*/ 79455 w 227606"/>
                <a:gd name="connsiteY137" fmla="*/ -27 h 153053"/>
                <a:gd name="connsiteX138" fmla="*/ 68995 w 227606"/>
                <a:gd name="connsiteY138" fmla="*/ 8016 h 153053"/>
                <a:gd name="connsiteX139" fmla="*/ 60656 w 227606"/>
                <a:gd name="connsiteY139" fmla="*/ 12950 h 153053"/>
                <a:gd name="connsiteX140" fmla="*/ 54389 w 227606"/>
                <a:gd name="connsiteY140" fmla="*/ 12950 h 153053"/>
                <a:gd name="connsiteX141" fmla="*/ 50196 w 227606"/>
                <a:gd name="connsiteY141" fmla="*/ 19413 h 153053"/>
                <a:gd name="connsiteX142" fmla="*/ 46002 w 227606"/>
                <a:gd name="connsiteY142" fmla="*/ 25828 h 153053"/>
                <a:gd name="connsiteX143" fmla="*/ 39736 w 227606"/>
                <a:gd name="connsiteY143" fmla="*/ 30762 h 153053"/>
                <a:gd name="connsiteX144" fmla="*/ 31397 w 227606"/>
                <a:gd name="connsiteY144" fmla="*/ 30762 h 153053"/>
                <a:gd name="connsiteX145" fmla="*/ 20986 w 227606"/>
                <a:gd name="connsiteY145" fmla="*/ 37225 h 153053"/>
                <a:gd name="connsiteX146" fmla="*/ 18865 w 227606"/>
                <a:gd name="connsiteY146" fmla="*/ 35597 h 153053"/>
                <a:gd name="connsiteX147" fmla="*/ 14720 w 227606"/>
                <a:gd name="connsiteY147" fmla="*/ 35597 h 153053"/>
                <a:gd name="connsiteX148" fmla="*/ 12598 w 227606"/>
                <a:gd name="connsiteY148" fmla="*/ 42011 h 153053"/>
                <a:gd name="connsiteX149" fmla="*/ 6332 w 227606"/>
                <a:gd name="connsiteY149" fmla="*/ 46945 h 153053"/>
                <a:gd name="connsiteX150" fmla="*/ 10526 w 227606"/>
                <a:gd name="connsiteY150" fmla="*/ 48524 h 153053"/>
                <a:gd name="connsiteX151" fmla="*/ 12598 w 227606"/>
                <a:gd name="connsiteY151" fmla="*/ 46945 h 153053"/>
                <a:gd name="connsiteX152" fmla="*/ 52268 w 227606"/>
                <a:gd name="connsiteY152" fmla="*/ 127222 h 153053"/>
                <a:gd name="connsiteX153" fmla="*/ 50196 w 227606"/>
                <a:gd name="connsiteY153" fmla="*/ 127222 h 153053"/>
                <a:gd name="connsiteX154" fmla="*/ 52268 w 227606"/>
                <a:gd name="connsiteY154" fmla="*/ 124015 h 153053"/>
                <a:gd name="connsiteX155" fmla="*/ 48074 w 227606"/>
                <a:gd name="connsiteY155" fmla="*/ 119081 h 153053"/>
                <a:gd name="connsiteX156" fmla="*/ 46002 w 227606"/>
                <a:gd name="connsiteY156" fmla="*/ 119081 h 153053"/>
                <a:gd name="connsiteX157" fmla="*/ 46002 w 227606"/>
                <a:gd name="connsiteY157" fmla="*/ 114147 h 153053"/>
                <a:gd name="connsiteX158" fmla="*/ 50196 w 227606"/>
                <a:gd name="connsiteY158" fmla="*/ 112568 h 153053"/>
                <a:gd name="connsiteX159" fmla="*/ 50196 w 227606"/>
                <a:gd name="connsiteY159" fmla="*/ 107634 h 153053"/>
                <a:gd name="connsiteX160" fmla="*/ 46002 w 227606"/>
                <a:gd name="connsiteY160" fmla="*/ 106006 h 153053"/>
                <a:gd name="connsiteX161" fmla="*/ 46002 w 227606"/>
                <a:gd name="connsiteY161" fmla="*/ 101072 h 153053"/>
                <a:gd name="connsiteX162" fmla="*/ 60804 w 227606"/>
                <a:gd name="connsiteY162" fmla="*/ 94608 h 153053"/>
                <a:gd name="connsiteX163" fmla="*/ 58682 w 227606"/>
                <a:gd name="connsiteY163" fmla="*/ 93029 h 153053"/>
                <a:gd name="connsiteX164" fmla="*/ 62876 w 227606"/>
                <a:gd name="connsiteY164" fmla="*/ 88095 h 153053"/>
                <a:gd name="connsiteX165" fmla="*/ 67070 w 227606"/>
                <a:gd name="connsiteY165" fmla="*/ 89723 h 153053"/>
                <a:gd name="connsiteX166" fmla="*/ 73336 w 227606"/>
                <a:gd name="connsiteY166" fmla="*/ 88095 h 153053"/>
                <a:gd name="connsiteX167" fmla="*/ 73336 w 227606"/>
                <a:gd name="connsiteY167" fmla="*/ 78227 h 153053"/>
                <a:gd name="connsiteX168" fmla="*/ 69142 w 227606"/>
                <a:gd name="connsiteY168" fmla="*/ 73293 h 153053"/>
                <a:gd name="connsiteX169" fmla="*/ 75409 w 227606"/>
                <a:gd name="connsiteY169" fmla="*/ 70086 h 153053"/>
                <a:gd name="connsiteX170" fmla="*/ 81675 w 227606"/>
                <a:gd name="connsiteY170" fmla="*/ 68507 h 153053"/>
                <a:gd name="connsiteX171" fmla="*/ 85819 w 227606"/>
                <a:gd name="connsiteY171" fmla="*/ 73441 h 153053"/>
                <a:gd name="connsiteX172" fmla="*/ 87892 w 227606"/>
                <a:gd name="connsiteY172" fmla="*/ 71862 h 153053"/>
                <a:gd name="connsiteX173" fmla="*/ 90013 w 227606"/>
                <a:gd name="connsiteY173" fmla="*/ 71862 h 153053"/>
                <a:gd name="connsiteX174" fmla="*/ 92086 w 227606"/>
                <a:gd name="connsiteY174" fmla="*/ 68655 h 153053"/>
                <a:gd name="connsiteX175" fmla="*/ 94207 w 227606"/>
                <a:gd name="connsiteY175" fmla="*/ 63721 h 153053"/>
                <a:gd name="connsiteX176" fmla="*/ 87892 w 227606"/>
                <a:gd name="connsiteY176" fmla="*/ 58787 h 153053"/>
                <a:gd name="connsiteX177" fmla="*/ 85819 w 227606"/>
                <a:gd name="connsiteY177" fmla="*/ 60366 h 153053"/>
                <a:gd name="connsiteX178" fmla="*/ 77333 w 227606"/>
                <a:gd name="connsiteY178" fmla="*/ 60366 h 153053"/>
                <a:gd name="connsiteX179" fmla="*/ 73188 w 227606"/>
                <a:gd name="connsiteY179" fmla="*/ 57159 h 153053"/>
                <a:gd name="connsiteX180" fmla="*/ 68995 w 227606"/>
                <a:gd name="connsiteY180" fmla="*/ 52225 h 153053"/>
                <a:gd name="connsiteX181" fmla="*/ 64800 w 227606"/>
                <a:gd name="connsiteY181" fmla="*/ 50596 h 153053"/>
                <a:gd name="connsiteX182" fmla="*/ 68995 w 227606"/>
                <a:gd name="connsiteY182" fmla="*/ 47389 h 153053"/>
                <a:gd name="connsiteX183" fmla="*/ 68995 w 227606"/>
                <a:gd name="connsiteY183" fmla="*/ 41666 h 153053"/>
                <a:gd name="connsiteX184" fmla="*/ 60656 w 227606"/>
                <a:gd name="connsiteY184" fmla="*/ 38459 h 153053"/>
                <a:gd name="connsiteX185" fmla="*/ 50196 w 227606"/>
                <a:gd name="connsiteY185" fmla="*/ 38459 h 153053"/>
                <a:gd name="connsiteX186" fmla="*/ 46002 w 227606"/>
                <a:gd name="connsiteY186" fmla="*/ 40087 h 153053"/>
                <a:gd name="connsiteX187" fmla="*/ 39736 w 227606"/>
                <a:gd name="connsiteY187" fmla="*/ 40087 h 153053"/>
                <a:gd name="connsiteX188" fmla="*/ 37663 w 227606"/>
                <a:gd name="connsiteY188" fmla="*/ 41666 h 153053"/>
                <a:gd name="connsiteX189" fmla="*/ 43929 w 227606"/>
                <a:gd name="connsiteY189" fmla="*/ 49758 h 153053"/>
                <a:gd name="connsiteX190" fmla="*/ 41808 w 227606"/>
                <a:gd name="connsiteY190" fmla="*/ 51336 h 153053"/>
                <a:gd name="connsiteX191" fmla="*/ 48074 w 227606"/>
                <a:gd name="connsiteY191" fmla="*/ 57800 h 153053"/>
                <a:gd name="connsiteX192" fmla="*/ 46002 w 227606"/>
                <a:gd name="connsiteY192" fmla="*/ 59428 h 153053"/>
                <a:gd name="connsiteX193" fmla="*/ 41808 w 227606"/>
                <a:gd name="connsiteY193" fmla="*/ 57800 h 153053"/>
                <a:gd name="connsiteX194" fmla="*/ 35542 w 227606"/>
                <a:gd name="connsiteY194" fmla="*/ 59428 h 153053"/>
                <a:gd name="connsiteX195" fmla="*/ 33469 w 227606"/>
                <a:gd name="connsiteY195" fmla="*/ 56221 h 153053"/>
                <a:gd name="connsiteX196" fmla="*/ 37663 w 227606"/>
                <a:gd name="connsiteY196" fmla="*/ 52965 h 153053"/>
                <a:gd name="connsiteX197" fmla="*/ 33469 w 227606"/>
                <a:gd name="connsiteY197" fmla="*/ 46550 h 153053"/>
                <a:gd name="connsiteX198" fmla="*/ 31397 w 227606"/>
                <a:gd name="connsiteY198" fmla="*/ 46550 h 153053"/>
                <a:gd name="connsiteX199" fmla="*/ 27252 w 227606"/>
                <a:gd name="connsiteY199" fmla="*/ 52965 h 153053"/>
                <a:gd name="connsiteX200" fmla="*/ 29275 w 227606"/>
                <a:gd name="connsiteY200" fmla="*/ 57899 h 153053"/>
                <a:gd name="connsiteX201" fmla="*/ 23058 w 227606"/>
                <a:gd name="connsiteY201" fmla="*/ 61402 h 153053"/>
                <a:gd name="connsiteX202" fmla="*/ 18865 w 227606"/>
                <a:gd name="connsiteY202" fmla="*/ 58195 h 153053"/>
                <a:gd name="connsiteX203" fmla="*/ 12598 w 227606"/>
                <a:gd name="connsiteY203" fmla="*/ 58195 h 153053"/>
                <a:gd name="connsiteX204" fmla="*/ 8256 w 227606"/>
                <a:gd name="connsiteY204" fmla="*/ 56468 h 153053"/>
                <a:gd name="connsiteX205" fmla="*/ 4112 w 227606"/>
                <a:gd name="connsiteY205" fmla="*/ 59675 h 153053"/>
                <a:gd name="connsiteX206" fmla="*/ 10378 w 227606"/>
                <a:gd name="connsiteY206" fmla="*/ 66089 h 153053"/>
                <a:gd name="connsiteX207" fmla="*/ 10378 w 227606"/>
                <a:gd name="connsiteY207" fmla="*/ 71023 h 153053"/>
                <a:gd name="connsiteX208" fmla="*/ 6184 w 227606"/>
                <a:gd name="connsiteY208" fmla="*/ 67816 h 153053"/>
                <a:gd name="connsiteX209" fmla="*/ 4112 w 227606"/>
                <a:gd name="connsiteY209" fmla="*/ 69444 h 153053"/>
                <a:gd name="connsiteX210" fmla="*/ 4112 w 227606"/>
                <a:gd name="connsiteY210" fmla="*/ 75859 h 153053"/>
                <a:gd name="connsiteX211" fmla="*/ 10378 w 227606"/>
                <a:gd name="connsiteY211" fmla="*/ 79066 h 153053"/>
                <a:gd name="connsiteX212" fmla="*/ 10378 w 227606"/>
                <a:gd name="connsiteY212" fmla="*/ 85529 h 153053"/>
                <a:gd name="connsiteX213" fmla="*/ 14572 w 227606"/>
                <a:gd name="connsiteY213" fmla="*/ 88736 h 153053"/>
                <a:gd name="connsiteX214" fmla="*/ 4112 w 227606"/>
                <a:gd name="connsiteY214" fmla="*/ 93671 h 153053"/>
                <a:gd name="connsiteX215" fmla="*/ -82 w 227606"/>
                <a:gd name="connsiteY215" fmla="*/ 101713 h 153053"/>
                <a:gd name="connsiteX216" fmla="*/ 4112 w 227606"/>
                <a:gd name="connsiteY216" fmla="*/ 104920 h 153053"/>
                <a:gd name="connsiteX217" fmla="*/ 10378 w 227606"/>
                <a:gd name="connsiteY217" fmla="*/ 101713 h 153053"/>
                <a:gd name="connsiteX218" fmla="*/ 18717 w 227606"/>
                <a:gd name="connsiteY218" fmla="*/ 108177 h 153053"/>
                <a:gd name="connsiteX219" fmla="*/ 20838 w 227606"/>
                <a:gd name="connsiteY219" fmla="*/ 118045 h 153053"/>
                <a:gd name="connsiteX220" fmla="*/ 16644 w 227606"/>
                <a:gd name="connsiteY220" fmla="*/ 119673 h 153053"/>
                <a:gd name="connsiteX221" fmla="*/ 18717 w 227606"/>
                <a:gd name="connsiteY221" fmla="*/ 124607 h 153053"/>
                <a:gd name="connsiteX222" fmla="*/ 27104 w 227606"/>
                <a:gd name="connsiteY222" fmla="*/ 124607 h 153053"/>
                <a:gd name="connsiteX223" fmla="*/ 41906 w 227606"/>
                <a:gd name="connsiteY223" fmla="*/ 127814 h 153053"/>
                <a:gd name="connsiteX224" fmla="*/ 46101 w 227606"/>
                <a:gd name="connsiteY224" fmla="*/ 129442 h 153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</a:cxnLst>
              <a:rect l="l" t="t" r="r" b="b"/>
              <a:pathLst>
                <a:path w="227606" h="153053">
                  <a:moveTo>
                    <a:pt x="162790" y="148192"/>
                  </a:moveTo>
                  <a:lnTo>
                    <a:pt x="164863" y="151399"/>
                  </a:lnTo>
                  <a:lnTo>
                    <a:pt x="173201" y="153027"/>
                  </a:lnTo>
                  <a:lnTo>
                    <a:pt x="177395" y="148093"/>
                  </a:lnTo>
                  <a:lnTo>
                    <a:pt x="181589" y="148093"/>
                  </a:lnTo>
                  <a:lnTo>
                    <a:pt x="181589" y="144836"/>
                  </a:lnTo>
                  <a:lnTo>
                    <a:pt x="179467" y="141629"/>
                  </a:lnTo>
                  <a:lnTo>
                    <a:pt x="181589" y="135215"/>
                  </a:lnTo>
                  <a:lnTo>
                    <a:pt x="175323" y="135215"/>
                  </a:lnTo>
                  <a:lnTo>
                    <a:pt x="173201" y="136794"/>
                  </a:lnTo>
                  <a:lnTo>
                    <a:pt x="171080" y="135412"/>
                  </a:lnTo>
                  <a:lnTo>
                    <a:pt x="164813" y="136991"/>
                  </a:lnTo>
                  <a:lnTo>
                    <a:pt x="164813" y="140346"/>
                  </a:lnTo>
                  <a:lnTo>
                    <a:pt x="171080" y="140346"/>
                  </a:lnTo>
                  <a:lnTo>
                    <a:pt x="169007" y="141925"/>
                  </a:lnTo>
                  <a:lnTo>
                    <a:pt x="164813" y="145132"/>
                  </a:lnTo>
                  <a:close/>
                  <a:moveTo>
                    <a:pt x="214993" y="106302"/>
                  </a:moveTo>
                  <a:lnTo>
                    <a:pt x="212871" y="114344"/>
                  </a:lnTo>
                  <a:lnTo>
                    <a:pt x="214993" y="119278"/>
                  </a:lnTo>
                  <a:lnTo>
                    <a:pt x="227525" y="122485"/>
                  </a:lnTo>
                  <a:lnTo>
                    <a:pt x="227525" y="117551"/>
                  </a:lnTo>
                  <a:lnTo>
                    <a:pt x="221259" y="109509"/>
                  </a:lnTo>
                  <a:close/>
                  <a:moveTo>
                    <a:pt x="143942" y="91796"/>
                  </a:moveTo>
                  <a:lnTo>
                    <a:pt x="141870" y="98259"/>
                  </a:lnTo>
                  <a:lnTo>
                    <a:pt x="146064" y="99887"/>
                  </a:lnTo>
                  <a:close/>
                  <a:moveTo>
                    <a:pt x="127265" y="122436"/>
                  </a:moveTo>
                  <a:lnTo>
                    <a:pt x="120999" y="122436"/>
                  </a:lnTo>
                  <a:lnTo>
                    <a:pt x="118927" y="119229"/>
                  </a:lnTo>
                  <a:lnTo>
                    <a:pt x="120999" y="115972"/>
                  </a:lnTo>
                  <a:lnTo>
                    <a:pt x="120999" y="112765"/>
                  </a:lnTo>
                  <a:lnTo>
                    <a:pt x="112661" y="111137"/>
                  </a:lnTo>
                  <a:lnTo>
                    <a:pt x="108467" y="111137"/>
                  </a:lnTo>
                  <a:lnTo>
                    <a:pt x="104273" y="106203"/>
                  </a:lnTo>
                  <a:lnTo>
                    <a:pt x="104273" y="99789"/>
                  </a:lnTo>
                  <a:lnTo>
                    <a:pt x="100128" y="96532"/>
                  </a:lnTo>
                  <a:lnTo>
                    <a:pt x="100128" y="91598"/>
                  </a:lnTo>
                  <a:lnTo>
                    <a:pt x="104273" y="91598"/>
                  </a:lnTo>
                  <a:lnTo>
                    <a:pt x="106394" y="86664"/>
                  </a:lnTo>
                  <a:lnTo>
                    <a:pt x="110539" y="85036"/>
                  </a:lnTo>
                  <a:lnTo>
                    <a:pt x="114733" y="88243"/>
                  </a:lnTo>
                  <a:lnTo>
                    <a:pt x="114733" y="91450"/>
                  </a:lnTo>
                  <a:lnTo>
                    <a:pt x="120999" y="94657"/>
                  </a:lnTo>
                  <a:lnTo>
                    <a:pt x="123121" y="93078"/>
                  </a:lnTo>
                  <a:lnTo>
                    <a:pt x="125193" y="93078"/>
                  </a:lnTo>
                  <a:lnTo>
                    <a:pt x="127265" y="89871"/>
                  </a:lnTo>
                  <a:lnTo>
                    <a:pt x="120999" y="86664"/>
                  </a:lnTo>
                  <a:lnTo>
                    <a:pt x="118927" y="85036"/>
                  </a:lnTo>
                  <a:lnTo>
                    <a:pt x="120999" y="78572"/>
                  </a:lnTo>
                  <a:lnTo>
                    <a:pt x="131459" y="76993"/>
                  </a:lnTo>
                  <a:lnTo>
                    <a:pt x="139798" y="76993"/>
                  </a:lnTo>
                  <a:lnTo>
                    <a:pt x="141870" y="81927"/>
                  </a:lnTo>
                  <a:lnTo>
                    <a:pt x="141870" y="88391"/>
                  </a:lnTo>
                  <a:lnTo>
                    <a:pt x="139798" y="96434"/>
                  </a:lnTo>
                  <a:lnTo>
                    <a:pt x="133532" y="99690"/>
                  </a:lnTo>
                  <a:lnTo>
                    <a:pt x="133532" y="101269"/>
                  </a:lnTo>
                  <a:lnTo>
                    <a:pt x="139798" y="104476"/>
                  </a:lnTo>
                  <a:lnTo>
                    <a:pt x="139798" y="109410"/>
                  </a:lnTo>
                  <a:lnTo>
                    <a:pt x="137725" y="112617"/>
                  </a:lnTo>
                  <a:lnTo>
                    <a:pt x="129387" y="114196"/>
                  </a:lnTo>
                  <a:lnTo>
                    <a:pt x="129387" y="119130"/>
                  </a:lnTo>
                  <a:close/>
                  <a:moveTo>
                    <a:pt x="131459" y="124015"/>
                  </a:moveTo>
                  <a:lnTo>
                    <a:pt x="131459" y="125544"/>
                  </a:lnTo>
                  <a:lnTo>
                    <a:pt x="135653" y="122337"/>
                  </a:lnTo>
                  <a:lnTo>
                    <a:pt x="139798" y="122337"/>
                  </a:lnTo>
                  <a:lnTo>
                    <a:pt x="139798" y="117403"/>
                  </a:lnTo>
                  <a:lnTo>
                    <a:pt x="133532" y="120610"/>
                  </a:lnTo>
                  <a:close/>
                  <a:moveTo>
                    <a:pt x="104273" y="122436"/>
                  </a:moveTo>
                  <a:lnTo>
                    <a:pt x="110539" y="130478"/>
                  </a:lnTo>
                  <a:lnTo>
                    <a:pt x="118927" y="130478"/>
                  </a:lnTo>
                  <a:lnTo>
                    <a:pt x="120999" y="125544"/>
                  </a:lnTo>
                  <a:lnTo>
                    <a:pt x="127265" y="125544"/>
                  </a:lnTo>
                  <a:lnTo>
                    <a:pt x="129387" y="123916"/>
                  </a:lnTo>
                  <a:lnTo>
                    <a:pt x="129387" y="128850"/>
                  </a:lnTo>
                  <a:lnTo>
                    <a:pt x="127265" y="133784"/>
                  </a:lnTo>
                  <a:lnTo>
                    <a:pt x="127265" y="138718"/>
                  </a:lnTo>
                  <a:lnTo>
                    <a:pt x="125193" y="138718"/>
                  </a:lnTo>
                  <a:lnTo>
                    <a:pt x="123121" y="133784"/>
                  </a:lnTo>
                  <a:lnTo>
                    <a:pt x="118927" y="136991"/>
                  </a:lnTo>
                  <a:lnTo>
                    <a:pt x="108467" y="138620"/>
                  </a:lnTo>
                  <a:lnTo>
                    <a:pt x="98006" y="135412"/>
                  </a:lnTo>
                  <a:lnTo>
                    <a:pt x="95934" y="132156"/>
                  </a:lnTo>
                  <a:lnTo>
                    <a:pt x="100128" y="130577"/>
                  </a:lnTo>
                  <a:lnTo>
                    <a:pt x="98006" y="127321"/>
                  </a:lnTo>
                  <a:lnTo>
                    <a:pt x="100128" y="124113"/>
                  </a:lnTo>
                  <a:close/>
                  <a:moveTo>
                    <a:pt x="79257" y="91796"/>
                  </a:moveTo>
                  <a:lnTo>
                    <a:pt x="81330" y="86862"/>
                  </a:lnTo>
                  <a:lnTo>
                    <a:pt x="81330" y="78770"/>
                  </a:lnTo>
                  <a:lnTo>
                    <a:pt x="85474" y="86862"/>
                  </a:lnTo>
                  <a:lnTo>
                    <a:pt x="83451" y="91796"/>
                  </a:lnTo>
                  <a:close/>
                  <a:moveTo>
                    <a:pt x="75063" y="125643"/>
                  </a:moveTo>
                  <a:lnTo>
                    <a:pt x="79257" y="130577"/>
                  </a:lnTo>
                  <a:lnTo>
                    <a:pt x="83451" y="127321"/>
                  </a:lnTo>
                  <a:close/>
                  <a:moveTo>
                    <a:pt x="91740" y="115775"/>
                  </a:moveTo>
                  <a:lnTo>
                    <a:pt x="89668" y="123817"/>
                  </a:lnTo>
                  <a:lnTo>
                    <a:pt x="85474" y="128751"/>
                  </a:lnTo>
                  <a:lnTo>
                    <a:pt x="87546" y="131959"/>
                  </a:lnTo>
                  <a:lnTo>
                    <a:pt x="91740" y="127024"/>
                  </a:lnTo>
                  <a:lnTo>
                    <a:pt x="95934" y="119031"/>
                  </a:lnTo>
                  <a:cubicBezTo>
                    <a:pt x="95934" y="119031"/>
                    <a:pt x="89668" y="115972"/>
                    <a:pt x="91740" y="115972"/>
                  </a:cubicBezTo>
                  <a:close/>
                  <a:moveTo>
                    <a:pt x="58337" y="99690"/>
                  </a:moveTo>
                  <a:lnTo>
                    <a:pt x="68797" y="98062"/>
                  </a:lnTo>
                  <a:lnTo>
                    <a:pt x="77135" y="101269"/>
                  </a:lnTo>
                  <a:lnTo>
                    <a:pt x="81330" y="101269"/>
                  </a:lnTo>
                  <a:lnTo>
                    <a:pt x="85474" y="109361"/>
                  </a:lnTo>
                  <a:lnTo>
                    <a:pt x="87546" y="114295"/>
                  </a:lnTo>
                  <a:lnTo>
                    <a:pt x="83451" y="122386"/>
                  </a:lnTo>
                  <a:lnTo>
                    <a:pt x="77333" y="122386"/>
                  </a:lnTo>
                  <a:lnTo>
                    <a:pt x="73188" y="120758"/>
                  </a:lnTo>
                  <a:lnTo>
                    <a:pt x="66922" y="119179"/>
                  </a:lnTo>
                  <a:lnTo>
                    <a:pt x="60656" y="114245"/>
                  </a:lnTo>
                  <a:lnTo>
                    <a:pt x="56462" y="107831"/>
                  </a:lnTo>
                  <a:close/>
                  <a:moveTo>
                    <a:pt x="87546" y="22374"/>
                  </a:moveTo>
                  <a:lnTo>
                    <a:pt x="89668" y="17440"/>
                  </a:lnTo>
                  <a:lnTo>
                    <a:pt x="98006" y="17440"/>
                  </a:lnTo>
                  <a:lnTo>
                    <a:pt x="91740" y="22374"/>
                  </a:lnTo>
                  <a:close/>
                  <a:moveTo>
                    <a:pt x="23058" y="51534"/>
                  </a:moveTo>
                  <a:lnTo>
                    <a:pt x="20986" y="45070"/>
                  </a:lnTo>
                  <a:lnTo>
                    <a:pt x="27252" y="40136"/>
                  </a:lnTo>
                  <a:lnTo>
                    <a:pt x="33469" y="40136"/>
                  </a:lnTo>
                  <a:lnTo>
                    <a:pt x="31397" y="45070"/>
                  </a:lnTo>
                  <a:lnTo>
                    <a:pt x="27252" y="50004"/>
                  </a:lnTo>
                  <a:close/>
                  <a:moveTo>
                    <a:pt x="20986" y="54741"/>
                  </a:moveTo>
                  <a:lnTo>
                    <a:pt x="18865" y="46748"/>
                  </a:lnTo>
                  <a:lnTo>
                    <a:pt x="20986" y="41814"/>
                  </a:lnTo>
                  <a:lnTo>
                    <a:pt x="31397" y="35400"/>
                  </a:lnTo>
                  <a:lnTo>
                    <a:pt x="33469" y="37028"/>
                  </a:lnTo>
                  <a:lnTo>
                    <a:pt x="39736" y="35400"/>
                  </a:lnTo>
                  <a:lnTo>
                    <a:pt x="48074" y="37028"/>
                  </a:lnTo>
                  <a:lnTo>
                    <a:pt x="52268" y="35400"/>
                  </a:lnTo>
                  <a:lnTo>
                    <a:pt x="60656" y="35400"/>
                  </a:lnTo>
                  <a:lnTo>
                    <a:pt x="66922" y="38607"/>
                  </a:lnTo>
                  <a:lnTo>
                    <a:pt x="68995" y="37028"/>
                  </a:lnTo>
                  <a:lnTo>
                    <a:pt x="77333" y="25729"/>
                  </a:lnTo>
                  <a:lnTo>
                    <a:pt x="75260" y="19315"/>
                  </a:lnTo>
                  <a:lnTo>
                    <a:pt x="77333" y="17686"/>
                  </a:lnTo>
                  <a:lnTo>
                    <a:pt x="75260" y="11223"/>
                  </a:lnTo>
                  <a:lnTo>
                    <a:pt x="79455" y="3180"/>
                  </a:lnTo>
                  <a:lnTo>
                    <a:pt x="79455" y="-27"/>
                  </a:lnTo>
                  <a:lnTo>
                    <a:pt x="68995" y="8016"/>
                  </a:lnTo>
                  <a:lnTo>
                    <a:pt x="60656" y="12950"/>
                  </a:lnTo>
                  <a:lnTo>
                    <a:pt x="54389" y="12950"/>
                  </a:lnTo>
                  <a:lnTo>
                    <a:pt x="50196" y="19413"/>
                  </a:lnTo>
                  <a:lnTo>
                    <a:pt x="46002" y="25828"/>
                  </a:lnTo>
                  <a:lnTo>
                    <a:pt x="39736" y="30762"/>
                  </a:lnTo>
                  <a:lnTo>
                    <a:pt x="31397" y="30762"/>
                  </a:lnTo>
                  <a:lnTo>
                    <a:pt x="20986" y="37225"/>
                  </a:lnTo>
                  <a:lnTo>
                    <a:pt x="18865" y="35597"/>
                  </a:lnTo>
                  <a:lnTo>
                    <a:pt x="14720" y="35597"/>
                  </a:lnTo>
                  <a:lnTo>
                    <a:pt x="12598" y="42011"/>
                  </a:lnTo>
                  <a:lnTo>
                    <a:pt x="6332" y="46945"/>
                  </a:lnTo>
                  <a:lnTo>
                    <a:pt x="10526" y="48524"/>
                  </a:lnTo>
                  <a:lnTo>
                    <a:pt x="12598" y="46945"/>
                  </a:lnTo>
                  <a:close/>
                  <a:moveTo>
                    <a:pt x="52268" y="127222"/>
                  </a:moveTo>
                  <a:lnTo>
                    <a:pt x="50196" y="127222"/>
                  </a:lnTo>
                  <a:lnTo>
                    <a:pt x="52268" y="124015"/>
                  </a:lnTo>
                  <a:lnTo>
                    <a:pt x="48074" y="119081"/>
                  </a:lnTo>
                  <a:lnTo>
                    <a:pt x="46002" y="119081"/>
                  </a:lnTo>
                  <a:lnTo>
                    <a:pt x="46002" y="114147"/>
                  </a:lnTo>
                  <a:lnTo>
                    <a:pt x="50196" y="112568"/>
                  </a:lnTo>
                  <a:lnTo>
                    <a:pt x="50196" y="107634"/>
                  </a:lnTo>
                  <a:lnTo>
                    <a:pt x="46002" y="106006"/>
                  </a:lnTo>
                  <a:lnTo>
                    <a:pt x="46002" y="101072"/>
                  </a:lnTo>
                  <a:lnTo>
                    <a:pt x="60804" y="94608"/>
                  </a:lnTo>
                  <a:lnTo>
                    <a:pt x="58682" y="93029"/>
                  </a:lnTo>
                  <a:lnTo>
                    <a:pt x="62876" y="88095"/>
                  </a:lnTo>
                  <a:lnTo>
                    <a:pt x="67070" y="89723"/>
                  </a:lnTo>
                  <a:lnTo>
                    <a:pt x="73336" y="88095"/>
                  </a:lnTo>
                  <a:lnTo>
                    <a:pt x="73336" y="78227"/>
                  </a:lnTo>
                  <a:lnTo>
                    <a:pt x="69142" y="73293"/>
                  </a:lnTo>
                  <a:lnTo>
                    <a:pt x="75409" y="70086"/>
                  </a:lnTo>
                  <a:lnTo>
                    <a:pt x="81675" y="68507"/>
                  </a:lnTo>
                  <a:lnTo>
                    <a:pt x="85819" y="73441"/>
                  </a:lnTo>
                  <a:lnTo>
                    <a:pt x="87892" y="71862"/>
                  </a:lnTo>
                  <a:lnTo>
                    <a:pt x="90013" y="71862"/>
                  </a:lnTo>
                  <a:lnTo>
                    <a:pt x="92086" y="68655"/>
                  </a:lnTo>
                  <a:lnTo>
                    <a:pt x="94207" y="63721"/>
                  </a:lnTo>
                  <a:lnTo>
                    <a:pt x="87892" y="58787"/>
                  </a:lnTo>
                  <a:lnTo>
                    <a:pt x="85819" y="60366"/>
                  </a:lnTo>
                  <a:lnTo>
                    <a:pt x="77333" y="60366"/>
                  </a:lnTo>
                  <a:lnTo>
                    <a:pt x="73188" y="57159"/>
                  </a:lnTo>
                  <a:lnTo>
                    <a:pt x="68995" y="52225"/>
                  </a:lnTo>
                  <a:lnTo>
                    <a:pt x="64800" y="50596"/>
                  </a:lnTo>
                  <a:lnTo>
                    <a:pt x="68995" y="47389"/>
                  </a:lnTo>
                  <a:lnTo>
                    <a:pt x="68995" y="41666"/>
                  </a:lnTo>
                  <a:lnTo>
                    <a:pt x="60656" y="38459"/>
                  </a:lnTo>
                  <a:lnTo>
                    <a:pt x="50196" y="38459"/>
                  </a:lnTo>
                  <a:lnTo>
                    <a:pt x="46002" y="40087"/>
                  </a:lnTo>
                  <a:lnTo>
                    <a:pt x="39736" y="40087"/>
                  </a:lnTo>
                  <a:lnTo>
                    <a:pt x="37663" y="41666"/>
                  </a:lnTo>
                  <a:lnTo>
                    <a:pt x="43929" y="49758"/>
                  </a:lnTo>
                  <a:lnTo>
                    <a:pt x="41808" y="51336"/>
                  </a:lnTo>
                  <a:lnTo>
                    <a:pt x="48074" y="57800"/>
                  </a:lnTo>
                  <a:lnTo>
                    <a:pt x="46002" y="59428"/>
                  </a:lnTo>
                  <a:lnTo>
                    <a:pt x="41808" y="57800"/>
                  </a:lnTo>
                  <a:lnTo>
                    <a:pt x="35542" y="59428"/>
                  </a:lnTo>
                  <a:lnTo>
                    <a:pt x="33469" y="56221"/>
                  </a:lnTo>
                  <a:lnTo>
                    <a:pt x="37663" y="52965"/>
                  </a:lnTo>
                  <a:lnTo>
                    <a:pt x="33469" y="46550"/>
                  </a:lnTo>
                  <a:lnTo>
                    <a:pt x="31397" y="46550"/>
                  </a:lnTo>
                  <a:lnTo>
                    <a:pt x="27252" y="52965"/>
                  </a:lnTo>
                  <a:lnTo>
                    <a:pt x="29275" y="57899"/>
                  </a:lnTo>
                  <a:lnTo>
                    <a:pt x="23058" y="61402"/>
                  </a:lnTo>
                  <a:lnTo>
                    <a:pt x="18865" y="58195"/>
                  </a:lnTo>
                  <a:lnTo>
                    <a:pt x="12598" y="58195"/>
                  </a:lnTo>
                  <a:lnTo>
                    <a:pt x="8256" y="56468"/>
                  </a:lnTo>
                  <a:lnTo>
                    <a:pt x="4112" y="59675"/>
                  </a:lnTo>
                  <a:lnTo>
                    <a:pt x="10378" y="66089"/>
                  </a:lnTo>
                  <a:lnTo>
                    <a:pt x="10378" y="71023"/>
                  </a:lnTo>
                  <a:lnTo>
                    <a:pt x="6184" y="67816"/>
                  </a:lnTo>
                  <a:lnTo>
                    <a:pt x="4112" y="69444"/>
                  </a:lnTo>
                  <a:lnTo>
                    <a:pt x="4112" y="75859"/>
                  </a:lnTo>
                  <a:lnTo>
                    <a:pt x="10378" y="79066"/>
                  </a:lnTo>
                  <a:lnTo>
                    <a:pt x="10378" y="85529"/>
                  </a:lnTo>
                  <a:lnTo>
                    <a:pt x="14572" y="88736"/>
                  </a:lnTo>
                  <a:lnTo>
                    <a:pt x="4112" y="93671"/>
                  </a:lnTo>
                  <a:lnTo>
                    <a:pt x="-82" y="101713"/>
                  </a:lnTo>
                  <a:lnTo>
                    <a:pt x="4112" y="104920"/>
                  </a:lnTo>
                  <a:lnTo>
                    <a:pt x="10378" y="101713"/>
                  </a:lnTo>
                  <a:lnTo>
                    <a:pt x="18717" y="108177"/>
                  </a:lnTo>
                  <a:lnTo>
                    <a:pt x="20838" y="118045"/>
                  </a:lnTo>
                  <a:lnTo>
                    <a:pt x="16644" y="119673"/>
                  </a:lnTo>
                  <a:lnTo>
                    <a:pt x="18717" y="124607"/>
                  </a:lnTo>
                  <a:lnTo>
                    <a:pt x="27104" y="124607"/>
                  </a:lnTo>
                  <a:lnTo>
                    <a:pt x="41906" y="127814"/>
                  </a:lnTo>
                  <a:lnTo>
                    <a:pt x="46101" y="12944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Graphic 2">
              <a:extLst>
                <a:ext uri="{FF2B5EF4-FFF2-40B4-BE49-F238E27FC236}">
                  <a16:creationId xmlns:a16="http://schemas.microsoft.com/office/drawing/2014/main" id="{77A0EAFC-FC10-4550-9331-41584965617E}"/>
                </a:ext>
              </a:extLst>
            </p:cNvPr>
            <p:cNvSpPr/>
            <p:nvPr/>
          </p:nvSpPr>
          <p:spPr>
            <a:xfrm>
              <a:off x="5530008" y="2131975"/>
              <a:ext cx="668136" cy="659325"/>
            </a:xfrm>
            <a:custGeom>
              <a:avLst/>
              <a:gdLst>
                <a:gd name="connsiteX0" fmla="*/ 680766 w 735417"/>
                <a:gd name="connsiteY0" fmla="*/ 131268 h 725747"/>
                <a:gd name="connsiteX1" fmla="*/ 684959 w 735417"/>
                <a:gd name="connsiteY1" fmla="*/ 131268 h 725747"/>
                <a:gd name="connsiteX2" fmla="*/ 684959 w 735417"/>
                <a:gd name="connsiteY2" fmla="*/ 119969 h 725747"/>
                <a:gd name="connsiteX3" fmla="*/ 695370 w 735417"/>
                <a:gd name="connsiteY3" fmla="*/ 111926 h 725747"/>
                <a:gd name="connsiteX4" fmla="*/ 703660 w 735417"/>
                <a:gd name="connsiteY4" fmla="*/ 110298 h 725747"/>
                <a:gd name="connsiteX5" fmla="*/ 709926 w 735417"/>
                <a:gd name="connsiteY5" fmla="*/ 103834 h 725747"/>
                <a:gd name="connsiteX6" fmla="*/ 707853 w 735417"/>
                <a:gd name="connsiteY6" fmla="*/ 95792 h 725747"/>
                <a:gd name="connsiteX7" fmla="*/ 714070 w 735417"/>
                <a:gd name="connsiteY7" fmla="*/ 95792 h 725747"/>
                <a:gd name="connsiteX8" fmla="*/ 722409 w 735417"/>
                <a:gd name="connsiteY8" fmla="*/ 97371 h 725747"/>
                <a:gd name="connsiteX9" fmla="*/ 726603 w 735417"/>
                <a:gd name="connsiteY9" fmla="*/ 92437 h 725747"/>
                <a:gd name="connsiteX10" fmla="*/ 726603 w 735417"/>
                <a:gd name="connsiteY10" fmla="*/ 85973 h 725747"/>
                <a:gd name="connsiteX11" fmla="*/ 724481 w 735417"/>
                <a:gd name="connsiteY11" fmla="*/ 85973 h 725747"/>
                <a:gd name="connsiteX12" fmla="*/ 718264 w 735417"/>
                <a:gd name="connsiteY12" fmla="*/ 82766 h 725747"/>
                <a:gd name="connsiteX13" fmla="*/ 716192 w 735417"/>
                <a:gd name="connsiteY13" fmla="*/ 82766 h 725747"/>
                <a:gd name="connsiteX14" fmla="*/ 714070 w 735417"/>
                <a:gd name="connsiteY14" fmla="*/ 84345 h 725747"/>
                <a:gd name="connsiteX15" fmla="*/ 714070 w 735417"/>
                <a:gd name="connsiteY15" fmla="*/ 87947 h 725747"/>
                <a:gd name="connsiteX16" fmla="*/ 709926 w 735417"/>
                <a:gd name="connsiteY16" fmla="*/ 84690 h 725747"/>
                <a:gd name="connsiteX17" fmla="*/ 707853 w 735417"/>
                <a:gd name="connsiteY17" fmla="*/ 81483 h 725747"/>
                <a:gd name="connsiteX18" fmla="*/ 705781 w 735417"/>
                <a:gd name="connsiteY18" fmla="*/ 81483 h 725747"/>
                <a:gd name="connsiteX19" fmla="*/ 705781 w 735417"/>
                <a:gd name="connsiteY19" fmla="*/ 84690 h 725747"/>
                <a:gd name="connsiteX20" fmla="*/ 703660 w 735417"/>
                <a:gd name="connsiteY20" fmla="*/ 91154 h 725747"/>
                <a:gd name="connsiteX21" fmla="*/ 701587 w 735417"/>
                <a:gd name="connsiteY21" fmla="*/ 91154 h 725747"/>
                <a:gd name="connsiteX22" fmla="*/ 699515 w 735417"/>
                <a:gd name="connsiteY22" fmla="*/ 86220 h 725747"/>
                <a:gd name="connsiteX23" fmla="*/ 693249 w 735417"/>
                <a:gd name="connsiteY23" fmla="*/ 89427 h 725747"/>
                <a:gd name="connsiteX24" fmla="*/ 691176 w 735417"/>
                <a:gd name="connsiteY24" fmla="*/ 92684 h 725747"/>
                <a:gd name="connsiteX25" fmla="*/ 689104 w 735417"/>
                <a:gd name="connsiteY25" fmla="*/ 87749 h 725747"/>
                <a:gd name="connsiteX26" fmla="*/ 689104 w 735417"/>
                <a:gd name="connsiteY26" fmla="*/ 81286 h 725747"/>
                <a:gd name="connsiteX27" fmla="*/ 684959 w 735417"/>
                <a:gd name="connsiteY27" fmla="*/ 79658 h 725747"/>
                <a:gd name="connsiteX28" fmla="*/ 682838 w 735417"/>
                <a:gd name="connsiteY28" fmla="*/ 73194 h 725747"/>
                <a:gd name="connsiteX29" fmla="*/ 680766 w 735417"/>
                <a:gd name="connsiteY29" fmla="*/ 71615 h 725747"/>
                <a:gd name="connsiteX30" fmla="*/ 674549 w 735417"/>
                <a:gd name="connsiteY30" fmla="*/ 73194 h 725747"/>
                <a:gd name="connsiteX31" fmla="*/ 668233 w 735417"/>
                <a:gd name="connsiteY31" fmla="*/ 71615 h 725747"/>
                <a:gd name="connsiteX32" fmla="*/ 659944 w 735417"/>
                <a:gd name="connsiteY32" fmla="*/ 69987 h 725747"/>
                <a:gd name="connsiteX33" fmla="*/ 655750 w 735417"/>
                <a:gd name="connsiteY33" fmla="*/ 65053 h 725747"/>
                <a:gd name="connsiteX34" fmla="*/ 657822 w 735417"/>
                <a:gd name="connsiteY34" fmla="*/ 63425 h 725747"/>
                <a:gd name="connsiteX35" fmla="*/ 668233 w 735417"/>
                <a:gd name="connsiteY35" fmla="*/ 66681 h 725747"/>
                <a:gd name="connsiteX36" fmla="*/ 676572 w 735417"/>
                <a:gd name="connsiteY36" fmla="*/ 65053 h 725747"/>
                <a:gd name="connsiteX37" fmla="*/ 684959 w 735417"/>
                <a:gd name="connsiteY37" fmla="*/ 66681 h 725747"/>
                <a:gd name="connsiteX38" fmla="*/ 699762 w 735417"/>
                <a:gd name="connsiteY38" fmla="*/ 68309 h 725747"/>
                <a:gd name="connsiteX39" fmla="*/ 708100 w 735417"/>
                <a:gd name="connsiteY39" fmla="*/ 65053 h 725747"/>
                <a:gd name="connsiteX40" fmla="*/ 714317 w 735417"/>
                <a:gd name="connsiteY40" fmla="*/ 53754 h 725747"/>
                <a:gd name="connsiteX41" fmla="*/ 729119 w 735417"/>
                <a:gd name="connsiteY41" fmla="*/ 52175 h 725747"/>
                <a:gd name="connsiteX42" fmla="*/ 735336 w 735417"/>
                <a:gd name="connsiteY42" fmla="*/ 47241 h 725747"/>
                <a:gd name="connsiteX43" fmla="*/ 735336 w 735417"/>
                <a:gd name="connsiteY43" fmla="*/ 45613 h 725747"/>
                <a:gd name="connsiteX44" fmla="*/ 731191 w 735417"/>
                <a:gd name="connsiteY44" fmla="*/ 43985 h 725747"/>
                <a:gd name="connsiteX45" fmla="*/ 729119 w 735417"/>
                <a:gd name="connsiteY45" fmla="*/ 42406 h 725747"/>
                <a:gd name="connsiteX46" fmla="*/ 722853 w 735417"/>
                <a:gd name="connsiteY46" fmla="*/ 40778 h 725747"/>
                <a:gd name="connsiteX47" fmla="*/ 716636 w 735417"/>
                <a:gd name="connsiteY47" fmla="*/ 40778 h 725747"/>
                <a:gd name="connsiteX48" fmla="*/ 708297 w 735417"/>
                <a:gd name="connsiteY48" fmla="*/ 34314 h 725747"/>
                <a:gd name="connsiteX49" fmla="*/ 704103 w 735417"/>
                <a:gd name="connsiteY49" fmla="*/ 34314 h 725747"/>
                <a:gd name="connsiteX50" fmla="*/ 697837 w 735417"/>
                <a:gd name="connsiteY50" fmla="*/ 40778 h 725747"/>
                <a:gd name="connsiteX51" fmla="*/ 693693 w 735417"/>
                <a:gd name="connsiteY51" fmla="*/ 40778 h 725747"/>
                <a:gd name="connsiteX52" fmla="*/ 693693 w 735417"/>
                <a:gd name="connsiteY52" fmla="*/ 37570 h 725747"/>
                <a:gd name="connsiteX53" fmla="*/ 699959 w 735417"/>
                <a:gd name="connsiteY53" fmla="*/ 35942 h 725747"/>
                <a:gd name="connsiteX54" fmla="*/ 699959 w 735417"/>
                <a:gd name="connsiteY54" fmla="*/ 31008 h 725747"/>
                <a:gd name="connsiteX55" fmla="*/ 693693 w 735417"/>
                <a:gd name="connsiteY55" fmla="*/ 27752 h 725747"/>
                <a:gd name="connsiteX56" fmla="*/ 691620 w 735417"/>
                <a:gd name="connsiteY56" fmla="*/ 26173 h 725747"/>
                <a:gd name="connsiteX57" fmla="*/ 687426 w 735417"/>
                <a:gd name="connsiteY57" fmla="*/ 27752 h 725747"/>
                <a:gd name="connsiteX58" fmla="*/ 681209 w 735417"/>
                <a:gd name="connsiteY58" fmla="*/ 34215 h 725747"/>
                <a:gd name="connsiteX59" fmla="*/ 679138 w 735417"/>
                <a:gd name="connsiteY59" fmla="*/ 34215 h 725747"/>
                <a:gd name="connsiteX60" fmla="*/ 679138 w 735417"/>
                <a:gd name="connsiteY60" fmla="*/ 29281 h 725747"/>
                <a:gd name="connsiteX61" fmla="*/ 677016 w 735417"/>
                <a:gd name="connsiteY61" fmla="*/ 29281 h 725747"/>
                <a:gd name="connsiteX62" fmla="*/ 674993 w 735417"/>
                <a:gd name="connsiteY62" fmla="*/ 32538 h 725747"/>
                <a:gd name="connsiteX63" fmla="*/ 670799 w 735417"/>
                <a:gd name="connsiteY63" fmla="*/ 32538 h 725747"/>
                <a:gd name="connsiteX64" fmla="*/ 670799 w 735417"/>
                <a:gd name="connsiteY64" fmla="*/ 29281 h 725747"/>
                <a:gd name="connsiteX65" fmla="*/ 674993 w 735417"/>
                <a:gd name="connsiteY65" fmla="*/ 27653 h 725747"/>
                <a:gd name="connsiteX66" fmla="*/ 674993 w 735417"/>
                <a:gd name="connsiteY66" fmla="*/ 22719 h 725747"/>
                <a:gd name="connsiteX67" fmla="*/ 666605 w 735417"/>
                <a:gd name="connsiteY67" fmla="*/ 19512 h 725747"/>
                <a:gd name="connsiteX68" fmla="*/ 660388 w 735417"/>
                <a:gd name="connsiteY68" fmla="*/ 19512 h 725747"/>
                <a:gd name="connsiteX69" fmla="*/ 656194 w 735417"/>
                <a:gd name="connsiteY69" fmla="*/ 21140 h 725747"/>
                <a:gd name="connsiteX70" fmla="*/ 656194 w 735417"/>
                <a:gd name="connsiteY70" fmla="*/ 31008 h 725747"/>
                <a:gd name="connsiteX71" fmla="*/ 649977 w 735417"/>
                <a:gd name="connsiteY71" fmla="*/ 32636 h 725747"/>
                <a:gd name="connsiteX72" fmla="*/ 649977 w 735417"/>
                <a:gd name="connsiteY72" fmla="*/ 35843 h 725747"/>
                <a:gd name="connsiteX73" fmla="*/ 654122 w 735417"/>
                <a:gd name="connsiteY73" fmla="*/ 43886 h 725747"/>
                <a:gd name="connsiteX74" fmla="*/ 654122 w 735417"/>
                <a:gd name="connsiteY74" fmla="*/ 47142 h 725747"/>
                <a:gd name="connsiteX75" fmla="*/ 649977 w 735417"/>
                <a:gd name="connsiteY75" fmla="*/ 50350 h 725747"/>
                <a:gd name="connsiteX76" fmla="*/ 647855 w 735417"/>
                <a:gd name="connsiteY76" fmla="*/ 45416 h 725747"/>
                <a:gd name="connsiteX77" fmla="*/ 643069 w 735417"/>
                <a:gd name="connsiteY77" fmla="*/ 45416 h 725747"/>
                <a:gd name="connsiteX78" fmla="*/ 640997 w 735417"/>
                <a:gd name="connsiteY78" fmla="*/ 47044 h 725747"/>
                <a:gd name="connsiteX79" fmla="*/ 634731 w 735417"/>
                <a:gd name="connsiteY79" fmla="*/ 45416 h 725747"/>
                <a:gd name="connsiteX80" fmla="*/ 626392 w 735417"/>
                <a:gd name="connsiteY80" fmla="*/ 48623 h 725747"/>
                <a:gd name="connsiteX81" fmla="*/ 632659 w 735417"/>
                <a:gd name="connsiteY81" fmla="*/ 40580 h 725747"/>
                <a:gd name="connsiteX82" fmla="*/ 638925 w 735417"/>
                <a:gd name="connsiteY82" fmla="*/ 40580 h 725747"/>
                <a:gd name="connsiteX83" fmla="*/ 640997 w 735417"/>
                <a:gd name="connsiteY83" fmla="*/ 34117 h 725747"/>
                <a:gd name="connsiteX84" fmla="*/ 640997 w 735417"/>
                <a:gd name="connsiteY84" fmla="*/ 30909 h 725747"/>
                <a:gd name="connsiteX85" fmla="*/ 638925 w 735417"/>
                <a:gd name="connsiteY85" fmla="*/ 30909 h 725747"/>
                <a:gd name="connsiteX86" fmla="*/ 630586 w 735417"/>
                <a:gd name="connsiteY86" fmla="*/ 35843 h 725747"/>
                <a:gd name="connsiteX87" fmla="*/ 626392 w 735417"/>
                <a:gd name="connsiteY87" fmla="*/ 35843 h 725747"/>
                <a:gd name="connsiteX88" fmla="*/ 628514 w 735417"/>
                <a:gd name="connsiteY88" fmla="*/ 32636 h 725747"/>
                <a:gd name="connsiteX89" fmla="*/ 632659 w 735417"/>
                <a:gd name="connsiteY89" fmla="*/ 29380 h 725747"/>
                <a:gd name="connsiteX90" fmla="*/ 632659 w 735417"/>
                <a:gd name="connsiteY90" fmla="*/ 26173 h 725747"/>
                <a:gd name="connsiteX91" fmla="*/ 626392 w 735417"/>
                <a:gd name="connsiteY91" fmla="*/ 24544 h 725747"/>
                <a:gd name="connsiteX92" fmla="*/ 626392 w 735417"/>
                <a:gd name="connsiteY92" fmla="*/ 22916 h 725747"/>
                <a:gd name="connsiteX93" fmla="*/ 630586 w 735417"/>
                <a:gd name="connsiteY93" fmla="*/ 21337 h 725747"/>
                <a:gd name="connsiteX94" fmla="*/ 632659 w 735417"/>
                <a:gd name="connsiteY94" fmla="*/ 22916 h 725747"/>
                <a:gd name="connsiteX95" fmla="*/ 640997 w 735417"/>
                <a:gd name="connsiteY95" fmla="*/ 22916 h 725747"/>
                <a:gd name="connsiteX96" fmla="*/ 645142 w 735417"/>
                <a:gd name="connsiteY96" fmla="*/ 13048 h 725747"/>
                <a:gd name="connsiteX97" fmla="*/ 643069 w 735417"/>
                <a:gd name="connsiteY97" fmla="*/ 9841 h 725747"/>
                <a:gd name="connsiteX98" fmla="*/ 636803 w 735417"/>
                <a:gd name="connsiteY98" fmla="*/ 11469 h 725747"/>
                <a:gd name="connsiteX99" fmla="*/ 632659 w 735417"/>
                <a:gd name="connsiteY99" fmla="*/ 9841 h 725747"/>
                <a:gd name="connsiteX100" fmla="*/ 634731 w 735417"/>
                <a:gd name="connsiteY100" fmla="*/ 4907 h 725747"/>
                <a:gd name="connsiteX101" fmla="*/ 632659 w 735417"/>
                <a:gd name="connsiteY101" fmla="*/ -27 h 725747"/>
                <a:gd name="connsiteX102" fmla="*/ 628514 w 735417"/>
                <a:gd name="connsiteY102" fmla="*/ 4907 h 725747"/>
                <a:gd name="connsiteX103" fmla="*/ 624320 w 735417"/>
                <a:gd name="connsiteY103" fmla="*/ 3279 h 725747"/>
                <a:gd name="connsiteX104" fmla="*/ 620176 w 735417"/>
                <a:gd name="connsiteY104" fmla="*/ 72 h 725747"/>
                <a:gd name="connsiteX105" fmla="*/ 615982 w 735417"/>
                <a:gd name="connsiteY105" fmla="*/ 5006 h 725747"/>
                <a:gd name="connsiteX106" fmla="*/ 615982 w 735417"/>
                <a:gd name="connsiteY106" fmla="*/ 8213 h 725747"/>
                <a:gd name="connsiteX107" fmla="*/ 620176 w 735417"/>
                <a:gd name="connsiteY107" fmla="*/ 13147 h 725747"/>
                <a:gd name="connsiteX108" fmla="*/ 615982 w 735417"/>
                <a:gd name="connsiteY108" fmla="*/ 16403 h 725747"/>
                <a:gd name="connsiteX109" fmla="*/ 613909 w 735417"/>
                <a:gd name="connsiteY109" fmla="*/ 16403 h 725747"/>
                <a:gd name="connsiteX110" fmla="*/ 609765 w 735417"/>
                <a:gd name="connsiteY110" fmla="*/ 9940 h 725747"/>
                <a:gd name="connsiteX111" fmla="*/ 605571 w 735417"/>
                <a:gd name="connsiteY111" fmla="*/ 13147 h 725747"/>
                <a:gd name="connsiteX112" fmla="*/ 603498 w 735417"/>
                <a:gd name="connsiteY112" fmla="*/ 18081 h 725747"/>
                <a:gd name="connsiteX113" fmla="*/ 605571 w 735417"/>
                <a:gd name="connsiteY113" fmla="*/ 19709 h 725747"/>
                <a:gd name="connsiteX114" fmla="*/ 609765 w 735417"/>
                <a:gd name="connsiteY114" fmla="*/ 19709 h 725747"/>
                <a:gd name="connsiteX115" fmla="*/ 611837 w 735417"/>
                <a:gd name="connsiteY115" fmla="*/ 22916 h 725747"/>
                <a:gd name="connsiteX116" fmla="*/ 611837 w 735417"/>
                <a:gd name="connsiteY116" fmla="*/ 24544 h 725747"/>
                <a:gd name="connsiteX117" fmla="*/ 607692 w 735417"/>
                <a:gd name="connsiteY117" fmla="*/ 26173 h 725747"/>
                <a:gd name="connsiteX118" fmla="*/ 607692 w 735417"/>
                <a:gd name="connsiteY118" fmla="*/ 31107 h 725747"/>
                <a:gd name="connsiteX119" fmla="*/ 603498 w 735417"/>
                <a:gd name="connsiteY119" fmla="*/ 32735 h 725747"/>
                <a:gd name="connsiteX120" fmla="*/ 603498 w 735417"/>
                <a:gd name="connsiteY120" fmla="*/ 37669 h 725747"/>
                <a:gd name="connsiteX121" fmla="*/ 605571 w 735417"/>
                <a:gd name="connsiteY121" fmla="*/ 39248 h 725747"/>
                <a:gd name="connsiteX122" fmla="*/ 601427 w 735417"/>
                <a:gd name="connsiteY122" fmla="*/ 40876 h 725747"/>
                <a:gd name="connsiteX123" fmla="*/ 603498 w 735417"/>
                <a:gd name="connsiteY123" fmla="*/ 47340 h 725747"/>
                <a:gd name="connsiteX124" fmla="*/ 601427 w 735417"/>
                <a:gd name="connsiteY124" fmla="*/ 48919 h 725747"/>
                <a:gd name="connsiteX125" fmla="*/ 597282 w 735417"/>
                <a:gd name="connsiteY125" fmla="*/ 45712 h 725747"/>
                <a:gd name="connsiteX126" fmla="*/ 593088 w 735417"/>
                <a:gd name="connsiteY126" fmla="*/ 48919 h 725747"/>
                <a:gd name="connsiteX127" fmla="*/ 591015 w 735417"/>
                <a:gd name="connsiteY127" fmla="*/ 52175 h 725747"/>
                <a:gd name="connsiteX128" fmla="*/ 586871 w 735417"/>
                <a:gd name="connsiteY128" fmla="*/ 53754 h 725747"/>
                <a:gd name="connsiteX129" fmla="*/ 586871 w 735417"/>
                <a:gd name="connsiteY129" fmla="*/ 48820 h 725747"/>
                <a:gd name="connsiteX130" fmla="*/ 593088 w 735417"/>
                <a:gd name="connsiteY130" fmla="*/ 37570 h 725747"/>
                <a:gd name="connsiteX131" fmla="*/ 586871 w 735417"/>
                <a:gd name="connsiteY131" fmla="*/ 35942 h 725747"/>
                <a:gd name="connsiteX132" fmla="*/ 586871 w 735417"/>
                <a:gd name="connsiteY132" fmla="*/ 32735 h 725747"/>
                <a:gd name="connsiteX133" fmla="*/ 591015 w 735417"/>
                <a:gd name="connsiteY133" fmla="*/ 29479 h 725747"/>
                <a:gd name="connsiteX134" fmla="*/ 591015 w 735417"/>
                <a:gd name="connsiteY134" fmla="*/ 19610 h 725747"/>
                <a:gd name="connsiteX135" fmla="*/ 588894 w 735417"/>
                <a:gd name="connsiteY135" fmla="*/ 16403 h 725747"/>
                <a:gd name="connsiteX136" fmla="*/ 584749 w 735417"/>
                <a:gd name="connsiteY136" fmla="*/ 16403 h 725747"/>
                <a:gd name="connsiteX137" fmla="*/ 576460 w 735417"/>
                <a:gd name="connsiteY137" fmla="*/ 29281 h 725747"/>
                <a:gd name="connsiteX138" fmla="*/ 576460 w 735417"/>
                <a:gd name="connsiteY138" fmla="*/ 37373 h 725747"/>
                <a:gd name="connsiteX139" fmla="*/ 568072 w 735417"/>
                <a:gd name="connsiteY139" fmla="*/ 47241 h 725747"/>
                <a:gd name="connsiteX140" fmla="*/ 566049 w 735417"/>
                <a:gd name="connsiteY140" fmla="*/ 55284 h 725747"/>
                <a:gd name="connsiteX141" fmla="*/ 568072 w 735417"/>
                <a:gd name="connsiteY141" fmla="*/ 58491 h 725747"/>
                <a:gd name="connsiteX142" fmla="*/ 566049 w 735417"/>
                <a:gd name="connsiteY142" fmla="*/ 64954 h 725747"/>
                <a:gd name="connsiteX143" fmla="*/ 557661 w 735417"/>
                <a:gd name="connsiteY143" fmla="*/ 72997 h 725747"/>
                <a:gd name="connsiteX144" fmla="*/ 551445 w 735417"/>
                <a:gd name="connsiteY144" fmla="*/ 76253 h 725747"/>
                <a:gd name="connsiteX145" fmla="*/ 551445 w 735417"/>
                <a:gd name="connsiteY145" fmla="*/ 69790 h 725747"/>
                <a:gd name="connsiteX146" fmla="*/ 549323 w 735417"/>
                <a:gd name="connsiteY146" fmla="*/ 66583 h 725747"/>
                <a:gd name="connsiteX147" fmla="*/ 555639 w 735417"/>
                <a:gd name="connsiteY147" fmla="*/ 58491 h 725747"/>
                <a:gd name="connsiteX148" fmla="*/ 555639 w 735417"/>
                <a:gd name="connsiteY148" fmla="*/ 52076 h 725747"/>
                <a:gd name="connsiteX149" fmla="*/ 557661 w 735417"/>
                <a:gd name="connsiteY149" fmla="*/ 48820 h 725747"/>
                <a:gd name="connsiteX150" fmla="*/ 553517 w 735417"/>
                <a:gd name="connsiteY150" fmla="*/ 43886 h 725747"/>
                <a:gd name="connsiteX151" fmla="*/ 563927 w 735417"/>
                <a:gd name="connsiteY151" fmla="*/ 32636 h 725747"/>
                <a:gd name="connsiteX152" fmla="*/ 566049 w 735417"/>
                <a:gd name="connsiteY152" fmla="*/ 27702 h 725747"/>
                <a:gd name="connsiteX153" fmla="*/ 568072 w 735417"/>
                <a:gd name="connsiteY153" fmla="*/ 26123 h 725747"/>
                <a:gd name="connsiteX154" fmla="*/ 568072 w 735417"/>
                <a:gd name="connsiteY154" fmla="*/ 22867 h 725747"/>
                <a:gd name="connsiteX155" fmla="*/ 561855 w 735417"/>
                <a:gd name="connsiteY155" fmla="*/ 22867 h 725747"/>
                <a:gd name="connsiteX156" fmla="*/ 555639 w 735417"/>
                <a:gd name="connsiteY156" fmla="*/ 17933 h 725747"/>
                <a:gd name="connsiteX157" fmla="*/ 553517 w 735417"/>
                <a:gd name="connsiteY157" fmla="*/ 17933 h 725747"/>
                <a:gd name="connsiteX158" fmla="*/ 553517 w 735417"/>
                <a:gd name="connsiteY158" fmla="*/ 24396 h 725747"/>
                <a:gd name="connsiteX159" fmla="*/ 549323 w 735417"/>
                <a:gd name="connsiteY159" fmla="*/ 27604 h 725747"/>
                <a:gd name="connsiteX160" fmla="*/ 549323 w 735417"/>
                <a:gd name="connsiteY160" fmla="*/ 22670 h 725747"/>
                <a:gd name="connsiteX161" fmla="*/ 545228 w 735417"/>
                <a:gd name="connsiteY161" fmla="*/ 17736 h 725747"/>
                <a:gd name="connsiteX162" fmla="*/ 538912 w 735417"/>
                <a:gd name="connsiteY162" fmla="*/ 17736 h 725747"/>
                <a:gd name="connsiteX163" fmla="*/ 534768 w 735417"/>
                <a:gd name="connsiteY163" fmla="*/ 19364 h 725747"/>
                <a:gd name="connsiteX164" fmla="*/ 536840 w 735417"/>
                <a:gd name="connsiteY164" fmla="*/ 25827 h 725747"/>
                <a:gd name="connsiteX165" fmla="*/ 534768 w 735417"/>
                <a:gd name="connsiteY165" fmla="*/ 30761 h 725747"/>
                <a:gd name="connsiteX166" fmla="*/ 530623 w 735417"/>
                <a:gd name="connsiteY166" fmla="*/ 27505 h 725747"/>
                <a:gd name="connsiteX167" fmla="*/ 526429 w 735417"/>
                <a:gd name="connsiteY167" fmla="*/ 24298 h 725747"/>
                <a:gd name="connsiteX168" fmla="*/ 524356 w 735417"/>
                <a:gd name="connsiteY168" fmla="*/ 27505 h 725747"/>
                <a:gd name="connsiteX169" fmla="*/ 524356 w 735417"/>
                <a:gd name="connsiteY169" fmla="*/ 29133 h 725747"/>
                <a:gd name="connsiteX170" fmla="*/ 532695 w 735417"/>
                <a:gd name="connsiteY170" fmla="*/ 34067 h 725747"/>
                <a:gd name="connsiteX171" fmla="*/ 534768 w 735417"/>
                <a:gd name="connsiteY171" fmla="*/ 40531 h 725747"/>
                <a:gd name="connsiteX172" fmla="*/ 532695 w 735417"/>
                <a:gd name="connsiteY172" fmla="*/ 42159 h 725747"/>
                <a:gd name="connsiteX173" fmla="*/ 528501 w 735417"/>
                <a:gd name="connsiteY173" fmla="*/ 38903 h 725747"/>
                <a:gd name="connsiteX174" fmla="*/ 524356 w 735417"/>
                <a:gd name="connsiteY174" fmla="*/ 42159 h 725747"/>
                <a:gd name="connsiteX175" fmla="*/ 524356 w 735417"/>
                <a:gd name="connsiteY175" fmla="*/ 45366 h 725747"/>
                <a:gd name="connsiteX176" fmla="*/ 526429 w 735417"/>
                <a:gd name="connsiteY176" fmla="*/ 46994 h 725747"/>
                <a:gd name="connsiteX177" fmla="*/ 524356 w 735417"/>
                <a:gd name="connsiteY177" fmla="*/ 50202 h 725747"/>
                <a:gd name="connsiteX178" fmla="*/ 518091 w 735417"/>
                <a:gd name="connsiteY178" fmla="*/ 45268 h 725747"/>
                <a:gd name="connsiteX179" fmla="*/ 513946 w 735417"/>
                <a:gd name="connsiteY179" fmla="*/ 46896 h 725747"/>
                <a:gd name="connsiteX180" fmla="*/ 511874 w 735417"/>
                <a:gd name="connsiteY180" fmla="*/ 53310 h 725747"/>
                <a:gd name="connsiteX181" fmla="*/ 505607 w 735417"/>
                <a:gd name="connsiteY181" fmla="*/ 54938 h 725747"/>
                <a:gd name="connsiteX182" fmla="*/ 505607 w 735417"/>
                <a:gd name="connsiteY182" fmla="*/ 56566 h 725747"/>
                <a:gd name="connsiteX183" fmla="*/ 509801 w 735417"/>
                <a:gd name="connsiteY183" fmla="*/ 58145 h 725747"/>
                <a:gd name="connsiteX184" fmla="*/ 503535 w 735417"/>
                <a:gd name="connsiteY184" fmla="*/ 61402 h 725747"/>
                <a:gd name="connsiteX185" fmla="*/ 501463 w 735417"/>
                <a:gd name="connsiteY185" fmla="*/ 66336 h 725747"/>
                <a:gd name="connsiteX186" fmla="*/ 505607 w 735417"/>
                <a:gd name="connsiteY186" fmla="*/ 71270 h 725747"/>
                <a:gd name="connsiteX187" fmla="*/ 501463 w 735417"/>
                <a:gd name="connsiteY187" fmla="*/ 74526 h 725747"/>
                <a:gd name="connsiteX188" fmla="*/ 507680 w 735417"/>
                <a:gd name="connsiteY188" fmla="*/ 77733 h 725747"/>
                <a:gd name="connsiteX189" fmla="*/ 509801 w 735417"/>
                <a:gd name="connsiteY189" fmla="*/ 79312 h 725747"/>
                <a:gd name="connsiteX190" fmla="*/ 507680 w 735417"/>
                <a:gd name="connsiteY190" fmla="*/ 82569 h 725747"/>
                <a:gd name="connsiteX191" fmla="*/ 499390 w 735417"/>
                <a:gd name="connsiteY191" fmla="*/ 80940 h 725747"/>
                <a:gd name="connsiteX192" fmla="*/ 495197 w 735417"/>
                <a:gd name="connsiteY192" fmla="*/ 72849 h 725747"/>
                <a:gd name="connsiteX193" fmla="*/ 491052 w 735417"/>
                <a:gd name="connsiteY193" fmla="*/ 72849 h 725747"/>
                <a:gd name="connsiteX194" fmla="*/ 495197 w 735417"/>
                <a:gd name="connsiteY194" fmla="*/ 67915 h 725747"/>
                <a:gd name="connsiteX195" fmla="*/ 491052 w 735417"/>
                <a:gd name="connsiteY195" fmla="*/ 66286 h 725747"/>
                <a:gd name="connsiteX196" fmla="*/ 476249 w 735417"/>
                <a:gd name="connsiteY196" fmla="*/ 66286 h 725747"/>
                <a:gd name="connsiteX197" fmla="*/ 465839 w 735417"/>
                <a:gd name="connsiteY197" fmla="*/ 58195 h 725747"/>
                <a:gd name="connsiteX198" fmla="*/ 461694 w 735417"/>
                <a:gd name="connsiteY198" fmla="*/ 58195 h 725747"/>
                <a:gd name="connsiteX199" fmla="*/ 457550 w 735417"/>
                <a:gd name="connsiteY199" fmla="*/ 63129 h 725747"/>
                <a:gd name="connsiteX200" fmla="*/ 455428 w 735417"/>
                <a:gd name="connsiteY200" fmla="*/ 58195 h 725747"/>
                <a:gd name="connsiteX201" fmla="*/ 449162 w 735417"/>
                <a:gd name="connsiteY201" fmla="*/ 63129 h 725747"/>
                <a:gd name="connsiteX202" fmla="*/ 442945 w 735417"/>
                <a:gd name="connsiteY202" fmla="*/ 64757 h 725747"/>
                <a:gd name="connsiteX203" fmla="*/ 442945 w 735417"/>
                <a:gd name="connsiteY203" fmla="*/ 66385 h 725747"/>
                <a:gd name="connsiteX204" fmla="*/ 451284 w 735417"/>
                <a:gd name="connsiteY204" fmla="*/ 74477 h 725747"/>
                <a:gd name="connsiteX205" fmla="*/ 457550 w 735417"/>
                <a:gd name="connsiteY205" fmla="*/ 74477 h 725747"/>
                <a:gd name="connsiteX206" fmla="*/ 459573 w 735417"/>
                <a:gd name="connsiteY206" fmla="*/ 77684 h 725747"/>
                <a:gd name="connsiteX207" fmla="*/ 467961 w 735417"/>
                <a:gd name="connsiteY207" fmla="*/ 77684 h 725747"/>
                <a:gd name="connsiteX208" fmla="*/ 463767 w 735417"/>
                <a:gd name="connsiteY208" fmla="*/ 84098 h 725747"/>
                <a:gd name="connsiteX209" fmla="*/ 463767 w 735417"/>
                <a:gd name="connsiteY209" fmla="*/ 89032 h 725747"/>
                <a:gd name="connsiteX210" fmla="*/ 469984 w 735417"/>
                <a:gd name="connsiteY210" fmla="*/ 95496 h 725747"/>
                <a:gd name="connsiteX211" fmla="*/ 469984 w 735417"/>
                <a:gd name="connsiteY211" fmla="*/ 100430 h 725747"/>
                <a:gd name="connsiteX212" fmla="*/ 463767 w 735417"/>
                <a:gd name="connsiteY212" fmla="*/ 97173 h 725747"/>
                <a:gd name="connsiteX213" fmla="*/ 459573 w 735417"/>
                <a:gd name="connsiteY213" fmla="*/ 90759 h 725747"/>
                <a:gd name="connsiteX214" fmla="*/ 453356 w 735417"/>
                <a:gd name="connsiteY214" fmla="*/ 87552 h 725747"/>
                <a:gd name="connsiteX215" fmla="*/ 449162 w 735417"/>
                <a:gd name="connsiteY215" fmla="*/ 84296 h 725747"/>
                <a:gd name="connsiteX216" fmla="*/ 447139 w 735417"/>
                <a:gd name="connsiteY216" fmla="*/ 89230 h 725747"/>
                <a:gd name="connsiteX217" fmla="*/ 442945 w 735417"/>
                <a:gd name="connsiteY217" fmla="*/ 92486 h 725747"/>
                <a:gd name="connsiteX218" fmla="*/ 440823 w 735417"/>
                <a:gd name="connsiteY218" fmla="*/ 86023 h 725747"/>
                <a:gd name="connsiteX219" fmla="*/ 436728 w 735417"/>
                <a:gd name="connsiteY219" fmla="*/ 89230 h 725747"/>
                <a:gd name="connsiteX220" fmla="*/ 436728 w 735417"/>
                <a:gd name="connsiteY220" fmla="*/ 92486 h 725747"/>
                <a:gd name="connsiteX221" fmla="*/ 430413 w 735417"/>
                <a:gd name="connsiteY221" fmla="*/ 97420 h 725747"/>
                <a:gd name="connsiteX222" fmla="*/ 430413 w 735417"/>
                <a:gd name="connsiteY222" fmla="*/ 102354 h 725747"/>
                <a:gd name="connsiteX223" fmla="*/ 436728 w 735417"/>
                <a:gd name="connsiteY223" fmla="*/ 105561 h 725747"/>
                <a:gd name="connsiteX224" fmla="*/ 440823 w 735417"/>
                <a:gd name="connsiteY224" fmla="*/ 112025 h 725747"/>
                <a:gd name="connsiteX225" fmla="*/ 434607 w 735417"/>
                <a:gd name="connsiteY225" fmla="*/ 110397 h 725747"/>
                <a:gd name="connsiteX226" fmla="*/ 432534 w 735417"/>
                <a:gd name="connsiteY226" fmla="*/ 107190 h 725747"/>
                <a:gd name="connsiteX227" fmla="*/ 426317 w 735417"/>
                <a:gd name="connsiteY227" fmla="*/ 113653 h 725747"/>
                <a:gd name="connsiteX228" fmla="*/ 426317 w 735417"/>
                <a:gd name="connsiteY228" fmla="*/ 118587 h 725747"/>
                <a:gd name="connsiteX229" fmla="*/ 417929 w 735417"/>
                <a:gd name="connsiteY229" fmla="*/ 123521 h 725747"/>
                <a:gd name="connsiteX230" fmla="*/ 417929 w 735417"/>
                <a:gd name="connsiteY230" fmla="*/ 120265 h 725747"/>
                <a:gd name="connsiteX231" fmla="*/ 422123 w 735417"/>
                <a:gd name="connsiteY231" fmla="*/ 117058 h 725747"/>
                <a:gd name="connsiteX232" fmla="*/ 420002 w 735417"/>
                <a:gd name="connsiteY232" fmla="*/ 113851 h 725747"/>
                <a:gd name="connsiteX233" fmla="*/ 426317 w 735417"/>
                <a:gd name="connsiteY233" fmla="*/ 103982 h 725747"/>
                <a:gd name="connsiteX234" fmla="*/ 422123 w 735417"/>
                <a:gd name="connsiteY234" fmla="*/ 87897 h 725747"/>
                <a:gd name="connsiteX235" fmla="*/ 415857 w 735417"/>
                <a:gd name="connsiteY235" fmla="*/ 89476 h 725747"/>
                <a:gd name="connsiteX236" fmla="*/ 409591 w 735417"/>
                <a:gd name="connsiteY236" fmla="*/ 100775 h 725747"/>
                <a:gd name="connsiteX237" fmla="*/ 409591 w 735417"/>
                <a:gd name="connsiteY237" fmla="*/ 112074 h 725747"/>
                <a:gd name="connsiteX238" fmla="*/ 403374 w 735417"/>
                <a:gd name="connsiteY238" fmla="*/ 118489 h 725747"/>
                <a:gd name="connsiteX239" fmla="*/ 403374 w 735417"/>
                <a:gd name="connsiteY239" fmla="*/ 112074 h 725747"/>
                <a:gd name="connsiteX240" fmla="*/ 407519 w 735417"/>
                <a:gd name="connsiteY240" fmla="*/ 105611 h 725747"/>
                <a:gd name="connsiteX241" fmla="*/ 403374 w 735417"/>
                <a:gd name="connsiteY241" fmla="*/ 97519 h 725747"/>
                <a:gd name="connsiteX242" fmla="*/ 401302 w 735417"/>
                <a:gd name="connsiteY242" fmla="*/ 95940 h 725747"/>
                <a:gd name="connsiteX243" fmla="*/ 392964 w 735417"/>
                <a:gd name="connsiteY243" fmla="*/ 100874 h 725747"/>
                <a:gd name="connsiteX244" fmla="*/ 388769 w 735417"/>
                <a:gd name="connsiteY244" fmla="*/ 107338 h 725747"/>
                <a:gd name="connsiteX245" fmla="*/ 392964 w 735417"/>
                <a:gd name="connsiteY245" fmla="*/ 113801 h 725747"/>
                <a:gd name="connsiteX246" fmla="*/ 390891 w 735417"/>
                <a:gd name="connsiteY246" fmla="*/ 118735 h 725747"/>
                <a:gd name="connsiteX247" fmla="*/ 401302 w 735417"/>
                <a:gd name="connsiteY247" fmla="*/ 125199 h 725747"/>
                <a:gd name="connsiteX248" fmla="*/ 403374 w 735417"/>
                <a:gd name="connsiteY248" fmla="*/ 130133 h 725747"/>
                <a:gd name="connsiteX249" fmla="*/ 401302 w 735417"/>
                <a:gd name="connsiteY249" fmla="*/ 136547 h 725747"/>
                <a:gd name="connsiteX250" fmla="*/ 397108 w 735417"/>
                <a:gd name="connsiteY250" fmla="*/ 128455 h 725747"/>
                <a:gd name="connsiteX251" fmla="*/ 390891 w 735417"/>
                <a:gd name="connsiteY251" fmla="*/ 125248 h 725747"/>
                <a:gd name="connsiteX252" fmla="*/ 384625 w 735417"/>
                <a:gd name="connsiteY252" fmla="*/ 113999 h 725747"/>
                <a:gd name="connsiteX253" fmla="*/ 382552 w 735417"/>
                <a:gd name="connsiteY253" fmla="*/ 113999 h 725747"/>
                <a:gd name="connsiteX254" fmla="*/ 374214 w 735417"/>
                <a:gd name="connsiteY254" fmla="*/ 115578 h 725747"/>
                <a:gd name="connsiteX255" fmla="*/ 372141 w 735417"/>
                <a:gd name="connsiteY255" fmla="*/ 120512 h 725747"/>
                <a:gd name="connsiteX256" fmla="*/ 382552 w 735417"/>
                <a:gd name="connsiteY256" fmla="*/ 125446 h 725747"/>
                <a:gd name="connsiteX257" fmla="*/ 386697 w 735417"/>
                <a:gd name="connsiteY257" fmla="*/ 127074 h 725747"/>
                <a:gd name="connsiteX258" fmla="*/ 388769 w 735417"/>
                <a:gd name="connsiteY258" fmla="*/ 128653 h 725747"/>
                <a:gd name="connsiteX259" fmla="*/ 382552 w 735417"/>
                <a:gd name="connsiteY259" fmla="*/ 128653 h 725747"/>
                <a:gd name="connsiteX260" fmla="*/ 376286 w 735417"/>
                <a:gd name="connsiteY260" fmla="*/ 130330 h 725747"/>
                <a:gd name="connsiteX261" fmla="*/ 380480 w 735417"/>
                <a:gd name="connsiteY261" fmla="*/ 135264 h 725747"/>
                <a:gd name="connsiteX262" fmla="*/ 374214 w 735417"/>
                <a:gd name="connsiteY262" fmla="*/ 132057 h 725747"/>
                <a:gd name="connsiteX263" fmla="*/ 372141 w 735417"/>
                <a:gd name="connsiteY263" fmla="*/ 124015 h 725747"/>
                <a:gd name="connsiteX264" fmla="*/ 370070 w 735417"/>
                <a:gd name="connsiteY264" fmla="*/ 124015 h 725747"/>
                <a:gd name="connsiteX265" fmla="*/ 367948 w 735417"/>
                <a:gd name="connsiteY265" fmla="*/ 119081 h 725747"/>
                <a:gd name="connsiteX266" fmla="*/ 363803 w 735417"/>
                <a:gd name="connsiteY266" fmla="*/ 120709 h 725747"/>
                <a:gd name="connsiteX267" fmla="*/ 361681 w 735417"/>
                <a:gd name="connsiteY267" fmla="*/ 128751 h 725747"/>
                <a:gd name="connsiteX268" fmla="*/ 365875 w 735417"/>
                <a:gd name="connsiteY268" fmla="*/ 132008 h 725747"/>
                <a:gd name="connsiteX269" fmla="*/ 363803 w 735417"/>
                <a:gd name="connsiteY269" fmla="*/ 138471 h 725747"/>
                <a:gd name="connsiteX270" fmla="*/ 359659 w 735417"/>
                <a:gd name="connsiteY270" fmla="*/ 136843 h 725747"/>
                <a:gd name="connsiteX271" fmla="*/ 353392 w 735417"/>
                <a:gd name="connsiteY271" fmla="*/ 138471 h 725747"/>
                <a:gd name="connsiteX272" fmla="*/ 347126 w 735417"/>
                <a:gd name="connsiteY272" fmla="*/ 144886 h 725747"/>
                <a:gd name="connsiteX273" fmla="*/ 353392 w 735417"/>
                <a:gd name="connsiteY273" fmla="*/ 144886 h 725747"/>
                <a:gd name="connsiteX274" fmla="*/ 357537 w 735417"/>
                <a:gd name="connsiteY274" fmla="*/ 149820 h 725747"/>
                <a:gd name="connsiteX275" fmla="*/ 351271 w 735417"/>
                <a:gd name="connsiteY275" fmla="*/ 149820 h 725747"/>
                <a:gd name="connsiteX276" fmla="*/ 347126 w 735417"/>
                <a:gd name="connsiteY276" fmla="*/ 153076 h 725747"/>
                <a:gd name="connsiteX277" fmla="*/ 351271 w 735417"/>
                <a:gd name="connsiteY277" fmla="*/ 154704 h 725747"/>
                <a:gd name="connsiteX278" fmla="*/ 349247 w 735417"/>
                <a:gd name="connsiteY278" fmla="*/ 157911 h 725747"/>
                <a:gd name="connsiteX279" fmla="*/ 342982 w 735417"/>
                <a:gd name="connsiteY279" fmla="*/ 157911 h 725747"/>
                <a:gd name="connsiteX280" fmla="*/ 342982 w 735417"/>
                <a:gd name="connsiteY280" fmla="*/ 161168 h 725747"/>
                <a:gd name="connsiteX281" fmla="*/ 345054 w 735417"/>
                <a:gd name="connsiteY281" fmla="*/ 162747 h 725747"/>
                <a:gd name="connsiteX282" fmla="*/ 340860 w 735417"/>
                <a:gd name="connsiteY282" fmla="*/ 162747 h 725747"/>
                <a:gd name="connsiteX283" fmla="*/ 338837 w 735417"/>
                <a:gd name="connsiteY283" fmla="*/ 159490 h 725747"/>
                <a:gd name="connsiteX284" fmla="*/ 332570 w 735417"/>
                <a:gd name="connsiteY284" fmla="*/ 161168 h 725747"/>
                <a:gd name="connsiteX285" fmla="*/ 328426 w 735417"/>
                <a:gd name="connsiteY285" fmla="*/ 166102 h 725747"/>
                <a:gd name="connsiteX286" fmla="*/ 330449 w 735417"/>
                <a:gd name="connsiteY286" fmla="*/ 169358 h 725747"/>
                <a:gd name="connsiteX287" fmla="*/ 328426 w 735417"/>
                <a:gd name="connsiteY287" fmla="*/ 170987 h 725747"/>
                <a:gd name="connsiteX288" fmla="*/ 322357 w 735417"/>
                <a:gd name="connsiteY288" fmla="*/ 171825 h 725747"/>
                <a:gd name="connsiteX289" fmla="*/ 318262 w 735417"/>
                <a:gd name="connsiteY289" fmla="*/ 176760 h 725747"/>
                <a:gd name="connsiteX290" fmla="*/ 324479 w 735417"/>
                <a:gd name="connsiteY290" fmla="*/ 178388 h 725747"/>
                <a:gd name="connsiteX291" fmla="*/ 339281 w 735417"/>
                <a:gd name="connsiteY291" fmla="*/ 175131 h 725747"/>
                <a:gd name="connsiteX292" fmla="*/ 343426 w 735417"/>
                <a:gd name="connsiteY292" fmla="*/ 176760 h 725747"/>
                <a:gd name="connsiteX293" fmla="*/ 349692 w 735417"/>
                <a:gd name="connsiteY293" fmla="*/ 173552 h 725747"/>
                <a:gd name="connsiteX294" fmla="*/ 353836 w 735417"/>
                <a:gd name="connsiteY294" fmla="*/ 173552 h 725747"/>
                <a:gd name="connsiteX295" fmla="*/ 353836 w 735417"/>
                <a:gd name="connsiteY295" fmla="*/ 178486 h 725747"/>
                <a:gd name="connsiteX296" fmla="*/ 349692 w 735417"/>
                <a:gd name="connsiteY296" fmla="*/ 181694 h 725747"/>
                <a:gd name="connsiteX297" fmla="*/ 347570 w 735417"/>
                <a:gd name="connsiteY297" fmla="*/ 191562 h 725747"/>
                <a:gd name="connsiteX298" fmla="*/ 345498 w 735417"/>
                <a:gd name="connsiteY298" fmla="*/ 193190 h 725747"/>
                <a:gd name="connsiteX299" fmla="*/ 343426 w 735417"/>
                <a:gd name="connsiteY299" fmla="*/ 189933 h 725747"/>
                <a:gd name="connsiteX300" fmla="*/ 343426 w 735417"/>
                <a:gd name="connsiteY300" fmla="*/ 184999 h 725747"/>
                <a:gd name="connsiteX301" fmla="*/ 337159 w 735417"/>
                <a:gd name="connsiteY301" fmla="*/ 186578 h 725747"/>
                <a:gd name="connsiteX302" fmla="*/ 335087 w 735417"/>
                <a:gd name="connsiteY302" fmla="*/ 183322 h 725747"/>
                <a:gd name="connsiteX303" fmla="*/ 326749 w 735417"/>
                <a:gd name="connsiteY303" fmla="*/ 183322 h 725747"/>
                <a:gd name="connsiteX304" fmla="*/ 328870 w 735417"/>
                <a:gd name="connsiteY304" fmla="*/ 186578 h 725747"/>
                <a:gd name="connsiteX305" fmla="*/ 326749 w 735417"/>
                <a:gd name="connsiteY305" fmla="*/ 189785 h 725747"/>
                <a:gd name="connsiteX306" fmla="*/ 322555 w 735417"/>
                <a:gd name="connsiteY306" fmla="*/ 186578 h 725747"/>
                <a:gd name="connsiteX307" fmla="*/ 318459 w 735417"/>
                <a:gd name="connsiteY307" fmla="*/ 186578 h 725747"/>
                <a:gd name="connsiteX308" fmla="*/ 322555 w 735417"/>
                <a:gd name="connsiteY308" fmla="*/ 191512 h 725747"/>
                <a:gd name="connsiteX309" fmla="*/ 324676 w 735417"/>
                <a:gd name="connsiteY309" fmla="*/ 196446 h 725747"/>
                <a:gd name="connsiteX310" fmla="*/ 322357 w 735417"/>
                <a:gd name="connsiteY310" fmla="*/ 196446 h 725747"/>
                <a:gd name="connsiteX311" fmla="*/ 320285 w 735417"/>
                <a:gd name="connsiteY311" fmla="*/ 199653 h 725747"/>
                <a:gd name="connsiteX312" fmla="*/ 320285 w 735417"/>
                <a:gd name="connsiteY312" fmla="*/ 206117 h 725747"/>
                <a:gd name="connsiteX313" fmla="*/ 316140 w 735417"/>
                <a:gd name="connsiteY313" fmla="*/ 202910 h 725747"/>
                <a:gd name="connsiteX314" fmla="*/ 316140 w 735417"/>
                <a:gd name="connsiteY314" fmla="*/ 196446 h 725747"/>
                <a:gd name="connsiteX315" fmla="*/ 311946 w 735417"/>
                <a:gd name="connsiteY315" fmla="*/ 191512 h 725747"/>
                <a:gd name="connsiteX316" fmla="*/ 307802 w 735417"/>
                <a:gd name="connsiteY316" fmla="*/ 196446 h 725747"/>
                <a:gd name="connsiteX317" fmla="*/ 301536 w 735417"/>
                <a:gd name="connsiteY317" fmla="*/ 198075 h 725747"/>
                <a:gd name="connsiteX318" fmla="*/ 299463 w 735417"/>
                <a:gd name="connsiteY318" fmla="*/ 193141 h 725747"/>
                <a:gd name="connsiteX319" fmla="*/ 301536 w 735417"/>
                <a:gd name="connsiteY319" fmla="*/ 191512 h 725747"/>
                <a:gd name="connsiteX320" fmla="*/ 297391 w 735417"/>
                <a:gd name="connsiteY320" fmla="*/ 189884 h 725747"/>
                <a:gd name="connsiteX321" fmla="*/ 291125 w 735417"/>
                <a:gd name="connsiteY321" fmla="*/ 196348 h 725747"/>
                <a:gd name="connsiteX322" fmla="*/ 297391 w 735417"/>
                <a:gd name="connsiteY322" fmla="*/ 201282 h 725747"/>
                <a:gd name="connsiteX323" fmla="*/ 303657 w 735417"/>
                <a:gd name="connsiteY323" fmla="*/ 199604 h 725747"/>
                <a:gd name="connsiteX324" fmla="*/ 309874 w 735417"/>
                <a:gd name="connsiteY324" fmla="*/ 202861 h 725747"/>
                <a:gd name="connsiteX325" fmla="*/ 307802 w 735417"/>
                <a:gd name="connsiteY325" fmla="*/ 207795 h 725747"/>
                <a:gd name="connsiteX326" fmla="*/ 293246 w 735417"/>
                <a:gd name="connsiteY326" fmla="*/ 209423 h 725747"/>
                <a:gd name="connsiteX327" fmla="*/ 291125 w 735417"/>
                <a:gd name="connsiteY327" fmla="*/ 207795 h 725747"/>
                <a:gd name="connsiteX328" fmla="*/ 284908 w 735417"/>
                <a:gd name="connsiteY328" fmla="*/ 207795 h 725747"/>
                <a:gd name="connsiteX329" fmla="*/ 282836 w 735417"/>
                <a:gd name="connsiteY329" fmla="*/ 214209 h 725747"/>
                <a:gd name="connsiteX330" fmla="*/ 286980 w 735417"/>
                <a:gd name="connsiteY330" fmla="*/ 217465 h 725747"/>
                <a:gd name="connsiteX331" fmla="*/ 282836 w 735417"/>
                <a:gd name="connsiteY331" fmla="*/ 222399 h 725747"/>
                <a:gd name="connsiteX332" fmla="*/ 289052 w 735417"/>
                <a:gd name="connsiteY332" fmla="*/ 220771 h 725747"/>
                <a:gd name="connsiteX333" fmla="*/ 295319 w 735417"/>
                <a:gd name="connsiteY333" fmla="*/ 214307 h 725747"/>
                <a:gd name="connsiteX334" fmla="*/ 299463 w 735417"/>
                <a:gd name="connsiteY334" fmla="*/ 215985 h 725747"/>
                <a:gd name="connsiteX335" fmla="*/ 303657 w 735417"/>
                <a:gd name="connsiteY335" fmla="*/ 219192 h 725747"/>
                <a:gd name="connsiteX336" fmla="*/ 293246 w 735417"/>
                <a:gd name="connsiteY336" fmla="*/ 220771 h 725747"/>
                <a:gd name="connsiteX337" fmla="*/ 293246 w 735417"/>
                <a:gd name="connsiteY337" fmla="*/ 225705 h 725747"/>
                <a:gd name="connsiteX338" fmla="*/ 297391 w 735417"/>
                <a:gd name="connsiteY338" fmla="*/ 230639 h 725747"/>
                <a:gd name="connsiteX339" fmla="*/ 303657 w 735417"/>
                <a:gd name="connsiteY339" fmla="*/ 235573 h 725747"/>
                <a:gd name="connsiteX340" fmla="*/ 303657 w 735417"/>
                <a:gd name="connsiteY340" fmla="*/ 238780 h 725747"/>
                <a:gd name="connsiteX341" fmla="*/ 299463 w 735417"/>
                <a:gd name="connsiteY341" fmla="*/ 235573 h 725747"/>
                <a:gd name="connsiteX342" fmla="*/ 293246 w 735417"/>
                <a:gd name="connsiteY342" fmla="*/ 237152 h 725747"/>
                <a:gd name="connsiteX343" fmla="*/ 289052 w 735417"/>
                <a:gd name="connsiteY343" fmla="*/ 230688 h 725747"/>
                <a:gd name="connsiteX344" fmla="*/ 284908 w 735417"/>
                <a:gd name="connsiteY344" fmla="*/ 230688 h 725747"/>
                <a:gd name="connsiteX345" fmla="*/ 280714 w 735417"/>
                <a:gd name="connsiteY345" fmla="*/ 235623 h 725747"/>
                <a:gd name="connsiteX346" fmla="*/ 286980 w 735417"/>
                <a:gd name="connsiteY346" fmla="*/ 238830 h 725747"/>
                <a:gd name="connsiteX347" fmla="*/ 278642 w 735417"/>
                <a:gd name="connsiteY347" fmla="*/ 238830 h 725747"/>
                <a:gd name="connsiteX348" fmla="*/ 272425 w 735417"/>
                <a:gd name="connsiteY348" fmla="*/ 242037 h 725747"/>
                <a:gd name="connsiteX349" fmla="*/ 272425 w 735417"/>
                <a:gd name="connsiteY349" fmla="*/ 246971 h 725747"/>
                <a:gd name="connsiteX350" fmla="*/ 280714 w 735417"/>
                <a:gd name="connsiteY350" fmla="*/ 248599 h 725747"/>
                <a:gd name="connsiteX351" fmla="*/ 284908 w 735417"/>
                <a:gd name="connsiteY351" fmla="*/ 245343 h 725747"/>
                <a:gd name="connsiteX352" fmla="*/ 289052 w 735417"/>
                <a:gd name="connsiteY352" fmla="*/ 248599 h 725747"/>
                <a:gd name="connsiteX353" fmla="*/ 295319 w 735417"/>
                <a:gd name="connsiteY353" fmla="*/ 246971 h 725747"/>
                <a:gd name="connsiteX354" fmla="*/ 297391 w 735417"/>
                <a:gd name="connsiteY354" fmla="*/ 251905 h 725747"/>
                <a:gd name="connsiteX355" fmla="*/ 301536 w 735417"/>
                <a:gd name="connsiteY355" fmla="*/ 255161 h 725747"/>
                <a:gd name="connsiteX356" fmla="*/ 301536 w 735417"/>
                <a:gd name="connsiteY356" fmla="*/ 258368 h 725747"/>
                <a:gd name="connsiteX357" fmla="*/ 293246 w 735417"/>
                <a:gd name="connsiteY357" fmla="*/ 253434 h 725747"/>
                <a:gd name="connsiteX358" fmla="*/ 284908 w 735417"/>
                <a:gd name="connsiteY358" fmla="*/ 253434 h 725747"/>
                <a:gd name="connsiteX359" fmla="*/ 280714 w 735417"/>
                <a:gd name="connsiteY359" fmla="*/ 255063 h 725747"/>
                <a:gd name="connsiteX360" fmla="*/ 272425 w 735417"/>
                <a:gd name="connsiteY360" fmla="*/ 256691 h 725747"/>
                <a:gd name="connsiteX361" fmla="*/ 272425 w 735417"/>
                <a:gd name="connsiteY361" fmla="*/ 261625 h 725747"/>
                <a:gd name="connsiteX362" fmla="*/ 266158 w 735417"/>
                <a:gd name="connsiteY362" fmla="*/ 263253 h 725747"/>
                <a:gd name="connsiteX363" fmla="*/ 264086 w 735417"/>
                <a:gd name="connsiteY363" fmla="*/ 261625 h 725747"/>
                <a:gd name="connsiteX364" fmla="*/ 253675 w 735417"/>
                <a:gd name="connsiteY364" fmla="*/ 264881 h 725747"/>
                <a:gd name="connsiteX365" fmla="*/ 249481 w 735417"/>
                <a:gd name="connsiteY365" fmla="*/ 266510 h 725747"/>
                <a:gd name="connsiteX366" fmla="*/ 249481 w 735417"/>
                <a:gd name="connsiteY366" fmla="*/ 268089 h 725747"/>
                <a:gd name="connsiteX367" fmla="*/ 253675 w 735417"/>
                <a:gd name="connsiteY367" fmla="*/ 271345 h 725747"/>
                <a:gd name="connsiteX368" fmla="*/ 257820 w 735417"/>
                <a:gd name="connsiteY368" fmla="*/ 274552 h 725747"/>
                <a:gd name="connsiteX369" fmla="*/ 253675 w 735417"/>
                <a:gd name="connsiteY369" fmla="*/ 276131 h 725747"/>
                <a:gd name="connsiteX370" fmla="*/ 251603 w 735417"/>
                <a:gd name="connsiteY370" fmla="*/ 274552 h 725747"/>
                <a:gd name="connsiteX371" fmla="*/ 249481 w 735417"/>
                <a:gd name="connsiteY371" fmla="*/ 276131 h 725747"/>
                <a:gd name="connsiteX372" fmla="*/ 253675 w 735417"/>
                <a:gd name="connsiteY372" fmla="*/ 281065 h 725747"/>
                <a:gd name="connsiteX373" fmla="*/ 251603 w 735417"/>
                <a:gd name="connsiteY373" fmla="*/ 282644 h 725747"/>
                <a:gd name="connsiteX374" fmla="*/ 245337 w 735417"/>
                <a:gd name="connsiteY374" fmla="*/ 281065 h 725747"/>
                <a:gd name="connsiteX375" fmla="*/ 243215 w 735417"/>
                <a:gd name="connsiteY375" fmla="*/ 279437 h 725747"/>
                <a:gd name="connsiteX376" fmla="*/ 241193 w 735417"/>
                <a:gd name="connsiteY376" fmla="*/ 282644 h 725747"/>
                <a:gd name="connsiteX377" fmla="*/ 247410 w 735417"/>
                <a:gd name="connsiteY377" fmla="*/ 285851 h 725747"/>
                <a:gd name="connsiteX378" fmla="*/ 243215 w 735417"/>
                <a:gd name="connsiteY378" fmla="*/ 287529 h 725747"/>
                <a:gd name="connsiteX379" fmla="*/ 245337 w 735417"/>
                <a:gd name="connsiteY379" fmla="*/ 290736 h 725747"/>
                <a:gd name="connsiteX380" fmla="*/ 247410 w 735417"/>
                <a:gd name="connsiteY380" fmla="*/ 290736 h 725747"/>
                <a:gd name="connsiteX381" fmla="*/ 245337 w 735417"/>
                <a:gd name="connsiteY381" fmla="*/ 292315 h 725747"/>
                <a:gd name="connsiteX382" fmla="*/ 241193 w 735417"/>
                <a:gd name="connsiteY382" fmla="*/ 293943 h 725747"/>
                <a:gd name="connsiteX383" fmla="*/ 236998 w 735417"/>
                <a:gd name="connsiteY383" fmla="*/ 290736 h 725747"/>
                <a:gd name="connsiteX384" fmla="*/ 236998 w 735417"/>
                <a:gd name="connsiteY384" fmla="*/ 295670 h 725747"/>
                <a:gd name="connsiteX385" fmla="*/ 234926 w 735417"/>
                <a:gd name="connsiteY385" fmla="*/ 298877 h 725747"/>
                <a:gd name="connsiteX386" fmla="*/ 239071 w 735417"/>
                <a:gd name="connsiteY386" fmla="*/ 300505 h 725747"/>
                <a:gd name="connsiteX387" fmla="*/ 249481 w 735417"/>
                <a:gd name="connsiteY387" fmla="*/ 302133 h 725747"/>
                <a:gd name="connsiteX388" fmla="*/ 249481 w 735417"/>
                <a:gd name="connsiteY388" fmla="*/ 307067 h 725747"/>
                <a:gd name="connsiteX389" fmla="*/ 253675 w 735417"/>
                <a:gd name="connsiteY389" fmla="*/ 307067 h 725747"/>
                <a:gd name="connsiteX390" fmla="*/ 259892 w 735417"/>
                <a:gd name="connsiteY390" fmla="*/ 305488 h 725747"/>
                <a:gd name="connsiteX391" fmla="*/ 255748 w 735417"/>
                <a:gd name="connsiteY391" fmla="*/ 308696 h 725747"/>
                <a:gd name="connsiteX392" fmla="*/ 255748 w 735417"/>
                <a:gd name="connsiteY392" fmla="*/ 311952 h 725747"/>
                <a:gd name="connsiteX393" fmla="*/ 249481 w 735417"/>
                <a:gd name="connsiteY393" fmla="*/ 311952 h 725747"/>
                <a:gd name="connsiteX394" fmla="*/ 247410 w 735417"/>
                <a:gd name="connsiteY394" fmla="*/ 308696 h 725747"/>
                <a:gd name="connsiteX395" fmla="*/ 236998 w 735417"/>
                <a:gd name="connsiteY395" fmla="*/ 310324 h 725747"/>
                <a:gd name="connsiteX396" fmla="*/ 230781 w 735417"/>
                <a:gd name="connsiteY396" fmla="*/ 315258 h 725747"/>
                <a:gd name="connsiteX397" fmla="*/ 232804 w 735417"/>
                <a:gd name="connsiteY397" fmla="*/ 316837 h 725747"/>
                <a:gd name="connsiteX398" fmla="*/ 239071 w 735417"/>
                <a:gd name="connsiteY398" fmla="*/ 316837 h 725747"/>
                <a:gd name="connsiteX399" fmla="*/ 239071 w 735417"/>
                <a:gd name="connsiteY399" fmla="*/ 321771 h 725747"/>
                <a:gd name="connsiteX400" fmla="*/ 243215 w 735417"/>
                <a:gd name="connsiteY400" fmla="*/ 323350 h 725747"/>
                <a:gd name="connsiteX401" fmla="*/ 243215 w 735417"/>
                <a:gd name="connsiteY401" fmla="*/ 328284 h 725747"/>
                <a:gd name="connsiteX402" fmla="*/ 239071 w 735417"/>
                <a:gd name="connsiteY402" fmla="*/ 325077 h 725747"/>
                <a:gd name="connsiteX403" fmla="*/ 234926 w 735417"/>
                <a:gd name="connsiteY403" fmla="*/ 325077 h 725747"/>
                <a:gd name="connsiteX404" fmla="*/ 232804 w 735417"/>
                <a:gd name="connsiteY404" fmla="*/ 328284 h 725747"/>
                <a:gd name="connsiteX405" fmla="*/ 232804 w 735417"/>
                <a:gd name="connsiteY405" fmla="*/ 333218 h 725747"/>
                <a:gd name="connsiteX406" fmla="*/ 230781 w 735417"/>
                <a:gd name="connsiteY406" fmla="*/ 333218 h 725747"/>
                <a:gd name="connsiteX407" fmla="*/ 234926 w 735417"/>
                <a:gd name="connsiteY407" fmla="*/ 336474 h 725747"/>
                <a:gd name="connsiteX408" fmla="*/ 234926 w 735417"/>
                <a:gd name="connsiteY408" fmla="*/ 341408 h 725747"/>
                <a:gd name="connsiteX409" fmla="*/ 230781 w 735417"/>
                <a:gd name="connsiteY409" fmla="*/ 341408 h 725747"/>
                <a:gd name="connsiteX410" fmla="*/ 228660 w 735417"/>
                <a:gd name="connsiteY410" fmla="*/ 338201 h 725747"/>
                <a:gd name="connsiteX411" fmla="*/ 224516 w 735417"/>
                <a:gd name="connsiteY411" fmla="*/ 339829 h 725747"/>
                <a:gd name="connsiteX412" fmla="*/ 226587 w 735417"/>
                <a:gd name="connsiteY412" fmla="*/ 344763 h 725747"/>
                <a:gd name="connsiteX413" fmla="*/ 230781 w 735417"/>
                <a:gd name="connsiteY413" fmla="*/ 346392 h 725747"/>
                <a:gd name="connsiteX414" fmla="*/ 232804 w 735417"/>
                <a:gd name="connsiteY414" fmla="*/ 347971 h 725747"/>
                <a:gd name="connsiteX415" fmla="*/ 232804 w 735417"/>
                <a:gd name="connsiteY415" fmla="*/ 351227 h 725747"/>
                <a:gd name="connsiteX416" fmla="*/ 224516 w 735417"/>
                <a:gd name="connsiteY416" fmla="*/ 347971 h 725747"/>
                <a:gd name="connsiteX417" fmla="*/ 220370 w 735417"/>
                <a:gd name="connsiteY417" fmla="*/ 349648 h 725747"/>
                <a:gd name="connsiteX418" fmla="*/ 220370 w 735417"/>
                <a:gd name="connsiteY418" fmla="*/ 354582 h 725747"/>
                <a:gd name="connsiteX419" fmla="*/ 222394 w 735417"/>
                <a:gd name="connsiteY419" fmla="*/ 354582 h 725747"/>
                <a:gd name="connsiteX420" fmla="*/ 222394 w 735417"/>
                <a:gd name="connsiteY420" fmla="*/ 359516 h 725747"/>
                <a:gd name="connsiteX421" fmla="*/ 224516 w 735417"/>
                <a:gd name="connsiteY421" fmla="*/ 364450 h 725747"/>
                <a:gd name="connsiteX422" fmla="*/ 228660 w 735417"/>
                <a:gd name="connsiteY422" fmla="*/ 364450 h 725747"/>
                <a:gd name="connsiteX423" fmla="*/ 232804 w 735417"/>
                <a:gd name="connsiteY423" fmla="*/ 359516 h 725747"/>
                <a:gd name="connsiteX424" fmla="*/ 234926 w 735417"/>
                <a:gd name="connsiteY424" fmla="*/ 359516 h 725747"/>
                <a:gd name="connsiteX425" fmla="*/ 232804 w 735417"/>
                <a:gd name="connsiteY425" fmla="*/ 367608 h 725747"/>
                <a:gd name="connsiteX426" fmla="*/ 228611 w 735417"/>
                <a:gd name="connsiteY426" fmla="*/ 367608 h 725747"/>
                <a:gd name="connsiteX427" fmla="*/ 222344 w 735417"/>
                <a:gd name="connsiteY427" fmla="*/ 374072 h 725747"/>
                <a:gd name="connsiteX428" fmla="*/ 218200 w 735417"/>
                <a:gd name="connsiteY428" fmla="*/ 374072 h 725747"/>
                <a:gd name="connsiteX429" fmla="*/ 211933 w 735417"/>
                <a:gd name="connsiteY429" fmla="*/ 375650 h 725747"/>
                <a:gd name="connsiteX430" fmla="*/ 211933 w 735417"/>
                <a:gd name="connsiteY430" fmla="*/ 377279 h 725747"/>
                <a:gd name="connsiteX431" fmla="*/ 207789 w 735417"/>
                <a:gd name="connsiteY431" fmla="*/ 380486 h 725747"/>
                <a:gd name="connsiteX432" fmla="*/ 201523 w 735417"/>
                <a:gd name="connsiteY432" fmla="*/ 383742 h 725747"/>
                <a:gd name="connsiteX433" fmla="*/ 207789 w 735417"/>
                <a:gd name="connsiteY433" fmla="*/ 385321 h 725747"/>
                <a:gd name="connsiteX434" fmla="*/ 205717 w 735417"/>
                <a:gd name="connsiteY434" fmla="*/ 388578 h 725747"/>
                <a:gd name="connsiteX435" fmla="*/ 197378 w 735417"/>
                <a:gd name="connsiteY435" fmla="*/ 388578 h 725747"/>
                <a:gd name="connsiteX436" fmla="*/ 193184 w 735417"/>
                <a:gd name="connsiteY436" fmla="*/ 393512 h 725747"/>
                <a:gd name="connsiteX437" fmla="*/ 193184 w 735417"/>
                <a:gd name="connsiteY437" fmla="*/ 396768 h 725747"/>
                <a:gd name="connsiteX438" fmla="*/ 199500 w 735417"/>
                <a:gd name="connsiteY438" fmla="*/ 398396 h 725747"/>
                <a:gd name="connsiteX439" fmla="*/ 195306 w 735417"/>
                <a:gd name="connsiteY439" fmla="*/ 399975 h 725747"/>
                <a:gd name="connsiteX440" fmla="*/ 191112 w 735417"/>
                <a:gd name="connsiteY440" fmla="*/ 406439 h 725747"/>
                <a:gd name="connsiteX441" fmla="*/ 186968 w 735417"/>
                <a:gd name="connsiteY441" fmla="*/ 406439 h 725747"/>
                <a:gd name="connsiteX442" fmla="*/ 184895 w 735417"/>
                <a:gd name="connsiteY442" fmla="*/ 401505 h 725747"/>
                <a:gd name="connsiteX443" fmla="*/ 180701 w 735417"/>
                <a:gd name="connsiteY443" fmla="*/ 399877 h 725747"/>
                <a:gd name="connsiteX444" fmla="*/ 178629 w 735417"/>
                <a:gd name="connsiteY444" fmla="*/ 401505 h 725747"/>
                <a:gd name="connsiteX445" fmla="*/ 174484 w 735417"/>
                <a:gd name="connsiteY445" fmla="*/ 401505 h 725747"/>
                <a:gd name="connsiteX446" fmla="*/ 176556 w 735417"/>
                <a:gd name="connsiteY446" fmla="*/ 406439 h 725747"/>
                <a:gd name="connsiteX447" fmla="*/ 172362 w 735417"/>
                <a:gd name="connsiteY447" fmla="*/ 408067 h 725747"/>
                <a:gd name="connsiteX448" fmla="*/ 172362 w 735417"/>
                <a:gd name="connsiteY448" fmla="*/ 408659 h 725747"/>
                <a:gd name="connsiteX449" fmla="*/ 174484 w 735417"/>
                <a:gd name="connsiteY449" fmla="*/ 411916 h 725747"/>
                <a:gd name="connsiteX450" fmla="*/ 166146 w 735417"/>
                <a:gd name="connsiteY450" fmla="*/ 411916 h 725747"/>
                <a:gd name="connsiteX451" fmla="*/ 161952 w 735417"/>
                <a:gd name="connsiteY451" fmla="*/ 413495 h 725747"/>
                <a:gd name="connsiteX452" fmla="*/ 164074 w 735417"/>
                <a:gd name="connsiteY452" fmla="*/ 419958 h 725747"/>
                <a:gd name="connsiteX453" fmla="*/ 157807 w 735417"/>
                <a:gd name="connsiteY453" fmla="*/ 423165 h 725747"/>
                <a:gd name="connsiteX454" fmla="*/ 157807 w 735417"/>
                <a:gd name="connsiteY454" fmla="*/ 426422 h 725747"/>
                <a:gd name="connsiteX455" fmla="*/ 155735 w 735417"/>
                <a:gd name="connsiteY455" fmla="*/ 431356 h 725747"/>
                <a:gd name="connsiteX456" fmla="*/ 151541 w 735417"/>
                <a:gd name="connsiteY456" fmla="*/ 436290 h 725747"/>
                <a:gd name="connsiteX457" fmla="*/ 145324 w 735417"/>
                <a:gd name="connsiteY457" fmla="*/ 441224 h 725747"/>
                <a:gd name="connsiteX458" fmla="*/ 147397 w 735417"/>
                <a:gd name="connsiteY458" fmla="*/ 442852 h 725747"/>
                <a:gd name="connsiteX459" fmla="*/ 155735 w 735417"/>
                <a:gd name="connsiteY459" fmla="*/ 439595 h 725747"/>
                <a:gd name="connsiteX460" fmla="*/ 157807 w 735417"/>
                <a:gd name="connsiteY460" fmla="*/ 439595 h 725747"/>
                <a:gd name="connsiteX461" fmla="*/ 157807 w 735417"/>
                <a:gd name="connsiteY461" fmla="*/ 442852 h 725747"/>
                <a:gd name="connsiteX462" fmla="*/ 153663 w 735417"/>
                <a:gd name="connsiteY462" fmla="*/ 444431 h 725747"/>
                <a:gd name="connsiteX463" fmla="*/ 153663 w 735417"/>
                <a:gd name="connsiteY463" fmla="*/ 450894 h 725747"/>
                <a:gd name="connsiteX464" fmla="*/ 157807 w 735417"/>
                <a:gd name="connsiteY464" fmla="*/ 455829 h 725747"/>
                <a:gd name="connsiteX465" fmla="*/ 164074 w 735417"/>
                <a:gd name="connsiteY465" fmla="*/ 450894 h 725747"/>
                <a:gd name="connsiteX466" fmla="*/ 172362 w 735417"/>
                <a:gd name="connsiteY466" fmla="*/ 450894 h 725747"/>
                <a:gd name="connsiteX467" fmla="*/ 182773 w 735417"/>
                <a:gd name="connsiteY467" fmla="*/ 441026 h 725747"/>
                <a:gd name="connsiteX468" fmla="*/ 182773 w 735417"/>
                <a:gd name="connsiteY468" fmla="*/ 437770 h 725747"/>
                <a:gd name="connsiteX469" fmla="*/ 178629 w 735417"/>
                <a:gd name="connsiteY469" fmla="*/ 437770 h 725747"/>
                <a:gd name="connsiteX470" fmla="*/ 182773 w 735417"/>
                <a:gd name="connsiteY470" fmla="*/ 432836 h 725747"/>
                <a:gd name="connsiteX471" fmla="*/ 184895 w 735417"/>
                <a:gd name="connsiteY471" fmla="*/ 426372 h 725747"/>
                <a:gd name="connsiteX472" fmla="*/ 186968 w 735417"/>
                <a:gd name="connsiteY472" fmla="*/ 426372 h 725747"/>
                <a:gd name="connsiteX473" fmla="*/ 189039 w 735417"/>
                <a:gd name="connsiteY473" fmla="*/ 423116 h 725747"/>
                <a:gd name="connsiteX474" fmla="*/ 195306 w 735417"/>
                <a:gd name="connsiteY474" fmla="*/ 424744 h 725747"/>
                <a:gd name="connsiteX475" fmla="*/ 199500 w 735417"/>
                <a:gd name="connsiteY475" fmla="*/ 423116 h 725747"/>
                <a:gd name="connsiteX476" fmla="*/ 189039 w 735417"/>
                <a:gd name="connsiteY476" fmla="*/ 429579 h 725747"/>
                <a:gd name="connsiteX477" fmla="*/ 189039 w 735417"/>
                <a:gd name="connsiteY477" fmla="*/ 432836 h 725747"/>
                <a:gd name="connsiteX478" fmla="*/ 199500 w 735417"/>
                <a:gd name="connsiteY478" fmla="*/ 436043 h 725747"/>
                <a:gd name="connsiteX479" fmla="*/ 195306 w 735417"/>
                <a:gd name="connsiteY479" fmla="*/ 439250 h 725747"/>
                <a:gd name="connsiteX480" fmla="*/ 191112 w 735417"/>
                <a:gd name="connsiteY480" fmla="*/ 440878 h 725747"/>
                <a:gd name="connsiteX481" fmla="*/ 180701 w 735417"/>
                <a:gd name="connsiteY481" fmla="*/ 448921 h 725747"/>
                <a:gd name="connsiteX482" fmla="*/ 186968 w 735417"/>
                <a:gd name="connsiteY482" fmla="*/ 452128 h 725747"/>
                <a:gd name="connsiteX483" fmla="*/ 182773 w 735417"/>
                <a:gd name="connsiteY483" fmla="*/ 455335 h 725747"/>
                <a:gd name="connsiteX484" fmla="*/ 184895 w 735417"/>
                <a:gd name="connsiteY484" fmla="*/ 461799 h 725747"/>
                <a:gd name="connsiteX485" fmla="*/ 178629 w 735417"/>
                <a:gd name="connsiteY485" fmla="*/ 461799 h 725747"/>
                <a:gd name="connsiteX486" fmla="*/ 172362 w 735417"/>
                <a:gd name="connsiteY486" fmla="*/ 456865 h 725747"/>
                <a:gd name="connsiteX487" fmla="*/ 164468 w 735417"/>
                <a:gd name="connsiteY487" fmla="*/ 456865 h 725747"/>
                <a:gd name="connsiteX488" fmla="*/ 160274 w 735417"/>
                <a:gd name="connsiteY488" fmla="*/ 460072 h 725747"/>
                <a:gd name="connsiteX489" fmla="*/ 160274 w 735417"/>
                <a:gd name="connsiteY489" fmla="*/ 465006 h 725747"/>
                <a:gd name="connsiteX490" fmla="*/ 156130 w 735417"/>
                <a:gd name="connsiteY490" fmla="*/ 468213 h 725747"/>
                <a:gd name="connsiteX491" fmla="*/ 149864 w 735417"/>
                <a:gd name="connsiteY491" fmla="*/ 469841 h 725747"/>
                <a:gd name="connsiteX492" fmla="*/ 154057 w 735417"/>
                <a:gd name="connsiteY492" fmla="*/ 466634 h 725747"/>
                <a:gd name="connsiteX493" fmla="*/ 156130 w 735417"/>
                <a:gd name="connsiteY493" fmla="*/ 465006 h 725747"/>
                <a:gd name="connsiteX494" fmla="*/ 151935 w 735417"/>
                <a:gd name="connsiteY494" fmla="*/ 460072 h 725747"/>
                <a:gd name="connsiteX495" fmla="*/ 151935 w 735417"/>
                <a:gd name="connsiteY495" fmla="*/ 453608 h 725747"/>
                <a:gd name="connsiteX496" fmla="*/ 147791 w 735417"/>
                <a:gd name="connsiteY496" fmla="*/ 447145 h 725747"/>
                <a:gd name="connsiteX497" fmla="*/ 141525 w 735417"/>
                <a:gd name="connsiteY497" fmla="*/ 447145 h 725747"/>
                <a:gd name="connsiteX498" fmla="*/ 139453 w 735417"/>
                <a:gd name="connsiteY498" fmla="*/ 452079 h 725747"/>
                <a:gd name="connsiteX499" fmla="*/ 133236 w 735417"/>
                <a:gd name="connsiteY499" fmla="*/ 453707 h 725747"/>
                <a:gd name="connsiteX500" fmla="*/ 133236 w 735417"/>
                <a:gd name="connsiteY500" fmla="*/ 455286 h 725747"/>
                <a:gd name="connsiteX501" fmla="*/ 141525 w 735417"/>
                <a:gd name="connsiteY501" fmla="*/ 455286 h 725747"/>
                <a:gd name="connsiteX502" fmla="*/ 133236 w 735417"/>
                <a:gd name="connsiteY502" fmla="*/ 463378 h 725747"/>
                <a:gd name="connsiteX503" fmla="*/ 126970 w 735417"/>
                <a:gd name="connsiteY503" fmla="*/ 460170 h 725747"/>
                <a:gd name="connsiteX504" fmla="*/ 120703 w 735417"/>
                <a:gd name="connsiteY504" fmla="*/ 461749 h 725747"/>
                <a:gd name="connsiteX505" fmla="*/ 114437 w 735417"/>
                <a:gd name="connsiteY505" fmla="*/ 466683 h 725747"/>
                <a:gd name="connsiteX506" fmla="*/ 122825 w 735417"/>
                <a:gd name="connsiteY506" fmla="*/ 466683 h 725747"/>
                <a:gd name="connsiteX507" fmla="*/ 124848 w 735417"/>
                <a:gd name="connsiteY507" fmla="*/ 468262 h 725747"/>
                <a:gd name="connsiteX508" fmla="*/ 116559 w 735417"/>
                <a:gd name="connsiteY508" fmla="*/ 471469 h 725747"/>
                <a:gd name="connsiteX509" fmla="*/ 112414 w 735417"/>
                <a:gd name="connsiteY509" fmla="*/ 474726 h 725747"/>
                <a:gd name="connsiteX510" fmla="*/ 110292 w 735417"/>
                <a:gd name="connsiteY510" fmla="*/ 471469 h 725747"/>
                <a:gd name="connsiteX511" fmla="*/ 106148 w 735417"/>
                <a:gd name="connsiteY511" fmla="*/ 471469 h 725747"/>
                <a:gd name="connsiteX512" fmla="*/ 104026 w 735417"/>
                <a:gd name="connsiteY512" fmla="*/ 474726 h 725747"/>
                <a:gd name="connsiteX513" fmla="*/ 112414 w 735417"/>
                <a:gd name="connsiteY513" fmla="*/ 479660 h 725747"/>
                <a:gd name="connsiteX514" fmla="*/ 120703 w 735417"/>
                <a:gd name="connsiteY514" fmla="*/ 479660 h 725747"/>
                <a:gd name="connsiteX515" fmla="*/ 118631 w 735417"/>
                <a:gd name="connsiteY515" fmla="*/ 482867 h 725747"/>
                <a:gd name="connsiteX516" fmla="*/ 122825 w 735417"/>
                <a:gd name="connsiteY516" fmla="*/ 484495 h 725747"/>
                <a:gd name="connsiteX517" fmla="*/ 122825 w 735417"/>
                <a:gd name="connsiteY517" fmla="*/ 487604 h 725747"/>
                <a:gd name="connsiteX518" fmla="*/ 114437 w 735417"/>
                <a:gd name="connsiteY518" fmla="*/ 485926 h 725747"/>
                <a:gd name="connsiteX519" fmla="*/ 114437 w 735417"/>
                <a:gd name="connsiteY519" fmla="*/ 482670 h 725747"/>
                <a:gd name="connsiteX520" fmla="*/ 108220 w 735417"/>
                <a:gd name="connsiteY520" fmla="*/ 482670 h 725747"/>
                <a:gd name="connsiteX521" fmla="*/ 102003 w 735417"/>
                <a:gd name="connsiteY521" fmla="*/ 477736 h 725747"/>
                <a:gd name="connsiteX522" fmla="*/ 99882 w 735417"/>
                <a:gd name="connsiteY522" fmla="*/ 472802 h 725747"/>
                <a:gd name="connsiteX523" fmla="*/ 97809 w 735417"/>
                <a:gd name="connsiteY523" fmla="*/ 472802 h 725747"/>
                <a:gd name="connsiteX524" fmla="*/ 95737 w 735417"/>
                <a:gd name="connsiteY524" fmla="*/ 477736 h 725747"/>
                <a:gd name="connsiteX525" fmla="*/ 102003 w 735417"/>
                <a:gd name="connsiteY525" fmla="*/ 485778 h 725747"/>
                <a:gd name="connsiteX526" fmla="*/ 110292 w 735417"/>
                <a:gd name="connsiteY526" fmla="*/ 489035 h 725747"/>
                <a:gd name="connsiteX527" fmla="*/ 114437 w 735417"/>
                <a:gd name="connsiteY527" fmla="*/ 490663 h 725747"/>
                <a:gd name="connsiteX528" fmla="*/ 118631 w 735417"/>
                <a:gd name="connsiteY528" fmla="*/ 493870 h 725747"/>
                <a:gd name="connsiteX529" fmla="*/ 112414 w 735417"/>
                <a:gd name="connsiteY529" fmla="*/ 493870 h 725747"/>
                <a:gd name="connsiteX530" fmla="*/ 102003 w 735417"/>
                <a:gd name="connsiteY530" fmla="*/ 490663 h 725747"/>
                <a:gd name="connsiteX531" fmla="*/ 93615 w 735417"/>
                <a:gd name="connsiteY531" fmla="*/ 480795 h 725747"/>
                <a:gd name="connsiteX532" fmla="*/ 89471 w 735417"/>
                <a:gd name="connsiteY532" fmla="*/ 484002 h 725747"/>
                <a:gd name="connsiteX533" fmla="*/ 83205 w 735417"/>
                <a:gd name="connsiteY533" fmla="*/ 479068 h 725747"/>
                <a:gd name="connsiteX534" fmla="*/ 74866 w 735417"/>
                <a:gd name="connsiteY534" fmla="*/ 479068 h 725747"/>
                <a:gd name="connsiteX535" fmla="*/ 72794 w 735417"/>
                <a:gd name="connsiteY535" fmla="*/ 477440 h 725747"/>
                <a:gd name="connsiteX536" fmla="*/ 68649 w 735417"/>
                <a:gd name="connsiteY536" fmla="*/ 480696 h 725747"/>
                <a:gd name="connsiteX537" fmla="*/ 70721 w 735417"/>
                <a:gd name="connsiteY537" fmla="*/ 483903 h 725747"/>
                <a:gd name="connsiteX538" fmla="*/ 66577 w 735417"/>
                <a:gd name="connsiteY538" fmla="*/ 487160 h 725747"/>
                <a:gd name="connsiteX539" fmla="*/ 72794 w 735417"/>
                <a:gd name="connsiteY539" fmla="*/ 492094 h 725747"/>
                <a:gd name="connsiteX540" fmla="*/ 83205 w 735417"/>
                <a:gd name="connsiteY540" fmla="*/ 488887 h 725747"/>
                <a:gd name="connsiteX541" fmla="*/ 85277 w 735417"/>
                <a:gd name="connsiteY541" fmla="*/ 492094 h 725747"/>
                <a:gd name="connsiteX542" fmla="*/ 81182 w 735417"/>
                <a:gd name="connsiteY542" fmla="*/ 495350 h 725747"/>
                <a:gd name="connsiteX543" fmla="*/ 83205 w 735417"/>
                <a:gd name="connsiteY543" fmla="*/ 496978 h 725747"/>
                <a:gd name="connsiteX544" fmla="*/ 91592 w 735417"/>
                <a:gd name="connsiteY544" fmla="*/ 492044 h 725747"/>
                <a:gd name="connsiteX545" fmla="*/ 95737 w 735417"/>
                <a:gd name="connsiteY545" fmla="*/ 492044 h 725747"/>
                <a:gd name="connsiteX546" fmla="*/ 93615 w 735417"/>
                <a:gd name="connsiteY546" fmla="*/ 495301 h 725747"/>
                <a:gd name="connsiteX547" fmla="*/ 83205 w 735417"/>
                <a:gd name="connsiteY547" fmla="*/ 500235 h 725747"/>
                <a:gd name="connsiteX548" fmla="*/ 79060 w 735417"/>
                <a:gd name="connsiteY548" fmla="*/ 505169 h 725747"/>
                <a:gd name="connsiteX549" fmla="*/ 72794 w 735417"/>
                <a:gd name="connsiteY549" fmla="*/ 503590 h 725747"/>
                <a:gd name="connsiteX550" fmla="*/ 66577 w 735417"/>
                <a:gd name="connsiteY550" fmla="*/ 497126 h 725747"/>
                <a:gd name="connsiteX551" fmla="*/ 64455 w 735417"/>
                <a:gd name="connsiteY551" fmla="*/ 497126 h 725747"/>
                <a:gd name="connsiteX552" fmla="*/ 60311 w 735417"/>
                <a:gd name="connsiteY552" fmla="*/ 498705 h 725747"/>
                <a:gd name="connsiteX553" fmla="*/ 54044 w 735417"/>
                <a:gd name="connsiteY553" fmla="*/ 495498 h 725747"/>
                <a:gd name="connsiteX554" fmla="*/ 49900 w 735417"/>
                <a:gd name="connsiteY554" fmla="*/ 497126 h 725747"/>
                <a:gd name="connsiteX555" fmla="*/ 47827 w 735417"/>
                <a:gd name="connsiteY555" fmla="*/ 495498 h 725747"/>
                <a:gd name="connsiteX556" fmla="*/ 41561 w 735417"/>
                <a:gd name="connsiteY556" fmla="*/ 498705 h 725747"/>
                <a:gd name="connsiteX557" fmla="*/ 43634 w 735417"/>
                <a:gd name="connsiteY557" fmla="*/ 500333 h 725747"/>
                <a:gd name="connsiteX558" fmla="*/ 54044 w 735417"/>
                <a:gd name="connsiteY558" fmla="*/ 501912 h 725747"/>
                <a:gd name="connsiteX559" fmla="*/ 62383 w 735417"/>
                <a:gd name="connsiteY559" fmla="*/ 506846 h 725747"/>
                <a:gd name="connsiteX560" fmla="*/ 70721 w 735417"/>
                <a:gd name="connsiteY560" fmla="*/ 510053 h 725747"/>
                <a:gd name="connsiteX561" fmla="*/ 68649 w 735417"/>
                <a:gd name="connsiteY561" fmla="*/ 514988 h 725747"/>
                <a:gd name="connsiteX562" fmla="*/ 70721 w 735417"/>
                <a:gd name="connsiteY562" fmla="*/ 519922 h 725747"/>
                <a:gd name="connsiteX563" fmla="*/ 66577 w 735417"/>
                <a:gd name="connsiteY563" fmla="*/ 521550 h 725747"/>
                <a:gd name="connsiteX564" fmla="*/ 64455 w 735417"/>
                <a:gd name="connsiteY564" fmla="*/ 519922 h 725747"/>
                <a:gd name="connsiteX565" fmla="*/ 64455 w 735417"/>
                <a:gd name="connsiteY565" fmla="*/ 511879 h 725747"/>
                <a:gd name="connsiteX566" fmla="*/ 58238 w 735417"/>
                <a:gd name="connsiteY566" fmla="*/ 508623 h 725747"/>
                <a:gd name="connsiteX567" fmla="*/ 51972 w 735417"/>
                <a:gd name="connsiteY567" fmla="*/ 510251 h 725747"/>
                <a:gd name="connsiteX568" fmla="*/ 54044 w 735417"/>
                <a:gd name="connsiteY568" fmla="*/ 515185 h 725747"/>
                <a:gd name="connsiteX569" fmla="*/ 51972 w 735417"/>
                <a:gd name="connsiteY569" fmla="*/ 516764 h 725747"/>
                <a:gd name="connsiteX570" fmla="*/ 43634 w 735417"/>
                <a:gd name="connsiteY570" fmla="*/ 513557 h 725747"/>
                <a:gd name="connsiteX571" fmla="*/ 37417 w 735417"/>
                <a:gd name="connsiteY571" fmla="*/ 520020 h 725747"/>
                <a:gd name="connsiteX572" fmla="*/ 43634 w 735417"/>
                <a:gd name="connsiteY572" fmla="*/ 523227 h 725747"/>
                <a:gd name="connsiteX573" fmla="*/ 39489 w 735417"/>
                <a:gd name="connsiteY573" fmla="*/ 523227 h 725747"/>
                <a:gd name="connsiteX574" fmla="*/ 35344 w 735417"/>
                <a:gd name="connsiteY574" fmla="*/ 524856 h 725747"/>
                <a:gd name="connsiteX575" fmla="*/ 33223 w 735417"/>
                <a:gd name="connsiteY575" fmla="*/ 519922 h 725747"/>
                <a:gd name="connsiteX576" fmla="*/ 22812 w 735417"/>
                <a:gd name="connsiteY576" fmla="*/ 518293 h 725747"/>
                <a:gd name="connsiteX577" fmla="*/ 27006 w 735417"/>
                <a:gd name="connsiteY577" fmla="*/ 524757 h 725747"/>
                <a:gd name="connsiteX578" fmla="*/ 22812 w 735417"/>
                <a:gd name="connsiteY578" fmla="*/ 528013 h 725747"/>
                <a:gd name="connsiteX579" fmla="*/ 20740 w 735417"/>
                <a:gd name="connsiteY579" fmla="*/ 521550 h 725747"/>
                <a:gd name="connsiteX580" fmla="*/ 14523 w 735417"/>
                <a:gd name="connsiteY580" fmla="*/ 516616 h 725747"/>
                <a:gd name="connsiteX581" fmla="*/ 10329 w 735417"/>
                <a:gd name="connsiteY581" fmla="*/ 518244 h 725747"/>
                <a:gd name="connsiteX582" fmla="*/ 12401 w 735417"/>
                <a:gd name="connsiteY582" fmla="*/ 521500 h 725747"/>
                <a:gd name="connsiteX583" fmla="*/ 18667 w 735417"/>
                <a:gd name="connsiteY583" fmla="*/ 526435 h 725747"/>
                <a:gd name="connsiteX584" fmla="*/ 14523 w 735417"/>
                <a:gd name="connsiteY584" fmla="*/ 529642 h 725747"/>
                <a:gd name="connsiteX585" fmla="*/ 18667 w 735417"/>
                <a:gd name="connsiteY585" fmla="*/ 532849 h 725747"/>
                <a:gd name="connsiteX586" fmla="*/ 27006 w 735417"/>
                <a:gd name="connsiteY586" fmla="*/ 531270 h 725747"/>
                <a:gd name="connsiteX587" fmla="*/ 37417 w 735417"/>
                <a:gd name="connsiteY587" fmla="*/ 532849 h 725747"/>
                <a:gd name="connsiteX588" fmla="*/ 43634 w 735417"/>
                <a:gd name="connsiteY588" fmla="*/ 536105 h 725747"/>
                <a:gd name="connsiteX589" fmla="*/ 54044 w 735417"/>
                <a:gd name="connsiteY589" fmla="*/ 536105 h 725747"/>
                <a:gd name="connsiteX590" fmla="*/ 58238 w 735417"/>
                <a:gd name="connsiteY590" fmla="*/ 534477 h 725747"/>
                <a:gd name="connsiteX591" fmla="*/ 62383 w 735417"/>
                <a:gd name="connsiteY591" fmla="*/ 534477 h 725747"/>
                <a:gd name="connsiteX592" fmla="*/ 56166 w 735417"/>
                <a:gd name="connsiteY592" fmla="*/ 539411 h 725747"/>
                <a:gd name="connsiteX593" fmla="*/ 45755 w 735417"/>
                <a:gd name="connsiteY593" fmla="*/ 539411 h 725747"/>
                <a:gd name="connsiteX594" fmla="*/ 43634 w 735417"/>
                <a:gd name="connsiteY594" fmla="*/ 541039 h 725747"/>
                <a:gd name="connsiteX595" fmla="*/ 31150 w 735417"/>
                <a:gd name="connsiteY595" fmla="*/ 536105 h 725747"/>
                <a:gd name="connsiteX596" fmla="*/ 24933 w 735417"/>
                <a:gd name="connsiteY596" fmla="*/ 537734 h 725747"/>
                <a:gd name="connsiteX597" fmla="*/ 20740 w 735417"/>
                <a:gd name="connsiteY597" fmla="*/ 536105 h 725747"/>
                <a:gd name="connsiteX598" fmla="*/ 16546 w 735417"/>
                <a:gd name="connsiteY598" fmla="*/ 539312 h 725747"/>
                <a:gd name="connsiteX599" fmla="*/ 8256 w 735417"/>
                <a:gd name="connsiteY599" fmla="*/ 540941 h 725747"/>
                <a:gd name="connsiteX600" fmla="*/ 8256 w 735417"/>
                <a:gd name="connsiteY600" fmla="*/ 544148 h 725747"/>
                <a:gd name="connsiteX601" fmla="*/ 18667 w 735417"/>
                <a:gd name="connsiteY601" fmla="*/ 547355 h 725747"/>
                <a:gd name="connsiteX602" fmla="*/ 14523 w 735417"/>
                <a:gd name="connsiteY602" fmla="*/ 552289 h 725747"/>
                <a:gd name="connsiteX603" fmla="*/ 20740 w 735417"/>
                <a:gd name="connsiteY603" fmla="*/ 553868 h 725747"/>
                <a:gd name="connsiteX604" fmla="*/ 24933 w 735417"/>
                <a:gd name="connsiteY604" fmla="*/ 550661 h 725747"/>
                <a:gd name="connsiteX605" fmla="*/ 33223 w 735417"/>
                <a:gd name="connsiteY605" fmla="*/ 550661 h 725747"/>
                <a:gd name="connsiteX606" fmla="*/ 27006 w 735417"/>
                <a:gd name="connsiteY606" fmla="*/ 555595 h 725747"/>
                <a:gd name="connsiteX607" fmla="*/ 16447 w 735417"/>
                <a:gd name="connsiteY607" fmla="*/ 555595 h 725747"/>
                <a:gd name="connsiteX608" fmla="*/ 14424 w 735417"/>
                <a:gd name="connsiteY608" fmla="*/ 557174 h 725747"/>
                <a:gd name="connsiteX609" fmla="*/ 10230 w 735417"/>
                <a:gd name="connsiteY609" fmla="*/ 555595 h 725747"/>
                <a:gd name="connsiteX610" fmla="*/ 10230 w 735417"/>
                <a:gd name="connsiteY610" fmla="*/ 557174 h 725747"/>
                <a:gd name="connsiteX611" fmla="*/ 16447 w 735417"/>
                <a:gd name="connsiteY611" fmla="*/ 558851 h 725747"/>
                <a:gd name="connsiteX612" fmla="*/ 20641 w 735417"/>
                <a:gd name="connsiteY612" fmla="*/ 558851 h 725747"/>
                <a:gd name="connsiteX613" fmla="*/ 14424 w 735417"/>
                <a:gd name="connsiteY613" fmla="*/ 562058 h 725747"/>
                <a:gd name="connsiteX614" fmla="*/ 10230 w 735417"/>
                <a:gd name="connsiteY614" fmla="*/ 563637 h 725747"/>
                <a:gd name="connsiteX615" fmla="*/ 12303 w 735417"/>
                <a:gd name="connsiteY615" fmla="*/ 566894 h 725747"/>
                <a:gd name="connsiteX616" fmla="*/ 14424 w 735417"/>
                <a:gd name="connsiteY616" fmla="*/ 568522 h 725747"/>
                <a:gd name="connsiteX617" fmla="*/ 18569 w 735417"/>
                <a:gd name="connsiteY617" fmla="*/ 571729 h 725747"/>
                <a:gd name="connsiteX618" fmla="*/ 24835 w 735417"/>
                <a:gd name="connsiteY618" fmla="*/ 571729 h 725747"/>
                <a:gd name="connsiteX619" fmla="*/ 31052 w 735417"/>
                <a:gd name="connsiteY619" fmla="*/ 568522 h 725747"/>
                <a:gd name="connsiteX620" fmla="*/ 41462 w 735417"/>
                <a:gd name="connsiteY620" fmla="*/ 566894 h 725747"/>
                <a:gd name="connsiteX621" fmla="*/ 47729 w 735417"/>
                <a:gd name="connsiteY621" fmla="*/ 568522 h 725747"/>
                <a:gd name="connsiteX622" fmla="*/ 51874 w 735417"/>
                <a:gd name="connsiteY622" fmla="*/ 570101 h 725747"/>
                <a:gd name="connsiteX623" fmla="*/ 56067 w 735417"/>
                <a:gd name="connsiteY623" fmla="*/ 568522 h 725747"/>
                <a:gd name="connsiteX624" fmla="*/ 56067 w 735417"/>
                <a:gd name="connsiteY624" fmla="*/ 563588 h 725747"/>
                <a:gd name="connsiteX625" fmla="*/ 60212 w 735417"/>
                <a:gd name="connsiteY625" fmla="*/ 562009 h 725747"/>
                <a:gd name="connsiteX626" fmla="*/ 62284 w 735417"/>
                <a:gd name="connsiteY626" fmla="*/ 565216 h 725747"/>
                <a:gd name="connsiteX627" fmla="*/ 68551 w 735417"/>
                <a:gd name="connsiteY627" fmla="*/ 565216 h 725747"/>
                <a:gd name="connsiteX628" fmla="*/ 74767 w 735417"/>
                <a:gd name="connsiteY628" fmla="*/ 560282 h 725747"/>
                <a:gd name="connsiteX629" fmla="*/ 78961 w 735417"/>
                <a:gd name="connsiteY629" fmla="*/ 561910 h 725747"/>
                <a:gd name="connsiteX630" fmla="*/ 76889 w 735417"/>
                <a:gd name="connsiteY630" fmla="*/ 565117 h 725747"/>
                <a:gd name="connsiteX631" fmla="*/ 74767 w 735417"/>
                <a:gd name="connsiteY631" fmla="*/ 566746 h 725747"/>
                <a:gd name="connsiteX632" fmla="*/ 81083 w 735417"/>
                <a:gd name="connsiteY632" fmla="*/ 568374 h 725747"/>
                <a:gd name="connsiteX633" fmla="*/ 85178 w 735417"/>
                <a:gd name="connsiteY633" fmla="*/ 565117 h 725747"/>
                <a:gd name="connsiteX634" fmla="*/ 83106 w 735417"/>
                <a:gd name="connsiteY634" fmla="*/ 561910 h 725747"/>
                <a:gd name="connsiteX635" fmla="*/ 87300 w 735417"/>
                <a:gd name="connsiteY635" fmla="*/ 555447 h 725747"/>
                <a:gd name="connsiteX636" fmla="*/ 87300 w 735417"/>
                <a:gd name="connsiteY636" fmla="*/ 560381 h 725747"/>
                <a:gd name="connsiteX637" fmla="*/ 91494 w 735417"/>
                <a:gd name="connsiteY637" fmla="*/ 566844 h 725747"/>
                <a:gd name="connsiteX638" fmla="*/ 87300 w 735417"/>
                <a:gd name="connsiteY638" fmla="*/ 571778 h 725747"/>
                <a:gd name="connsiteX639" fmla="*/ 78961 w 735417"/>
                <a:gd name="connsiteY639" fmla="*/ 573407 h 725747"/>
                <a:gd name="connsiteX640" fmla="*/ 74767 w 735417"/>
                <a:gd name="connsiteY640" fmla="*/ 576614 h 725747"/>
                <a:gd name="connsiteX641" fmla="*/ 76889 w 735417"/>
                <a:gd name="connsiteY641" fmla="*/ 578193 h 725747"/>
                <a:gd name="connsiteX642" fmla="*/ 72695 w 735417"/>
                <a:gd name="connsiteY642" fmla="*/ 583127 h 725747"/>
                <a:gd name="connsiteX643" fmla="*/ 64356 w 735417"/>
                <a:gd name="connsiteY643" fmla="*/ 583127 h 725747"/>
                <a:gd name="connsiteX644" fmla="*/ 64356 w 735417"/>
                <a:gd name="connsiteY644" fmla="*/ 579870 h 725747"/>
                <a:gd name="connsiteX645" fmla="*/ 68551 w 735417"/>
                <a:gd name="connsiteY645" fmla="*/ 576663 h 725747"/>
                <a:gd name="connsiteX646" fmla="*/ 68551 w 735417"/>
                <a:gd name="connsiteY646" fmla="*/ 571729 h 725747"/>
                <a:gd name="connsiteX647" fmla="*/ 60212 w 735417"/>
                <a:gd name="connsiteY647" fmla="*/ 570101 h 725747"/>
                <a:gd name="connsiteX648" fmla="*/ 53946 w 735417"/>
                <a:gd name="connsiteY648" fmla="*/ 576564 h 725747"/>
                <a:gd name="connsiteX649" fmla="*/ 51874 w 735417"/>
                <a:gd name="connsiteY649" fmla="*/ 579771 h 725747"/>
                <a:gd name="connsiteX650" fmla="*/ 47729 w 735417"/>
                <a:gd name="connsiteY650" fmla="*/ 574837 h 725747"/>
                <a:gd name="connsiteX651" fmla="*/ 41462 w 735417"/>
                <a:gd name="connsiteY651" fmla="*/ 573258 h 725747"/>
                <a:gd name="connsiteX652" fmla="*/ 33124 w 735417"/>
                <a:gd name="connsiteY652" fmla="*/ 574837 h 725747"/>
                <a:gd name="connsiteX653" fmla="*/ 28980 w 735417"/>
                <a:gd name="connsiteY653" fmla="*/ 573258 h 725747"/>
                <a:gd name="connsiteX654" fmla="*/ 20641 w 735417"/>
                <a:gd name="connsiteY654" fmla="*/ 576466 h 725747"/>
                <a:gd name="connsiteX655" fmla="*/ 16447 w 735417"/>
                <a:gd name="connsiteY655" fmla="*/ 576466 h 725747"/>
                <a:gd name="connsiteX656" fmla="*/ 10230 w 735417"/>
                <a:gd name="connsiteY656" fmla="*/ 574837 h 725747"/>
                <a:gd name="connsiteX657" fmla="*/ 8158 w 735417"/>
                <a:gd name="connsiteY657" fmla="*/ 574837 h 725747"/>
                <a:gd name="connsiteX658" fmla="*/ 12303 w 735417"/>
                <a:gd name="connsiteY658" fmla="*/ 581301 h 725747"/>
                <a:gd name="connsiteX659" fmla="*/ 10230 w 735417"/>
                <a:gd name="connsiteY659" fmla="*/ 582929 h 725747"/>
                <a:gd name="connsiteX660" fmla="*/ 14424 w 735417"/>
                <a:gd name="connsiteY660" fmla="*/ 586136 h 725747"/>
                <a:gd name="connsiteX661" fmla="*/ 18569 w 735417"/>
                <a:gd name="connsiteY661" fmla="*/ 584508 h 725747"/>
                <a:gd name="connsiteX662" fmla="*/ 20641 w 735417"/>
                <a:gd name="connsiteY662" fmla="*/ 581301 h 725747"/>
                <a:gd name="connsiteX663" fmla="*/ 24835 w 735417"/>
                <a:gd name="connsiteY663" fmla="*/ 582929 h 725747"/>
                <a:gd name="connsiteX664" fmla="*/ 20641 w 735417"/>
                <a:gd name="connsiteY664" fmla="*/ 586136 h 725747"/>
                <a:gd name="connsiteX665" fmla="*/ 20641 w 735417"/>
                <a:gd name="connsiteY665" fmla="*/ 591070 h 725747"/>
                <a:gd name="connsiteX666" fmla="*/ 18569 w 735417"/>
                <a:gd name="connsiteY666" fmla="*/ 594278 h 725747"/>
                <a:gd name="connsiteX667" fmla="*/ 14424 w 735417"/>
                <a:gd name="connsiteY667" fmla="*/ 591070 h 725747"/>
                <a:gd name="connsiteX668" fmla="*/ 16447 w 735417"/>
                <a:gd name="connsiteY668" fmla="*/ 597534 h 725747"/>
                <a:gd name="connsiteX669" fmla="*/ 20641 w 735417"/>
                <a:gd name="connsiteY669" fmla="*/ 600741 h 725747"/>
                <a:gd name="connsiteX670" fmla="*/ 31052 w 735417"/>
                <a:gd name="connsiteY670" fmla="*/ 590873 h 725747"/>
                <a:gd name="connsiteX671" fmla="*/ 37318 w 735417"/>
                <a:gd name="connsiteY671" fmla="*/ 594080 h 725747"/>
                <a:gd name="connsiteX672" fmla="*/ 33124 w 735417"/>
                <a:gd name="connsiteY672" fmla="*/ 595708 h 725747"/>
                <a:gd name="connsiteX673" fmla="*/ 35246 w 735417"/>
                <a:gd name="connsiteY673" fmla="*/ 600642 h 725747"/>
                <a:gd name="connsiteX674" fmla="*/ 26907 w 735417"/>
                <a:gd name="connsiteY674" fmla="*/ 605576 h 725747"/>
                <a:gd name="connsiteX675" fmla="*/ 26907 w 735417"/>
                <a:gd name="connsiteY675" fmla="*/ 607205 h 725747"/>
                <a:gd name="connsiteX676" fmla="*/ 33124 w 735417"/>
                <a:gd name="connsiteY676" fmla="*/ 608784 h 725747"/>
                <a:gd name="connsiteX677" fmla="*/ 31052 w 735417"/>
                <a:gd name="connsiteY677" fmla="*/ 612040 h 725747"/>
                <a:gd name="connsiteX678" fmla="*/ 33124 w 735417"/>
                <a:gd name="connsiteY678" fmla="*/ 616974 h 725747"/>
                <a:gd name="connsiteX679" fmla="*/ 31052 w 735417"/>
                <a:gd name="connsiteY679" fmla="*/ 623438 h 725747"/>
                <a:gd name="connsiteX680" fmla="*/ 33124 w 735417"/>
                <a:gd name="connsiteY680" fmla="*/ 623438 h 725747"/>
                <a:gd name="connsiteX681" fmla="*/ 39390 w 735417"/>
                <a:gd name="connsiteY681" fmla="*/ 615346 h 725747"/>
                <a:gd name="connsiteX682" fmla="*/ 43535 w 735417"/>
                <a:gd name="connsiteY682" fmla="*/ 613767 h 725747"/>
                <a:gd name="connsiteX683" fmla="*/ 45657 w 735417"/>
                <a:gd name="connsiteY683" fmla="*/ 607303 h 725747"/>
                <a:gd name="connsiteX684" fmla="*/ 58139 w 735417"/>
                <a:gd name="connsiteY684" fmla="*/ 602369 h 725747"/>
                <a:gd name="connsiteX685" fmla="*/ 70721 w 735417"/>
                <a:gd name="connsiteY685" fmla="*/ 602369 h 725747"/>
                <a:gd name="connsiteX686" fmla="*/ 66577 w 735417"/>
                <a:gd name="connsiteY686" fmla="*/ 603948 h 725747"/>
                <a:gd name="connsiteX687" fmla="*/ 60311 w 735417"/>
                <a:gd name="connsiteY687" fmla="*/ 608882 h 725747"/>
                <a:gd name="connsiteX688" fmla="*/ 60311 w 735417"/>
                <a:gd name="connsiteY688" fmla="*/ 615346 h 725747"/>
                <a:gd name="connsiteX689" fmla="*/ 62383 w 735417"/>
                <a:gd name="connsiteY689" fmla="*/ 620280 h 725747"/>
                <a:gd name="connsiteX690" fmla="*/ 56166 w 735417"/>
                <a:gd name="connsiteY690" fmla="*/ 617023 h 725747"/>
                <a:gd name="connsiteX691" fmla="*/ 56166 w 735417"/>
                <a:gd name="connsiteY691" fmla="*/ 610560 h 725747"/>
                <a:gd name="connsiteX692" fmla="*/ 51972 w 735417"/>
                <a:gd name="connsiteY692" fmla="*/ 608932 h 725747"/>
                <a:gd name="connsiteX693" fmla="*/ 47827 w 735417"/>
                <a:gd name="connsiteY693" fmla="*/ 617023 h 725747"/>
                <a:gd name="connsiteX694" fmla="*/ 43634 w 735417"/>
                <a:gd name="connsiteY694" fmla="*/ 618602 h 725747"/>
                <a:gd name="connsiteX695" fmla="*/ 49900 w 735417"/>
                <a:gd name="connsiteY695" fmla="*/ 620280 h 725747"/>
                <a:gd name="connsiteX696" fmla="*/ 43634 w 735417"/>
                <a:gd name="connsiteY696" fmla="*/ 626694 h 725747"/>
                <a:gd name="connsiteX697" fmla="*/ 39489 w 735417"/>
                <a:gd name="connsiteY697" fmla="*/ 626694 h 725747"/>
                <a:gd name="connsiteX698" fmla="*/ 37417 w 735417"/>
                <a:gd name="connsiteY698" fmla="*/ 631628 h 725747"/>
                <a:gd name="connsiteX699" fmla="*/ 49900 w 735417"/>
                <a:gd name="connsiteY699" fmla="*/ 631628 h 725747"/>
                <a:gd name="connsiteX700" fmla="*/ 54044 w 735417"/>
                <a:gd name="connsiteY700" fmla="*/ 636562 h 725747"/>
                <a:gd name="connsiteX701" fmla="*/ 45755 w 735417"/>
                <a:gd name="connsiteY701" fmla="*/ 636562 h 725747"/>
                <a:gd name="connsiteX702" fmla="*/ 43634 w 735417"/>
                <a:gd name="connsiteY702" fmla="*/ 639769 h 725747"/>
                <a:gd name="connsiteX703" fmla="*/ 43634 w 735417"/>
                <a:gd name="connsiteY703" fmla="*/ 644703 h 725747"/>
                <a:gd name="connsiteX704" fmla="*/ 35344 w 735417"/>
                <a:gd name="connsiteY704" fmla="*/ 639769 h 725747"/>
                <a:gd name="connsiteX705" fmla="*/ 31150 w 735417"/>
                <a:gd name="connsiteY705" fmla="*/ 641398 h 725747"/>
                <a:gd name="connsiteX706" fmla="*/ 31150 w 735417"/>
                <a:gd name="connsiteY706" fmla="*/ 646332 h 725747"/>
                <a:gd name="connsiteX707" fmla="*/ 29078 w 735417"/>
                <a:gd name="connsiteY707" fmla="*/ 639868 h 725747"/>
                <a:gd name="connsiteX708" fmla="*/ 24933 w 735417"/>
                <a:gd name="connsiteY708" fmla="*/ 643075 h 725747"/>
                <a:gd name="connsiteX709" fmla="*/ 18667 w 735417"/>
                <a:gd name="connsiteY709" fmla="*/ 649539 h 725747"/>
                <a:gd name="connsiteX710" fmla="*/ 20740 w 735417"/>
                <a:gd name="connsiteY710" fmla="*/ 656002 h 725747"/>
                <a:gd name="connsiteX711" fmla="*/ 31150 w 735417"/>
                <a:gd name="connsiteY711" fmla="*/ 664045 h 725747"/>
                <a:gd name="connsiteX712" fmla="*/ 31150 w 735417"/>
                <a:gd name="connsiteY712" fmla="*/ 659111 h 725747"/>
                <a:gd name="connsiteX713" fmla="*/ 35344 w 735417"/>
                <a:gd name="connsiteY713" fmla="*/ 660690 h 725747"/>
                <a:gd name="connsiteX714" fmla="*/ 39489 w 735417"/>
                <a:gd name="connsiteY714" fmla="*/ 659111 h 725747"/>
                <a:gd name="connsiteX715" fmla="*/ 37417 w 735417"/>
                <a:gd name="connsiteY715" fmla="*/ 655854 h 725747"/>
                <a:gd name="connsiteX716" fmla="*/ 41561 w 735417"/>
                <a:gd name="connsiteY716" fmla="*/ 650920 h 725747"/>
                <a:gd name="connsiteX717" fmla="*/ 49900 w 735417"/>
                <a:gd name="connsiteY717" fmla="*/ 655854 h 725747"/>
                <a:gd name="connsiteX718" fmla="*/ 45755 w 735417"/>
                <a:gd name="connsiteY718" fmla="*/ 657482 h 725747"/>
                <a:gd name="connsiteX719" fmla="*/ 49900 w 735417"/>
                <a:gd name="connsiteY719" fmla="*/ 660690 h 725747"/>
                <a:gd name="connsiteX720" fmla="*/ 47827 w 735417"/>
                <a:gd name="connsiteY720" fmla="*/ 667153 h 725747"/>
                <a:gd name="connsiteX721" fmla="*/ 43634 w 735417"/>
                <a:gd name="connsiteY721" fmla="*/ 668781 h 725747"/>
                <a:gd name="connsiteX722" fmla="*/ 47827 w 735417"/>
                <a:gd name="connsiteY722" fmla="*/ 678650 h 725747"/>
                <a:gd name="connsiteX723" fmla="*/ 49900 w 735417"/>
                <a:gd name="connsiteY723" fmla="*/ 675442 h 725747"/>
                <a:gd name="connsiteX724" fmla="*/ 60311 w 735417"/>
                <a:gd name="connsiteY724" fmla="*/ 672186 h 725747"/>
                <a:gd name="connsiteX725" fmla="*/ 62383 w 735417"/>
                <a:gd name="connsiteY725" fmla="*/ 677120 h 725747"/>
                <a:gd name="connsiteX726" fmla="*/ 55919 w 735417"/>
                <a:gd name="connsiteY726" fmla="*/ 677120 h 725747"/>
                <a:gd name="connsiteX727" fmla="*/ 51726 w 735417"/>
                <a:gd name="connsiteY727" fmla="*/ 680327 h 725747"/>
                <a:gd name="connsiteX728" fmla="*/ 55919 w 735417"/>
                <a:gd name="connsiteY728" fmla="*/ 685261 h 725747"/>
                <a:gd name="connsiteX729" fmla="*/ 55919 w 735417"/>
                <a:gd name="connsiteY729" fmla="*/ 686840 h 725747"/>
                <a:gd name="connsiteX730" fmla="*/ 41117 w 735417"/>
                <a:gd name="connsiteY730" fmla="*/ 678798 h 725747"/>
                <a:gd name="connsiteX731" fmla="*/ 36973 w 735417"/>
                <a:gd name="connsiteY731" fmla="*/ 680376 h 725747"/>
                <a:gd name="connsiteX732" fmla="*/ 32779 w 735417"/>
                <a:gd name="connsiteY732" fmla="*/ 677169 h 725747"/>
                <a:gd name="connsiteX733" fmla="*/ 28634 w 735417"/>
                <a:gd name="connsiteY733" fmla="*/ 678798 h 725747"/>
                <a:gd name="connsiteX734" fmla="*/ 28634 w 735417"/>
                <a:gd name="connsiteY734" fmla="*/ 682005 h 725747"/>
                <a:gd name="connsiteX735" fmla="*/ 24490 w 735417"/>
                <a:gd name="connsiteY735" fmla="*/ 686939 h 725747"/>
                <a:gd name="connsiteX736" fmla="*/ 32779 w 735417"/>
                <a:gd name="connsiteY736" fmla="*/ 699866 h 725747"/>
                <a:gd name="connsiteX737" fmla="*/ 41117 w 735417"/>
                <a:gd name="connsiteY737" fmla="*/ 699866 h 725747"/>
                <a:gd name="connsiteX738" fmla="*/ 49455 w 735417"/>
                <a:gd name="connsiteY738" fmla="*/ 707908 h 725747"/>
                <a:gd name="connsiteX739" fmla="*/ 64258 w 735417"/>
                <a:gd name="connsiteY739" fmla="*/ 712842 h 725747"/>
                <a:gd name="connsiteX740" fmla="*/ 66379 w 735417"/>
                <a:gd name="connsiteY740" fmla="*/ 716099 h 725747"/>
                <a:gd name="connsiteX741" fmla="*/ 62186 w 735417"/>
                <a:gd name="connsiteY741" fmla="*/ 717678 h 725747"/>
                <a:gd name="connsiteX742" fmla="*/ 68452 w 735417"/>
                <a:gd name="connsiteY742" fmla="*/ 722612 h 725747"/>
                <a:gd name="connsiteX743" fmla="*/ 72596 w 735417"/>
                <a:gd name="connsiteY743" fmla="*/ 719405 h 725747"/>
                <a:gd name="connsiteX744" fmla="*/ 70524 w 735417"/>
                <a:gd name="connsiteY744" fmla="*/ 714471 h 725747"/>
                <a:gd name="connsiteX745" fmla="*/ 74669 w 735417"/>
                <a:gd name="connsiteY745" fmla="*/ 714471 h 725747"/>
                <a:gd name="connsiteX746" fmla="*/ 78863 w 735417"/>
                <a:gd name="connsiteY746" fmla="*/ 717678 h 725747"/>
                <a:gd name="connsiteX747" fmla="*/ 78863 w 735417"/>
                <a:gd name="connsiteY747" fmla="*/ 719306 h 725747"/>
                <a:gd name="connsiteX748" fmla="*/ 85080 w 735417"/>
                <a:gd name="connsiteY748" fmla="*/ 725720 h 725747"/>
                <a:gd name="connsiteX749" fmla="*/ 89273 w 735417"/>
                <a:gd name="connsiteY749" fmla="*/ 722513 h 725747"/>
                <a:gd name="connsiteX750" fmla="*/ 91395 w 735417"/>
                <a:gd name="connsiteY750" fmla="*/ 724141 h 725747"/>
                <a:gd name="connsiteX751" fmla="*/ 97612 w 735417"/>
                <a:gd name="connsiteY751" fmla="*/ 720885 h 725747"/>
                <a:gd name="connsiteX752" fmla="*/ 105951 w 735417"/>
                <a:gd name="connsiteY752" fmla="*/ 715951 h 725747"/>
                <a:gd name="connsiteX753" fmla="*/ 108023 w 735417"/>
                <a:gd name="connsiteY753" fmla="*/ 714323 h 725747"/>
                <a:gd name="connsiteX754" fmla="*/ 112217 w 735417"/>
                <a:gd name="connsiteY754" fmla="*/ 711066 h 725747"/>
                <a:gd name="connsiteX755" fmla="*/ 114239 w 735417"/>
                <a:gd name="connsiteY755" fmla="*/ 712694 h 725747"/>
                <a:gd name="connsiteX756" fmla="*/ 114239 w 735417"/>
                <a:gd name="connsiteY756" fmla="*/ 715951 h 725747"/>
                <a:gd name="connsiteX757" fmla="*/ 118434 w 735417"/>
                <a:gd name="connsiteY757" fmla="*/ 717530 h 725747"/>
                <a:gd name="connsiteX758" fmla="*/ 130916 w 735417"/>
                <a:gd name="connsiteY758" fmla="*/ 706280 h 725747"/>
                <a:gd name="connsiteX759" fmla="*/ 130916 w 735417"/>
                <a:gd name="connsiteY759" fmla="*/ 703024 h 725747"/>
                <a:gd name="connsiteX760" fmla="*/ 126772 w 735417"/>
                <a:gd name="connsiteY760" fmla="*/ 696560 h 725747"/>
                <a:gd name="connsiteX761" fmla="*/ 135061 w 735417"/>
                <a:gd name="connsiteY761" fmla="*/ 701494 h 725747"/>
                <a:gd name="connsiteX762" fmla="*/ 143449 w 735417"/>
                <a:gd name="connsiteY762" fmla="*/ 695031 h 725747"/>
                <a:gd name="connsiteX763" fmla="*/ 141328 w 735417"/>
                <a:gd name="connsiteY763" fmla="*/ 693452 h 725747"/>
                <a:gd name="connsiteX764" fmla="*/ 145522 w 735417"/>
                <a:gd name="connsiteY764" fmla="*/ 690195 h 725747"/>
                <a:gd name="connsiteX765" fmla="*/ 145522 w 735417"/>
                <a:gd name="connsiteY765" fmla="*/ 686988 h 725747"/>
                <a:gd name="connsiteX766" fmla="*/ 149666 w 735417"/>
                <a:gd name="connsiteY766" fmla="*/ 683781 h 725747"/>
                <a:gd name="connsiteX767" fmla="*/ 155932 w 735417"/>
                <a:gd name="connsiteY767" fmla="*/ 682153 h 725747"/>
                <a:gd name="connsiteX768" fmla="*/ 158004 w 735417"/>
                <a:gd name="connsiteY768" fmla="*/ 678946 h 725747"/>
                <a:gd name="connsiteX769" fmla="*/ 151739 w 735417"/>
                <a:gd name="connsiteY769" fmla="*/ 672482 h 725747"/>
                <a:gd name="connsiteX770" fmla="*/ 153860 w 735417"/>
                <a:gd name="connsiteY770" fmla="*/ 667548 h 725747"/>
                <a:gd name="connsiteX771" fmla="*/ 149666 w 735417"/>
                <a:gd name="connsiteY771" fmla="*/ 662614 h 725747"/>
                <a:gd name="connsiteX772" fmla="*/ 143449 w 735417"/>
                <a:gd name="connsiteY772" fmla="*/ 657680 h 725747"/>
                <a:gd name="connsiteX773" fmla="*/ 143449 w 735417"/>
                <a:gd name="connsiteY773" fmla="*/ 652746 h 725747"/>
                <a:gd name="connsiteX774" fmla="*/ 147593 w 735417"/>
                <a:gd name="connsiteY774" fmla="*/ 654374 h 725747"/>
                <a:gd name="connsiteX775" fmla="*/ 153860 w 735417"/>
                <a:gd name="connsiteY775" fmla="*/ 660788 h 725747"/>
                <a:gd name="connsiteX776" fmla="*/ 155932 w 735417"/>
                <a:gd name="connsiteY776" fmla="*/ 670656 h 725747"/>
                <a:gd name="connsiteX777" fmla="*/ 158004 w 735417"/>
                <a:gd name="connsiteY777" fmla="*/ 672285 h 725747"/>
                <a:gd name="connsiteX778" fmla="*/ 162149 w 735417"/>
                <a:gd name="connsiteY778" fmla="*/ 672285 h 725747"/>
                <a:gd name="connsiteX779" fmla="*/ 162149 w 735417"/>
                <a:gd name="connsiteY779" fmla="*/ 677219 h 725747"/>
                <a:gd name="connsiteX780" fmla="*/ 164271 w 735417"/>
                <a:gd name="connsiteY780" fmla="*/ 680426 h 725747"/>
                <a:gd name="connsiteX781" fmla="*/ 172560 w 735417"/>
                <a:gd name="connsiteY781" fmla="*/ 677219 h 725747"/>
                <a:gd name="connsiteX782" fmla="*/ 170487 w 735417"/>
                <a:gd name="connsiteY782" fmla="*/ 673962 h 725747"/>
                <a:gd name="connsiteX783" fmla="*/ 166343 w 735417"/>
                <a:gd name="connsiteY783" fmla="*/ 672383 h 725747"/>
                <a:gd name="connsiteX784" fmla="*/ 170487 w 735417"/>
                <a:gd name="connsiteY784" fmla="*/ 667449 h 725747"/>
                <a:gd name="connsiteX785" fmla="*/ 174681 w 735417"/>
                <a:gd name="connsiteY785" fmla="*/ 672383 h 725747"/>
                <a:gd name="connsiteX786" fmla="*/ 176754 w 735417"/>
                <a:gd name="connsiteY786" fmla="*/ 675640 h 725747"/>
                <a:gd name="connsiteX787" fmla="*/ 185093 w 735417"/>
                <a:gd name="connsiteY787" fmla="*/ 667548 h 725747"/>
                <a:gd name="connsiteX788" fmla="*/ 187165 w 735417"/>
                <a:gd name="connsiteY788" fmla="*/ 661084 h 725747"/>
                <a:gd name="connsiteX789" fmla="*/ 185093 w 735417"/>
                <a:gd name="connsiteY789" fmla="*/ 654670 h 725747"/>
                <a:gd name="connsiteX790" fmla="*/ 180898 w 735417"/>
                <a:gd name="connsiteY790" fmla="*/ 653042 h 725747"/>
                <a:gd name="connsiteX791" fmla="*/ 178826 w 735417"/>
                <a:gd name="connsiteY791" fmla="*/ 649785 h 725747"/>
                <a:gd name="connsiteX792" fmla="*/ 180898 w 735417"/>
                <a:gd name="connsiteY792" fmla="*/ 648206 h 725747"/>
                <a:gd name="connsiteX793" fmla="*/ 180898 w 735417"/>
                <a:gd name="connsiteY793" fmla="*/ 644999 h 725747"/>
                <a:gd name="connsiteX794" fmla="*/ 185093 w 735417"/>
                <a:gd name="connsiteY794" fmla="*/ 644999 h 725747"/>
                <a:gd name="connsiteX795" fmla="*/ 187165 w 735417"/>
                <a:gd name="connsiteY795" fmla="*/ 641743 h 725747"/>
                <a:gd name="connsiteX796" fmla="*/ 185093 w 735417"/>
                <a:gd name="connsiteY796" fmla="*/ 638536 h 725747"/>
                <a:gd name="connsiteX797" fmla="*/ 185093 w 735417"/>
                <a:gd name="connsiteY797" fmla="*/ 633602 h 725747"/>
                <a:gd name="connsiteX798" fmla="*/ 189237 w 735417"/>
                <a:gd name="connsiteY798" fmla="*/ 628668 h 725747"/>
                <a:gd name="connsiteX799" fmla="*/ 195503 w 735417"/>
                <a:gd name="connsiteY799" fmla="*/ 633602 h 725747"/>
                <a:gd name="connsiteX800" fmla="*/ 191309 w 735417"/>
                <a:gd name="connsiteY800" fmla="*/ 640016 h 725747"/>
                <a:gd name="connsiteX801" fmla="*/ 191309 w 735417"/>
                <a:gd name="connsiteY801" fmla="*/ 650427 h 725747"/>
                <a:gd name="connsiteX802" fmla="*/ 195503 w 735417"/>
                <a:gd name="connsiteY802" fmla="*/ 656890 h 725747"/>
                <a:gd name="connsiteX803" fmla="*/ 195503 w 735417"/>
                <a:gd name="connsiteY803" fmla="*/ 660295 h 725747"/>
                <a:gd name="connsiteX804" fmla="*/ 203792 w 735417"/>
                <a:gd name="connsiteY804" fmla="*/ 666758 h 725747"/>
                <a:gd name="connsiteX805" fmla="*/ 212131 w 735417"/>
                <a:gd name="connsiteY805" fmla="*/ 666758 h 725747"/>
                <a:gd name="connsiteX806" fmla="*/ 216325 w 735417"/>
                <a:gd name="connsiteY806" fmla="*/ 668387 h 725747"/>
                <a:gd name="connsiteX807" fmla="*/ 214252 w 735417"/>
                <a:gd name="connsiteY807" fmla="*/ 671594 h 725747"/>
                <a:gd name="connsiteX808" fmla="*/ 218397 w 735417"/>
                <a:gd name="connsiteY808" fmla="*/ 674850 h 725747"/>
                <a:gd name="connsiteX809" fmla="*/ 222542 w 735417"/>
                <a:gd name="connsiteY809" fmla="*/ 679784 h 725747"/>
                <a:gd name="connsiteX810" fmla="*/ 226736 w 735417"/>
                <a:gd name="connsiteY810" fmla="*/ 674850 h 725747"/>
                <a:gd name="connsiteX811" fmla="*/ 224663 w 735417"/>
                <a:gd name="connsiteY811" fmla="*/ 655460 h 725747"/>
                <a:gd name="connsiteX812" fmla="*/ 218397 w 735417"/>
                <a:gd name="connsiteY812" fmla="*/ 647417 h 725747"/>
                <a:gd name="connsiteX813" fmla="*/ 222542 w 735417"/>
                <a:gd name="connsiteY813" fmla="*/ 640953 h 725747"/>
                <a:gd name="connsiteX814" fmla="*/ 226736 w 735417"/>
                <a:gd name="connsiteY814" fmla="*/ 639325 h 725747"/>
                <a:gd name="connsiteX815" fmla="*/ 222542 w 735417"/>
                <a:gd name="connsiteY815" fmla="*/ 632911 h 725747"/>
                <a:gd name="connsiteX816" fmla="*/ 224663 w 735417"/>
                <a:gd name="connsiteY816" fmla="*/ 629655 h 725747"/>
                <a:gd name="connsiteX817" fmla="*/ 237146 w 735417"/>
                <a:gd name="connsiteY817" fmla="*/ 628076 h 725747"/>
                <a:gd name="connsiteX818" fmla="*/ 239219 w 735417"/>
                <a:gd name="connsiteY818" fmla="*/ 623142 h 725747"/>
                <a:gd name="connsiteX819" fmla="*/ 239219 w 735417"/>
                <a:gd name="connsiteY819" fmla="*/ 616678 h 725747"/>
                <a:gd name="connsiteX820" fmla="*/ 243363 w 735417"/>
                <a:gd name="connsiteY820" fmla="*/ 606810 h 725747"/>
                <a:gd name="connsiteX821" fmla="*/ 239219 w 735417"/>
                <a:gd name="connsiteY821" fmla="*/ 601876 h 725747"/>
                <a:gd name="connsiteX822" fmla="*/ 237146 w 735417"/>
                <a:gd name="connsiteY822" fmla="*/ 587321 h 725747"/>
                <a:gd name="connsiteX823" fmla="*/ 228611 w 735417"/>
                <a:gd name="connsiteY823" fmla="*/ 576416 h 725747"/>
                <a:gd name="connsiteX824" fmla="*/ 230732 w 735417"/>
                <a:gd name="connsiteY824" fmla="*/ 571482 h 725747"/>
                <a:gd name="connsiteX825" fmla="*/ 247360 w 735417"/>
                <a:gd name="connsiteY825" fmla="*/ 566548 h 725747"/>
                <a:gd name="connsiteX826" fmla="*/ 247360 w 735417"/>
                <a:gd name="connsiteY826" fmla="*/ 555249 h 725747"/>
                <a:gd name="connsiteX827" fmla="*/ 249432 w 735417"/>
                <a:gd name="connsiteY827" fmla="*/ 548786 h 725747"/>
                <a:gd name="connsiteX828" fmla="*/ 236949 w 735417"/>
                <a:gd name="connsiteY828" fmla="*/ 537536 h 725747"/>
                <a:gd name="connsiteX829" fmla="*/ 226538 w 735417"/>
                <a:gd name="connsiteY829" fmla="*/ 532602 h 725747"/>
                <a:gd name="connsiteX830" fmla="*/ 226538 w 735417"/>
                <a:gd name="connsiteY830" fmla="*/ 521352 h 725747"/>
                <a:gd name="connsiteX831" fmla="*/ 228611 w 735417"/>
                <a:gd name="connsiteY831" fmla="*/ 510053 h 725747"/>
                <a:gd name="connsiteX832" fmla="*/ 226538 w 735417"/>
                <a:gd name="connsiteY832" fmla="*/ 497176 h 725747"/>
                <a:gd name="connsiteX833" fmla="*/ 222344 w 735417"/>
                <a:gd name="connsiteY833" fmla="*/ 489084 h 725747"/>
                <a:gd name="connsiteX834" fmla="*/ 226538 w 735417"/>
                <a:gd name="connsiteY834" fmla="*/ 479216 h 725747"/>
                <a:gd name="connsiteX835" fmla="*/ 224466 w 735417"/>
                <a:gd name="connsiteY835" fmla="*/ 463082 h 725747"/>
                <a:gd name="connsiteX836" fmla="*/ 220321 w 735417"/>
                <a:gd name="connsiteY836" fmla="*/ 446947 h 725747"/>
                <a:gd name="connsiteX837" fmla="*/ 224466 w 735417"/>
                <a:gd name="connsiteY837" fmla="*/ 434069 h 725747"/>
                <a:gd name="connsiteX838" fmla="*/ 230732 w 735417"/>
                <a:gd name="connsiteY838" fmla="*/ 421142 h 725747"/>
                <a:gd name="connsiteX839" fmla="*/ 239021 w 735417"/>
                <a:gd name="connsiteY839" fmla="*/ 416208 h 725747"/>
                <a:gd name="connsiteX840" fmla="*/ 249432 w 735417"/>
                <a:gd name="connsiteY840" fmla="*/ 419465 h 725747"/>
                <a:gd name="connsiteX841" fmla="*/ 261965 w 735417"/>
                <a:gd name="connsiteY841" fmla="*/ 419465 h 725747"/>
                <a:gd name="connsiteX842" fmla="*/ 268182 w 735417"/>
                <a:gd name="connsiteY842" fmla="*/ 411422 h 725747"/>
                <a:gd name="connsiteX843" fmla="*/ 266109 w 735417"/>
                <a:gd name="connsiteY843" fmla="*/ 400074 h 725747"/>
                <a:gd name="connsiteX844" fmla="*/ 264037 w 735417"/>
                <a:gd name="connsiteY844" fmla="*/ 395140 h 725747"/>
                <a:gd name="connsiteX845" fmla="*/ 264037 w 735417"/>
                <a:gd name="connsiteY845" fmla="*/ 388676 h 725747"/>
                <a:gd name="connsiteX846" fmla="*/ 276520 w 735417"/>
                <a:gd name="connsiteY846" fmla="*/ 362871 h 725747"/>
                <a:gd name="connsiteX847" fmla="*/ 276520 w 735417"/>
                <a:gd name="connsiteY847" fmla="*/ 348957 h 725747"/>
                <a:gd name="connsiteX848" fmla="*/ 280665 w 735417"/>
                <a:gd name="connsiteY848" fmla="*/ 334451 h 725747"/>
                <a:gd name="connsiteX849" fmla="*/ 282786 w 735417"/>
                <a:gd name="connsiteY849" fmla="*/ 326359 h 725747"/>
                <a:gd name="connsiteX850" fmla="*/ 282786 w 735417"/>
                <a:gd name="connsiteY850" fmla="*/ 318317 h 725747"/>
                <a:gd name="connsiteX851" fmla="*/ 278592 w 735417"/>
                <a:gd name="connsiteY851" fmla="*/ 313383 h 725747"/>
                <a:gd name="connsiteX852" fmla="*/ 278592 w 735417"/>
                <a:gd name="connsiteY852" fmla="*/ 307018 h 725747"/>
                <a:gd name="connsiteX853" fmla="*/ 289003 w 735417"/>
                <a:gd name="connsiteY853" fmla="*/ 300604 h 725747"/>
                <a:gd name="connsiteX854" fmla="*/ 301486 w 735417"/>
                <a:gd name="connsiteY854" fmla="*/ 298975 h 725747"/>
                <a:gd name="connsiteX855" fmla="*/ 307753 w 735417"/>
                <a:gd name="connsiteY855" fmla="*/ 294041 h 725747"/>
                <a:gd name="connsiteX856" fmla="*/ 307753 w 735417"/>
                <a:gd name="connsiteY856" fmla="*/ 287578 h 725747"/>
                <a:gd name="connsiteX857" fmla="*/ 318213 w 735417"/>
                <a:gd name="connsiteY857" fmla="*/ 273072 h 725747"/>
                <a:gd name="connsiteX858" fmla="*/ 328624 w 735417"/>
                <a:gd name="connsiteY858" fmla="*/ 261773 h 725747"/>
                <a:gd name="connsiteX859" fmla="*/ 332768 w 735417"/>
                <a:gd name="connsiteY859" fmla="*/ 253730 h 725747"/>
                <a:gd name="connsiteX860" fmla="*/ 328624 w 735417"/>
                <a:gd name="connsiteY860" fmla="*/ 245639 h 725747"/>
                <a:gd name="connsiteX861" fmla="*/ 324430 w 735417"/>
                <a:gd name="connsiteY861" fmla="*/ 240705 h 725747"/>
                <a:gd name="connsiteX862" fmla="*/ 324430 w 735417"/>
                <a:gd name="connsiteY862" fmla="*/ 226198 h 725747"/>
                <a:gd name="connsiteX863" fmla="*/ 328624 w 735417"/>
                <a:gd name="connsiteY863" fmla="*/ 224620 h 725747"/>
                <a:gd name="connsiteX864" fmla="*/ 332768 w 735417"/>
                <a:gd name="connsiteY864" fmla="*/ 219686 h 725747"/>
                <a:gd name="connsiteX865" fmla="*/ 334840 w 735417"/>
                <a:gd name="connsiteY865" fmla="*/ 211643 h 725747"/>
                <a:gd name="connsiteX866" fmla="*/ 339034 w 735417"/>
                <a:gd name="connsiteY866" fmla="*/ 210015 h 725747"/>
                <a:gd name="connsiteX867" fmla="*/ 345251 w 735417"/>
                <a:gd name="connsiteY867" fmla="*/ 198716 h 725747"/>
                <a:gd name="connsiteX868" fmla="*/ 351468 w 735417"/>
                <a:gd name="connsiteY868" fmla="*/ 193782 h 725747"/>
                <a:gd name="connsiteX869" fmla="*/ 359856 w 735417"/>
                <a:gd name="connsiteY869" fmla="*/ 196989 h 725747"/>
                <a:gd name="connsiteX870" fmla="*/ 364000 w 735417"/>
                <a:gd name="connsiteY870" fmla="*/ 200246 h 725747"/>
                <a:gd name="connsiteX871" fmla="*/ 368145 w 735417"/>
                <a:gd name="connsiteY871" fmla="*/ 200246 h 725747"/>
                <a:gd name="connsiteX872" fmla="*/ 374412 w 735417"/>
                <a:gd name="connsiteY872" fmla="*/ 195312 h 725747"/>
                <a:gd name="connsiteX873" fmla="*/ 370267 w 735417"/>
                <a:gd name="connsiteY873" fmla="*/ 188848 h 725747"/>
                <a:gd name="connsiteX874" fmla="*/ 374412 w 735417"/>
                <a:gd name="connsiteY874" fmla="*/ 185641 h 725747"/>
                <a:gd name="connsiteX875" fmla="*/ 374412 w 735417"/>
                <a:gd name="connsiteY875" fmla="*/ 182384 h 725747"/>
                <a:gd name="connsiteX876" fmla="*/ 376483 w 735417"/>
                <a:gd name="connsiteY876" fmla="*/ 179177 h 725747"/>
                <a:gd name="connsiteX877" fmla="*/ 370267 w 735417"/>
                <a:gd name="connsiteY877" fmla="*/ 171135 h 725747"/>
                <a:gd name="connsiteX878" fmla="*/ 374412 w 735417"/>
                <a:gd name="connsiteY878" fmla="*/ 169556 h 725747"/>
                <a:gd name="connsiteX879" fmla="*/ 384822 w 735417"/>
                <a:gd name="connsiteY879" fmla="*/ 169556 h 725747"/>
                <a:gd name="connsiteX880" fmla="*/ 391434 w 735417"/>
                <a:gd name="connsiteY880" fmla="*/ 166891 h 725747"/>
                <a:gd name="connsiteX881" fmla="*/ 403917 w 735417"/>
                <a:gd name="connsiteY881" fmla="*/ 170148 h 725747"/>
                <a:gd name="connsiteX882" fmla="*/ 412255 w 735417"/>
                <a:gd name="connsiteY882" fmla="*/ 173355 h 725747"/>
                <a:gd name="connsiteX883" fmla="*/ 420545 w 735417"/>
                <a:gd name="connsiteY883" fmla="*/ 174934 h 725747"/>
                <a:gd name="connsiteX884" fmla="*/ 424738 w 735417"/>
                <a:gd name="connsiteY884" fmla="*/ 178190 h 725747"/>
                <a:gd name="connsiteX885" fmla="*/ 428883 w 735417"/>
                <a:gd name="connsiteY885" fmla="*/ 176562 h 725747"/>
                <a:gd name="connsiteX886" fmla="*/ 430955 w 735417"/>
                <a:gd name="connsiteY886" fmla="*/ 178190 h 725747"/>
                <a:gd name="connsiteX887" fmla="*/ 430955 w 735417"/>
                <a:gd name="connsiteY887" fmla="*/ 171825 h 725747"/>
                <a:gd name="connsiteX888" fmla="*/ 426860 w 735417"/>
                <a:gd name="connsiteY888" fmla="*/ 166891 h 725747"/>
                <a:gd name="connsiteX889" fmla="*/ 428883 w 735417"/>
                <a:gd name="connsiteY889" fmla="*/ 157023 h 725747"/>
                <a:gd name="connsiteX890" fmla="*/ 435149 w 735417"/>
                <a:gd name="connsiteY890" fmla="*/ 153816 h 725747"/>
                <a:gd name="connsiteX891" fmla="*/ 433077 w 735417"/>
                <a:gd name="connsiteY891" fmla="*/ 147353 h 725747"/>
                <a:gd name="connsiteX892" fmla="*/ 426860 w 735417"/>
                <a:gd name="connsiteY892" fmla="*/ 144096 h 725747"/>
                <a:gd name="connsiteX893" fmla="*/ 426860 w 735417"/>
                <a:gd name="connsiteY893" fmla="*/ 137682 h 725747"/>
                <a:gd name="connsiteX894" fmla="*/ 435149 w 735417"/>
                <a:gd name="connsiteY894" fmla="*/ 140889 h 725747"/>
                <a:gd name="connsiteX895" fmla="*/ 443488 w 735417"/>
                <a:gd name="connsiteY895" fmla="*/ 139310 h 725747"/>
                <a:gd name="connsiteX896" fmla="*/ 445560 w 735417"/>
                <a:gd name="connsiteY896" fmla="*/ 137682 h 725747"/>
                <a:gd name="connsiteX897" fmla="*/ 445560 w 735417"/>
                <a:gd name="connsiteY897" fmla="*/ 137682 h 725747"/>
                <a:gd name="connsiteX898" fmla="*/ 447682 w 735417"/>
                <a:gd name="connsiteY898" fmla="*/ 136054 h 725747"/>
                <a:gd name="connsiteX899" fmla="*/ 449705 w 735417"/>
                <a:gd name="connsiteY899" fmla="*/ 137682 h 725747"/>
                <a:gd name="connsiteX900" fmla="*/ 451826 w 735417"/>
                <a:gd name="connsiteY900" fmla="*/ 136054 h 725747"/>
                <a:gd name="connsiteX901" fmla="*/ 449705 w 735417"/>
                <a:gd name="connsiteY901" fmla="*/ 131120 h 725747"/>
                <a:gd name="connsiteX902" fmla="*/ 451826 w 735417"/>
                <a:gd name="connsiteY902" fmla="*/ 126186 h 725747"/>
                <a:gd name="connsiteX903" fmla="*/ 455971 w 735417"/>
                <a:gd name="connsiteY903" fmla="*/ 122979 h 725747"/>
                <a:gd name="connsiteX904" fmla="*/ 462237 w 735417"/>
                <a:gd name="connsiteY904" fmla="*/ 122979 h 725747"/>
                <a:gd name="connsiteX905" fmla="*/ 468503 w 735417"/>
                <a:gd name="connsiteY905" fmla="*/ 129442 h 725747"/>
                <a:gd name="connsiteX906" fmla="*/ 483305 w 735417"/>
                <a:gd name="connsiteY906" fmla="*/ 140692 h 725747"/>
                <a:gd name="connsiteX907" fmla="*/ 487450 w 735417"/>
                <a:gd name="connsiteY907" fmla="*/ 147155 h 725747"/>
                <a:gd name="connsiteX908" fmla="*/ 493716 w 735417"/>
                <a:gd name="connsiteY908" fmla="*/ 153619 h 725747"/>
                <a:gd name="connsiteX909" fmla="*/ 502055 w 735417"/>
                <a:gd name="connsiteY909" fmla="*/ 156826 h 725747"/>
                <a:gd name="connsiteX910" fmla="*/ 520804 w 735417"/>
                <a:gd name="connsiteY910" fmla="*/ 158405 h 725747"/>
                <a:gd name="connsiteX911" fmla="*/ 529093 w 735417"/>
                <a:gd name="connsiteY911" fmla="*/ 150362 h 725747"/>
                <a:gd name="connsiteX912" fmla="*/ 533287 w 735417"/>
                <a:gd name="connsiteY912" fmla="*/ 145428 h 725747"/>
                <a:gd name="connsiteX913" fmla="*/ 541625 w 735417"/>
                <a:gd name="connsiteY913" fmla="*/ 147057 h 725747"/>
                <a:gd name="connsiteX914" fmla="*/ 552037 w 735417"/>
                <a:gd name="connsiteY914" fmla="*/ 153520 h 725747"/>
                <a:gd name="connsiteX915" fmla="*/ 560326 w 735417"/>
                <a:gd name="connsiteY915" fmla="*/ 155099 h 725747"/>
                <a:gd name="connsiteX916" fmla="*/ 564519 w 735417"/>
                <a:gd name="connsiteY916" fmla="*/ 147057 h 725747"/>
                <a:gd name="connsiteX917" fmla="*/ 570786 w 735417"/>
                <a:gd name="connsiteY917" fmla="*/ 145428 h 725747"/>
                <a:gd name="connsiteX918" fmla="*/ 574930 w 735417"/>
                <a:gd name="connsiteY918" fmla="*/ 140494 h 725747"/>
                <a:gd name="connsiteX919" fmla="*/ 581197 w 735417"/>
                <a:gd name="connsiteY919" fmla="*/ 140494 h 725747"/>
                <a:gd name="connsiteX920" fmla="*/ 587463 w 735417"/>
                <a:gd name="connsiteY920" fmla="*/ 137287 h 725747"/>
                <a:gd name="connsiteX921" fmla="*/ 591607 w 735417"/>
                <a:gd name="connsiteY921" fmla="*/ 134031 h 725747"/>
                <a:gd name="connsiteX922" fmla="*/ 587463 w 735417"/>
                <a:gd name="connsiteY922" fmla="*/ 127567 h 725747"/>
                <a:gd name="connsiteX923" fmla="*/ 585342 w 735417"/>
                <a:gd name="connsiteY923" fmla="*/ 119525 h 725747"/>
                <a:gd name="connsiteX924" fmla="*/ 587463 w 735417"/>
                <a:gd name="connsiteY924" fmla="*/ 103390 h 725747"/>
                <a:gd name="connsiteX925" fmla="*/ 589486 w 735417"/>
                <a:gd name="connsiteY925" fmla="*/ 98456 h 725747"/>
                <a:gd name="connsiteX926" fmla="*/ 585342 w 735417"/>
                <a:gd name="connsiteY926" fmla="*/ 93522 h 725747"/>
                <a:gd name="connsiteX927" fmla="*/ 589486 w 735417"/>
                <a:gd name="connsiteY927" fmla="*/ 91943 h 725747"/>
                <a:gd name="connsiteX928" fmla="*/ 595752 w 735417"/>
                <a:gd name="connsiteY928" fmla="*/ 83852 h 725747"/>
                <a:gd name="connsiteX929" fmla="*/ 595752 w 735417"/>
                <a:gd name="connsiteY929" fmla="*/ 80644 h 725747"/>
                <a:gd name="connsiteX930" fmla="*/ 602019 w 735417"/>
                <a:gd name="connsiteY930" fmla="*/ 77437 h 725747"/>
                <a:gd name="connsiteX931" fmla="*/ 612429 w 735417"/>
                <a:gd name="connsiteY931" fmla="*/ 79016 h 725747"/>
                <a:gd name="connsiteX932" fmla="*/ 616574 w 735417"/>
                <a:gd name="connsiteY932" fmla="*/ 79016 h 725747"/>
                <a:gd name="connsiteX933" fmla="*/ 616574 w 735417"/>
                <a:gd name="connsiteY933" fmla="*/ 75809 h 725747"/>
                <a:gd name="connsiteX934" fmla="*/ 622840 w 735417"/>
                <a:gd name="connsiteY934" fmla="*/ 70875 h 725747"/>
                <a:gd name="connsiteX935" fmla="*/ 637642 w 735417"/>
                <a:gd name="connsiteY935" fmla="*/ 69247 h 725747"/>
                <a:gd name="connsiteX936" fmla="*/ 645980 w 735417"/>
                <a:gd name="connsiteY936" fmla="*/ 74181 h 725747"/>
                <a:gd name="connsiteX937" fmla="*/ 654319 w 735417"/>
                <a:gd name="connsiteY937" fmla="*/ 83802 h 725747"/>
                <a:gd name="connsiteX938" fmla="*/ 658464 w 735417"/>
                <a:gd name="connsiteY938" fmla="*/ 88736 h 725747"/>
                <a:gd name="connsiteX939" fmla="*/ 666802 w 735417"/>
                <a:gd name="connsiteY939" fmla="*/ 90365 h 725747"/>
                <a:gd name="connsiteX940" fmla="*/ 679335 w 735417"/>
                <a:gd name="connsiteY940" fmla="*/ 91993 h 725747"/>
                <a:gd name="connsiteX941" fmla="*/ 681407 w 735417"/>
                <a:gd name="connsiteY941" fmla="*/ 96927 h 725747"/>
                <a:gd name="connsiteX942" fmla="*/ 687624 w 735417"/>
                <a:gd name="connsiteY942" fmla="*/ 103390 h 725747"/>
                <a:gd name="connsiteX943" fmla="*/ 687624 w 735417"/>
                <a:gd name="connsiteY943" fmla="*/ 109854 h 725747"/>
                <a:gd name="connsiteX944" fmla="*/ 679335 w 735417"/>
                <a:gd name="connsiteY944" fmla="*/ 117897 h 725747"/>
                <a:gd name="connsiteX945" fmla="*/ 33025 w 735417"/>
                <a:gd name="connsiteY945" fmla="*/ 666610 h 725747"/>
                <a:gd name="connsiteX946" fmla="*/ 37219 w 735417"/>
                <a:gd name="connsiteY946" fmla="*/ 671545 h 725747"/>
                <a:gd name="connsiteX947" fmla="*/ 30953 w 735417"/>
                <a:gd name="connsiteY947" fmla="*/ 673123 h 725747"/>
                <a:gd name="connsiteX948" fmla="*/ 16348 w 735417"/>
                <a:gd name="connsiteY948" fmla="*/ 632763 h 725747"/>
                <a:gd name="connsiteX949" fmla="*/ 20542 w 735417"/>
                <a:gd name="connsiteY949" fmla="*/ 631135 h 725747"/>
                <a:gd name="connsiteX950" fmla="*/ 24736 w 735417"/>
                <a:gd name="connsiteY950" fmla="*/ 636069 h 725747"/>
                <a:gd name="connsiteX951" fmla="*/ 20542 w 735417"/>
                <a:gd name="connsiteY951" fmla="*/ 639276 h 725747"/>
                <a:gd name="connsiteX952" fmla="*/ 28881 w 735417"/>
                <a:gd name="connsiteY952" fmla="*/ 621464 h 725747"/>
                <a:gd name="connsiteX953" fmla="*/ 28881 w 735417"/>
                <a:gd name="connsiteY953" fmla="*/ 626398 h 725747"/>
                <a:gd name="connsiteX954" fmla="*/ 24736 w 735417"/>
                <a:gd name="connsiteY954" fmla="*/ 626398 h 725747"/>
                <a:gd name="connsiteX955" fmla="*/ 22615 w 735417"/>
                <a:gd name="connsiteY955" fmla="*/ 618208 h 725747"/>
                <a:gd name="connsiteX956" fmla="*/ 20542 w 735417"/>
                <a:gd name="connsiteY956" fmla="*/ 623142 h 725747"/>
                <a:gd name="connsiteX957" fmla="*/ 16447 w 735417"/>
                <a:gd name="connsiteY957" fmla="*/ 623142 h 725747"/>
                <a:gd name="connsiteX958" fmla="*/ 10131 w 735417"/>
                <a:gd name="connsiteY958" fmla="*/ 594031 h 725747"/>
                <a:gd name="connsiteX959" fmla="*/ 3914 w 735417"/>
                <a:gd name="connsiteY959" fmla="*/ 590824 h 725747"/>
                <a:gd name="connsiteX960" fmla="*/ 10131 w 735417"/>
                <a:gd name="connsiteY960" fmla="*/ 587567 h 725747"/>
                <a:gd name="connsiteX961" fmla="*/ 5938 w 735417"/>
                <a:gd name="connsiteY961" fmla="*/ 598965 h 725747"/>
                <a:gd name="connsiteX962" fmla="*/ 12204 w 735417"/>
                <a:gd name="connsiteY962" fmla="*/ 598965 h 725747"/>
                <a:gd name="connsiteX963" fmla="*/ 10131 w 735417"/>
                <a:gd name="connsiteY963" fmla="*/ 602221 h 725747"/>
                <a:gd name="connsiteX964" fmla="*/ 20740 w 735417"/>
                <a:gd name="connsiteY964" fmla="*/ 605428 h 725747"/>
                <a:gd name="connsiteX965" fmla="*/ 24933 w 735417"/>
                <a:gd name="connsiteY965" fmla="*/ 611892 h 725747"/>
                <a:gd name="connsiteX966" fmla="*/ 22812 w 735417"/>
                <a:gd name="connsiteY966" fmla="*/ 616826 h 725747"/>
                <a:gd name="connsiteX967" fmla="*/ 10329 w 735417"/>
                <a:gd name="connsiteY967" fmla="*/ 613520 h 725747"/>
                <a:gd name="connsiteX968" fmla="*/ 6135 w 735417"/>
                <a:gd name="connsiteY968" fmla="*/ 608586 h 725747"/>
                <a:gd name="connsiteX969" fmla="*/ 12401 w 735417"/>
                <a:gd name="connsiteY969" fmla="*/ 607007 h 725747"/>
                <a:gd name="connsiteX970" fmla="*/ 6135 w 735417"/>
                <a:gd name="connsiteY970" fmla="*/ 576416 h 725747"/>
                <a:gd name="connsiteX971" fmla="*/ -82 w 735417"/>
                <a:gd name="connsiteY971" fmla="*/ 581350 h 725747"/>
                <a:gd name="connsiteX972" fmla="*/ 4112 w 735417"/>
                <a:gd name="connsiteY972" fmla="*/ 582979 h 725747"/>
                <a:gd name="connsiteX973" fmla="*/ 6135 w 735417"/>
                <a:gd name="connsiteY973" fmla="*/ 579722 h 725747"/>
                <a:gd name="connsiteX974" fmla="*/ 4112 w 735417"/>
                <a:gd name="connsiteY974" fmla="*/ 534477 h 725747"/>
                <a:gd name="connsiteX975" fmla="*/ 12401 w 735417"/>
                <a:gd name="connsiteY975" fmla="*/ 537734 h 725747"/>
                <a:gd name="connsiteX976" fmla="*/ 4112 w 735417"/>
                <a:gd name="connsiteY976" fmla="*/ 537734 h 725747"/>
                <a:gd name="connsiteX977" fmla="*/ 6135 w 735417"/>
                <a:gd name="connsiteY977" fmla="*/ 523178 h 725747"/>
                <a:gd name="connsiteX978" fmla="*/ 12401 w 735417"/>
                <a:gd name="connsiteY978" fmla="*/ 526435 h 725747"/>
                <a:gd name="connsiteX979" fmla="*/ 8256 w 735417"/>
                <a:gd name="connsiteY979" fmla="*/ 531369 h 725747"/>
                <a:gd name="connsiteX980" fmla="*/ 24933 w 735417"/>
                <a:gd name="connsiteY980" fmla="*/ 510300 h 725747"/>
                <a:gd name="connsiteX981" fmla="*/ 27006 w 735417"/>
                <a:gd name="connsiteY981" fmla="*/ 515234 h 725747"/>
                <a:gd name="connsiteX982" fmla="*/ 20740 w 735417"/>
                <a:gd name="connsiteY982" fmla="*/ 515234 h 725747"/>
                <a:gd name="connsiteX983" fmla="*/ 33223 w 735417"/>
                <a:gd name="connsiteY983" fmla="*/ 507093 h 725747"/>
                <a:gd name="connsiteX984" fmla="*/ 37417 w 735417"/>
                <a:gd name="connsiteY984" fmla="*/ 508672 h 725747"/>
                <a:gd name="connsiteX985" fmla="*/ 39489 w 735417"/>
                <a:gd name="connsiteY985" fmla="*/ 511928 h 725747"/>
                <a:gd name="connsiteX986" fmla="*/ 33223 w 735417"/>
                <a:gd name="connsiteY986" fmla="*/ 515136 h 725747"/>
                <a:gd name="connsiteX987" fmla="*/ 95737 w 735417"/>
                <a:gd name="connsiteY987" fmla="*/ 468361 h 725747"/>
                <a:gd name="connsiteX988" fmla="*/ 102003 w 735417"/>
                <a:gd name="connsiteY988" fmla="*/ 461897 h 725747"/>
                <a:gd name="connsiteX989" fmla="*/ 104026 w 735417"/>
                <a:gd name="connsiteY989" fmla="*/ 468361 h 725747"/>
                <a:gd name="connsiteX990" fmla="*/ 102003 w 735417"/>
                <a:gd name="connsiteY990" fmla="*/ 471568 h 725747"/>
                <a:gd name="connsiteX991" fmla="*/ 97809 w 735417"/>
                <a:gd name="connsiteY991" fmla="*/ 458493 h 725747"/>
                <a:gd name="connsiteX992" fmla="*/ 95737 w 735417"/>
                <a:gd name="connsiteY992" fmla="*/ 460121 h 725747"/>
                <a:gd name="connsiteX993" fmla="*/ 89471 w 735417"/>
                <a:gd name="connsiteY993" fmla="*/ 453658 h 725747"/>
                <a:gd name="connsiteX994" fmla="*/ 95392 w 735417"/>
                <a:gd name="connsiteY994" fmla="*/ 453658 h 725747"/>
                <a:gd name="connsiteX995" fmla="*/ 106148 w 735417"/>
                <a:gd name="connsiteY995" fmla="*/ 445615 h 725747"/>
                <a:gd name="connsiteX996" fmla="*/ 116559 w 735417"/>
                <a:gd name="connsiteY996" fmla="*/ 437523 h 725747"/>
                <a:gd name="connsiteX997" fmla="*/ 120703 w 735417"/>
                <a:gd name="connsiteY997" fmla="*/ 440780 h 725747"/>
                <a:gd name="connsiteX998" fmla="*/ 114437 w 735417"/>
                <a:gd name="connsiteY998" fmla="*/ 445714 h 725747"/>
                <a:gd name="connsiteX999" fmla="*/ 106148 w 735417"/>
                <a:gd name="connsiteY999" fmla="*/ 456914 h 725747"/>
                <a:gd name="connsiteX1000" fmla="*/ 112414 w 735417"/>
                <a:gd name="connsiteY1000" fmla="*/ 450450 h 725747"/>
                <a:gd name="connsiteX1001" fmla="*/ 118631 w 735417"/>
                <a:gd name="connsiteY1001" fmla="*/ 450450 h 725747"/>
                <a:gd name="connsiteX1002" fmla="*/ 120703 w 735417"/>
                <a:gd name="connsiteY1002" fmla="*/ 447194 h 725747"/>
                <a:gd name="connsiteX1003" fmla="*/ 126970 w 735417"/>
                <a:gd name="connsiteY1003" fmla="*/ 445615 h 725747"/>
                <a:gd name="connsiteX1004" fmla="*/ 131114 w 735417"/>
                <a:gd name="connsiteY1004" fmla="*/ 450549 h 725747"/>
                <a:gd name="connsiteX1005" fmla="*/ 124848 w 735417"/>
                <a:gd name="connsiteY1005" fmla="*/ 455483 h 725747"/>
                <a:gd name="connsiteX1006" fmla="*/ 116559 w 735417"/>
                <a:gd name="connsiteY1006" fmla="*/ 455483 h 725747"/>
                <a:gd name="connsiteX1007" fmla="*/ 112414 w 735417"/>
                <a:gd name="connsiteY1007" fmla="*/ 457161 h 725747"/>
                <a:gd name="connsiteX1008" fmla="*/ 199895 w 735417"/>
                <a:gd name="connsiteY1008" fmla="*/ 369779 h 725747"/>
                <a:gd name="connsiteX1009" fmla="*/ 203990 w 735417"/>
                <a:gd name="connsiteY1009" fmla="*/ 364845 h 725747"/>
                <a:gd name="connsiteX1010" fmla="*/ 212328 w 735417"/>
                <a:gd name="connsiteY1010" fmla="*/ 363217 h 725747"/>
                <a:gd name="connsiteX1011" fmla="*/ 206111 w 735417"/>
                <a:gd name="connsiteY1011" fmla="*/ 371308 h 725747"/>
                <a:gd name="connsiteX1012" fmla="*/ 193579 w 735417"/>
                <a:gd name="connsiteY1012" fmla="*/ 384334 h 725747"/>
                <a:gd name="connsiteX1013" fmla="*/ 191507 w 735417"/>
                <a:gd name="connsiteY1013" fmla="*/ 379400 h 725747"/>
                <a:gd name="connsiteX1014" fmla="*/ 185290 w 735417"/>
                <a:gd name="connsiteY1014" fmla="*/ 381029 h 725747"/>
                <a:gd name="connsiteX1015" fmla="*/ 189435 w 735417"/>
                <a:gd name="connsiteY1015" fmla="*/ 376094 h 725747"/>
                <a:gd name="connsiteX1016" fmla="*/ 199895 w 735417"/>
                <a:gd name="connsiteY1016" fmla="*/ 374516 h 725747"/>
                <a:gd name="connsiteX1017" fmla="*/ 206111 w 735417"/>
                <a:gd name="connsiteY1017" fmla="*/ 372887 h 725747"/>
                <a:gd name="connsiteX1018" fmla="*/ 197773 w 735417"/>
                <a:gd name="connsiteY1018" fmla="*/ 380979 h 725747"/>
                <a:gd name="connsiteX1019" fmla="*/ 210305 w 735417"/>
                <a:gd name="connsiteY1019" fmla="*/ 332724 h 725747"/>
                <a:gd name="connsiteX1020" fmla="*/ 214450 w 735417"/>
                <a:gd name="connsiteY1020" fmla="*/ 334353 h 725747"/>
                <a:gd name="connsiteX1021" fmla="*/ 214450 w 735417"/>
                <a:gd name="connsiteY1021" fmla="*/ 337560 h 725747"/>
                <a:gd name="connsiteX1022" fmla="*/ 210305 w 735417"/>
                <a:gd name="connsiteY1022" fmla="*/ 340816 h 725747"/>
                <a:gd name="connsiteX1023" fmla="*/ 208184 w 735417"/>
                <a:gd name="connsiteY1023" fmla="*/ 337560 h 725747"/>
                <a:gd name="connsiteX1024" fmla="*/ 225108 w 735417"/>
                <a:gd name="connsiteY1024" fmla="*/ 319847 h 725747"/>
                <a:gd name="connsiteX1025" fmla="*/ 227179 w 735417"/>
                <a:gd name="connsiteY1025" fmla="*/ 316639 h 725747"/>
                <a:gd name="connsiteX1026" fmla="*/ 235518 w 735417"/>
                <a:gd name="connsiteY1026" fmla="*/ 318218 h 725747"/>
                <a:gd name="connsiteX1027" fmla="*/ 224663 w 735417"/>
                <a:gd name="connsiteY1027" fmla="*/ 324781 h 725747"/>
                <a:gd name="connsiteX1028" fmla="*/ 220963 w 735417"/>
                <a:gd name="connsiteY1028" fmla="*/ 309978 h 725747"/>
                <a:gd name="connsiteX1029" fmla="*/ 227179 w 735417"/>
                <a:gd name="connsiteY1029" fmla="*/ 303515 h 725747"/>
                <a:gd name="connsiteX1030" fmla="*/ 227179 w 735417"/>
                <a:gd name="connsiteY1030" fmla="*/ 308449 h 725747"/>
                <a:gd name="connsiteX1031" fmla="*/ 222986 w 735417"/>
                <a:gd name="connsiteY1031" fmla="*/ 316541 h 725747"/>
                <a:gd name="connsiteX1032" fmla="*/ 264679 w 735417"/>
                <a:gd name="connsiteY1032" fmla="*/ 253533 h 725747"/>
                <a:gd name="connsiteX1033" fmla="*/ 266751 w 735417"/>
                <a:gd name="connsiteY1033" fmla="*/ 250277 h 725747"/>
                <a:gd name="connsiteX1034" fmla="*/ 270895 w 735417"/>
                <a:gd name="connsiteY1034" fmla="*/ 250277 h 725747"/>
                <a:gd name="connsiteX1035" fmla="*/ 268823 w 735417"/>
                <a:gd name="connsiteY1035" fmla="*/ 256740 h 725747"/>
                <a:gd name="connsiteX1036" fmla="*/ 220963 w 735417"/>
                <a:gd name="connsiteY1036" fmla="*/ 221264 h 725747"/>
                <a:gd name="connsiteX1037" fmla="*/ 225108 w 735417"/>
                <a:gd name="connsiteY1037" fmla="*/ 224521 h 725747"/>
                <a:gd name="connsiteX1038" fmla="*/ 222986 w 735417"/>
                <a:gd name="connsiteY1038" fmla="*/ 227728 h 725747"/>
                <a:gd name="connsiteX1039" fmla="*/ 218841 w 735417"/>
                <a:gd name="connsiteY1039" fmla="*/ 226100 h 725747"/>
                <a:gd name="connsiteX1040" fmla="*/ 233396 w 735417"/>
                <a:gd name="connsiteY1040" fmla="*/ 206758 h 725747"/>
                <a:gd name="connsiteX1041" fmla="*/ 225108 w 735417"/>
                <a:gd name="connsiteY1041" fmla="*/ 213173 h 725747"/>
                <a:gd name="connsiteX1042" fmla="*/ 225108 w 735417"/>
                <a:gd name="connsiteY1042" fmla="*/ 206758 h 725747"/>
                <a:gd name="connsiteX1043" fmla="*/ 231374 w 735417"/>
                <a:gd name="connsiteY1043" fmla="*/ 196890 h 725747"/>
                <a:gd name="connsiteX1044" fmla="*/ 239663 w 735417"/>
                <a:gd name="connsiteY1044" fmla="*/ 201824 h 725747"/>
                <a:gd name="connsiteX1045" fmla="*/ 235518 w 735417"/>
                <a:gd name="connsiteY1045" fmla="*/ 196890 h 725747"/>
                <a:gd name="connsiteX1046" fmla="*/ 239663 w 735417"/>
                <a:gd name="connsiteY1046" fmla="*/ 195262 h 725747"/>
                <a:gd name="connsiteX1047" fmla="*/ 241785 w 735417"/>
                <a:gd name="connsiteY1047" fmla="*/ 196890 h 725747"/>
                <a:gd name="connsiteX1048" fmla="*/ 260484 w 735417"/>
                <a:gd name="connsiteY1048" fmla="*/ 187318 h 725747"/>
                <a:gd name="connsiteX1049" fmla="*/ 258412 w 735417"/>
                <a:gd name="connsiteY1049" fmla="*/ 192252 h 725747"/>
                <a:gd name="connsiteX1050" fmla="*/ 245929 w 735417"/>
                <a:gd name="connsiteY1050" fmla="*/ 202121 h 725747"/>
                <a:gd name="connsiteX1051" fmla="*/ 248002 w 735417"/>
                <a:gd name="connsiteY1051" fmla="*/ 190822 h 725747"/>
                <a:gd name="connsiteX1052" fmla="*/ 270895 w 735417"/>
                <a:gd name="connsiteY1052" fmla="*/ 174391 h 725747"/>
                <a:gd name="connsiteX1053" fmla="*/ 275089 w 735417"/>
                <a:gd name="connsiteY1053" fmla="*/ 167977 h 725747"/>
                <a:gd name="connsiteX1054" fmla="*/ 281306 w 735417"/>
                <a:gd name="connsiteY1054" fmla="*/ 172911 h 725747"/>
                <a:gd name="connsiteX1055" fmla="*/ 281306 w 735417"/>
                <a:gd name="connsiteY1055" fmla="*/ 176019 h 725747"/>
                <a:gd name="connsiteX1056" fmla="*/ 281306 w 735417"/>
                <a:gd name="connsiteY1056" fmla="*/ 188897 h 725747"/>
                <a:gd name="connsiteX1057" fmla="*/ 273017 w 735417"/>
                <a:gd name="connsiteY1057" fmla="*/ 185690 h 725747"/>
                <a:gd name="connsiteX1058" fmla="*/ 262606 w 735417"/>
                <a:gd name="connsiteY1058" fmla="*/ 190624 h 725747"/>
                <a:gd name="connsiteX1059" fmla="*/ 264679 w 735417"/>
                <a:gd name="connsiteY1059" fmla="*/ 184210 h 725747"/>
                <a:gd name="connsiteX1060" fmla="*/ 285500 w 735417"/>
                <a:gd name="connsiteY1060" fmla="*/ 147007 h 725747"/>
                <a:gd name="connsiteX1061" fmla="*/ 287572 w 735417"/>
                <a:gd name="connsiteY1061" fmla="*/ 155050 h 725747"/>
                <a:gd name="connsiteX1062" fmla="*/ 287572 w 735417"/>
                <a:gd name="connsiteY1062" fmla="*/ 164918 h 725747"/>
                <a:gd name="connsiteX1063" fmla="*/ 279234 w 735417"/>
                <a:gd name="connsiteY1063" fmla="*/ 168174 h 725747"/>
                <a:gd name="connsiteX1064" fmla="*/ 275089 w 735417"/>
                <a:gd name="connsiteY1064" fmla="*/ 164918 h 725747"/>
                <a:gd name="connsiteX1065" fmla="*/ 283428 w 735417"/>
                <a:gd name="connsiteY1065" fmla="*/ 158454 h 725747"/>
                <a:gd name="connsiteX1066" fmla="*/ 279234 w 735417"/>
                <a:gd name="connsiteY1066" fmla="*/ 158454 h 725747"/>
                <a:gd name="connsiteX1067" fmla="*/ 268823 w 735417"/>
                <a:gd name="connsiteY1067" fmla="*/ 164918 h 725747"/>
                <a:gd name="connsiteX1068" fmla="*/ 266751 w 735417"/>
                <a:gd name="connsiteY1068" fmla="*/ 161711 h 725747"/>
                <a:gd name="connsiteX1069" fmla="*/ 268823 w 735417"/>
                <a:gd name="connsiteY1069" fmla="*/ 155247 h 725747"/>
                <a:gd name="connsiteX1070" fmla="*/ 275089 w 735417"/>
                <a:gd name="connsiteY1070" fmla="*/ 156875 h 725747"/>
                <a:gd name="connsiteX1071" fmla="*/ 281306 w 735417"/>
                <a:gd name="connsiteY1071" fmla="*/ 150412 h 725747"/>
                <a:gd name="connsiteX1072" fmla="*/ 281306 w 735417"/>
                <a:gd name="connsiteY1072" fmla="*/ 147205 h 725747"/>
                <a:gd name="connsiteX1073" fmla="*/ 293838 w 735417"/>
                <a:gd name="connsiteY1073" fmla="*/ 150214 h 725747"/>
                <a:gd name="connsiteX1074" fmla="*/ 289645 w 735417"/>
                <a:gd name="connsiteY1074" fmla="*/ 147007 h 725747"/>
                <a:gd name="connsiteX1075" fmla="*/ 289645 w 735417"/>
                <a:gd name="connsiteY1075" fmla="*/ 138965 h 725747"/>
                <a:gd name="connsiteX1076" fmla="*/ 300055 w 735417"/>
                <a:gd name="connsiteY1076" fmla="*/ 132501 h 725747"/>
                <a:gd name="connsiteX1077" fmla="*/ 300055 w 735417"/>
                <a:gd name="connsiteY1077" fmla="*/ 126432 h 725747"/>
                <a:gd name="connsiteX1078" fmla="*/ 308394 w 735417"/>
                <a:gd name="connsiteY1078" fmla="*/ 123225 h 725747"/>
                <a:gd name="connsiteX1079" fmla="*/ 310466 w 735417"/>
                <a:gd name="connsiteY1079" fmla="*/ 129689 h 725747"/>
                <a:gd name="connsiteX1080" fmla="*/ 304249 w 735417"/>
                <a:gd name="connsiteY1080" fmla="*/ 134623 h 725747"/>
                <a:gd name="connsiteX1081" fmla="*/ 302128 w 735417"/>
                <a:gd name="connsiteY1081" fmla="*/ 141086 h 725747"/>
                <a:gd name="connsiteX1082" fmla="*/ 316732 w 735417"/>
                <a:gd name="connsiteY1082" fmla="*/ 153471 h 725747"/>
                <a:gd name="connsiteX1083" fmla="*/ 325071 w 735417"/>
                <a:gd name="connsiteY1083" fmla="*/ 161513 h 725747"/>
                <a:gd name="connsiteX1084" fmla="*/ 314660 w 735417"/>
                <a:gd name="connsiteY1084" fmla="*/ 172812 h 725747"/>
                <a:gd name="connsiteX1085" fmla="*/ 306322 w 735417"/>
                <a:gd name="connsiteY1085" fmla="*/ 176019 h 725747"/>
                <a:gd name="connsiteX1086" fmla="*/ 302128 w 735417"/>
                <a:gd name="connsiteY1086" fmla="*/ 180953 h 725747"/>
                <a:gd name="connsiteX1087" fmla="*/ 297983 w 735417"/>
                <a:gd name="connsiteY1087" fmla="*/ 179325 h 725747"/>
                <a:gd name="connsiteX1088" fmla="*/ 297983 w 735417"/>
                <a:gd name="connsiteY1088" fmla="*/ 174391 h 725747"/>
                <a:gd name="connsiteX1089" fmla="*/ 289645 w 735417"/>
                <a:gd name="connsiteY1089" fmla="*/ 184259 h 725747"/>
                <a:gd name="connsiteX1090" fmla="*/ 285500 w 735417"/>
                <a:gd name="connsiteY1090" fmla="*/ 184259 h 725747"/>
                <a:gd name="connsiteX1091" fmla="*/ 287572 w 735417"/>
                <a:gd name="connsiteY1091" fmla="*/ 176167 h 725747"/>
                <a:gd name="connsiteX1092" fmla="*/ 289645 w 735417"/>
                <a:gd name="connsiteY1092" fmla="*/ 174539 h 725747"/>
                <a:gd name="connsiteX1093" fmla="*/ 289645 w 735417"/>
                <a:gd name="connsiteY1093" fmla="*/ 168125 h 725747"/>
                <a:gd name="connsiteX1094" fmla="*/ 293838 w 735417"/>
                <a:gd name="connsiteY1094" fmla="*/ 163191 h 725747"/>
                <a:gd name="connsiteX1095" fmla="*/ 293838 w 735417"/>
                <a:gd name="connsiteY1095" fmla="*/ 158257 h 725747"/>
                <a:gd name="connsiteX1096" fmla="*/ 302128 w 735417"/>
                <a:gd name="connsiteY1096" fmla="*/ 147007 h 725747"/>
                <a:gd name="connsiteX1097" fmla="*/ 297983 w 735417"/>
                <a:gd name="connsiteY1097" fmla="*/ 163142 h 725747"/>
                <a:gd name="connsiteX1098" fmla="*/ 300055 w 735417"/>
                <a:gd name="connsiteY1098" fmla="*/ 168076 h 725747"/>
                <a:gd name="connsiteX1099" fmla="*/ 306322 w 735417"/>
                <a:gd name="connsiteY1099" fmla="*/ 160033 h 725747"/>
                <a:gd name="connsiteX1100" fmla="*/ 316732 w 735417"/>
                <a:gd name="connsiteY1100" fmla="*/ 160033 h 725747"/>
                <a:gd name="connsiteX1101" fmla="*/ 312539 w 735417"/>
                <a:gd name="connsiteY1101" fmla="*/ 155099 h 725747"/>
                <a:gd name="connsiteX1102" fmla="*/ 312539 w 735417"/>
                <a:gd name="connsiteY1102" fmla="*/ 150165 h 725747"/>
                <a:gd name="connsiteX1103" fmla="*/ 316732 w 735417"/>
                <a:gd name="connsiteY1103" fmla="*/ 147007 h 725747"/>
                <a:gd name="connsiteX1104" fmla="*/ 312539 w 735417"/>
                <a:gd name="connsiteY1104" fmla="*/ 145379 h 725747"/>
                <a:gd name="connsiteX1105" fmla="*/ 318854 w 735417"/>
                <a:gd name="connsiteY1105" fmla="*/ 142172 h 725747"/>
                <a:gd name="connsiteX1106" fmla="*/ 325071 w 735417"/>
                <a:gd name="connsiteY1106" fmla="*/ 145379 h 725747"/>
                <a:gd name="connsiteX1107" fmla="*/ 325071 w 735417"/>
                <a:gd name="connsiteY1107" fmla="*/ 150313 h 725747"/>
                <a:gd name="connsiteX1108" fmla="*/ 335482 w 735417"/>
                <a:gd name="connsiteY1108" fmla="*/ 155050 h 725747"/>
                <a:gd name="connsiteX1109" fmla="*/ 337554 w 735417"/>
                <a:gd name="connsiteY1109" fmla="*/ 148586 h 725747"/>
                <a:gd name="connsiteX1110" fmla="*/ 341699 w 735417"/>
                <a:gd name="connsiteY1110" fmla="*/ 153520 h 725747"/>
                <a:gd name="connsiteX1111" fmla="*/ 360497 w 735417"/>
                <a:gd name="connsiteY1111" fmla="*/ 122831 h 725747"/>
                <a:gd name="connsiteX1112" fmla="*/ 358376 w 735417"/>
                <a:gd name="connsiteY1112" fmla="*/ 126038 h 725747"/>
                <a:gd name="connsiteX1113" fmla="*/ 360497 w 735417"/>
                <a:gd name="connsiteY1113" fmla="*/ 130972 h 725747"/>
                <a:gd name="connsiteX1114" fmla="*/ 352110 w 735417"/>
                <a:gd name="connsiteY1114" fmla="*/ 132600 h 725747"/>
                <a:gd name="connsiteX1115" fmla="*/ 350086 w 735417"/>
                <a:gd name="connsiteY1115" fmla="*/ 135807 h 725747"/>
                <a:gd name="connsiteX1116" fmla="*/ 341699 w 735417"/>
                <a:gd name="connsiteY1116" fmla="*/ 135807 h 725747"/>
                <a:gd name="connsiteX1117" fmla="*/ 339676 w 735417"/>
                <a:gd name="connsiteY1117" fmla="*/ 142271 h 725747"/>
                <a:gd name="connsiteX1118" fmla="*/ 335482 w 735417"/>
                <a:gd name="connsiteY1118" fmla="*/ 143849 h 725747"/>
                <a:gd name="connsiteX1119" fmla="*/ 335482 w 735417"/>
                <a:gd name="connsiteY1119" fmla="*/ 137435 h 725747"/>
                <a:gd name="connsiteX1120" fmla="*/ 329265 w 735417"/>
                <a:gd name="connsiteY1120" fmla="*/ 137435 h 725747"/>
                <a:gd name="connsiteX1121" fmla="*/ 335482 w 735417"/>
                <a:gd name="connsiteY1121" fmla="*/ 129393 h 725747"/>
                <a:gd name="connsiteX1122" fmla="*/ 329265 w 735417"/>
                <a:gd name="connsiteY1122" fmla="*/ 129393 h 725747"/>
                <a:gd name="connsiteX1123" fmla="*/ 331288 w 735417"/>
                <a:gd name="connsiteY1123" fmla="*/ 122929 h 725747"/>
                <a:gd name="connsiteX1124" fmla="*/ 341699 w 735417"/>
                <a:gd name="connsiteY1124" fmla="*/ 121301 h 725747"/>
                <a:gd name="connsiteX1125" fmla="*/ 333409 w 735417"/>
                <a:gd name="connsiteY1125" fmla="*/ 118045 h 725747"/>
                <a:gd name="connsiteX1126" fmla="*/ 337554 w 735417"/>
                <a:gd name="connsiteY1126" fmla="*/ 111630 h 725747"/>
                <a:gd name="connsiteX1127" fmla="*/ 341699 w 735417"/>
                <a:gd name="connsiteY1127" fmla="*/ 114837 h 725747"/>
                <a:gd name="connsiteX1128" fmla="*/ 341699 w 735417"/>
                <a:gd name="connsiteY1128" fmla="*/ 108423 h 725747"/>
                <a:gd name="connsiteX1129" fmla="*/ 352110 w 735417"/>
                <a:gd name="connsiteY1129" fmla="*/ 110002 h 725747"/>
                <a:gd name="connsiteX1130" fmla="*/ 352110 w 735417"/>
                <a:gd name="connsiteY1130" fmla="*/ 114936 h 725747"/>
                <a:gd name="connsiteX1131" fmla="*/ 358376 w 735417"/>
                <a:gd name="connsiteY1131" fmla="*/ 114936 h 725747"/>
                <a:gd name="connsiteX1132" fmla="*/ 360497 w 735417"/>
                <a:gd name="connsiteY1132" fmla="*/ 105068 h 725747"/>
                <a:gd name="connsiteX1133" fmla="*/ 368787 w 735417"/>
                <a:gd name="connsiteY1133" fmla="*/ 103440 h 725747"/>
                <a:gd name="connsiteX1134" fmla="*/ 370908 w 735417"/>
                <a:gd name="connsiteY1134" fmla="*/ 98506 h 725747"/>
                <a:gd name="connsiteX1135" fmla="*/ 379197 w 735417"/>
                <a:gd name="connsiteY1135" fmla="*/ 98506 h 725747"/>
                <a:gd name="connsiteX1136" fmla="*/ 383391 w 735417"/>
                <a:gd name="connsiteY1136" fmla="*/ 93572 h 725747"/>
                <a:gd name="connsiteX1137" fmla="*/ 387536 w 735417"/>
                <a:gd name="connsiteY1137" fmla="*/ 100035 h 725747"/>
                <a:gd name="connsiteX1138" fmla="*/ 383391 w 735417"/>
                <a:gd name="connsiteY1138" fmla="*/ 104969 h 725747"/>
                <a:gd name="connsiteX1139" fmla="*/ 383391 w 735417"/>
                <a:gd name="connsiteY1139" fmla="*/ 109903 h 725747"/>
                <a:gd name="connsiteX1140" fmla="*/ 375053 w 735417"/>
                <a:gd name="connsiteY1140" fmla="*/ 109903 h 725747"/>
                <a:gd name="connsiteX1141" fmla="*/ 366714 w 735417"/>
                <a:gd name="connsiteY1141" fmla="*/ 113160 h 725747"/>
                <a:gd name="connsiteX1142" fmla="*/ 389608 w 735417"/>
                <a:gd name="connsiteY1142" fmla="*/ 69592 h 725747"/>
                <a:gd name="connsiteX1143" fmla="*/ 387536 w 735417"/>
                <a:gd name="connsiteY1143" fmla="*/ 66385 h 725747"/>
                <a:gd name="connsiteX1144" fmla="*/ 393802 w 735417"/>
                <a:gd name="connsiteY1144" fmla="*/ 64757 h 725747"/>
                <a:gd name="connsiteX1145" fmla="*/ 376632 w 735417"/>
                <a:gd name="connsiteY1145" fmla="*/ 83013 h 725747"/>
                <a:gd name="connsiteX1146" fmla="*/ 376632 w 735417"/>
                <a:gd name="connsiteY1146" fmla="*/ 74970 h 725747"/>
                <a:gd name="connsiteX1147" fmla="*/ 384970 w 735417"/>
                <a:gd name="connsiteY1147" fmla="*/ 73293 h 725747"/>
                <a:gd name="connsiteX1148" fmla="*/ 384970 w 735417"/>
                <a:gd name="connsiteY1148" fmla="*/ 78227 h 725747"/>
                <a:gd name="connsiteX1149" fmla="*/ 399526 w 735417"/>
                <a:gd name="connsiteY1149" fmla="*/ 94262 h 725747"/>
                <a:gd name="connsiteX1150" fmla="*/ 401647 w 735417"/>
                <a:gd name="connsiteY1150" fmla="*/ 86220 h 725747"/>
                <a:gd name="connsiteX1151" fmla="*/ 405792 w 735417"/>
                <a:gd name="connsiteY1151" fmla="*/ 91154 h 725747"/>
                <a:gd name="connsiteX1152" fmla="*/ 395381 w 735417"/>
                <a:gd name="connsiteY1152" fmla="*/ 92684 h 725747"/>
                <a:gd name="connsiteX1153" fmla="*/ 393309 w 735417"/>
                <a:gd name="connsiteY1153" fmla="*/ 94262 h 725747"/>
                <a:gd name="connsiteX1154" fmla="*/ 389115 w 735417"/>
                <a:gd name="connsiteY1154" fmla="*/ 94262 h 725747"/>
                <a:gd name="connsiteX1155" fmla="*/ 380825 w 735417"/>
                <a:gd name="connsiteY1155" fmla="*/ 86220 h 725747"/>
                <a:gd name="connsiteX1156" fmla="*/ 391434 w 735417"/>
                <a:gd name="connsiteY1156" fmla="*/ 78079 h 725747"/>
                <a:gd name="connsiteX1157" fmla="*/ 393506 w 735417"/>
                <a:gd name="connsiteY1157" fmla="*/ 83013 h 725747"/>
                <a:gd name="connsiteX1158" fmla="*/ 399723 w 735417"/>
                <a:gd name="connsiteY1158" fmla="*/ 81385 h 725747"/>
                <a:gd name="connsiteX1159" fmla="*/ 401844 w 735417"/>
                <a:gd name="connsiteY1159" fmla="*/ 83013 h 725747"/>
                <a:gd name="connsiteX1160" fmla="*/ 395578 w 735417"/>
                <a:gd name="connsiteY1160" fmla="*/ 86220 h 725747"/>
                <a:gd name="connsiteX1161" fmla="*/ 416104 w 735417"/>
                <a:gd name="connsiteY1161" fmla="*/ 78079 h 725747"/>
                <a:gd name="connsiteX1162" fmla="*/ 411959 w 735417"/>
                <a:gd name="connsiteY1162" fmla="*/ 79658 h 725747"/>
                <a:gd name="connsiteX1163" fmla="*/ 403621 w 735417"/>
                <a:gd name="connsiteY1163" fmla="*/ 76451 h 725747"/>
                <a:gd name="connsiteX1164" fmla="*/ 403621 w 735417"/>
                <a:gd name="connsiteY1164" fmla="*/ 71517 h 725747"/>
                <a:gd name="connsiteX1165" fmla="*/ 401549 w 735417"/>
                <a:gd name="connsiteY1165" fmla="*/ 63425 h 725747"/>
                <a:gd name="connsiteX1166" fmla="*/ 405693 w 735417"/>
                <a:gd name="connsiteY1166" fmla="*/ 60218 h 725747"/>
                <a:gd name="connsiteX1167" fmla="*/ 405693 w 735417"/>
                <a:gd name="connsiteY1167" fmla="*/ 68211 h 725747"/>
                <a:gd name="connsiteX1168" fmla="*/ 414031 w 735417"/>
                <a:gd name="connsiteY1168" fmla="*/ 73145 h 725747"/>
                <a:gd name="connsiteX1169" fmla="*/ 434853 w 735417"/>
                <a:gd name="connsiteY1169" fmla="*/ 86121 h 725747"/>
                <a:gd name="connsiteX1170" fmla="*/ 430659 w 735417"/>
                <a:gd name="connsiteY1170" fmla="*/ 81187 h 725747"/>
                <a:gd name="connsiteX1171" fmla="*/ 426564 w 735417"/>
                <a:gd name="connsiteY1171" fmla="*/ 79559 h 725747"/>
                <a:gd name="connsiteX1172" fmla="*/ 424442 w 735417"/>
                <a:gd name="connsiteY1172" fmla="*/ 69691 h 725747"/>
                <a:gd name="connsiteX1173" fmla="*/ 428587 w 735417"/>
                <a:gd name="connsiteY1173" fmla="*/ 64757 h 725747"/>
                <a:gd name="connsiteX1174" fmla="*/ 436975 w 735417"/>
                <a:gd name="connsiteY1174" fmla="*/ 69691 h 725747"/>
                <a:gd name="connsiteX1175" fmla="*/ 434853 w 735417"/>
                <a:gd name="connsiteY1175" fmla="*/ 76154 h 725747"/>
                <a:gd name="connsiteX1176" fmla="*/ 438998 w 735417"/>
                <a:gd name="connsiteY1176" fmla="*/ 81088 h 725747"/>
                <a:gd name="connsiteX1177" fmla="*/ 489128 w 735417"/>
                <a:gd name="connsiteY1177" fmla="*/ 63523 h 725747"/>
                <a:gd name="connsiteX1178" fmla="*/ 482862 w 735417"/>
                <a:gd name="connsiteY1178" fmla="*/ 60316 h 725747"/>
                <a:gd name="connsiteX1179" fmla="*/ 474523 w 735417"/>
                <a:gd name="connsiteY1179" fmla="*/ 57109 h 725747"/>
                <a:gd name="connsiteX1180" fmla="*/ 478716 w 735417"/>
                <a:gd name="connsiteY1180" fmla="*/ 53853 h 725747"/>
                <a:gd name="connsiteX1181" fmla="*/ 487006 w 735417"/>
                <a:gd name="connsiteY1181" fmla="*/ 53853 h 725747"/>
                <a:gd name="connsiteX1182" fmla="*/ 491200 w 735417"/>
                <a:gd name="connsiteY1182" fmla="*/ 57109 h 725747"/>
                <a:gd name="connsiteX1183" fmla="*/ 499539 w 735417"/>
                <a:gd name="connsiteY1183" fmla="*/ 58589 h 725747"/>
                <a:gd name="connsiteX1184" fmla="*/ 491200 w 735417"/>
                <a:gd name="connsiteY1184" fmla="*/ 48721 h 725747"/>
                <a:gd name="connsiteX1185" fmla="*/ 503683 w 735417"/>
                <a:gd name="connsiteY1185" fmla="*/ 38853 h 725747"/>
                <a:gd name="connsiteX1186" fmla="*/ 505756 w 735417"/>
                <a:gd name="connsiteY1186" fmla="*/ 46945 h 725747"/>
                <a:gd name="connsiteX1187" fmla="*/ 499539 w 735417"/>
                <a:gd name="connsiteY1187" fmla="*/ 51879 h 725747"/>
                <a:gd name="connsiteX1188" fmla="*/ 482862 w 735417"/>
                <a:gd name="connsiteY1188" fmla="*/ 47340 h 725747"/>
                <a:gd name="connsiteX1189" fmla="*/ 478716 w 735417"/>
                <a:gd name="connsiteY1189" fmla="*/ 47340 h 725747"/>
                <a:gd name="connsiteX1190" fmla="*/ 466184 w 735417"/>
                <a:gd name="connsiteY1190" fmla="*/ 44083 h 725747"/>
                <a:gd name="connsiteX1191" fmla="*/ 464112 w 735417"/>
                <a:gd name="connsiteY1191" fmla="*/ 37669 h 725747"/>
                <a:gd name="connsiteX1192" fmla="*/ 470329 w 735417"/>
                <a:gd name="connsiteY1192" fmla="*/ 39248 h 725747"/>
                <a:gd name="connsiteX1193" fmla="*/ 476595 w 735417"/>
                <a:gd name="connsiteY1193" fmla="*/ 36041 h 725747"/>
                <a:gd name="connsiteX1194" fmla="*/ 480789 w 735417"/>
                <a:gd name="connsiteY1194" fmla="*/ 39248 h 725747"/>
                <a:gd name="connsiteX1195" fmla="*/ 484933 w 735417"/>
                <a:gd name="connsiteY1195" fmla="*/ 32834 h 725747"/>
                <a:gd name="connsiteX1196" fmla="*/ 489128 w 735417"/>
                <a:gd name="connsiteY1196" fmla="*/ 36041 h 725747"/>
                <a:gd name="connsiteX1197" fmla="*/ 499539 w 735417"/>
                <a:gd name="connsiteY1197" fmla="*/ 26173 h 725747"/>
                <a:gd name="connsiteX1198" fmla="*/ 501610 w 735417"/>
                <a:gd name="connsiteY1198" fmla="*/ 31107 h 725747"/>
                <a:gd name="connsiteX1199" fmla="*/ 505756 w 735417"/>
                <a:gd name="connsiteY1199" fmla="*/ 34413 h 725747"/>
                <a:gd name="connsiteX1200" fmla="*/ 516166 w 735417"/>
                <a:gd name="connsiteY1200" fmla="*/ 31205 h 725747"/>
                <a:gd name="connsiteX1201" fmla="*/ 524504 w 735417"/>
                <a:gd name="connsiteY1201" fmla="*/ 36140 h 725747"/>
                <a:gd name="connsiteX1202" fmla="*/ 520360 w 735417"/>
                <a:gd name="connsiteY1202" fmla="*/ 41074 h 725747"/>
                <a:gd name="connsiteX1203" fmla="*/ 512021 w 735417"/>
                <a:gd name="connsiteY1203" fmla="*/ 44281 h 725747"/>
                <a:gd name="connsiteX1204" fmla="*/ 509949 w 735417"/>
                <a:gd name="connsiteY1204" fmla="*/ 39347 h 725747"/>
                <a:gd name="connsiteX1205" fmla="*/ 524504 w 735417"/>
                <a:gd name="connsiteY1205" fmla="*/ 18278 h 725747"/>
                <a:gd name="connsiteX1206" fmla="*/ 522433 w 735417"/>
                <a:gd name="connsiteY1206" fmla="*/ 21535 h 725747"/>
                <a:gd name="connsiteX1207" fmla="*/ 520360 w 735417"/>
                <a:gd name="connsiteY1207" fmla="*/ 23114 h 725747"/>
                <a:gd name="connsiteX1208" fmla="*/ 514094 w 735417"/>
                <a:gd name="connsiteY1208" fmla="*/ 16699 h 725747"/>
                <a:gd name="connsiteX1209" fmla="*/ 520360 w 735417"/>
                <a:gd name="connsiteY1209" fmla="*/ 15071 h 725747"/>
                <a:gd name="connsiteX1210" fmla="*/ 541182 w 735417"/>
                <a:gd name="connsiteY1210" fmla="*/ 8410 h 725747"/>
                <a:gd name="connsiteX1211" fmla="*/ 534915 w 735417"/>
                <a:gd name="connsiteY1211" fmla="*/ 8410 h 725747"/>
                <a:gd name="connsiteX1212" fmla="*/ 536988 w 735417"/>
                <a:gd name="connsiteY1212" fmla="*/ 5203 h 725747"/>
                <a:gd name="connsiteX1213" fmla="*/ 543254 w 735417"/>
                <a:gd name="connsiteY1213" fmla="*/ 5203 h 725747"/>
                <a:gd name="connsiteX1214" fmla="*/ 549471 w 735417"/>
                <a:gd name="connsiteY1214" fmla="*/ 11667 h 725747"/>
                <a:gd name="connsiteX1215" fmla="*/ 551592 w 735417"/>
                <a:gd name="connsiteY1215" fmla="*/ 10038 h 725747"/>
                <a:gd name="connsiteX1216" fmla="*/ 553665 w 735417"/>
                <a:gd name="connsiteY1216" fmla="*/ 6831 h 725747"/>
                <a:gd name="connsiteX1217" fmla="*/ 557809 w 735417"/>
                <a:gd name="connsiteY1217" fmla="*/ 8410 h 725747"/>
                <a:gd name="connsiteX1218" fmla="*/ 562003 w 735417"/>
                <a:gd name="connsiteY1218" fmla="*/ 5203 h 725747"/>
                <a:gd name="connsiteX1219" fmla="*/ 562003 w 735417"/>
                <a:gd name="connsiteY1219" fmla="*/ 269 h 725747"/>
                <a:gd name="connsiteX1220" fmla="*/ 566197 w 735417"/>
                <a:gd name="connsiteY1220" fmla="*/ 3476 h 725747"/>
                <a:gd name="connsiteX1221" fmla="*/ 572414 w 735417"/>
                <a:gd name="connsiteY1221" fmla="*/ 5104 h 725747"/>
                <a:gd name="connsiteX1222" fmla="*/ 568220 w 735417"/>
                <a:gd name="connsiteY1222" fmla="*/ 10038 h 725747"/>
                <a:gd name="connsiteX1223" fmla="*/ 576608 w 735417"/>
                <a:gd name="connsiteY1223" fmla="*/ 10038 h 725747"/>
                <a:gd name="connsiteX1224" fmla="*/ 572414 w 735417"/>
                <a:gd name="connsiteY1224" fmla="*/ 16502 h 725747"/>
                <a:gd name="connsiteX1225" fmla="*/ 566197 w 735417"/>
                <a:gd name="connsiteY1225" fmla="*/ 18081 h 725747"/>
                <a:gd name="connsiteX1226" fmla="*/ 557809 w 735417"/>
                <a:gd name="connsiteY1226" fmla="*/ 13147 h 72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</a:cxnLst>
              <a:rect l="l" t="t" r="r" b="b"/>
              <a:pathLst>
                <a:path w="735417" h="725747">
                  <a:moveTo>
                    <a:pt x="680766" y="131268"/>
                  </a:moveTo>
                  <a:lnTo>
                    <a:pt x="684959" y="131268"/>
                  </a:lnTo>
                  <a:lnTo>
                    <a:pt x="684959" y="119969"/>
                  </a:lnTo>
                  <a:lnTo>
                    <a:pt x="695370" y="111926"/>
                  </a:lnTo>
                  <a:lnTo>
                    <a:pt x="703660" y="110298"/>
                  </a:lnTo>
                  <a:lnTo>
                    <a:pt x="709926" y="103834"/>
                  </a:lnTo>
                  <a:lnTo>
                    <a:pt x="707853" y="95792"/>
                  </a:lnTo>
                  <a:lnTo>
                    <a:pt x="714070" y="95792"/>
                  </a:lnTo>
                  <a:lnTo>
                    <a:pt x="722409" y="97371"/>
                  </a:lnTo>
                  <a:lnTo>
                    <a:pt x="726603" y="92437"/>
                  </a:lnTo>
                  <a:lnTo>
                    <a:pt x="726603" y="85973"/>
                  </a:lnTo>
                  <a:lnTo>
                    <a:pt x="724481" y="85973"/>
                  </a:lnTo>
                  <a:lnTo>
                    <a:pt x="718264" y="82766"/>
                  </a:lnTo>
                  <a:lnTo>
                    <a:pt x="716192" y="82766"/>
                  </a:lnTo>
                  <a:lnTo>
                    <a:pt x="714070" y="84345"/>
                  </a:lnTo>
                  <a:lnTo>
                    <a:pt x="714070" y="87947"/>
                  </a:lnTo>
                  <a:lnTo>
                    <a:pt x="709926" y="84690"/>
                  </a:lnTo>
                  <a:lnTo>
                    <a:pt x="707853" y="81483"/>
                  </a:lnTo>
                  <a:lnTo>
                    <a:pt x="705781" y="81483"/>
                  </a:lnTo>
                  <a:lnTo>
                    <a:pt x="705781" y="84690"/>
                  </a:lnTo>
                  <a:lnTo>
                    <a:pt x="703660" y="91154"/>
                  </a:lnTo>
                  <a:lnTo>
                    <a:pt x="701587" y="91154"/>
                  </a:lnTo>
                  <a:lnTo>
                    <a:pt x="699515" y="86220"/>
                  </a:lnTo>
                  <a:lnTo>
                    <a:pt x="693249" y="89427"/>
                  </a:lnTo>
                  <a:lnTo>
                    <a:pt x="691176" y="92684"/>
                  </a:lnTo>
                  <a:lnTo>
                    <a:pt x="689104" y="87749"/>
                  </a:lnTo>
                  <a:lnTo>
                    <a:pt x="689104" y="81286"/>
                  </a:lnTo>
                  <a:lnTo>
                    <a:pt x="684959" y="79658"/>
                  </a:lnTo>
                  <a:lnTo>
                    <a:pt x="682838" y="73194"/>
                  </a:lnTo>
                  <a:lnTo>
                    <a:pt x="680766" y="71615"/>
                  </a:lnTo>
                  <a:lnTo>
                    <a:pt x="674549" y="73194"/>
                  </a:lnTo>
                  <a:lnTo>
                    <a:pt x="668233" y="71615"/>
                  </a:lnTo>
                  <a:lnTo>
                    <a:pt x="659944" y="69987"/>
                  </a:lnTo>
                  <a:lnTo>
                    <a:pt x="655750" y="65053"/>
                  </a:lnTo>
                  <a:lnTo>
                    <a:pt x="657822" y="63425"/>
                  </a:lnTo>
                  <a:lnTo>
                    <a:pt x="668233" y="66681"/>
                  </a:lnTo>
                  <a:lnTo>
                    <a:pt x="676572" y="65053"/>
                  </a:lnTo>
                  <a:lnTo>
                    <a:pt x="684959" y="66681"/>
                  </a:lnTo>
                  <a:lnTo>
                    <a:pt x="699762" y="68309"/>
                  </a:lnTo>
                  <a:lnTo>
                    <a:pt x="708100" y="65053"/>
                  </a:lnTo>
                  <a:lnTo>
                    <a:pt x="714317" y="53754"/>
                  </a:lnTo>
                  <a:lnTo>
                    <a:pt x="729119" y="52175"/>
                  </a:lnTo>
                  <a:lnTo>
                    <a:pt x="735336" y="47241"/>
                  </a:lnTo>
                  <a:lnTo>
                    <a:pt x="735336" y="45613"/>
                  </a:lnTo>
                  <a:lnTo>
                    <a:pt x="731191" y="43985"/>
                  </a:lnTo>
                  <a:lnTo>
                    <a:pt x="729119" y="42406"/>
                  </a:lnTo>
                  <a:lnTo>
                    <a:pt x="722853" y="40778"/>
                  </a:lnTo>
                  <a:lnTo>
                    <a:pt x="716636" y="40778"/>
                  </a:lnTo>
                  <a:lnTo>
                    <a:pt x="708297" y="34314"/>
                  </a:lnTo>
                  <a:lnTo>
                    <a:pt x="704103" y="34314"/>
                  </a:lnTo>
                  <a:lnTo>
                    <a:pt x="697837" y="40778"/>
                  </a:lnTo>
                  <a:lnTo>
                    <a:pt x="693693" y="40778"/>
                  </a:lnTo>
                  <a:lnTo>
                    <a:pt x="693693" y="37570"/>
                  </a:lnTo>
                  <a:lnTo>
                    <a:pt x="699959" y="35942"/>
                  </a:lnTo>
                  <a:lnTo>
                    <a:pt x="699959" y="31008"/>
                  </a:lnTo>
                  <a:lnTo>
                    <a:pt x="693693" y="27752"/>
                  </a:lnTo>
                  <a:lnTo>
                    <a:pt x="691620" y="26173"/>
                  </a:lnTo>
                  <a:lnTo>
                    <a:pt x="687426" y="27752"/>
                  </a:lnTo>
                  <a:lnTo>
                    <a:pt x="681209" y="34215"/>
                  </a:lnTo>
                  <a:lnTo>
                    <a:pt x="679138" y="34215"/>
                  </a:lnTo>
                  <a:lnTo>
                    <a:pt x="679138" y="29281"/>
                  </a:lnTo>
                  <a:lnTo>
                    <a:pt x="677016" y="29281"/>
                  </a:lnTo>
                  <a:lnTo>
                    <a:pt x="674993" y="32538"/>
                  </a:lnTo>
                  <a:lnTo>
                    <a:pt x="670799" y="32538"/>
                  </a:lnTo>
                  <a:lnTo>
                    <a:pt x="670799" y="29281"/>
                  </a:lnTo>
                  <a:lnTo>
                    <a:pt x="674993" y="27653"/>
                  </a:lnTo>
                  <a:lnTo>
                    <a:pt x="674993" y="22719"/>
                  </a:lnTo>
                  <a:lnTo>
                    <a:pt x="666605" y="19512"/>
                  </a:lnTo>
                  <a:lnTo>
                    <a:pt x="660388" y="19512"/>
                  </a:lnTo>
                  <a:lnTo>
                    <a:pt x="656194" y="21140"/>
                  </a:lnTo>
                  <a:lnTo>
                    <a:pt x="656194" y="31008"/>
                  </a:lnTo>
                  <a:lnTo>
                    <a:pt x="649977" y="32636"/>
                  </a:lnTo>
                  <a:lnTo>
                    <a:pt x="649977" y="35843"/>
                  </a:lnTo>
                  <a:lnTo>
                    <a:pt x="654122" y="43886"/>
                  </a:lnTo>
                  <a:lnTo>
                    <a:pt x="654122" y="47142"/>
                  </a:lnTo>
                  <a:lnTo>
                    <a:pt x="649977" y="50350"/>
                  </a:lnTo>
                  <a:lnTo>
                    <a:pt x="647855" y="45416"/>
                  </a:lnTo>
                  <a:lnTo>
                    <a:pt x="643069" y="45416"/>
                  </a:lnTo>
                  <a:lnTo>
                    <a:pt x="640997" y="47044"/>
                  </a:lnTo>
                  <a:lnTo>
                    <a:pt x="634731" y="45416"/>
                  </a:lnTo>
                  <a:lnTo>
                    <a:pt x="626392" y="48623"/>
                  </a:lnTo>
                  <a:lnTo>
                    <a:pt x="632659" y="40580"/>
                  </a:lnTo>
                  <a:lnTo>
                    <a:pt x="638925" y="40580"/>
                  </a:lnTo>
                  <a:lnTo>
                    <a:pt x="640997" y="34117"/>
                  </a:lnTo>
                  <a:lnTo>
                    <a:pt x="640997" y="30909"/>
                  </a:lnTo>
                  <a:lnTo>
                    <a:pt x="638925" y="30909"/>
                  </a:lnTo>
                  <a:lnTo>
                    <a:pt x="630586" y="35843"/>
                  </a:lnTo>
                  <a:lnTo>
                    <a:pt x="626392" y="35843"/>
                  </a:lnTo>
                  <a:lnTo>
                    <a:pt x="628514" y="32636"/>
                  </a:lnTo>
                  <a:lnTo>
                    <a:pt x="632659" y="29380"/>
                  </a:lnTo>
                  <a:lnTo>
                    <a:pt x="632659" y="26173"/>
                  </a:lnTo>
                  <a:lnTo>
                    <a:pt x="626392" y="24544"/>
                  </a:lnTo>
                  <a:lnTo>
                    <a:pt x="626392" y="22916"/>
                  </a:lnTo>
                  <a:lnTo>
                    <a:pt x="630586" y="21337"/>
                  </a:lnTo>
                  <a:lnTo>
                    <a:pt x="632659" y="22916"/>
                  </a:lnTo>
                  <a:lnTo>
                    <a:pt x="640997" y="22916"/>
                  </a:lnTo>
                  <a:lnTo>
                    <a:pt x="645142" y="13048"/>
                  </a:lnTo>
                  <a:lnTo>
                    <a:pt x="643069" y="9841"/>
                  </a:lnTo>
                  <a:lnTo>
                    <a:pt x="636803" y="11469"/>
                  </a:lnTo>
                  <a:lnTo>
                    <a:pt x="632659" y="9841"/>
                  </a:lnTo>
                  <a:lnTo>
                    <a:pt x="634731" y="4907"/>
                  </a:lnTo>
                  <a:lnTo>
                    <a:pt x="632659" y="-27"/>
                  </a:lnTo>
                  <a:lnTo>
                    <a:pt x="628514" y="4907"/>
                  </a:lnTo>
                  <a:lnTo>
                    <a:pt x="624320" y="3279"/>
                  </a:lnTo>
                  <a:lnTo>
                    <a:pt x="620176" y="72"/>
                  </a:lnTo>
                  <a:lnTo>
                    <a:pt x="615982" y="5006"/>
                  </a:lnTo>
                  <a:lnTo>
                    <a:pt x="615982" y="8213"/>
                  </a:lnTo>
                  <a:lnTo>
                    <a:pt x="620176" y="13147"/>
                  </a:lnTo>
                  <a:lnTo>
                    <a:pt x="615982" y="16403"/>
                  </a:lnTo>
                  <a:lnTo>
                    <a:pt x="613909" y="16403"/>
                  </a:lnTo>
                  <a:lnTo>
                    <a:pt x="609765" y="9940"/>
                  </a:lnTo>
                  <a:lnTo>
                    <a:pt x="605571" y="13147"/>
                  </a:lnTo>
                  <a:lnTo>
                    <a:pt x="603498" y="18081"/>
                  </a:lnTo>
                  <a:lnTo>
                    <a:pt x="605571" y="19709"/>
                  </a:lnTo>
                  <a:lnTo>
                    <a:pt x="609765" y="19709"/>
                  </a:lnTo>
                  <a:lnTo>
                    <a:pt x="611837" y="22916"/>
                  </a:lnTo>
                  <a:lnTo>
                    <a:pt x="611837" y="24544"/>
                  </a:lnTo>
                  <a:lnTo>
                    <a:pt x="607692" y="26173"/>
                  </a:lnTo>
                  <a:lnTo>
                    <a:pt x="607692" y="31107"/>
                  </a:lnTo>
                  <a:lnTo>
                    <a:pt x="603498" y="32735"/>
                  </a:lnTo>
                  <a:lnTo>
                    <a:pt x="603498" y="37669"/>
                  </a:lnTo>
                  <a:lnTo>
                    <a:pt x="605571" y="39248"/>
                  </a:lnTo>
                  <a:lnTo>
                    <a:pt x="601427" y="40876"/>
                  </a:lnTo>
                  <a:lnTo>
                    <a:pt x="603498" y="47340"/>
                  </a:lnTo>
                  <a:lnTo>
                    <a:pt x="601427" y="48919"/>
                  </a:lnTo>
                  <a:lnTo>
                    <a:pt x="597282" y="45712"/>
                  </a:lnTo>
                  <a:lnTo>
                    <a:pt x="593088" y="48919"/>
                  </a:lnTo>
                  <a:lnTo>
                    <a:pt x="591015" y="52175"/>
                  </a:lnTo>
                  <a:lnTo>
                    <a:pt x="586871" y="53754"/>
                  </a:lnTo>
                  <a:lnTo>
                    <a:pt x="586871" y="48820"/>
                  </a:lnTo>
                  <a:lnTo>
                    <a:pt x="593088" y="37570"/>
                  </a:lnTo>
                  <a:lnTo>
                    <a:pt x="586871" y="35942"/>
                  </a:lnTo>
                  <a:lnTo>
                    <a:pt x="586871" y="32735"/>
                  </a:lnTo>
                  <a:lnTo>
                    <a:pt x="591015" y="29479"/>
                  </a:lnTo>
                  <a:lnTo>
                    <a:pt x="591015" y="19610"/>
                  </a:lnTo>
                  <a:lnTo>
                    <a:pt x="588894" y="16403"/>
                  </a:lnTo>
                  <a:lnTo>
                    <a:pt x="584749" y="16403"/>
                  </a:lnTo>
                  <a:lnTo>
                    <a:pt x="576460" y="29281"/>
                  </a:lnTo>
                  <a:lnTo>
                    <a:pt x="576460" y="37373"/>
                  </a:lnTo>
                  <a:lnTo>
                    <a:pt x="568072" y="47241"/>
                  </a:lnTo>
                  <a:lnTo>
                    <a:pt x="566049" y="55284"/>
                  </a:lnTo>
                  <a:lnTo>
                    <a:pt x="568072" y="58491"/>
                  </a:lnTo>
                  <a:lnTo>
                    <a:pt x="566049" y="64954"/>
                  </a:lnTo>
                  <a:lnTo>
                    <a:pt x="557661" y="72997"/>
                  </a:lnTo>
                  <a:lnTo>
                    <a:pt x="551445" y="76253"/>
                  </a:lnTo>
                  <a:lnTo>
                    <a:pt x="551445" y="69790"/>
                  </a:lnTo>
                  <a:lnTo>
                    <a:pt x="549323" y="66583"/>
                  </a:lnTo>
                  <a:lnTo>
                    <a:pt x="555639" y="58491"/>
                  </a:lnTo>
                  <a:lnTo>
                    <a:pt x="555639" y="52076"/>
                  </a:lnTo>
                  <a:lnTo>
                    <a:pt x="557661" y="48820"/>
                  </a:lnTo>
                  <a:lnTo>
                    <a:pt x="553517" y="43886"/>
                  </a:lnTo>
                  <a:lnTo>
                    <a:pt x="563927" y="32636"/>
                  </a:lnTo>
                  <a:lnTo>
                    <a:pt x="566049" y="27702"/>
                  </a:lnTo>
                  <a:lnTo>
                    <a:pt x="568072" y="26123"/>
                  </a:lnTo>
                  <a:lnTo>
                    <a:pt x="568072" y="22867"/>
                  </a:lnTo>
                  <a:lnTo>
                    <a:pt x="561855" y="22867"/>
                  </a:lnTo>
                  <a:lnTo>
                    <a:pt x="555639" y="17933"/>
                  </a:lnTo>
                  <a:lnTo>
                    <a:pt x="553517" y="17933"/>
                  </a:lnTo>
                  <a:lnTo>
                    <a:pt x="553517" y="24396"/>
                  </a:lnTo>
                  <a:lnTo>
                    <a:pt x="549323" y="27604"/>
                  </a:lnTo>
                  <a:lnTo>
                    <a:pt x="549323" y="22670"/>
                  </a:lnTo>
                  <a:lnTo>
                    <a:pt x="545228" y="17736"/>
                  </a:lnTo>
                  <a:lnTo>
                    <a:pt x="538912" y="17736"/>
                  </a:lnTo>
                  <a:lnTo>
                    <a:pt x="534768" y="19364"/>
                  </a:lnTo>
                  <a:lnTo>
                    <a:pt x="536840" y="25827"/>
                  </a:lnTo>
                  <a:lnTo>
                    <a:pt x="534768" y="30761"/>
                  </a:lnTo>
                  <a:lnTo>
                    <a:pt x="530623" y="27505"/>
                  </a:lnTo>
                  <a:lnTo>
                    <a:pt x="526429" y="24298"/>
                  </a:lnTo>
                  <a:lnTo>
                    <a:pt x="524356" y="27505"/>
                  </a:lnTo>
                  <a:lnTo>
                    <a:pt x="524356" y="29133"/>
                  </a:lnTo>
                  <a:lnTo>
                    <a:pt x="532695" y="34067"/>
                  </a:lnTo>
                  <a:lnTo>
                    <a:pt x="534768" y="40531"/>
                  </a:lnTo>
                  <a:lnTo>
                    <a:pt x="532695" y="42159"/>
                  </a:lnTo>
                  <a:lnTo>
                    <a:pt x="528501" y="38903"/>
                  </a:lnTo>
                  <a:lnTo>
                    <a:pt x="524356" y="42159"/>
                  </a:lnTo>
                  <a:lnTo>
                    <a:pt x="524356" y="45366"/>
                  </a:lnTo>
                  <a:lnTo>
                    <a:pt x="526429" y="46994"/>
                  </a:lnTo>
                  <a:lnTo>
                    <a:pt x="524356" y="50202"/>
                  </a:lnTo>
                  <a:lnTo>
                    <a:pt x="518091" y="45268"/>
                  </a:lnTo>
                  <a:lnTo>
                    <a:pt x="513946" y="46896"/>
                  </a:lnTo>
                  <a:lnTo>
                    <a:pt x="511874" y="53310"/>
                  </a:lnTo>
                  <a:lnTo>
                    <a:pt x="505607" y="54938"/>
                  </a:lnTo>
                  <a:lnTo>
                    <a:pt x="505607" y="56566"/>
                  </a:lnTo>
                  <a:lnTo>
                    <a:pt x="509801" y="58145"/>
                  </a:lnTo>
                  <a:lnTo>
                    <a:pt x="503535" y="61402"/>
                  </a:lnTo>
                  <a:lnTo>
                    <a:pt x="501463" y="66336"/>
                  </a:lnTo>
                  <a:lnTo>
                    <a:pt x="505607" y="71270"/>
                  </a:lnTo>
                  <a:lnTo>
                    <a:pt x="501463" y="74526"/>
                  </a:lnTo>
                  <a:lnTo>
                    <a:pt x="507680" y="77733"/>
                  </a:lnTo>
                  <a:lnTo>
                    <a:pt x="509801" y="79312"/>
                  </a:lnTo>
                  <a:lnTo>
                    <a:pt x="507680" y="82569"/>
                  </a:lnTo>
                  <a:lnTo>
                    <a:pt x="499390" y="80940"/>
                  </a:lnTo>
                  <a:lnTo>
                    <a:pt x="495197" y="72849"/>
                  </a:lnTo>
                  <a:lnTo>
                    <a:pt x="491052" y="72849"/>
                  </a:lnTo>
                  <a:lnTo>
                    <a:pt x="495197" y="67915"/>
                  </a:lnTo>
                  <a:lnTo>
                    <a:pt x="491052" y="66286"/>
                  </a:lnTo>
                  <a:lnTo>
                    <a:pt x="476249" y="66286"/>
                  </a:lnTo>
                  <a:lnTo>
                    <a:pt x="465839" y="58195"/>
                  </a:lnTo>
                  <a:lnTo>
                    <a:pt x="461694" y="58195"/>
                  </a:lnTo>
                  <a:lnTo>
                    <a:pt x="457550" y="63129"/>
                  </a:lnTo>
                  <a:lnTo>
                    <a:pt x="455428" y="58195"/>
                  </a:lnTo>
                  <a:lnTo>
                    <a:pt x="449162" y="63129"/>
                  </a:lnTo>
                  <a:lnTo>
                    <a:pt x="442945" y="64757"/>
                  </a:lnTo>
                  <a:lnTo>
                    <a:pt x="442945" y="66385"/>
                  </a:lnTo>
                  <a:lnTo>
                    <a:pt x="451284" y="74477"/>
                  </a:lnTo>
                  <a:lnTo>
                    <a:pt x="457550" y="74477"/>
                  </a:lnTo>
                  <a:lnTo>
                    <a:pt x="459573" y="77684"/>
                  </a:lnTo>
                  <a:lnTo>
                    <a:pt x="467961" y="77684"/>
                  </a:lnTo>
                  <a:lnTo>
                    <a:pt x="463767" y="84098"/>
                  </a:lnTo>
                  <a:lnTo>
                    <a:pt x="463767" y="89032"/>
                  </a:lnTo>
                  <a:lnTo>
                    <a:pt x="469984" y="95496"/>
                  </a:lnTo>
                  <a:lnTo>
                    <a:pt x="469984" y="100430"/>
                  </a:lnTo>
                  <a:lnTo>
                    <a:pt x="463767" y="97173"/>
                  </a:lnTo>
                  <a:lnTo>
                    <a:pt x="459573" y="90759"/>
                  </a:lnTo>
                  <a:lnTo>
                    <a:pt x="453356" y="87552"/>
                  </a:lnTo>
                  <a:lnTo>
                    <a:pt x="449162" y="84296"/>
                  </a:lnTo>
                  <a:lnTo>
                    <a:pt x="447139" y="89230"/>
                  </a:lnTo>
                  <a:lnTo>
                    <a:pt x="442945" y="92486"/>
                  </a:lnTo>
                  <a:lnTo>
                    <a:pt x="440823" y="86023"/>
                  </a:lnTo>
                  <a:lnTo>
                    <a:pt x="436728" y="89230"/>
                  </a:lnTo>
                  <a:lnTo>
                    <a:pt x="436728" y="92486"/>
                  </a:lnTo>
                  <a:lnTo>
                    <a:pt x="430413" y="97420"/>
                  </a:lnTo>
                  <a:lnTo>
                    <a:pt x="430413" y="102354"/>
                  </a:lnTo>
                  <a:lnTo>
                    <a:pt x="436728" y="105561"/>
                  </a:lnTo>
                  <a:lnTo>
                    <a:pt x="440823" y="112025"/>
                  </a:lnTo>
                  <a:lnTo>
                    <a:pt x="434607" y="110397"/>
                  </a:lnTo>
                  <a:lnTo>
                    <a:pt x="432534" y="107190"/>
                  </a:lnTo>
                  <a:lnTo>
                    <a:pt x="426317" y="113653"/>
                  </a:lnTo>
                  <a:lnTo>
                    <a:pt x="426317" y="118587"/>
                  </a:lnTo>
                  <a:lnTo>
                    <a:pt x="417929" y="123521"/>
                  </a:lnTo>
                  <a:lnTo>
                    <a:pt x="417929" y="120265"/>
                  </a:lnTo>
                  <a:lnTo>
                    <a:pt x="422123" y="117058"/>
                  </a:lnTo>
                  <a:lnTo>
                    <a:pt x="420002" y="113851"/>
                  </a:lnTo>
                  <a:lnTo>
                    <a:pt x="426317" y="103982"/>
                  </a:lnTo>
                  <a:lnTo>
                    <a:pt x="422123" y="87897"/>
                  </a:lnTo>
                  <a:lnTo>
                    <a:pt x="415857" y="89476"/>
                  </a:lnTo>
                  <a:lnTo>
                    <a:pt x="409591" y="100775"/>
                  </a:lnTo>
                  <a:lnTo>
                    <a:pt x="409591" y="112074"/>
                  </a:lnTo>
                  <a:lnTo>
                    <a:pt x="403374" y="118489"/>
                  </a:lnTo>
                  <a:lnTo>
                    <a:pt x="403374" y="112074"/>
                  </a:lnTo>
                  <a:lnTo>
                    <a:pt x="407519" y="105611"/>
                  </a:lnTo>
                  <a:lnTo>
                    <a:pt x="403374" y="97519"/>
                  </a:lnTo>
                  <a:lnTo>
                    <a:pt x="401302" y="95940"/>
                  </a:lnTo>
                  <a:lnTo>
                    <a:pt x="392964" y="100874"/>
                  </a:lnTo>
                  <a:lnTo>
                    <a:pt x="388769" y="107338"/>
                  </a:lnTo>
                  <a:lnTo>
                    <a:pt x="392964" y="113801"/>
                  </a:lnTo>
                  <a:lnTo>
                    <a:pt x="390891" y="118735"/>
                  </a:lnTo>
                  <a:lnTo>
                    <a:pt x="401302" y="125199"/>
                  </a:lnTo>
                  <a:lnTo>
                    <a:pt x="403374" y="130133"/>
                  </a:lnTo>
                  <a:lnTo>
                    <a:pt x="401302" y="136547"/>
                  </a:lnTo>
                  <a:lnTo>
                    <a:pt x="397108" y="128455"/>
                  </a:lnTo>
                  <a:lnTo>
                    <a:pt x="390891" y="125248"/>
                  </a:lnTo>
                  <a:lnTo>
                    <a:pt x="384625" y="113999"/>
                  </a:lnTo>
                  <a:lnTo>
                    <a:pt x="382552" y="113999"/>
                  </a:lnTo>
                  <a:lnTo>
                    <a:pt x="374214" y="115578"/>
                  </a:lnTo>
                  <a:lnTo>
                    <a:pt x="372141" y="120512"/>
                  </a:lnTo>
                  <a:lnTo>
                    <a:pt x="382552" y="125446"/>
                  </a:lnTo>
                  <a:lnTo>
                    <a:pt x="386697" y="127074"/>
                  </a:lnTo>
                  <a:lnTo>
                    <a:pt x="388769" y="128653"/>
                  </a:lnTo>
                  <a:lnTo>
                    <a:pt x="382552" y="128653"/>
                  </a:lnTo>
                  <a:lnTo>
                    <a:pt x="376286" y="130330"/>
                  </a:lnTo>
                  <a:lnTo>
                    <a:pt x="380480" y="135264"/>
                  </a:lnTo>
                  <a:lnTo>
                    <a:pt x="374214" y="132057"/>
                  </a:lnTo>
                  <a:lnTo>
                    <a:pt x="372141" y="124015"/>
                  </a:lnTo>
                  <a:lnTo>
                    <a:pt x="370070" y="124015"/>
                  </a:lnTo>
                  <a:lnTo>
                    <a:pt x="367948" y="119081"/>
                  </a:lnTo>
                  <a:lnTo>
                    <a:pt x="363803" y="120709"/>
                  </a:lnTo>
                  <a:lnTo>
                    <a:pt x="361681" y="128751"/>
                  </a:lnTo>
                  <a:lnTo>
                    <a:pt x="365875" y="132008"/>
                  </a:lnTo>
                  <a:lnTo>
                    <a:pt x="363803" y="138471"/>
                  </a:lnTo>
                  <a:lnTo>
                    <a:pt x="359659" y="136843"/>
                  </a:lnTo>
                  <a:lnTo>
                    <a:pt x="353392" y="138471"/>
                  </a:lnTo>
                  <a:lnTo>
                    <a:pt x="347126" y="144886"/>
                  </a:lnTo>
                  <a:lnTo>
                    <a:pt x="353392" y="144886"/>
                  </a:lnTo>
                  <a:lnTo>
                    <a:pt x="357537" y="149820"/>
                  </a:lnTo>
                  <a:lnTo>
                    <a:pt x="351271" y="149820"/>
                  </a:lnTo>
                  <a:lnTo>
                    <a:pt x="347126" y="153076"/>
                  </a:lnTo>
                  <a:lnTo>
                    <a:pt x="351271" y="154704"/>
                  </a:lnTo>
                  <a:lnTo>
                    <a:pt x="349247" y="157911"/>
                  </a:lnTo>
                  <a:lnTo>
                    <a:pt x="342982" y="157911"/>
                  </a:lnTo>
                  <a:lnTo>
                    <a:pt x="342982" y="161168"/>
                  </a:lnTo>
                  <a:lnTo>
                    <a:pt x="345054" y="162747"/>
                  </a:lnTo>
                  <a:lnTo>
                    <a:pt x="340860" y="162747"/>
                  </a:lnTo>
                  <a:lnTo>
                    <a:pt x="338837" y="159490"/>
                  </a:lnTo>
                  <a:lnTo>
                    <a:pt x="332570" y="161168"/>
                  </a:lnTo>
                  <a:lnTo>
                    <a:pt x="328426" y="166102"/>
                  </a:lnTo>
                  <a:lnTo>
                    <a:pt x="330449" y="169358"/>
                  </a:lnTo>
                  <a:lnTo>
                    <a:pt x="328426" y="170987"/>
                  </a:lnTo>
                  <a:lnTo>
                    <a:pt x="322357" y="171825"/>
                  </a:lnTo>
                  <a:lnTo>
                    <a:pt x="318262" y="176760"/>
                  </a:lnTo>
                  <a:lnTo>
                    <a:pt x="324479" y="178388"/>
                  </a:lnTo>
                  <a:lnTo>
                    <a:pt x="339281" y="175131"/>
                  </a:lnTo>
                  <a:lnTo>
                    <a:pt x="343426" y="176760"/>
                  </a:lnTo>
                  <a:lnTo>
                    <a:pt x="349692" y="173552"/>
                  </a:lnTo>
                  <a:lnTo>
                    <a:pt x="353836" y="173552"/>
                  </a:lnTo>
                  <a:lnTo>
                    <a:pt x="353836" y="178486"/>
                  </a:lnTo>
                  <a:lnTo>
                    <a:pt x="349692" y="181694"/>
                  </a:lnTo>
                  <a:lnTo>
                    <a:pt x="347570" y="191562"/>
                  </a:lnTo>
                  <a:lnTo>
                    <a:pt x="345498" y="193190"/>
                  </a:lnTo>
                  <a:lnTo>
                    <a:pt x="343426" y="189933"/>
                  </a:lnTo>
                  <a:lnTo>
                    <a:pt x="343426" y="184999"/>
                  </a:lnTo>
                  <a:lnTo>
                    <a:pt x="337159" y="186578"/>
                  </a:lnTo>
                  <a:lnTo>
                    <a:pt x="335087" y="183322"/>
                  </a:lnTo>
                  <a:lnTo>
                    <a:pt x="326749" y="183322"/>
                  </a:lnTo>
                  <a:lnTo>
                    <a:pt x="328870" y="186578"/>
                  </a:lnTo>
                  <a:lnTo>
                    <a:pt x="326749" y="189785"/>
                  </a:lnTo>
                  <a:lnTo>
                    <a:pt x="322555" y="186578"/>
                  </a:lnTo>
                  <a:lnTo>
                    <a:pt x="318459" y="186578"/>
                  </a:lnTo>
                  <a:lnTo>
                    <a:pt x="322555" y="191512"/>
                  </a:lnTo>
                  <a:lnTo>
                    <a:pt x="324676" y="196446"/>
                  </a:lnTo>
                  <a:lnTo>
                    <a:pt x="322357" y="196446"/>
                  </a:lnTo>
                  <a:lnTo>
                    <a:pt x="320285" y="199653"/>
                  </a:lnTo>
                  <a:lnTo>
                    <a:pt x="320285" y="206117"/>
                  </a:lnTo>
                  <a:lnTo>
                    <a:pt x="316140" y="202910"/>
                  </a:lnTo>
                  <a:lnTo>
                    <a:pt x="316140" y="196446"/>
                  </a:lnTo>
                  <a:lnTo>
                    <a:pt x="311946" y="191512"/>
                  </a:lnTo>
                  <a:lnTo>
                    <a:pt x="307802" y="196446"/>
                  </a:lnTo>
                  <a:lnTo>
                    <a:pt x="301536" y="198075"/>
                  </a:lnTo>
                  <a:lnTo>
                    <a:pt x="299463" y="193141"/>
                  </a:lnTo>
                  <a:lnTo>
                    <a:pt x="301536" y="191512"/>
                  </a:lnTo>
                  <a:lnTo>
                    <a:pt x="297391" y="189884"/>
                  </a:lnTo>
                  <a:lnTo>
                    <a:pt x="291125" y="196348"/>
                  </a:lnTo>
                  <a:lnTo>
                    <a:pt x="297391" y="201282"/>
                  </a:lnTo>
                  <a:lnTo>
                    <a:pt x="303657" y="199604"/>
                  </a:lnTo>
                  <a:lnTo>
                    <a:pt x="309874" y="202861"/>
                  </a:lnTo>
                  <a:lnTo>
                    <a:pt x="307802" y="207795"/>
                  </a:lnTo>
                  <a:lnTo>
                    <a:pt x="293246" y="209423"/>
                  </a:lnTo>
                  <a:lnTo>
                    <a:pt x="291125" y="207795"/>
                  </a:lnTo>
                  <a:lnTo>
                    <a:pt x="284908" y="207795"/>
                  </a:lnTo>
                  <a:lnTo>
                    <a:pt x="282836" y="214209"/>
                  </a:lnTo>
                  <a:lnTo>
                    <a:pt x="286980" y="217465"/>
                  </a:lnTo>
                  <a:lnTo>
                    <a:pt x="282836" y="222399"/>
                  </a:lnTo>
                  <a:lnTo>
                    <a:pt x="289052" y="220771"/>
                  </a:lnTo>
                  <a:lnTo>
                    <a:pt x="295319" y="214307"/>
                  </a:lnTo>
                  <a:lnTo>
                    <a:pt x="299463" y="215985"/>
                  </a:lnTo>
                  <a:lnTo>
                    <a:pt x="303657" y="219192"/>
                  </a:lnTo>
                  <a:lnTo>
                    <a:pt x="293246" y="220771"/>
                  </a:lnTo>
                  <a:lnTo>
                    <a:pt x="293246" y="225705"/>
                  </a:lnTo>
                  <a:lnTo>
                    <a:pt x="297391" y="230639"/>
                  </a:lnTo>
                  <a:lnTo>
                    <a:pt x="303657" y="235573"/>
                  </a:lnTo>
                  <a:lnTo>
                    <a:pt x="303657" y="238780"/>
                  </a:lnTo>
                  <a:lnTo>
                    <a:pt x="299463" y="235573"/>
                  </a:lnTo>
                  <a:lnTo>
                    <a:pt x="293246" y="237152"/>
                  </a:lnTo>
                  <a:lnTo>
                    <a:pt x="289052" y="230688"/>
                  </a:lnTo>
                  <a:lnTo>
                    <a:pt x="284908" y="230688"/>
                  </a:lnTo>
                  <a:lnTo>
                    <a:pt x="280714" y="235623"/>
                  </a:lnTo>
                  <a:lnTo>
                    <a:pt x="286980" y="238830"/>
                  </a:lnTo>
                  <a:lnTo>
                    <a:pt x="278642" y="238830"/>
                  </a:lnTo>
                  <a:lnTo>
                    <a:pt x="272425" y="242037"/>
                  </a:lnTo>
                  <a:lnTo>
                    <a:pt x="272425" y="246971"/>
                  </a:lnTo>
                  <a:lnTo>
                    <a:pt x="280714" y="248599"/>
                  </a:lnTo>
                  <a:lnTo>
                    <a:pt x="284908" y="245343"/>
                  </a:lnTo>
                  <a:lnTo>
                    <a:pt x="289052" y="248599"/>
                  </a:lnTo>
                  <a:lnTo>
                    <a:pt x="295319" y="246971"/>
                  </a:lnTo>
                  <a:lnTo>
                    <a:pt x="297391" y="251905"/>
                  </a:lnTo>
                  <a:lnTo>
                    <a:pt x="301536" y="255161"/>
                  </a:lnTo>
                  <a:lnTo>
                    <a:pt x="301536" y="258368"/>
                  </a:lnTo>
                  <a:lnTo>
                    <a:pt x="293246" y="253434"/>
                  </a:lnTo>
                  <a:lnTo>
                    <a:pt x="284908" y="253434"/>
                  </a:lnTo>
                  <a:lnTo>
                    <a:pt x="280714" y="255063"/>
                  </a:lnTo>
                  <a:lnTo>
                    <a:pt x="272425" y="256691"/>
                  </a:lnTo>
                  <a:lnTo>
                    <a:pt x="272425" y="261625"/>
                  </a:lnTo>
                  <a:lnTo>
                    <a:pt x="266158" y="263253"/>
                  </a:lnTo>
                  <a:lnTo>
                    <a:pt x="264086" y="261625"/>
                  </a:lnTo>
                  <a:lnTo>
                    <a:pt x="253675" y="264881"/>
                  </a:lnTo>
                  <a:lnTo>
                    <a:pt x="249481" y="266510"/>
                  </a:lnTo>
                  <a:lnTo>
                    <a:pt x="249481" y="268089"/>
                  </a:lnTo>
                  <a:lnTo>
                    <a:pt x="253675" y="271345"/>
                  </a:lnTo>
                  <a:lnTo>
                    <a:pt x="257820" y="274552"/>
                  </a:lnTo>
                  <a:lnTo>
                    <a:pt x="253675" y="276131"/>
                  </a:lnTo>
                  <a:lnTo>
                    <a:pt x="251603" y="274552"/>
                  </a:lnTo>
                  <a:lnTo>
                    <a:pt x="249481" y="276131"/>
                  </a:lnTo>
                  <a:lnTo>
                    <a:pt x="253675" y="281065"/>
                  </a:lnTo>
                  <a:lnTo>
                    <a:pt x="251603" y="282644"/>
                  </a:lnTo>
                  <a:lnTo>
                    <a:pt x="245337" y="281065"/>
                  </a:lnTo>
                  <a:lnTo>
                    <a:pt x="243215" y="279437"/>
                  </a:lnTo>
                  <a:lnTo>
                    <a:pt x="241193" y="282644"/>
                  </a:lnTo>
                  <a:lnTo>
                    <a:pt x="247410" y="285851"/>
                  </a:lnTo>
                  <a:lnTo>
                    <a:pt x="243215" y="287529"/>
                  </a:lnTo>
                  <a:lnTo>
                    <a:pt x="245337" y="290736"/>
                  </a:lnTo>
                  <a:lnTo>
                    <a:pt x="247410" y="290736"/>
                  </a:lnTo>
                  <a:lnTo>
                    <a:pt x="245337" y="292315"/>
                  </a:lnTo>
                  <a:lnTo>
                    <a:pt x="241193" y="293943"/>
                  </a:lnTo>
                  <a:lnTo>
                    <a:pt x="236998" y="290736"/>
                  </a:lnTo>
                  <a:lnTo>
                    <a:pt x="236998" y="295670"/>
                  </a:lnTo>
                  <a:lnTo>
                    <a:pt x="234926" y="298877"/>
                  </a:lnTo>
                  <a:lnTo>
                    <a:pt x="239071" y="300505"/>
                  </a:lnTo>
                  <a:lnTo>
                    <a:pt x="249481" y="302133"/>
                  </a:lnTo>
                  <a:lnTo>
                    <a:pt x="249481" y="307067"/>
                  </a:lnTo>
                  <a:lnTo>
                    <a:pt x="253675" y="307067"/>
                  </a:lnTo>
                  <a:lnTo>
                    <a:pt x="259892" y="305488"/>
                  </a:lnTo>
                  <a:lnTo>
                    <a:pt x="255748" y="308696"/>
                  </a:lnTo>
                  <a:lnTo>
                    <a:pt x="255748" y="311952"/>
                  </a:lnTo>
                  <a:lnTo>
                    <a:pt x="249481" y="311952"/>
                  </a:lnTo>
                  <a:lnTo>
                    <a:pt x="247410" y="308696"/>
                  </a:lnTo>
                  <a:lnTo>
                    <a:pt x="236998" y="310324"/>
                  </a:lnTo>
                  <a:lnTo>
                    <a:pt x="230781" y="315258"/>
                  </a:lnTo>
                  <a:lnTo>
                    <a:pt x="232804" y="316837"/>
                  </a:lnTo>
                  <a:lnTo>
                    <a:pt x="239071" y="316837"/>
                  </a:lnTo>
                  <a:lnTo>
                    <a:pt x="239071" y="321771"/>
                  </a:lnTo>
                  <a:lnTo>
                    <a:pt x="243215" y="323350"/>
                  </a:lnTo>
                  <a:lnTo>
                    <a:pt x="243215" y="328284"/>
                  </a:lnTo>
                  <a:lnTo>
                    <a:pt x="239071" y="325077"/>
                  </a:lnTo>
                  <a:lnTo>
                    <a:pt x="234926" y="325077"/>
                  </a:lnTo>
                  <a:lnTo>
                    <a:pt x="232804" y="328284"/>
                  </a:lnTo>
                  <a:lnTo>
                    <a:pt x="232804" y="333218"/>
                  </a:lnTo>
                  <a:lnTo>
                    <a:pt x="230781" y="333218"/>
                  </a:lnTo>
                  <a:lnTo>
                    <a:pt x="234926" y="336474"/>
                  </a:lnTo>
                  <a:lnTo>
                    <a:pt x="234926" y="341408"/>
                  </a:lnTo>
                  <a:lnTo>
                    <a:pt x="230781" y="341408"/>
                  </a:lnTo>
                  <a:lnTo>
                    <a:pt x="228660" y="338201"/>
                  </a:lnTo>
                  <a:lnTo>
                    <a:pt x="224516" y="339829"/>
                  </a:lnTo>
                  <a:lnTo>
                    <a:pt x="226587" y="344763"/>
                  </a:lnTo>
                  <a:lnTo>
                    <a:pt x="230781" y="346392"/>
                  </a:lnTo>
                  <a:lnTo>
                    <a:pt x="232804" y="347971"/>
                  </a:lnTo>
                  <a:lnTo>
                    <a:pt x="232804" y="351227"/>
                  </a:lnTo>
                  <a:lnTo>
                    <a:pt x="224516" y="347971"/>
                  </a:lnTo>
                  <a:lnTo>
                    <a:pt x="220370" y="349648"/>
                  </a:lnTo>
                  <a:lnTo>
                    <a:pt x="220370" y="354582"/>
                  </a:lnTo>
                  <a:lnTo>
                    <a:pt x="222394" y="354582"/>
                  </a:lnTo>
                  <a:lnTo>
                    <a:pt x="222394" y="359516"/>
                  </a:lnTo>
                  <a:lnTo>
                    <a:pt x="224516" y="364450"/>
                  </a:lnTo>
                  <a:lnTo>
                    <a:pt x="228660" y="364450"/>
                  </a:lnTo>
                  <a:lnTo>
                    <a:pt x="232804" y="359516"/>
                  </a:lnTo>
                  <a:lnTo>
                    <a:pt x="234926" y="359516"/>
                  </a:lnTo>
                  <a:lnTo>
                    <a:pt x="232804" y="367608"/>
                  </a:lnTo>
                  <a:lnTo>
                    <a:pt x="228611" y="367608"/>
                  </a:lnTo>
                  <a:lnTo>
                    <a:pt x="222344" y="374072"/>
                  </a:lnTo>
                  <a:lnTo>
                    <a:pt x="218200" y="374072"/>
                  </a:lnTo>
                  <a:lnTo>
                    <a:pt x="211933" y="375650"/>
                  </a:lnTo>
                  <a:lnTo>
                    <a:pt x="211933" y="377279"/>
                  </a:lnTo>
                  <a:lnTo>
                    <a:pt x="207789" y="380486"/>
                  </a:lnTo>
                  <a:lnTo>
                    <a:pt x="201523" y="383742"/>
                  </a:lnTo>
                  <a:lnTo>
                    <a:pt x="207789" y="385321"/>
                  </a:lnTo>
                  <a:lnTo>
                    <a:pt x="205717" y="388578"/>
                  </a:lnTo>
                  <a:lnTo>
                    <a:pt x="197378" y="388578"/>
                  </a:lnTo>
                  <a:lnTo>
                    <a:pt x="193184" y="393512"/>
                  </a:lnTo>
                  <a:lnTo>
                    <a:pt x="193184" y="396768"/>
                  </a:lnTo>
                  <a:lnTo>
                    <a:pt x="199500" y="398396"/>
                  </a:lnTo>
                  <a:lnTo>
                    <a:pt x="195306" y="399975"/>
                  </a:lnTo>
                  <a:lnTo>
                    <a:pt x="191112" y="406439"/>
                  </a:lnTo>
                  <a:lnTo>
                    <a:pt x="186968" y="406439"/>
                  </a:lnTo>
                  <a:lnTo>
                    <a:pt x="184895" y="401505"/>
                  </a:lnTo>
                  <a:lnTo>
                    <a:pt x="180701" y="399877"/>
                  </a:lnTo>
                  <a:lnTo>
                    <a:pt x="178629" y="401505"/>
                  </a:lnTo>
                  <a:lnTo>
                    <a:pt x="174484" y="401505"/>
                  </a:lnTo>
                  <a:lnTo>
                    <a:pt x="176556" y="406439"/>
                  </a:lnTo>
                  <a:lnTo>
                    <a:pt x="172362" y="408067"/>
                  </a:lnTo>
                  <a:lnTo>
                    <a:pt x="172362" y="408659"/>
                  </a:lnTo>
                  <a:lnTo>
                    <a:pt x="174484" y="411916"/>
                  </a:lnTo>
                  <a:lnTo>
                    <a:pt x="166146" y="411916"/>
                  </a:lnTo>
                  <a:lnTo>
                    <a:pt x="161952" y="413495"/>
                  </a:lnTo>
                  <a:lnTo>
                    <a:pt x="164074" y="419958"/>
                  </a:lnTo>
                  <a:lnTo>
                    <a:pt x="157807" y="423165"/>
                  </a:lnTo>
                  <a:lnTo>
                    <a:pt x="157807" y="426422"/>
                  </a:lnTo>
                  <a:lnTo>
                    <a:pt x="155735" y="431356"/>
                  </a:lnTo>
                  <a:lnTo>
                    <a:pt x="151541" y="436290"/>
                  </a:lnTo>
                  <a:lnTo>
                    <a:pt x="145324" y="441224"/>
                  </a:lnTo>
                  <a:lnTo>
                    <a:pt x="147397" y="442852"/>
                  </a:lnTo>
                  <a:lnTo>
                    <a:pt x="155735" y="439595"/>
                  </a:lnTo>
                  <a:lnTo>
                    <a:pt x="157807" y="439595"/>
                  </a:lnTo>
                  <a:lnTo>
                    <a:pt x="157807" y="442852"/>
                  </a:lnTo>
                  <a:lnTo>
                    <a:pt x="153663" y="444431"/>
                  </a:lnTo>
                  <a:lnTo>
                    <a:pt x="153663" y="450894"/>
                  </a:lnTo>
                  <a:lnTo>
                    <a:pt x="157807" y="455829"/>
                  </a:lnTo>
                  <a:lnTo>
                    <a:pt x="164074" y="450894"/>
                  </a:lnTo>
                  <a:lnTo>
                    <a:pt x="172362" y="450894"/>
                  </a:lnTo>
                  <a:lnTo>
                    <a:pt x="182773" y="441026"/>
                  </a:lnTo>
                  <a:lnTo>
                    <a:pt x="182773" y="437770"/>
                  </a:lnTo>
                  <a:lnTo>
                    <a:pt x="178629" y="437770"/>
                  </a:lnTo>
                  <a:lnTo>
                    <a:pt x="182773" y="432836"/>
                  </a:lnTo>
                  <a:lnTo>
                    <a:pt x="184895" y="426372"/>
                  </a:lnTo>
                  <a:lnTo>
                    <a:pt x="186968" y="426372"/>
                  </a:lnTo>
                  <a:lnTo>
                    <a:pt x="189039" y="423116"/>
                  </a:lnTo>
                  <a:lnTo>
                    <a:pt x="195306" y="424744"/>
                  </a:lnTo>
                  <a:lnTo>
                    <a:pt x="199500" y="423116"/>
                  </a:lnTo>
                  <a:lnTo>
                    <a:pt x="189039" y="429579"/>
                  </a:lnTo>
                  <a:lnTo>
                    <a:pt x="189039" y="432836"/>
                  </a:lnTo>
                  <a:lnTo>
                    <a:pt x="199500" y="436043"/>
                  </a:lnTo>
                  <a:lnTo>
                    <a:pt x="195306" y="439250"/>
                  </a:lnTo>
                  <a:lnTo>
                    <a:pt x="191112" y="440878"/>
                  </a:lnTo>
                  <a:lnTo>
                    <a:pt x="180701" y="448921"/>
                  </a:lnTo>
                  <a:lnTo>
                    <a:pt x="186968" y="452128"/>
                  </a:lnTo>
                  <a:lnTo>
                    <a:pt x="182773" y="455335"/>
                  </a:lnTo>
                  <a:lnTo>
                    <a:pt x="184895" y="461799"/>
                  </a:lnTo>
                  <a:lnTo>
                    <a:pt x="178629" y="461799"/>
                  </a:lnTo>
                  <a:lnTo>
                    <a:pt x="172362" y="456865"/>
                  </a:lnTo>
                  <a:lnTo>
                    <a:pt x="164468" y="456865"/>
                  </a:lnTo>
                  <a:lnTo>
                    <a:pt x="160274" y="460072"/>
                  </a:lnTo>
                  <a:lnTo>
                    <a:pt x="160274" y="465006"/>
                  </a:lnTo>
                  <a:lnTo>
                    <a:pt x="156130" y="468213"/>
                  </a:lnTo>
                  <a:lnTo>
                    <a:pt x="149864" y="469841"/>
                  </a:lnTo>
                  <a:lnTo>
                    <a:pt x="154057" y="466634"/>
                  </a:lnTo>
                  <a:lnTo>
                    <a:pt x="156130" y="465006"/>
                  </a:lnTo>
                  <a:lnTo>
                    <a:pt x="151935" y="460072"/>
                  </a:lnTo>
                  <a:lnTo>
                    <a:pt x="151935" y="453608"/>
                  </a:lnTo>
                  <a:lnTo>
                    <a:pt x="147791" y="447145"/>
                  </a:lnTo>
                  <a:lnTo>
                    <a:pt x="141525" y="447145"/>
                  </a:lnTo>
                  <a:lnTo>
                    <a:pt x="139453" y="452079"/>
                  </a:lnTo>
                  <a:lnTo>
                    <a:pt x="133236" y="453707"/>
                  </a:lnTo>
                  <a:lnTo>
                    <a:pt x="133236" y="455286"/>
                  </a:lnTo>
                  <a:lnTo>
                    <a:pt x="141525" y="455286"/>
                  </a:lnTo>
                  <a:lnTo>
                    <a:pt x="133236" y="463378"/>
                  </a:lnTo>
                  <a:lnTo>
                    <a:pt x="126970" y="460170"/>
                  </a:lnTo>
                  <a:lnTo>
                    <a:pt x="120703" y="461749"/>
                  </a:lnTo>
                  <a:lnTo>
                    <a:pt x="114437" y="466683"/>
                  </a:lnTo>
                  <a:lnTo>
                    <a:pt x="122825" y="466683"/>
                  </a:lnTo>
                  <a:lnTo>
                    <a:pt x="124848" y="468262"/>
                  </a:lnTo>
                  <a:lnTo>
                    <a:pt x="116559" y="471469"/>
                  </a:lnTo>
                  <a:lnTo>
                    <a:pt x="112414" y="474726"/>
                  </a:lnTo>
                  <a:lnTo>
                    <a:pt x="110292" y="471469"/>
                  </a:lnTo>
                  <a:lnTo>
                    <a:pt x="106148" y="471469"/>
                  </a:lnTo>
                  <a:lnTo>
                    <a:pt x="104026" y="474726"/>
                  </a:lnTo>
                  <a:lnTo>
                    <a:pt x="112414" y="479660"/>
                  </a:lnTo>
                  <a:lnTo>
                    <a:pt x="120703" y="479660"/>
                  </a:lnTo>
                  <a:lnTo>
                    <a:pt x="118631" y="482867"/>
                  </a:lnTo>
                  <a:lnTo>
                    <a:pt x="122825" y="484495"/>
                  </a:lnTo>
                  <a:lnTo>
                    <a:pt x="122825" y="487604"/>
                  </a:lnTo>
                  <a:lnTo>
                    <a:pt x="114437" y="485926"/>
                  </a:lnTo>
                  <a:lnTo>
                    <a:pt x="114437" y="482670"/>
                  </a:lnTo>
                  <a:lnTo>
                    <a:pt x="108220" y="482670"/>
                  </a:lnTo>
                  <a:lnTo>
                    <a:pt x="102003" y="477736"/>
                  </a:lnTo>
                  <a:lnTo>
                    <a:pt x="99882" y="472802"/>
                  </a:lnTo>
                  <a:lnTo>
                    <a:pt x="97809" y="472802"/>
                  </a:lnTo>
                  <a:lnTo>
                    <a:pt x="95737" y="477736"/>
                  </a:lnTo>
                  <a:lnTo>
                    <a:pt x="102003" y="485778"/>
                  </a:lnTo>
                  <a:lnTo>
                    <a:pt x="110292" y="489035"/>
                  </a:lnTo>
                  <a:lnTo>
                    <a:pt x="114437" y="490663"/>
                  </a:lnTo>
                  <a:lnTo>
                    <a:pt x="118631" y="493870"/>
                  </a:lnTo>
                  <a:lnTo>
                    <a:pt x="112414" y="493870"/>
                  </a:lnTo>
                  <a:lnTo>
                    <a:pt x="102003" y="490663"/>
                  </a:lnTo>
                  <a:lnTo>
                    <a:pt x="93615" y="480795"/>
                  </a:lnTo>
                  <a:lnTo>
                    <a:pt x="89471" y="484002"/>
                  </a:lnTo>
                  <a:lnTo>
                    <a:pt x="83205" y="479068"/>
                  </a:lnTo>
                  <a:lnTo>
                    <a:pt x="74866" y="479068"/>
                  </a:lnTo>
                  <a:lnTo>
                    <a:pt x="72794" y="477440"/>
                  </a:lnTo>
                  <a:lnTo>
                    <a:pt x="68649" y="480696"/>
                  </a:lnTo>
                  <a:lnTo>
                    <a:pt x="70721" y="483903"/>
                  </a:lnTo>
                  <a:lnTo>
                    <a:pt x="66577" y="487160"/>
                  </a:lnTo>
                  <a:lnTo>
                    <a:pt x="72794" y="492094"/>
                  </a:lnTo>
                  <a:lnTo>
                    <a:pt x="83205" y="488887"/>
                  </a:lnTo>
                  <a:lnTo>
                    <a:pt x="85277" y="492094"/>
                  </a:lnTo>
                  <a:lnTo>
                    <a:pt x="81182" y="495350"/>
                  </a:lnTo>
                  <a:lnTo>
                    <a:pt x="83205" y="496978"/>
                  </a:lnTo>
                  <a:lnTo>
                    <a:pt x="91592" y="492044"/>
                  </a:lnTo>
                  <a:lnTo>
                    <a:pt x="95737" y="492044"/>
                  </a:lnTo>
                  <a:lnTo>
                    <a:pt x="93615" y="495301"/>
                  </a:lnTo>
                  <a:lnTo>
                    <a:pt x="83205" y="500235"/>
                  </a:lnTo>
                  <a:lnTo>
                    <a:pt x="79060" y="505169"/>
                  </a:lnTo>
                  <a:lnTo>
                    <a:pt x="72794" y="503590"/>
                  </a:lnTo>
                  <a:lnTo>
                    <a:pt x="66577" y="497126"/>
                  </a:lnTo>
                  <a:lnTo>
                    <a:pt x="64455" y="497126"/>
                  </a:lnTo>
                  <a:lnTo>
                    <a:pt x="60311" y="498705"/>
                  </a:lnTo>
                  <a:lnTo>
                    <a:pt x="54044" y="495498"/>
                  </a:lnTo>
                  <a:lnTo>
                    <a:pt x="49900" y="497126"/>
                  </a:lnTo>
                  <a:lnTo>
                    <a:pt x="47827" y="495498"/>
                  </a:lnTo>
                  <a:lnTo>
                    <a:pt x="41561" y="498705"/>
                  </a:lnTo>
                  <a:lnTo>
                    <a:pt x="43634" y="500333"/>
                  </a:lnTo>
                  <a:lnTo>
                    <a:pt x="54044" y="501912"/>
                  </a:lnTo>
                  <a:lnTo>
                    <a:pt x="62383" y="506846"/>
                  </a:lnTo>
                  <a:lnTo>
                    <a:pt x="70721" y="510053"/>
                  </a:lnTo>
                  <a:lnTo>
                    <a:pt x="68649" y="514988"/>
                  </a:lnTo>
                  <a:lnTo>
                    <a:pt x="70721" y="519922"/>
                  </a:lnTo>
                  <a:lnTo>
                    <a:pt x="66577" y="521550"/>
                  </a:lnTo>
                  <a:lnTo>
                    <a:pt x="64455" y="519922"/>
                  </a:lnTo>
                  <a:lnTo>
                    <a:pt x="64455" y="511879"/>
                  </a:lnTo>
                  <a:lnTo>
                    <a:pt x="58238" y="508623"/>
                  </a:lnTo>
                  <a:lnTo>
                    <a:pt x="51972" y="510251"/>
                  </a:lnTo>
                  <a:lnTo>
                    <a:pt x="54044" y="515185"/>
                  </a:lnTo>
                  <a:lnTo>
                    <a:pt x="51972" y="516764"/>
                  </a:lnTo>
                  <a:lnTo>
                    <a:pt x="43634" y="513557"/>
                  </a:lnTo>
                  <a:lnTo>
                    <a:pt x="37417" y="520020"/>
                  </a:lnTo>
                  <a:lnTo>
                    <a:pt x="43634" y="523227"/>
                  </a:lnTo>
                  <a:lnTo>
                    <a:pt x="39489" y="523227"/>
                  </a:lnTo>
                  <a:lnTo>
                    <a:pt x="35344" y="524856"/>
                  </a:lnTo>
                  <a:lnTo>
                    <a:pt x="33223" y="519922"/>
                  </a:lnTo>
                  <a:lnTo>
                    <a:pt x="22812" y="518293"/>
                  </a:lnTo>
                  <a:lnTo>
                    <a:pt x="27006" y="524757"/>
                  </a:lnTo>
                  <a:lnTo>
                    <a:pt x="22812" y="528013"/>
                  </a:lnTo>
                  <a:lnTo>
                    <a:pt x="20740" y="521550"/>
                  </a:lnTo>
                  <a:lnTo>
                    <a:pt x="14523" y="516616"/>
                  </a:lnTo>
                  <a:lnTo>
                    <a:pt x="10329" y="518244"/>
                  </a:lnTo>
                  <a:lnTo>
                    <a:pt x="12401" y="521500"/>
                  </a:lnTo>
                  <a:lnTo>
                    <a:pt x="18667" y="526435"/>
                  </a:lnTo>
                  <a:lnTo>
                    <a:pt x="14523" y="529642"/>
                  </a:lnTo>
                  <a:lnTo>
                    <a:pt x="18667" y="532849"/>
                  </a:lnTo>
                  <a:lnTo>
                    <a:pt x="27006" y="531270"/>
                  </a:lnTo>
                  <a:lnTo>
                    <a:pt x="37417" y="532849"/>
                  </a:lnTo>
                  <a:lnTo>
                    <a:pt x="43634" y="536105"/>
                  </a:lnTo>
                  <a:lnTo>
                    <a:pt x="54044" y="536105"/>
                  </a:lnTo>
                  <a:lnTo>
                    <a:pt x="58238" y="534477"/>
                  </a:lnTo>
                  <a:lnTo>
                    <a:pt x="62383" y="534477"/>
                  </a:lnTo>
                  <a:lnTo>
                    <a:pt x="56166" y="539411"/>
                  </a:lnTo>
                  <a:lnTo>
                    <a:pt x="45755" y="539411"/>
                  </a:lnTo>
                  <a:lnTo>
                    <a:pt x="43634" y="541039"/>
                  </a:lnTo>
                  <a:lnTo>
                    <a:pt x="31150" y="536105"/>
                  </a:lnTo>
                  <a:lnTo>
                    <a:pt x="24933" y="537734"/>
                  </a:lnTo>
                  <a:lnTo>
                    <a:pt x="20740" y="536105"/>
                  </a:lnTo>
                  <a:lnTo>
                    <a:pt x="16546" y="539312"/>
                  </a:lnTo>
                  <a:lnTo>
                    <a:pt x="8256" y="540941"/>
                  </a:lnTo>
                  <a:lnTo>
                    <a:pt x="8256" y="544148"/>
                  </a:lnTo>
                  <a:lnTo>
                    <a:pt x="18667" y="547355"/>
                  </a:lnTo>
                  <a:lnTo>
                    <a:pt x="14523" y="552289"/>
                  </a:lnTo>
                  <a:lnTo>
                    <a:pt x="20740" y="553868"/>
                  </a:lnTo>
                  <a:lnTo>
                    <a:pt x="24933" y="550661"/>
                  </a:lnTo>
                  <a:lnTo>
                    <a:pt x="33223" y="550661"/>
                  </a:lnTo>
                  <a:lnTo>
                    <a:pt x="27006" y="555595"/>
                  </a:lnTo>
                  <a:lnTo>
                    <a:pt x="16447" y="555595"/>
                  </a:lnTo>
                  <a:lnTo>
                    <a:pt x="14424" y="557174"/>
                  </a:lnTo>
                  <a:lnTo>
                    <a:pt x="10230" y="555595"/>
                  </a:lnTo>
                  <a:lnTo>
                    <a:pt x="10230" y="557174"/>
                  </a:lnTo>
                  <a:lnTo>
                    <a:pt x="16447" y="558851"/>
                  </a:lnTo>
                  <a:lnTo>
                    <a:pt x="20641" y="558851"/>
                  </a:lnTo>
                  <a:lnTo>
                    <a:pt x="14424" y="562058"/>
                  </a:lnTo>
                  <a:lnTo>
                    <a:pt x="10230" y="563637"/>
                  </a:lnTo>
                  <a:lnTo>
                    <a:pt x="12303" y="566894"/>
                  </a:lnTo>
                  <a:lnTo>
                    <a:pt x="14424" y="568522"/>
                  </a:lnTo>
                  <a:lnTo>
                    <a:pt x="18569" y="571729"/>
                  </a:lnTo>
                  <a:lnTo>
                    <a:pt x="24835" y="571729"/>
                  </a:lnTo>
                  <a:lnTo>
                    <a:pt x="31052" y="568522"/>
                  </a:lnTo>
                  <a:lnTo>
                    <a:pt x="41462" y="566894"/>
                  </a:lnTo>
                  <a:lnTo>
                    <a:pt x="47729" y="568522"/>
                  </a:lnTo>
                  <a:lnTo>
                    <a:pt x="51874" y="570101"/>
                  </a:lnTo>
                  <a:lnTo>
                    <a:pt x="56067" y="568522"/>
                  </a:lnTo>
                  <a:lnTo>
                    <a:pt x="56067" y="563588"/>
                  </a:lnTo>
                  <a:lnTo>
                    <a:pt x="60212" y="562009"/>
                  </a:lnTo>
                  <a:lnTo>
                    <a:pt x="62284" y="565216"/>
                  </a:lnTo>
                  <a:lnTo>
                    <a:pt x="68551" y="565216"/>
                  </a:lnTo>
                  <a:lnTo>
                    <a:pt x="74767" y="560282"/>
                  </a:lnTo>
                  <a:lnTo>
                    <a:pt x="78961" y="561910"/>
                  </a:lnTo>
                  <a:lnTo>
                    <a:pt x="76889" y="565117"/>
                  </a:lnTo>
                  <a:lnTo>
                    <a:pt x="74767" y="566746"/>
                  </a:lnTo>
                  <a:lnTo>
                    <a:pt x="81083" y="568374"/>
                  </a:lnTo>
                  <a:lnTo>
                    <a:pt x="85178" y="565117"/>
                  </a:lnTo>
                  <a:lnTo>
                    <a:pt x="83106" y="561910"/>
                  </a:lnTo>
                  <a:lnTo>
                    <a:pt x="87300" y="555447"/>
                  </a:lnTo>
                  <a:lnTo>
                    <a:pt x="87300" y="560381"/>
                  </a:lnTo>
                  <a:lnTo>
                    <a:pt x="91494" y="566844"/>
                  </a:lnTo>
                  <a:lnTo>
                    <a:pt x="87300" y="571778"/>
                  </a:lnTo>
                  <a:lnTo>
                    <a:pt x="78961" y="573407"/>
                  </a:lnTo>
                  <a:lnTo>
                    <a:pt x="74767" y="576614"/>
                  </a:lnTo>
                  <a:lnTo>
                    <a:pt x="76889" y="578193"/>
                  </a:lnTo>
                  <a:lnTo>
                    <a:pt x="72695" y="583127"/>
                  </a:lnTo>
                  <a:lnTo>
                    <a:pt x="64356" y="583127"/>
                  </a:lnTo>
                  <a:lnTo>
                    <a:pt x="64356" y="579870"/>
                  </a:lnTo>
                  <a:lnTo>
                    <a:pt x="68551" y="576663"/>
                  </a:lnTo>
                  <a:lnTo>
                    <a:pt x="68551" y="571729"/>
                  </a:lnTo>
                  <a:lnTo>
                    <a:pt x="60212" y="570101"/>
                  </a:lnTo>
                  <a:lnTo>
                    <a:pt x="53946" y="576564"/>
                  </a:lnTo>
                  <a:lnTo>
                    <a:pt x="51874" y="579771"/>
                  </a:lnTo>
                  <a:lnTo>
                    <a:pt x="47729" y="574837"/>
                  </a:lnTo>
                  <a:lnTo>
                    <a:pt x="41462" y="573258"/>
                  </a:lnTo>
                  <a:lnTo>
                    <a:pt x="33124" y="574837"/>
                  </a:lnTo>
                  <a:lnTo>
                    <a:pt x="28980" y="573258"/>
                  </a:lnTo>
                  <a:lnTo>
                    <a:pt x="20641" y="576466"/>
                  </a:lnTo>
                  <a:lnTo>
                    <a:pt x="16447" y="576466"/>
                  </a:lnTo>
                  <a:lnTo>
                    <a:pt x="10230" y="574837"/>
                  </a:lnTo>
                  <a:lnTo>
                    <a:pt x="8158" y="574837"/>
                  </a:lnTo>
                  <a:lnTo>
                    <a:pt x="12303" y="581301"/>
                  </a:lnTo>
                  <a:lnTo>
                    <a:pt x="10230" y="582929"/>
                  </a:lnTo>
                  <a:lnTo>
                    <a:pt x="14424" y="586136"/>
                  </a:lnTo>
                  <a:lnTo>
                    <a:pt x="18569" y="584508"/>
                  </a:lnTo>
                  <a:lnTo>
                    <a:pt x="20641" y="581301"/>
                  </a:lnTo>
                  <a:lnTo>
                    <a:pt x="24835" y="582929"/>
                  </a:lnTo>
                  <a:lnTo>
                    <a:pt x="20641" y="586136"/>
                  </a:lnTo>
                  <a:lnTo>
                    <a:pt x="20641" y="591070"/>
                  </a:lnTo>
                  <a:lnTo>
                    <a:pt x="18569" y="594278"/>
                  </a:lnTo>
                  <a:lnTo>
                    <a:pt x="14424" y="591070"/>
                  </a:lnTo>
                  <a:lnTo>
                    <a:pt x="16447" y="597534"/>
                  </a:lnTo>
                  <a:lnTo>
                    <a:pt x="20641" y="600741"/>
                  </a:lnTo>
                  <a:lnTo>
                    <a:pt x="31052" y="590873"/>
                  </a:lnTo>
                  <a:lnTo>
                    <a:pt x="37318" y="594080"/>
                  </a:lnTo>
                  <a:lnTo>
                    <a:pt x="33124" y="595708"/>
                  </a:lnTo>
                  <a:lnTo>
                    <a:pt x="35246" y="600642"/>
                  </a:lnTo>
                  <a:lnTo>
                    <a:pt x="26907" y="605576"/>
                  </a:lnTo>
                  <a:lnTo>
                    <a:pt x="26907" y="607205"/>
                  </a:lnTo>
                  <a:lnTo>
                    <a:pt x="33124" y="608784"/>
                  </a:lnTo>
                  <a:lnTo>
                    <a:pt x="31052" y="612040"/>
                  </a:lnTo>
                  <a:lnTo>
                    <a:pt x="33124" y="616974"/>
                  </a:lnTo>
                  <a:lnTo>
                    <a:pt x="31052" y="623438"/>
                  </a:lnTo>
                  <a:lnTo>
                    <a:pt x="33124" y="623438"/>
                  </a:lnTo>
                  <a:lnTo>
                    <a:pt x="39390" y="615346"/>
                  </a:lnTo>
                  <a:lnTo>
                    <a:pt x="43535" y="613767"/>
                  </a:lnTo>
                  <a:lnTo>
                    <a:pt x="45657" y="607303"/>
                  </a:lnTo>
                  <a:lnTo>
                    <a:pt x="58139" y="602369"/>
                  </a:lnTo>
                  <a:lnTo>
                    <a:pt x="70721" y="602369"/>
                  </a:lnTo>
                  <a:lnTo>
                    <a:pt x="66577" y="603948"/>
                  </a:lnTo>
                  <a:lnTo>
                    <a:pt x="60311" y="608882"/>
                  </a:lnTo>
                  <a:lnTo>
                    <a:pt x="60311" y="615346"/>
                  </a:lnTo>
                  <a:lnTo>
                    <a:pt x="62383" y="620280"/>
                  </a:lnTo>
                  <a:lnTo>
                    <a:pt x="56166" y="617023"/>
                  </a:lnTo>
                  <a:lnTo>
                    <a:pt x="56166" y="610560"/>
                  </a:lnTo>
                  <a:lnTo>
                    <a:pt x="51972" y="608932"/>
                  </a:lnTo>
                  <a:lnTo>
                    <a:pt x="47827" y="617023"/>
                  </a:lnTo>
                  <a:lnTo>
                    <a:pt x="43634" y="618602"/>
                  </a:lnTo>
                  <a:lnTo>
                    <a:pt x="49900" y="620280"/>
                  </a:lnTo>
                  <a:lnTo>
                    <a:pt x="43634" y="626694"/>
                  </a:lnTo>
                  <a:lnTo>
                    <a:pt x="39489" y="626694"/>
                  </a:lnTo>
                  <a:lnTo>
                    <a:pt x="37417" y="631628"/>
                  </a:lnTo>
                  <a:lnTo>
                    <a:pt x="49900" y="631628"/>
                  </a:lnTo>
                  <a:lnTo>
                    <a:pt x="54044" y="636562"/>
                  </a:lnTo>
                  <a:lnTo>
                    <a:pt x="45755" y="636562"/>
                  </a:lnTo>
                  <a:lnTo>
                    <a:pt x="43634" y="639769"/>
                  </a:lnTo>
                  <a:lnTo>
                    <a:pt x="43634" y="644703"/>
                  </a:lnTo>
                  <a:lnTo>
                    <a:pt x="35344" y="639769"/>
                  </a:lnTo>
                  <a:lnTo>
                    <a:pt x="31150" y="641398"/>
                  </a:lnTo>
                  <a:lnTo>
                    <a:pt x="31150" y="646332"/>
                  </a:lnTo>
                  <a:lnTo>
                    <a:pt x="29078" y="639868"/>
                  </a:lnTo>
                  <a:lnTo>
                    <a:pt x="24933" y="643075"/>
                  </a:lnTo>
                  <a:lnTo>
                    <a:pt x="18667" y="649539"/>
                  </a:lnTo>
                  <a:lnTo>
                    <a:pt x="20740" y="656002"/>
                  </a:lnTo>
                  <a:lnTo>
                    <a:pt x="31150" y="664045"/>
                  </a:lnTo>
                  <a:lnTo>
                    <a:pt x="31150" y="659111"/>
                  </a:lnTo>
                  <a:lnTo>
                    <a:pt x="35344" y="660690"/>
                  </a:lnTo>
                  <a:lnTo>
                    <a:pt x="39489" y="659111"/>
                  </a:lnTo>
                  <a:lnTo>
                    <a:pt x="37417" y="655854"/>
                  </a:lnTo>
                  <a:lnTo>
                    <a:pt x="41561" y="650920"/>
                  </a:lnTo>
                  <a:lnTo>
                    <a:pt x="49900" y="655854"/>
                  </a:lnTo>
                  <a:lnTo>
                    <a:pt x="45755" y="657482"/>
                  </a:lnTo>
                  <a:lnTo>
                    <a:pt x="49900" y="660690"/>
                  </a:lnTo>
                  <a:lnTo>
                    <a:pt x="47827" y="667153"/>
                  </a:lnTo>
                  <a:lnTo>
                    <a:pt x="43634" y="668781"/>
                  </a:lnTo>
                  <a:lnTo>
                    <a:pt x="47827" y="678650"/>
                  </a:lnTo>
                  <a:lnTo>
                    <a:pt x="49900" y="675442"/>
                  </a:lnTo>
                  <a:lnTo>
                    <a:pt x="60311" y="672186"/>
                  </a:lnTo>
                  <a:lnTo>
                    <a:pt x="62383" y="677120"/>
                  </a:lnTo>
                  <a:lnTo>
                    <a:pt x="55919" y="677120"/>
                  </a:lnTo>
                  <a:lnTo>
                    <a:pt x="51726" y="680327"/>
                  </a:lnTo>
                  <a:lnTo>
                    <a:pt x="55919" y="685261"/>
                  </a:lnTo>
                  <a:lnTo>
                    <a:pt x="55919" y="686840"/>
                  </a:lnTo>
                  <a:lnTo>
                    <a:pt x="41117" y="678798"/>
                  </a:lnTo>
                  <a:lnTo>
                    <a:pt x="36973" y="680376"/>
                  </a:lnTo>
                  <a:lnTo>
                    <a:pt x="32779" y="677169"/>
                  </a:lnTo>
                  <a:lnTo>
                    <a:pt x="28634" y="678798"/>
                  </a:lnTo>
                  <a:lnTo>
                    <a:pt x="28634" y="682005"/>
                  </a:lnTo>
                  <a:lnTo>
                    <a:pt x="24490" y="686939"/>
                  </a:lnTo>
                  <a:lnTo>
                    <a:pt x="32779" y="699866"/>
                  </a:lnTo>
                  <a:lnTo>
                    <a:pt x="41117" y="699866"/>
                  </a:lnTo>
                  <a:lnTo>
                    <a:pt x="49455" y="707908"/>
                  </a:lnTo>
                  <a:lnTo>
                    <a:pt x="64258" y="712842"/>
                  </a:lnTo>
                  <a:lnTo>
                    <a:pt x="66379" y="716099"/>
                  </a:lnTo>
                  <a:lnTo>
                    <a:pt x="62186" y="717678"/>
                  </a:lnTo>
                  <a:lnTo>
                    <a:pt x="68452" y="722612"/>
                  </a:lnTo>
                  <a:lnTo>
                    <a:pt x="72596" y="719405"/>
                  </a:lnTo>
                  <a:lnTo>
                    <a:pt x="70524" y="714471"/>
                  </a:lnTo>
                  <a:lnTo>
                    <a:pt x="74669" y="714471"/>
                  </a:lnTo>
                  <a:lnTo>
                    <a:pt x="78863" y="717678"/>
                  </a:lnTo>
                  <a:lnTo>
                    <a:pt x="78863" y="719306"/>
                  </a:lnTo>
                  <a:lnTo>
                    <a:pt x="85080" y="725720"/>
                  </a:lnTo>
                  <a:lnTo>
                    <a:pt x="89273" y="722513"/>
                  </a:lnTo>
                  <a:lnTo>
                    <a:pt x="91395" y="724141"/>
                  </a:lnTo>
                  <a:lnTo>
                    <a:pt x="97612" y="720885"/>
                  </a:lnTo>
                  <a:lnTo>
                    <a:pt x="105951" y="715951"/>
                  </a:lnTo>
                  <a:lnTo>
                    <a:pt x="108023" y="714323"/>
                  </a:lnTo>
                  <a:lnTo>
                    <a:pt x="112217" y="711066"/>
                  </a:lnTo>
                  <a:lnTo>
                    <a:pt x="114239" y="712694"/>
                  </a:lnTo>
                  <a:lnTo>
                    <a:pt x="114239" y="715951"/>
                  </a:lnTo>
                  <a:lnTo>
                    <a:pt x="118434" y="717530"/>
                  </a:lnTo>
                  <a:lnTo>
                    <a:pt x="130916" y="706280"/>
                  </a:lnTo>
                  <a:lnTo>
                    <a:pt x="130916" y="703024"/>
                  </a:lnTo>
                  <a:lnTo>
                    <a:pt x="126772" y="696560"/>
                  </a:lnTo>
                  <a:lnTo>
                    <a:pt x="135061" y="701494"/>
                  </a:lnTo>
                  <a:lnTo>
                    <a:pt x="143449" y="695031"/>
                  </a:lnTo>
                  <a:lnTo>
                    <a:pt x="141328" y="693452"/>
                  </a:lnTo>
                  <a:lnTo>
                    <a:pt x="145522" y="690195"/>
                  </a:lnTo>
                  <a:lnTo>
                    <a:pt x="145522" y="686988"/>
                  </a:lnTo>
                  <a:lnTo>
                    <a:pt x="149666" y="683781"/>
                  </a:lnTo>
                  <a:lnTo>
                    <a:pt x="155932" y="682153"/>
                  </a:lnTo>
                  <a:lnTo>
                    <a:pt x="158004" y="678946"/>
                  </a:lnTo>
                  <a:lnTo>
                    <a:pt x="151739" y="672482"/>
                  </a:lnTo>
                  <a:lnTo>
                    <a:pt x="153860" y="667548"/>
                  </a:lnTo>
                  <a:lnTo>
                    <a:pt x="149666" y="662614"/>
                  </a:lnTo>
                  <a:lnTo>
                    <a:pt x="143449" y="657680"/>
                  </a:lnTo>
                  <a:lnTo>
                    <a:pt x="143449" y="652746"/>
                  </a:lnTo>
                  <a:lnTo>
                    <a:pt x="147593" y="654374"/>
                  </a:lnTo>
                  <a:lnTo>
                    <a:pt x="153860" y="660788"/>
                  </a:lnTo>
                  <a:lnTo>
                    <a:pt x="155932" y="670656"/>
                  </a:lnTo>
                  <a:lnTo>
                    <a:pt x="158004" y="672285"/>
                  </a:lnTo>
                  <a:lnTo>
                    <a:pt x="162149" y="672285"/>
                  </a:lnTo>
                  <a:lnTo>
                    <a:pt x="162149" y="677219"/>
                  </a:lnTo>
                  <a:lnTo>
                    <a:pt x="164271" y="680426"/>
                  </a:lnTo>
                  <a:lnTo>
                    <a:pt x="172560" y="677219"/>
                  </a:lnTo>
                  <a:lnTo>
                    <a:pt x="170487" y="673962"/>
                  </a:lnTo>
                  <a:lnTo>
                    <a:pt x="166343" y="672383"/>
                  </a:lnTo>
                  <a:lnTo>
                    <a:pt x="170487" y="667449"/>
                  </a:lnTo>
                  <a:lnTo>
                    <a:pt x="174681" y="672383"/>
                  </a:lnTo>
                  <a:lnTo>
                    <a:pt x="176754" y="675640"/>
                  </a:lnTo>
                  <a:lnTo>
                    <a:pt x="185093" y="667548"/>
                  </a:lnTo>
                  <a:lnTo>
                    <a:pt x="187165" y="661084"/>
                  </a:lnTo>
                  <a:lnTo>
                    <a:pt x="185093" y="654670"/>
                  </a:lnTo>
                  <a:lnTo>
                    <a:pt x="180898" y="653042"/>
                  </a:lnTo>
                  <a:lnTo>
                    <a:pt x="178826" y="649785"/>
                  </a:lnTo>
                  <a:lnTo>
                    <a:pt x="180898" y="648206"/>
                  </a:lnTo>
                  <a:lnTo>
                    <a:pt x="180898" y="644999"/>
                  </a:lnTo>
                  <a:lnTo>
                    <a:pt x="185093" y="644999"/>
                  </a:lnTo>
                  <a:lnTo>
                    <a:pt x="187165" y="641743"/>
                  </a:lnTo>
                  <a:lnTo>
                    <a:pt x="185093" y="638536"/>
                  </a:lnTo>
                  <a:lnTo>
                    <a:pt x="185093" y="633602"/>
                  </a:lnTo>
                  <a:lnTo>
                    <a:pt x="189237" y="628668"/>
                  </a:lnTo>
                  <a:lnTo>
                    <a:pt x="195503" y="633602"/>
                  </a:lnTo>
                  <a:lnTo>
                    <a:pt x="191309" y="640016"/>
                  </a:lnTo>
                  <a:lnTo>
                    <a:pt x="191309" y="650427"/>
                  </a:lnTo>
                  <a:lnTo>
                    <a:pt x="195503" y="656890"/>
                  </a:lnTo>
                  <a:lnTo>
                    <a:pt x="195503" y="660295"/>
                  </a:lnTo>
                  <a:lnTo>
                    <a:pt x="203792" y="666758"/>
                  </a:lnTo>
                  <a:lnTo>
                    <a:pt x="212131" y="666758"/>
                  </a:lnTo>
                  <a:lnTo>
                    <a:pt x="216325" y="668387"/>
                  </a:lnTo>
                  <a:lnTo>
                    <a:pt x="214252" y="671594"/>
                  </a:lnTo>
                  <a:lnTo>
                    <a:pt x="218397" y="674850"/>
                  </a:lnTo>
                  <a:lnTo>
                    <a:pt x="222542" y="679784"/>
                  </a:lnTo>
                  <a:lnTo>
                    <a:pt x="226736" y="674850"/>
                  </a:lnTo>
                  <a:lnTo>
                    <a:pt x="224663" y="655460"/>
                  </a:lnTo>
                  <a:lnTo>
                    <a:pt x="218397" y="647417"/>
                  </a:lnTo>
                  <a:lnTo>
                    <a:pt x="222542" y="640953"/>
                  </a:lnTo>
                  <a:lnTo>
                    <a:pt x="226736" y="639325"/>
                  </a:lnTo>
                  <a:lnTo>
                    <a:pt x="222542" y="632911"/>
                  </a:lnTo>
                  <a:lnTo>
                    <a:pt x="224663" y="629655"/>
                  </a:lnTo>
                  <a:lnTo>
                    <a:pt x="237146" y="628076"/>
                  </a:lnTo>
                  <a:lnTo>
                    <a:pt x="239219" y="623142"/>
                  </a:lnTo>
                  <a:lnTo>
                    <a:pt x="239219" y="616678"/>
                  </a:lnTo>
                  <a:lnTo>
                    <a:pt x="243363" y="606810"/>
                  </a:lnTo>
                  <a:lnTo>
                    <a:pt x="239219" y="601876"/>
                  </a:lnTo>
                  <a:lnTo>
                    <a:pt x="237146" y="587321"/>
                  </a:lnTo>
                  <a:lnTo>
                    <a:pt x="228611" y="576416"/>
                  </a:lnTo>
                  <a:lnTo>
                    <a:pt x="230732" y="571482"/>
                  </a:lnTo>
                  <a:lnTo>
                    <a:pt x="247360" y="566548"/>
                  </a:lnTo>
                  <a:lnTo>
                    <a:pt x="247360" y="555249"/>
                  </a:lnTo>
                  <a:lnTo>
                    <a:pt x="249432" y="548786"/>
                  </a:lnTo>
                  <a:lnTo>
                    <a:pt x="236949" y="537536"/>
                  </a:lnTo>
                  <a:lnTo>
                    <a:pt x="226538" y="532602"/>
                  </a:lnTo>
                  <a:lnTo>
                    <a:pt x="226538" y="521352"/>
                  </a:lnTo>
                  <a:lnTo>
                    <a:pt x="228611" y="510053"/>
                  </a:lnTo>
                  <a:lnTo>
                    <a:pt x="226538" y="497176"/>
                  </a:lnTo>
                  <a:lnTo>
                    <a:pt x="222344" y="489084"/>
                  </a:lnTo>
                  <a:lnTo>
                    <a:pt x="226538" y="479216"/>
                  </a:lnTo>
                  <a:lnTo>
                    <a:pt x="224466" y="463082"/>
                  </a:lnTo>
                  <a:lnTo>
                    <a:pt x="220321" y="446947"/>
                  </a:lnTo>
                  <a:lnTo>
                    <a:pt x="224466" y="434069"/>
                  </a:lnTo>
                  <a:lnTo>
                    <a:pt x="230732" y="421142"/>
                  </a:lnTo>
                  <a:lnTo>
                    <a:pt x="239021" y="416208"/>
                  </a:lnTo>
                  <a:lnTo>
                    <a:pt x="249432" y="419465"/>
                  </a:lnTo>
                  <a:lnTo>
                    <a:pt x="261965" y="419465"/>
                  </a:lnTo>
                  <a:lnTo>
                    <a:pt x="268182" y="411422"/>
                  </a:lnTo>
                  <a:lnTo>
                    <a:pt x="266109" y="400074"/>
                  </a:lnTo>
                  <a:lnTo>
                    <a:pt x="264037" y="395140"/>
                  </a:lnTo>
                  <a:lnTo>
                    <a:pt x="264037" y="388676"/>
                  </a:lnTo>
                  <a:lnTo>
                    <a:pt x="276520" y="362871"/>
                  </a:lnTo>
                  <a:lnTo>
                    <a:pt x="276520" y="348957"/>
                  </a:lnTo>
                  <a:lnTo>
                    <a:pt x="280665" y="334451"/>
                  </a:lnTo>
                  <a:lnTo>
                    <a:pt x="282786" y="326359"/>
                  </a:lnTo>
                  <a:lnTo>
                    <a:pt x="282786" y="318317"/>
                  </a:lnTo>
                  <a:lnTo>
                    <a:pt x="278592" y="313383"/>
                  </a:lnTo>
                  <a:lnTo>
                    <a:pt x="278592" y="307018"/>
                  </a:lnTo>
                  <a:lnTo>
                    <a:pt x="289003" y="300604"/>
                  </a:lnTo>
                  <a:lnTo>
                    <a:pt x="301486" y="298975"/>
                  </a:lnTo>
                  <a:lnTo>
                    <a:pt x="307753" y="294041"/>
                  </a:lnTo>
                  <a:lnTo>
                    <a:pt x="307753" y="287578"/>
                  </a:lnTo>
                  <a:lnTo>
                    <a:pt x="318213" y="273072"/>
                  </a:lnTo>
                  <a:lnTo>
                    <a:pt x="328624" y="261773"/>
                  </a:lnTo>
                  <a:lnTo>
                    <a:pt x="332768" y="253730"/>
                  </a:lnTo>
                  <a:lnTo>
                    <a:pt x="328624" y="245639"/>
                  </a:lnTo>
                  <a:lnTo>
                    <a:pt x="324430" y="240705"/>
                  </a:lnTo>
                  <a:lnTo>
                    <a:pt x="324430" y="226198"/>
                  </a:lnTo>
                  <a:lnTo>
                    <a:pt x="328624" y="224620"/>
                  </a:lnTo>
                  <a:lnTo>
                    <a:pt x="332768" y="219686"/>
                  </a:lnTo>
                  <a:lnTo>
                    <a:pt x="334840" y="211643"/>
                  </a:lnTo>
                  <a:lnTo>
                    <a:pt x="339034" y="210015"/>
                  </a:lnTo>
                  <a:lnTo>
                    <a:pt x="345251" y="198716"/>
                  </a:lnTo>
                  <a:lnTo>
                    <a:pt x="351468" y="193782"/>
                  </a:lnTo>
                  <a:lnTo>
                    <a:pt x="359856" y="196989"/>
                  </a:lnTo>
                  <a:lnTo>
                    <a:pt x="364000" y="200246"/>
                  </a:lnTo>
                  <a:lnTo>
                    <a:pt x="368145" y="200246"/>
                  </a:lnTo>
                  <a:lnTo>
                    <a:pt x="374412" y="195312"/>
                  </a:lnTo>
                  <a:lnTo>
                    <a:pt x="370267" y="188848"/>
                  </a:lnTo>
                  <a:lnTo>
                    <a:pt x="374412" y="185641"/>
                  </a:lnTo>
                  <a:lnTo>
                    <a:pt x="374412" y="182384"/>
                  </a:lnTo>
                  <a:lnTo>
                    <a:pt x="376483" y="179177"/>
                  </a:lnTo>
                  <a:lnTo>
                    <a:pt x="370267" y="171135"/>
                  </a:lnTo>
                  <a:lnTo>
                    <a:pt x="374412" y="169556"/>
                  </a:lnTo>
                  <a:lnTo>
                    <a:pt x="384822" y="169556"/>
                  </a:lnTo>
                  <a:lnTo>
                    <a:pt x="391434" y="166891"/>
                  </a:lnTo>
                  <a:lnTo>
                    <a:pt x="403917" y="170148"/>
                  </a:lnTo>
                  <a:lnTo>
                    <a:pt x="412255" y="173355"/>
                  </a:lnTo>
                  <a:lnTo>
                    <a:pt x="420545" y="174934"/>
                  </a:lnTo>
                  <a:lnTo>
                    <a:pt x="424738" y="178190"/>
                  </a:lnTo>
                  <a:lnTo>
                    <a:pt x="428883" y="176562"/>
                  </a:lnTo>
                  <a:lnTo>
                    <a:pt x="430955" y="178190"/>
                  </a:lnTo>
                  <a:lnTo>
                    <a:pt x="430955" y="171825"/>
                  </a:lnTo>
                  <a:lnTo>
                    <a:pt x="426860" y="166891"/>
                  </a:lnTo>
                  <a:lnTo>
                    <a:pt x="428883" y="157023"/>
                  </a:lnTo>
                  <a:lnTo>
                    <a:pt x="435149" y="153816"/>
                  </a:lnTo>
                  <a:lnTo>
                    <a:pt x="433077" y="147353"/>
                  </a:lnTo>
                  <a:lnTo>
                    <a:pt x="426860" y="144096"/>
                  </a:lnTo>
                  <a:lnTo>
                    <a:pt x="426860" y="137682"/>
                  </a:lnTo>
                  <a:lnTo>
                    <a:pt x="435149" y="140889"/>
                  </a:lnTo>
                  <a:lnTo>
                    <a:pt x="443488" y="139310"/>
                  </a:lnTo>
                  <a:lnTo>
                    <a:pt x="445560" y="137682"/>
                  </a:lnTo>
                  <a:lnTo>
                    <a:pt x="445560" y="137682"/>
                  </a:lnTo>
                  <a:lnTo>
                    <a:pt x="447682" y="136054"/>
                  </a:lnTo>
                  <a:lnTo>
                    <a:pt x="449705" y="137682"/>
                  </a:lnTo>
                  <a:lnTo>
                    <a:pt x="451826" y="136054"/>
                  </a:lnTo>
                  <a:lnTo>
                    <a:pt x="449705" y="131120"/>
                  </a:lnTo>
                  <a:lnTo>
                    <a:pt x="451826" y="126186"/>
                  </a:lnTo>
                  <a:lnTo>
                    <a:pt x="455971" y="122979"/>
                  </a:lnTo>
                  <a:lnTo>
                    <a:pt x="462237" y="122979"/>
                  </a:lnTo>
                  <a:lnTo>
                    <a:pt x="468503" y="129442"/>
                  </a:lnTo>
                  <a:lnTo>
                    <a:pt x="483305" y="140692"/>
                  </a:lnTo>
                  <a:lnTo>
                    <a:pt x="487450" y="147155"/>
                  </a:lnTo>
                  <a:lnTo>
                    <a:pt x="493716" y="153619"/>
                  </a:lnTo>
                  <a:lnTo>
                    <a:pt x="502055" y="156826"/>
                  </a:lnTo>
                  <a:lnTo>
                    <a:pt x="520804" y="158405"/>
                  </a:lnTo>
                  <a:lnTo>
                    <a:pt x="529093" y="150362"/>
                  </a:lnTo>
                  <a:lnTo>
                    <a:pt x="533287" y="145428"/>
                  </a:lnTo>
                  <a:lnTo>
                    <a:pt x="541625" y="147057"/>
                  </a:lnTo>
                  <a:lnTo>
                    <a:pt x="552037" y="153520"/>
                  </a:lnTo>
                  <a:lnTo>
                    <a:pt x="560326" y="155099"/>
                  </a:lnTo>
                  <a:lnTo>
                    <a:pt x="564519" y="147057"/>
                  </a:lnTo>
                  <a:lnTo>
                    <a:pt x="570786" y="145428"/>
                  </a:lnTo>
                  <a:lnTo>
                    <a:pt x="574930" y="140494"/>
                  </a:lnTo>
                  <a:lnTo>
                    <a:pt x="581197" y="140494"/>
                  </a:lnTo>
                  <a:lnTo>
                    <a:pt x="587463" y="137287"/>
                  </a:lnTo>
                  <a:lnTo>
                    <a:pt x="591607" y="134031"/>
                  </a:lnTo>
                  <a:lnTo>
                    <a:pt x="587463" y="127567"/>
                  </a:lnTo>
                  <a:lnTo>
                    <a:pt x="585342" y="119525"/>
                  </a:lnTo>
                  <a:lnTo>
                    <a:pt x="587463" y="103390"/>
                  </a:lnTo>
                  <a:lnTo>
                    <a:pt x="589486" y="98456"/>
                  </a:lnTo>
                  <a:lnTo>
                    <a:pt x="585342" y="93522"/>
                  </a:lnTo>
                  <a:lnTo>
                    <a:pt x="589486" y="91943"/>
                  </a:lnTo>
                  <a:lnTo>
                    <a:pt x="595752" y="83852"/>
                  </a:lnTo>
                  <a:lnTo>
                    <a:pt x="595752" y="80644"/>
                  </a:lnTo>
                  <a:lnTo>
                    <a:pt x="602019" y="77437"/>
                  </a:lnTo>
                  <a:lnTo>
                    <a:pt x="612429" y="79016"/>
                  </a:lnTo>
                  <a:lnTo>
                    <a:pt x="616574" y="79016"/>
                  </a:lnTo>
                  <a:lnTo>
                    <a:pt x="616574" y="75809"/>
                  </a:lnTo>
                  <a:lnTo>
                    <a:pt x="622840" y="70875"/>
                  </a:lnTo>
                  <a:lnTo>
                    <a:pt x="637642" y="69247"/>
                  </a:lnTo>
                  <a:lnTo>
                    <a:pt x="645980" y="74181"/>
                  </a:lnTo>
                  <a:lnTo>
                    <a:pt x="654319" y="83802"/>
                  </a:lnTo>
                  <a:lnTo>
                    <a:pt x="658464" y="88736"/>
                  </a:lnTo>
                  <a:lnTo>
                    <a:pt x="666802" y="90365"/>
                  </a:lnTo>
                  <a:lnTo>
                    <a:pt x="679335" y="91993"/>
                  </a:lnTo>
                  <a:lnTo>
                    <a:pt x="681407" y="96927"/>
                  </a:lnTo>
                  <a:lnTo>
                    <a:pt x="687624" y="103390"/>
                  </a:lnTo>
                  <a:lnTo>
                    <a:pt x="687624" y="109854"/>
                  </a:lnTo>
                  <a:lnTo>
                    <a:pt x="679335" y="117897"/>
                  </a:lnTo>
                  <a:close/>
                  <a:moveTo>
                    <a:pt x="33025" y="666610"/>
                  </a:moveTo>
                  <a:lnTo>
                    <a:pt x="37219" y="671545"/>
                  </a:lnTo>
                  <a:lnTo>
                    <a:pt x="30953" y="673123"/>
                  </a:lnTo>
                  <a:close/>
                  <a:moveTo>
                    <a:pt x="16348" y="632763"/>
                  </a:moveTo>
                  <a:lnTo>
                    <a:pt x="20542" y="631135"/>
                  </a:lnTo>
                  <a:lnTo>
                    <a:pt x="24736" y="636069"/>
                  </a:lnTo>
                  <a:lnTo>
                    <a:pt x="20542" y="639276"/>
                  </a:lnTo>
                  <a:close/>
                  <a:moveTo>
                    <a:pt x="28881" y="621464"/>
                  </a:moveTo>
                  <a:lnTo>
                    <a:pt x="28881" y="626398"/>
                  </a:lnTo>
                  <a:lnTo>
                    <a:pt x="24736" y="626398"/>
                  </a:lnTo>
                  <a:close/>
                  <a:moveTo>
                    <a:pt x="22615" y="618208"/>
                  </a:moveTo>
                  <a:lnTo>
                    <a:pt x="20542" y="623142"/>
                  </a:lnTo>
                  <a:lnTo>
                    <a:pt x="16447" y="623142"/>
                  </a:lnTo>
                  <a:close/>
                  <a:moveTo>
                    <a:pt x="10131" y="594031"/>
                  </a:moveTo>
                  <a:lnTo>
                    <a:pt x="3914" y="590824"/>
                  </a:lnTo>
                  <a:lnTo>
                    <a:pt x="10131" y="587567"/>
                  </a:lnTo>
                  <a:close/>
                  <a:moveTo>
                    <a:pt x="5938" y="598965"/>
                  </a:moveTo>
                  <a:lnTo>
                    <a:pt x="12204" y="598965"/>
                  </a:lnTo>
                  <a:lnTo>
                    <a:pt x="10131" y="602221"/>
                  </a:lnTo>
                  <a:close/>
                  <a:moveTo>
                    <a:pt x="20740" y="605428"/>
                  </a:moveTo>
                  <a:lnTo>
                    <a:pt x="24933" y="611892"/>
                  </a:lnTo>
                  <a:lnTo>
                    <a:pt x="22812" y="616826"/>
                  </a:lnTo>
                  <a:close/>
                  <a:moveTo>
                    <a:pt x="10329" y="613520"/>
                  </a:moveTo>
                  <a:lnTo>
                    <a:pt x="6135" y="608586"/>
                  </a:lnTo>
                  <a:lnTo>
                    <a:pt x="12401" y="607007"/>
                  </a:lnTo>
                  <a:close/>
                  <a:moveTo>
                    <a:pt x="6135" y="576416"/>
                  </a:moveTo>
                  <a:lnTo>
                    <a:pt x="-82" y="581350"/>
                  </a:lnTo>
                  <a:lnTo>
                    <a:pt x="4112" y="582979"/>
                  </a:lnTo>
                  <a:lnTo>
                    <a:pt x="6135" y="579722"/>
                  </a:lnTo>
                  <a:close/>
                  <a:moveTo>
                    <a:pt x="4112" y="534477"/>
                  </a:moveTo>
                  <a:lnTo>
                    <a:pt x="12401" y="537734"/>
                  </a:lnTo>
                  <a:lnTo>
                    <a:pt x="4112" y="537734"/>
                  </a:lnTo>
                  <a:close/>
                  <a:moveTo>
                    <a:pt x="6135" y="523178"/>
                  </a:moveTo>
                  <a:lnTo>
                    <a:pt x="12401" y="526435"/>
                  </a:lnTo>
                  <a:lnTo>
                    <a:pt x="8256" y="531369"/>
                  </a:lnTo>
                  <a:close/>
                  <a:moveTo>
                    <a:pt x="24933" y="510300"/>
                  </a:moveTo>
                  <a:lnTo>
                    <a:pt x="27006" y="515234"/>
                  </a:lnTo>
                  <a:lnTo>
                    <a:pt x="20740" y="515234"/>
                  </a:lnTo>
                  <a:close/>
                  <a:moveTo>
                    <a:pt x="33223" y="507093"/>
                  </a:moveTo>
                  <a:lnTo>
                    <a:pt x="37417" y="508672"/>
                  </a:lnTo>
                  <a:lnTo>
                    <a:pt x="39489" y="511928"/>
                  </a:lnTo>
                  <a:lnTo>
                    <a:pt x="33223" y="515136"/>
                  </a:lnTo>
                  <a:close/>
                  <a:moveTo>
                    <a:pt x="95737" y="468361"/>
                  </a:moveTo>
                  <a:lnTo>
                    <a:pt x="102003" y="461897"/>
                  </a:lnTo>
                  <a:lnTo>
                    <a:pt x="104026" y="468361"/>
                  </a:lnTo>
                  <a:lnTo>
                    <a:pt x="102003" y="471568"/>
                  </a:lnTo>
                  <a:close/>
                  <a:moveTo>
                    <a:pt x="97809" y="458493"/>
                  </a:moveTo>
                  <a:lnTo>
                    <a:pt x="95737" y="460121"/>
                  </a:lnTo>
                  <a:lnTo>
                    <a:pt x="89471" y="453658"/>
                  </a:lnTo>
                  <a:lnTo>
                    <a:pt x="95392" y="453658"/>
                  </a:lnTo>
                  <a:close/>
                  <a:moveTo>
                    <a:pt x="106148" y="445615"/>
                  </a:moveTo>
                  <a:lnTo>
                    <a:pt x="116559" y="437523"/>
                  </a:lnTo>
                  <a:lnTo>
                    <a:pt x="120703" y="440780"/>
                  </a:lnTo>
                  <a:lnTo>
                    <a:pt x="114437" y="445714"/>
                  </a:lnTo>
                  <a:close/>
                  <a:moveTo>
                    <a:pt x="106148" y="456914"/>
                  </a:moveTo>
                  <a:lnTo>
                    <a:pt x="112414" y="450450"/>
                  </a:lnTo>
                  <a:lnTo>
                    <a:pt x="118631" y="450450"/>
                  </a:lnTo>
                  <a:lnTo>
                    <a:pt x="120703" y="447194"/>
                  </a:lnTo>
                  <a:lnTo>
                    <a:pt x="126970" y="445615"/>
                  </a:lnTo>
                  <a:lnTo>
                    <a:pt x="131114" y="450549"/>
                  </a:lnTo>
                  <a:lnTo>
                    <a:pt x="124848" y="455483"/>
                  </a:lnTo>
                  <a:lnTo>
                    <a:pt x="116559" y="455483"/>
                  </a:lnTo>
                  <a:lnTo>
                    <a:pt x="112414" y="457161"/>
                  </a:lnTo>
                  <a:close/>
                  <a:moveTo>
                    <a:pt x="199895" y="369779"/>
                  </a:moveTo>
                  <a:lnTo>
                    <a:pt x="203990" y="364845"/>
                  </a:lnTo>
                  <a:lnTo>
                    <a:pt x="212328" y="363217"/>
                  </a:lnTo>
                  <a:lnTo>
                    <a:pt x="206111" y="371308"/>
                  </a:lnTo>
                  <a:close/>
                  <a:moveTo>
                    <a:pt x="193579" y="384334"/>
                  </a:moveTo>
                  <a:lnTo>
                    <a:pt x="191507" y="379400"/>
                  </a:lnTo>
                  <a:lnTo>
                    <a:pt x="185290" y="381029"/>
                  </a:lnTo>
                  <a:lnTo>
                    <a:pt x="189435" y="376094"/>
                  </a:lnTo>
                  <a:lnTo>
                    <a:pt x="199895" y="374516"/>
                  </a:lnTo>
                  <a:lnTo>
                    <a:pt x="206111" y="372887"/>
                  </a:lnTo>
                  <a:lnTo>
                    <a:pt x="197773" y="380979"/>
                  </a:lnTo>
                  <a:close/>
                  <a:moveTo>
                    <a:pt x="210305" y="332724"/>
                  </a:moveTo>
                  <a:lnTo>
                    <a:pt x="214450" y="334353"/>
                  </a:lnTo>
                  <a:lnTo>
                    <a:pt x="214450" y="337560"/>
                  </a:lnTo>
                  <a:lnTo>
                    <a:pt x="210305" y="340816"/>
                  </a:lnTo>
                  <a:lnTo>
                    <a:pt x="208184" y="337560"/>
                  </a:lnTo>
                  <a:close/>
                  <a:moveTo>
                    <a:pt x="225108" y="319847"/>
                  </a:moveTo>
                  <a:lnTo>
                    <a:pt x="227179" y="316639"/>
                  </a:lnTo>
                  <a:lnTo>
                    <a:pt x="235518" y="318218"/>
                  </a:lnTo>
                  <a:lnTo>
                    <a:pt x="224663" y="324781"/>
                  </a:lnTo>
                  <a:close/>
                  <a:moveTo>
                    <a:pt x="220963" y="309978"/>
                  </a:moveTo>
                  <a:lnTo>
                    <a:pt x="227179" y="303515"/>
                  </a:lnTo>
                  <a:lnTo>
                    <a:pt x="227179" y="308449"/>
                  </a:lnTo>
                  <a:lnTo>
                    <a:pt x="222986" y="316541"/>
                  </a:lnTo>
                  <a:close/>
                  <a:moveTo>
                    <a:pt x="264679" y="253533"/>
                  </a:moveTo>
                  <a:lnTo>
                    <a:pt x="266751" y="250277"/>
                  </a:lnTo>
                  <a:lnTo>
                    <a:pt x="270895" y="250277"/>
                  </a:lnTo>
                  <a:lnTo>
                    <a:pt x="268823" y="256740"/>
                  </a:lnTo>
                  <a:close/>
                  <a:moveTo>
                    <a:pt x="220963" y="221264"/>
                  </a:moveTo>
                  <a:lnTo>
                    <a:pt x="225108" y="224521"/>
                  </a:lnTo>
                  <a:lnTo>
                    <a:pt x="222986" y="227728"/>
                  </a:lnTo>
                  <a:lnTo>
                    <a:pt x="218841" y="226100"/>
                  </a:lnTo>
                  <a:close/>
                  <a:moveTo>
                    <a:pt x="233396" y="206758"/>
                  </a:moveTo>
                  <a:lnTo>
                    <a:pt x="225108" y="213173"/>
                  </a:lnTo>
                  <a:lnTo>
                    <a:pt x="225108" y="206758"/>
                  </a:lnTo>
                  <a:lnTo>
                    <a:pt x="231374" y="196890"/>
                  </a:lnTo>
                  <a:close/>
                  <a:moveTo>
                    <a:pt x="239663" y="201824"/>
                  </a:moveTo>
                  <a:lnTo>
                    <a:pt x="235518" y="196890"/>
                  </a:lnTo>
                  <a:lnTo>
                    <a:pt x="239663" y="195262"/>
                  </a:lnTo>
                  <a:lnTo>
                    <a:pt x="241785" y="196890"/>
                  </a:lnTo>
                  <a:close/>
                  <a:moveTo>
                    <a:pt x="260484" y="187318"/>
                  </a:moveTo>
                  <a:lnTo>
                    <a:pt x="258412" y="192252"/>
                  </a:lnTo>
                  <a:lnTo>
                    <a:pt x="245929" y="202121"/>
                  </a:lnTo>
                  <a:lnTo>
                    <a:pt x="248002" y="190822"/>
                  </a:lnTo>
                  <a:close/>
                  <a:moveTo>
                    <a:pt x="270895" y="174391"/>
                  </a:moveTo>
                  <a:lnTo>
                    <a:pt x="275089" y="167977"/>
                  </a:lnTo>
                  <a:lnTo>
                    <a:pt x="281306" y="172911"/>
                  </a:lnTo>
                  <a:close/>
                  <a:moveTo>
                    <a:pt x="281306" y="176019"/>
                  </a:moveTo>
                  <a:lnTo>
                    <a:pt x="281306" y="188897"/>
                  </a:lnTo>
                  <a:lnTo>
                    <a:pt x="273017" y="185690"/>
                  </a:lnTo>
                  <a:lnTo>
                    <a:pt x="262606" y="190624"/>
                  </a:lnTo>
                  <a:lnTo>
                    <a:pt x="264679" y="184210"/>
                  </a:lnTo>
                  <a:close/>
                  <a:moveTo>
                    <a:pt x="285500" y="147007"/>
                  </a:moveTo>
                  <a:lnTo>
                    <a:pt x="287572" y="155050"/>
                  </a:lnTo>
                  <a:lnTo>
                    <a:pt x="287572" y="164918"/>
                  </a:lnTo>
                  <a:lnTo>
                    <a:pt x="279234" y="168174"/>
                  </a:lnTo>
                  <a:lnTo>
                    <a:pt x="275089" y="164918"/>
                  </a:lnTo>
                  <a:lnTo>
                    <a:pt x="283428" y="158454"/>
                  </a:lnTo>
                  <a:lnTo>
                    <a:pt x="279234" y="158454"/>
                  </a:lnTo>
                  <a:lnTo>
                    <a:pt x="268823" y="164918"/>
                  </a:lnTo>
                  <a:lnTo>
                    <a:pt x="266751" y="161711"/>
                  </a:lnTo>
                  <a:lnTo>
                    <a:pt x="268823" y="155247"/>
                  </a:lnTo>
                  <a:lnTo>
                    <a:pt x="275089" y="156875"/>
                  </a:lnTo>
                  <a:lnTo>
                    <a:pt x="281306" y="150412"/>
                  </a:lnTo>
                  <a:lnTo>
                    <a:pt x="281306" y="147205"/>
                  </a:lnTo>
                  <a:close/>
                  <a:moveTo>
                    <a:pt x="293838" y="150214"/>
                  </a:moveTo>
                  <a:lnTo>
                    <a:pt x="289645" y="147007"/>
                  </a:lnTo>
                  <a:lnTo>
                    <a:pt x="289645" y="138965"/>
                  </a:lnTo>
                  <a:lnTo>
                    <a:pt x="300055" y="132501"/>
                  </a:lnTo>
                  <a:lnTo>
                    <a:pt x="300055" y="126432"/>
                  </a:lnTo>
                  <a:lnTo>
                    <a:pt x="308394" y="123225"/>
                  </a:lnTo>
                  <a:lnTo>
                    <a:pt x="310466" y="129689"/>
                  </a:lnTo>
                  <a:lnTo>
                    <a:pt x="304249" y="134623"/>
                  </a:lnTo>
                  <a:lnTo>
                    <a:pt x="302128" y="141086"/>
                  </a:lnTo>
                  <a:close/>
                  <a:moveTo>
                    <a:pt x="316732" y="153471"/>
                  </a:moveTo>
                  <a:lnTo>
                    <a:pt x="325071" y="161513"/>
                  </a:lnTo>
                  <a:lnTo>
                    <a:pt x="314660" y="172812"/>
                  </a:lnTo>
                  <a:lnTo>
                    <a:pt x="306322" y="176019"/>
                  </a:lnTo>
                  <a:lnTo>
                    <a:pt x="302128" y="180953"/>
                  </a:lnTo>
                  <a:lnTo>
                    <a:pt x="297983" y="179325"/>
                  </a:lnTo>
                  <a:lnTo>
                    <a:pt x="297983" y="174391"/>
                  </a:lnTo>
                  <a:lnTo>
                    <a:pt x="289645" y="184259"/>
                  </a:lnTo>
                  <a:lnTo>
                    <a:pt x="285500" y="184259"/>
                  </a:lnTo>
                  <a:lnTo>
                    <a:pt x="287572" y="176167"/>
                  </a:lnTo>
                  <a:lnTo>
                    <a:pt x="289645" y="174539"/>
                  </a:lnTo>
                  <a:lnTo>
                    <a:pt x="289645" y="168125"/>
                  </a:lnTo>
                  <a:lnTo>
                    <a:pt x="293838" y="163191"/>
                  </a:lnTo>
                  <a:lnTo>
                    <a:pt x="293838" y="158257"/>
                  </a:lnTo>
                  <a:lnTo>
                    <a:pt x="302128" y="147007"/>
                  </a:lnTo>
                  <a:lnTo>
                    <a:pt x="297983" y="163142"/>
                  </a:lnTo>
                  <a:lnTo>
                    <a:pt x="300055" y="168076"/>
                  </a:lnTo>
                  <a:lnTo>
                    <a:pt x="306322" y="160033"/>
                  </a:lnTo>
                  <a:lnTo>
                    <a:pt x="316732" y="160033"/>
                  </a:lnTo>
                  <a:lnTo>
                    <a:pt x="312539" y="155099"/>
                  </a:lnTo>
                  <a:lnTo>
                    <a:pt x="312539" y="150165"/>
                  </a:lnTo>
                  <a:close/>
                  <a:moveTo>
                    <a:pt x="316732" y="147007"/>
                  </a:moveTo>
                  <a:lnTo>
                    <a:pt x="312539" y="145379"/>
                  </a:lnTo>
                  <a:lnTo>
                    <a:pt x="318854" y="142172"/>
                  </a:lnTo>
                  <a:lnTo>
                    <a:pt x="325071" y="145379"/>
                  </a:lnTo>
                  <a:lnTo>
                    <a:pt x="325071" y="150313"/>
                  </a:lnTo>
                  <a:close/>
                  <a:moveTo>
                    <a:pt x="335482" y="155050"/>
                  </a:moveTo>
                  <a:lnTo>
                    <a:pt x="337554" y="148586"/>
                  </a:lnTo>
                  <a:lnTo>
                    <a:pt x="341699" y="153520"/>
                  </a:lnTo>
                  <a:close/>
                  <a:moveTo>
                    <a:pt x="360497" y="122831"/>
                  </a:moveTo>
                  <a:lnTo>
                    <a:pt x="358376" y="126038"/>
                  </a:lnTo>
                  <a:lnTo>
                    <a:pt x="360497" y="130972"/>
                  </a:lnTo>
                  <a:lnTo>
                    <a:pt x="352110" y="132600"/>
                  </a:lnTo>
                  <a:lnTo>
                    <a:pt x="350086" y="135807"/>
                  </a:lnTo>
                  <a:lnTo>
                    <a:pt x="341699" y="135807"/>
                  </a:lnTo>
                  <a:lnTo>
                    <a:pt x="339676" y="142271"/>
                  </a:lnTo>
                  <a:lnTo>
                    <a:pt x="335482" y="143849"/>
                  </a:lnTo>
                  <a:lnTo>
                    <a:pt x="335482" y="137435"/>
                  </a:lnTo>
                  <a:lnTo>
                    <a:pt x="329265" y="137435"/>
                  </a:lnTo>
                  <a:lnTo>
                    <a:pt x="335482" y="129393"/>
                  </a:lnTo>
                  <a:lnTo>
                    <a:pt x="329265" y="129393"/>
                  </a:lnTo>
                  <a:lnTo>
                    <a:pt x="331288" y="122929"/>
                  </a:lnTo>
                  <a:lnTo>
                    <a:pt x="341699" y="121301"/>
                  </a:lnTo>
                  <a:lnTo>
                    <a:pt x="333409" y="118045"/>
                  </a:lnTo>
                  <a:lnTo>
                    <a:pt x="337554" y="111630"/>
                  </a:lnTo>
                  <a:lnTo>
                    <a:pt x="341699" y="114837"/>
                  </a:lnTo>
                  <a:lnTo>
                    <a:pt x="341699" y="108423"/>
                  </a:lnTo>
                  <a:lnTo>
                    <a:pt x="352110" y="110002"/>
                  </a:lnTo>
                  <a:lnTo>
                    <a:pt x="352110" y="114936"/>
                  </a:lnTo>
                  <a:lnTo>
                    <a:pt x="358376" y="114936"/>
                  </a:lnTo>
                  <a:close/>
                  <a:moveTo>
                    <a:pt x="360497" y="105068"/>
                  </a:moveTo>
                  <a:lnTo>
                    <a:pt x="368787" y="103440"/>
                  </a:lnTo>
                  <a:lnTo>
                    <a:pt x="370908" y="98506"/>
                  </a:lnTo>
                  <a:lnTo>
                    <a:pt x="379197" y="98506"/>
                  </a:lnTo>
                  <a:lnTo>
                    <a:pt x="383391" y="93572"/>
                  </a:lnTo>
                  <a:lnTo>
                    <a:pt x="387536" y="100035"/>
                  </a:lnTo>
                  <a:lnTo>
                    <a:pt x="383391" y="104969"/>
                  </a:lnTo>
                  <a:lnTo>
                    <a:pt x="383391" y="109903"/>
                  </a:lnTo>
                  <a:lnTo>
                    <a:pt x="375053" y="109903"/>
                  </a:lnTo>
                  <a:lnTo>
                    <a:pt x="366714" y="113160"/>
                  </a:lnTo>
                  <a:close/>
                  <a:moveTo>
                    <a:pt x="389608" y="69592"/>
                  </a:moveTo>
                  <a:lnTo>
                    <a:pt x="387536" y="66385"/>
                  </a:lnTo>
                  <a:lnTo>
                    <a:pt x="393802" y="64757"/>
                  </a:lnTo>
                  <a:close/>
                  <a:moveTo>
                    <a:pt x="376632" y="83013"/>
                  </a:moveTo>
                  <a:lnTo>
                    <a:pt x="376632" y="74970"/>
                  </a:lnTo>
                  <a:lnTo>
                    <a:pt x="384970" y="73293"/>
                  </a:lnTo>
                  <a:lnTo>
                    <a:pt x="384970" y="78227"/>
                  </a:lnTo>
                  <a:close/>
                  <a:moveTo>
                    <a:pt x="399526" y="94262"/>
                  </a:moveTo>
                  <a:lnTo>
                    <a:pt x="401647" y="86220"/>
                  </a:lnTo>
                  <a:lnTo>
                    <a:pt x="405792" y="91154"/>
                  </a:lnTo>
                  <a:close/>
                  <a:moveTo>
                    <a:pt x="395381" y="92684"/>
                  </a:moveTo>
                  <a:lnTo>
                    <a:pt x="393309" y="94262"/>
                  </a:lnTo>
                  <a:lnTo>
                    <a:pt x="389115" y="94262"/>
                  </a:lnTo>
                  <a:lnTo>
                    <a:pt x="380825" y="86220"/>
                  </a:lnTo>
                  <a:lnTo>
                    <a:pt x="391434" y="78079"/>
                  </a:lnTo>
                  <a:lnTo>
                    <a:pt x="393506" y="83013"/>
                  </a:lnTo>
                  <a:lnTo>
                    <a:pt x="399723" y="81385"/>
                  </a:lnTo>
                  <a:lnTo>
                    <a:pt x="401844" y="83013"/>
                  </a:lnTo>
                  <a:lnTo>
                    <a:pt x="395578" y="86220"/>
                  </a:lnTo>
                  <a:close/>
                  <a:moveTo>
                    <a:pt x="416104" y="78079"/>
                  </a:moveTo>
                  <a:lnTo>
                    <a:pt x="411959" y="79658"/>
                  </a:lnTo>
                  <a:lnTo>
                    <a:pt x="403621" y="76451"/>
                  </a:lnTo>
                  <a:lnTo>
                    <a:pt x="403621" y="71517"/>
                  </a:lnTo>
                  <a:lnTo>
                    <a:pt x="401549" y="63425"/>
                  </a:lnTo>
                  <a:lnTo>
                    <a:pt x="405693" y="60218"/>
                  </a:lnTo>
                  <a:lnTo>
                    <a:pt x="405693" y="68211"/>
                  </a:lnTo>
                  <a:lnTo>
                    <a:pt x="414031" y="73145"/>
                  </a:lnTo>
                  <a:close/>
                  <a:moveTo>
                    <a:pt x="434853" y="86121"/>
                  </a:moveTo>
                  <a:lnTo>
                    <a:pt x="430659" y="81187"/>
                  </a:lnTo>
                  <a:lnTo>
                    <a:pt x="426564" y="79559"/>
                  </a:lnTo>
                  <a:lnTo>
                    <a:pt x="424442" y="69691"/>
                  </a:lnTo>
                  <a:lnTo>
                    <a:pt x="428587" y="64757"/>
                  </a:lnTo>
                  <a:lnTo>
                    <a:pt x="436975" y="69691"/>
                  </a:lnTo>
                  <a:lnTo>
                    <a:pt x="434853" y="76154"/>
                  </a:lnTo>
                  <a:lnTo>
                    <a:pt x="438998" y="81088"/>
                  </a:lnTo>
                  <a:close/>
                  <a:moveTo>
                    <a:pt x="489128" y="63523"/>
                  </a:moveTo>
                  <a:lnTo>
                    <a:pt x="482862" y="60316"/>
                  </a:lnTo>
                  <a:lnTo>
                    <a:pt x="474523" y="57109"/>
                  </a:lnTo>
                  <a:lnTo>
                    <a:pt x="478716" y="53853"/>
                  </a:lnTo>
                  <a:lnTo>
                    <a:pt x="487006" y="53853"/>
                  </a:lnTo>
                  <a:lnTo>
                    <a:pt x="491200" y="57109"/>
                  </a:lnTo>
                  <a:close/>
                  <a:moveTo>
                    <a:pt x="499539" y="58589"/>
                  </a:moveTo>
                  <a:lnTo>
                    <a:pt x="491200" y="48721"/>
                  </a:lnTo>
                  <a:lnTo>
                    <a:pt x="503683" y="38853"/>
                  </a:lnTo>
                  <a:lnTo>
                    <a:pt x="505756" y="46945"/>
                  </a:lnTo>
                  <a:lnTo>
                    <a:pt x="499539" y="51879"/>
                  </a:lnTo>
                  <a:close/>
                  <a:moveTo>
                    <a:pt x="482862" y="47340"/>
                  </a:moveTo>
                  <a:lnTo>
                    <a:pt x="478716" y="47340"/>
                  </a:lnTo>
                  <a:lnTo>
                    <a:pt x="466184" y="44083"/>
                  </a:lnTo>
                  <a:lnTo>
                    <a:pt x="464112" y="37669"/>
                  </a:lnTo>
                  <a:lnTo>
                    <a:pt x="470329" y="39248"/>
                  </a:lnTo>
                  <a:lnTo>
                    <a:pt x="476595" y="36041"/>
                  </a:lnTo>
                  <a:lnTo>
                    <a:pt x="480789" y="39248"/>
                  </a:lnTo>
                  <a:lnTo>
                    <a:pt x="484933" y="32834"/>
                  </a:lnTo>
                  <a:lnTo>
                    <a:pt x="489128" y="36041"/>
                  </a:lnTo>
                  <a:lnTo>
                    <a:pt x="499539" y="26173"/>
                  </a:lnTo>
                  <a:lnTo>
                    <a:pt x="501610" y="31107"/>
                  </a:lnTo>
                  <a:close/>
                  <a:moveTo>
                    <a:pt x="505756" y="34413"/>
                  </a:moveTo>
                  <a:lnTo>
                    <a:pt x="516166" y="31205"/>
                  </a:lnTo>
                  <a:lnTo>
                    <a:pt x="524504" y="36140"/>
                  </a:lnTo>
                  <a:lnTo>
                    <a:pt x="520360" y="41074"/>
                  </a:lnTo>
                  <a:lnTo>
                    <a:pt x="512021" y="44281"/>
                  </a:lnTo>
                  <a:lnTo>
                    <a:pt x="509949" y="39347"/>
                  </a:lnTo>
                  <a:close/>
                  <a:moveTo>
                    <a:pt x="524504" y="18278"/>
                  </a:moveTo>
                  <a:lnTo>
                    <a:pt x="522433" y="21535"/>
                  </a:lnTo>
                  <a:lnTo>
                    <a:pt x="520360" y="23114"/>
                  </a:lnTo>
                  <a:lnTo>
                    <a:pt x="514094" y="16699"/>
                  </a:lnTo>
                  <a:lnTo>
                    <a:pt x="520360" y="15071"/>
                  </a:lnTo>
                  <a:close/>
                  <a:moveTo>
                    <a:pt x="541182" y="8410"/>
                  </a:moveTo>
                  <a:lnTo>
                    <a:pt x="534915" y="8410"/>
                  </a:lnTo>
                  <a:lnTo>
                    <a:pt x="536988" y="5203"/>
                  </a:lnTo>
                  <a:lnTo>
                    <a:pt x="543254" y="5203"/>
                  </a:lnTo>
                  <a:close/>
                  <a:moveTo>
                    <a:pt x="549471" y="11667"/>
                  </a:moveTo>
                  <a:lnTo>
                    <a:pt x="551592" y="10038"/>
                  </a:lnTo>
                  <a:lnTo>
                    <a:pt x="553665" y="6831"/>
                  </a:lnTo>
                  <a:lnTo>
                    <a:pt x="557809" y="8410"/>
                  </a:lnTo>
                  <a:lnTo>
                    <a:pt x="562003" y="5203"/>
                  </a:lnTo>
                  <a:lnTo>
                    <a:pt x="562003" y="269"/>
                  </a:lnTo>
                  <a:lnTo>
                    <a:pt x="566197" y="3476"/>
                  </a:lnTo>
                  <a:lnTo>
                    <a:pt x="572414" y="5104"/>
                  </a:lnTo>
                  <a:lnTo>
                    <a:pt x="568220" y="10038"/>
                  </a:lnTo>
                  <a:lnTo>
                    <a:pt x="576608" y="10038"/>
                  </a:lnTo>
                  <a:lnTo>
                    <a:pt x="572414" y="16502"/>
                  </a:lnTo>
                  <a:lnTo>
                    <a:pt x="566197" y="18081"/>
                  </a:lnTo>
                  <a:lnTo>
                    <a:pt x="557809" y="1314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Graphic 2">
              <a:extLst>
                <a:ext uri="{FF2B5EF4-FFF2-40B4-BE49-F238E27FC236}">
                  <a16:creationId xmlns:a16="http://schemas.microsoft.com/office/drawing/2014/main" id="{65001CC2-1C4E-4128-B3DC-6A2EC9CBD9FA}"/>
                </a:ext>
              </a:extLst>
            </p:cNvPr>
            <p:cNvSpPr/>
            <p:nvPr/>
          </p:nvSpPr>
          <p:spPr>
            <a:xfrm>
              <a:off x="5719667" y="2258023"/>
              <a:ext cx="326157" cy="634133"/>
            </a:xfrm>
            <a:custGeom>
              <a:avLst/>
              <a:gdLst>
                <a:gd name="connsiteX0" fmla="*/ 5790 w 359000"/>
                <a:gd name="connsiteY0" fmla="*/ 533688 h 698017"/>
                <a:gd name="connsiteX1" fmla="*/ 11612 w 359000"/>
                <a:gd name="connsiteY1" fmla="*/ 536697 h 698017"/>
                <a:gd name="connsiteX2" fmla="*/ 15510 w 359000"/>
                <a:gd name="connsiteY2" fmla="*/ 541286 h 698017"/>
                <a:gd name="connsiteX3" fmla="*/ 19408 w 359000"/>
                <a:gd name="connsiteY3" fmla="*/ 536697 h 698017"/>
                <a:gd name="connsiteX4" fmla="*/ 17484 w 359000"/>
                <a:gd name="connsiteY4" fmla="*/ 516961 h 698017"/>
                <a:gd name="connsiteX5" fmla="*/ 11612 w 359000"/>
                <a:gd name="connsiteY5" fmla="*/ 509313 h 698017"/>
                <a:gd name="connsiteX6" fmla="*/ 15510 w 359000"/>
                <a:gd name="connsiteY6" fmla="*/ 503245 h 698017"/>
                <a:gd name="connsiteX7" fmla="*/ 19408 w 359000"/>
                <a:gd name="connsiteY7" fmla="*/ 501715 h 698017"/>
                <a:gd name="connsiteX8" fmla="*/ 15510 w 359000"/>
                <a:gd name="connsiteY8" fmla="*/ 494166 h 698017"/>
                <a:gd name="connsiteX9" fmla="*/ 17484 w 359000"/>
                <a:gd name="connsiteY9" fmla="*/ 491107 h 698017"/>
                <a:gd name="connsiteX10" fmla="*/ 29177 w 359000"/>
                <a:gd name="connsiteY10" fmla="*/ 489577 h 698017"/>
                <a:gd name="connsiteX11" fmla="*/ 31102 w 359000"/>
                <a:gd name="connsiteY11" fmla="*/ 484989 h 698017"/>
                <a:gd name="connsiteX12" fmla="*/ 31102 w 359000"/>
                <a:gd name="connsiteY12" fmla="*/ 478920 h 698017"/>
                <a:gd name="connsiteX13" fmla="*/ 34999 w 359000"/>
                <a:gd name="connsiteY13" fmla="*/ 468262 h 698017"/>
                <a:gd name="connsiteX14" fmla="*/ 31102 w 359000"/>
                <a:gd name="connsiteY14" fmla="*/ 463723 h 698017"/>
                <a:gd name="connsiteX15" fmla="*/ 29177 w 359000"/>
                <a:gd name="connsiteY15" fmla="*/ 450056 h 698017"/>
                <a:gd name="connsiteX16" fmla="*/ 21382 w 359000"/>
                <a:gd name="connsiteY16" fmla="*/ 437869 h 698017"/>
                <a:gd name="connsiteX17" fmla="*/ 23305 w 359000"/>
                <a:gd name="connsiteY17" fmla="*/ 433329 h 698017"/>
                <a:gd name="connsiteX18" fmla="*/ 38848 w 359000"/>
                <a:gd name="connsiteY18" fmla="*/ 428741 h 698017"/>
                <a:gd name="connsiteX19" fmla="*/ 38848 w 359000"/>
                <a:gd name="connsiteY19" fmla="*/ 416603 h 698017"/>
                <a:gd name="connsiteX20" fmla="*/ 40871 w 359000"/>
                <a:gd name="connsiteY20" fmla="*/ 410534 h 698017"/>
                <a:gd name="connsiteX21" fmla="*/ 29177 w 359000"/>
                <a:gd name="connsiteY21" fmla="*/ 399877 h 698017"/>
                <a:gd name="connsiteX22" fmla="*/ 19309 w 359000"/>
                <a:gd name="connsiteY22" fmla="*/ 395337 h 698017"/>
                <a:gd name="connsiteX23" fmla="*/ 19309 w 359000"/>
                <a:gd name="connsiteY23" fmla="*/ 383397 h 698017"/>
                <a:gd name="connsiteX24" fmla="*/ 21283 w 359000"/>
                <a:gd name="connsiteY24" fmla="*/ 372739 h 698017"/>
                <a:gd name="connsiteX25" fmla="*/ 19309 w 359000"/>
                <a:gd name="connsiteY25" fmla="*/ 359072 h 698017"/>
                <a:gd name="connsiteX26" fmla="*/ 15411 w 359000"/>
                <a:gd name="connsiteY26" fmla="*/ 351474 h 698017"/>
                <a:gd name="connsiteX27" fmla="*/ 19309 w 359000"/>
                <a:gd name="connsiteY27" fmla="*/ 342346 h 698017"/>
                <a:gd name="connsiteX28" fmla="*/ 17385 w 359000"/>
                <a:gd name="connsiteY28" fmla="*/ 325619 h 698017"/>
                <a:gd name="connsiteX29" fmla="*/ 13487 w 359000"/>
                <a:gd name="connsiteY29" fmla="*/ 308893 h 698017"/>
                <a:gd name="connsiteX30" fmla="*/ 17385 w 359000"/>
                <a:gd name="connsiteY30" fmla="*/ 296706 h 698017"/>
                <a:gd name="connsiteX31" fmla="*/ 23207 w 359000"/>
                <a:gd name="connsiteY31" fmla="*/ 283039 h 698017"/>
                <a:gd name="connsiteX32" fmla="*/ 31003 w 359000"/>
                <a:gd name="connsiteY32" fmla="*/ 278499 h 698017"/>
                <a:gd name="connsiteX33" fmla="*/ 40871 w 359000"/>
                <a:gd name="connsiteY33" fmla="*/ 281509 h 698017"/>
                <a:gd name="connsiteX34" fmla="*/ 54390 w 359000"/>
                <a:gd name="connsiteY34" fmla="*/ 281509 h 698017"/>
                <a:gd name="connsiteX35" fmla="*/ 60213 w 359000"/>
                <a:gd name="connsiteY35" fmla="*/ 273911 h 698017"/>
                <a:gd name="connsiteX36" fmla="*/ 58239 w 359000"/>
                <a:gd name="connsiteY36" fmla="*/ 263253 h 698017"/>
                <a:gd name="connsiteX37" fmla="*/ 56314 w 359000"/>
                <a:gd name="connsiteY37" fmla="*/ 257184 h 698017"/>
                <a:gd name="connsiteX38" fmla="*/ 56314 w 359000"/>
                <a:gd name="connsiteY38" fmla="*/ 251115 h 698017"/>
                <a:gd name="connsiteX39" fmla="*/ 68008 w 359000"/>
                <a:gd name="connsiteY39" fmla="*/ 225261 h 698017"/>
                <a:gd name="connsiteX40" fmla="*/ 68008 w 359000"/>
                <a:gd name="connsiteY40" fmla="*/ 211594 h 698017"/>
                <a:gd name="connsiteX41" fmla="*/ 71857 w 359000"/>
                <a:gd name="connsiteY41" fmla="*/ 196397 h 698017"/>
                <a:gd name="connsiteX42" fmla="*/ 73830 w 359000"/>
                <a:gd name="connsiteY42" fmla="*/ 188799 h 698017"/>
                <a:gd name="connsiteX43" fmla="*/ 73830 w 359000"/>
                <a:gd name="connsiteY43" fmla="*/ 179621 h 698017"/>
                <a:gd name="connsiteX44" fmla="*/ 69932 w 359000"/>
                <a:gd name="connsiteY44" fmla="*/ 175082 h 698017"/>
                <a:gd name="connsiteX45" fmla="*/ 69932 w 359000"/>
                <a:gd name="connsiteY45" fmla="*/ 168766 h 698017"/>
                <a:gd name="connsiteX46" fmla="*/ 81626 w 359000"/>
                <a:gd name="connsiteY46" fmla="*/ 162648 h 698017"/>
                <a:gd name="connsiteX47" fmla="*/ 93320 w 359000"/>
                <a:gd name="connsiteY47" fmla="*/ 161168 h 698017"/>
                <a:gd name="connsiteX48" fmla="*/ 99142 w 359000"/>
                <a:gd name="connsiteY48" fmla="*/ 156579 h 698017"/>
                <a:gd name="connsiteX49" fmla="*/ 99142 w 359000"/>
                <a:gd name="connsiteY49" fmla="*/ 149030 h 698017"/>
                <a:gd name="connsiteX50" fmla="*/ 109010 w 359000"/>
                <a:gd name="connsiteY50" fmla="*/ 135314 h 698017"/>
                <a:gd name="connsiteX51" fmla="*/ 120654 w 359000"/>
                <a:gd name="connsiteY51" fmla="*/ 123127 h 698017"/>
                <a:gd name="connsiteX52" fmla="*/ 124552 w 359000"/>
                <a:gd name="connsiteY52" fmla="*/ 115528 h 698017"/>
                <a:gd name="connsiteX53" fmla="*/ 120654 w 359000"/>
                <a:gd name="connsiteY53" fmla="*/ 107979 h 698017"/>
                <a:gd name="connsiteX54" fmla="*/ 116756 w 359000"/>
                <a:gd name="connsiteY54" fmla="*/ 103390 h 698017"/>
                <a:gd name="connsiteX55" fmla="*/ 116756 w 359000"/>
                <a:gd name="connsiteY55" fmla="*/ 88194 h 698017"/>
                <a:gd name="connsiteX56" fmla="*/ 120654 w 359000"/>
                <a:gd name="connsiteY56" fmla="*/ 86664 h 698017"/>
                <a:gd name="connsiteX57" fmla="*/ 124552 w 359000"/>
                <a:gd name="connsiteY57" fmla="*/ 82075 h 698017"/>
                <a:gd name="connsiteX58" fmla="*/ 126476 w 359000"/>
                <a:gd name="connsiteY58" fmla="*/ 72997 h 698017"/>
                <a:gd name="connsiteX59" fmla="*/ 130424 w 359000"/>
                <a:gd name="connsiteY59" fmla="*/ 71467 h 698017"/>
                <a:gd name="connsiteX60" fmla="*/ 136246 w 359000"/>
                <a:gd name="connsiteY60" fmla="*/ 60810 h 698017"/>
                <a:gd name="connsiteX61" fmla="*/ 142117 w 359000"/>
                <a:gd name="connsiteY61" fmla="*/ 56221 h 698017"/>
                <a:gd name="connsiteX62" fmla="*/ 151985 w 359000"/>
                <a:gd name="connsiteY62" fmla="*/ 59280 h 698017"/>
                <a:gd name="connsiteX63" fmla="*/ 155883 w 359000"/>
                <a:gd name="connsiteY63" fmla="*/ 62339 h 698017"/>
                <a:gd name="connsiteX64" fmla="*/ 159732 w 359000"/>
                <a:gd name="connsiteY64" fmla="*/ 62339 h 698017"/>
                <a:gd name="connsiteX65" fmla="*/ 165603 w 359000"/>
                <a:gd name="connsiteY65" fmla="*/ 57751 h 698017"/>
                <a:gd name="connsiteX66" fmla="*/ 161705 w 359000"/>
                <a:gd name="connsiteY66" fmla="*/ 51682 h 698017"/>
                <a:gd name="connsiteX67" fmla="*/ 165603 w 359000"/>
                <a:gd name="connsiteY67" fmla="*/ 47142 h 698017"/>
                <a:gd name="connsiteX68" fmla="*/ 165603 w 359000"/>
                <a:gd name="connsiteY68" fmla="*/ 44083 h 698017"/>
                <a:gd name="connsiteX69" fmla="*/ 167528 w 359000"/>
                <a:gd name="connsiteY69" fmla="*/ 41024 h 698017"/>
                <a:gd name="connsiteX70" fmla="*/ 161705 w 359000"/>
                <a:gd name="connsiteY70" fmla="*/ 33426 h 698017"/>
                <a:gd name="connsiteX71" fmla="*/ 165603 w 359000"/>
                <a:gd name="connsiteY71" fmla="*/ 31946 h 698017"/>
                <a:gd name="connsiteX72" fmla="*/ 175472 w 359000"/>
                <a:gd name="connsiteY72" fmla="*/ 31946 h 698017"/>
                <a:gd name="connsiteX73" fmla="*/ 183267 w 359000"/>
                <a:gd name="connsiteY73" fmla="*/ 28886 h 698017"/>
                <a:gd name="connsiteX74" fmla="*/ 194961 w 359000"/>
                <a:gd name="connsiteY74" fmla="*/ 31946 h 698017"/>
                <a:gd name="connsiteX75" fmla="*/ 202756 w 359000"/>
                <a:gd name="connsiteY75" fmla="*/ 34955 h 698017"/>
                <a:gd name="connsiteX76" fmla="*/ 210552 w 359000"/>
                <a:gd name="connsiteY76" fmla="*/ 36485 h 698017"/>
                <a:gd name="connsiteX77" fmla="*/ 216374 w 359000"/>
                <a:gd name="connsiteY77" fmla="*/ 39495 h 698017"/>
                <a:gd name="connsiteX78" fmla="*/ 220272 w 359000"/>
                <a:gd name="connsiteY78" fmla="*/ 38014 h 698017"/>
                <a:gd name="connsiteX79" fmla="*/ 222197 w 359000"/>
                <a:gd name="connsiteY79" fmla="*/ 39495 h 698017"/>
                <a:gd name="connsiteX80" fmla="*/ 222197 w 359000"/>
                <a:gd name="connsiteY80" fmla="*/ 33426 h 698017"/>
                <a:gd name="connsiteX81" fmla="*/ 218299 w 359000"/>
                <a:gd name="connsiteY81" fmla="*/ 28886 h 698017"/>
                <a:gd name="connsiteX82" fmla="*/ 220272 w 359000"/>
                <a:gd name="connsiteY82" fmla="*/ 18229 h 698017"/>
                <a:gd name="connsiteX83" fmla="*/ 226095 w 359000"/>
                <a:gd name="connsiteY83" fmla="*/ 15170 h 698017"/>
                <a:gd name="connsiteX84" fmla="*/ 224170 w 359000"/>
                <a:gd name="connsiteY84" fmla="*/ 9101 h 698017"/>
                <a:gd name="connsiteX85" fmla="*/ 218299 w 359000"/>
                <a:gd name="connsiteY85" fmla="*/ 6091 h 698017"/>
                <a:gd name="connsiteX86" fmla="*/ 218299 w 359000"/>
                <a:gd name="connsiteY86" fmla="*/ -27 h 698017"/>
                <a:gd name="connsiteX87" fmla="*/ 226095 w 359000"/>
                <a:gd name="connsiteY87" fmla="*/ 3032 h 698017"/>
                <a:gd name="connsiteX88" fmla="*/ 233890 w 359000"/>
                <a:gd name="connsiteY88" fmla="*/ 1503 h 698017"/>
                <a:gd name="connsiteX89" fmla="*/ 235864 w 359000"/>
                <a:gd name="connsiteY89" fmla="*/ -27 h 698017"/>
                <a:gd name="connsiteX90" fmla="*/ 241686 w 359000"/>
                <a:gd name="connsiteY90" fmla="*/ 6091 h 698017"/>
                <a:gd name="connsiteX91" fmla="*/ 251554 w 359000"/>
                <a:gd name="connsiteY91" fmla="*/ 9101 h 698017"/>
                <a:gd name="connsiteX92" fmla="*/ 263248 w 359000"/>
                <a:gd name="connsiteY92" fmla="*/ 22818 h 698017"/>
                <a:gd name="connsiteX93" fmla="*/ 273116 w 359000"/>
                <a:gd name="connsiteY93" fmla="*/ 28886 h 698017"/>
                <a:gd name="connsiteX94" fmla="*/ 288707 w 359000"/>
                <a:gd name="connsiteY94" fmla="*/ 30416 h 698017"/>
                <a:gd name="connsiteX95" fmla="*/ 292605 w 359000"/>
                <a:gd name="connsiteY95" fmla="*/ 31946 h 698017"/>
                <a:gd name="connsiteX96" fmla="*/ 298477 w 359000"/>
                <a:gd name="connsiteY96" fmla="*/ 33426 h 698017"/>
                <a:gd name="connsiteX97" fmla="*/ 304299 w 359000"/>
                <a:gd name="connsiteY97" fmla="*/ 39495 h 698017"/>
                <a:gd name="connsiteX98" fmla="*/ 306223 w 359000"/>
                <a:gd name="connsiteY98" fmla="*/ 45613 h 698017"/>
                <a:gd name="connsiteX99" fmla="*/ 312095 w 359000"/>
                <a:gd name="connsiteY99" fmla="*/ 45613 h 698017"/>
                <a:gd name="connsiteX100" fmla="*/ 319891 w 359000"/>
                <a:gd name="connsiteY100" fmla="*/ 53211 h 698017"/>
                <a:gd name="connsiteX101" fmla="*/ 323739 w 359000"/>
                <a:gd name="connsiteY101" fmla="*/ 54741 h 698017"/>
                <a:gd name="connsiteX102" fmla="*/ 327637 w 359000"/>
                <a:gd name="connsiteY102" fmla="*/ 57751 h 698017"/>
                <a:gd name="connsiteX103" fmla="*/ 325713 w 359000"/>
                <a:gd name="connsiteY103" fmla="*/ 63869 h 698017"/>
                <a:gd name="connsiteX104" fmla="*/ 327637 w 359000"/>
                <a:gd name="connsiteY104" fmla="*/ 71467 h 698017"/>
                <a:gd name="connsiteX105" fmla="*/ 323739 w 359000"/>
                <a:gd name="connsiteY105" fmla="*/ 80546 h 698017"/>
                <a:gd name="connsiteX106" fmla="*/ 323739 w 359000"/>
                <a:gd name="connsiteY106" fmla="*/ 86664 h 698017"/>
                <a:gd name="connsiteX107" fmla="*/ 333607 w 359000"/>
                <a:gd name="connsiteY107" fmla="*/ 86664 h 698017"/>
                <a:gd name="connsiteX108" fmla="*/ 335531 w 359000"/>
                <a:gd name="connsiteY108" fmla="*/ 92733 h 698017"/>
                <a:gd name="connsiteX109" fmla="*/ 331683 w 359000"/>
                <a:gd name="connsiteY109" fmla="*/ 97272 h 698017"/>
                <a:gd name="connsiteX110" fmla="*/ 333607 w 359000"/>
                <a:gd name="connsiteY110" fmla="*/ 107979 h 698017"/>
                <a:gd name="connsiteX111" fmla="*/ 337505 w 359000"/>
                <a:gd name="connsiteY111" fmla="*/ 112518 h 698017"/>
                <a:gd name="connsiteX112" fmla="*/ 339429 w 359000"/>
                <a:gd name="connsiteY112" fmla="*/ 121597 h 698017"/>
                <a:gd name="connsiteX113" fmla="*/ 337505 w 359000"/>
                <a:gd name="connsiteY113" fmla="*/ 129245 h 698017"/>
                <a:gd name="connsiteX114" fmla="*/ 339429 w 359000"/>
                <a:gd name="connsiteY114" fmla="*/ 133784 h 698017"/>
                <a:gd name="connsiteX115" fmla="*/ 339429 w 359000"/>
                <a:gd name="connsiteY115" fmla="*/ 144442 h 698017"/>
                <a:gd name="connsiteX116" fmla="*/ 337505 w 359000"/>
                <a:gd name="connsiteY116" fmla="*/ 149030 h 698017"/>
                <a:gd name="connsiteX117" fmla="*/ 339429 w 359000"/>
                <a:gd name="connsiteY117" fmla="*/ 158109 h 698017"/>
                <a:gd name="connsiteX118" fmla="*/ 347225 w 359000"/>
                <a:gd name="connsiteY118" fmla="*/ 161168 h 698017"/>
                <a:gd name="connsiteX119" fmla="*/ 355021 w 359000"/>
                <a:gd name="connsiteY119" fmla="*/ 171825 h 698017"/>
                <a:gd name="connsiteX120" fmla="*/ 358919 w 359000"/>
                <a:gd name="connsiteY120" fmla="*/ 174835 h 698017"/>
                <a:gd name="connsiteX121" fmla="*/ 356945 w 359000"/>
                <a:gd name="connsiteY121" fmla="*/ 182434 h 698017"/>
                <a:gd name="connsiteX122" fmla="*/ 356945 w 359000"/>
                <a:gd name="connsiteY122" fmla="*/ 182434 h 698017"/>
                <a:gd name="connsiteX123" fmla="*/ 353047 w 359000"/>
                <a:gd name="connsiteY123" fmla="*/ 185493 h 698017"/>
                <a:gd name="connsiteX124" fmla="*/ 345301 w 359000"/>
                <a:gd name="connsiteY124" fmla="*/ 183963 h 698017"/>
                <a:gd name="connsiteX125" fmla="*/ 341354 w 359000"/>
                <a:gd name="connsiteY125" fmla="*/ 179375 h 698017"/>
                <a:gd name="connsiteX126" fmla="*/ 333607 w 359000"/>
                <a:gd name="connsiteY126" fmla="*/ 185493 h 698017"/>
                <a:gd name="connsiteX127" fmla="*/ 327736 w 359000"/>
                <a:gd name="connsiteY127" fmla="*/ 182434 h 698017"/>
                <a:gd name="connsiteX128" fmla="*/ 325811 w 359000"/>
                <a:gd name="connsiteY128" fmla="*/ 187022 h 698017"/>
                <a:gd name="connsiteX129" fmla="*/ 319989 w 359000"/>
                <a:gd name="connsiteY129" fmla="*/ 185493 h 698017"/>
                <a:gd name="connsiteX130" fmla="*/ 314118 w 359000"/>
                <a:gd name="connsiteY130" fmla="*/ 179375 h 698017"/>
                <a:gd name="connsiteX131" fmla="*/ 310220 w 359000"/>
                <a:gd name="connsiteY131" fmla="*/ 185493 h 698017"/>
                <a:gd name="connsiteX132" fmla="*/ 306322 w 359000"/>
                <a:gd name="connsiteY132" fmla="*/ 177894 h 698017"/>
                <a:gd name="connsiteX133" fmla="*/ 302424 w 359000"/>
                <a:gd name="connsiteY133" fmla="*/ 182434 h 698017"/>
                <a:gd name="connsiteX134" fmla="*/ 300500 w 359000"/>
                <a:gd name="connsiteY134" fmla="*/ 187022 h 698017"/>
                <a:gd name="connsiteX135" fmla="*/ 298575 w 359000"/>
                <a:gd name="connsiteY135" fmla="*/ 191562 h 698017"/>
                <a:gd name="connsiteX136" fmla="*/ 294628 w 359000"/>
                <a:gd name="connsiteY136" fmla="*/ 193091 h 698017"/>
                <a:gd name="connsiteX137" fmla="*/ 290780 w 359000"/>
                <a:gd name="connsiteY137" fmla="*/ 190081 h 698017"/>
                <a:gd name="connsiteX138" fmla="*/ 286882 w 359000"/>
                <a:gd name="connsiteY138" fmla="*/ 188552 h 698017"/>
                <a:gd name="connsiteX139" fmla="*/ 290780 w 359000"/>
                <a:gd name="connsiteY139" fmla="*/ 196150 h 698017"/>
                <a:gd name="connsiteX140" fmla="*/ 294628 w 359000"/>
                <a:gd name="connsiteY140" fmla="*/ 199160 h 698017"/>
                <a:gd name="connsiteX141" fmla="*/ 288806 w 359000"/>
                <a:gd name="connsiteY141" fmla="*/ 202219 h 698017"/>
                <a:gd name="connsiteX142" fmla="*/ 281011 w 359000"/>
                <a:gd name="connsiteY142" fmla="*/ 202219 h 698017"/>
                <a:gd name="connsiteX143" fmla="*/ 277113 w 359000"/>
                <a:gd name="connsiteY143" fmla="*/ 205229 h 698017"/>
                <a:gd name="connsiteX144" fmla="*/ 284908 w 359000"/>
                <a:gd name="connsiteY144" fmla="*/ 208288 h 698017"/>
                <a:gd name="connsiteX145" fmla="*/ 284908 w 359000"/>
                <a:gd name="connsiteY145" fmla="*/ 212877 h 698017"/>
                <a:gd name="connsiteX146" fmla="*/ 279086 w 359000"/>
                <a:gd name="connsiteY146" fmla="*/ 212877 h 698017"/>
                <a:gd name="connsiteX147" fmla="*/ 279086 w 359000"/>
                <a:gd name="connsiteY147" fmla="*/ 211347 h 698017"/>
                <a:gd name="connsiteX148" fmla="*/ 275188 w 359000"/>
                <a:gd name="connsiteY148" fmla="*/ 209818 h 698017"/>
                <a:gd name="connsiteX149" fmla="*/ 273214 w 359000"/>
                <a:gd name="connsiteY149" fmla="*/ 211347 h 698017"/>
                <a:gd name="connsiteX150" fmla="*/ 275188 w 359000"/>
                <a:gd name="connsiteY150" fmla="*/ 215886 h 698017"/>
                <a:gd name="connsiteX151" fmla="*/ 279086 w 359000"/>
                <a:gd name="connsiteY151" fmla="*/ 215886 h 698017"/>
                <a:gd name="connsiteX152" fmla="*/ 284908 w 359000"/>
                <a:gd name="connsiteY152" fmla="*/ 218946 h 698017"/>
                <a:gd name="connsiteX153" fmla="*/ 281011 w 359000"/>
                <a:gd name="connsiteY153" fmla="*/ 221955 h 698017"/>
                <a:gd name="connsiteX154" fmla="*/ 277113 w 359000"/>
                <a:gd name="connsiteY154" fmla="*/ 234142 h 698017"/>
                <a:gd name="connsiteX155" fmla="*/ 277113 w 359000"/>
                <a:gd name="connsiteY155" fmla="*/ 238682 h 698017"/>
                <a:gd name="connsiteX156" fmla="*/ 269317 w 359000"/>
                <a:gd name="connsiteY156" fmla="*/ 240211 h 698017"/>
                <a:gd name="connsiteX157" fmla="*/ 277113 w 359000"/>
                <a:gd name="connsiteY157" fmla="*/ 243270 h 698017"/>
                <a:gd name="connsiteX158" fmla="*/ 281011 w 359000"/>
                <a:gd name="connsiteY158" fmla="*/ 244750 h 698017"/>
                <a:gd name="connsiteX159" fmla="*/ 284908 w 359000"/>
                <a:gd name="connsiteY159" fmla="*/ 249339 h 698017"/>
                <a:gd name="connsiteX160" fmla="*/ 279086 w 359000"/>
                <a:gd name="connsiteY160" fmla="*/ 249339 h 698017"/>
                <a:gd name="connsiteX161" fmla="*/ 284908 w 359000"/>
                <a:gd name="connsiteY161" fmla="*/ 253928 h 698017"/>
                <a:gd name="connsiteX162" fmla="*/ 290780 w 359000"/>
                <a:gd name="connsiteY162" fmla="*/ 253928 h 698017"/>
                <a:gd name="connsiteX163" fmla="*/ 280912 w 359000"/>
                <a:gd name="connsiteY163" fmla="*/ 263006 h 698017"/>
                <a:gd name="connsiteX164" fmla="*/ 276422 w 359000"/>
                <a:gd name="connsiteY164" fmla="*/ 263006 h 698017"/>
                <a:gd name="connsiteX165" fmla="*/ 272524 w 359000"/>
                <a:gd name="connsiteY165" fmla="*/ 269125 h 698017"/>
                <a:gd name="connsiteX166" fmla="*/ 272524 w 359000"/>
                <a:gd name="connsiteY166" fmla="*/ 278253 h 698017"/>
                <a:gd name="connsiteX167" fmla="*/ 266702 w 359000"/>
                <a:gd name="connsiteY167" fmla="*/ 288910 h 698017"/>
                <a:gd name="connsiteX168" fmla="*/ 262804 w 359000"/>
                <a:gd name="connsiteY168" fmla="*/ 288910 h 698017"/>
                <a:gd name="connsiteX169" fmla="*/ 255008 w 359000"/>
                <a:gd name="connsiteY169" fmla="*/ 294979 h 698017"/>
                <a:gd name="connsiteX170" fmla="*/ 251110 w 359000"/>
                <a:gd name="connsiteY170" fmla="*/ 290390 h 698017"/>
                <a:gd name="connsiteX171" fmla="*/ 251110 w 359000"/>
                <a:gd name="connsiteY171" fmla="*/ 296459 h 698017"/>
                <a:gd name="connsiteX172" fmla="*/ 253084 w 359000"/>
                <a:gd name="connsiteY172" fmla="*/ 301048 h 698017"/>
                <a:gd name="connsiteX173" fmla="*/ 243216 w 359000"/>
                <a:gd name="connsiteY173" fmla="*/ 305587 h 698017"/>
                <a:gd name="connsiteX174" fmla="*/ 239268 w 359000"/>
                <a:gd name="connsiteY174" fmla="*/ 313235 h 698017"/>
                <a:gd name="connsiteX175" fmla="*/ 235420 w 359000"/>
                <a:gd name="connsiteY175" fmla="*/ 313235 h 698017"/>
                <a:gd name="connsiteX176" fmla="*/ 235420 w 359000"/>
                <a:gd name="connsiteY176" fmla="*/ 307117 h 698017"/>
                <a:gd name="connsiteX177" fmla="*/ 229598 w 359000"/>
                <a:gd name="connsiteY177" fmla="*/ 307117 h 698017"/>
                <a:gd name="connsiteX178" fmla="*/ 225650 w 359000"/>
                <a:gd name="connsiteY178" fmla="*/ 314715 h 698017"/>
                <a:gd name="connsiteX179" fmla="*/ 225650 w 359000"/>
                <a:gd name="connsiteY179" fmla="*/ 320784 h 698017"/>
                <a:gd name="connsiteX180" fmla="*/ 221753 w 359000"/>
                <a:gd name="connsiteY180" fmla="*/ 323843 h 698017"/>
                <a:gd name="connsiteX181" fmla="*/ 219828 w 359000"/>
                <a:gd name="connsiteY181" fmla="*/ 320784 h 698017"/>
                <a:gd name="connsiteX182" fmla="*/ 215930 w 359000"/>
                <a:gd name="connsiteY182" fmla="*/ 320784 h 698017"/>
                <a:gd name="connsiteX183" fmla="*/ 212032 w 359000"/>
                <a:gd name="connsiteY183" fmla="*/ 326853 h 698017"/>
                <a:gd name="connsiteX184" fmla="*/ 210109 w 359000"/>
                <a:gd name="connsiteY184" fmla="*/ 326853 h 698017"/>
                <a:gd name="connsiteX185" fmla="*/ 206161 w 359000"/>
                <a:gd name="connsiteY185" fmla="*/ 323843 h 698017"/>
                <a:gd name="connsiteX186" fmla="*/ 202312 w 359000"/>
                <a:gd name="connsiteY186" fmla="*/ 328432 h 698017"/>
                <a:gd name="connsiteX187" fmla="*/ 200339 w 359000"/>
                <a:gd name="connsiteY187" fmla="*/ 332971 h 698017"/>
                <a:gd name="connsiteX188" fmla="*/ 204237 w 359000"/>
                <a:gd name="connsiteY188" fmla="*/ 334501 h 698017"/>
                <a:gd name="connsiteX189" fmla="*/ 204237 w 359000"/>
                <a:gd name="connsiteY189" fmla="*/ 337510 h 698017"/>
                <a:gd name="connsiteX190" fmla="*/ 194369 w 359000"/>
                <a:gd name="connsiteY190" fmla="*/ 345109 h 698017"/>
                <a:gd name="connsiteX191" fmla="*/ 188546 w 359000"/>
                <a:gd name="connsiteY191" fmla="*/ 345109 h 698017"/>
                <a:gd name="connsiteX192" fmla="*/ 186573 w 359000"/>
                <a:gd name="connsiteY192" fmla="*/ 348168 h 698017"/>
                <a:gd name="connsiteX193" fmla="*/ 190471 w 359000"/>
                <a:gd name="connsiteY193" fmla="*/ 352757 h 698017"/>
                <a:gd name="connsiteX194" fmla="*/ 184649 w 359000"/>
                <a:gd name="connsiteY194" fmla="*/ 358825 h 698017"/>
                <a:gd name="connsiteX195" fmla="*/ 172906 w 359000"/>
                <a:gd name="connsiteY195" fmla="*/ 360355 h 698017"/>
                <a:gd name="connsiteX196" fmla="*/ 167083 w 359000"/>
                <a:gd name="connsiteY196" fmla="*/ 358825 h 698017"/>
                <a:gd name="connsiteX197" fmla="*/ 174879 w 359000"/>
                <a:gd name="connsiteY197" fmla="*/ 369483 h 698017"/>
                <a:gd name="connsiteX198" fmla="*/ 176853 w 359000"/>
                <a:gd name="connsiteY198" fmla="*/ 377081 h 698017"/>
                <a:gd name="connsiteX199" fmla="*/ 174879 w 359000"/>
                <a:gd name="connsiteY199" fmla="*/ 378562 h 698017"/>
                <a:gd name="connsiteX200" fmla="*/ 174879 w 359000"/>
                <a:gd name="connsiteY200" fmla="*/ 384630 h 698017"/>
                <a:gd name="connsiteX201" fmla="*/ 172906 w 359000"/>
                <a:gd name="connsiteY201" fmla="*/ 395337 h 698017"/>
                <a:gd name="connsiteX202" fmla="*/ 178777 w 359000"/>
                <a:gd name="connsiteY202" fmla="*/ 399877 h 698017"/>
                <a:gd name="connsiteX203" fmla="*/ 178777 w 359000"/>
                <a:gd name="connsiteY203" fmla="*/ 405945 h 698017"/>
                <a:gd name="connsiteX204" fmla="*/ 172906 w 359000"/>
                <a:gd name="connsiteY204" fmla="*/ 402886 h 698017"/>
                <a:gd name="connsiteX205" fmla="*/ 172906 w 359000"/>
                <a:gd name="connsiteY205" fmla="*/ 404416 h 698017"/>
                <a:gd name="connsiteX206" fmla="*/ 174879 w 359000"/>
                <a:gd name="connsiteY206" fmla="*/ 413544 h 698017"/>
                <a:gd name="connsiteX207" fmla="*/ 169057 w 359000"/>
                <a:gd name="connsiteY207" fmla="*/ 419613 h 698017"/>
                <a:gd name="connsiteX208" fmla="*/ 174879 w 359000"/>
                <a:gd name="connsiteY208" fmla="*/ 421142 h 698017"/>
                <a:gd name="connsiteX209" fmla="*/ 174879 w 359000"/>
                <a:gd name="connsiteY209" fmla="*/ 425682 h 698017"/>
                <a:gd name="connsiteX210" fmla="*/ 170981 w 359000"/>
                <a:gd name="connsiteY210" fmla="*/ 427211 h 698017"/>
                <a:gd name="connsiteX211" fmla="*/ 174879 w 359000"/>
                <a:gd name="connsiteY211" fmla="*/ 433329 h 698017"/>
                <a:gd name="connsiteX212" fmla="*/ 170981 w 359000"/>
                <a:gd name="connsiteY212" fmla="*/ 437869 h 698017"/>
                <a:gd name="connsiteX213" fmla="*/ 174879 w 359000"/>
                <a:gd name="connsiteY213" fmla="*/ 442457 h 698017"/>
                <a:gd name="connsiteX214" fmla="*/ 176853 w 359000"/>
                <a:gd name="connsiteY214" fmla="*/ 446997 h 698017"/>
                <a:gd name="connsiteX215" fmla="*/ 184649 w 359000"/>
                <a:gd name="connsiteY215" fmla="*/ 448526 h 698017"/>
                <a:gd name="connsiteX216" fmla="*/ 184649 w 359000"/>
                <a:gd name="connsiteY216" fmla="*/ 454595 h 698017"/>
                <a:gd name="connsiteX217" fmla="*/ 186573 w 359000"/>
                <a:gd name="connsiteY217" fmla="*/ 453115 h 698017"/>
                <a:gd name="connsiteX218" fmla="*/ 190471 w 359000"/>
                <a:gd name="connsiteY218" fmla="*/ 457654 h 698017"/>
                <a:gd name="connsiteX219" fmla="*/ 196342 w 359000"/>
                <a:gd name="connsiteY219" fmla="*/ 451585 h 698017"/>
                <a:gd name="connsiteX220" fmla="*/ 202164 w 359000"/>
                <a:gd name="connsiteY220" fmla="*/ 454595 h 698017"/>
                <a:gd name="connsiteX221" fmla="*/ 202164 w 359000"/>
                <a:gd name="connsiteY221" fmla="*/ 459184 h 698017"/>
                <a:gd name="connsiteX222" fmla="*/ 215782 w 359000"/>
                <a:gd name="connsiteY222" fmla="*/ 468262 h 698017"/>
                <a:gd name="connsiteX223" fmla="*/ 215782 w 359000"/>
                <a:gd name="connsiteY223" fmla="*/ 472851 h 698017"/>
                <a:gd name="connsiteX224" fmla="*/ 225650 w 359000"/>
                <a:gd name="connsiteY224" fmla="*/ 477440 h 698017"/>
                <a:gd name="connsiteX225" fmla="*/ 225650 w 359000"/>
                <a:gd name="connsiteY225" fmla="*/ 482078 h 698017"/>
                <a:gd name="connsiteX226" fmla="*/ 231522 w 359000"/>
                <a:gd name="connsiteY226" fmla="*/ 488147 h 698017"/>
                <a:gd name="connsiteX227" fmla="*/ 227575 w 359000"/>
                <a:gd name="connsiteY227" fmla="*/ 495745 h 698017"/>
                <a:gd name="connsiteX228" fmla="*/ 219828 w 359000"/>
                <a:gd name="connsiteY228" fmla="*/ 506402 h 698017"/>
                <a:gd name="connsiteX229" fmla="*/ 215930 w 359000"/>
                <a:gd name="connsiteY229" fmla="*/ 512471 h 698017"/>
                <a:gd name="connsiteX230" fmla="*/ 206062 w 359000"/>
                <a:gd name="connsiteY230" fmla="*/ 514001 h 698017"/>
                <a:gd name="connsiteX231" fmla="*/ 200240 w 359000"/>
                <a:gd name="connsiteY231" fmla="*/ 510942 h 698017"/>
                <a:gd name="connsiteX232" fmla="*/ 200240 w 359000"/>
                <a:gd name="connsiteY232" fmla="*/ 507883 h 698017"/>
                <a:gd name="connsiteX233" fmla="*/ 192444 w 359000"/>
                <a:gd name="connsiteY233" fmla="*/ 504873 h 698017"/>
                <a:gd name="connsiteX234" fmla="*/ 188596 w 359000"/>
                <a:gd name="connsiteY234" fmla="*/ 501814 h 698017"/>
                <a:gd name="connsiteX235" fmla="*/ 188596 w 359000"/>
                <a:gd name="connsiteY235" fmla="*/ 506402 h 698017"/>
                <a:gd name="connsiteX236" fmla="*/ 184698 w 359000"/>
                <a:gd name="connsiteY236" fmla="*/ 506402 h 698017"/>
                <a:gd name="connsiteX237" fmla="*/ 182724 w 359000"/>
                <a:gd name="connsiteY237" fmla="*/ 503343 h 698017"/>
                <a:gd name="connsiteX238" fmla="*/ 174929 w 359000"/>
                <a:gd name="connsiteY238" fmla="*/ 501814 h 698017"/>
                <a:gd name="connsiteX239" fmla="*/ 172955 w 359000"/>
                <a:gd name="connsiteY239" fmla="*/ 506402 h 698017"/>
                <a:gd name="connsiteX240" fmla="*/ 167133 w 359000"/>
                <a:gd name="connsiteY240" fmla="*/ 507883 h 698017"/>
                <a:gd name="connsiteX241" fmla="*/ 165208 w 359000"/>
                <a:gd name="connsiteY241" fmla="*/ 504873 h 698017"/>
                <a:gd name="connsiteX242" fmla="*/ 159337 w 359000"/>
                <a:gd name="connsiteY242" fmla="*/ 510942 h 698017"/>
                <a:gd name="connsiteX243" fmla="*/ 153515 w 359000"/>
                <a:gd name="connsiteY243" fmla="*/ 507883 h 698017"/>
                <a:gd name="connsiteX244" fmla="*/ 149617 w 359000"/>
                <a:gd name="connsiteY244" fmla="*/ 509412 h 698017"/>
                <a:gd name="connsiteX245" fmla="*/ 149617 w 359000"/>
                <a:gd name="connsiteY245" fmla="*/ 512471 h 698017"/>
                <a:gd name="connsiteX246" fmla="*/ 159485 w 359000"/>
                <a:gd name="connsiteY246" fmla="*/ 512471 h 698017"/>
                <a:gd name="connsiteX247" fmla="*/ 161458 w 359000"/>
                <a:gd name="connsiteY247" fmla="*/ 514001 h 698017"/>
                <a:gd name="connsiteX248" fmla="*/ 163432 w 359000"/>
                <a:gd name="connsiteY248" fmla="*/ 510942 h 698017"/>
                <a:gd name="connsiteX249" fmla="*/ 171179 w 359000"/>
                <a:gd name="connsiteY249" fmla="*/ 510942 h 698017"/>
                <a:gd name="connsiteX250" fmla="*/ 177050 w 359000"/>
                <a:gd name="connsiteY250" fmla="*/ 514001 h 698017"/>
                <a:gd name="connsiteX251" fmla="*/ 184846 w 359000"/>
                <a:gd name="connsiteY251" fmla="*/ 515530 h 698017"/>
                <a:gd name="connsiteX252" fmla="*/ 188744 w 359000"/>
                <a:gd name="connsiteY252" fmla="*/ 520070 h 698017"/>
                <a:gd name="connsiteX253" fmla="*/ 194566 w 359000"/>
                <a:gd name="connsiteY253" fmla="*/ 517060 h 698017"/>
                <a:gd name="connsiteX254" fmla="*/ 198464 w 359000"/>
                <a:gd name="connsiteY254" fmla="*/ 518589 h 698017"/>
                <a:gd name="connsiteX255" fmla="*/ 204286 w 359000"/>
                <a:gd name="connsiteY255" fmla="*/ 515530 h 698017"/>
                <a:gd name="connsiteX256" fmla="*/ 212082 w 359000"/>
                <a:gd name="connsiteY256" fmla="*/ 518589 h 698017"/>
                <a:gd name="connsiteX257" fmla="*/ 217904 w 359000"/>
                <a:gd name="connsiteY257" fmla="*/ 521599 h 698017"/>
                <a:gd name="connsiteX258" fmla="*/ 219878 w 359000"/>
                <a:gd name="connsiteY258" fmla="*/ 527668 h 698017"/>
                <a:gd name="connsiteX259" fmla="*/ 212082 w 359000"/>
                <a:gd name="connsiteY259" fmla="*/ 530727 h 698017"/>
                <a:gd name="connsiteX260" fmla="*/ 208184 w 359000"/>
                <a:gd name="connsiteY260" fmla="*/ 530727 h 698017"/>
                <a:gd name="connsiteX261" fmla="*/ 202362 w 359000"/>
                <a:gd name="connsiteY261" fmla="*/ 538326 h 698017"/>
                <a:gd name="connsiteX262" fmla="*/ 198464 w 359000"/>
                <a:gd name="connsiteY262" fmla="*/ 538326 h 698017"/>
                <a:gd name="connsiteX263" fmla="*/ 200388 w 359000"/>
                <a:gd name="connsiteY263" fmla="*/ 533786 h 698017"/>
                <a:gd name="connsiteX264" fmla="*/ 196540 w 359000"/>
                <a:gd name="connsiteY264" fmla="*/ 530727 h 698017"/>
                <a:gd name="connsiteX265" fmla="*/ 194566 w 359000"/>
                <a:gd name="connsiteY265" fmla="*/ 533786 h 698017"/>
                <a:gd name="connsiteX266" fmla="*/ 196540 w 359000"/>
                <a:gd name="connsiteY266" fmla="*/ 538326 h 698017"/>
                <a:gd name="connsiteX267" fmla="*/ 190668 w 359000"/>
                <a:gd name="connsiteY267" fmla="*/ 538326 h 698017"/>
                <a:gd name="connsiteX268" fmla="*/ 186770 w 359000"/>
                <a:gd name="connsiteY268" fmla="*/ 542865 h 698017"/>
                <a:gd name="connsiteX269" fmla="*/ 186770 w 359000"/>
                <a:gd name="connsiteY269" fmla="*/ 548934 h 698017"/>
                <a:gd name="connsiteX270" fmla="*/ 178974 w 359000"/>
                <a:gd name="connsiteY270" fmla="*/ 544395 h 698017"/>
                <a:gd name="connsiteX271" fmla="*/ 178974 w 359000"/>
                <a:gd name="connsiteY271" fmla="*/ 548934 h 698017"/>
                <a:gd name="connsiteX272" fmla="*/ 175076 w 359000"/>
                <a:gd name="connsiteY272" fmla="*/ 553522 h 698017"/>
                <a:gd name="connsiteX273" fmla="*/ 173103 w 359000"/>
                <a:gd name="connsiteY273" fmla="*/ 551993 h 698017"/>
                <a:gd name="connsiteX274" fmla="*/ 169255 w 359000"/>
                <a:gd name="connsiteY274" fmla="*/ 551993 h 698017"/>
                <a:gd name="connsiteX275" fmla="*/ 165356 w 359000"/>
                <a:gd name="connsiteY275" fmla="*/ 555052 h 698017"/>
                <a:gd name="connsiteX276" fmla="*/ 171179 w 359000"/>
                <a:gd name="connsiteY276" fmla="*/ 556582 h 698017"/>
                <a:gd name="connsiteX277" fmla="*/ 178974 w 359000"/>
                <a:gd name="connsiteY277" fmla="*/ 562650 h 698017"/>
                <a:gd name="connsiteX278" fmla="*/ 165356 w 359000"/>
                <a:gd name="connsiteY278" fmla="*/ 562650 h 698017"/>
                <a:gd name="connsiteX279" fmla="*/ 175225 w 359000"/>
                <a:gd name="connsiteY279" fmla="*/ 565710 h 698017"/>
                <a:gd name="connsiteX280" fmla="*/ 177198 w 359000"/>
                <a:gd name="connsiteY280" fmla="*/ 568719 h 698017"/>
                <a:gd name="connsiteX281" fmla="*/ 173251 w 359000"/>
                <a:gd name="connsiteY281" fmla="*/ 577847 h 698017"/>
                <a:gd name="connsiteX282" fmla="*/ 183119 w 359000"/>
                <a:gd name="connsiteY282" fmla="*/ 583916 h 698017"/>
                <a:gd name="connsiteX283" fmla="*/ 171425 w 359000"/>
                <a:gd name="connsiteY283" fmla="*/ 583916 h 698017"/>
                <a:gd name="connsiteX284" fmla="*/ 165603 w 359000"/>
                <a:gd name="connsiteY284" fmla="*/ 582436 h 698017"/>
                <a:gd name="connsiteX285" fmla="*/ 169501 w 359000"/>
                <a:gd name="connsiteY285" fmla="*/ 586975 h 698017"/>
                <a:gd name="connsiteX286" fmla="*/ 165603 w 359000"/>
                <a:gd name="connsiteY286" fmla="*/ 593044 h 698017"/>
                <a:gd name="connsiteX287" fmla="*/ 173350 w 359000"/>
                <a:gd name="connsiteY287" fmla="*/ 596103 h 698017"/>
                <a:gd name="connsiteX288" fmla="*/ 167528 w 359000"/>
                <a:gd name="connsiteY288" fmla="*/ 600692 h 698017"/>
                <a:gd name="connsiteX289" fmla="*/ 173350 w 359000"/>
                <a:gd name="connsiteY289" fmla="*/ 608241 h 698017"/>
                <a:gd name="connsiteX290" fmla="*/ 167528 w 359000"/>
                <a:gd name="connsiteY290" fmla="*/ 614359 h 698017"/>
                <a:gd name="connsiteX291" fmla="*/ 165603 w 359000"/>
                <a:gd name="connsiteY291" fmla="*/ 620428 h 698017"/>
                <a:gd name="connsiteX292" fmla="*/ 171425 w 359000"/>
                <a:gd name="connsiteY292" fmla="*/ 624967 h 698017"/>
                <a:gd name="connsiteX293" fmla="*/ 169501 w 359000"/>
                <a:gd name="connsiteY293" fmla="*/ 631036 h 698017"/>
                <a:gd name="connsiteX294" fmla="*/ 167528 w 359000"/>
                <a:gd name="connsiteY294" fmla="*/ 644753 h 698017"/>
                <a:gd name="connsiteX295" fmla="*/ 161705 w 359000"/>
                <a:gd name="connsiteY295" fmla="*/ 649292 h 698017"/>
                <a:gd name="connsiteX296" fmla="*/ 159732 w 359000"/>
                <a:gd name="connsiteY296" fmla="*/ 663009 h 698017"/>
                <a:gd name="connsiteX297" fmla="*/ 151985 w 359000"/>
                <a:gd name="connsiteY297" fmla="*/ 670607 h 698017"/>
                <a:gd name="connsiteX298" fmla="*/ 150012 w 359000"/>
                <a:gd name="connsiteY298" fmla="*/ 666018 h 698017"/>
                <a:gd name="connsiteX299" fmla="*/ 140144 w 359000"/>
                <a:gd name="connsiteY299" fmla="*/ 664538 h 698017"/>
                <a:gd name="connsiteX300" fmla="*/ 134272 w 359000"/>
                <a:gd name="connsiteY300" fmla="*/ 667548 h 698017"/>
                <a:gd name="connsiteX301" fmla="*/ 120654 w 359000"/>
                <a:gd name="connsiteY301" fmla="*/ 666018 h 698017"/>
                <a:gd name="connsiteX302" fmla="*/ 118730 w 359000"/>
                <a:gd name="connsiteY302" fmla="*/ 661479 h 698017"/>
                <a:gd name="connsiteX303" fmla="*/ 116756 w 359000"/>
                <a:gd name="connsiteY303" fmla="*/ 670607 h 698017"/>
                <a:gd name="connsiteX304" fmla="*/ 105063 w 359000"/>
                <a:gd name="connsiteY304" fmla="*/ 672087 h 698017"/>
                <a:gd name="connsiteX305" fmla="*/ 101214 w 359000"/>
                <a:gd name="connsiteY305" fmla="*/ 681265 h 698017"/>
                <a:gd name="connsiteX306" fmla="*/ 103138 w 359000"/>
                <a:gd name="connsiteY306" fmla="*/ 685804 h 698017"/>
                <a:gd name="connsiteX307" fmla="*/ 105063 w 359000"/>
                <a:gd name="connsiteY307" fmla="*/ 690343 h 698017"/>
                <a:gd name="connsiteX308" fmla="*/ 97316 w 359000"/>
                <a:gd name="connsiteY308" fmla="*/ 696461 h 698017"/>
                <a:gd name="connsiteX309" fmla="*/ 89520 w 359000"/>
                <a:gd name="connsiteY309" fmla="*/ 693402 h 698017"/>
                <a:gd name="connsiteX310" fmla="*/ 70031 w 359000"/>
                <a:gd name="connsiteY310" fmla="*/ 697991 h 698017"/>
                <a:gd name="connsiteX311" fmla="*/ 64258 w 359000"/>
                <a:gd name="connsiteY311" fmla="*/ 697991 h 698017"/>
                <a:gd name="connsiteX312" fmla="*/ 60360 w 359000"/>
                <a:gd name="connsiteY312" fmla="*/ 694932 h 698017"/>
                <a:gd name="connsiteX313" fmla="*/ 64258 w 359000"/>
                <a:gd name="connsiteY313" fmla="*/ 688863 h 698017"/>
                <a:gd name="connsiteX314" fmla="*/ 60360 w 359000"/>
                <a:gd name="connsiteY314" fmla="*/ 673617 h 698017"/>
                <a:gd name="connsiteX315" fmla="*/ 54538 w 359000"/>
                <a:gd name="connsiteY315" fmla="*/ 672087 h 698017"/>
                <a:gd name="connsiteX316" fmla="*/ 52565 w 359000"/>
                <a:gd name="connsiteY316" fmla="*/ 667548 h 698017"/>
                <a:gd name="connsiteX317" fmla="*/ 48666 w 359000"/>
                <a:gd name="connsiteY317" fmla="*/ 664538 h 698017"/>
                <a:gd name="connsiteX318" fmla="*/ 50640 w 359000"/>
                <a:gd name="connsiteY318" fmla="*/ 661479 h 698017"/>
                <a:gd name="connsiteX319" fmla="*/ 58387 w 359000"/>
                <a:gd name="connsiteY319" fmla="*/ 659950 h 698017"/>
                <a:gd name="connsiteX320" fmla="*/ 62334 w 359000"/>
                <a:gd name="connsiteY320" fmla="*/ 650822 h 698017"/>
                <a:gd name="connsiteX321" fmla="*/ 60360 w 359000"/>
                <a:gd name="connsiteY321" fmla="*/ 644753 h 698017"/>
                <a:gd name="connsiteX322" fmla="*/ 54538 w 359000"/>
                <a:gd name="connsiteY322" fmla="*/ 647812 h 698017"/>
                <a:gd name="connsiteX323" fmla="*/ 46742 w 359000"/>
                <a:gd name="connsiteY323" fmla="*/ 641743 h 698017"/>
                <a:gd name="connsiteX324" fmla="*/ 46742 w 359000"/>
                <a:gd name="connsiteY324" fmla="*/ 637154 h 698017"/>
                <a:gd name="connsiteX325" fmla="*/ 36874 w 359000"/>
                <a:gd name="connsiteY325" fmla="*/ 634095 h 698017"/>
                <a:gd name="connsiteX326" fmla="*/ 36874 w 359000"/>
                <a:gd name="connsiteY326" fmla="*/ 624967 h 698017"/>
                <a:gd name="connsiteX327" fmla="*/ 29128 w 359000"/>
                <a:gd name="connsiteY327" fmla="*/ 614359 h 698017"/>
                <a:gd name="connsiteX328" fmla="*/ 27154 w 359000"/>
                <a:gd name="connsiteY328" fmla="*/ 611300 h 698017"/>
                <a:gd name="connsiteX329" fmla="*/ 23256 w 359000"/>
                <a:gd name="connsiteY329" fmla="*/ 603702 h 698017"/>
                <a:gd name="connsiteX330" fmla="*/ 17434 w 359000"/>
                <a:gd name="connsiteY330" fmla="*/ 600692 h 698017"/>
                <a:gd name="connsiteX331" fmla="*/ 13536 w 359000"/>
                <a:gd name="connsiteY331" fmla="*/ 596103 h 698017"/>
                <a:gd name="connsiteX332" fmla="*/ 17434 w 359000"/>
                <a:gd name="connsiteY332" fmla="*/ 593044 h 698017"/>
                <a:gd name="connsiteX333" fmla="*/ 17434 w 359000"/>
                <a:gd name="connsiteY333" fmla="*/ 586975 h 698017"/>
                <a:gd name="connsiteX334" fmla="*/ 15460 w 359000"/>
                <a:gd name="connsiteY334" fmla="*/ 582436 h 698017"/>
                <a:gd name="connsiteX335" fmla="*/ 17434 w 359000"/>
                <a:gd name="connsiteY335" fmla="*/ 577847 h 698017"/>
                <a:gd name="connsiteX336" fmla="*/ 23256 w 359000"/>
                <a:gd name="connsiteY336" fmla="*/ 571778 h 698017"/>
                <a:gd name="connsiteX337" fmla="*/ 21332 w 359000"/>
                <a:gd name="connsiteY337" fmla="*/ 568719 h 698017"/>
                <a:gd name="connsiteX338" fmla="*/ 17434 w 359000"/>
                <a:gd name="connsiteY338" fmla="*/ 565710 h 698017"/>
                <a:gd name="connsiteX339" fmla="*/ 17434 w 359000"/>
                <a:gd name="connsiteY339" fmla="*/ 562650 h 698017"/>
                <a:gd name="connsiteX340" fmla="*/ 15460 w 359000"/>
                <a:gd name="connsiteY340" fmla="*/ 562650 h 698017"/>
                <a:gd name="connsiteX341" fmla="*/ 13536 w 359000"/>
                <a:gd name="connsiteY341" fmla="*/ 567190 h 698017"/>
                <a:gd name="connsiteX342" fmla="*/ 19359 w 359000"/>
                <a:gd name="connsiteY342" fmla="*/ 571778 h 698017"/>
                <a:gd name="connsiteX343" fmla="*/ 11562 w 359000"/>
                <a:gd name="connsiteY343" fmla="*/ 574837 h 698017"/>
                <a:gd name="connsiteX344" fmla="*/ 11562 w 359000"/>
                <a:gd name="connsiteY344" fmla="*/ 568719 h 698017"/>
                <a:gd name="connsiteX345" fmla="*/ 7714 w 359000"/>
                <a:gd name="connsiteY345" fmla="*/ 565710 h 698017"/>
                <a:gd name="connsiteX346" fmla="*/ 3767 w 359000"/>
                <a:gd name="connsiteY346" fmla="*/ 564180 h 698017"/>
                <a:gd name="connsiteX347" fmla="*/ 3767 w 359000"/>
                <a:gd name="connsiteY347" fmla="*/ 555052 h 698017"/>
                <a:gd name="connsiteX348" fmla="*/ -82 w 359000"/>
                <a:gd name="connsiteY348" fmla="*/ 548934 h 698017"/>
                <a:gd name="connsiteX349" fmla="*/ -82 w 359000"/>
                <a:gd name="connsiteY349" fmla="*/ 536796 h 698017"/>
                <a:gd name="connsiteX350" fmla="*/ 3767 w 359000"/>
                <a:gd name="connsiteY350" fmla="*/ 533786 h 698017"/>
                <a:gd name="connsiteX351" fmla="*/ 216079 w 359000"/>
                <a:gd name="connsiteY351" fmla="*/ 515432 h 698017"/>
                <a:gd name="connsiteX352" fmla="*/ 222147 w 359000"/>
                <a:gd name="connsiteY352" fmla="*/ 521550 h 698017"/>
                <a:gd name="connsiteX353" fmla="*/ 224121 w 359000"/>
                <a:gd name="connsiteY353" fmla="*/ 524609 h 698017"/>
                <a:gd name="connsiteX354" fmla="*/ 224121 w 359000"/>
                <a:gd name="connsiteY354" fmla="*/ 517011 h 698017"/>
                <a:gd name="connsiteX355" fmla="*/ 231917 w 359000"/>
                <a:gd name="connsiteY355" fmla="*/ 510892 h 698017"/>
                <a:gd name="connsiteX356" fmla="*/ 231917 w 359000"/>
                <a:gd name="connsiteY356" fmla="*/ 506353 h 698017"/>
                <a:gd name="connsiteX357" fmla="*/ 222049 w 359000"/>
                <a:gd name="connsiteY357" fmla="*/ 506353 h 698017"/>
                <a:gd name="connsiteX358" fmla="*/ 216227 w 359000"/>
                <a:gd name="connsiteY358" fmla="*/ 515481 h 698017"/>
                <a:gd name="connsiteX359" fmla="*/ 7764 w 359000"/>
                <a:gd name="connsiteY359" fmla="*/ 577749 h 698017"/>
                <a:gd name="connsiteX360" fmla="*/ 7764 w 359000"/>
                <a:gd name="connsiteY360" fmla="*/ 582337 h 698017"/>
                <a:gd name="connsiteX361" fmla="*/ 13586 w 359000"/>
                <a:gd name="connsiteY361" fmla="*/ 582337 h 698017"/>
                <a:gd name="connsiteX362" fmla="*/ 15510 w 359000"/>
                <a:gd name="connsiteY362" fmla="*/ 577749 h 698017"/>
                <a:gd name="connsiteX363" fmla="*/ 245288 w 359000"/>
                <a:gd name="connsiteY363" fmla="*/ 558012 h 698017"/>
                <a:gd name="connsiteX364" fmla="*/ 251110 w 359000"/>
                <a:gd name="connsiteY364" fmla="*/ 562552 h 698017"/>
                <a:gd name="connsiteX365" fmla="*/ 255008 w 359000"/>
                <a:gd name="connsiteY365" fmla="*/ 559542 h 698017"/>
                <a:gd name="connsiteX366" fmla="*/ 251110 w 359000"/>
                <a:gd name="connsiteY366" fmla="*/ 556483 h 698017"/>
                <a:gd name="connsiteX367" fmla="*/ 245288 w 359000"/>
                <a:gd name="connsiteY367" fmla="*/ 558012 h 698017"/>
                <a:gd name="connsiteX368" fmla="*/ 251110 w 359000"/>
                <a:gd name="connsiteY368" fmla="*/ 586876 h 698017"/>
                <a:gd name="connsiteX369" fmla="*/ 253084 w 359000"/>
                <a:gd name="connsiteY369" fmla="*/ 589886 h 698017"/>
                <a:gd name="connsiteX370" fmla="*/ 256982 w 359000"/>
                <a:gd name="connsiteY370" fmla="*/ 586876 h 698017"/>
                <a:gd name="connsiteX371" fmla="*/ 262804 w 359000"/>
                <a:gd name="connsiteY371" fmla="*/ 585347 h 698017"/>
                <a:gd name="connsiteX372" fmla="*/ 260830 w 359000"/>
                <a:gd name="connsiteY372" fmla="*/ 582337 h 698017"/>
                <a:gd name="connsiteX373" fmla="*/ 253084 w 359000"/>
                <a:gd name="connsiteY373" fmla="*/ 582337 h 698017"/>
                <a:gd name="connsiteX374" fmla="*/ 251110 w 359000"/>
                <a:gd name="connsiteY374" fmla="*/ 586876 h 698017"/>
                <a:gd name="connsiteX375" fmla="*/ 225798 w 359000"/>
                <a:gd name="connsiteY375" fmla="*/ 633997 h 698017"/>
                <a:gd name="connsiteX376" fmla="*/ 233594 w 359000"/>
                <a:gd name="connsiteY376" fmla="*/ 632467 h 698017"/>
                <a:gd name="connsiteX377" fmla="*/ 235568 w 359000"/>
                <a:gd name="connsiteY377" fmla="*/ 627928 h 698017"/>
                <a:gd name="connsiteX378" fmla="*/ 231670 w 359000"/>
                <a:gd name="connsiteY378" fmla="*/ 626398 h 698017"/>
                <a:gd name="connsiteX379" fmla="*/ 233594 w 359000"/>
                <a:gd name="connsiteY379" fmla="*/ 623388 h 698017"/>
                <a:gd name="connsiteX380" fmla="*/ 241390 w 359000"/>
                <a:gd name="connsiteY380" fmla="*/ 617320 h 698017"/>
                <a:gd name="connsiteX381" fmla="*/ 241390 w 359000"/>
                <a:gd name="connsiteY381" fmla="*/ 614260 h 698017"/>
                <a:gd name="connsiteX382" fmla="*/ 247212 w 359000"/>
                <a:gd name="connsiteY382" fmla="*/ 608142 h 698017"/>
                <a:gd name="connsiteX383" fmla="*/ 247212 w 359000"/>
                <a:gd name="connsiteY383" fmla="*/ 606662 h 698017"/>
                <a:gd name="connsiteX384" fmla="*/ 241390 w 359000"/>
                <a:gd name="connsiteY384" fmla="*/ 600494 h 698017"/>
                <a:gd name="connsiteX385" fmla="*/ 245288 w 359000"/>
                <a:gd name="connsiteY385" fmla="*/ 595906 h 698017"/>
                <a:gd name="connsiteX386" fmla="*/ 245288 w 359000"/>
                <a:gd name="connsiteY386" fmla="*/ 592847 h 698017"/>
                <a:gd name="connsiteX387" fmla="*/ 247212 w 359000"/>
                <a:gd name="connsiteY387" fmla="*/ 589788 h 698017"/>
                <a:gd name="connsiteX388" fmla="*/ 243364 w 359000"/>
                <a:gd name="connsiteY388" fmla="*/ 588307 h 698017"/>
                <a:gd name="connsiteX389" fmla="*/ 241390 w 359000"/>
                <a:gd name="connsiteY389" fmla="*/ 589788 h 698017"/>
                <a:gd name="connsiteX390" fmla="*/ 233594 w 359000"/>
                <a:gd name="connsiteY390" fmla="*/ 589788 h 698017"/>
                <a:gd name="connsiteX391" fmla="*/ 229746 w 359000"/>
                <a:gd name="connsiteY391" fmla="*/ 594376 h 698017"/>
                <a:gd name="connsiteX392" fmla="*/ 225798 w 359000"/>
                <a:gd name="connsiteY392" fmla="*/ 600494 h 698017"/>
                <a:gd name="connsiteX393" fmla="*/ 221900 w 359000"/>
                <a:gd name="connsiteY393" fmla="*/ 606563 h 698017"/>
                <a:gd name="connsiteX394" fmla="*/ 223874 w 359000"/>
                <a:gd name="connsiteY394" fmla="*/ 612632 h 698017"/>
                <a:gd name="connsiteX395" fmla="*/ 219977 w 359000"/>
                <a:gd name="connsiteY395" fmla="*/ 614162 h 698017"/>
                <a:gd name="connsiteX396" fmla="*/ 227723 w 359000"/>
                <a:gd name="connsiteY396" fmla="*/ 621760 h 698017"/>
                <a:gd name="connsiteX397" fmla="*/ 229746 w 359000"/>
                <a:gd name="connsiteY397" fmla="*/ 621760 h 698017"/>
                <a:gd name="connsiteX398" fmla="*/ 227723 w 359000"/>
                <a:gd name="connsiteY398" fmla="*/ 626300 h 698017"/>
                <a:gd name="connsiteX399" fmla="*/ 223874 w 359000"/>
                <a:gd name="connsiteY399" fmla="*/ 632368 h 698017"/>
                <a:gd name="connsiteX400" fmla="*/ 225798 w 359000"/>
                <a:gd name="connsiteY400" fmla="*/ 633898 h 698017"/>
                <a:gd name="connsiteX401" fmla="*/ 171524 w 359000"/>
                <a:gd name="connsiteY401" fmla="*/ 652252 h 698017"/>
                <a:gd name="connsiteX402" fmla="*/ 171524 w 359000"/>
                <a:gd name="connsiteY402" fmla="*/ 662910 h 698017"/>
                <a:gd name="connsiteX403" fmla="*/ 175422 w 359000"/>
                <a:gd name="connsiteY403" fmla="*/ 664439 h 698017"/>
                <a:gd name="connsiteX404" fmla="*/ 177396 w 359000"/>
                <a:gd name="connsiteY404" fmla="*/ 659851 h 698017"/>
                <a:gd name="connsiteX405" fmla="*/ 183218 w 359000"/>
                <a:gd name="connsiteY405" fmla="*/ 649193 h 698017"/>
                <a:gd name="connsiteX406" fmla="*/ 183218 w 359000"/>
                <a:gd name="connsiteY406" fmla="*/ 639967 h 698017"/>
                <a:gd name="connsiteX407" fmla="*/ 187116 w 359000"/>
                <a:gd name="connsiteY407" fmla="*/ 627780 h 698017"/>
                <a:gd name="connsiteX408" fmla="*/ 189089 w 359000"/>
                <a:gd name="connsiteY408" fmla="*/ 618652 h 698017"/>
                <a:gd name="connsiteX409" fmla="*/ 185191 w 359000"/>
                <a:gd name="connsiteY409" fmla="*/ 615642 h 698017"/>
                <a:gd name="connsiteX410" fmla="*/ 179320 w 359000"/>
                <a:gd name="connsiteY410" fmla="*/ 621711 h 698017"/>
                <a:gd name="connsiteX411" fmla="*/ 179320 w 359000"/>
                <a:gd name="connsiteY411" fmla="*/ 623240 h 698017"/>
                <a:gd name="connsiteX412" fmla="*/ 177396 w 359000"/>
                <a:gd name="connsiteY412" fmla="*/ 633849 h 698017"/>
                <a:gd name="connsiteX413" fmla="*/ 173448 w 359000"/>
                <a:gd name="connsiteY413" fmla="*/ 636908 h 69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</a:cxnLst>
              <a:rect l="l" t="t" r="r" b="b"/>
              <a:pathLst>
                <a:path w="359000" h="698017">
                  <a:moveTo>
                    <a:pt x="5790" y="533688"/>
                  </a:moveTo>
                  <a:lnTo>
                    <a:pt x="11612" y="536697"/>
                  </a:lnTo>
                  <a:lnTo>
                    <a:pt x="15510" y="541286"/>
                  </a:lnTo>
                  <a:lnTo>
                    <a:pt x="19408" y="536697"/>
                  </a:lnTo>
                  <a:lnTo>
                    <a:pt x="17484" y="516961"/>
                  </a:lnTo>
                  <a:lnTo>
                    <a:pt x="11612" y="509313"/>
                  </a:lnTo>
                  <a:lnTo>
                    <a:pt x="15510" y="503245"/>
                  </a:lnTo>
                  <a:lnTo>
                    <a:pt x="19408" y="501715"/>
                  </a:lnTo>
                  <a:lnTo>
                    <a:pt x="15510" y="494166"/>
                  </a:lnTo>
                  <a:lnTo>
                    <a:pt x="17484" y="491107"/>
                  </a:lnTo>
                  <a:lnTo>
                    <a:pt x="29177" y="489577"/>
                  </a:lnTo>
                  <a:lnTo>
                    <a:pt x="31102" y="484989"/>
                  </a:lnTo>
                  <a:lnTo>
                    <a:pt x="31102" y="478920"/>
                  </a:lnTo>
                  <a:lnTo>
                    <a:pt x="34999" y="468262"/>
                  </a:lnTo>
                  <a:lnTo>
                    <a:pt x="31102" y="463723"/>
                  </a:lnTo>
                  <a:lnTo>
                    <a:pt x="29177" y="450056"/>
                  </a:lnTo>
                  <a:lnTo>
                    <a:pt x="21382" y="437869"/>
                  </a:lnTo>
                  <a:lnTo>
                    <a:pt x="23305" y="433329"/>
                  </a:lnTo>
                  <a:lnTo>
                    <a:pt x="38848" y="428741"/>
                  </a:lnTo>
                  <a:lnTo>
                    <a:pt x="38848" y="416603"/>
                  </a:lnTo>
                  <a:lnTo>
                    <a:pt x="40871" y="410534"/>
                  </a:lnTo>
                  <a:lnTo>
                    <a:pt x="29177" y="399877"/>
                  </a:lnTo>
                  <a:lnTo>
                    <a:pt x="19309" y="395337"/>
                  </a:lnTo>
                  <a:lnTo>
                    <a:pt x="19309" y="383397"/>
                  </a:lnTo>
                  <a:lnTo>
                    <a:pt x="21283" y="372739"/>
                  </a:lnTo>
                  <a:lnTo>
                    <a:pt x="19309" y="359072"/>
                  </a:lnTo>
                  <a:lnTo>
                    <a:pt x="15411" y="351474"/>
                  </a:lnTo>
                  <a:lnTo>
                    <a:pt x="19309" y="342346"/>
                  </a:lnTo>
                  <a:lnTo>
                    <a:pt x="17385" y="325619"/>
                  </a:lnTo>
                  <a:lnTo>
                    <a:pt x="13487" y="308893"/>
                  </a:lnTo>
                  <a:lnTo>
                    <a:pt x="17385" y="296706"/>
                  </a:lnTo>
                  <a:lnTo>
                    <a:pt x="23207" y="283039"/>
                  </a:lnTo>
                  <a:lnTo>
                    <a:pt x="31003" y="278499"/>
                  </a:lnTo>
                  <a:lnTo>
                    <a:pt x="40871" y="281509"/>
                  </a:lnTo>
                  <a:lnTo>
                    <a:pt x="54390" y="281509"/>
                  </a:lnTo>
                  <a:lnTo>
                    <a:pt x="60213" y="273911"/>
                  </a:lnTo>
                  <a:lnTo>
                    <a:pt x="58239" y="263253"/>
                  </a:lnTo>
                  <a:lnTo>
                    <a:pt x="56314" y="257184"/>
                  </a:lnTo>
                  <a:lnTo>
                    <a:pt x="56314" y="251115"/>
                  </a:lnTo>
                  <a:lnTo>
                    <a:pt x="68008" y="225261"/>
                  </a:lnTo>
                  <a:lnTo>
                    <a:pt x="68008" y="211594"/>
                  </a:lnTo>
                  <a:lnTo>
                    <a:pt x="71857" y="196397"/>
                  </a:lnTo>
                  <a:lnTo>
                    <a:pt x="73830" y="188799"/>
                  </a:lnTo>
                  <a:lnTo>
                    <a:pt x="73830" y="179621"/>
                  </a:lnTo>
                  <a:lnTo>
                    <a:pt x="69932" y="175082"/>
                  </a:lnTo>
                  <a:lnTo>
                    <a:pt x="69932" y="168766"/>
                  </a:lnTo>
                  <a:lnTo>
                    <a:pt x="81626" y="162648"/>
                  </a:lnTo>
                  <a:lnTo>
                    <a:pt x="93320" y="161168"/>
                  </a:lnTo>
                  <a:lnTo>
                    <a:pt x="99142" y="156579"/>
                  </a:lnTo>
                  <a:lnTo>
                    <a:pt x="99142" y="149030"/>
                  </a:lnTo>
                  <a:lnTo>
                    <a:pt x="109010" y="135314"/>
                  </a:lnTo>
                  <a:lnTo>
                    <a:pt x="120654" y="123127"/>
                  </a:lnTo>
                  <a:lnTo>
                    <a:pt x="124552" y="115528"/>
                  </a:lnTo>
                  <a:lnTo>
                    <a:pt x="120654" y="107979"/>
                  </a:lnTo>
                  <a:lnTo>
                    <a:pt x="116756" y="103390"/>
                  </a:lnTo>
                  <a:lnTo>
                    <a:pt x="116756" y="88194"/>
                  </a:lnTo>
                  <a:lnTo>
                    <a:pt x="120654" y="86664"/>
                  </a:lnTo>
                  <a:lnTo>
                    <a:pt x="124552" y="82075"/>
                  </a:lnTo>
                  <a:lnTo>
                    <a:pt x="126476" y="72997"/>
                  </a:lnTo>
                  <a:lnTo>
                    <a:pt x="130424" y="71467"/>
                  </a:lnTo>
                  <a:lnTo>
                    <a:pt x="136246" y="60810"/>
                  </a:lnTo>
                  <a:lnTo>
                    <a:pt x="142117" y="56221"/>
                  </a:lnTo>
                  <a:lnTo>
                    <a:pt x="151985" y="59280"/>
                  </a:lnTo>
                  <a:lnTo>
                    <a:pt x="155883" y="62339"/>
                  </a:lnTo>
                  <a:lnTo>
                    <a:pt x="159732" y="62339"/>
                  </a:lnTo>
                  <a:lnTo>
                    <a:pt x="165603" y="57751"/>
                  </a:lnTo>
                  <a:lnTo>
                    <a:pt x="161705" y="51682"/>
                  </a:lnTo>
                  <a:lnTo>
                    <a:pt x="165603" y="47142"/>
                  </a:lnTo>
                  <a:lnTo>
                    <a:pt x="165603" y="44083"/>
                  </a:lnTo>
                  <a:lnTo>
                    <a:pt x="167528" y="41024"/>
                  </a:lnTo>
                  <a:lnTo>
                    <a:pt x="161705" y="33426"/>
                  </a:lnTo>
                  <a:lnTo>
                    <a:pt x="165603" y="31946"/>
                  </a:lnTo>
                  <a:lnTo>
                    <a:pt x="175472" y="31946"/>
                  </a:lnTo>
                  <a:lnTo>
                    <a:pt x="183267" y="28886"/>
                  </a:lnTo>
                  <a:lnTo>
                    <a:pt x="194961" y="31946"/>
                  </a:lnTo>
                  <a:lnTo>
                    <a:pt x="202756" y="34955"/>
                  </a:lnTo>
                  <a:lnTo>
                    <a:pt x="210552" y="36485"/>
                  </a:lnTo>
                  <a:lnTo>
                    <a:pt x="216374" y="39495"/>
                  </a:lnTo>
                  <a:lnTo>
                    <a:pt x="220272" y="38014"/>
                  </a:lnTo>
                  <a:lnTo>
                    <a:pt x="222197" y="39495"/>
                  </a:lnTo>
                  <a:lnTo>
                    <a:pt x="222197" y="33426"/>
                  </a:lnTo>
                  <a:lnTo>
                    <a:pt x="218299" y="28886"/>
                  </a:lnTo>
                  <a:lnTo>
                    <a:pt x="220272" y="18229"/>
                  </a:lnTo>
                  <a:lnTo>
                    <a:pt x="226095" y="15170"/>
                  </a:lnTo>
                  <a:lnTo>
                    <a:pt x="224170" y="9101"/>
                  </a:lnTo>
                  <a:lnTo>
                    <a:pt x="218299" y="6091"/>
                  </a:lnTo>
                  <a:lnTo>
                    <a:pt x="218299" y="-27"/>
                  </a:lnTo>
                  <a:lnTo>
                    <a:pt x="226095" y="3032"/>
                  </a:lnTo>
                  <a:lnTo>
                    <a:pt x="233890" y="1503"/>
                  </a:lnTo>
                  <a:lnTo>
                    <a:pt x="235864" y="-27"/>
                  </a:lnTo>
                  <a:lnTo>
                    <a:pt x="241686" y="6091"/>
                  </a:lnTo>
                  <a:lnTo>
                    <a:pt x="251554" y="9101"/>
                  </a:lnTo>
                  <a:lnTo>
                    <a:pt x="263248" y="22818"/>
                  </a:lnTo>
                  <a:lnTo>
                    <a:pt x="273116" y="28886"/>
                  </a:lnTo>
                  <a:lnTo>
                    <a:pt x="288707" y="30416"/>
                  </a:lnTo>
                  <a:lnTo>
                    <a:pt x="292605" y="31946"/>
                  </a:lnTo>
                  <a:lnTo>
                    <a:pt x="298477" y="33426"/>
                  </a:lnTo>
                  <a:lnTo>
                    <a:pt x="304299" y="39495"/>
                  </a:lnTo>
                  <a:lnTo>
                    <a:pt x="306223" y="45613"/>
                  </a:lnTo>
                  <a:lnTo>
                    <a:pt x="312095" y="45613"/>
                  </a:lnTo>
                  <a:lnTo>
                    <a:pt x="319891" y="53211"/>
                  </a:lnTo>
                  <a:lnTo>
                    <a:pt x="323739" y="54741"/>
                  </a:lnTo>
                  <a:lnTo>
                    <a:pt x="327637" y="57751"/>
                  </a:lnTo>
                  <a:lnTo>
                    <a:pt x="325713" y="63869"/>
                  </a:lnTo>
                  <a:lnTo>
                    <a:pt x="327637" y="71467"/>
                  </a:lnTo>
                  <a:lnTo>
                    <a:pt x="323739" y="80546"/>
                  </a:lnTo>
                  <a:lnTo>
                    <a:pt x="323739" y="86664"/>
                  </a:lnTo>
                  <a:lnTo>
                    <a:pt x="333607" y="86664"/>
                  </a:lnTo>
                  <a:lnTo>
                    <a:pt x="335531" y="92733"/>
                  </a:lnTo>
                  <a:lnTo>
                    <a:pt x="331683" y="97272"/>
                  </a:lnTo>
                  <a:lnTo>
                    <a:pt x="333607" y="107979"/>
                  </a:lnTo>
                  <a:lnTo>
                    <a:pt x="337505" y="112518"/>
                  </a:lnTo>
                  <a:lnTo>
                    <a:pt x="339429" y="121597"/>
                  </a:lnTo>
                  <a:lnTo>
                    <a:pt x="337505" y="129245"/>
                  </a:lnTo>
                  <a:lnTo>
                    <a:pt x="339429" y="133784"/>
                  </a:lnTo>
                  <a:lnTo>
                    <a:pt x="339429" y="144442"/>
                  </a:lnTo>
                  <a:lnTo>
                    <a:pt x="337505" y="149030"/>
                  </a:lnTo>
                  <a:lnTo>
                    <a:pt x="339429" y="158109"/>
                  </a:lnTo>
                  <a:lnTo>
                    <a:pt x="347225" y="161168"/>
                  </a:lnTo>
                  <a:lnTo>
                    <a:pt x="355021" y="171825"/>
                  </a:lnTo>
                  <a:lnTo>
                    <a:pt x="358919" y="174835"/>
                  </a:lnTo>
                  <a:lnTo>
                    <a:pt x="356945" y="182434"/>
                  </a:lnTo>
                  <a:lnTo>
                    <a:pt x="356945" y="182434"/>
                  </a:lnTo>
                  <a:lnTo>
                    <a:pt x="353047" y="185493"/>
                  </a:lnTo>
                  <a:lnTo>
                    <a:pt x="345301" y="183963"/>
                  </a:lnTo>
                  <a:lnTo>
                    <a:pt x="341354" y="179375"/>
                  </a:lnTo>
                  <a:lnTo>
                    <a:pt x="333607" y="185493"/>
                  </a:lnTo>
                  <a:lnTo>
                    <a:pt x="327736" y="182434"/>
                  </a:lnTo>
                  <a:lnTo>
                    <a:pt x="325811" y="187022"/>
                  </a:lnTo>
                  <a:lnTo>
                    <a:pt x="319989" y="185493"/>
                  </a:lnTo>
                  <a:lnTo>
                    <a:pt x="314118" y="179375"/>
                  </a:lnTo>
                  <a:lnTo>
                    <a:pt x="310220" y="185493"/>
                  </a:lnTo>
                  <a:lnTo>
                    <a:pt x="306322" y="177894"/>
                  </a:lnTo>
                  <a:lnTo>
                    <a:pt x="302424" y="182434"/>
                  </a:lnTo>
                  <a:lnTo>
                    <a:pt x="300500" y="187022"/>
                  </a:lnTo>
                  <a:lnTo>
                    <a:pt x="298575" y="191562"/>
                  </a:lnTo>
                  <a:lnTo>
                    <a:pt x="294628" y="193091"/>
                  </a:lnTo>
                  <a:lnTo>
                    <a:pt x="290780" y="190081"/>
                  </a:lnTo>
                  <a:lnTo>
                    <a:pt x="286882" y="188552"/>
                  </a:lnTo>
                  <a:lnTo>
                    <a:pt x="290780" y="196150"/>
                  </a:lnTo>
                  <a:lnTo>
                    <a:pt x="294628" y="199160"/>
                  </a:lnTo>
                  <a:lnTo>
                    <a:pt x="288806" y="202219"/>
                  </a:lnTo>
                  <a:lnTo>
                    <a:pt x="281011" y="202219"/>
                  </a:lnTo>
                  <a:lnTo>
                    <a:pt x="277113" y="205229"/>
                  </a:lnTo>
                  <a:lnTo>
                    <a:pt x="284908" y="208288"/>
                  </a:lnTo>
                  <a:lnTo>
                    <a:pt x="284908" y="212877"/>
                  </a:lnTo>
                  <a:lnTo>
                    <a:pt x="279086" y="212877"/>
                  </a:lnTo>
                  <a:lnTo>
                    <a:pt x="279086" y="211347"/>
                  </a:lnTo>
                  <a:lnTo>
                    <a:pt x="275188" y="209818"/>
                  </a:lnTo>
                  <a:lnTo>
                    <a:pt x="273214" y="211347"/>
                  </a:lnTo>
                  <a:lnTo>
                    <a:pt x="275188" y="215886"/>
                  </a:lnTo>
                  <a:lnTo>
                    <a:pt x="279086" y="215886"/>
                  </a:lnTo>
                  <a:lnTo>
                    <a:pt x="284908" y="218946"/>
                  </a:lnTo>
                  <a:lnTo>
                    <a:pt x="281011" y="221955"/>
                  </a:lnTo>
                  <a:lnTo>
                    <a:pt x="277113" y="234142"/>
                  </a:lnTo>
                  <a:lnTo>
                    <a:pt x="277113" y="238682"/>
                  </a:lnTo>
                  <a:lnTo>
                    <a:pt x="269317" y="240211"/>
                  </a:lnTo>
                  <a:lnTo>
                    <a:pt x="277113" y="243270"/>
                  </a:lnTo>
                  <a:lnTo>
                    <a:pt x="281011" y="244750"/>
                  </a:lnTo>
                  <a:lnTo>
                    <a:pt x="284908" y="249339"/>
                  </a:lnTo>
                  <a:lnTo>
                    <a:pt x="279086" y="249339"/>
                  </a:lnTo>
                  <a:lnTo>
                    <a:pt x="284908" y="253928"/>
                  </a:lnTo>
                  <a:lnTo>
                    <a:pt x="290780" y="253928"/>
                  </a:lnTo>
                  <a:lnTo>
                    <a:pt x="280912" y="263006"/>
                  </a:lnTo>
                  <a:lnTo>
                    <a:pt x="276422" y="263006"/>
                  </a:lnTo>
                  <a:lnTo>
                    <a:pt x="272524" y="269125"/>
                  </a:lnTo>
                  <a:lnTo>
                    <a:pt x="272524" y="278253"/>
                  </a:lnTo>
                  <a:lnTo>
                    <a:pt x="266702" y="288910"/>
                  </a:lnTo>
                  <a:lnTo>
                    <a:pt x="262804" y="288910"/>
                  </a:lnTo>
                  <a:lnTo>
                    <a:pt x="255008" y="294979"/>
                  </a:lnTo>
                  <a:lnTo>
                    <a:pt x="251110" y="290390"/>
                  </a:lnTo>
                  <a:lnTo>
                    <a:pt x="251110" y="296459"/>
                  </a:lnTo>
                  <a:lnTo>
                    <a:pt x="253084" y="301048"/>
                  </a:lnTo>
                  <a:lnTo>
                    <a:pt x="243216" y="305587"/>
                  </a:lnTo>
                  <a:lnTo>
                    <a:pt x="239268" y="313235"/>
                  </a:lnTo>
                  <a:lnTo>
                    <a:pt x="235420" y="313235"/>
                  </a:lnTo>
                  <a:lnTo>
                    <a:pt x="235420" y="307117"/>
                  </a:lnTo>
                  <a:lnTo>
                    <a:pt x="229598" y="307117"/>
                  </a:lnTo>
                  <a:lnTo>
                    <a:pt x="225650" y="314715"/>
                  </a:lnTo>
                  <a:lnTo>
                    <a:pt x="225650" y="320784"/>
                  </a:lnTo>
                  <a:lnTo>
                    <a:pt x="221753" y="323843"/>
                  </a:lnTo>
                  <a:lnTo>
                    <a:pt x="219828" y="320784"/>
                  </a:lnTo>
                  <a:lnTo>
                    <a:pt x="215930" y="320784"/>
                  </a:lnTo>
                  <a:lnTo>
                    <a:pt x="212032" y="326853"/>
                  </a:lnTo>
                  <a:lnTo>
                    <a:pt x="210109" y="326853"/>
                  </a:lnTo>
                  <a:lnTo>
                    <a:pt x="206161" y="323843"/>
                  </a:lnTo>
                  <a:lnTo>
                    <a:pt x="202312" y="328432"/>
                  </a:lnTo>
                  <a:lnTo>
                    <a:pt x="200339" y="332971"/>
                  </a:lnTo>
                  <a:lnTo>
                    <a:pt x="204237" y="334501"/>
                  </a:lnTo>
                  <a:lnTo>
                    <a:pt x="204237" y="337510"/>
                  </a:lnTo>
                  <a:lnTo>
                    <a:pt x="194369" y="345109"/>
                  </a:lnTo>
                  <a:lnTo>
                    <a:pt x="188546" y="345109"/>
                  </a:lnTo>
                  <a:lnTo>
                    <a:pt x="186573" y="348168"/>
                  </a:lnTo>
                  <a:lnTo>
                    <a:pt x="190471" y="352757"/>
                  </a:lnTo>
                  <a:lnTo>
                    <a:pt x="184649" y="358825"/>
                  </a:lnTo>
                  <a:lnTo>
                    <a:pt x="172906" y="360355"/>
                  </a:lnTo>
                  <a:lnTo>
                    <a:pt x="167083" y="358825"/>
                  </a:lnTo>
                  <a:lnTo>
                    <a:pt x="174879" y="369483"/>
                  </a:lnTo>
                  <a:lnTo>
                    <a:pt x="176853" y="377081"/>
                  </a:lnTo>
                  <a:lnTo>
                    <a:pt x="174879" y="378562"/>
                  </a:lnTo>
                  <a:lnTo>
                    <a:pt x="174879" y="384630"/>
                  </a:lnTo>
                  <a:lnTo>
                    <a:pt x="172906" y="395337"/>
                  </a:lnTo>
                  <a:lnTo>
                    <a:pt x="178777" y="399877"/>
                  </a:lnTo>
                  <a:lnTo>
                    <a:pt x="178777" y="405945"/>
                  </a:lnTo>
                  <a:lnTo>
                    <a:pt x="172906" y="402886"/>
                  </a:lnTo>
                  <a:lnTo>
                    <a:pt x="172906" y="404416"/>
                  </a:lnTo>
                  <a:lnTo>
                    <a:pt x="174879" y="413544"/>
                  </a:lnTo>
                  <a:lnTo>
                    <a:pt x="169057" y="419613"/>
                  </a:lnTo>
                  <a:lnTo>
                    <a:pt x="174879" y="421142"/>
                  </a:lnTo>
                  <a:lnTo>
                    <a:pt x="174879" y="425682"/>
                  </a:lnTo>
                  <a:lnTo>
                    <a:pt x="170981" y="427211"/>
                  </a:lnTo>
                  <a:lnTo>
                    <a:pt x="174879" y="433329"/>
                  </a:lnTo>
                  <a:lnTo>
                    <a:pt x="170981" y="437869"/>
                  </a:lnTo>
                  <a:lnTo>
                    <a:pt x="174879" y="442457"/>
                  </a:lnTo>
                  <a:lnTo>
                    <a:pt x="176853" y="446997"/>
                  </a:lnTo>
                  <a:lnTo>
                    <a:pt x="184649" y="448526"/>
                  </a:lnTo>
                  <a:lnTo>
                    <a:pt x="184649" y="454595"/>
                  </a:lnTo>
                  <a:lnTo>
                    <a:pt x="186573" y="453115"/>
                  </a:lnTo>
                  <a:lnTo>
                    <a:pt x="190471" y="457654"/>
                  </a:lnTo>
                  <a:lnTo>
                    <a:pt x="196342" y="451585"/>
                  </a:lnTo>
                  <a:lnTo>
                    <a:pt x="202164" y="454595"/>
                  </a:lnTo>
                  <a:lnTo>
                    <a:pt x="202164" y="459184"/>
                  </a:lnTo>
                  <a:lnTo>
                    <a:pt x="215782" y="468262"/>
                  </a:lnTo>
                  <a:lnTo>
                    <a:pt x="215782" y="472851"/>
                  </a:lnTo>
                  <a:lnTo>
                    <a:pt x="225650" y="477440"/>
                  </a:lnTo>
                  <a:lnTo>
                    <a:pt x="225650" y="482078"/>
                  </a:lnTo>
                  <a:lnTo>
                    <a:pt x="231522" y="488147"/>
                  </a:lnTo>
                  <a:lnTo>
                    <a:pt x="227575" y="495745"/>
                  </a:lnTo>
                  <a:lnTo>
                    <a:pt x="219828" y="506402"/>
                  </a:lnTo>
                  <a:lnTo>
                    <a:pt x="215930" y="512471"/>
                  </a:lnTo>
                  <a:lnTo>
                    <a:pt x="206062" y="514001"/>
                  </a:lnTo>
                  <a:lnTo>
                    <a:pt x="200240" y="510942"/>
                  </a:lnTo>
                  <a:lnTo>
                    <a:pt x="200240" y="507883"/>
                  </a:lnTo>
                  <a:lnTo>
                    <a:pt x="192444" y="504873"/>
                  </a:lnTo>
                  <a:lnTo>
                    <a:pt x="188596" y="501814"/>
                  </a:lnTo>
                  <a:lnTo>
                    <a:pt x="188596" y="506402"/>
                  </a:lnTo>
                  <a:lnTo>
                    <a:pt x="184698" y="506402"/>
                  </a:lnTo>
                  <a:lnTo>
                    <a:pt x="182724" y="503343"/>
                  </a:lnTo>
                  <a:lnTo>
                    <a:pt x="174929" y="501814"/>
                  </a:lnTo>
                  <a:lnTo>
                    <a:pt x="172955" y="506402"/>
                  </a:lnTo>
                  <a:lnTo>
                    <a:pt x="167133" y="507883"/>
                  </a:lnTo>
                  <a:lnTo>
                    <a:pt x="165208" y="504873"/>
                  </a:lnTo>
                  <a:lnTo>
                    <a:pt x="159337" y="510942"/>
                  </a:lnTo>
                  <a:lnTo>
                    <a:pt x="153515" y="507883"/>
                  </a:lnTo>
                  <a:lnTo>
                    <a:pt x="149617" y="509412"/>
                  </a:lnTo>
                  <a:lnTo>
                    <a:pt x="149617" y="512471"/>
                  </a:lnTo>
                  <a:lnTo>
                    <a:pt x="159485" y="512471"/>
                  </a:lnTo>
                  <a:lnTo>
                    <a:pt x="161458" y="514001"/>
                  </a:lnTo>
                  <a:lnTo>
                    <a:pt x="163432" y="510942"/>
                  </a:lnTo>
                  <a:lnTo>
                    <a:pt x="171179" y="510942"/>
                  </a:lnTo>
                  <a:lnTo>
                    <a:pt x="177050" y="514001"/>
                  </a:lnTo>
                  <a:lnTo>
                    <a:pt x="184846" y="515530"/>
                  </a:lnTo>
                  <a:lnTo>
                    <a:pt x="188744" y="520070"/>
                  </a:lnTo>
                  <a:lnTo>
                    <a:pt x="194566" y="517060"/>
                  </a:lnTo>
                  <a:lnTo>
                    <a:pt x="198464" y="518589"/>
                  </a:lnTo>
                  <a:lnTo>
                    <a:pt x="204286" y="515530"/>
                  </a:lnTo>
                  <a:lnTo>
                    <a:pt x="212082" y="518589"/>
                  </a:lnTo>
                  <a:lnTo>
                    <a:pt x="217904" y="521599"/>
                  </a:lnTo>
                  <a:lnTo>
                    <a:pt x="219878" y="527668"/>
                  </a:lnTo>
                  <a:lnTo>
                    <a:pt x="212082" y="530727"/>
                  </a:lnTo>
                  <a:lnTo>
                    <a:pt x="208184" y="530727"/>
                  </a:lnTo>
                  <a:lnTo>
                    <a:pt x="202362" y="538326"/>
                  </a:lnTo>
                  <a:lnTo>
                    <a:pt x="198464" y="538326"/>
                  </a:lnTo>
                  <a:lnTo>
                    <a:pt x="200388" y="533786"/>
                  </a:lnTo>
                  <a:lnTo>
                    <a:pt x="196540" y="530727"/>
                  </a:lnTo>
                  <a:lnTo>
                    <a:pt x="194566" y="533786"/>
                  </a:lnTo>
                  <a:lnTo>
                    <a:pt x="196540" y="538326"/>
                  </a:lnTo>
                  <a:lnTo>
                    <a:pt x="190668" y="538326"/>
                  </a:lnTo>
                  <a:lnTo>
                    <a:pt x="186770" y="542865"/>
                  </a:lnTo>
                  <a:lnTo>
                    <a:pt x="186770" y="548934"/>
                  </a:lnTo>
                  <a:lnTo>
                    <a:pt x="178974" y="544395"/>
                  </a:lnTo>
                  <a:lnTo>
                    <a:pt x="178974" y="548934"/>
                  </a:lnTo>
                  <a:lnTo>
                    <a:pt x="175076" y="553522"/>
                  </a:lnTo>
                  <a:lnTo>
                    <a:pt x="173103" y="551993"/>
                  </a:lnTo>
                  <a:lnTo>
                    <a:pt x="169255" y="551993"/>
                  </a:lnTo>
                  <a:lnTo>
                    <a:pt x="165356" y="555052"/>
                  </a:lnTo>
                  <a:lnTo>
                    <a:pt x="171179" y="556582"/>
                  </a:lnTo>
                  <a:lnTo>
                    <a:pt x="178974" y="562650"/>
                  </a:lnTo>
                  <a:lnTo>
                    <a:pt x="165356" y="562650"/>
                  </a:lnTo>
                  <a:lnTo>
                    <a:pt x="175225" y="565710"/>
                  </a:lnTo>
                  <a:lnTo>
                    <a:pt x="177198" y="568719"/>
                  </a:lnTo>
                  <a:lnTo>
                    <a:pt x="173251" y="577847"/>
                  </a:lnTo>
                  <a:lnTo>
                    <a:pt x="183119" y="583916"/>
                  </a:lnTo>
                  <a:lnTo>
                    <a:pt x="171425" y="583916"/>
                  </a:lnTo>
                  <a:lnTo>
                    <a:pt x="165603" y="582436"/>
                  </a:lnTo>
                  <a:lnTo>
                    <a:pt x="169501" y="586975"/>
                  </a:lnTo>
                  <a:lnTo>
                    <a:pt x="165603" y="593044"/>
                  </a:lnTo>
                  <a:lnTo>
                    <a:pt x="173350" y="596103"/>
                  </a:lnTo>
                  <a:lnTo>
                    <a:pt x="167528" y="600692"/>
                  </a:lnTo>
                  <a:lnTo>
                    <a:pt x="173350" y="608241"/>
                  </a:lnTo>
                  <a:lnTo>
                    <a:pt x="167528" y="614359"/>
                  </a:lnTo>
                  <a:lnTo>
                    <a:pt x="165603" y="620428"/>
                  </a:lnTo>
                  <a:lnTo>
                    <a:pt x="171425" y="624967"/>
                  </a:lnTo>
                  <a:lnTo>
                    <a:pt x="169501" y="631036"/>
                  </a:lnTo>
                  <a:lnTo>
                    <a:pt x="167528" y="644753"/>
                  </a:lnTo>
                  <a:lnTo>
                    <a:pt x="161705" y="649292"/>
                  </a:lnTo>
                  <a:lnTo>
                    <a:pt x="159732" y="663009"/>
                  </a:lnTo>
                  <a:lnTo>
                    <a:pt x="151985" y="670607"/>
                  </a:lnTo>
                  <a:lnTo>
                    <a:pt x="150012" y="666018"/>
                  </a:lnTo>
                  <a:lnTo>
                    <a:pt x="140144" y="664538"/>
                  </a:lnTo>
                  <a:lnTo>
                    <a:pt x="134272" y="667548"/>
                  </a:lnTo>
                  <a:lnTo>
                    <a:pt x="120654" y="666018"/>
                  </a:lnTo>
                  <a:lnTo>
                    <a:pt x="118730" y="661479"/>
                  </a:lnTo>
                  <a:lnTo>
                    <a:pt x="116756" y="670607"/>
                  </a:lnTo>
                  <a:lnTo>
                    <a:pt x="105063" y="672087"/>
                  </a:lnTo>
                  <a:lnTo>
                    <a:pt x="101214" y="681265"/>
                  </a:lnTo>
                  <a:lnTo>
                    <a:pt x="103138" y="685804"/>
                  </a:lnTo>
                  <a:lnTo>
                    <a:pt x="105063" y="690343"/>
                  </a:lnTo>
                  <a:lnTo>
                    <a:pt x="97316" y="696461"/>
                  </a:lnTo>
                  <a:lnTo>
                    <a:pt x="89520" y="693402"/>
                  </a:lnTo>
                  <a:lnTo>
                    <a:pt x="70031" y="697991"/>
                  </a:lnTo>
                  <a:lnTo>
                    <a:pt x="64258" y="697991"/>
                  </a:lnTo>
                  <a:lnTo>
                    <a:pt x="60360" y="694932"/>
                  </a:lnTo>
                  <a:lnTo>
                    <a:pt x="64258" y="688863"/>
                  </a:lnTo>
                  <a:lnTo>
                    <a:pt x="60360" y="673617"/>
                  </a:lnTo>
                  <a:lnTo>
                    <a:pt x="54538" y="672087"/>
                  </a:lnTo>
                  <a:lnTo>
                    <a:pt x="52565" y="667548"/>
                  </a:lnTo>
                  <a:lnTo>
                    <a:pt x="48666" y="664538"/>
                  </a:lnTo>
                  <a:lnTo>
                    <a:pt x="50640" y="661479"/>
                  </a:lnTo>
                  <a:lnTo>
                    <a:pt x="58387" y="659950"/>
                  </a:lnTo>
                  <a:lnTo>
                    <a:pt x="62334" y="650822"/>
                  </a:lnTo>
                  <a:lnTo>
                    <a:pt x="60360" y="644753"/>
                  </a:lnTo>
                  <a:lnTo>
                    <a:pt x="54538" y="647812"/>
                  </a:lnTo>
                  <a:lnTo>
                    <a:pt x="46742" y="641743"/>
                  </a:lnTo>
                  <a:lnTo>
                    <a:pt x="46742" y="637154"/>
                  </a:lnTo>
                  <a:lnTo>
                    <a:pt x="36874" y="634095"/>
                  </a:lnTo>
                  <a:lnTo>
                    <a:pt x="36874" y="624967"/>
                  </a:lnTo>
                  <a:lnTo>
                    <a:pt x="29128" y="614359"/>
                  </a:lnTo>
                  <a:lnTo>
                    <a:pt x="27154" y="611300"/>
                  </a:lnTo>
                  <a:lnTo>
                    <a:pt x="23256" y="603702"/>
                  </a:lnTo>
                  <a:lnTo>
                    <a:pt x="17434" y="600692"/>
                  </a:lnTo>
                  <a:lnTo>
                    <a:pt x="13536" y="596103"/>
                  </a:lnTo>
                  <a:lnTo>
                    <a:pt x="17434" y="593044"/>
                  </a:lnTo>
                  <a:lnTo>
                    <a:pt x="17434" y="586975"/>
                  </a:lnTo>
                  <a:lnTo>
                    <a:pt x="15460" y="582436"/>
                  </a:lnTo>
                  <a:lnTo>
                    <a:pt x="17434" y="577847"/>
                  </a:lnTo>
                  <a:lnTo>
                    <a:pt x="23256" y="571778"/>
                  </a:lnTo>
                  <a:lnTo>
                    <a:pt x="21332" y="568719"/>
                  </a:lnTo>
                  <a:lnTo>
                    <a:pt x="17434" y="565710"/>
                  </a:lnTo>
                  <a:lnTo>
                    <a:pt x="17434" y="562650"/>
                  </a:lnTo>
                  <a:lnTo>
                    <a:pt x="15460" y="562650"/>
                  </a:lnTo>
                  <a:lnTo>
                    <a:pt x="13536" y="567190"/>
                  </a:lnTo>
                  <a:lnTo>
                    <a:pt x="19359" y="571778"/>
                  </a:lnTo>
                  <a:lnTo>
                    <a:pt x="11562" y="574837"/>
                  </a:lnTo>
                  <a:lnTo>
                    <a:pt x="11562" y="568719"/>
                  </a:lnTo>
                  <a:lnTo>
                    <a:pt x="7714" y="565710"/>
                  </a:lnTo>
                  <a:lnTo>
                    <a:pt x="3767" y="564180"/>
                  </a:lnTo>
                  <a:lnTo>
                    <a:pt x="3767" y="555052"/>
                  </a:lnTo>
                  <a:lnTo>
                    <a:pt x="-82" y="548934"/>
                  </a:lnTo>
                  <a:lnTo>
                    <a:pt x="-82" y="536796"/>
                  </a:lnTo>
                  <a:lnTo>
                    <a:pt x="3767" y="533786"/>
                  </a:lnTo>
                  <a:close/>
                  <a:moveTo>
                    <a:pt x="216079" y="515432"/>
                  </a:moveTo>
                  <a:lnTo>
                    <a:pt x="222147" y="521550"/>
                  </a:lnTo>
                  <a:lnTo>
                    <a:pt x="224121" y="524609"/>
                  </a:lnTo>
                  <a:lnTo>
                    <a:pt x="224121" y="517011"/>
                  </a:lnTo>
                  <a:lnTo>
                    <a:pt x="231917" y="510892"/>
                  </a:lnTo>
                  <a:lnTo>
                    <a:pt x="231917" y="506353"/>
                  </a:lnTo>
                  <a:lnTo>
                    <a:pt x="222049" y="506353"/>
                  </a:lnTo>
                  <a:lnTo>
                    <a:pt x="216227" y="515481"/>
                  </a:lnTo>
                  <a:close/>
                  <a:moveTo>
                    <a:pt x="7764" y="577749"/>
                  </a:moveTo>
                  <a:lnTo>
                    <a:pt x="7764" y="582337"/>
                  </a:lnTo>
                  <a:lnTo>
                    <a:pt x="13586" y="582337"/>
                  </a:lnTo>
                  <a:lnTo>
                    <a:pt x="15510" y="577749"/>
                  </a:lnTo>
                  <a:close/>
                  <a:moveTo>
                    <a:pt x="245288" y="558012"/>
                  </a:moveTo>
                  <a:lnTo>
                    <a:pt x="251110" y="562552"/>
                  </a:lnTo>
                  <a:lnTo>
                    <a:pt x="255008" y="559542"/>
                  </a:lnTo>
                  <a:lnTo>
                    <a:pt x="251110" y="556483"/>
                  </a:lnTo>
                  <a:lnTo>
                    <a:pt x="245288" y="558012"/>
                  </a:lnTo>
                  <a:close/>
                  <a:moveTo>
                    <a:pt x="251110" y="586876"/>
                  </a:moveTo>
                  <a:lnTo>
                    <a:pt x="253084" y="589886"/>
                  </a:lnTo>
                  <a:lnTo>
                    <a:pt x="256982" y="586876"/>
                  </a:lnTo>
                  <a:lnTo>
                    <a:pt x="262804" y="585347"/>
                  </a:lnTo>
                  <a:lnTo>
                    <a:pt x="260830" y="582337"/>
                  </a:lnTo>
                  <a:lnTo>
                    <a:pt x="253084" y="582337"/>
                  </a:lnTo>
                  <a:lnTo>
                    <a:pt x="251110" y="586876"/>
                  </a:lnTo>
                  <a:close/>
                  <a:moveTo>
                    <a:pt x="225798" y="633997"/>
                  </a:moveTo>
                  <a:lnTo>
                    <a:pt x="233594" y="632467"/>
                  </a:lnTo>
                  <a:lnTo>
                    <a:pt x="235568" y="627928"/>
                  </a:lnTo>
                  <a:lnTo>
                    <a:pt x="231670" y="626398"/>
                  </a:lnTo>
                  <a:lnTo>
                    <a:pt x="233594" y="623388"/>
                  </a:lnTo>
                  <a:lnTo>
                    <a:pt x="241390" y="617320"/>
                  </a:lnTo>
                  <a:lnTo>
                    <a:pt x="241390" y="614260"/>
                  </a:lnTo>
                  <a:lnTo>
                    <a:pt x="247212" y="608142"/>
                  </a:lnTo>
                  <a:lnTo>
                    <a:pt x="247212" y="606662"/>
                  </a:lnTo>
                  <a:lnTo>
                    <a:pt x="241390" y="600494"/>
                  </a:lnTo>
                  <a:lnTo>
                    <a:pt x="245288" y="595906"/>
                  </a:lnTo>
                  <a:lnTo>
                    <a:pt x="245288" y="592847"/>
                  </a:lnTo>
                  <a:lnTo>
                    <a:pt x="247212" y="589788"/>
                  </a:lnTo>
                  <a:lnTo>
                    <a:pt x="243364" y="588307"/>
                  </a:lnTo>
                  <a:lnTo>
                    <a:pt x="241390" y="589788"/>
                  </a:lnTo>
                  <a:lnTo>
                    <a:pt x="233594" y="589788"/>
                  </a:lnTo>
                  <a:lnTo>
                    <a:pt x="229746" y="594376"/>
                  </a:lnTo>
                  <a:lnTo>
                    <a:pt x="225798" y="600494"/>
                  </a:lnTo>
                  <a:lnTo>
                    <a:pt x="221900" y="606563"/>
                  </a:lnTo>
                  <a:lnTo>
                    <a:pt x="223874" y="612632"/>
                  </a:lnTo>
                  <a:lnTo>
                    <a:pt x="219977" y="614162"/>
                  </a:lnTo>
                  <a:lnTo>
                    <a:pt x="227723" y="621760"/>
                  </a:lnTo>
                  <a:lnTo>
                    <a:pt x="229746" y="621760"/>
                  </a:lnTo>
                  <a:lnTo>
                    <a:pt x="227723" y="626300"/>
                  </a:lnTo>
                  <a:lnTo>
                    <a:pt x="223874" y="632368"/>
                  </a:lnTo>
                  <a:lnTo>
                    <a:pt x="225798" y="633898"/>
                  </a:lnTo>
                  <a:close/>
                  <a:moveTo>
                    <a:pt x="171524" y="652252"/>
                  </a:moveTo>
                  <a:lnTo>
                    <a:pt x="171524" y="662910"/>
                  </a:lnTo>
                  <a:lnTo>
                    <a:pt x="175422" y="664439"/>
                  </a:lnTo>
                  <a:lnTo>
                    <a:pt x="177396" y="659851"/>
                  </a:lnTo>
                  <a:lnTo>
                    <a:pt x="183218" y="649193"/>
                  </a:lnTo>
                  <a:lnTo>
                    <a:pt x="183218" y="639967"/>
                  </a:lnTo>
                  <a:lnTo>
                    <a:pt x="187116" y="627780"/>
                  </a:lnTo>
                  <a:lnTo>
                    <a:pt x="189089" y="618652"/>
                  </a:lnTo>
                  <a:lnTo>
                    <a:pt x="185191" y="615642"/>
                  </a:lnTo>
                  <a:lnTo>
                    <a:pt x="179320" y="621711"/>
                  </a:lnTo>
                  <a:lnTo>
                    <a:pt x="179320" y="623240"/>
                  </a:lnTo>
                  <a:lnTo>
                    <a:pt x="177396" y="633849"/>
                  </a:lnTo>
                  <a:lnTo>
                    <a:pt x="173448" y="63690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Graphic 2">
              <a:extLst>
                <a:ext uri="{FF2B5EF4-FFF2-40B4-BE49-F238E27FC236}">
                  <a16:creationId xmlns:a16="http://schemas.microsoft.com/office/drawing/2014/main" id="{79A56D70-8313-41D9-B4C3-9FC7659B785C}"/>
                </a:ext>
              </a:extLst>
            </p:cNvPr>
            <p:cNvSpPr/>
            <p:nvPr/>
          </p:nvSpPr>
          <p:spPr>
            <a:xfrm>
              <a:off x="5933083" y="2195762"/>
              <a:ext cx="332656" cy="509116"/>
            </a:xfrm>
            <a:custGeom>
              <a:avLst/>
              <a:gdLst>
                <a:gd name="connsiteX0" fmla="*/ 288214 w 366155"/>
                <a:gd name="connsiteY0" fmla="*/ 515481 h 560407"/>
                <a:gd name="connsiteX1" fmla="*/ 286092 w 366155"/>
                <a:gd name="connsiteY1" fmla="*/ 507439 h 560407"/>
                <a:gd name="connsiteX2" fmla="*/ 302917 w 366155"/>
                <a:gd name="connsiteY2" fmla="*/ 492933 h 560407"/>
                <a:gd name="connsiteX3" fmla="*/ 311354 w 366155"/>
                <a:gd name="connsiteY3" fmla="*/ 489725 h 560407"/>
                <a:gd name="connsiteX4" fmla="*/ 321815 w 366155"/>
                <a:gd name="connsiteY4" fmla="*/ 475219 h 560407"/>
                <a:gd name="connsiteX5" fmla="*/ 332373 w 366155"/>
                <a:gd name="connsiteY5" fmla="*/ 462341 h 560407"/>
                <a:gd name="connsiteX6" fmla="*/ 340762 w 366155"/>
                <a:gd name="connsiteY6" fmla="*/ 446207 h 560407"/>
                <a:gd name="connsiteX7" fmla="*/ 355564 w 366155"/>
                <a:gd name="connsiteY7" fmla="*/ 425287 h 560407"/>
                <a:gd name="connsiteX8" fmla="*/ 366073 w 366155"/>
                <a:gd name="connsiteY8" fmla="*/ 404317 h 560407"/>
                <a:gd name="connsiteX9" fmla="*/ 361879 w 366155"/>
                <a:gd name="connsiteY9" fmla="*/ 394449 h 560407"/>
                <a:gd name="connsiteX10" fmla="*/ 347077 w 366155"/>
                <a:gd name="connsiteY10" fmla="*/ 378315 h 560407"/>
                <a:gd name="connsiteX11" fmla="*/ 336518 w 366155"/>
                <a:gd name="connsiteY11" fmla="*/ 376687 h 560407"/>
                <a:gd name="connsiteX12" fmla="*/ 319743 w 366155"/>
                <a:gd name="connsiteY12" fmla="*/ 355717 h 560407"/>
                <a:gd name="connsiteX13" fmla="*/ 323936 w 366155"/>
                <a:gd name="connsiteY13" fmla="*/ 347675 h 560407"/>
                <a:gd name="connsiteX14" fmla="*/ 330252 w 366155"/>
                <a:gd name="connsiteY14" fmla="*/ 339632 h 560407"/>
                <a:gd name="connsiteX15" fmla="*/ 330252 w 366155"/>
                <a:gd name="connsiteY15" fmla="*/ 329764 h 560407"/>
                <a:gd name="connsiteX16" fmla="*/ 317818 w 366155"/>
                <a:gd name="connsiteY16" fmla="*/ 323646 h 560407"/>
                <a:gd name="connsiteX17" fmla="*/ 315648 w 366155"/>
                <a:gd name="connsiteY17" fmla="*/ 315554 h 560407"/>
                <a:gd name="connsiteX18" fmla="*/ 313575 w 366155"/>
                <a:gd name="connsiteY18" fmla="*/ 304255 h 560407"/>
                <a:gd name="connsiteX19" fmla="*/ 317818 w 366155"/>
                <a:gd name="connsiteY19" fmla="*/ 302627 h 560407"/>
                <a:gd name="connsiteX20" fmla="*/ 313575 w 366155"/>
                <a:gd name="connsiteY20" fmla="*/ 296213 h 560407"/>
                <a:gd name="connsiteX21" fmla="*/ 305187 w 366155"/>
                <a:gd name="connsiteY21" fmla="*/ 294584 h 560407"/>
                <a:gd name="connsiteX22" fmla="*/ 300944 w 366155"/>
                <a:gd name="connsiteY22" fmla="*/ 289650 h 560407"/>
                <a:gd name="connsiteX23" fmla="*/ 300944 w 366155"/>
                <a:gd name="connsiteY23" fmla="*/ 280226 h 560407"/>
                <a:gd name="connsiteX24" fmla="*/ 305187 w 366155"/>
                <a:gd name="connsiteY24" fmla="*/ 273763 h 560407"/>
                <a:gd name="connsiteX25" fmla="*/ 298872 w 366155"/>
                <a:gd name="connsiteY25" fmla="*/ 272134 h 560407"/>
                <a:gd name="connsiteX26" fmla="*/ 298872 w 366155"/>
                <a:gd name="connsiteY26" fmla="*/ 246379 h 560407"/>
                <a:gd name="connsiteX27" fmla="*/ 305187 w 366155"/>
                <a:gd name="connsiteY27" fmla="*/ 246379 h 560407"/>
                <a:gd name="connsiteX28" fmla="*/ 290385 w 366155"/>
                <a:gd name="connsiteY28" fmla="*/ 214110 h 560407"/>
                <a:gd name="connsiteX29" fmla="*/ 275583 w 366155"/>
                <a:gd name="connsiteY29" fmla="*/ 189933 h 560407"/>
                <a:gd name="connsiteX30" fmla="*/ 271389 w 366155"/>
                <a:gd name="connsiteY30" fmla="*/ 181891 h 560407"/>
                <a:gd name="connsiteX31" fmla="*/ 263001 w 366155"/>
                <a:gd name="connsiteY31" fmla="*/ 173799 h 560407"/>
                <a:gd name="connsiteX32" fmla="*/ 269268 w 366155"/>
                <a:gd name="connsiteY32" fmla="*/ 159293 h 560407"/>
                <a:gd name="connsiteX33" fmla="*/ 275583 w 366155"/>
                <a:gd name="connsiteY33" fmla="*/ 149425 h 560407"/>
                <a:gd name="connsiteX34" fmla="*/ 279826 w 366155"/>
                <a:gd name="connsiteY34" fmla="*/ 139557 h 560407"/>
                <a:gd name="connsiteX35" fmla="*/ 275583 w 366155"/>
                <a:gd name="connsiteY35" fmla="*/ 136350 h 560407"/>
                <a:gd name="connsiteX36" fmla="*/ 258807 w 366155"/>
                <a:gd name="connsiteY36" fmla="*/ 126482 h 560407"/>
                <a:gd name="connsiteX37" fmla="*/ 256686 w 366155"/>
                <a:gd name="connsiteY37" fmla="*/ 121548 h 560407"/>
                <a:gd name="connsiteX38" fmla="*/ 250370 w 366155"/>
                <a:gd name="connsiteY38" fmla="*/ 113505 h 560407"/>
                <a:gd name="connsiteX39" fmla="*/ 239860 w 366155"/>
                <a:gd name="connsiteY39" fmla="*/ 108571 h 560407"/>
                <a:gd name="connsiteX40" fmla="*/ 235666 w 366155"/>
                <a:gd name="connsiteY40" fmla="*/ 108571 h 560407"/>
                <a:gd name="connsiteX41" fmla="*/ 229351 w 366155"/>
                <a:gd name="connsiteY41" fmla="*/ 94065 h 560407"/>
                <a:gd name="connsiteX42" fmla="*/ 225157 w 366155"/>
                <a:gd name="connsiteY42" fmla="*/ 89131 h 560407"/>
                <a:gd name="connsiteX43" fmla="*/ 227279 w 366155"/>
                <a:gd name="connsiteY43" fmla="*/ 77882 h 560407"/>
                <a:gd name="connsiteX44" fmla="*/ 229351 w 366155"/>
                <a:gd name="connsiteY44" fmla="*/ 69839 h 560407"/>
                <a:gd name="connsiteX45" fmla="*/ 223036 w 366155"/>
                <a:gd name="connsiteY45" fmla="*/ 68211 h 560407"/>
                <a:gd name="connsiteX46" fmla="*/ 229351 w 366155"/>
                <a:gd name="connsiteY46" fmla="*/ 65004 h 560407"/>
                <a:gd name="connsiteX47" fmla="*/ 237739 w 366155"/>
                <a:gd name="connsiteY47" fmla="*/ 61747 h 560407"/>
                <a:gd name="connsiteX48" fmla="*/ 235666 w 366155"/>
                <a:gd name="connsiteY48" fmla="*/ 48869 h 560407"/>
                <a:gd name="connsiteX49" fmla="*/ 244055 w 366155"/>
                <a:gd name="connsiteY49" fmla="*/ 40827 h 560407"/>
                <a:gd name="connsiteX50" fmla="*/ 244055 w 366155"/>
                <a:gd name="connsiteY50" fmla="*/ 34363 h 560407"/>
                <a:gd name="connsiteX51" fmla="*/ 237739 w 366155"/>
                <a:gd name="connsiteY51" fmla="*/ 27900 h 560407"/>
                <a:gd name="connsiteX52" fmla="*/ 235666 w 366155"/>
                <a:gd name="connsiteY52" fmla="*/ 22966 h 560407"/>
                <a:gd name="connsiteX53" fmla="*/ 223036 w 366155"/>
                <a:gd name="connsiteY53" fmla="*/ 21288 h 560407"/>
                <a:gd name="connsiteX54" fmla="*/ 214647 w 366155"/>
                <a:gd name="connsiteY54" fmla="*/ 19709 h 560407"/>
                <a:gd name="connsiteX55" fmla="*/ 210454 w 366155"/>
                <a:gd name="connsiteY55" fmla="*/ 14775 h 560407"/>
                <a:gd name="connsiteX56" fmla="*/ 202017 w 366155"/>
                <a:gd name="connsiteY56" fmla="*/ 4907 h 560407"/>
                <a:gd name="connsiteX57" fmla="*/ 193628 w 366155"/>
                <a:gd name="connsiteY57" fmla="*/ -27 h 560407"/>
                <a:gd name="connsiteX58" fmla="*/ 178826 w 366155"/>
                <a:gd name="connsiteY58" fmla="*/ 1601 h 560407"/>
                <a:gd name="connsiteX59" fmla="*/ 172561 w 366155"/>
                <a:gd name="connsiteY59" fmla="*/ 6535 h 560407"/>
                <a:gd name="connsiteX60" fmla="*/ 172561 w 366155"/>
                <a:gd name="connsiteY60" fmla="*/ 9743 h 560407"/>
                <a:gd name="connsiteX61" fmla="*/ 168366 w 366155"/>
                <a:gd name="connsiteY61" fmla="*/ 9743 h 560407"/>
                <a:gd name="connsiteX62" fmla="*/ 157857 w 366155"/>
                <a:gd name="connsiteY62" fmla="*/ 8114 h 560407"/>
                <a:gd name="connsiteX63" fmla="*/ 151542 w 366155"/>
                <a:gd name="connsiteY63" fmla="*/ 11321 h 560407"/>
                <a:gd name="connsiteX64" fmla="*/ 151542 w 366155"/>
                <a:gd name="connsiteY64" fmla="*/ 14578 h 560407"/>
                <a:gd name="connsiteX65" fmla="*/ 145226 w 366155"/>
                <a:gd name="connsiteY65" fmla="*/ 22670 h 560407"/>
                <a:gd name="connsiteX66" fmla="*/ 141032 w 366155"/>
                <a:gd name="connsiteY66" fmla="*/ 24249 h 560407"/>
                <a:gd name="connsiteX67" fmla="*/ 145226 w 366155"/>
                <a:gd name="connsiteY67" fmla="*/ 29183 h 560407"/>
                <a:gd name="connsiteX68" fmla="*/ 143153 w 366155"/>
                <a:gd name="connsiteY68" fmla="*/ 34117 h 560407"/>
                <a:gd name="connsiteX69" fmla="*/ 141032 w 366155"/>
                <a:gd name="connsiteY69" fmla="*/ 50251 h 560407"/>
                <a:gd name="connsiteX70" fmla="*/ 143153 w 366155"/>
                <a:gd name="connsiteY70" fmla="*/ 58293 h 560407"/>
                <a:gd name="connsiteX71" fmla="*/ 147347 w 366155"/>
                <a:gd name="connsiteY71" fmla="*/ 64757 h 560407"/>
                <a:gd name="connsiteX72" fmla="*/ 143153 w 366155"/>
                <a:gd name="connsiteY72" fmla="*/ 67964 h 560407"/>
                <a:gd name="connsiteX73" fmla="*/ 136838 w 366155"/>
                <a:gd name="connsiteY73" fmla="*/ 71171 h 560407"/>
                <a:gd name="connsiteX74" fmla="*/ 130325 w 366155"/>
                <a:gd name="connsiteY74" fmla="*/ 71171 h 560407"/>
                <a:gd name="connsiteX75" fmla="*/ 126082 w 366155"/>
                <a:gd name="connsiteY75" fmla="*/ 76105 h 560407"/>
                <a:gd name="connsiteX76" fmla="*/ 119815 w 366155"/>
                <a:gd name="connsiteY76" fmla="*/ 77734 h 560407"/>
                <a:gd name="connsiteX77" fmla="*/ 115622 w 366155"/>
                <a:gd name="connsiteY77" fmla="*/ 85776 h 560407"/>
                <a:gd name="connsiteX78" fmla="*/ 107185 w 366155"/>
                <a:gd name="connsiteY78" fmla="*/ 84197 h 560407"/>
                <a:gd name="connsiteX79" fmla="*/ 96675 w 366155"/>
                <a:gd name="connsiteY79" fmla="*/ 77734 h 560407"/>
                <a:gd name="connsiteX80" fmla="*/ 88287 w 366155"/>
                <a:gd name="connsiteY80" fmla="*/ 76105 h 560407"/>
                <a:gd name="connsiteX81" fmla="*/ 84093 w 366155"/>
                <a:gd name="connsiteY81" fmla="*/ 81039 h 560407"/>
                <a:gd name="connsiteX82" fmla="*/ 75705 w 366155"/>
                <a:gd name="connsiteY82" fmla="*/ 89082 h 560407"/>
                <a:gd name="connsiteX83" fmla="*/ 56758 w 366155"/>
                <a:gd name="connsiteY83" fmla="*/ 87503 h 560407"/>
                <a:gd name="connsiteX84" fmla="*/ 48321 w 366155"/>
                <a:gd name="connsiteY84" fmla="*/ 84296 h 560407"/>
                <a:gd name="connsiteX85" fmla="*/ 42006 w 366155"/>
                <a:gd name="connsiteY85" fmla="*/ 77832 h 560407"/>
                <a:gd name="connsiteX86" fmla="*/ 37861 w 366155"/>
                <a:gd name="connsiteY86" fmla="*/ 71369 h 560407"/>
                <a:gd name="connsiteX87" fmla="*/ 23059 w 366155"/>
                <a:gd name="connsiteY87" fmla="*/ 60119 h 560407"/>
                <a:gd name="connsiteX88" fmla="*/ 16743 w 366155"/>
                <a:gd name="connsiteY88" fmla="*/ 53655 h 560407"/>
                <a:gd name="connsiteX89" fmla="*/ 10428 w 366155"/>
                <a:gd name="connsiteY89" fmla="*/ 53655 h 560407"/>
                <a:gd name="connsiteX90" fmla="*/ 6234 w 366155"/>
                <a:gd name="connsiteY90" fmla="*/ 56912 h 560407"/>
                <a:gd name="connsiteX91" fmla="*/ 4113 w 366155"/>
                <a:gd name="connsiteY91" fmla="*/ 61846 h 560407"/>
                <a:gd name="connsiteX92" fmla="*/ 6234 w 366155"/>
                <a:gd name="connsiteY92" fmla="*/ 66780 h 560407"/>
                <a:gd name="connsiteX93" fmla="*/ 4113 w 366155"/>
                <a:gd name="connsiteY93" fmla="*/ 68359 h 560407"/>
                <a:gd name="connsiteX94" fmla="*/ 1991 w 366155"/>
                <a:gd name="connsiteY94" fmla="*/ 66780 h 560407"/>
                <a:gd name="connsiteX95" fmla="*/ -82 w 366155"/>
                <a:gd name="connsiteY95" fmla="*/ 68359 h 560407"/>
                <a:gd name="connsiteX96" fmla="*/ 6234 w 366155"/>
                <a:gd name="connsiteY96" fmla="*/ 74822 h 560407"/>
                <a:gd name="connsiteX97" fmla="*/ 14622 w 366155"/>
                <a:gd name="connsiteY97" fmla="*/ 78030 h 560407"/>
                <a:gd name="connsiteX98" fmla="*/ 27204 w 366155"/>
                <a:gd name="connsiteY98" fmla="*/ 90957 h 560407"/>
                <a:gd name="connsiteX99" fmla="*/ 37762 w 366155"/>
                <a:gd name="connsiteY99" fmla="*/ 97371 h 560407"/>
                <a:gd name="connsiteX100" fmla="*/ 52565 w 366155"/>
                <a:gd name="connsiteY100" fmla="*/ 98950 h 560407"/>
                <a:gd name="connsiteX101" fmla="*/ 56758 w 366155"/>
                <a:gd name="connsiteY101" fmla="*/ 100627 h 560407"/>
                <a:gd name="connsiteX102" fmla="*/ 63074 w 366155"/>
                <a:gd name="connsiteY102" fmla="*/ 102206 h 560407"/>
                <a:gd name="connsiteX103" fmla="*/ 69390 w 366155"/>
                <a:gd name="connsiteY103" fmla="*/ 108670 h 560407"/>
                <a:gd name="connsiteX104" fmla="*/ 71462 w 366155"/>
                <a:gd name="connsiteY104" fmla="*/ 115084 h 560407"/>
                <a:gd name="connsiteX105" fmla="*/ 77777 w 366155"/>
                <a:gd name="connsiteY105" fmla="*/ 115084 h 560407"/>
                <a:gd name="connsiteX106" fmla="*/ 84093 w 366155"/>
                <a:gd name="connsiteY106" fmla="*/ 121548 h 560407"/>
                <a:gd name="connsiteX107" fmla="*/ 88287 w 366155"/>
                <a:gd name="connsiteY107" fmla="*/ 123127 h 560407"/>
                <a:gd name="connsiteX108" fmla="*/ 92481 w 366155"/>
                <a:gd name="connsiteY108" fmla="*/ 126383 h 560407"/>
                <a:gd name="connsiteX109" fmla="*/ 90409 w 366155"/>
                <a:gd name="connsiteY109" fmla="*/ 132797 h 560407"/>
                <a:gd name="connsiteX110" fmla="*/ 92481 w 366155"/>
                <a:gd name="connsiteY110" fmla="*/ 140889 h 560407"/>
                <a:gd name="connsiteX111" fmla="*/ 88287 w 366155"/>
                <a:gd name="connsiteY111" fmla="*/ 148932 h 560407"/>
                <a:gd name="connsiteX112" fmla="*/ 88287 w 366155"/>
                <a:gd name="connsiteY112" fmla="*/ 155889 h 560407"/>
                <a:gd name="connsiteX113" fmla="*/ 98796 w 366155"/>
                <a:gd name="connsiteY113" fmla="*/ 155889 h 560407"/>
                <a:gd name="connsiteX114" fmla="*/ 100869 w 366155"/>
                <a:gd name="connsiteY114" fmla="*/ 162352 h 560407"/>
                <a:gd name="connsiteX115" fmla="*/ 96675 w 366155"/>
                <a:gd name="connsiteY115" fmla="*/ 167286 h 560407"/>
                <a:gd name="connsiteX116" fmla="*/ 98796 w 366155"/>
                <a:gd name="connsiteY116" fmla="*/ 177154 h 560407"/>
                <a:gd name="connsiteX117" fmla="*/ 102990 w 366155"/>
                <a:gd name="connsiteY117" fmla="*/ 182088 h 560407"/>
                <a:gd name="connsiteX118" fmla="*/ 105112 w 366155"/>
                <a:gd name="connsiteY118" fmla="*/ 191956 h 560407"/>
                <a:gd name="connsiteX119" fmla="*/ 102990 w 366155"/>
                <a:gd name="connsiteY119" fmla="*/ 198420 h 560407"/>
                <a:gd name="connsiteX120" fmla="*/ 105112 w 366155"/>
                <a:gd name="connsiteY120" fmla="*/ 203354 h 560407"/>
                <a:gd name="connsiteX121" fmla="*/ 105112 w 366155"/>
                <a:gd name="connsiteY121" fmla="*/ 214604 h 560407"/>
                <a:gd name="connsiteX122" fmla="*/ 102990 w 366155"/>
                <a:gd name="connsiteY122" fmla="*/ 219538 h 560407"/>
                <a:gd name="connsiteX123" fmla="*/ 105112 w 366155"/>
                <a:gd name="connsiteY123" fmla="*/ 227580 h 560407"/>
                <a:gd name="connsiteX124" fmla="*/ 113500 w 366155"/>
                <a:gd name="connsiteY124" fmla="*/ 230837 h 560407"/>
                <a:gd name="connsiteX125" fmla="*/ 119815 w 366155"/>
                <a:gd name="connsiteY125" fmla="*/ 242086 h 560407"/>
                <a:gd name="connsiteX126" fmla="*/ 124009 w 366155"/>
                <a:gd name="connsiteY126" fmla="*/ 245293 h 560407"/>
                <a:gd name="connsiteX127" fmla="*/ 121937 w 366155"/>
                <a:gd name="connsiteY127" fmla="*/ 251757 h 560407"/>
                <a:gd name="connsiteX128" fmla="*/ 126082 w 366155"/>
                <a:gd name="connsiteY128" fmla="*/ 255013 h 560407"/>
                <a:gd name="connsiteX129" fmla="*/ 132397 w 366155"/>
                <a:gd name="connsiteY129" fmla="*/ 255013 h 560407"/>
                <a:gd name="connsiteX130" fmla="*/ 138713 w 366155"/>
                <a:gd name="connsiteY130" fmla="*/ 259947 h 560407"/>
                <a:gd name="connsiteX131" fmla="*/ 153515 w 366155"/>
                <a:gd name="connsiteY131" fmla="*/ 259947 h 560407"/>
                <a:gd name="connsiteX132" fmla="*/ 161952 w 366155"/>
                <a:gd name="connsiteY132" fmla="*/ 267990 h 560407"/>
                <a:gd name="connsiteX133" fmla="*/ 157758 w 366155"/>
                <a:gd name="connsiteY133" fmla="*/ 269569 h 560407"/>
                <a:gd name="connsiteX134" fmla="*/ 159830 w 366155"/>
                <a:gd name="connsiteY134" fmla="*/ 274503 h 560407"/>
                <a:gd name="connsiteX135" fmla="*/ 161952 w 366155"/>
                <a:gd name="connsiteY135" fmla="*/ 284371 h 560407"/>
                <a:gd name="connsiteX136" fmla="*/ 157758 w 366155"/>
                <a:gd name="connsiteY136" fmla="*/ 285950 h 560407"/>
                <a:gd name="connsiteX137" fmla="*/ 170340 w 366155"/>
                <a:gd name="connsiteY137" fmla="*/ 294042 h 560407"/>
                <a:gd name="connsiteX138" fmla="*/ 161952 w 366155"/>
                <a:gd name="connsiteY138" fmla="*/ 292413 h 560407"/>
                <a:gd name="connsiteX139" fmla="*/ 157758 w 366155"/>
                <a:gd name="connsiteY139" fmla="*/ 294042 h 560407"/>
                <a:gd name="connsiteX140" fmla="*/ 168267 w 366155"/>
                <a:gd name="connsiteY140" fmla="*/ 300456 h 560407"/>
                <a:gd name="connsiteX141" fmla="*/ 168267 w 366155"/>
                <a:gd name="connsiteY141" fmla="*/ 303663 h 560407"/>
                <a:gd name="connsiteX142" fmla="*/ 157758 w 366155"/>
                <a:gd name="connsiteY142" fmla="*/ 298729 h 560407"/>
                <a:gd name="connsiteX143" fmla="*/ 147249 w 366155"/>
                <a:gd name="connsiteY143" fmla="*/ 298729 h 560407"/>
                <a:gd name="connsiteX144" fmla="*/ 138811 w 366155"/>
                <a:gd name="connsiteY144" fmla="*/ 305143 h 560407"/>
                <a:gd name="connsiteX145" fmla="*/ 138811 w 366155"/>
                <a:gd name="connsiteY145" fmla="*/ 310077 h 560407"/>
                <a:gd name="connsiteX146" fmla="*/ 132496 w 366155"/>
                <a:gd name="connsiteY146" fmla="*/ 315011 h 560407"/>
                <a:gd name="connsiteX147" fmla="*/ 132496 w 366155"/>
                <a:gd name="connsiteY147" fmla="*/ 319945 h 560407"/>
                <a:gd name="connsiteX148" fmla="*/ 128351 w 366155"/>
                <a:gd name="connsiteY148" fmla="*/ 321573 h 560407"/>
                <a:gd name="connsiteX149" fmla="*/ 117792 w 366155"/>
                <a:gd name="connsiteY149" fmla="*/ 331442 h 560407"/>
                <a:gd name="connsiteX150" fmla="*/ 115720 w 366155"/>
                <a:gd name="connsiteY150" fmla="*/ 342741 h 560407"/>
                <a:gd name="connsiteX151" fmla="*/ 113599 w 366155"/>
                <a:gd name="connsiteY151" fmla="*/ 342741 h 560407"/>
                <a:gd name="connsiteX152" fmla="*/ 111477 w 366155"/>
                <a:gd name="connsiteY152" fmla="*/ 339484 h 560407"/>
                <a:gd name="connsiteX153" fmla="*/ 107283 w 366155"/>
                <a:gd name="connsiteY153" fmla="*/ 339484 h 560407"/>
                <a:gd name="connsiteX154" fmla="*/ 111477 w 366155"/>
                <a:gd name="connsiteY154" fmla="*/ 345948 h 560407"/>
                <a:gd name="connsiteX155" fmla="*/ 109405 w 366155"/>
                <a:gd name="connsiteY155" fmla="*/ 350882 h 560407"/>
                <a:gd name="connsiteX156" fmla="*/ 100968 w 366155"/>
                <a:gd name="connsiteY156" fmla="*/ 352510 h 560407"/>
                <a:gd name="connsiteX157" fmla="*/ 96773 w 366155"/>
                <a:gd name="connsiteY157" fmla="*/ 357444 h 560407"/>
                <a:gd name="connsiteX158" fmla="*/ 98895 w 366155"/>
                <a:gd name="connsiteY158" fmla="*/ 365536 h 560407"/>
                <a:gd name="connsiteX159" fmla="*/ 103089 w 366155"/>
                <a:gd name="connsiteY159" fmla="*/ 368743 h 560407"/>
                <a:gd name="connsiteX160" fmla="*/ 94652 w 366155"/>
                <a:gd name="connsiteY160" fmla="*/ 365536 h 560407"/>
                <a:gd name="connsiteX161" fmla="*/ 92579 w 366155"/>
                <a:gd name="connsiteY161" fmla="*/ 362329 h 560407"/>
                <a:gd name="connsiteX162" fmla="*/ 88386 w 366155"/>
                <a:gd name="connsiteY162" fmla="*/ 363908 h 560407"/>
                <a:gd name="connsiteX163" fmla="*/ 84192 w 366155"/>
                <a:gd name="connsiteY163" fmla="*/ 370371 h 560407"/>
                <a:gd name="connsiteX164" fmla="*/ 86264 w 366155"/>
                <a:gd name="connsiteY164" fmla="*/ 373578 h 560407"/>
                <a:gd name="connsiteX165" fmla="*/ 82070 w 366155"/>
                <a:gd name="connsiteY165" fmla="*/ 371950 h 560407"/>
                <a:gd name="connsiteX166" fmla="*/ 79949 w 366155"/>
                <a:gd name="connsiteY166" fmla="*/ 375207 h 560407"/>
                <a:gd name="connsiteX167" fmla="*/ 84192 w 366155"/>
                <a:gd name="connsiteY167" fmla="*/ 378414 h 560407"/>
                <a:gd name="connsiteX168" fmla="*/ 84192 w 366155"/>
                <a:gd name="connsiteY168" fmla="*/ 381621 h 560407"/>
                <a:gd name="connsiteX169" fmla="*/ 79949 w 366155"/>
                <a:gd name="connsiteY169" fmla="*/ 384877 h 560407"/>
                <a:gd name="connsiteX170" fmla="*/ 77876 w 366155"/>
                <a:gd name="connsiteY170" fmla="*/ 389811 h 560407"/>
                <a:gd name="connsiteX171" fmla="*/ 71560 w 366155"/>
                <a:gd name="connsiteY171" fmla="*/ 393068 h 560407"/>
                <a:gd name="connsiteX172" fmla="*/ 67367 w 366155"/>
                <a:gd name="connsiteY172" fmla="*/ 389811 h 560407"/>
                <a:gd name="connsiteX173" fmla="*/ 67367 w 366155"/>
                <a:gd name="connsiteY173" fmla="*/ 388183 h 560407"/>
                <a:gd name="connsiteX174" fmla="*/ 63173 w 366155"/>
                <a:gd name="connsiteY174" fmla="*/ 386604 h 560407"/>
                <a:gd name="connsiteX175" fmla="*/ 56857 w 366155"/>
                <a:gd name="connsiteY175" fmla="*/ 388183 h 560407"/>
                <a:gd name="connsiteX176" fmla="*/ 58930 w 366155"/>
                <a:gd name="connsiteY176" fmla="*/ 394647 h 560407"/>
                <a:gd name="connsiteX177" fmla="*/ 54736 w 366155"/>
                <a:gd name="connsiteY177" fmla="*/ 397854 h 560407"/>
                <a:gd name="connsiteX178" fmla="*/ 56857 w 366155"/>
                <a:gd name="connsiteY178" fmla="*/ 402788 h 560407"/>
                <a:gd name="connsiteX179" fmla="*/ 54736 w 366155"/>
                <a:gd name="connsiteY179" fmla="*/ 409251 h 560407"/>
                <a:gd name="connsiteX180" fmla="*/ 52663 w 366155"/>
                <a:gd name="connsiteY180" fmla="*/ 409251 h 560407"/>
                <a:gd name="connsiteX181" fmla="*/ 48420 w 366155"/>
                <a:gd name="connsiteY181" fmla="*/ 414185 h 560407"/>
                <a:gd name="connsiteX182" fmla="*/ 50541 w 366155"/>
                <a:gd name="connsiteY182" fmla="*/ 420649 h 560407"/>
                <a:gd name="connsiteX183" fmla="*/ 52663 w 366155"/>
                <a:gd name="connsiteY183" fmla="*/ 422228 h 560407"/>
                <a:gd name="connsiteX184" fmla="*/ 50541 w 366155"/>
                <a:gd name="connsiteY184" fmla="*/ 428691 h 560407"/>
                <a:gd name="connsiteX185" fmla="*/ 52663 w 366155"/>
                <a:gd name="connsiteY185" fmla="*/ 431899 h 560407"/>
                <a:gd name="connsiteX186" fmla="*/ 56857 w 366155"/>
                <a:gd name="connsiteY186" fmla="*/ 430320 h 560407"/>
                <a:gd name="connsiteX187" fmla="*/ 61051 w 366155"/>
                <a:gd name="connsiteY187" fmla="*/ 433527 h 560407"/>
                <a:gd name="connsiteX188" fmla="*/ 58930 w 366155"/>
                <a:gd name="connsiteY188" fmla="*/ 439990 h 560407"/>
                <a:gd name="connsiteX189" fmla="*/ 56857 w 366155"/>
                <a:gd name="connsiteY189" fmla="*/ 443198 h 560407"/>
                <a:gd name="connsiteX190" fmla="*/ 58930 w 366155"/>
                <a:gd name="connsiteY190" fmla="*/ 449612 h 560407"/>
                <a:gd name="connsiteX191" fmla="*/ 58930 w 366155"/>
                <a:gd name="connsiteY191" fmla="*/ 452868 h 560407"/>
                <a:gd name="connsiteX192" fmla="*/ 65245 w 366155"/>
                <a:gd name="connsiteY192" fmla="*/ 462736 h 560407"/>
                <a:gd name="connsiteX193" fmla="*/ 69489 w 366155"/>
                <a:gd name="connsiteY193" fmla="*/ 464364 h 560407"/>
                <a:gd name="connsiteX194" fmla="*/ 67367 w 366155"/>
                <a:gd name="connsiteY194" fmla="*/ 469298 h 560407"/>
                <a:gd name="connsiteX195" fmla="*/ 71560 w 366155"/>
                <a:gd name="connsiteY195" fmla="*/ 475762 h 560407"/>
                <a:gd name="connsiteX196" fmla="*/ 67367 w 366155"/>
                <a:gd name="connsiteY196" fmla="*/ 477390 h 560407"/>
                <a:gd name="connsiteX197" fmla="*/ 67367 w 366155"/>
                <a:gd name="connsiteY197" fmla="*/ 487258 h 560407"/>
                <a:gd name="connsiteX198" fmla="*/ 65245 w 366155"/>
                <a:gd name="connsiteY198" fmla="*/ 492192 h 560407"/>
                <a:gd name="connsiteX199" fmla="*/ 65245 w 366155"/>
                <a:gd name="connsiteY199" fmla="*/ 503442 h 560407"/>
                <a:gd name="connsiteX200" fmla="*/ 69489 w 366155"/>
                <a:gd name="connsiteY200" fmla="*/ 508376 h 560407"/>
                <a:gd name="connsiteX201" fmla="*/ 65245 w 366155"/>
                <a:gd name="connsiteY201" fmla="*/ 514790 h 560407"/>
                <a:gd name="connsiteX202" fmla="*/ 65245 w 366155"/>
                <a:gd name="connsiteY202" fmla="*/ 519724 h 560407"/>
                <a:gd name="connsiteX203" fmla="*/ 67367 w 366155"/>
                <a:gd name="connsiteY203" fmla="*/ 522981 h 560407"/>
                <a:gd name="connsiteX204" fmla="*/ 77876 w 366155"/>
                <a:gd name="connsiteY204" fmla="*/ 519724 h 560407"/>
                <a:gd name="connsiteX205" fmla="*/ 82070 w 366155"/>
                <a:gd name="connsiteY205" fmla="*/ 522981 h 560407"/>
                <a:gd name="connsiteX206" fmla="*/ 82070 w 366155"/>
                <a:gd name="connsiteY206" fmla="*/ 518047 h 560407"/>
                <a:gd name="connsiteX207" fmla="*/ 90508 w 366155"/>
                <a:gd name="connsiteY207" fmla="*/ 526139 h 560407"/>
                <a:gd name="connsiteX208" fmla="*/ 96773 w 366155"/>
                <a:gd name="connsiteY208" fmla="*/ 524510 h 560407"/>
                <a:gd name="connsiteX209" fmla="*/ 100968 w 366155"/>
                <a:gd name="connsiteY209" fmla="*/ 529444 h 560407"/>
                <a:gd name="connsiteX210" fmla="*/ 111477 w 366155"/>
                <a:gd name="connsiteY210" fmla="*/ 527816 h 560407"/>
                <a:gd name="connsiteX211" fmla="*/ 115720 w 366155"/>
                <a:gd name="connsiteY211" fmla="*/ 529444 h 560407"/>
                <a:gd name="connsiteX212" fmla="*/ 111477 w 366155"/>
                <a:gd name="connsiteY212" fmla="*/ 534378 h 560407"/>
                <a:gd name="connsiteX213" fmla="*/ 115720 w 366155"/>
                <a:gd name="connsiteY213" fmla="*/ 534378 h 560407"/>
                <a:gd name="connsiteX214" fmla="*/ 124108 w 366155"/>
                <a:gd name="connsiteY214" fmla="*/ 527915 h 560407"/>
                <a:gd name="connsiteX215" fmla="*/ 124108 w 366155"/>
                <a:gd name="connsiteY215" fmla="*/ 532849 h 560407"/>
                <a:gd name="connsiteX216" fmla="*/ 119914 w 366155"/>
                <a:gd name="connsiteY216" fmla="*/ 537783 h 560407"/>
                <a:gd name="connsiteX217" fmla="*/ 128351 w 366155"/>
                <a:gd name="connsiteY217" fmla="*/ 549082 h 560407"/>
                <a:gd name="connsiteX218" fmla="*/ 130424 w 366155"/>
                <a:gd name="connsiteY218" fmla="*/ 552338 h 560407"/>
                <a:gd name="connsiteX219" fmla="*/ 128351 w 366155"/>
                <a:gd name="connsiteY219" fmla="*/ 558753 h 560407"/>
                <a:gd name="connsiteX220" fmla="*/ 130424 w 366155"/>
                <a:gd name="connsiteY220" fmla="*/ 560381 h 560407"/>
                <a:gd name="connsiteX221" fmla="*/ 134618 w 366155"/>
                <a:gd name="connsiteY221" fmla="*/ 550513 h 560407"/>
                <a:gd name="connsiteX222" fmla="*/ 138811 w 366155"/>
                <a:gd name="connsiteY222" fmla="*/ 548884 h 560407"/>
                <a:gd name="connsiteX223" fmla="*/ 140933 w 366155"/>
                <a:gd name="connsiteY223" fmla="*/ 553819 h 560407"/>
                <a:gd name="connsiteX224" fmla="*/ 147249 w 366155"/>
                <a:gd name="connsiteY224" fmla="*/ 550611 h 560407"/>
                <a:gd name="connsiteX225" fmla="*/ 151443 w 366155"/>
                <a:gd name="connsiteY225" fmla="*/ 550611 h 560407"/>
                <a:gd name="connsiteX226" fmla="*/ 164024 w 366155"/>
                <a:gd name="connsiteY226" fmla="*/ 544148 h 560407"/>
                <a:gd name="connsiteX227" fmla="*/ 170340 w 366155"/>
                <a:gd name="connsiteY227" fmla="*/ 544148 h 560407"/>
                <a:gd name="connsiteX228" fmla="*/ 185142 w 366155"/>
                <a:gd name="connsiteY228" fmla="*/ 536105 h 560407"/>
                <a:gd name="connsiteX229" fmla="*/ 185142 w 366155"/>
                <a:gd name="connsiteY229" fmla="*/ 532898 h 560407"/>
                <a:gd name="connsiteX230" fmla="*/ 195701 w 366155"/>
                <a:gd name="connsiteY230" fmla="*/ 534477 h 560407"/>
                <a:gd name="connsiteX231" fmla="*/ 201967 w 366155"/>
                <a:gd name="connsiteY231" fmla="*/ 532898 h 560407"/>
                <a:gd name="connsiteX232" fmla="*/ 206210 w 366155"/>
                <a:gd name="connsiteY232" fmla="*/ 526435 h 560407"/>
                <a:gd name="connsiteX233" fmla="*/ 208283 w 366155"/>
                <a:gd name="connsiteY233" fmla="*/ 528014 h 560407"/>
                <a:gd name="connsiteX234" fmla="*/ 206210 w 366155"/>
                <a:gd name="connsiteY234" fmla="*/ 534477 h 560407"/>
                <a:gd name="connsiteX235" fmla="*/ 208283 w 366155"/>
                <a:gd name="connsiteY235" fmla="*/ 534477 h 560407"/>
                <a:gd name="connsiteX236" fmla="*/ 212526 w 366155"/>
                <a:gd name="connsiteY236" fmla="*/ 528014 h 560407"/>
                <a:gd name="connsiteX237" fmla="*/ 216671 w 366155"/>
                <a:gd name="connsiteY237" fmla="*/ 528014 h 560407"/>
                <a:gd name="connsiteX238" fmla="*/ 212526 w 366155"/>
                <a:gd name="connsiteY238" fmla="*/ 521599 h 560407"/>
                <a:gd name="connsiteX239" fmla="*/ 216671 w 366155"/>
                <a:gd name="connsiteY239" fmla="*/ 519971 h 560407"/>
                <a:gd name="connsiteX240" fmla="*/ 220914 w 366155"/>
                <a:gd name="connsiteY240" fmla="*/ 526435 h 560407"/>
                <a:gd name="connsiteX241" fmla="*/ 225108 w 366155"/>
                <a:gd name="connsiteY241" fmla="*/ 526435 h 560407"/>
                <a:gd name="connsiteX242" fmla="*/ 225108 w 366155"/>
                <a:gd name="connsiteY242" fmla="*/ 521501 h 560407"/>
                <a:gd name="connsiteX243" fmla="*/ 229302 w 366155"/>
                <a:gd name="connsiteY243" fmla="*/ 527915 h 560407"/>
                <a:gd name="connsiteX244" fmla="*/ 233496 w 366155"/>
                <a:gd name="connsiteY244" fmla="*/ 527915 h 560407"/>
                <a:gd name="connsiteX245" fmla="*/ 235617 w 366155"/>
                <a:gd name="connsiteY245" fmla="*/ 522981 h 560407"/>
                <a:gd name="connsiteX246" fmla="*/ 237690 w 366155"/>
                <a:gd name="connsiteY246" fmla="*/ 524560 h 560407"/>
                <a:gd name="connsiteX247" fmla="*/ 239811 w 366155"/>
                <a:gd name="connsiteY247" fmla="*/ 527767 h 560407"/>
                <a:gd name="connsiteX248" fmla="*/ 244005 w 366155"/>
                <a:gd name="connsiteY248" fmla="*/ 522833 h 560407"/>
                <a:gd name="connsiteX249" fmla="*/ 254515 w 366155"/>
                <a:gd name="connsiteY249" fmla="*/ 521205 h 560407"/>
                <a:gd name="connsiteX250" fmla="*/ 258758 w 366155"/>
                <a:gd name="connsiteY250" fmla="*/ 526139 h 560407"/>
                <a:gd name="connsiteX251" fmla="*/ 271339 w 366155"/>
                <a:gd name="connsiteY251" fmla="*/ 524510 h 560407"/>
                <a:gd name="connsiteX252" fmla="*/ 271339 w 366155"/>
                <a:gd name="connsiteY252" fmla="*/ 521303 h 560407"/>
                <a:gd name="connsiteX253" fmla="*/ 269218 w 366155"/>
                <a:gd name="connsiteY253" fmla="*/ 518047 h 560407"/>
                <a:gd name="connsiteX254" fmla="*/ 271339 w 366155"/>
                <a:gd name="connsiteY254" fmla="*/ 516468 h 560407"/>
                <a:gd name="connsiteX255" fmla="*/ 277655 w 366155"/>
                <a:gd name="connsiteY255" fmla="*/ 518047 h 560407"/>
                <a:gd name="connsiteX256" fmla="*/ 277655 w 366155"/>
                <a:gd name="connsiteY256" fmla="*/ 521303 h 560407"/>
                <a:gd name="connsiteX257" fmla="*/ 286043 w 366155"/>
                <a:gd name="connsiteY257" fmla="*/ 522932 h 560407"/>
                <a:gd name="connsiteX258" fmla="*/ 288214 w 366155"/>
                <a:gd name="connsiteY258" fmla="*/ 515481 h 560407"/>
                <a:gd name="connsiteX259" fmla="*/ 151591 w 366155"/>
                <a:gd name="connsiteY259" fmla="*/ 291476 h 560407"/>
                <a:gd name="connsiteX260" fmla="*/ 149469 w 366155"/>
                <a:gd name="connsiteY260" fmla="*/ 293104 h 560407"/>
                <a:gd name="connsiteX261" fmla="*/ 143203 w 366155"/>
                <a:gd name="connsiteY261" fmla="*/ 293104 h 560407"/>
                <a:gd name="connsiteX262" fmla="*/ 138960 w 366155"/>
                <a:gd name="connsiteY262" fmla="*/ 286641 h 560407"/>
                <a:gd name="connsiteX263" fmla="*/ 145275 w 366155"/>
                <a:gd name="connsiteY263" fmla="*/ 283433 h 560407"/>
                <a:gd name="connsiteX264" fmla="*/ 155785 w 366155"/>
                <a:gd name="connsiteY264" fmla="*/ 285012 h 560407"/>
                <a:gd name="connsiteX265" fmla="*/ 155785 w 366155"/>
                <a:gd name="connsiteY265" fmla="*/ 286641 h 560407"/>
                <a:gd name="connsiteX266" fmla="*/ 149469 w 366155"/>
                <a:gd name="connsiteY266" fmla="*/ 288269 h 560407"/>
                <a:gd name="connsiteX267" fmla="*/ 50690 w 366155"/>
                <a:gd name="connsiteY267" fmla="*/ 378512 h 560407"/>
                <a:gd name="connsiteX268" fmla="*/ 50690 w 366155"/>
                <a:gd name="connsiteY268" fmla="*/ 375305 h 560407"/>
                <a:gd name="connsiteX269" fmla="*/ 54883 w 366155"/>
                <a:gd name="connsiteY269" fmla="*/ 378512 h 560407"/>
                <a:gd name="connsiteX270" fmla="*/ 52811 w 366155"/>
                <a:gd name="connsiteY270" fmla="*/ 380091 h 560407"/>
                <a:gd name="connsiteX271" fmla="*/ 46496 w 366155"/>
                <a:gd name="connsiteY271" fmla="*/ 381719 h 560407"/>
                <a:gd name="connsiteX272" fmla="*/ 50690 w 366155"/>
                <a:gd name="connsiteY272" fmla="*/ 384976 h 560407"/>
                <a:gd name="connsiteX273" fmla="*/ 54883 w 366155"/>
                <a:gd name="connsiteY273" fmla="*/ 383348 h 560407"/>
                <a:gd name="connsiteX274" fmla="*/ 54883 w 366155"/>
                <a:gd name="connsiteY274" fmla="*/ 388282 h 560407"/>
                <a:gd name="connsiteX275" fmla="*/ 48568 w 366155"/>
                <a:gd name="connsiteY275" fmla="*/ 391538 h 560407"/>
                <a:gd name="connsiteX276" fmla="*/ 44374 w 366155"/>
                <a:gd name="connsiteY276" fmla="*/ 388282 h 560407"/>
                <a:gd name="connsiteX277" fmla="*/ 122184 w 366155"/>
                <a:gd name="connsiteY277" fmla="*/ 544543 h 560407"/>
                <a:gd name="connsiteX278" fmla="*/ 124256 w 366155"/>
                <a:gd name="connsiteY278" fmla="*/ 549477 h 560407"/>
                <a:gd name="connsiteX279" fmla="*/ 117940 w 366155"/>
                <a:gd name="connsiteY279" fmla="*/ 552684 h 560407"/>
                <a:gd name="connsiteX280" fmla="*/ 115868 w 366155"/>
                <a:gd name="connsiteY280" fmla="*/ 549477 h 560407"/>
                <a:gd name="connsiteX281" fmla="*/ 120062 w 366155"/>
                <a:gd name="connsiteY281" fmla="*/ 547848 h 560407"/>
                <a:gd name="connsiteX282" fmla="*/ 111625 w 366155"/>
                <a:gd name="connsiteY282" fmla="*/ 538128 h 560407"/>
                <a:gd name="connsiteX283" fmla="*/ 113747 w 366155"/>
                <a:gd name="connsiteY283" fmla="*/ 543062 h 560407"/>
                <a:gd name="connsiteX284" fmla="*/ 111625 w 366155"/>
                <a:gd name="connsiteY284" fmla="*/ 543062 h 560407"/>
                <a:gd name="connsiteX285" fmla="*/ 96823 w 366155"/>
                <a:gd name="connsiteY285" fmla="*/ 531665 h 560407"/>
                <a:gd name="connsiteX286" fmla="*/ 109454 w 366155"/>
                <a:gd name="connsiteY286" fmla="*/ 530086 h 560407"/>
                <a:gd name="connsiteX287" fmla="*/ 107332 w 366155"/>
                <a:gd name="connsiteY287" fmla="*/ 533293 h 560407"/>
                <a:gd name="connsiteX288" fmla="*/ 101017 w 366155"/>
                <a:gd name="connsiteY288" fmla="*/ 538227 h 560407"/>
                <a:gd name="connsiteX289" fmla="*/ 96823 w 366155"/>
                <a:gd name="connsiteY289" fmla="*/ 534970 h 560407"/>
                <a:gd name="connsiteX290" fmla="*/ 82021 w 366155"/>
                <a:gd name="connsiteY290" fmla="*/ 521797 h 560407"/>
                <a:gd name="connsiteX291" fmla="*/ 90458 w 366155"/>
                <a:gd name="connsiteY291" fmla="*/ 526731 h 560407"/>
                <a:gd name="connsiteX292" fmla="*/ 86215 w 366155"/>
                <a:gd name="connsiteY292" fmla="*/ 529987 h 560407"/>
                <a:gd name="connsiteX293" fmla="*/ 82021 w 366155"/>
                <a:gd name="connsiteY293" fmla="*/ 526731 h 560407"/>
                <a:gd name="connsiteX294" fmla="*/ 65196 w 366155"/>
                <a:gd name="connsiteY294" fmla="*/ 523425 h 560407"/>
                <a:gd name="connsiteX295" fmla="*/ 73584 w 366155"/>
                <a:gd name="connsiteY295" fmla="*/ 525004 h 560407"/>
                <a:gd name="connsiteX296" fmla="*/ 69439 w 366155"/>
                <a:gd name="connsiteY296" fmla="*/ 526632 h 560407"/>
                <a:gd name="connsiteX297" fmla="*/ 16892 w 366155"/>
                <a:gd name="connsiteY297" fmla="*/ 533293 h 560407"/>
                <a:gd name="connsiteX298" fmla="*/ 25279 w 366155"/>
                <a:gd name="connsiteY298" fmla="*/ 534872 h 560407"/>
                <a:gd name="connsiteX299" fmla="*/ 27352 w 366155"/>
                <a:gd name="connsiteY299" fmla="*/ 533293 h 560407"/>
                <a:gd name="connsiteX300" fmla="*/ 23207 w 366155"/>
                <a:gd name="connsiteY300" fmla="*/ 530086 h 560407"/>
                <a:gd name="connsiteX301" fmla="*/ 23207 w 366155"/>
                <a:gd name="connsiteY301" fmla="*/ 525152 h 560407"/>
                <a:gd name="connsiteX302" fmla="*/ 27352 w 366155"/>
                <a:gd name="connsiteY302" fmla="*/ 525152 h 560407"/>
                <a:gd name="connsiteX303" fmla="*/ 37911 w 366155"/>
                <a:gd name="connsiteY303" fmla="*/ 531615 h 560407"/>
                <a:gd name="connsiteX304" fmla="*/ 37911 w 366155"/>
                <a:gd name="connsiteY304" fmla="*/ 536549 h 560407"/>
                <a:gd name="connsiteX305" fmla="*/ 33667 w 366155"/>
                <a:gd name="connsiteY305" fmla="*/ 534872 h 560407"/>
                <a:gd name="connsiteX306" fmla="*/ 31595 w 366155"/>
                <a:gd name="connsiteY306" fmla="*/ 538128 h 560407"/>
                <a:gd name="connsiteX307" fmla="*/ 33667 w 366155"/>
                <a:gd name="connsiteY307" fmla="*/ 543062 h 560407"/>
                <a:gd name="connsiteX308" fmla="*/ 39982 w 366155"/>
                <a:gd name="connsiteY308" fmla="*/ 543062 h 560407"/>
                <a:gd name="connsiteX309" fmla="*/ 42055 w 366155"/>
                <a:gd name="connsiteY309" fmla="*/ 547996 h 560407"/>
                <a:gd name="connsiteX310" fmla="*/ 35789 w 366155"/>
                <a:gd name="connsiteY310" fmla="*/ 549625 h 560407"/>
                <a:gd name="connsiteX311" fmla="*/ 29474 w 366155"/>
                <a:gd name="connsiteY311" fmla="*/ 544691 h 560407"/>
                <a:gd name="connsiteX312" fmla="*/ 23207 w 366155"/>
                <a:gd name="connsiteY312" fmla="*/ 543112 h 560407"/>
                <a:gd name="connsiteX313" fmla="*/ 18964 w 366155"/>
                <a:gd name="connsiteY313" fmla="*/ 539905 h 560407"/>
                <a:gd name="connsiteX314" fmla="*/ 14770 w 366155"/>
                <a:gd name="connsiteY314" fmla="*/ 536697 h 56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366155" h="560407">
                  <a:moveTo>
                    <a:pt x="288214" y="515481"/>
                  </a:moveTo>
                  <a:lnTo>
                    <a:pt x="286092" y="507439"/>
                  </a:lnTo>
                  <a:lnTo>
                    <a:pt x="302917" y="492933"/>
                  </a:lnTo>
                  <a:lnTo>
                    <a:pt x="311354" y="489725"/>
                  </a:lnTo>
                  <a:lnTo>
                    <a:pt x="321815" y="475219"/>
                  </a:lnTo>
                  <a:lnTo>
                    <a:pt x="332373" y="462341"/>
                  </a:lnTo>
                  <a:lnTo>
                    <a:pt x="340762" y="446207"/>
                  </a:lnTo>
                  <a:lnTo>
                    <a:pt x="355564" y="425287"/>
                  </a:lnTo>
                  <a:lnTo>
                    <a:pt x="366073" y="404317"/>
                  </a:lnTo>
                  <a:lnTo>
                    <a:pt x="361879" y="394449"/>
                  </a:lnTo>
                  <a:lnTo>
                    <a:pt x="347077" y="378315"/>
                  </a:lnTo>
                  <a:lnTo>
                    <a:pt x="336518" y="376687"/>
                  </a:lnTo>
                  <a:lnTo>
                    <a:pt x="319743" y="355717"/>
                  </a:lnTo>
                  <a:lnTo>
                    <a:pt x="323936" y="347675"/>
                  </a:lnTo>
                  <a:lnTo>
                    <a:pt x="330252" y="339632"/>
                  </a:lnTo>
                  <a:lnTo>
                    <a:pt x="330252" y="329764"/>
                  </a:lnTo>
                  <a:lnTo>
                    <a:pt x="317818" y="323646"/>
                  </a:lnTo>
                  <a:lnTo>
                    <a:pt x="315648" y="315554"/>
                  </a:lnTo>
                  <a:lnTo>
                    <a:pt x="313575" y="304255"/>
                  </a:lnTo>
                  <a:lnTo>
                    <a:pt x="317818" y="302627"/>
                  </a:lnTo>
                  <a:lnTo>
                    <a:pt x="313575" y="296213"/>
                  </a:lnTo>
                  <a:lnTo>
                    <a:pt x="305187" y="294584"/>
                  </a:lnTo>
                  <a:lnTo>
                    <a:pt x="300944" y="289650"/>
                  </a:lnTo>
                  <a:lnTo>
                    <a:pt x="300944" y="280226"/>
                  </a:lnTo>
                  <a:lnTo>
                    <a:pt x="305187" y="273763"/>
                  </a:lnTo>
                  <a:lnTo>
                    <a:pt x="298872" y="272134"/>
                  </a:lnTo>
                  <a:lnTo>
                    <a:pt x="298872" y="246379"/>
                  </a:lnTo>
                  <a:lnTo>
                    <a:pt x="305187" y="246379"/>
                  </a:lnTo>
                  <a:lnTo>
                    <a:pt x="290385" y="214110"/>
                  </a:lnTo>
                  <a:lnTo>
                    <a:pt x="275583" y="189933"/>
                  </a:lnTo>
                  <a:lnTo>
                    <a:pt x="271389" y="181891"/>
                  </a:lnTo>
                  <a:lnTo>
                    <a:pt x="263001" y="173799"/>
                  </a:lnTo>
                  <a:lnTo>
                    <a:pt x="269268" y="159293"/>
                  </a:lnTo>
                  <a:lnTo>
                    <a:pt x="275583" y="149425"/>
                  </a:lnTo>
                  <a:lnTo>
                    <a:pt x="279826" y="139557"/>
                  </a:lnTo>
                  <a:lnTo>
                    <a:pt x="275583" y="136350"/>
                  </a:lnTo>
                  <a:lnTo>
                    <a:pt x="258807" y="126482"/>
                  </a:lnTo>
                  <a:lnTo>
                    <a:pt x="256686" y="121548"/>
                  </a:lnTo>
                  <a:lnTo>
                    <a:pt x="250370" y="113505"/>
                  </a:lnTo>
                  <a:lnTo>
                    <a:pt x="239860" y="108571"/>
                  </a:lnTo>
                  <a:lnTo>
                    <a:pt x="235666" y="108571"/>
                  </a:lnTo>
                  <a:lnTo>
                    <a:pt x="229351" y="94065"/>
                  </a:lnTo>
                  <a:lnTo>
                    <a:pt x="225157" y="89131"/>
                  </a:lnTo>
                  <a:lnTo>
                    <a:pt x="227279" y="77882"/>
                  </a:lnTo>
                  <a:lnTo>
                    <a:pt x="229351" y="69839"/>
                  </a:lnTo>
                  <a:lnTo>
                    <a:pt x="223036" y="68211"/>
                  </a:lnTo>
                  <a:lnTo>
                    <a:pt x="229351" y="65004"/>
                  </a:lnTo>
                  <a:lnTo>
                    <a:pt x="237739" y="61747"/>
                  </a:lnTo>
                  <a:lnTo>
                    <a:pt x="235666" y="48869"/>
                  </a:lnTo>
                  <a:lnTo>
                    <a:pt x="244055" y="40827"/>
                  </a:lnTo>
                  <a:lnTo>
                    <a:pt x="244055" y="34363"/>
                  </a:lnTo>
                  <a:lnTo>
                    <a:pt x="237739" y="27900"/>
                  </a:lnTo>
                  <a:lnTo>
                    <a:pt x="235666" y="22966"/>
                  </a:lnTo>
                  <a:lnTo>
                    <a:pt x="223036" y="21288"/>
                  </a:lnTo>
                  <a:lnTo>
                    <a:pt x="214647" y="19709"/>
                  </a:lnTo>
                  <a:lnTo>
                    <a:pt x="210454" y="14775"/>
                  </a:lnTo>
                  <a:lnTo>
                    <a:pt x="202017" y="4907"/>
                  </a:lnTo>
                  <a:lnTo>
                    <a:pt x="193628" y="-27"/>
                  </a:lnTo>
                  <a:lnTo>
                    <a:pt x="178826" y="1601"/>
                  </a:lnTo>
                  <a:lnTo>
                    <a:pt x="172561" y="6535"/>
                  </a:lnTo>
                  <a:lnTo>
                    <a:pt x="172561" y="9743"/>
                  </a:lnTo>
                  <a:lnTo>
                    <a:pt x="168366" y="9743"/>
                  </a:lnTo>
                  <a:lnTo>
                    <a:pt x="157857" y="8114"/>
                  </a:lnTo>
                  <a:lnTo>
                    <a:pt x="151542" y="11321"/>
                  </a:lnTo>
                  <a:lnTo>
                    <a:pt x="151542" y="14578"/>
                  </a:lnTo>
                  <a:lnTo>
                    <a:pt x="145226" y="22670"/>
                  </a:lnTo>
                  <a:lnTo>
                    <a:pt x="141032" y="24249"/>
                  </a:lnTo>
                  <a:lnTo>
                    <a:pt x="145226" y="29183"/>
                  </a:lnTo>
                  <a:lnTo>
                    <a:pt x="143153" y="34117"/>
                  </a:lnTo>
                  <a:lnTo>
                    <a:pt x="141032" y="50251"/>
                  </a:lnTo>
                  <a:lnTo>
                    <a:pt x="143153" y="58293"/>
                  </a:lnTo>
                  <a:lnTo>
                    <a:pt x="147347" y="64757"/>
                  </a:lnTo>
                  <a:lnTo>
                    <a:pt x="143153" y="67964"/>
                  </a:lnTo>
                  <a:lnTo>
                    <a:pt x="136838" y="71171"/>
                  </a:lnTo>
                  <a:lnTo>
                    <a:pt x="130325" y="71171"/>
                  </a:lnTo>
                  <a:lnTo>
                    <a:pt x="126082" y="76105"/>
                  </a:lnTo>
                  <a:lnTo>
                    <a:pt x="119815" y="77734"/>
                  </a:lnTo>
                  <a:lnTo>
                    <a:pt x="115622" y="85776"/>
                  </a:lnTo>
                  <a:lnTo>
                    <a:pt x="107185" y="84197"/>
                  </a:lnTo>
                  <a:lnTo>
                    <a:pt x="96675" y="77734"/>
                  </a:lnTo>
                  <a:lnTo>
                    <a:pt x="88287" y="76105"/>
                  </a:lnTo>
                  <a:lnTo>
                    <a:pt x="84093" y="81039"/>
                  </a:lnTo>
                  <a:lnTo>
                    <a:pt x="75705" y="89082"/>
                  </a:lnTo>
                  <a:lnTo>
                    <a:pt x="56758" y="87503"/>
                  </a:lnTo>
                  <a:lnTo>
                    <a:pt x="48321" y="84296"/>
                  </a:lnTo>
                  <a:lnTo>
                    <a:pt x="42006" y="77832"/>
                  </a:lnTo>
                  <a:lnTo>
                    <a:pt x="37861" y="71369"/>
                  </a:lnTo>
                  <a:lnTo>
                    <a:pt x="23059" y="60119"/>
                  </a:lnTo>
                  <a:lnTo>
                    <a:pt x="16743" y="53655"/>
                  </a:lnTo>
                  <a:lnTo>
                    <a:pt x="10428" y="53655"/>
                  </a:lnTo>
                  <a:lnTo>
                    <a:pt x="6234" y="56912"/>
                  </a:lnTo>
                  <a:lnTo>
                    <a:pt x="4113" y="61846"/>
                  </a:lnTo>
                  <a:lnTo>
                    <a:pt x="6234" y="66780"/>
                  </a:lnTo>
                  <a:lnTo>
                    <a:pt x="4113" y="68359"/>
                  </a:lnTo>
                  <a:lnTo>
                    <a:pt x="1991" y="66780"/>
                  </a:lnTo>
                  <a:lnTo>
                    <a:pt x="-82" y="68359"/>
                  </a:lnTo>
                  <a:lnTo>
                    <a:pt x="6234" y="74822"/>
                  </a:lnTo>
                  <a:lnTo>
                    <a:pt x="14622" y="78030"/>
                  </a:lnTo>
                  <a:lnTo>
                    <a:pt x="27204" y="90957"/>
                  </a:lnTo>
                  <a:lnTo>
                    <a:pt x="37762" y="97371"/>
                  </a:lnTo>
                  <a:lnTo>
                    <a:pt x="52565" y="98950"/>
                  </a:lnTo>
                  <a:lnTo>
                    <a:pt x="56758" y="100627"/>
                  </a:lnTo>
                  <a:lnTo>
                    <a:pt x="63074" y="102206"/>
                  </a:lnTo>
                  <a:lnTo>
                    <a:pt x="69390" y="108670"/>
                  </a:lnTo>
                  <a:lnTo>
                    <a:pt x="71462" y="115084"/>
                  </a:lnTo>
                  <a:lnTo>
                    <a:pt x="77777" y="115084"/>
                  </a:lnTo>
                  <a:lnTo>
                    <a:pt x="84093" y="121548"/>
                  </a:lnTo>
                  <a:lnTo>
                    <a:pt x="88287" y="123127"/>
                  </a:lnTo>
                  <a:lnTo>
                    <a:pt x="92481" y="126383"/>
                  </a:lnTo>
                  <a:lnTo>
                    <a:pt x="90409" y="132797"/>
                  </a:lnTo>
                  <a:lnTo>
                    <a:pt x="92481" y="140889"/>
                  </a:lnTo>
                  <a:lnTo>
                    <a:pt x="88287" y="148932"/>
                  </a:lnTo>
                  <a:lnTo>
                    <a:pt x="88287" y="155889"/>
                  </a:lnTo>
                  <a:lnTo>
                    <a:pt x="98796" y="155889"/>
                  </a:lnTo>
                  <a:lnTo>
                    <a:pt x="100869" y="162352"/>
                  </a:lnTo>
                  <a:lnTo>
                    <a:pt x="96675" y="167286"/>
                  </a:lnTo>
                  <a:lnTo>
                    <a:pt x="98796" y="177154"/>
                  </a:lnTo>
                  <a:lnTo>
                    <a:pt x="102990" y="182088"/>
                  </a:lnTo>
                  <a:lnTo>
                    <a:pt x="105112" y="191956"/>
                  </a:lnTo>
                  <a:lnTo>
                    <a:pt x="102990" y="198420"/>
                  </a:lnTo>
                  <a:lnTo>
                    <a:pt x="105112" y="203354"/>
                  </a:lnTo>
                  <a:lnTo>
                    <a:pt x="105112" y="214604"/>
                  </a:lnTo>
                  <a:lnTo>
                    <a:pt x="102990" y="219538"/>
                  </a:lnTo>
                  <a:lnTo>
                    <a:pt x="105112" y="227580"/>
                  </a:lnTo>
                  <a:lnTo>
                    <a:pt x="113500" y="230837"/>
                  </a:lnTo>
                  <a:lnTo>
                    <a:pt x="119815" y="242086"/>
                  </a:lnTo>
                  <a:lnTo>
                    <a:pt x="124009" y="245293"/>
                  </a:lnTo>
                  <a:lnTo>
                    <a:pt x="121937" y="251757"/>
                  </a:lnTo>
                  <a:lnTo>
                    <a:pt x="126082" y="255013"/>
                  </a:lnTo>
                  <a:lnTo>
                    <a:pt x="132397" y="255013"/>
                  </a:lnTo>
                  <a:lnTo>
                    <a:pt x="138713" y="259947"/>
                  </a:lnTo>
                  <a:lnTo>
                    <a:pt x="153515" y="259947"/>
                  </a:lnTo>
                  <a:lnTo>
                    <a:pt x="161952" y="267990"/>
                  </a:lnTo>
                  <a:lnTo>
                    <a:pt x="157758" y="269569"/>
                  </a:lnTo>
                  <a:lnTo>
                    <a:pt x="159830" y="274503"/>
                  </a:lnTo>
                  <a:lnTo>
                    <a:pt x="161952" y="284371"/>
                  </a:lnTo>
                  <a:lnTo>
                    <a:pt x="157758" y="285950"/>
                  </a:lnTo>
                  <a:lnTo>
                    <a:pt x="170340" y="294042"/>
                  </a:lnTo>
                  <a:lnTo>
                    <a:pt x="161952" y="292413"/>
                  </a:lnTo>
                  <a:lnTo>
                    <a:pt x="157758" y="294042"/>
                  </a:lnTo>
                  <a:lnTo>
                    <a:pt x="168267" y="300456"/>
                  </a:lnTo>
                  <a:lnTo>
                    <a:pt x="168267" y="303663"/>
                  </a:lnTo>
                  <a:lnTo>
                    <a:pt x="157758" y="298729"/>
                  </a:lnTo>
                  <a:lnTo>
                    <a:pt x="147249" y="298729"/>
                  </a:lnTo>
                  <a:lnTo>
                    <a:pt x="138811" y="305143"/>
                  </a:lnTo>
                  <a:lnTo>
                    <a:pt x="138811" y="310077"/>
                  </a:lnTo>
                  <a:lnTo>
                    <a:pt x="132496" y="315011"/>
                  </a:lnTo>
                  <a:lnTo>
                    <a:pt x="132496" y="319945"/>
                  </a:lnTo>
                  <a:lnTo>
                    <a:pt x="128351" y="321573"/>
                  </a:lnTo>
                  <a:lnTo>
                    <a:pt x="117792" y="331442"/>
                  </a:lnTo>
                  <a:lnTo>
                    <a:pt x="115720" y="342741"/>
                  </a:lnTo>
                  <a:lnTo>
                    <a:pt x="113599" y="342741"/>
                  </a:lnTo>
                  <a:lnTo>
                    <a:pt x="111477" y="339484"/>
                  </a:lnTo>
                  <a:lnTo>
                    <a:pt x="107283" y="339484"/>
                  </a:lnTo>
                  <a:lnTo>
                    <a:pt x="111477" y="345948"/>
                  </a:lnTo>
                  <a:lnTo>
                    <a:pt x="109405" y="350882"/>
                  </a:lnTo>
                  <a:lnTo>
                    <a:pt x="100968" y="352510"/>
                  </a:lnTo>
                  <a:lnTo>
                    <a:pt x="96773" y="357444"/>
                  </a:lnTo>
                  <a:lnTo>
                    <a:pt x="98895" y="365536"/>
                  </a:lnTo>
                  <a:lnTo>
                    <a:pt x="103089" y="368743"/>
                  </a:lnTo>
                  <a:lnTo>
                    <a:pt x="94652" y="365536"/>
                  </a:lnTo>
                  <a:lnTo>
                    <a:pt x="92579" y="362329"/>
                  </a:lnTo>
                  <a:lnTo>
                    <a:pt x="88386" y="363908"/>
                  </a:lnTo>
                  <a:lnTo>
                    <a:pt x="84192" y="370371"/>
                  </a:lnTo>
                  <a:lnTo>
                    <a:pt x="86264" y="373578"/>
                  </a:lnTo>
                  <a:lnTo>
                    <a:pt x="82070" y="371950"/>
                  </a:lnTo>
                  <a:lnTo>
                    <a:pt x="79949" y="375207"/>
                  </a:lnTo>
                  <a:lnTo>
                    <a:pt x="84192" y="378414"/>
                  </a:lnTo>
                  <a:lnTo>
                    <a:pt x="84192" y="381621"/>
                  </a:lnTo>
                  <a:lnTo>
                    <a:pt x="79949" y="384877"/>
                  </a:lnTo>
                  <a:lnTo>
                    <a:pt x="77876" y="389811"/>
                  </a:lnTo>
                  <a:lnTo>
                    <a:pt x="71560" y="393068"/>
                  </a:lnTo>
                  <a:lnTo>
                    <a:pt x="67367" y="389811"/>
                  </a:lnTo>
                  <a:lnTo>
                    <a:pt x="67367" y="388183"/>
                  </a:lnTo>
                  <a:lnTo>
                    <a:pt x="63173" y="386604"/>
                  </a:lnTo>
                  <a:lnTo>
                    <a:pt x="56857" y="388183"/>
                  </a:lnTo>
                  <a:lnTo>
                    <a:pt x="58930" y="394647"/>
                  </a:lnTo>
                  <a:lnTo>
                    <a:pt x="54736" y="397854"/>
                  </a:lnTo>
                  <a:lnTo>
                    <a:pt x="56857" y="402788"/>
                  </a:lnTo>
                  <a:lnTo>
                    <a:pt x="54736" y="409251"/>
                  </a:lnTo>
                  <a:lnTo>
                    <a:pt x="52663" y="409251"/>
                  </a:lnTo>
                  <a:lnTo>
                    <a:pt x="48420" y="414185"/>
                  </a:lnTo>
                  <a:lnTo>
                    <a:pt x="50541" y="420649"/>
                  </a:lnTo>
                  <a:lnTo>
                    <a:pt x="52663" y="422228"/>
                  </a:lnTo>
                  <a:lnTo>
                    <a:pt x="50541" y="428691"/>
                  </a:lnTo>
                  <a:lnTo>
                    <a:pt x="52663" y="431899"/>
                  </a:lnTo>
                  <a:lnTo>
                    <a:pt x="56857" y="430320"/>
                  </a:lnTo>
                  <a:lnTo>
                    <a:pt x="61051" y="433527"/>
                  </a:lnTo>
                  <a:lnTo>
                    <a:pt x="58930" y="439990"/>
                  </a:lnTo>
                  <a:lnTo>
                    <a:pt x="56857" y="443198"/>
                  </a:lnTo>
                  <a:lnTo>
                    <a:pt x="58930" y="449612"/>
                  </a:lnTo>
                  <a:lnTo>
                    <a:pt x="58930" y="452868"/>
                  </a:lnTo>
                  <a:lnTo>
                    <a:pt x="65245" y="462736"/>
                  </a:lnTo>
                  <a:lnTo>
                    <a:pt x="69489" y="464364"/>
                  </a:lnTo>
                  <a:lnTo>
                    <a:pt x="67367" y="469298"/>
                  </a:lnTo>
                  <a:lnTo>
                    <a:pt x="71560" y="475762"/>
                  </a:lnTo>
                  <a:lnTo>
                    <a:pt x="67367" y="477390"/>
                  </a:lnTo>
                  <a:lnTo>
                    <a:pt x="67367" y="487258"/>
                  </a:lnTo>
                  <a:lnTo>
                    <a:pt x="65245" y="492192"/>
                  </a:lnTo>
                  <a:lnTo>
                    <a:pt x="65245" y="503442"/>
                  </a:lnTo>
                  <a:lnTo>
                    <a:pt x="69489" y="508376"/>
                  </a:lnTo>
                  <a:lnTo>
                    <a:pt x="65245" y="514790"/>
                  </a:lnTo>
                  <a:lnTo>
                    <a:pt x="65245" y="519724"/>
                  </a:lnTo>
                  <a:lnTo>
                    <a:pt x="67367" y="522981"/>
                  </a:lnTo>
                  <a:lnTo>
                    <a:pt x="77876" y="519724"/>
                  </a:lnTo>
                  <a:lnTo>
                    <a:pt x="82070" y="522981"/>
                  </a:lnTo>
                  <a:lnTo>
                    <a:pt x="82070" y="518047"/>
                  </a:lnTo>
                  <a:lnTo>
                    <a:pt x="90508" y="526139"/>
                  </a:lnTo>
                  <a:lnTo>
                    <a:pt x="96773" y="524510"/>
                  </a:lnTo>
                  <a:lnTo>
                    <a:pt x="100968" y="529444"/>
                  </a:lnTo>
                  <a:lnTo>
                    <a:pt x="111477" y="527816"/>
                  </a:lnTo>
                  <a:lnTo>
                    <a:pt x="115720" y="529444"/>
                  </a:lnTo>
                  <a:lnTo>
                    <a:pt x="111477" y="534378"/>
                  </a:lnTo>
                  <a:lnTo>
                    <a:pt x="115720" y="534378"/>
                  </a:lnTo>
                  <a:lnTo>
                    <a:pt x="124108" y="527915"/>
                  </a:lnTo>
                  <a:lnTo>
                    <a:pt x="124108" y="532849"/>
                  </a:lnTo>
                  <a:lnTo>
                    <a:pt x="119914" y="537783"/>
                  </a:lnTo>
                  <a:lnTo>
                    <a:pt x="128351" y="549082"/>
                  </a:lnTo>
                  <a:lnTo>
                    <a:pt x="130424" y="552338"/>
                  </a:lnTo>
                  <a:lnTo>
                    <a:pt x="128351" y="558753"/>
                  </a:lnTo>
                  <a:lnTo>
                    <a:pt x="130424" y="560381"/>
                  </a:lnTo>
                  <a:lnTo>
                    <a:pt x="134618" y="550513"/>
                  </a:lnTo>
                  <a:lnTo>
                    <a:pt x="138811" y="548884"/>
                  </a:lnTo>
                  <a:lnTo>
                    <a:pt x="140933" y="553819"/>
                  </a:lnTo>
                  <a:lnTo>
                    <a:pt x="147249" y="550611"/>
                  </a:lnTo>
                  <a:lnTo>
                    <a:pt x="151443" y="550611"/>
                  </a:lnTo>
                  <a:lnTo>
                    <a:pt x="164024" y="544148"/>
                  </a:lnTo>
                  <a:lnTo>
                    <a:pt x="170340" y="544148"/>
                  </a:lnTo>
                  <a:lnTo>
                    <a:pt x="185142" y="536105"/>
                  </a:lnTo>
                  <a:lnTo>
                    <a:pt x="185142" y="532898"/>
                  </a:lnTo>
                  <a:lnTo>
                    <a:pt x="195701" y="534477"/>
                  </a:lnTo>
                  <a:lnTo>
                    <a:pt x="201967" y="532898"/>
                  </a:lnTo>
                  <a:lnTo>
                    <a:pt x="206210" y="526435"/>
                  </a:lnTo>
                  <a:lnTo>
                    <a:pt x="208283" y="528014"/>
                  </a:lnTo>
                  <a:lnTo>
                    <a:pt x="206210" y="534477"/>
                  </a:lnTo>
                  <a:lnTo>
                    <a:pt x="208283" y="534477"/>
                  </a:lnTo>
                  <a:lnTo>
                    <a:pt x="212526" y="528014"/>
                  </a:lnTo>
                  <a:lnTo>
                    <a:pt x="216671" y="528014"/>
                  </a:lnTo>
                  <a:lnTo>
                    <a:pt x="212526" y="521599"/>
                  </a:lnTo>
                  <a:lnTo>
                    <a:pt x="216671" y="519971"/>
                  </a:lnTo>
                  <a:lnTo>
                    <a:pt x="220914" y="526435"/>
                  </a:lnTo>
                  <a:lnTo>
                    <a:pt x="225108" y="526435"/>
                  </a:lnTo>
                  <a:lnTo>
                    <a:pt x="225108" y="521501"/>
                  </a:lnTo>
                  <a:lnTo>
                    <a:pt x="229302" y="527915"/>
                  </a:lnTo>
                  <a:lnTo>
                    <a:pt x="233496" y="527915"/>
                  </a:lnTo>
                  <a:lnTo>
                    <a:pt x="235617" y="522981"/>
                  </a:lnTo>
                  <a:lnTo>
                    <a:pt x="237690" y="524560"/>
                  </a:lnTo>
                  <a:lnTo>
                    <a:pt x="239811" y="527767"/>
                  </a:lnTo>
                  <a:lnTo>
                    <a:pt x="244005" y="522833"/>
                  </a:lnTo>
                  <a:lnTo>
                    <a:pt x="254515" y="521205"/>
                  </a:lnTo>
                  <a:lnTo>
                    <a:pt x="258758" y="526139"/>
                  </a:lnTo>
                  <a:lnTo>
                    <a:pt x="271339" y="524510"/>
                  </a:lnTo>
                  <a:lnTo>
                    <a:pt x="271339" y="521303"/>
                  </a:lnTo>
                  <a:lnTo>
                    <a:pt x="269218" y="518047"/>
                  </a:lnTo>
                  <a:lnTo>
                    <a:pt x="271339" y="516468"/>
                  </a:lnTo>
                  <a:lnTo>
                    <a:pt x="277655" y="518047"/>
                  </a:lnTo>
                  <a:lnTo>
                    <a:pt x="277655" y="521303"/>
                  </a:lnTo>
                  <a:lnTo>
                    <a:pt x="286043" y="522932"/>
                  </a:lnTo>
                  <a:cubicBezTo>
                    <a:pt x="285155" y="520237"/>
                    <a:pt x="285994" y="517267"/>
                    <a:pt x="288214" y="515481"/>
                  </a:cubicBezTo>
                  <a:close/>
                  <a:moveTo>
                    <a:pt x="151591" y="291476"/>
                  </a:moveTo>
                  <a:lnTo>
                    <a:pt x="149469" y="293104"/>
                  </a:lnTo>
                  <a:lnTo>
                    <a:pt x="143203" y="293104"/>
                  </a:lnTo>
                  <a:lnTo>
                    <a:pt x="138960" y="286641"/>
                  </a:lnTo>
                  <a:lnTo>
                    <a:pt x="145275" y="283433"/>
                  </a:lnTo>
                  <a:lnTo>
                    <a:pt x="155785" y="285012"/>
                  </a:lnTo>
                  <a:lnTo>
                    <a:pt x="155785" y="286641"/>
                  </a:lnTo>
                  <a:lnTo>
                    <a:pt x="149469" y="288269"/>
                  </a:lnTo>
                  <a:close/>
                  <a:moveTo>
                    <a:pt x="50690" y="378512"/>
                  </a:moveTo>
                  <a:lnTo>
                    <a:pt x="50690" y="375305"/>
                  </a:lnTo>
                  <a:lnTo>
                    <a:pt x="54883" y="378512"/>
                  </a:lnTo>
                  <a:lnTo>
                    <a:pt x="52811" y="380091"/>
                  </a:lnTo>
                  <a:close/>
                  <a:moveTo>
                    <a:pt x="46496" y="381719"/>
                  </a:moveTo>
                  <a:lnTo>
                    <a:pt x="50690" y="384976"/>
                  </a:lnTo>
                  <a:lnTo>
                    <a:pt x="54883" y="383348"/>
                  </a:lnTo>
                  <a:lnTo>
                    <a:pt x="54883" y="388282"/>
                  </a:lnTo>
                  <a:lnTo>
                    <a:pt x="48568" y="391538"/>
                  </a:lnTo>
                  <a:lnTo>
                    <a:pt x="44374" y="388282"/>
                  </a:lnTo>
                  <a:close/>
                  <a:moveTo>
                    <a:pt x="122184" y="544543"/>
                  </a:moveTo>
                  <a:lnTo>
                    <a:pt x="124256" y="549477"/>
                  </a:lnTo>
                  <a:lnTo>
                    <a:pt x="117940" y="552684"/>
                  </a:lnTo>
                  <a:lnTo>
                    <a:pt x="115868" y="549477"/>
                  </a:lnTo>
                  <a:lnTo>
                    <a:pt x="120062" y="547848"/>
                  </a:lnTo>
                  <a:close/>
                  <a:moveTo>
                    <a:pt x="111625" y="538128"/>
                  </a:moveTo>
                  <a:lnTo>
                    <a:pt x="113747" y="543062"/>
                  </a:lnTo>
                  <a:lnTo>
                    <a:pt x="111625" y="543062"/>
                  </a:lnTo>
                  <a:close/>
                  <a:moveTo>
                    <a:pt x="96823" y="531665"/>
                  </a:moveTo>
                  <a:lnTo>
                    <a:pt x="109454" y="530086"/>
                  </a:lnTo>
                  <a:lnTo>
                    <a:pt x="107332" y="533293"/>
                  </a:lnTo>
                  <a:lnTo>
                    <a:pt x="101017" y="538227"/>
                  </a:lnTo>
                  <a:lnTo>
                    <a:pt x="96823" y="534970"/>
                  </a:lnTo>
                  <a:close/>
                  <a:moveTo>
                    <a:pt x="82021" y="521797"/>
                  </a:moveTo>
                  <a:lnTo>
                    <a:pt x="90458" y="526731"/>
                  </a:lnTo>
                  <a:lnTo>
                    <a:pt x="86215" y="529987"/>
                  </a:lnTo>
                  <a:lnTo>
                    <a:pt x="82021" y="526731"/>
                  </a:lnTo>
                  <a:close/>
                  <a:moveTo>
                    <a:pt x="65196" y="523425"/>
                  </a:moveTo>
                  <a:lnTo>
                    <a:pt x="73584" y="525004"/>
                  </a:lnTo>
                  <a:lnTo>
                    <a:pt x="69439" y="526632"/>
                  </a:lnTo>
                  <a:close/>
                  <a:moveTo>
                    <a:pt x="16892" y="533293"/>
                  </a:moveTo>
                  <a:lnTo>
                    <a:pt x="25279" y="534872"/>
                  </a:lnTo>
                  <a:lnTo>
                    <a:pt x="27352" y="533293"/>
                  </a:lnTo>
                  <a:lnTo>
                    <a:pt x="23207" y="530086"/>
                  </a:lnTo>
                  <a:lnTo>
                    <a:pt x="23207" y="525152"/>
                  </a:lnTo>
                  <a:lnTo>
                    <a:pt x="27352" y="525152"/>
                  </a:lnTo>
                  <a:lnTo>
                    <a:pt x="37911" y="531615"/>
                  </a:lnTo>
                  <a:lnTo>
                    <a:pt x="37911" y="536549"/>
                  </a:lnTo>
                  <a:lnTo>
                    <a:pt x="33667" y="534872"/>
                  </a:lnTo>
                  <a:lnTo>
                    <a:pt x="31595" y="538128"/>
                  </a:lnTo>
                  <a:lnTo>
                    <a:pt x="33667" y="543062"/>
                  </a:lnTo>
                  <a:lnTo>
                    <a:pt x="39982" y="543062"/>
                  </a:lnTo>
                  <a:lnTo>
                    <a:pt x="42055" y="547996"/>
                  </a:lnTo>
                  <a:lnTo>
                    <a:pt x="35789" y="549625"/>
                  </a:lnTo>
                  <a:lnTo>
                    <a:pt x="29474" y="544691"/>
                  </a:lnTo>
                  <a:lnTo>
                    <a:pt x="23207" y="543112"/>
                  </a:lnTo>
                  <a:lnTo>
                    <a:pt x="18964" y="539905"/>
                  </a:lnTo>
                  <a:lnTo>
                    <a:pt x="14770" y="53669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Graphic 2">
              <a:extLst>
                <a:ext uri="{FF2B5EF4-FFF2-40B4-BE49-F238E27FC236}">
                  <a16:creationId xmlns:a16="http://schemas.microsoft.com/office/drawing/2014/main" id="{B3C54FCB-AD51-4479-9829-49BC3A915E23}"/>
                </a:ext>
              </a:extLst>
            </p:cNvPr>
            <p:cNvSpPr/>
            <p:nvPr/>
          </p:nvSpPr>
          <p:spPr>
            <a:xfrm>
              <a:off x="6024665" y="2705596"/>
              <a:ext cx="173075" cy="101706"/>
            </a:xfrm>
            <a:custGeom>
              <a:avLst/>
              <a:gdLst>
                <a:gd name="connsiteX0" fmla="*/ 178777 w 190503"/>
                <a:gd name="connsiteY0" fmla="*/ 107436 h 111953"/>
                <a:gd name="connsiteX1" fmla="*/ 184599 w 190503"/>
                <a:gd name="connsiteY1" fmla="*/ 99986 h 111953"/>
                <a:gd name="connsiteX2" fmla="*/ 184599 w 190503"/>
                <a:gd name="connsiteY2" fmla="*/ 95496 h 111953"/>
                <a:gd name="connsiteX3" fmla="*/ 190421 w 190503"/>
                <a:gd name="connsiteY3" fmla="*/ 91006 h 111953"/>
                <a:gd name="connsiteX4" fmla="*/ 190421 w 190503"/>
                <a:gd name="connsiteY4" fmla="*/ 85036 h 111953"/>
                <a:gd name="connsiteX5" fmla="*/ 172954 w 190503"/>
                <a:gd name="connsiteY5" fmla="*/ 59675 h 111953"/>
                <a:gd name="connsiteX6" fmla="*/ 176853 w 190503"/>
                <a:gd name="connsiteY6" fmla="*/ 37274 h 111953"/>
                <a:gd name="connsiteX7" fmla="*/ 180751 w 190503"/>
                <a:gd name="connsiteY7" fmla="*/ 34265 h 111953"/>
                <a:gd name="connsiteX8" fmla="*/ 182675 w 190503"/>
                <a:gd name="connsiteY8" fmla="*/ 25334 h 111953"/>
                <a:gd name="connsiteX9" fmla="*/ 188497 w 190503"/>
                <a:gd name="connsiteY9" fmla="*/ 19364 h 111953"/>
                <a:gd name="connsiteX10" fmla="*/ 190421 w 190503"/>
                <a:gd name="connsiteY10" fmla="*/ 17884 h 111953"/>
                <a:gd name="connsiteX11" fmla="*/ 190421 w 190503"/>
                <a:gd name="connsiteY11" fmla="*/ 16354 h 111953"/>
                <a:gd name="connsiteX12" fmla="*/ 184599 w 190503"/>
                <a:gd name="connsiteY12" fmla="*/ 11913 h 111953"/>
                <a:gd name="connsiteX13" fmla="*/ 184599 w 190503"/>
                <a:gd name="connsiteY13" fmla="*/ 14874 h 111953"/>
                <a:gd name="connsiteX14" fmla="*/ 157413 w 190503"/>
                <a:gd name="connsiteY14" fmla="*/ 14874 h 111953"/>
                <a:gd name="connsiteX15" fmla="*/ 143844 w 190503"/>
                <a:gd name="connsiteY15" fmla="*/ 7423 h 111953"/>
                <a:gd name="connsiteX16" fmla="*/ 130226 w 190503"/>
                <a:gd name="connsiteY16" fmla="*/ 7423 h 111953"/>
                <a:gd name="connsiteX17" fmla="*/ 124404 w 190503"/>
                <a:gd name="connsiteY17" fmla="*/ 2933 h 111953"/>
                <a:gd name="connsiteX18" fmla="*/ 116608 w 190503"/>
                <a:gd name="connsiteY18" fmla="*/ 4414 h 111953"/>
                <a:gd name="connsiteX19" fmla="*/ 108861 w 190503"/>
                <a:gd name="connsiteY19" fmla="*/ -27 h 111953"/>
                <a:gd name="connsiteX20" fmla="*/ 108861 w 190503"/>
                <a:gd name="connsiteY20" fmla="*/ 2933 h 111953"/>
                <a:gd name="connsiteX21" fmla="*/ 104964 w 190503"/>
                <a:gd name="connsiteY21" fmla="*/ 2933 h 111953"/>
                <a:gd name="connsiteX22" fmla="*/ 104964 w 190503"/>
                <a:gd name="connsiteY22" fmla="*/ 7423 h 111953"/>
                <a:gd name="connsiteX23" fmla="*/ 108861 w 190503"/>
                <a:gd name="connsiteY23" fmla="*/ 10384 h 111953"/>
                <a:gd name="connsiteX24" fmla="*/ 103040 w 190503"/>
                <a:gd name="connsiteY24" fmla="*/ 13394 h 111953"/>
                <a:gd name="connsiteX25" fmla="*/ 99142 w 190503"/>
                <a:gd name="connsiteY25" fmla="*/ 11913 h 111953"/>
                <a:gd name="connsiteX26" fmla="*/ 87497 w 190503"/>
                <a:gd name="connsiteY26" fmla="*/ 10384 h 111953"/>
                <a:gd name="connsiteX27" fmla="*/ 83649 w 190503"/>
                <a:gd name="connsiteY27" fmla="*/ 8904 h 111953"/>
                <a:gd name="connsiteX28" fmla="*/ 81675 w 190503"/>
                <a:gd name="connsiteY28" fmla="*/ 13394 h 111953"/>
                <a:gd name="connsiteX29" fmla="*/ 75853 w 190503"/>
                <a:gd name="connsiteY29" fmla="*/ 13394 h 111953"/>
                <a:gd name="connsiteX30" fmla="*/ 68057 w 190503"/>
                <a:gd name="connsiteY30" fmla="*/ 14874 h 111953"/>
                <a:gd name="connsiteX31" fmla="*/ 68057 w 190503"/>
                <a:gd name="connsiteY31" fmla="*/ 19364 h 111953"/>
                <a:gd name="connsiteX32" fmla="*/ 64061 w 190503"/>
                <a:gd name="connsiteY32" fmla="*/ 19364 h 111953"/>
                <a:gd name="connsiteX33" fmla="*/ 52416 w 190503"/>
                <a:gd name="connsiteY33" fmla="*/ 22324 h 111953"/>
                <a:gd name="connsiteX34" fmla="*/ 46594 w 190503"/>
                <a:gd name="connsiteY34" fmla="*/ 28294 h 111953"/>
                <a:gd name="connsiteX35" fmla="*/ 46594 w 190503"/>
                <a:gd name="connsiteY35" fmla="*/ 47735 h 111953"/>
                <a:gd name="connsiteX36" fmla="*/ 52416 w 190503"/>
                <a:gd name="connsiteY36" fmla="*/ 49215 h 111953"/>
                <a:gd name="connsiteX37" fmla="*/ 56265 w 190503"/>
                <a:gd name="connsiteY37" fmla="*/ 47735 h 111953"/>
                <a:gd name="connsiteX38" fmla="*/ 62087 w 190503"/>
                <a:gd name="connsiteY38" fmla="*/ 47735 h 111953"/>
                <a:gd name="connsiteX39" fmla="*/ 58238 w 190503"/>
                <a:gd name="connsiteY39" fmla="*/ 52175 h 111953"/>
                <a:gd name="connsiteX40" fmla="*/ 54341 w 190503"/>
                <a:gd name="connsiteY40" fmla="*/ 52175 h 111953"/>
                <a:gd name="connsiteX41" fmla="*/ 54341 w 190503"/>
                <a:gd name="connsiteY41" fmla="*/ 61155 h 111953"/>
                <a:gd name="connsiteX42" fmla="*/ 60163 w 190503"/>
                <a:gd name="connsiteY42" fmla="*/ 68605 h 111953"/>
                <a:gd name="connsiteX43" fmla="*/ 70031 w 190503"/>
                <a:gd name="connsiteY43" fmla="*/ 76105 h 111953"/>
                <a:gd name="connsiteX44" fmla="*/ 72004 w 190503"/>
                <a:gd name="connsiteY44" fmla="*/ 74576 h 111953"/>
                <a:gd name="connsiteX45" fmla="*/ 73929 w 190503"/>
                <a:gd name="connsiteY45" fmla="*/ 70086 h 111953"/>
                <a:gd name="connsiteX46" fmla="*/ 79751 w 190503"/>
                <a:gd name="connsiteY46" fmla="*/ 65645 h 111953"/>
                <a:gd name="connsiteX47" fmla="*/ 81675 w 190503"/>
                <a:gd name="connsiteY47" fmla="*/ 70086 h 111953"/>
                <a:gd name="connsiteX48" fmla="*/ 79751 w 190503"/>
                <a:gd name="connsiteY48" fmla="*/ 86516 h 111953"/>
                <a:gd name="connsiteX49" fmla="*/ 79751 w 190503"/>
                <a:gd name="connsiteY49" fmla="*/ 89526 h 111953"/>
                <a:gd name="connsiteX50" fmla="*/ 81675 w 190503"/>
                <a:gd name="connsiteY50" fmla="*/ 88046 h 111953"/>
                <a:gd name="connsiteX51" fmla="*/ 95293 w 190503"/>
                <a:gd name="connsiteY51" fmla="*/ 82075 h 111953"/>
                <a:gd name="connsiteX52" fmla="*/ 103040 w 190503"/>
                <a:gd name="connsiteY52" fmla="*/ 80546 h 111953"/>
                <a:gd name="connsiteX53" fmla="*/ 110786 w 190503"/>
                <a:gd name="connsiteY53" fmla="*/ 86516 h 111953"/>
                <a:gd name="connsiteX54" fmla="*/ 114684 w 190503"/>
                <a:gd name="connsiteY54" fmla="*/ 86516 h 111953"/>
                <a:gd name="connsiteX55" fmla="*/ 116608 w 190503"/>
                <a:gd name="connsiteY55" fmla="*/ 80546 h 111953"/>
                <a:gd name="connsiteX56" fmla="*/ 124404 w 190503"/>
                <a:gd name="connsiteY56" fmla="*/ 85036 h 111953"/>
                <a:gd name="connsiteX57" fmla="*/ 126377 w 190503"/>
                <a:gd name="connsiteY57" fmla="*/ 88046 h 111953"/>
                <a:gd name="connsiteX58" fmla="*/ 130226 w 190503"/>
                <a:gd name="connsiteY58" fmla="*/ 89526 h 111953"/>
                <a:gd name="connsiteX59" fmla="*/ 141870 w 190503"/>
                <a:gd name="connsiteY59" fmla="*/ 94016 h 111953"/>
                <a:gd name="connsiteX60" fmla="*/ 143844 w 190503"/>
                <a:gd name="connsiteY60" fmla="*/ 101466 h 111953"/>
                <a:gd name="connsiteX61" fmla="*/ 151590 w 190503"/>
                <a:gd name="connsiteY61" fmla="*/ 104427 h 111953"/>
                <a:gd name="connsiteX62" fmla="*/ 157413 w 190503"/>
                <a:gd name="connsiteY62" fmla="*/ 111926 h 111953"/>
                <a:gd name="connsiteX63" fmla="*/ 169106 w 190503"/>
                <a:gd name="connsiteY63" fmla="*/ 105956 h 111953"/>
                <a:gd name="connsiteX64" fmla="*/ 178974 w 190503"/>
                <a:gd name="connsiteY64" fmla="*/ 107436 h 111953"/>
                <a:gd name="connsiteX65" fmla="*/ 35098 w 190503"/>
                <a:gd name="connsiteY65" fmla="*/ 37274 h 111953"/>
                <a:gd name="connsiteX66" fmla="*/ 40920 w 190503"/>
                <a:gd name="connsiteY66" fmla="*/ 37274 h 111953"/>
                <a:gd name="connsiteX67" fmla="*/ 42844 w 190503"/>
                <a:gd name="connsiteY67" fmla="*/ 40235 h 111953"/>
                <a:gd name="connsiteX68" fmla="*/ 37022 w 190503"/>
                <a:gd name="connsiteY68" fmla="*/ 40235 h 111953"/>
                <a:gd name="connsiteX69" fmla="*/ 35098 w 190503"/>
                <a:gd name="connsiteY69" fmla="*/ 37274 h 111953"/>
                <a:gd name="connsiteX70" fmla="*/ 23404 w 190503"/>
                <a:gd name="connsiteY70" fmla="*/ 50695 h 111953"/>
                <a:gd name="connsiteX71" fmla="*/ 19506 w 190503"/>
                <a:gd name="connsiteY71" fmla="*/ 44725 h 111953"/>
                <a:gd name="connsiteX72" fmla="*/ 11760 w 190503"/>
                <a:gd name="connsiteY72" fmla="*/ 44725 h 111953"/>
                <a:gd name="connsiteX73" fmla="*/ 5938 w 190503"/>
                <a:gd name="connsiteY73" fmla="*/ 47735 h 111953"/>
                <a:gd name="connsiteX74" fmla="*/ 4013 w 190503"/>
                <a:gd name="connsiteY74" fmla="*/ 46205 h 111953"/>
                <a:gd name="connsiteX75" fmla="*/ 13881 w 190503"/>
                <a:gd name="connsiteY75" fmla="*/ 41764 h 111953"/>
                <a:gd name="connsiteX76" fmla="*/ 19654 w 190503"/>
                <a:gd name="connsiteY76" fmla="*/ 38755 h 111953"/>
                <a:gd name="connsiteX77" fmla="*/ 19654 w 190503"/>
                <a:gd name="connsiteY77" fmla="*/ 35794 h 111953"/>
                <a:gd name="connsiteX78" fmla="*/ 23552 w 190503"/>
                <a:gd name="connsiteY78" fmla="*/ 37274 h 111953"/>
                <a:gd name="connsiteX79" fmla="*/ 27450 w 190503"/>
                <a:gd name="connsiteY79" fmla="*/ 38755 h 111953"/>
                <a:gd name="connsiteX80" fmla="*/ 33272 w 190503"/>
                <a:gd name="connsiteY80" fmla="*/ 40235 h 111953"/>
                <a:gd name="connsiteX81" fmla="*/ 35246 w 190503"/>
                <a:gd name="connsiteY81" fmla="*/ 44725 h 111953"/>
                <a:gd name="connsiteX82" fmla="*/ 31348 w 190503"/>
                <a:gd name="connsiteY82" fmla="*/ 44725 h 111953"/>
                <a:gd name="connsiteX83" fmla="*/ 25526 w 190503"/>
                <a:gd name="connsiteY83" fmla="*/ 47735 h 111953"/>
                <a:gd name="connsiteX84" fmla="*/ 23552 w 190503"/>
                <a:gd name="connsiteY84" fmla="*/ 50695 h 111953"/>
                <a:gd name="connsiteX85" fmla="*/ 37022 w 190503"/>
                <a:gd name="connsiteY85" fmla="*/ 55185 h 111953"/>
                <a:gd name="connsiteX86" fmla="*/ 35098 w 190503"/>
                <a:gd name="connsiteY86" fmla="*/ 52175 h 111953"/>
                <a:gd name="connsiteX87" fmla="*/ 44966 w 190503"/>
                <a:gd name="connsiteY87" fmla="*/ 52175 h 111953"/>
                <a:gd name="connsiteX88" fmla="*/ 46940 w 190503"/>
                <a:gd name="connsiteY88" fmla="*/ 59675 h 111953"/>
                <a:gd name="connsiteX89" fmla="*/ 44966 w 190503"/>
                <a:gd name="connsiteY89" fmla="*/ 61155 h 111953"/>
                <a:gd name="connsiteX90" fmla="*/ 37220 w 190503"/>
                <a:gd name="connsiteY90" fmla="*/ 55185 h 111953"/>
                <a:gd name="connsiteX91" fmla="*/ 4013 w 190503"/>
                <a:gd name="connsiteY91" fmla="*/ 91006 h 111953"/>
                <a:gd name="connsiteX92" fmla="*/ 7862 w 190503"/>
                <a:gd name="connsiteY92" fmla="*/ 91006 h 111953"/>
                <a:gd name="connsiteX93" fmla="*/ 11760 w 190503"/>
                <a:gd name="connsiteY93" fmla="*/ 88046 h 111953"/>
                <a:gd name="connsiteX94" fmla="*/ 11760 w 190503"/>
                <a:gd name="connsiteY94" fmla="*/ 85036 h 111953"/>
                <a:gd name="connsiteX95" fmla="*/ 19506 w 190503"/>
                <a:gd name="connsiteY95" fmla="*/ 76105 h 111953"/>
                <a:gd name="connsiteX96" fmla="*/ 27302 w 190503"/>
                <a:gd name="connsiteY96" fmla="*/ 73095 h 111953"/>
                <a:gd name="connsiteX97" fmla="*/ 31200 w 190503"/>
                <a:gd name="connsiteY97" fmla="*/ 70086 h 111953"/>
                <a:gd name="connsiteX98" fmla="*/ 35098 w 190503"/>
                <a:gd name="connsiteY98" fmla="*/ 64116 h 111953"/>
                <a:gd name="connsiteX99" fmla="*/ 40920 w 190503"/>
                <a:gd name="connsiteY99" fmla="*/ 65645 h 111953"/>
                <a:gd name="connsiteX100" fmla="*/ 42844 w 190503"/>
                <a:gd name="connsiteY100" fmla="*/ 64116 h 111953"/>
                <a:gd name="connsiteX101" fmla="*/ 40920 w 190503"/>
                <a:gd name="connsiteY101" fmla="*/ 62635 h 111953"/>
                <a:gd name="connsiteX102" fmla="*/ 37022 w 190503"/>
                <a:gd name="connsiteY102" fmla="*/ 61155 h 111953"/>
                <a:gd name="connsiteX103" fmla="*/ 31200 w 190503"/>
                <a:gd name="connsiteY103" fmla="*/ 56665 h 111953"/>
                <a:gd name="connsiteX104" fmla="*/ 21332 w 190503"/>
                <a:gd name="connsiteY104" fmla="*/ 55185 h 111953"/>
                <a:gd name="connsiteX105" fmla="*/ 19358 w 190503"/>
                <a:gd name="connsiteY105" fmla="*/ 55185 h 111953"/>
                <a:gd name="connsiteX106" fmla="*/ 13536 w 190503"/>
                <a:gd name="connsiteY106" fmla="*/ 59675 h 111953"/>
                <a:gd name="connsiteX107" fmla="*/ 11612 w 190503"/>
                <a:gd name="connsiteY107" fmla="*/ 59675 h 111953"/>
                <a:gd name="connsiteX108" fmla="*/ 7714 w 190503"/>
                <a:gd name="connsiteY108" fmla="*/ 64116 h 111953"/>
                <a:gd name="connsiteX109" fmla="*/ 5789 w 190503"/>
                <a:gd name="connsiteY109" fmla="*/ 61155 h 111953"/>
                <a:gd name="connsiteX110" fmla="*/ 3866 w 190503"/>
                <a:gd name="connsiteY110" fmla="*/ 59675 h 111953"/>
                <a:gd name="connsiteX111" fmla="*/ 3866 w 190503"/>
                <a:gd name="connsiteY111" fmla="*/ 62635 h 111953"/>
                <a:gd name="connsiteX112" fmla="*/ -82 w 190503"/>
                <a:gd name="connsiteY112" fmla="*/ 62635 h 111953"/>
                <a:gd name="connsiteX113" fmla="*/ 3816 w 190503"/>
                <a:gd name="connsiteY113" fmla="*/ 64116 h 111953"/>
                <a:gd name="connsiteX114" fmla="*/ 3816 w 190503"/>
                <a:gd name="connsiteY114" fmla="*/ 67125 h 111953"/>
                <a:gd name="connsiteX115" fmla="*/ 1842 w 190503"/>
                <a:gd name="connsiteY115" fmla="*/ 68605 h 111953"/>
                <a:gd name="connsiteX116" fmla="*/ 1842 w 190503"/>
                <a:gd name="connsiteY116" fmla="*/ 73293 h 111953"/>
                <a:gd name="connsiteX117" fmla="*/ 5741 w 190503"/>
                <a:gd name="connsiteY117" fmla="*/ 73293 h 111953"/>
                <a:gd name="connsiteX118" fmla="*/ 11562 w 190503"/>
                <a:gd name="connsiteY118" fmla="*/ 77783 h 111953"/>
                <a:gd name="connsiteX119" fmla="*/ 9638 w 190503"/>
                <a:gd name="connsiteY119" fmla="*/ 82273 h 111953"/>
                <a:gd name="connsiteX120" fmla="*/ 5741 w 190503"/>
                <a:gd name="connsiteY120" fmla="*/ 82273 h 111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0503" h="111953">
                  <a:moveTo>
                    <a:pt x="178777" y="107436"/>
                  </a:moveTo>
                  <a:lnTo>
                    <a:pt x="184599" y="99986"/>
                  </a:lnTo>
                  <a:lnTo>
                    <a:pt x="184599" y="95496"/>
                  </a:lnTo>
                  <a:lnTo>
                    <a:pt x="190421" y="91006"/>
                  </a:lnTo>
                  <a:lnTo>
                    <a:pt x="190421" y="85036"/>
                  </a:lnTo>
                  <a:lnTo>
                    <a:pt x="172954" y="59675"/>
                  </a:lnTo>
                  <a:lnTo>
                    <a:pt x="176853" y="37274"/>
                  </a:lnTo>
                  <a:lnTo>
                    <a:pt x="180751" y="34265"/>
                  </a:lnTo>
                  <a:lnTo>
                    <a:pt x="182675" y="25334"/>
                  </a:lnTo>
                  <a:lnTo>
                    <a:pt x="188497" y="19364"/>
                  </a:lnTo>
                  <a:lnTo>
                    <a:pt x="190421" y="17884"/>
                  </a:lnTo>
                  <a:lnTo>
                    <a:pt x="190421" y="16354"/>
                  </a:lnTo>
                  <a:lnTo>
                    <a:pt x="184599" y="11913"/>
                  </a:lnTo>
                  <a:lnTo>
                    <a:pt x="184599" y="14874"/>
                  </a:lnTo>
                  <a:lnTo>
                    <a:pt x="157413" y="14874"/>
                  </a:lnTo>
                  <a:lnTo>
                    <a:pt x="143844" y="7423"/>
                  </a:lnTo>
                  <a:lnTo>
                    <a:pt x="130226" y="7423"/>
                  </a:lnTo>
                  <a:lnTo>
                    <a:pt x="124404" y="2933"/>
                  </a:lnTo>
                  <a:lnTo>
                    <a:pt x="116608" y="4414"/>
                  </a:lnTo>
                  <a:lnTo>
                    <a:pt x="108861" y="-27"/>
                  </a:lnTo>
                  <a:lnTo>
                    <a:pt x="108861" y="2933"/>
                  </a:lnTo>
                  <a:lnTo>
                    <a:pt x="104964" y="2933"/>
                  </a:lnTo>
                  <a:lnTo>
                    <a:pt x="104964" y="7423"/>
                  </a:lnTo>
                  <a:lnTo>
                    <a:pt x="108861" y="10384"/>
                  </a:lnTo>
                  <a:lnTo>
                    <a:pt x="103040" y="13394"/>
                  </a:lnTo>
                  <a:lnTo>
                    <a:pt x="99142" y="11913"/>
                  </a:lnTo>
                  <a:lnTo>
                    <a:pt x="87497" y="10384"/>
                  </a:lnTo>
                  <a:lnTo>
                    <a:pt x="83649" y="8904"/>
                  </a:lnTo>
                  <a:lnTo>
                    <a:pt x="81675" y="13394"/>
                  </a:lnTo>
                  <a:lnTo>
                    <a:pt x="75853" y="13394"/>
                  </a:lnTo>
                  <a:lnTo>
                    <a:pt x="68057" y="14874"/>
                  </a:lnTo>
                  <a:lnTo>
                    <a:pt x="68057" y="19364"/>
                  </a:lnTo>
                  <a:lnTo>
                    <a:pt x="64061" y="19364"/>
                  </a:lnTo>
                  <a:lnTo>
                    <a:pt x="52416" y="22324"/>
                  </a:lnTo>
                  <a:lnTo>
                    <a:pt x="46594" y="28294"/>
                  </a:lnTo>
                  <a:lnTo>
                    <a:pt x="46594" y="47735"/>
                  </a:lnTo>
                  <a:lnTo>
                    <a:pt x="52416" y="49215"/>
                  </a:lnTo>
                  <a:lnTo>
                    <a:pt x="56265" y="47735"/>
                  </a:lnTo>
                  <a:lnTo>
                    <a:pt x="62087" y="47735"/>
                  </a:lnTo>
                  <a:lnTo>
                    <a:pt x="58238" y="52175"/>
                  </a:lnTo>
                  <a:lnTo>
                    <a:pt x="54341" y="52175"/>
                  </a:lnTo>
                  <a:lnTo>
                    <a:pt x="54341" y="61155"/>
                  </a:lnTo>
                  <a:lnTo>
                    <a:pt x="60163" y="68605"/>
                  </a:lnTo>
                  <a:lnTo>
                    <a:pt x="70031" y="76105"/>
                  </a:lnTo>
                  <a:lnTo>
                    <a:pt x="72004" y="74576"/>
                  </a:lnTo>
                  <a:lnTo>
                    <a:pt x="73929" y="70086"/>
                  </a:lnTo>
                  <a:lnTo>
                    <a:pt x="79751" y="65645"/>
                  </a:lnTo>
                  <a:lnTo>
                    <a:pt x="81675" y="70086"/>
                  </a:lnTo>
                  <a:lnTo>
                    <a:pt x="79751" y="86516"/>
                  </a:lnTo>
                  <a:lnTo>
                    <a:pt x="79751" y="89526"/>
                  </a:lnTo>
                  <a:lnTo>
                    <a:pt x="81675" y="88046"/>
                  </a:lnTo>
                  <a:lnTo>
                    <a:pt x="95293" y="82075"/>
                  </a:lnTo>
                  <a:lnTo>
                    <a:pt x="103040" y="80546"/>
                  </a:lnTo>
                  <a:lnTo>
                    <a:pt x="110786" y="86516"/>
                  </a:lnTo>
                  <a:lnTo>
                    <a:pt x="114684" y="86516"/>
                  </a:lnTo>
                  <a:lnTo>
                    <a:pt x="116608" y="80546"/>
                  </a:lnTo>
                  <a:lnTo>
                    <a:pt x="124404" y="85036"/>
                  </a:lnTo>
                  <a:lnTo>
                    <a:pt x="126377" y="88046"/>
                  </a:lnTo>
                  <a:lnTo>
                    <a:pt x="130226" y="89526"/>
                  </a:lnTo>
                  <a:lnTo>
                    <a:pt x="141870" y="94016"/>
                  </a:lnTo>
                  <a:lnTo>
                    <a:pt x="143844" y="101466"/>
                  </a:lnTo>
                  <a:lnTo>
                    <a:pt x="151590" y="104427"/>
                  </a:lnTo>
                  <a:lnTo>
                    <a:pt x="157413" y="111926"/>
                  </a:lnTo>
                  <a:lnTo>
                    <a:pt x="169106" y="105956"/>
                  </a:lnTo>
                  <a:lnTo>
                    <a:pt x="178974" y="107436"/>
                  </a:lnTo>
                  <a:close/>
                  <a:moveTo>
                    <a:pt x="35098" y="37274"/>
                  </a:moveTo>
                  <a:lnTo>
                    <a:pt x="40920" y="37274"/>
                  </a:lnTo>
                  <a:lnTo>
                    <a:pt x="42844" y="40235"/>
                  </a:lnTo>
                  <a:lnTo>
                    <a:pt x="37022" y="40235"/>
                  </a:lnTo>
                  <a:lnTo>
                    <a:pt x="35098" y="37274"/>
                  </a:lnTo>
                  <a:close/>
                  <a:moveTo>
                    <a:pt x="23404" y="50695"/>
                  </a:moveTo>
                  <a:lnTo>
                    <a:pt x="19506" y="44725"/>
                  </a:lnTo>
                  <a:lnTo>
                    <a:pt x="11760" y="44725"/>
                  </a:lnTo>
                  <a:lnTo>
                    <a:pt x="5938" y="47735"/>
                  </a:lnTo>
                  <a:lnTo>
                    <a:pt x="4013" y="46205"/>
                  </a:lnTo>
                  <a:lnTo>
                    <a:pt x="13881" y="41764"/>
                  </a:lnTo>
                  <a:lnTo>
                    <a:pt x="19654" y="38755"/>
                  </a:lnTo>
                  <a:lnTo>
                    <a:pt x="19654" y="35794"/>
                  </a:lnTo>
                  <a:lnTo>
                    <a:pt x="23552" y="37274"/>
                  </a:lnTo>
                  <a:lnTo>
                    <a:pt x="27450" y="38755"/>
                  </a:lnTo>
                  <a:lnTo>
                    <a:pt x="33272" y="40235"/>
                  </a:lnTo>
                  <a:lnTo>
                    <a:pt x="35246" y="44725"/>
                  </a:lnTo>
                  <a:lnTo>
                    <a:pt x="31348" y="44725"/>
                  </a:lnTo>
                  <a:lnTo>
                    <a:pt x="25526" y="47735"/>
                  </a:lnTo>
                  <a:lnTo>
                    <a:pt x="23552" y="50695"/>
                  </a:lnTo>
                  <a:close/>
                  <a:moveTo>
                    <a:pt x="37022" y="55185"/>
                  </a:moveTo>
                  <a:lnTo>
                    <a:pt x="35098" y="52175"/>
                  </a:lnTo>
                  <a:lnTo>
                    <a:pt x="44966" y="52175"/>
                  </a:lnTo>
                  <a:lnTo>
                    <a:pt x="46940" y="59675"/>
                  </a:lnTo>
                  <a:lnTo>
                    <a:pt x="44966" y="61155"/>
                  </a:lnTo>
                  <a:lnTo>
                    <a:pt x="37220" y="55185"/>
                  </a:lnTo>
                  <a:close/>
                  <a:moveTo>
                    <a:pt x="4013" y="91006"/>
                  </a:moveTo>
                  <a:lnTo>
                    <a:pt x="7862" y="91006"/>
                  </a:lnTo>
                  <a:lnTo>
                    <a:pt x="11760" y="88046"/>
                  </a:lnTo>
                  <a:lnTo>
                    <a:pt x="11760" y="85036"/>
                  </a:lnTo>
                  <a:lnTo>
                    <a:pt x="19506" y="76105"/>
                  </a:lnTo>
                  <a:lnTo>
                    <a:pt x="27302" y="73095"/>
                  </a:lnTo>
                  <a:lnTo>
                    <a:pt x="31200" y="70086"/>
                  </a:lnTo>
                  <a:lnTo>
                    <a:pt x="35098" y="64116"/>
                  </a:lnTo>
                  <a:lnTo>
                    <a:pt x="40920" y="65645"/>
                  </a:lnTo>
                  <a:lnTo>
                    <a:pt x="42844" y="64116"/>
                  </a:lnTo>
                  <a:lnTo>
                    <a:pt x="40920" y="62635"/>
                  </a:lnTo>
                  <a:lnTo>
                    <a:pt x="37022" y="61155"/>
                  </a:lnTo>
                  <a:lnTo>
                    <a:pt x="31200" y="56665"/>
                  </a:lnTo>
                  <a:lnTo>
                    <a:pt x="21332" y="55185"/>
                  </a:lnTo>
                  <a:lnTo>
                    <a:pt x="19358" y="55185"/>
                  </a:lnTo>
                  <a:lnTo>
                    <a:pt x="13536" y="59675"/>
                  </a:lnTo>
                  <a:lnTo>
                    <a:pt x="11612" y="59675"/>
                  </a:lnTo>
                  <a:lnTo>
                    <a:pt x="7714" y="64116"/>
                  </a:lnTo>
                  <a:lnTo>
                    <a:pt x="5789" y="61155"/>
                  </a:lnTo>
                  <a:lnTo>
                    <a:pt x="3866" y="59675"/>
                  </a:lnTo>
                  <a:lnTo>
                    <a:pt x="3866" y="62635"/>
                  </a:lnTo>
                  <a:lnTo>
                    <a:pt x="-82" y="62635"/>
                  </a:lnTo>
                  <a:lnTo>
                    <a:pt x="3816" y="64116"/>
                  </a:lnTo>
                  <a:lnTo>
                    <a:pt x="3816" y="67125"/>
                  </a:lnTo>
                  <a:lnTo>
                    <a:pt x="1842" y="68605"/>
                  </a:lnTo>
                  <a:lnTo>
                    <a:pt x="1842" y="73293"/>
                  </a:lnTo>
                  <a:lnTo>
                    <a:pt x="5741" y="73293"/>
                  </a:lnTo>
                  <a:lnTo>
                    <a:pt x="11562" y="77783"/>
                  </a:lnTo>
                  <a:lnTo>
                    <a:pt x="9638" y="82273"/>
                  </a:lnTo>
                  <a:lnTo>
                    <a:pt x="5741" y="8227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Graphic 2">
              <a:extLst>
                <a:ext uri="{FF2B5EF4-FFF2-40B4-BE49-F238E27FC236}">
                  <a16:creationId xmlns:a16="http://schemas.microsoft.com/office/drawing/2014/main" id="{AD6A90DE-00F4-44E6-86AC-C1A44E161A58}"/>
                </a:ext>
              </a:extLst>
            </p:cNvPr>
            <p:cNvSpPr/>
            <p:nvPr/>
          </p:nvSpPr>
          <p:spPr>
            <a:xfrm>
              <a:off x="6004271" y="2780185"/>
              <a:ext cx="210461" cy="94758"/>
            </a:xfrm>
            <a:custGeom>
              <a:avLst/>
              <a:gdLst>
                <a:gd name="connsiteX0" fmla="*/ 231571 w 231653"/>
                <a:gd name="connsiteY0" fmla="*/ 82076 h 104305"/>
                <a:gd name="connsiteX1" fmla="*/ 229548 w 231653"/>
                <a:gd name="connsiteY1" fmla="*/ 71615 h 104305"/>
                <a:gd name="connsiteX2" fmla="*/ 225650 w 231653"/>
                <a:gd name="connsiteY2" fmla="*/ 67125 h 104305"/>
                <a:gd name="connsiteX3" fmla="*/ 221753 w 231653"/>
                <a:gd name="connsiteY3" fmla="*/ 58145 h 104305"/>
                <a:gd name="connsiteX4" fmla="*/ 219779 w 231653"/>
                <a:gd name="connsiteY4" fmla="*/ 53705 h 104305"/>
                <a:gd name="connsiteX5" fmla="*/ 215881 w 231653"/>
                <a:gd name="connsiteY5" fmla="*/ 47735 h 104305"/>
                <a:gd name="connsiteX6" fmla="*/ 215881 w 231653"/>
                <a:gd name="connsiteY6" fmla="*/ 43245 h 104305"/>
                <a:gd name="connsiteX7" fmla="*/ 213907 w 231653"/>
                <a:gd name="connsiteY7" fmla="*/ 38755 h 104305"/>
                <a:gd name="connsiteX8" fmla="*/ 211934 w 231653"/>
                <a:gd name="connsiteY8" fmla="*/ 35794 h 104305"/>
                <a:gd name="connsiteX9" fmla="*/ 211934 w 231653"/>
                <a:gd name="connsiteY9" fmla="*/ 26814 h 104305"/>
                <a:gd name="connsiteX10" fmla="*/ 192198 w 231653"/>
                <a:gd name="connsiteY10" fmla="*/ 25334 h 104305"/>
                <a:gd name="connsiteX11" fmla="*/ 180406 w 231653"/>
                <a:gd name="connsiteY11" fmla="*/ 31304 h 104305"/>
                <a:gd name="connsiteX12" fmla="*/ 174534 w 231653"/>
                <a:gd name="connsiteY12" fmla="*/ 23854 h 104305"/>
                <a:gd name="connsiteX13" fmla="*/ 166689 w 231653"/>
                <a:gd name="connsiteY13" fmla="*/ 20844 h 104305"/>
                <a:gd name="connsiteX14" fmla="*/ 164764 w 231653"/>
                <a:gd name="connsiteY14" fmla="*/ 13394 h 104305"/>
                <a:gd name="connsiteX15" fmla="*/ 152972 w 231653"/>
                <a:gd name="connsiteY15" fmla="*/ 8904 h 104305"/>
                <a:gd name="connsiteX16" fmla="*/ 149025 w 231653"/>
                <a:gd name="connsiteY16" fmla="*/ 7424 h 104305"/>
                <a:gd name="connsiteX17" fmla="*/ 147101 w 231653"/>
                <a:gd name="connsiteY17" fmla="*/ 4414 h 104305"/>
                <a:gd name="connsiteX18" fmla="*/ 139255 w 231653"/>
                <a:gd name="connsiteY18" fmla="*/ -27 h 104305"/>
                <a:gd name="connsiteX19" fmla="*/ 137282 w 231653"/>
                <a:gd name="connsiteY19" fmla="*/ 5943 h 104305"/>
                <a:gd name="connsiteX20" fmla="*/ 133384 w 231653"/>
                <a:gd name="connsiteY20" fmla="*/ 5943 h 104305"/>
                <a:gd name="connsiteX21" fmla="*/ 125539 w 231653"/>
                <a:gd name="connsiteY21" fmla="*/ -27 h 104305"/>
                <a:gd name="connsiteX22" fmla="*/ 117694 w 231653"/>
                <a:gd name="connsiteY22" fmla="*/ 1453 h 104305"/>
                <a:gd name="connsiteX23" fmla="*/ 103977 w 231653"/>
                <a:gd name="connsiteY23" fmla="*/ 7424 h 104305"/>
                <a:gd name="connsiteX24" fmla="*/ 101954 w 231653"/>
                <a:gd name="connsiteY24" fmla="*/ 8904 h 104305"/>
                <a:gd name="connsiteX25" fmla="*/ 101954 w 231653"/>
                <a:gd name="connsiteY25" fmla="*/ 16354 h 104305"/>
                <a:gd name="connsiteX26" fmla="*/ 103977 w 231653"/>
                <a:gd name="connsiteY26" fmla="*/ 29824 h 104305"/>
                <a:gd name="connsiteX27" fmla="*/ 100030 w 231653"/>
                <a:gd name="connsiteY27" fmla="*/ 40235 h 104305"/>
                <a:gd name="connsiteX28" fmla="*/ 90162 w 231653"/>
                <a:gd name="connsiteY28" fmla="*/ 49215 h 104305"/>
                <a:gd name="connsiteX29" fmla="*/ 82317 w 231653"/>
                <a:gd name="connsiteY29" fmla="*/ 49215 h 104305"/>
                <a:gd name="connsiteX30" fmla="*/ 74521 w 231653"/>
                <a:gd name="connsiteY30" fmla="*/ 43245 h 104305"/>
                <a:gd name="connsiteX31" fmla="*/ 70574 w 231653"/>
                <a:gd name="connsiteY31" fmla="*/ 38755 h 104305"/>
                <a:gd name="connsiteX32" fmla="*/ 54883 w 231653"/>
                <a:gd name="connsiteY32" fmla="*/ 22324 h 104305"/>
                <a:gd name="connsiteX33" fmla="*/ 54883 w 231653"/>
                <a:gd name="connsiteY33" fmla="*/ 13394 h 104305"/>
                <a:gd name="connsiteX34" fmla="*/ 50937 w 231653"/>
                <a:gd name="connsiteY34" fmla="*/ 14874 h 104305"/>
                <a:gd name="connsiteX35" fmla="*/ 45065 w 231653"/>
                <a:gd name="connsiteY35" fmla="*/ 19364 h 104305"/>
                <a:gd name="connsiteX36" fmla="*/ 33272 w 231653"/>
                <a:gd name="connsiteY36" fmla="*/ 20844 h 104305"/>
                <a:gd name="connsiteX37" fmla="*/ 31348 w 231653"/>
                <a:gd name="connsiteY37" fmla="*/ 23854 h 104305"/>
                <a:gd name="connsiteX38" fmla="*/ 23503 w 231653"/>
                <a:gd name="connsiteY38" fmla="*/ 23854 h 104305"/>
                <a:gd name="connsiteX39" fmla="*/ 17632 w 231653"/>
                <a:gd name="connsiteY39" fmla="*/ 32784 h 104305"/>
                <a:gd name="connsiteX40" fmla="*/ 19556 w 231653"/>
                <a:gd name="connsiteY40" fmla="*/ 38755 h 104305"/>
                <a:gd name="connsiteX41" fmla="*/ 15658 w 231653"/>
                <a:gd name="connsiteY41" fmla="*/ 37274 h 104305"/>
                <a:gd name="connsiteX42" fmla="*/ 17632 w 231653"/>
                <a:gd name="connsiteY42" fmla="*/ 47735 h 104305"/>
                <a:gd name="connsiteX43" fmla="*/ 7764 w 231653"/>
                <a:gd name="connsiteY43" fmla="*/ 58145 h 104305"/>
                <a:gd name="connsiteX44" fmla="*/ 7764 w 231653"/>
                <a:gd name="connsiteY44" fmla="*/ 68606 h 104305"/>
                <a:gd name="connsiteX45" fmla="*/ -82 w 231653"/>
                <a:gd name="connsiteY45" fmla="*/ 73096 h 104305"/>
                <a:gd name="connsiteX46" fmla="*/ 5839 w 231653"/>
                <a:gd name="connsiteY46" fmla="*/ 87898 h 104305"/>
                <a:gd name="connsiteX47" fmla="*/ 9737 w 231653"/>
                <a:gd name="connsiteY47" fmla="*/ 90858 h 104305"/>
                <a:gd name="connsiteX48" fmla="*/ 9737 w 231653"/>
                <a:gd name="connsiteY48" fmla="*/ 92338 h 104305"/>
                <a:gd name="connsiteX49" fmla="*/ 15609 w 231653"/>
                <a:gd name="connsiteY49" fmla="*/ 90858 h 104305"/>
                <a:gd name="connsiteX50" fmla="*/ 19507 w 231653"/>
                <a:gd name="connsiteY50" fmla="*/ 84888 h 104305"/>
                <a:gd name="connsiteX51" fmla="*/ 29375 w 231653"/>
                <a:gd name="connsiteY51" fmla="*/ 75957 h 104305"/>
                <a:gd name="connsiteX52" fmla="*/ 45065 w 231653"/>
                <a:gd name="connsiteY52" fmla="*/ 72948 h 104305"/>
                <a:gd name="connsiteX53" fmla="*/ 66775 w 231653"/>
                <a:gd name="connsiteY53" fmla="*/ 72948 h 104305"/>
                <a:gd name="connsiteX54" fmla="*/ 70722 w 231653"/>
                <a:gd name="connsiteY54" fmla="*/ 75957 h 104305"/>
                <a:gd name="connsiteX55" fmla="*/ 78567 w 231653"/>
                <a:gd name="connsiteY55" fmla="*/ 71467 h 104305"/>
                <a:gd name="connsiteX56" fmla="*/ 86511 w 231653"/>
                <a:gd name="connsiteY56" fmla="*/ 71467 h 104305"/>
                <a:gd name="connsiteX57" fmla="*/ 86511 w 231653"/>
                <a:gd name="connsiteY57" fmla="*/ 74428 h 104305"/>
                <a:gd name="connsiteX58" fmla="*/ 92382 w 231653"/>
                <a:gd name="connsiteY58" fmla="*/ 74428 h 104305"/>
                <a:gd name="connsiteX59" fmla="*/ 98254 w 231653"/>
                <a:gd name="connsiteY59" fmla="*/ 81927 h 104305"/>
                <a:gd name="connsiteX60" fmla="*/ 113944 w 231653"/>
                <a:gd name="connsiteY60" fmla="*/ 81927 h 104305"/>
                <a:gd name="connsiteX61" fmla="*/ 125736 w 231653"/>
                <a:gd name="connsiteY61" fmla="*/ 74428 h 104305"/>
                <a:gd name="connsiteX62" fmla="*/ 137479 w 231653"/>
                <a:gd name="connsiteY62" fmla="*/ 81927 h 104305"/>
                <a:gd name="connsiteX63" fmla="*/ 149222 w 231653"/>
                <a:gd name="connsiteY63" fmla="*/ 83408 h 104305"/>
                <a:gd name="connsiteX64" fmla="*/ 159090 w 231653"/>
                <a:gd name="connsiteY64" fmla="*/ 90858 h 104305"/>
                <a:gd name="connsiteX65" fmla="*/ 166936 w 231653"/>
                <a:gd name="connsiteY65" fmla="*/ 92338 h 104305"/>
                <a:gd name="connsiteX66" fmla="*/ 174781 w 231653"/>
                <a:gd name="connsiteY66" fmla="*/ 101318 h 104305"/>
                <a:gd name="connsiteX67" fmla="*/ 186573 w 231653"/>
                <a:gd name="connsiteY67" fmla="*/ 101318 h 104305"/>
                <a:gd name="connsiteX68" fmla="*/ 188497 w 231653"/>
                <a:gd name="connsiteY68" fmla="*/ 104279 h 104305"/>
                <a:gd name="connsiteX69" fmla="*/ 188497 w 231653"/>
                <a:gd name="connsiteY69" fmla="*/ 104279 h 104305"/>
                <a:gd name="connsiteX70" fmla="*/ 200240 w 231653"/>
                <a:gd name="connsiteY70" fmla="*/ 99838 h 104305"/>
                <a:gd name="connsiteX71" fmla="*/ 215980 w 231653"/>
                <a:gd name="connsiteY71" fmla="*/ 98308 h 104305"/>
                <a:gd name="connsiteX72" fmla="*/ 217904 w 231653"/>
                <a:gd name="connsiteY72" fmla="*/ 90858 h 104305"/>
                <a:gd name="connsiteX73" fmla="*/ 223825 w 231653"/>
                <a:gd name="connsiteY73" fmla="*/ 87898 h 104305"/>
                <a:gd name="connsiteX74" fmla="*/ 225749 w 231653"/>
                <a:gd name="connsiteY74" fmla="*/ 81927 h 10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31653" h="104305">
                  <a:moveTo>
                    <a:pt x="231571" y="82076"/>
                  </a:moveTo>
                  <a:lnTo>
                    <a:pt x="229548" y="71615"/>
                  </a:lnTo>
                  <a:lnTo>
                    <a:pt x="225650" y="67125"/>
                  </a:lnTo>
                  <a:lnTo>
                    <a:pt x="221753" y="58145"/>
                  </a:lnTo>
                  <a:lnTo>
                    <a:pt x="219779" y="53705"/>
                  </a:lnTo>
                  <a:lnTo>
                    <a:pt x="215881" y="47735"/>
                  </a:lnTo>
                  <a:lnTo>
                    <a:pt x="215881" y="43245"/>
                  </a:lnTo>
                  <a:lnTo>
                    <a:pt x="213907" y="38755"/>
                  </a:lnTo>
                  <a:lnTo>
                    <a:pt x="211934" y="35794"/>
                  </a:lnTo>
                  <a:lnTo>
                    <a:pt x="211934" y="26814"/>
                  </a:lnTo>
                  <a:lnTo>
                    <a:pt x="192198" y="25334"/>
                  </a:lnTo>
                  <a:lnTo>
                    <a:pt x="180406" y="31304"/>
                  </a:lnTo>
                  <a:lnTo>
                    <a:pt x="174534" y="23854"/>
                  </a:lnTo>
                  <a:lnTo>
                    <a:pt x="166689" y="20844"/>
                  </a:lnTo>
                  <a:lnTo>
                    <a:pt x="164764" y="13394"/>
                  </a:lnTo>
                  <a:lnTo>
                    <a:pt x="152972" y="8904"/>
                  </a:lnTo>
                  <a:lnTo>
                    <a:pt x="149025" y="7424"/>
                  </a:lnTo>
                  <a:lnTo>
                    <a:pt x="147101" y="4414"/>
                  </a:lnTo>
                  <a:lnTo>
                    <a:pt x="139255" y="-27"/>
                  </a:lnTo>
                  <a:lnTo>
                    <a:pt x="137282" y="5943"/>
                  </a:lnTo>
                  <a:lnTo>
                    <a:pt x="133384" y="5943"/>
                  </a:lnTo>
                  <a:lnTo>
                    <a:pt x="125539" y="-27"/>
                  </a:lnTo>
                  <a:lnTo>
                    <a:pt x="117694" y="1453"/>
                  </a:lnTo>
                  <a:lnTo>
                    <a:pt x="103977" y="7424"/>
                  </a:lnTo>
                  <a:lnTo>
                    <a:pt x="101954" y="8904"/>
                  </a:lnTo>
                  <a:lnTo>
                    <a:pt x="101954" y="16354"/>
                  </a:lnTo>
                  <a:lnTo>
                    <a:pt x="103977" y="29824"/>
                  </a:lnTo>
                  <a:lnTo>
                    <a:pt x="100030" y="40235"/>
                  </a:lnTo>
                  <a:lnTo>
                    <a:pt x="90162" y="49215"/>
                  </a:lnTo>
                  <a:lnTo>
                    <a:pt x="82317" y="49215"/>
                  </a:lnTo>
                  <a:lnTo>
                    <a:pt x="74521" y="43245"/>
                  </a:lnTo>
                  <a:lnTo>
                    <a:pt x="70574" y="38755"/>
                  </a:lnTo>
                  <a:lnTo>
                    <a:pt x="54883" y="22324"/>
                  </a:lnTo>
                  <a:lnTo>
                    <a:pt x="54883" y="13394"/>
                  </a:lnTo>
                  <a:lnTo>
                    <a:pt x="50937" y="14874"/>
                  </a:lnTo>
                  <a:lnTo>
                    <a:pt x="45065" y="19364"/>
                  </a:lnTo>
                  <a:lnTo>
                    <a:pt x="33272" y="20844"/>
                  </a:lnTo>
                  <a:lnTo>
                    <a:pt x="31348" y="23854"/>
                  </a:lnTo>
                  <a:lnTo>
                    <a:pt x="23503" y="23854"/>
                  </a:lnTo>
                  <a:lnTo>
                    <a:pt x="17632" y="32784"/>
                  </a:lnTo>
                  <a:lnTo>
                    <a:pt x="19556" y="38755"/>
                  </a:lnTo>
                  <a:lnTo>
                    <a:pt x="15658" y="37274"/>
                  </a:lnTo>
                  <a:lnTo>
                    <a:pt x="17632" y="47735"/>
                  </a:lnTo>
                  <a:lnTo>
                    <a:pt x="7764" y="58145"/>
                  </a:lnTo>
                  <a:lnTo>
                    <a:pt x="7764" y="68606"/>
                  </a:lnTo>
                  <a:lnTo>
                    <a:pt x="-82" y="73096"/>
                  </a:lnTo>
                  <a:lnTo>
                    <a:pt x="5839" y="87898"/>
                  </a:lnTo>
                  <a:lnTo>
                    <a:pt x="9737" y="90858"/>
                  </a:lnTo>
                  <a:lnTo>
                    <a:pt x="9737" y="92338"/>
                  </a:lnTo>
                  <a:lnTo>
                    <a:pt x="15609" y="90858"/>
                  </a:lnTo>
                  <a:lnTo>
                    <a:pt x="19507" y="84888"/>
                  </a:lnTo>
                  <a:lnTo>
                    <a:pt x="29375" y="75957"/>
                  </a:lnTo>
                  <a:lnTo>
                    <a:pt x="45065" y="72948"/>
                  </a:lnTo>
                  <a:lnTo>
                    <a:pt x="66775" y="72948"/>
                  </a:lnTo>
                  <a:lnTo>
                    <a:pt x="70722" y="75957"/>
                  </a:lnTo>
                  <a:lnTo>
                    <a:pt x="78567" y="71467"/>
                  </a:lnTo>
                  <a:lnTo>
                    <a:pt x="86511" y="71467"/>
                  </a:lnTo>
                  <a:lnTo>
                    <a:pt x="86511" y="74428"/>
                  </a:lnTo>
                  <a:lnTo>
                    <a:pt x="92382" y="74428"/>
                  </a:lnTo>
                  <a:lnTo>
                    <a:pt x="98254" y="81927"/>
                  </a:lnTo>
                  <a:lnTo>
                    <a:pt x="113944" y="81927"/>
                  </a:lnTo>
                  <a:lnTo>
                    <a:pt x="125736" y="74428"/>
                  </a:lnTo>
                  <a:lnTo>
                    <a:pt x="137479" y="81927"/>
                  </a:lnTo>
                  <a:lnTo>
                    <a:pt x="149222" y="83408"/>
                  </a:lnTo>
                  <a:lnTo>
                    <a:pt x="159090" y="90858"/>
                  </a:lnTo>
                  <a:lnTo>
                    <a:pt x="166936" y="92338"/>
                  </a:lnTo>
                  <a:lnTo>
                    <a:pt x="174781" y="101318"/>
                  </a:lnTo>
                  <a:lnTo>
                    <a:pt x="186573" y="101318"/>
                  </a:lnTo>
                  <a:lnTo>
                    <a:pt x="188497" y="104279"/>
                  </a:lnTo>
                  <a:lnTo>
                    <a:pt x="188497" y="104279"/>
                  </a:lnTo>
                  <a:lnTo>
                    <a:pt x="200240" y="99838"/>
                  </a:lnTo>
                  <a:lnTo>
                    <a:pt x="215980" y="98308"/>
                  </a:lnTo>
                  <a:lnTo>
                    <a:pt x="217904" y="90858"/>
                  </a:lnTo>
                  <a:lnTo>
                    <a:pt x="223825" y="87898"/>
                  </a:lnTo>
                  <a:lnTo>
                    <a:pt x="225749" y="819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Graphic 2">
              <a:extLst>
                <a:ext uri="{FF2B5EF4-FFF2-40B4-BE49-F238E27FC236}">
                  <a16:creationId xmlns:a16="http://schemas.microsoft.com/office/drawing/2014/main" id="{84CF97DA-E0C2-4BB8-A108-BBD3B3B876F4}"/>
                </a:ext>
              </a:extLst>
            </p:cNvPr>
            <p:cNvSpPr/>
            <p:nvPr/>
          </p:nvSpPr>
          <p:spPr>
            <a:xfrm>
              <a:off x="6011264" y="2844598"/>
              <a:ext cx="162810" cy="101706"/>
            </a:xfrm>
            <a:custGeom>
              <a:avLst/>
              <a:gdLst>
                <a:gd name="connsiteX0" fmla="*/ 57054 w 179203"/>
                <a:gd name="connsiteY0" fmla="*/ 81237 h 111953"/>
                <a:gd name="connsiteX1" fmla="*/ 57054 w 179203"/>
                <a:gd name="connsiteY1" fmla="*/ 72059 h 111953"/>
                <a:gd name="connsiteX2" fmla="*/ 60952 w 179203"/>
                <a:gd name="connsiteY2" fmla="*/ 67421 h 111953"/>
                <a:gd name="connsiteX3" fmla="*/ 57054 w 179203"/>
                <a:gd name="connsiteY3" fmla="*/ 64362 h 111953"/>
                <a:gd name="connsiteX4" fmla="*/ 53058 w 179203"/>
                <a:gd name="connsiteY4" fmla="*/ 61303 h 111953"/>
                <a:gd name="connsiteX5" fmla="*/ 51084 w 179203"/>
                <a:gd name="connsiteY5" fmla="*/ 55136 h 111953"/>
                <a:gd name="connsiteX6" fmla="*/ 47186 w 179203"/>
                <a:gd name="connsiteY6" fmla="*/ 53606 h 111953"/>
                <a:gd name="connsiteX7" fmla="*/ 33420 w 179203"/>
                <a:gd name="connsiteY7" fmla="*/ 56715 h 111953"/>
                <a:gd name="connsiteX8" fmla="*/ 23552 w 179203"/>
                <a:gd name="connsiteY8" fmla="*/ 52076 h 111953"/>
                <a:gd name="connsiteX9" fmla="*/ 13684 w 179203"/>
                <a:gd name="connsiteY9" fmla="*/ 41370 h 111953"/>
                <a:gd name="connsiteX10" fmla="*/ 1892 w 179203"/>
                <a:gd name="connsiteY10" fmla="*/ 42899 h 111953"/>
                <a:gd name="connsiteX11" fmla="*/ -82 w 179203"/>
                <a:gd name="connsiteY11" fmla="*/ 42899 h 111953"/>
                <a:gd name="connsiteX12" fmla="*/ 3914 w 179203"/>
                <a:gd name="connsiteY12" fmla="*/ 38261 h 111953"/>
                <a:gd name="connsiteX13" fmla="*/ 1892 w 179203"/>
                <a:gd name="connsiteY13" fmla="*/ 29084 h 111953"/>
                <a:gd name="connsiteX14" fmla="*/ -82 w 179203"/>
                <a:gd name="connsiteY14" fmla="*/ 21436 h 111953"/>
                <a:gd name="connsiteX15" fmla="*/ 5839 w 179203"/>
                <a:gd name="connsiteY15" fmla="*/ 19907 h 111953"/>
                <a:gd name="connsiteX16" fmla="*/ 9786 w 179203"/>
                <a:gd name="connsiteY16" fmla="*/ 13739 h 111953"/>
                <a:gd name="connsiteX17" fmla="*/ 19654 w 179203"/>
                <a:gd name="connsiteY17" fmla="*/ 4562 h 111953"/>
                <a:gd name="connsiteX18" fmla="*/ 35394 w 179203"/>
                <a:gd name="connsiteY18" fmla="*/ 1503 h 111953"/>
                <a:gd name="connsiteX19" fmla="*/ 57103 w 179203"/>
                <a:gd name="connsiteY19" fmla="*/ 1503 h 111953"/>
                <a:gd name="connsiteX20" fmla="*/ 61002 w 179203"/>
                <a:gd name="connsiteY20" fmla="*/ 4562 h 111953"/>
                <a:gd name="connsiteX21" fmla="*/ 68896 w 179203"/>
                <a:gd name="connsiteY21" fmla="*/ -27 h 111953"/>
                <a:gd name="connsiteX22" fmla="*/ 76741 w 179203"/>
                <a:gd name="connsiteY22" fmla="*/ -27 h 111953"/>
                <a:gd name="connsiteX23" fmla="*/ 76741 w 179203"/>
                <a:gd name="connsiteY23" fmla="*/ 3032 h 111953"/>
                <a:gd name="connsiteX24" fmla="*/ 82662 w 179203"/>
                <a:gd name="connsiteY24" fmla="*/ 3032 h 111953"/>
                <a:gd name="connsiteX25" fmla="*/ 88583 w 179203"/>
                <a:gd name="connsiteY25" fmla="*/ 10680 h 111953"/>
                <a:gd name="connsiteX26" fmla="*/ 104322 w 179203"/>
                <a:gd name="connsiteY26" fmla="*/ 10680 h 111953"/>
                <a:gd name="connsiteX27" fmla="*/ 116115 w 179203"/>
                <a:gd name="connsiteY27" fmla="*/ 3032 h 111953"/>
                <a:gd name="connsiteX28" fmla="*/ 127956 w 179203"/>
                <a:gd name="connsiteY28" fmla="*/ 10680 h 111953"/>
                <a:gd name="connsiteX29" fmla="*/ 139749 w 179203"/>
                <a:gd name="connsiteY29" fmla="*/ 12210 h 111953"/>
                <a:gd name="connsiteX30" fmla="*/ 149617 w 179203"/>
                <a:gd name="connsiteY30" fmla="*/ 19907 h 111953"/>
                <a:gd name="connsiteX31" fmla="*/ 157462 w 179203"/>
                <a:gd name="connsiteY31" fmla="*/ 21436 h 111953"/>
                <a:gd name="connsiteX32" fmla="*/ 165356 w 179203"/>
                <a:gd name="connsiteY32" fmla="*/ 30613 h 111953"/>
                <a:gd name="connsiteX33" fmla="*/ 177149 w 179203"/>
                <a:gd name="connsiteY33" fmla="*/ 30613 h 111953"/>
                <a:gd name="connsiteX34" fmla="*/ 179122 w 179203"/>
                <a:gd name="connsiteY34" fmla="*/ 33673 h 111953"/>
                <a:gd name="connsiteX35" fmla="*/ 171228 w 179203"/>
                <a:gd name="connsiteY35" fmla="*/ 44429 h 111953"/>
                <a:gd name="connsiteX36" fmla="*/ 177149 w 179203"/>
                <a:gd name="connsiteY36" fmla="*/ 45958 h 111953"/>
                <a:gd name="connsiteX37" fmla="*/ 177149 w 179203"/>
                <a:gd name="connsiteY37" fmla="*/ 52076 h 111953"/>
                <a:gd name="connsiteX38" fmla="*/ 163383 w 179203"/>
                <a:gd name="connsiteY38" fmla="*/ 56715 h 111953"/>
                <a:gd name="connsiteX39" fmla="*/ 157462 w 179203"/>
                <a:gd name="connsiteY39" fmla="*/ 67421 h 111953"/>
                <a:gd name="connsiteX40" fmla="*/ 151590 w 179203"/>
                <a:gd name="connsiteY40" fmla="*/ 68951 h 111953"/>
                <a:gd name="connsiteX41" fmla="*/ 149617 w 179203"/>
                <a:gd name="connsiteY41" fmla="*/ 78178 h 111953"/>
                <a:gd name="connsiteX42" fmla="*/ 159485 w 179203"/>
                <a:gd name="connsiteY42" fmla="*/ 81237 h 111953"/>
                <a:gd name="connsiteX43" fmla="*/ 159485 w 179203"/>
                <a:gd name="connsiteY43" fmla="*/ 87355 h 111953"/>
                <a:gd name="connsiteX44" fmla="*/ 151640 w 179203"/>
                <a:gd name="connsiteY44" fmla="*/ 87355 h 111953"/>
                <a:gd name="connsiteX45" fmla="*/ 149666 w 179203"/>
                <a:gd name="connsiteY45" fmla="*/ 84296 h 111953"/>
                <a:gd name="connsiteX46" fmla="*/ 143745 w 179203"/>
                <a:gd name="connsiteY46" fmla="*/ 85825 h 111953"/>
                <a:gd name="connsiteX47" fmla="*/ 139798 w 179203"/>
                <a:gd name="connsiteY47" fmla="*/ 95052 h 111953"/>
                <a:gd name="connsiteX48" fmla="*/ 128154 w 179203"/>
                <a:gd name="connsiteY48" fmla="*/ 95052 h 111953"/>
                <a:gd name="connsiteX49" fmla="*/ 134025 w 179203"/>
                <a:gd name="connsiteY49" fmla="*/ 104279 h 111953"/>
                <a:gd name="connsiteX50" fmla="*/ 126180 w 179203"/>
                <a:gd name="connsiteY50" fmla="*/ 104279 h 111953"/>
                <a:gd name="connsiteX51" fmla="*/ 116312 w 179203"/>
                <a:gd name="connsiteY51" fmla="*/ 108867 h 111953"/>
                <a:gd name="connsiteX52" fmla="*/ 108467 w 179203"/>
                <a:gd name="connsiteY52" fmla="*/ 104279 h 111953"/>
                <a:gd name="connsiteX53" fmla="*/ 94651 w 179203"/>
                <a:gd name="connsiteY53" fmla="*/ 107338 h 111953"/>
                <a:gd name="connsiteX54" fmla="*/ 86806 w 179203"/>
                <a:gd name="connsiteY54" fmla="*/ 111926 h 111953"/>
                <a:gd name="connsiteX55" fmla="*/ 80886 w 179203"/>
                <a:gd name="connsiteY55" fmla="*/ 105808 h 111953"/>
                <a:gd name="connsiteX56" fmla="*/ 82859 w 179203"/>
                <a:gd name="connsiteY56" fmla="*/ 99641 h 111953"/>
                <a:gd name="connsiteX57" fmla="*/ 78912 w 179203"/>
                <a:gd name="connsiteY57" fmla="*/ 87355 h 111953"/>
                <a:gd name="connsiteX58" fmla="*/ 74965 w 179203"/>
                <a:gd name="connsiteY58" fmla="*/ 87355 h 111953"/>
                <a:gd name="connsiteX59" fmla="*/ 67070 w 179203"/>
                <a:gd name="connsiteY59" fmla="*/ 81237 h 111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79203" h="111953">
                  <a:moveTo>
                    <a:pt x="57054" y="81237"/>
                  </a:moveTo>
                  <a:lnTo>
                    <a:pt x="57054" y="72059"/>
                  </a:lnTo>
                  <a:lnTo>
                    <a:pt x="60952" y="67421"/>
                  </a:lnTo>
                  <a:lnTo>
                    <a:pt x="57054" y="64362"/>
                  </a:lnTo>
                  <a:lnTo>
                    <a:pt x="53058" y="61303"/>
                  </a:lnTo>
                  <a:lnTo>
                    <a:pt x="51084" y="55136"/>
                  </a:lnTo>
                  <a:lnTo>
                    <a:pt x="47186" y="53606"/>
                  </a:lnTo>
                  <a:lnTo>
                    <a:pt x="33420" y="56715"/>
                  </a:lnTo>
                  <a:lnTo>
                    <a:pt x="23552" y="52076"/>
                  </a:lnTo>
                  <a:lnTo>
                    <a:pt x="13684" y="41370"/>
                  </a:lnTo>
                  <a:lnTo>
                    <a:pt x="1892" y="42899"/>
                  </a:lnTo>
                  <a:lnTo>
                    <a:pt x="-82" y="42899"/>
                  </a:lnTo>
                  <a:lnTo>
                    <a:pt x="3914" y="38261"/>
                  </a:lnTo>
                  <a:lnTo>
                    <a:pt x="1892" y="29084"/>
                  </a:lnTo>
                  <a:lnTo>
                    <a:pt x="-82" y="21436"/>
                  </a:lnTo>
                  <a:lnTo>
                    <a:pt x="5839" y="19907"/>
                  </a:lnTo>
                  <a:lnTo>
                    <a:pt x="9786" y="13739"/>
                  </a:lnTo>
                  <a:lnTo>
                    <a:pt x="19654" y="4562"/>
                  </a:lnTo>
                  <a:lnTo>
                    <a:pt x="35394" y="1503"/>
                  </a:lnTo>
                  <a:lnTo>
                    <a:pt x="57103" y="1503"/>
                  </a:lnTo>
                  <a:lnTo>
                    <a:pt x="61002" y="4562"/>
                  </a:lnTo>
                  <a:lnTo>
                    <a:pt x="68896" y="-27"/>
                  </a:lnTo>
                  <a:lnTo>
                    <a:pt x="76741" y="-27"/>
                  </a:lnTo>
                  <a:lnTo>
                    <a:pt x="76741" y="3032"/>
                  </a:lnTo>
                  <a:lnTo>
                    <a:pt x="82662" y="3032"/>
                  </a:lnTo>
                  <a:lnTo>
                    <a:pt x="88583" y="10680"/>
                  </a:lnTo>
                  <a:lnTo>
                    <a:pt x="104322" y="10680"/>
                  </a:lnTo>
                  <a:lnTo>
                    <a:pt x="116115" y="3032"/>
                  </a:lnTo>
                  <a:lnTo>
                    <a:pt x="127956" y="10680"/>
                  </a:lnTo>
                  <a:lnTo>
                    <a:pt x="139749" y="12210"/>
                  </a:lnTo>
                  <a:lnTo>
                    <a:pt x="149617" y="19907"/>
                  </a:lnTo>
                  <a:lnTo>
                    <a:pt x="157462" y="21436"/>
                  </a:lnTo>
                  <a:lnTo>
                    <a:pt x="165356" y="30613"/>
                  </a:lnTo>
                  <a:lnTo>
                    <a:pt x="177149" y="30613"/>
                  </a:lnTo>
                  <a:lnTo>
                    <a:pt x="179122" y="33673"/>
                  </a:lnTo>
                  <a:lnTo>
                    <a:pt x="171228" y="44429"/>
                  </a:lnTo>
                  <a:lnTo>
                    <a:pt x="177149" y="45958"/>
                  </a:lnTo>
                  <a:lnTo>
                    <a:pt x="177149" y="52076"/>
                  </a:lnTo>
                  <a:lnTo>
                    <a:pt x="163383" y="56715"/>
                  </a:lnTo>
                  <a:lnTo>
                    <a:pt x="157462" y="67421"/>
                  </a:lnTo>
                  <a:lnTo>
                    <a:pt x="151590" y="68951"/>
                  </a:lnTo>
                  <a:lnTo>
                    <a:pt x="149617" y="78178"/>
                  </a:lnTo>
                  <a:lnTo>
                    <a:pt x="159485" y="81237"/>
                  </a:lnTo>
                  <a:lnTo>
                    <a:pt x="159485" y="87355"/>
                  </a:lnTo>
                  <a:lnTo>
                    <a:pt x="151640" y="87355"/>
                  </a:lnTo>
                  <a:lnTo>
                    <a:pt x="149666" y="84296"/>
                  </a:lnTo>
                  <a:lnTo>
                    <a:pt x="143745" y="85825"/>
                  </a:lnTo>
                  <a:lnTo>
                    <a:pt x="139798" y="95052"/>
                  </a:lnTo>
                  <a:lnTo>
                    <a:pt x="128154" y="95052"/>
                  </a:lnTo>
                  <a:lnTo>
                    <a:pt x="134025" y="104279"/>
                  </a:lnTo>
                  <a:lnTo>
                    <a:pt x="126180" y="104279"/>
                  </a:lnTo>
                  <a:lnTo>
                    <a:pt x="116312" y="108867"/>
                  </a:lnTo>
                  <a:lnTo>
                    <a:pt x="108467" y="104279"/>
                  </a:lnTo>
                  <a:lnTo>
                    <a:pt x="94651" y="107338"/>
                  </a:lnTo>
                  <a:lnTo>
                    <a:pt x="86806" y="111926"/>
                  </a:lnTo>
                  <a:lnTo>
                    <a:pt x="80886" y="105808"/>
                  </a:lnTo>
                  <a:lnTo>
                    <a:pt x="82859" y="99641"/>
                  </a:lnTo>
                  <a:lnTo>
                    <a:pt x="78912" y="87355"/>
                  </a:lnTo>
                  <a:lnTo>
                    <a:pt x="74965" y="87355"/>
                  </a:lnTo>
                  <a:lnTo>
                    <a:pt x="67070" y="8123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Graphic 2">
              <a:extLst>
                <a:ext uri="{FF2B5EF4-FFF2-40B4-BE49-F238E27FC236}">
                  <a16:creationId xmlns:a16="http://schemas.microsoft.com/office/drawing/2014/main" id="{C0E5EE5E-DDDF-4AC8-B188-D47FDF278DA2}"/>
                </a:ext>
              </a:extLst>
            </p:cNvPr>
            <p:cNvSpPr/>
            <p:nvPr/>
          </p:nvSpPr>
          <p:spPr>
            <a:xfrm>
              <a:off x="6092577" y="2851366"/>
              <a:ext cx="274965" cy="183064"/>
            </a:xfrm>
            <a:custGeom>
              <a:avLst/>
              <a:gdLst>
                <a:gd name="connsiteX0" fmla="*/ 17 w 302653"/>
                <a:gd name="connsiteY0" fmla="*/ 103785 h 201505"/>
                <a:gd name="connsiteX1" fmla="*/ 7812 w 302653"/>
                <a:gd name="connsiteY1" fmla="*/ 99196 h 201505"/>
                <a:gd name="connsiteX2" fmla="*/ 21628 w 302653"/>
                <a:gd name="connsiteY2" fmla="*/ 96137 h 201505"/>
                <a:gd name="connsiteX3" fmla="*/ 29424 w 302653"/>
                <a:gd name="connsiteY3" fmla="*/ 100726 h 201505"/>
                <a:gd name="connsiteX4" fmla="*/ 39292 w 302653"/>
                <a:gd name="connsiteY4" fmla="*/ 96137 h 201505"/>
                <a:gd name="connsiteX5" fmla="*/ 47137 w 302653"/>
                <a:gd name="connsiteY5" fmla="*/ 96137 h 201505"/>
                <a:gd name="connsiteX6" fmla="*/ 41265 w 302653"/>
                <a:gd name="connsiteY6" fmla="*/ 87009 h 201505"/>
                <a:gd name="connsiteX7" fmla="*/ 53058 w 302653"/>
                <a:gd name="connsiteY7" fmla="*/ 87009 h 201505"/>
                <a:gd name="connsiteX8" fmla="*/ 56955 w 302653"/>
                <a:gd name="connsiteY8" fmla="*/ 77832 h 201505"/>
                <a:gd name="connsiteX9" fmla="*/ 62876 w 302653"/>
                <a:gd name="connsiteY9" fmla="*/ 76303 h 201505"/>
                <a:gd name="connsiteX10" fmla="*/ 64850 w 302653"/>
                <a:gd name="connsiteY10" fmla="*/ 79362 h 201505"/>
                <a:gd name="connsiteX11" fmla="*/ 72646 w 302653"/>
                <a:gd name="connsiteY11" fmla="*/ 79362 h 201505"/>
                <a:gd name="connsiteX12" fmla="*/ 72646 w 302653"/>
                <a:gd name="connsiteY12" fmla="*/ 73244 h 201505"/>
                <a:gd name="connsiteX13" fmla="*/ 62778 w 302653"/>
                <a:gd name="connsiteY13" fmla="*/ 70184 h 201505"/>
                <a:gd name="connsiteX14" fmla="*/ 64751 w 302653"/>
                <a:gd name="connsiteY14" fmla="*/ 61007 h 201505"/>
                <a:gd name="connsiteX15" fmla="*/ 70623 w 302653"/>
                <a:gd name="connsiteY15" fmla="*/ 59478 h 201505"/>
                <a:gd name="connsiteX16" fmla="*/ 76494 w 302653"/>
                <a:gd name="connsiteY16" fmla="*/ 48820 h 201505"/>
                <a:gd name="connsiteX17" fmla="*/ 90211 w 302653"/>
                <a:gd name="connsiteY17" fmla="*/ 44231 h 201505"/>
                <a:gd name="connsiteX18" fmla="*/ 90211 w 302653"/>
                <a:gd name="connsiteY18" fmla="*/ 38162 h 201505"/>
                <a:gd name="connsiteX19" fmla="*/ 84389 w 302653"/>
                <a:gd name="connsiteY19" fmla="*/ 36633 h 201505"/>
                <a:gd name="connsiteX20" fmla="*/ 92184 w 302653"/>
                <a:gd name="connsiteY20" fmla="*/ 25926 h 201505"/>
                <a:gd name="connsiteX21" fmla="*/ 103977 w 302653"/>
                <a:gd name="connsiteY21" fmla="*/ 21337 h 201505"/>
                <a:gd name="connsiteX22" fmla="*/ 119667 w 302653"/>
                <a:gd name="connsiteY22" fmla="*/ 19808 h 201505"/>
                <a:gd name="connsiteX23" fmla="*/ 121640 w 302653"/>
                <a:gd name="connsiteY23" fmla="*/ 12160 h 201505"/>
                <a:gd name="connsiteX24" fmla="*/ 127562 w 302653"/>
                <a:gd name="connsiteY24" fmla="*/ 9101 h 201505"/>
                <a:gd name="connsiteX25" fmla="*/ 129486 w 302653"/>
                <a:gd name="connsiteY25" fmla="*/ 3032 h 201505"/>
                <a:gd name="connsiteX26" fmla="*/ 137380 w 302653"/>
                <a:gd name="connsiteY26" fmla="*/ -27 h 201505"/>
                <a:gd name="connsiteX27" fmla="*/ 143252 w 302653"/>
                <a:gd name="connsiteY27" fmla="*/ 6091 h 201505"/>
                <a:gd name="connsiteX28" fmla="*/ 153120 w 302653"/>
                <a:gd name="connsiteY28" fmla="*/ -27 h 201505"/>
                <a:gd name="connsiteX29" fmla="*/ 160965 w 302653"/>
                <a:gd name="connsiteY29" fmla="*/ 10631 h 201505"/>
                <a:gd name="connsiteX30" fmla="*/ 168810 w 302653"/>
                <a:gd name="connsiteY30" fmla="*/ 7621 h 201505"/>
                <a:gd name="connsiteX31" fmla="*/ 176803 w 302653"/>
                <a:gd name="connsiteY31" fmla="*/ 7621 h 201505"/>
                <a:gd name="connsiteX32" fmla="*/ 184648 w 302653"/>
                <a:gd name="connsiteY32" fmla="*/ 18278 h 201505"/>
                <a:gd name="connsiteX33" fmla="*/ 192542 w 302653"/>
                <a:gd name="connsiteY33" fmla="*/ 12160 h 201505"/>
                <a:gd name="connsiteX34" fmla="*/ 202411 w 302653"/>
                <a:gd name="connsiteY34" fmla="*/ 9101 h 201505"/>
                <a:gd name="connsiteX35" fmla="*/ 206309 w 302653"/>
                <a:gd name="connsiteY35" fmla="*/ 13690 h 201505"/>
                <a:gd name="connsiteX36" fmla="*/ 212230 w 302653"/>
                <a:gd name="connsiteY36" fmla="*/ 13690 h 201505"/>
                <a:gd name="connsiteX37" fmla="*/ 227870 w 302653"/>
                <a:gd name="connsiteY37" fmla="*/ 18278 h 201505"/>
                <a:gd name="connsiteX38" fmla="*/ 229844 w 302653"/>
                <a:gd name="connsiteY38" fmla="*/ 25926 h 201505"/>
                <a:gd name="connsiteX39" fmla="*/ 227870 w 302653"/>
                <a:gd name="connsiteY39" fmla="*/ 33574 h 201505"/>
                <a:gd name="connsiteX40" fmla="*/ 233792 w 302653"/>
                <a:gd name="connsiteY40" fmla="*/ 39692 h 201505"/>
                <a:gd name="connsiteX41" fmla="*/ 233792 w 302653"/>
                <a:gd name="connsiteY41" fmla="*/ 48820 h 201505"/>
                <a:gd name="connsiteX42" fmla="*/ 241636 w 302653"/>
                <a:gd name="connsiteY42" fmla="*/ 57997 h 201505"/>
                <a:gd name="connsiteX43" fmla="*/ 245583 w 302653"/>
                <a:gd name="connsiteY43" fmla="*/ 65596 h 201505"/>
                <a:gd name="connsiteX44" fmla="*/ 255451 w 302653"/>
                <a:gd name="connsiteY44" fmla="*/ 76303 h 201505"/>
                <a:gd name="connsiteX45" fmla="*/ 263248 w 302653"/>
                <a:gd name="connsiteY45" fmla="*/ 82421 h 201505"/>
                <a:gd name="connsiteX46" fmla="*/ 265271 w 302653"/>
                <a:gd name="connsiteY46" fmla="*/ 91598 h 201505"/>
                <a:gd name="connsiteX47" fmla="*/ 277014 w 302653"/>
                <a:gd name="connsiteY47" fmla="*/ 94608 h 201505"/>
                <a:gd name="connsiteX48" fmla="*/ 292704 w 302653"/>
                <a:gd name="connsiteY48" fmla="*/ 103785 h 201505"/>
                <a:gd name="connsiteX49" fmla="*/ 292704 w 302653"/>
                <a:gd name="connsiteY49" fmla="*/ 111384 h 201505"/>
                <a:gd name="connsiteX50" fmla="*/ 302572 w 302653"/>
                <a:gd name="connsiteY50" fmla="*/ 115972 h 201505"/>
                <a:gd name="connsiteX51" fmla="*/ 298674 w 302653"/>
                <a:gd name="connsiteY51" fmla="*/ 119031 h 201505"/>
                <a:gd name="connsiteX52" fmla="*/ 290779 w 302653"/>
                <a:gd name="connsiteY52" fmla="*/ 128209 h 201505"/>
                <a:gd name="connsiteX53" fmla="*/ 271043 w 302653"/>
                <a:gd name="connsiteY53" fmla="*/ 131268 h 201505"/>
                <a:gd name="connsiteX54" fmla="*/ 263198 w 302653"/>
                <a:gd name="connsiteY54" fmla="*/ 125199 h 201505"/>
                <a:gd name="connsiteX55" fmla="*/ 261224 w 302653"/>
                <a:gd name="connsiteY55" fmla="*/ 129738 h 201505"/>
                <a:gd name="connsiteX56" fmla="*/ 261224 w 302653"/>
                <a:gd name="connsiteY56" fmla="*/ 138916 h 201505"/>
                <a:gd name="connsiteX57" fmla="*/ 269119 w 302653"/>
                <a:gd name="connsiteY57" fmla="*/ 148044 h 201505"/>
                <a:gd name="connsiteX58" fmla="*/ 267146 w 302653"/>
                <a:gd name="connsiteY58" fmla="*/ 155691 h 201505"/>
                <a:gd name="connsiteX59" fmla="*/ 274991 w 302653"/>
                <a:gd name="connsiteY59" fmla="*/ 164868 h 201505"/>
                <a:gd name="connsiteX60" fmla="*/ 274991 w 302653"/>
                <a:gd name="connsiteY60" fmla="*/ 172516 h 201505"/>
                <a:gd name="connsiteX61" fmla="*/ 274991 w 302653"/>
                <a:gd name="connsiteY61" fmla="*/ 172516 h 201505"/>
                <a:gd name="connsiteX62" fmla="*/ 259300 w 302653"/>
                <a:gd name="connsiteY62" fmla="*/ 175575 h 201505"/>
                <a:gd name="connsiteX63" fmla="*/ 247508 w 302653"/>
                <a:gd name="connsiteY63" fmla="*/ 175575 h 201505"/>
                <a:gd name="connsiteX64" fmla="*/ 243610 w 302653"/>
                <a:gd name="connsiteY64" fmla="*/ 189292 h 201505"/>
                <a:gd name="connsiteX65" fmla="*/ 241636 w 302653"/>
                <a:gd name="connsiteY65" fmla="*/ 198420 h 201505"/>
                <a:gd name="connsiteX66" fmla="*/ 235765 w 302653"/>
                <a:gd name="connsiteY66" fmla="*/ 199950 h 201505"/>
                <a:gd name="connsiteX67" fmla="*/ 229844 w 302653"/>
                <a:gd name="connsiteY67" fmla="*/ 195361 h 201505"/>
                <a:gd name="connsiteX68" fmla="*/ 219976 w 302653"/>
                <a:gd name="connsiteY68" fmla="*/ 196890 h 201505"/>
                <a:gd name="connsiteX69" fmla="*/ 212180 w 302653"/>
                <a:gd name="connsiteY69" fmla="*/ 193831 h 201505"/>
                <a:gd name="connsiteX70" fmla="*/ 204285 w 302653"/>
                <a:gd name="connsiteY70" fmla="*/ 195361 h 201505"/>
                <a:gd name="connsiteX71" fmla="*/ 198365 w 302653"/>
                <a:gd name="connsiteY71" fmla="*/ 201479 h 201505"/>
                <a:gd name="connsiteX72" fmla="*/ 192542 w 302653"/>
                <a:gd name="connsiteY72" fmla="*/ 199950 h 201505"/>
                <a:gd name="connsiteX73" fmla="*/ 190569 w 302653"/>
                <a:gd name="connsiteY73" fmla="*/ 193831 h 201505"/>
                <a:gd name="connsiteX74" fmla="*/ 180701 w 302653"/>
                <a:gd name="connsiteY74" fmla="*/ 193831 h 201505"/>
                <a:gd name="connsiteX75" fmla="*/ 168909 w 302653"/>
                <a:gd name="connsiteY75" fmla="*/ 198420 h 201505"/>
                <a:gd name="connsiteX76" fmla="*/ 164961 w 302653"/>
                <a:gd name="connsiteY76" fmla="*/ 196890 h 201505"/>
                <a:gd name="connsiteX77" fmla="*/ 155093 w 302653"/>
                <a:gd name="connsiteY77" fmla="*/ 195361 h 201505"/>
                <a:gd name="connsiteX78" fmla="*/ 151196 w 302653"/>
                <a:gd name="connsiteY78" fmla="*/ 198420 h 201505"/>
                <a:gd name="connsiteX79" fmla="*/ 145275 w 302653"/>
                <a:gd name="connsiteY79" fmla="*/ 198420 h 201505"/>
                <a:gd name="connsiteX80" fmla="*/ 139403 w 302653"/>
                <a:gd name="connsiteY80" fmla="*/ 193831 h 201505"/>
                <a:gd name="connsiteX81" fmla="*/ 127660 w 302653"/>
                <a:gd name="connsiteY81" fmla="*/ 198420 h 201505"/>
                <a:gd name="connsiteX82" fmla="*/ 125687 w 302653"/>
                <a:gd name="connsiteY82" fmla="*/ 193831 h 201505"/>
                <a:gd name="connsiteX83" fmla="*/ 117842 w 302653"/>
                <a:gd name="connsiteY83" fmla="*/ 190822 h 201505"/>
                <a:gd name="connsiteX84" fmla="*/ 96231 w 302653"/>
                <a:gd name="connsiteY84" fmla="*/ 186233 h 201505"/>
                <a:gd name="connsiteX85" fmla="*/ 88385 w 302653"/>
                <a:gd name="connsiteY85" fmla="*/ 183174 h 201505"/>
                <a:gd name="connsiteX86" fmla="*/ 84488 w 302653"/>
                <a:gd name="connsiteY86" fmla="*/ 183174 h 201505"/>
                <a:gd name="connsiteX87" fmla="*/ 74620 w 302653"/>
                <a:gd name="connsiteY87" fmla="*/ 189292 h 201505"/>
                <a:gd name="connsiteX88" fmla="*/ 62827 w 302653"/>
                <a:gd name="connsiteY88" fmla="*/ 189292 h 201505"/>
                <a:gd name="connsiteX89" fmla="*/ 37269 w 302653"/>
                <a:gd name="connsiteY89" fmla="*/ 192351 h 201505"/>
                <a:gd name="connsiteX90" fmla="*/ 31397 w 302653"/>
                <a:gd name="connsiteY90" fmla="*/ 195361 h 201505"/>
                <a:gd name="connsiteX91" fmla="*/ 21529 w 302653"/>
                <a:gd name="connsiteY91" fmla="*/ 190822 h 201505"/>
                <a:gd name="connsiteX92" fmla="*/ 15608 w 302653"/>
                <a:gd name="connsiteY92" fmla="*/ 190822 h 201505"/>
                <a:gd name="connsiteX93" fmla="*/ 15608 w 302653"/>
                <a:gd name="connsiteY93" fmla="*/ 186233 h 201505"/>
                <a:gd name="connsiteX94" fmla="*/ 7714 w 302653"/>
                <a:gd name="connsiteY94" fmla="*/ 177056 h 201505"/>
                <a:gd name="connsiteX95" fmla="*/ 3816 w 302653"/>
                <a:gd name="connsiteY95" fmla="*/ 167928 h 201505"/>
                <a:gd name="connsiteX96" fmla="*/ 9737 w 302653"/>
                <a:gd name="connsiteY96" fmla="*/ 161809 h 201505"/>
                <a:gd name="connsiteX97" fmla="*/ 17532 w 302653"/>
                <a:gd name="connsiteY97" fmla="*/ 157221 h 201505"/>
                <a:gd name="connsiteX98" fmla="*/ 17532 w 302653"/>
                <a:gd name="connsiteY98" fmla="*/ 138916 h 201505"/>
                <a:gd name="connsiteX99" fmla="*/ 13635 w 302653"/>
                <a:gd name="connsiteY99" fmla="*/ 135856 h 201505"/>
                <a:gd name="connsiteX100" fmla="*/ 9737 w 302653"/>
                <a:gd name="connsiteY100" fmla="*/ 128209 h 201505"/>
                <a:gd name="connsiteX101" fmla="*/ 5789 w 302653"/>
                <a:gd name="connsiteY101" fmla="*/ 122090 h 201505"/>
                <a:gd name="connsiteX102" fmla="*/ -82 w 302653"/>
                <a:gd name="connsiteY102" fmla="*/ 106844 h 20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02653" h="201505">
                  <a:moveTo>
                    <a:pt x="17" y="103785"/>
                  </a:moveTo>
                  <a:lnTo>
                    <a:pt x="7812" y="99196"/>
                  </a:lnTo>
                  <a:lnTo>
                    <a:pt x="21628" y="96137"/>
                  </a:lnTo>
                  <a:lnTo>
                    <a:pt x="29424" y="100726"/>
                  </a:lnTo>
                  <a:lnTo>
                    <a:pt x="39292" y="96137"/>
                  </a:lnTo>
                  <a:lnTo>
                    <a:pt x="47137" y="96137"/>
                  </a:lnTo>
                  <a:lnTo>
                    <a:pt x="41265" y="87009"/>
                  </a:lnTo>
                  <a:lnTo>
                    <a:pt x="53058" y="87009"/>
                  </a:lnTo>
                  <a:lnTo>
                    <a:pt x="56955" y="77832"/>
                  </a:lnTo>
                  <a:lnTo>
                    <a:pt x="62876" y="76303"/>
                  </a:lnTo>
                  <a:lnTo>
                    <a:pt x="64850" y="79362"/>
                  </a:lnTo>
                  <a:lnTo>
                    <a:pt x="72646" y="79362"/>
                  </a:lnTo>
                  <a:lnTo>
                    <a:pt x="72646" y="73244"/>
                  </a:lnTo>
                  <a:lnTo>
                    <a:pt x="62778" y="70184"/>
                  </a:lnTo>
                  <a:lnTo>
                    <a:pt x="64751" y="61007"/>
                  </a:lnTo>
                  <a:lnTo>
                    <a:pt x="70623" y="59478"/>
                  </a:lnTo>
                  <a:lnTo>
                    <a:pt x="76494" y="48820"/>
                  </a:lnTo>
                  <a:lnTo>
                    <a:pt x="90211" y="44231"/>
                  </a:lnTo>
                  <a:lnTo>
                    <a:pt x="90211" y="38162"/>
                  </a:lnTo>
                  <a:lnTo>
                    <a:pt x="84389" y="36633"/>
                  </a:lnTo>
                  <a:lnTo>
                    <a:pt x="92184" y="25926"/>
                  </a:lnTo>
                  <a:lnTo>
                    <a:pt x="103977" y="21337"/>
                  </a:lnTo>
                  <a:lnTo>
                    <a:pt x="119667" y="19808"/>
                  </a:lnTo>
                  <a:lnTo>
                    <a:pt x="121640" y="12160"/>
                  </a:lnTo>
                  <a:lnTo>
                    <a:pt x="127562" y="9101"/>
                  </a:lnTo>
                  <a:lnTo>
                    <a:pt x="129486" y="3032"/>
                  </a:lnTo>
                  <a:lnTo>
                    <a:pt x="137380" y="-27"/>
                  </a:lnTo>
                  <a:lnTo>
                    <a:pt x="143252" y="6091"/>
                  </a:lnTo>
                  <a:lnTo>
                    <a:pt x="153120" y="-27"/>
                  </a:lnTo>
                  <a:lnTo>
                    <a:pt x="160965" y="10631"/>
                  </a:lnTo>
                  <a:lnTo>
                    <a:pt x="168810" y="7621"/>
                  </a:lnTo>
                  <a:lnTo>
                    <a:pt x="176803" y="7621"/>
                  </a:lnTo>
                  <a:lnTo>
                    <a:pt x="184648" y="18278"/>
                  </a:lnTo>
                  <a:lnTo>
                    <a:pt x="192542" y="12160"/>
                  </a:lnTo>
                  <a:lnTo>
                    <a:pt x="202411" y="9101"/>
                  </a:lnTo>
                  <a:lnTo>
                    <a:pt x="206309" y="13690"/>
                  </a:lnTo>
                  <a:lnTo>
                    <a:pt x="212230" y="13690"/>
                  </a:lnTo>
                  <a:lnTo>
                    <a:pt x="227870" y="18278"/>
                  </a:lnTo>
                  <a:lnTo>
                    <a:pt x="229844" y="25926"/>
                  </a:lnTo>
                  <a:lnTo>
                    <a:pt x="227870" y="33574"/>
                  </a:lnTo>
                  <a:lnTo>
                    <a:pt x="233792" y="39692"/>
                  </a:lnTo>
                  <a:lnTo>
                    <a:pt x="233792" y="48820"/>
                  </a:lnTo>
                  <a:lnTo>
                    <a:pt x="241636" y="57997"/>
                  </a:lnTo>
                  <a:lnTo>
                    <a:pt x="245583" y="65596"/>
                  </a:lnTo>
                  <a:lnTo>
                    <a:pt x="255451" y="76303"/>
                  </a:lnTo>
                  <a:lnTo>
                    <a:pt x="263248" y="82421"/>
                  </a:lnTo>
                  <a:lnTo>
                    <a:pt x="265271" y="91598"/>
                  </a:lnTo>
                  <a:lnTo>
                    <a:pt x="277014" y="94608"/>
                  </a:lnTo>
                  <a:lnTo>
                    <a:pt x="292704" y="103785"/>
                  </a:lnTo>
                  <a:lnTo>
                    <a:pt x="292704" y="111384"/>
                  </a:lnTo>
                  <a:lnTo>
                    <a:pt x="302572" y="115972"/>
                  </a:lnTo>
                  <a:lnTo>
                    <a:pt x="298674" y="119031"/>
                  </a:lnTo>
                  <a:lnTo>
                    <a:pt x="290779" y="128209"/>
                  </a:lnTo>
                  <a:lnTo>
                    <a:pt x="271043" y="131268"/>
                  </a:lnTo>
                  <a:lnTo>
                    <a:pt x="263198" y="125199"/>
                  </a:lnTo>
                  <a:lnTo>
                    <a:pt x="261224" y="129738"/>
                  </a:lnTo>
                  <a:lnTo>
                    <a:pt x="261224" y="138916"/>
                  </a:lnTo>
                  <a:lnTo>
                    <a:pt x="269119" y="148044"/>
                  </a:lnTo>
                  <a:lnTo>
                    <a:pt x="267146" y="155691"/>
                  </a:lnTo>
                  <a:lnTo>
                    <a:pt x="274991" y="164868"/>
                  </a:lnTo>
                  <a:lnTo>
                    <a:pt x="274991" y="172516"/>
                  </a:lnTo>
                  <a:lnTo>
                    <a:pt x="274991" y="172516"/>
                  </a:lnTo>
                  <a:lnTo>
                    <a:pt x="259300" y="175575"/>
                  </a:lnTo>
                  <a:lnTo>
                    <a:pt x="247508" y="175575"/>
                  </a:lnTo>
                  <a:lnTo>
                    <a:pt x="243610" y="189292"/>
                  </a:lnTo>
                  <a:lnTo>
                    <a:pt x="241636" y="198420"/>
                  </a:lnTo>
                  <a:lnTo>
                    <a:pt x="235765" y="199950"/>
                  </a:lnTo>
                  <a:lnTo>
                    <a:pt x="229844" y="195361"/>
                  </a:lnTo>
                  <a:lnTo>
                    <a:pt x="219976" y="196890"/>
                  </a:lnTo>
                  <a:lnTo>
                    <a:pt x="212180" y="193831"/>
                  </a:lnTo>
                  <a:lnTo>
                    <a:pt x="204285" y="195361"/>
                  </a:lnTo>
                  <a:lnTo>
                    <a:pt x="198365" y="201479"/>
                  </a:lnTo>
                  <a:lnTo>
                    <a:pt x="192542" y="199950"/>
                  </a:lnTo>
                  <a:lnTo>
                    <a:pt x="190569" y="193831"/>
                  </a:lnTo>
                  <a:lnTo>
                    <a:pt x="180701" y="193831"/>
                  </a:lnTo>
                  <a:lnTo>
                    <a:pt x="168909" y="198420"/>
                  </a:lnTo>
                  <a:lnTo>
                    <a:pt x="164961" y="196890"/>
                  </a:lnTo>
                  <a:lnTo>
                    <a:pt x="155093" y="195361"/>
                  </a:lnTo>
                  <a:lnTo>
                    <a:pt x="151196" y="198420"/>
                  </a:lnTo>
                  <a:lnTo>
                    <a:pt x="145275" y="198420"/>
                  </a:lnTo>
                  <a:lnTo>
                    <a:pt x="139403" y="193831"/>
                  </a:lnTo>
                  <a:lnTo>
                    <a:pt x="127660" y="198420"/>
                  </a:lnTo>
                  <a:lnTo>
                    <a:pt x="125687" y="193831"/>
                  </a:lnTo>
                  <a:lnTo>
                    <a:pt x="117842" y="190822"/>
                  </a:lnTo>
                  <a:lnTo>
                    <a:pt x="96231" y="186233"/>
                  </a:lnTo>
                  <a:lnTo>
                    <a:pt x="88385" y="183174"/>
                  </a:lnTo>
                  <a:lnTo>
                    <a:pt x="84488" y="183174"/>
                  </a:lnTo>
                  <a:lnTo>
                    <a:pt x="74620" y="189292"/>
                  </a:lnTo>
                  <a:lnTo>
                    <a:pt x="62827" y="189292"/>
                  </a:lnTo>
                  <a:lnTo>
                    <a:pt x="37269" y="192351"/>
                  </a:lnTo>
                  <a:lnTo>
                    <a:pt x="31397" y="195361"/>
                  </a:lnTo>
                  <a:lnTo>
                    <a:pt x="21529" y="190822"/>
                  </a:lnTo>
                  <a:lnTo>
                    <a:pt x="15608" y="190822"/>
                  </a:lnTo>
                  <a:lnTo>
                    <a:pt x="15608" y="186233"/>
                  </a:lnTo>
                  <a:lnTo>
                    <a:pt x="7714" y="177056"/>
                  </a:lnTo>
                  <a:lnTo>
                    <a:pt x="3816" y="167928"/>
                  </a:lnTo>
                  <a:lnTo>
                    <a:pt x="9737" y="161809"/>
                  </a:lnTo>
                  <a:lnTo>
                    <a:pt x="17532" y="157221"/>
                  </a:lnTo>
                  <a:lnTo>
                    <a:pt x="17532" y="138916"/>
                  </a:lnTo>
                  <a:lnTo>
                    <a:pt x="13635" y="135856"/>
                  </a:lnTo>
                  <a:lnTo>
                    <a:pt x="9737" y="128209"/>
                  </a:lnTo>
                  <a:lnTo>
                    <a:pt x="5789" y="122090"/>
                  </a:lnTo>
                  <a:lnTo>
                    <a:pt x="-82" y="10684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Graphic 2">
              <a:extLst>
                <a:ext uri="{FF2B5EF4-FFF2-40B4-BE49-F238E27FC236}">
                  <a16:creationId xmlns:a16="http://schemas.microsoft.com/office/drawing/2014/main" id="{AAD7BC57-80FE-4E31-8B8A-DE756FC635E0}"/>
                </a:ext>
              </a:extLst>
            </p:cNvPr>
            <p:cNvSpPr/>
            <p:nvPr/>
          </p:nvSpPr>
          <p:spPr>
            <a:xfrm>
              <a:off x="6459660" y="3227578"/>
              <a:ext cx="11207" cy="14747"/>
            </a:xfrm>
            <a:custGeom>
              <a:avLst/>
              <a:gdLst>
                <a:gd name="connsiteX0" fmla="*/ 11711 w 12335"/>
                <a:gd name="connsiteY0" fmla="*/ 15071 h 16232"/>
                <a:gd name="connsiteX1" fmla="*/ 7763 w 12335"/>
                <a:gd name="connsiteY1" fmla="*/ 5992 h 16232"/>
                <a:gd name="connsiteX2" fmla="*/ 3865 w 12335"/>
                <a:gd name="connsiteY2" fmla="*/ -27 h 16232"/>
                <a:gd name="connsiteX3" fmla="*/ -82 w 12335"/>
                <a:gd name="connsiteY3" fmla="*/ 1453 h 16232"/>
                <a:gd name="connsiteX4" fmla="*/ 3865 w 12335"/>
                <a:gd name="connsiteY4" fmla="*/ 7522 h 16232"/>
                <a:gd name="connsiteX5" fmla="*/ 10625 w 12335"/>
                <a:gd name="connsiteY5" fmla="*/ 16206 h 16232"/>
                <a:gd name="connsiteX6" fmla="*/ 12253 w 12335"/>
                <a:gd name="connsiteY6" fmla="*/ 15515 h 1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35" h="16232">
                  <a:moveTo>
                    <a:pt x="11711" y="15071"/>
                  </a:moveTo>
                  <a:lnTo>
                    <a:pt x="7763" y="5992"/>
                  </a:lnTo>
                  <a:lnTo>
                    <a:pt x="3865" y="-27"/>
                  </a:lnTo>
                  <a:lnTo>
                    <a:pt x="-82" y="1453"/>
                  </a:lnTo>
                  <a:lnTo>
                    <a:pt x="3865" y="7522"/>
                  </a:lnTo>
                  <a:lnTo>
                    <a:pt x="10625" y="16206"/>
                  </a:lnTo>
                  <a:cubicBezTo>
                    <a:pt x="11167" y="16038"/>
                    <a:pt x="11759" y="15806"/>
                    <a:pt x="12253" y="15515"/>
                  </a:cubicBez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Graphic 2">
              <a:extLst>
                <a:ext uri="{FF2B5EF4-FFF2-40B4-BE49-F238E27FC236}">
                  <a16:creationId xmlns:a16="http://schemas.microsoft.com/office/drawing/2014/main" id="{34AFBC7E-202E-4D1E-9045-D3E0A34EE016}"/>
                </a:ext>
              </a:extLst>
            </p:cNvPr>
            <p:cNvSpPr/>
            <p:nvPr/>
          </p:nvSpPr>
          <p:spPr>
            <a:xfrm>
              <a:off x="6071867" y="3000541"/>
              <a:ext cx="539529" cy="258683"/>
            </a:xfrm>
            <a:custGeom>
              <a:avLst/>
              <a:gdLst>
                <a:gd name="connsiteX0" fmla="*/ 589880 w 593860"/>
                <a:gd name="connsiteY0" fmla="*/ 124163 h 284743"/>
                <a:gd name="connsiteX1" fmla="*/ 593779 w 593860"/>
                <a:gd name="connsiteY1" fmla="*/ 116614 h 284743"/>
                <a:gd name="connsiteX2" fmla="*/ 593779 w 593860"/>
                <a:gd name="connsiteY2" fmla="*/ 108818 h 284743"/>
                <a:gd name="connsiteX3" fmla="*/ 589880 w 593860"/>
                <a:gd name="connsiteY3" fmla="*/ 107288 h 284743"/>
                <a:gd name="connsiteX4" fmla="*/ 585884 w 593860"/>
                <a:gd name="connsiteY4" fmla="*/ 98210 h 284743"/>
                <a:gd name="connsiteX5" fmla="*/ 580012 w 593860"/>
                <a:gd name="connsiteY5" fmla="*/ 102749 h 284743"/>
                <a:gd name="connsiteX6" fmla="*/ 570144 w 593860"/>
                <a:gd name="connsiteY6" fmla="*/ 101219 h 284743"/>
                <a:gd name="connsiteX7" fmla="*/ 560276 w 593860"/>
                <a:gd name="connsiteY7" fmla="*/ 96680 h 284743"/>
                <a:gd name="connsiteX8" fmla="*/ 552382 w 593860"/>
                <a:gd name="connsiteY8" fmla="*/ 98210 h 284743"/>
                <a:gd name="connsiteX9" fmla="*/ 544586 w 593860"/>
                <a:gd name="connsiteY9" fmla="*/ 95200 h 284743"/>
                <a:gd name="connsiteX10" fmla="*/ 534718 w 593860"/>
                <a:gd name="connsiteY10" fmla="*/ 93670 h 284743"/>
                <a:gd name="connsiteX11" fmla="*/ 522926 w 593860"/>
                <a:gd name="connsiteY11" fmla="*/ 92141 h 284743"/>
                <a:gd name="connsiteX12" fmla="*/ 518978 w 593860"/>
                <a:gd name="connsiteY12" fmla="*/ 95200 h 284743"/>
                <a:gd name="connsiteX13" fmla="*/ 515032 w 593860"/>
                <a:gd name="connsiteY13" fmla="*/ 90661 h 284743"/>
                <a:gd name="connsiteX14" fmla="*/ 503239 w 593860"/>
                <a:gd name="connsiteY14" fmla="*/ 84542 h 284743"/>
                <a:gd name="connsiteX15" fmla="*/ 495394 w 593860"/>
                <a:gd name="connsiteY15" fmla="*/ 69444 h 284743"/>
                <a:gd name="connsiteX16" fmla="*/ 489522 w 593860"/>
                <a:gd name="connsiteY16" fmla="*/ 69444 h 284743"/>
                <a:gd name="connsiteX17" fmla="*/ 475904 w 593860"/>
                <a:gd name="connsiteY17" fmla="*/ 78720 h 284743"/>
                <a:gd name="connsiteX18" fmla="*/ 469984 w 593860"/>
                <a:gd name="connsiteY18" fmla="*/ 75711 h 284743"/>
                <a:gd name="connsiteX19" fmla="*/ 462138 w 593860"/>
                <a:gd name="connsiteY19" fmla="*/ 78720 h 284743"/>
                <a:gd name="connsiteX20" fmla="*/ 452270 w 593860"/>
                <a:gd name="connsiteY20" fmla="*/ 74181 h 284743"/>
                <a:gd name="connsiteX21" fmla="*/ 446350 w 593860"/>
                <a:gd name="connsiteY21" fmla="*/ 80250 h 284743"/>
                <a:gd name="connsiteX22" fmla="*/ 428686 w 593860"/>
                <a:gd name="connsiteY22" fmla="*/ 66583 h 284743"/>
                <a:gd name="connsiteX23" fmla="*/ 424738 w 593860"/>
                <a:gd name="connsiteY23" fmla="*/ 57504 h 284743"/>
                <a:gd name="connsiteX24" fmla="*/ 424738 w 593860"/>
                <a:gd name="connsiteY24" fmla="*/ 48425 h 284743"/>
                <a:gd name="connsiteX25" fmla="*/ 418867 w 593860"/>
                <a:gd name="connsiteY25" fmla="*/ 46896 h 284743"/>
                <a:gd name="connsiteX26" fmla="*/ 416893 w 593860"/>
                <a:gd name="connsiteY26" fmla="*/ 40876 h 284743"/>
                <a:gd name="connsiteX27" fmla="*/ 409048 w 593860"/>
                <a:gd name="connsiteY27" fmla="*/ 36337 h 284743"/>
                <a:gd name="connsiteX28" fmla="*/ 389312 w 593860"/>
                <a:gd name="connsiteY28" fmla="*/ 37817 h 284743"/>
                <a:gd name="connsiteX29" fmla="*/ 379444 w 593860"/>
                <a:gd name="connsiteY29" fmla="*/ 27209 h 284743"/>
                <a:gd name="connsiteX30" fmla="*/ 383391 w 593860"/>
                <a:gd name="connsiteY30" fmla="*/ 19660 h 284743"/>
                <a:gd name="connsiteX31" fmla="*/ 377520 w 593860"/>
                <a:gd name="connsiteY31" fmla="*/ 15121 h 284743"/>
                <a:gd name="connsiteX32" fmla="*/ 369625 w 593860"/>
                <a:gd name="connsiteY32" fmla="*/ 1503 h 284743"/>
                <a:gd name="connsiteX33" fmla="*/ 361780 w 593860"/>
                <a:gd name="connsiteY33" fmla="*/ 1503 h 284743"/>
                <a:gd name="connsiteX34" fmla="*/ 353935 w 593860"/>
                <a:gd name="connsiteY34" fmla="*/ 4512 h 284743"/>
                <a:gd name="connsiteX35" fmla="*/ 334199 w 593860"/>
                <a:gd name="connsiteY35" fmla="*/ 4512 h 284743"/>
                <a:gd name="connsiteX36" fmla="*/ 316584 w 593860"/>
                <a:gd name="connsiteY36" fmla="*/ -27 h 284743"/>
                <a:gd name="connsiteX37" fmla="*/ 312588 w 593860"/>
                <a:gd name="connsiteY37" fmla="*/ 4512 h 284743"/>
                <a:gd name="connsiteX38" fmla="*/ 312588 w 593860"/>
                <a:gd name="connsiteY38" fmla="*/ 10581 h 284743"/>
                <a:gd name="connsiteX39" fmla="*/ 302720 w 593860"/>
                <a:gd name="connsiteY39" fmla="*/ 12111 h 284743"/>
                <a:gd name="connsiteX40" fmla="*/ 296848 w 593860"/>
                <a:gd name="connsiteY40" fmla="*/ 10581 h 284743"/>
                <a:gd name="connsiteX41" fmla="*/ 281109 w 593860"/>
                <a:gd name="connsiteY41" fmla="*/ 13591 h 284743"/>
                <a:gd name="connsiteX42" fmla="*/ 269316 w 593860"/>
                <a:gd name="connsiteY42" fmla="*/ 13591 h 284743"/>
                <a:gd name="connsiteX43" fmla="*/ 265418 w 593860"/>
                <a:gd name="connsiteY43" fmla="*/ 27209 h 284743"/>
                <a:gd name="connsiteX44" fmla="*/ 263445 w 593860"/>
                <a:gd name="connsiteY44" fmla="*/ 36337 h 284743"/>
                <a:gd name="connsiteX45" fmla="*/ 257524 w 593860"/>
                <a:gd name="connsiteY45" fmla="*/ 37817 h 284743"/>
                <a:gd name="connsiteX46" fmla="*/ 251653 w 593860"/>
                <a:gd name="connsiteY46" fmla="*/ 33278 h 284743"/>
                <a:gd name="connsiteX47" fmla="*/ 241785 w 593860"/>
                <a:gd name="connsiteY47" fmla="*/ 34807 h 284743"/>
                <a:gd name="connsiteX48" fmla="*/ 233890 w 593860"/>
                <a:gd name="connsiteY48" fmla="*/ 31748 h 284743"/>
                <a:gd name="connsiteX49" fmla="*/ 226094 w 593860"/>
                <a:gd name="connsiteY49" fmla="*/ 33278 h 284743"/>
                <a:gd name="connsiteX50" fmla="*/ 220174 w 593860"/>
                <a:gd name="connsiteY50" fmla="*/ 39347 h 284743"/>
                <a:gd name="connsiteX51" fmla="*/ 214302 w 593860"/>
                <a:gd name="connsiteY51" fmla="*/ 37817 h 284743"/>
                <a:gd name="connsiteX52" fmla="*/ 212279 w 593860"/>
                <a:gd name="connsiteY52" fmla="*/ 31748 h 284743"/>
                <a:gd name="connsiteX53" fmla="*/ 202411 w 593860"/>
                <a:gd name="connsiteY53" fmla="*/ 31748 h 284743"/>
                <a:gd name="connsiteX54" fmla="*/ 190619 w 593860"/>
                <a:gd name="connsiteY54" fmla="*/ 36337 h 284743"/>
                <a:gd name="connsiteX55" fmla="*/ 186671 w 593860"/>
                <a:gd name="connsiteY55" fmla="*/ 34807 h 284743"/>
                <a:gd name="connsiteX56" fmla="*/ 176803 w 593860"/>
                <a:gd name="connsiteY56" fmla="*/ 33278 h 284743"/>
                <a:gd name="connsiteX57" fmla="*/ 172905 w 593860"/>
                <a:gd name="connsiteY57" fmla="*/ 36337 h 284743"/>
                <a:gd name="connsiteX58" fmla="*/ 167034 w 593860"/>
                <a:gd name="connsiteY58" fmla="*/ 36337 h 284743"/>
                <a:gd name="connsiteX59" fmla="*/ 161113 w 593860"/>
                <a:gd name="connsiteY59" fmla="*/ 31748 h 284743"/>
                <a:gd name="connsiteX60" fmla="*/ 149321 w 593860"/>
                <a:gd name="connsiteY60" fmla="*/ 36337 h 284743"/>
                <a:gd name="connsiteX61" fmla="*/ 147397 w 593860"/>
                <a:gd name="connsiteY61" fmla="*/ 31748 h 284743"/>
                <a:gd name="connsiteX62" fmla="*/ 139502 w 593860"/>
                <a:gd name="connsiteY62" fmla="*/ 28738 h 284743"/>
                <a:gd name="connsiteX63" fmla="*/ 117890 w 593860"/>
                <a:gd name="connsiteY63" fmla="*/ 24199 h 284743"/>
                <a:gd name="connsiteX64" fmla="*/ 110046 w 593860"/>
                <a:gd name="connsiteY64" fmla="*/ 21189 h 284743"/>
                <a:gd name="connsiteX65" fmla="*/ 106099 w 593860"/>
                <a:gd name="connsiteY65" fmla="*/ 21189 h 284743"/>
                <a:gd name="connsiteX66" fmla="*/ 96231 w 593860"/>
                <a:gd name="connsiteY66" fmla="*/ 27209 h 284743"/>
                <a:gd name="connsiteX67" fmla="*/ 84438 w 593860"/>
                <a:gd name="connsiteY67" fmla="*/ 27209 h 284743"/>
                <a:gd name="connsiteX68" fmla="*/ 58880 w 593860"/>
                <a:gd name="connsiteY68" fmla="*/ 30268 h 284743"/>
                <a:gd name="connsiteX69" fmla="*/ 53008 w 593860"/>
                <a:gd name="connsiteY69" fmla="*/ 33278 h 284743"/>
                <a:gd name="connsiteX70" fmla="*/ 43140 w 593860"/>
                <a:gd name="connsiteY70" fmla="*/ 28738 h 284743"/>
                <a:gd name="connsiteX71" fmla="*/ 37219 w 593860"/>
                <a:gd name="connsiteY71" fmla="*/ 28738 h 284743"/>
                <a:gd name="connsiteX72" fmla="*/ 37219 w 593860"/>
                <a:gd name="connsiteY72" fmla="*/ 46896 h 284743"/>
                <a:gd name="connsiteX73" fmla="*/ 41167 w 593860"/>
                <a:gd name="connsiteY73" fmla="*/ 52965 h 284743"/>
                <a:gd name="connsiteX74" fmla="*/ 45113 w 593860"/>
                <a:gd name="connsiteY74" fmla="*/ 60514 h 284743"/>
                <a:gd name="connsiteX75" fmla="*/ 52959 w 593860"/>
                <a:gd name="connsiteY75" fmla="*/ 65102 h 284743"/>
                <a:gd name="connsiteX76" fmla="*/ 50985 w 593860"/>
                <a:gd name="connsiteY76" fmla="*/ 68112 h 284743"/>
                <a:gd name="connsiteX77" fmla="*/ 50985 w 593860"/>
                <a:gd name="connsiteY77" fmla="*/ 72651 h 284743"/>
                <a:gd name="connsiteX78" fmla="*/ 54933 w 593860"/>
                <a:gd name="connsiteY78" fmla="*/ 78720 h 284743"/>
                <a:gd name="connsiteX79" fmla="*/ 52959 w 593860"/>
                <a:gd name="connsiteY79" fmla="*/ 86269 h 284743"/>
                <a:gd name="connsiteX80" fmla="*/ 47087 w 593860"/>
                <a:gd name="connsiteY80" fmla="*/ 87799 h 284743"/>
                <a:gd name="connsiteX81" fmla="*/ 41167 w 593860"/>
                <a:gd name="connsiteY81" fmla="*/ 92338 h 284743"/>
                <a:gd name="connsiteX82" fmla="*/ 39193 w 593860"/>
                <a:gd name="connsiteY82" fmla="*/ 99887 h 284743"/>
                <a:gd name="connsiteX83" fmla="*/ 15608 w 593860"/>
                <a:gd name="connsiteY83" fmla="*/ 121104 h 284743"/>
                <a:gd name="connsiteX84" fmla="*/ 17582 w 593860"/>
                <a:gd name="connsiteY84" fmla="*/ 131712 h 284743"/>
                <a:gd name="connsiteX85" fmla="*/ 15608 w 593860"/>
                <a:gd name="connsiteY85" fmla="*/ 140790 h 284743"/>
                <a:gd name="connsiteX86" fmla="*/ 9737 w 593860"/>
                <a:gd name="connsiteY86" fmla="*/ 139261 h 284743"/>
                <a:gd name="connsiteX87" fmla="*/ 3816 w 593860"/>
                <a:gd name="connsiteY87" fmla="*/ 152928 h 284743"/>
                <a:gd name="connsiteX88" fmla="*/ 1892 w 593860"/>
                <a:gd name="connsiteY88" fmla="*/ 163536 h 284743"/>
                <a:gd name="connsiteX89" fmla="*/ -82 w 593860"/>
                <a:gd name="connsiteY89" fmla="*/ 165017 h 284743"/>
                <a:gd name="connsiteX90" fmla="*/ 7763 w 593860"/>
                <a:gd name="connsiteY90" fmla="*/ 171135 h 284743"/>
                <a:gd name="connsiteX91" fmla="*/ 17631 w 593860"/>
                <a:gd name="connsiteY91" fmla="*/ 175625 h 284743"/>
                <a:gd name="connsiteX92" fmla="*/ 19605 w 593860"/>
                <a:gd name="connsiteY92" fmla="*/ 181694 h 284743"/>
                <a:gd name="connsiteX93" fmla="*/ 25476 w 593860"/>
                <a:gd name="connsiteY93" fmla="*/ 180164 h 284743"/>
                <a:gd name="connsiteX94" fmla="*/ 29424 w 593860"/>
                <a:gd name="connsiteY94" fmla="*/ 177154 h 284743"/>
                <a:gd name="connsiteX95" fmla="*/ 39292 w 593860"/>
                <a:gd name="connsiteY95" fmla="*/ 177154 h 284743"/>
                <a:gd name="connsiteX96" fmla="*/ 51084 w 593860"/>
                <a:gd name="connsiteY96" fmla="*/ 184753 h 284743"/>
                <a:gd name="connsiteX97" fmla="*/ 60952 w 593860"/>
                <a:gd name="connsiteY97" fmla="*/ 184753 h 284743"/>
                <a:gd name="connsiteX98" fmla="*/ 72745 w 593860"/>
                <a:gd name="connsiteY98" fmla="*/ 189243 h 284743"/>
                <a:gd name="connsiteX99" fmla="*/ 74718 w 593860"/>
                <a:gd name="connsiteY99" fmla="*/ 193782 h 284743"/>
                <a:gd name="connsiteX100" fmla="*/ 82563 w 593860"/>
                <a:gd name="connsiteY100" fmla="*/ 196841 h 284743"/>
                <a:gd name="connsiteX101" fmla="*/ 92431 w 593860"/>
                <a:gd name="connsiteY101" fmla="*/ 193782 h 284743"/>
                <a:gd name="connsiteX102" fmla="*/ 100276 w 593860"/>
                <a:gd name="connsiteY102" fmla="*/ 192302 h 284743"/>
                <a:gd name="connsiteX103" fmla="*/ 108121 w 593860"/>
                <a:gd name="connsiteY103" fmla="*/ 187762 h 284743"/>
                <a:gd name="connsiteX104" fmla="*/ 129732 w 593860"/>
                <a:gd name="connsiteY104" fmla="*/ 181694 h 284743"/>
                <a:gd name="connsiteX105" fmla="*/ 139600 w 593860"/>
                <a:gd name="connsiteY105" fmla="*/ 178634 h 284743"/>
                <a:gd name="connsiteX106" fmla="*/ 147495 w 593860"/>
                <a:gd name="connsiteY106" fmla="*/ 177154 h 284743"/>
                <a:gd name="connsiteX107" fmla="*/ 147495 w 593860"/>
                <a:gd name="connsiteY107" fmla="*/ 158997 h 284743"/>
                <a:gd name="connsiteX108" fmla="*/ 151393 w 593860"/>
                <a:gd name="connsiteY108" fmla="*/ 160477 h 284743"/>
                <a:gd name="connsiteX109" fmla="*/ 153367 w 593860"/>
                <a:gd name="connsiteY109" fmla="*/ 158997 h 284743"/>
                <a:gd name="connsiteX110" fmla="*/ 161211 w 593860"/>
                <a:gd name="connsiteY110" fmla="*/ 162007 h 284743"/>
                <a:gd name="connsiteX111" fmla="*/ 163185 w 593860"/>
                <a:gd name="connsiteY111" fmla="*/ 158997 h 284743"/>
                <a:gd name="connsiteX112" fmla="*/ 169106 w 593860"/>
                <a:gd name="connsiteY112" fmla="*/ 158997 h 284743"/>
                <a:gd name="connsiteX113" fmla="*/ 174978 w 593860"/>
                <a:gd name="connsiteY113" fmla="*/ 155987 h 284743"/>
                <a:gd name="connsiteX114" fmla="*/ 178925 w 593860"/>
                <a:gd name="connsiteY114" fmla="*/ 163536 h 284743"/>
                <a:gd name="connsiteX115" fmla="*/ 188793 w 593860"/>
                <a:gd name="connsiteY115" fmla="*/ 163536 h 284743"/>
                <a:gd name="connsiteX116" fmla="*/ 198661 w 593860"/>
                <a:gd name="connsiteY116" fmla="*/ 171135 h 284743"/>
                <a:gd name="connsiteX117" fmla="*/ 212377 w 593860"/>
                <a:gd name="connsiteY117" fmla="*/ 172615 h 284743"/>
                <a:gd name="connsiteX118" fmla="*/ 214401 w 593860"/>
                <a:gd name="connsiteY118" fmla="*/ 169605 h 284743"/>
                <a:gd name="connsiteX119" fmla="*/ 216325 w 593860"/>
                <a:gd name="connsiteY119" fmla="*/ 169605 h 284743"/>
                <a:gd name="connsiteX120" fmla="*/ 228117 w 593860"/>
                <a:gd name="connsiteY120" fmla="*/ 178634 h 284743"/>
                <a:gd name="connsiteX121" fmla="*/ 236012 w 593860"/>
                <a:gd name="connsiteY121" fmla="*/ 181694 h 284743"/>
                <a:gd name="connsiteX122" fmla="*/ 237985 w 593860"/>
                <a:gd name="connsiteY122" fmla="*/ 193782 h 284743"/>
                <a:gd name="connsiteX123" fmla="*/ 237985 w 593860"/>
                <a:gd name="connsiteY123" fmla="*/ 201380 h 284743"/>
                <a:gd name="connsiteX124" fmla="*/ 247853 w 593860"/>
                <a:gd name="connsiteY124" fmla="*/ 204390 h 284743"/>
                <a:gd name="connsiteX125" fmla="*/ 247853 w 593860"/>
                <a:gd name="connsiteY125" fmla="*/ 207499 h 284743"/>
                <a:gd name="connsiteX126" fmla="*/ 255649 w 593860"/>
                <a:gd name="connsiteY126" fmla="*/ 215048 h 284743"/>
                <a:gd name="connsiteX127" fmla="*/ 265517 w 593860"/>
                <a:gd name="connsiteY127" fmla="*/ 221117 h 284743"/>
                <a:gd name="connsiteX128" fmla="*/ 267441 w 593860"/>
                <a:gd name="connsiteY128" fmla="*/ 225656 h 284743"/>
                <a:gd name="connsiteX129" fmla="*/ 265517 w 593860"/>
                <a:gd name="connsiteY129" fmla="*/ 230195 h 284743"/>
                <a:gd name="connsiteX130" fmla="*/ 269415 w 593860"/>
                <a:gd name="connsiteY130" fmla="*/ 234734 h 284743"/>
                <a:gd name="connsiteX131" fmla="*/ 269415 w 593860"/>
                <a:gd name="connsiteY131" fmla="*/ 240803 h 284743"/>
                <a:gd name="connsiteX132" fmla="*/ 259547 w 593860"/>
                <a:gd name="connsiteY132" fmla="*/ 240803 h 284743"/>
                <a:gd name="connsiteX133" fmla="*/ 253626 w 593860"/>
                <a:gd name="connsiteY133" fmla="*/ 234734 h 284743"/>
                <a:gd name="connsiteX134" fmla="*/ 243758 w 593860"/>
                <a:gd name="connsiteY134" fmla="*/ 239323 h 284743"/>
                <a:gd name="connsiteX135" fmla="*/ 235962 w 593860"/>
                <a:gd name="connsiteY135" fmla="*/ 239323 h 284743"/>
                <a:gd name="connsiteX136" fmla="*/ 235962 w 593860"/>
                <a:gd name="connsiteY136" fmla="*/ 257480 h 284743"/>
                <a:gd name="connsiteX137" fmla="*/ 232015 w 593860"/>
                <a:gd name="connsiteY137" fmla="*/ 255951 h 284743"/>
                <a:gd name="connsiteX138" fmla="*/ 226144 w 593860"/>
                <a:gd name="connsiteY138" fmla="*/ 268089 h 284743"/>
                <a:gd name="connsiteX139" fmla="*/ 226144 w 593860"/>
                <a:gd name="connsiteY139" fmla="*/ 272579 h 284743"/>
                <a:gd name="connsiteX140" fmla="*/ 220223 w 593860"/>
                <a:gd name="connsiteY140" fmla="*/ 271098 h 284743"/>
                <a:gd name="connsiteX141" fmla="*/ 214351 w 593860"/>
                <a:gd name="connsiteY141" fmla="*/ 274108 h 284743"/>
                <a:gd name="connsiteX142" fmla="*/ 220223 w 593860"/>
                <a:gd name="connsiteY142" fmla="*/ 283187 h 284743"/>
                <a:gd name="connsiteX143" fmla="*/ 230091 w 593860"/>
                <a:gd name="connsiteY143" fmla="*/ 284716 h 284743"/>
                <a:gd name="connsiteX144" fmla="*/ 244005 w 593860"/>
                <a:gd name="connsiteY144" fmla="*/ 284716 h 284743"/>
                <a:gd name="connsiteX145" fmla="*/ 249925 w 593860"/>
                <a:gd name="connsiteY145" fmla="*/ 281706 h 284743"/>
                <a:gd name="connsiteX146" fmla="*/ 259793 w 593860"/>
                <a:gd name="connsiteY146" fmla="*/ 280177 h 284743"/>
                <a:gd name="connsiteX147" fmla="*/ 265665 w 593860"/>
                <a:gd name="connsiteY147" fmla="*/ 284716 h 284743"/>
                <a:gd name="connsiteX148" fmla="*/ 267590 w 593860"/>
                <a:gd name="connsiteY148" fmla="*/ 280177 h 284743"/>
                <a:gd name="connsiteX149" fmla="*/ 263691 w 593860"/>
                <a:gd name="connsiteY149" fmla="*/ 275638 h 284743"/>
                <a:gd name="connsiteX150" fmla="*/ 265665 w 593860"/>
                <a:gd name="connsiteY150" fmla="*/ 272579 h 284743"/>
                <a:gd name="connsiteX151" fmla="*/ 265665 w 593860"/>
                <a:gd name="connsiteY151" fmla="*/ 268089 h 284743"/>
                <a:gd name="connsiteX152" fmla="*/ 267590 w 593860"/>
                <a:gd name="connsiteY152" fmla="*/ 272579 h 284743"/>
                <a:gd name="connsiteX153" fmla="*/ 271586 w 593860"/>
                <a:gd name="connsiteY153" fmla="*/ 272579 h 284743"/>
                <a:gd name="connsiteX154" fmla="*/ 287276 w 593860"/>
                <a:gd name="connsiteY154" fmla="*/ 257480 h 284743"/>
                <a:gd name="connsiteX155" fmla="*/ 285303 w 593860"/>
                <a:gd name="connsiteY155" fmla="*/ 252941 h 284743"/>
                <a:gd name="connsiteX156" fmla="*/ 289201 w 593860"/>
                <a:gd name="connsiteY156" fmla="*/ 252941 h 284743"/>
                <a:gd name="connsiteX157" fmla="*/ 295121 w 593860"/>
                <a:gd name="connsiteY157" fmla="*/ 245343 h 284743"/>
                <a:gd name="connsiteX158" fmla="*/ 295121 w 593860"/>
                <a:gd name="connsiteY158" fmla="*/ 239323 h 284743"/>
                <a:gd name="connsiteX159" fmla="*/ 300993 w 593860"/>
                <a:gd name="connsiteY159" fmla="*/ 233205 h 284743"/>
                <a:gd name="connsiteX160" fmla="*/ 310861 w 593860"/>
                <a:gd name="connsiteY160" fmla="*/ 233205 h 284743"/>
                <a:gd name="connsiteX161" fmla="*/ 316782 w 593860"/>
                <a:gd name="connsiteY161" fmla="*/ 225656 h 284743"/>
                <a:gd name="connsiteX162" fmla="*/ 320680 w 593860"/>
                <a:gd name="connsiteY162" fmla="*/ 228715 h 284743"/>
                <a:gd name="connsiteX163" fmla="*/ 320680 w 593860"/>
                <a:gd name="connsiteY163" fmla="*/ 230195 h 284743"/>
                <a:gd name="connsiteX164" fmla="*/ 326551 w 593860"/>
                <a:gd name="connsiteY164" fmla="*/ 230195 h 284743"/>
                <a:gd name="connsiteX165" fmla="*/ 330498 w 593860"/>
                <a:gd name="connsiteY165" fmla="*/ 227185 h 284743"/>
                <a:gd name="connsiteX166" fmla="*/ 332472 w 593860"/>
                <a:gd name="connsiteY166" fmla="*/ 224176 h 284743"/>
                <a:gd name="connsiteX167" fmla="*/ 334396 w 593860"/>
                <a:gd name="connsiteY167" fmla="*/ 227185 h 284743"/>
                <a:gd name="connsiteX168" fmla="*/ 338343 w 593860"/>
                <a:gd name="connsiteY168" fmla="*/ 230195 h 284743"/>
                <a:gd name="connsiteX169" fmla="*/ 346188 w 593860"/>
                <a:gd name="connsiteY169" fmla="*/ 231725 h 284743"/>
                <a:gd name="connsiteX170" fmla="*/ 356056 w 593860"/>
                <a:gd name="connsiteY170" fmla="*/ 228715 h 284743"/>
                <a:gd name="connsiteX171" fmla="*/ 350185 w 593860"/>
                <a:gd name="connsiteY171" fmla="*/ 233205 h 284743"/>
                <a:gd name="connsiteX172" fmla="*/ 344313 w 593860"/>
                <a:gd name="connsiteY172" fmla="*/ 234734 h 284743"/>
                <a:gd name="connsiteX173" fmla="*/ 336419 w 593860"/>
                <a:gd name="connsiteY173" fmla="*/ 233205 h 284743"/>
                <a:gd name="connsiteX174" fmla="*/ 324627 w 593860"/>
                <a:gd name="connsiteY174" fmla="*/ 234734 h 284743"/>
                <a:gd name="connsiteX175" fmla="*/ 316831 w 593860"/>
                <a:gd name="connsiteY175" fmla="*/ 234734 h 284743"/>
                <a:gd name="connsiteX176" fmla="*/ 320729 w 593860"/>
                <a:gd name="connsiteY176" fmla="*/ 239323 h 284743"/>
                <a:gd name="connsiteX177" fmla="*/ 332521 w 593860"/>
                <a:gd name="connsiteY177" fmla="*/ 239323 h 284743"/>
                <a:gd name="connsiteX178" fmla="*/ 344313 w 593860"/>
                <a:gd name="connsiteY178" fmla="*/ 242333 h 284743"/>
                <a:gd name="connsiteX179" fmla="*/ 344313 w 593860"/>
                <a:gd name="connsiteY179" fmla="*/ 243813 h 284743"/>
                <a:gd name="connsiteX180" fmla="*/ 338393 w 593860"/>
                <a:gd name="connsiteY180" fmla="*/ 246872 h 284743"/>
                <a:gd name="connsiteX181" fmla="*/ 344313 w 593860"/>
                <a:gd name="connsiteY181" fmla="*/ 249931 h 284743"/>
                <a:gd name="connsiteX182" fmla="*/ 350185 w 593860"/>
                <a:gd name="connsiteY182" fmla="*/ 249931 h 284743"/>
                <a:gd name="connsiteX183" fmla="*/ 356056 w 593860"/>
                <a:gd name="connsiteY183" fmla="*/ 252941 h 284743"/>
                <a:gd name="connsiteX184" fmla="*/ 361978 w 593860"/>
                <a:gd name="connsiteY184" fmla="*/ 249931 h 284743"/>
                <a:gd name="connsiteX185" fmla="*/ 371846 w 593860"/>
                <a:gd name="connsiteY185" fmla="*/ 248402 h 284743"/>
                <a:gd name="connsiteX186" fmla="*/ 379691 w 593860"/>
                <a:gd name="connsiteY186" fmla="*/ 251412 h 284743"/>
                <a:gd name="connsiteX187" fmla="*/ 385611 w 593860"/>
                <a:gd name="connsiteY187" fmla="*/ 254421 h 284743"/>
                <a:gd name="connsiteX188" fmla="*/ 389559 w 593860"/>
                <a:gd name="connsiteY188" fmla="*/ 249931 h 284743"/>
                <a:gd name="connsiteX189" fmla="*/ 391483 w 593860"/>
                <a:gd name="connsiteY189" fmla="*/ 251412 h 284743"/>
                <a:gd name="connsiteX190" fmla="*/ 391729 w 593860"/>
                <a:gd name="connsiteY190" fmla="*/ 252250 h 284743"/>
                <a:gd name="connsiteX191" fmla="*/ 398538 w 593860"/>
                <a:gd name="connsiteY191" fmla="*/ 252250 h 284743"/>
                <a:gd name="connsiteX192" fmla="*/ 397404 w 593860"/>
                <a:gd name="connsiteY192" fmla="*/ 251362 h 284743"/>
                <a:gd name="connsiteX193" fmla="*/ 397404 w 593860"/>
                <a:gd name="connsiteY193" fmla="*/ 249882 h 284743"/>
                <a:gd name="connsiteX194" fmla="*/ 405249 w 593860"/>
                <a:gd name="connsiteY194" fmla="*/ 249882 h 284743"/>
                <a:gd name="connsiteX195" fmla="*/ 409196 w 593860"/>
                <a:gd name="connsiteY195" fmla="*/ 246823 h 284743"/>
                <a:gd name="connsiteX196" fmla="*/ 415068 w 593860"/>
                <a:gd name="connsiteY196" fmla="*/ 249882 h 284743"/>
                <a:gd name="connsiteX197" fmla="*/ 422962 w 593860"/>
                <a:gd name="connsiteY197" fmla="*/ 249882 h 284743"/>
                <a:gd name="connsiteX198" fmla="*/ 424887 w 593860"/>
                <a:gd name="connsiteY198" fmla="*/ 246823 h 284743"/>
                <a:gd name="connsiteX199" fmla="*/ 430807 w 593860"/>
                <a:gd name="connsiteY199" fmla="*/ 245293 h 284743"/>
                <a:gd name="connsiteX200" fmla="*/ 440675 w 593860"/>
                <a:gd name="connsiteY200" fmla="*/ 234685 h 284743"/>
                <a:gd name="connsiteX201" fmla="*/ 442649 w 593860"/>
                <a:gd name="connsiteY201" fmla="*/ 231675 h 284743"/>
                <a:gd name="connsiteX202" fmla="*/ 446547 w 593860"/>
                <a:gd name="connsiteY202" fmla="*/ 233156 h 284743"/>
                <a:gd name="connsiteX203" fmla="*/ 448520 w 593860"/>
                <a:gd name="connsiteY203" fmla="*/ 237744 h 284743"/>
                <a:gd name="connsiteX204" fmla="*/ 440675 w 593860"/>
                <a:gd name="connsiteY204" fmla="*/ 243764 h 284743"/>
                <a:gd name="connsiteX205" fmla="*/ 436728 w 593860"/>
                <a:gd name="connsiteY205" fmla="*/ 245293 h 284743"/>
                <a:gd name="connsiteX206" fmla="*/ 438702 w 593860"/>
                <a:gd name="connsiteY206" fmla="*/ 248353 h 284743"/>
                <a:gd name="connsiteX207" fmla="*/ 442649 w 593860"/>
                <a:gd name="connsiteY207" fmla="*/ 246823 h 284743"/>
                <a:gd name="connsiteX208" fmla="*/ 452517 w 593860"/>
                <a:gd name="connsiteY208" fmla="*/ 237744 h 284743"/>
                <a:gd name="connsiteX209" fmla="*/ 454491 w 593860"/>
                <a:gd name="connsiteY209" fmla="*/ 233156 h 284743"/>
                <a:gd name="connsiteX210" fmla="*/ 450543 w 593860"/>
                <a:gd name="connsiteY210" fmla="*/ 228666 h 284743"/>
                <a:gd name="connsiteX211" fmla="*/ 448570 w 593860"/>
                <a:gd name="connsiteY211" fmla="*/ 224126 h 284743"/>
                <a:gd name="connsiteX212" fmla="*/ 450543 w 593860"/>
                <a:gd name="connsiteY212" fmla="*/ 224126 h 284743"/>
                <a:gd name="connsiteX213" fmla="*/ 454491 w 593860"/>
                <a:gd name="connsiteY213" fmla="*/ 231675 h 284743"/>
                <a:gd name="connsiteX214" fmla="*/ 460362 w 593860"/>
                <a:gd name="connsiteY214" fmla="*/ 231675 h 284743"/>
                <a:gd name="connsiteX215" fmla="*/ 466283 w 593860"/>
                <a:gd name="connsiteY215" fmla="*/ 227136 h 284743"/>
                <a:gd name="connsiteX216" fmla="*/ 476151 w 593860"/>
                <a:gd name="connsiteY216" fmla="*/ 230146 h 284743"/>
                <a:gd name="connsiteX217" fmla="*/ 483996 w 593860"/>
                <a:gd name="connsiteY217" fmla="*/ 225607 h 284743"/>
                <a:gd name="connsiteX218" fmla="*/ 491841 w 593860"/>
                <a:gd name="connsiteY218" fmla="*/ 225607 h 284743"/>
                <a:gd name="connsiteX219" fmla="*/ 499736 w 593860"/>
                <a:gd name="connsiteY219" fmla="*/ 219538 h 284743"/>
                <a:gd name="connsiteX220" fmla="*/ 503634 w 593860"/>
                <a:gd name="connsiteY220" fmla="*/ 214998 h 284743"/>
                <a:gd name="connsiteX221" fmla="*/ 511528 w 593860"/>
                <a:gd name="connsiteY221" fmla="*/ 214998 h 284743"/>
                <a:gd name="connsiteX222" fmla="*/ 515377 w 593860"/>
                <a:gd name="connsiteY222" fmla="*/ 207499 h 284743"/>
                <a:gd name="connsiteX223" fmla="*/ 519324 w 593860"/>
                <a:gd name="connsiteY223" fmla="*/ 204440 h 284743"/>
                <a:gd name="connsiteX224" fmla="*/ 529192 w 593860"/>
                <a:gd name="connsiteY224" fmla="*/ 205969 h 284743"/>
                <a:gd name="connsiteX225" fmla="*/ 537037 w 593860"/>
                <a:gd name="connsiteY225" fmla="*/ 202959 h 284743"/>
                <a:gd name="connsiteX226" fmla="*/ 540935 w 593860"/>
                <a:gd name="connsiteY226" fmla="*/ 202959 h 284743"/>
                <a:gd name="connsiteX227" fmla="*/ 540935 w 593860"/>
                <a:gd name="connsiteY227" fmla="*/ 205969 h 284743"/>
                <a:gd name="connsiteX228" fmla="*/ 550803 w 593860"/>
                <a:gd name="connsiteY228" fmla="*/ 204440 h 284743"/>
                <a:gd name="connsiteX229" fmla="*/ 552727 w 593860"/>
                <a:gd name="connsiteY229" fmla="*/ 190822 h 284743"/>
                <a:gd name="connsiteX230" fmla="*/ 556724 w 593860"/>
                <a:gd name="connsiteY230" fmla="*/ 189292 h 284743"/>
                <a:gd name="connsiteX231" fmla="*/ 564569 w 593860"/>
                <a:gd name="connsiteY231" fmla="*/ 177204 h 284743"/>
                <a:gd name="connsiteX232" fmla="*/ 580259 w 593860"/>
                <a:gd name="connsiteY232" fmla="*/ 177204 h 284743"/>
                <a:gd name="connsiteX233" fmla="*/ 588154 w 593860"/>
                <a:gd name="connsiteY233" fmla="*/ 172664 h 284743"/>
                <a:gd name="connsiteX234" fmla="*/ 586131 w 593860"/>
                <a:gd name="connsiteY234" fmla="*/ 165066 h 284743"/>
                <a:gd name="connsiteX235" fmla="*/ 592052 w 593860"/>
                <a:gd name="connsiteY235" fmla="*/ 152978 h 284743"/>
                <a:gd name="connsiteX236" fmla="*/ 590127 w 593860"/>
                <a:gd name="connsiteY236" fmla="*/ 145429 h 284743"/>
                <a:gd name="connsiteX237" fmla="*/ 578335 w 593860"/>
                <a:gd name="connsiteY237" fmla="*/ 139310 h 284743"/>
                <a:gd name="connsiteX238" fmla="*/ 580259 w 593860"/>
                <a:gd name="connsiteY238" fmla="*/ 124212 h 284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593860" h="284743">
                  <a:moveTo>
                    <a:pt x="589880" y="124163"/>
                  </a:moveTo>
                  <a:lnTo>
                    <a:pt x="593779" y="116614"/>
                  </a:lnTo>
                  <a:lnTo>
                    <a:pt x="593779" y="108818"/>
                  </a:lnTo>
                  <a:lnTo>
                    <a:pt x="589880" y="107288"/>
                  </a:lnTo>
                  <a:lnTo>
                    <a:pt x="585884" y="98210"/>
                  </a:lnTo>
                  <a:lnTo>
                    <a:pt x="580012" y="102749"/>
                  </a:lnTo>
                  <a:lnTo>
                    <a:pt x="570144" y="101219"/>
                  </a:lnTo>
                  <a:lnTo>
                    <a:pt x="560276" y="96680"/>
                  </a:lnTo>
                  <a:lnTo>
                    <a:pt x="552382" y="98210"/>
                  </a:lnTo>
                  <a:lnTo>
                    <a:pt x="544586" y="95200"/>
                  </a:lnTo>
                  <a:lnTo>
                    <a:pt x="534718" y="93670"/>
                  </a:lnTo>
                  <a:lnTo>
                    <a:pt x="522926" y="92141"/>
                  </a:lnTo>
                  <a:lnTo>
                    <a:pt x="518978" y="95200"/>
                  </a:lnTo>
                  <a:lnTo>
                    <a:pt x="515032" y="90661"/>
                  </a:lnTo>
                  <a:lnTo>
                    <a:pt x="503239" y="84542"/>
                  </a:lnTo>
                  <a:lnTo>
                    <a:pt x="495394" y="69444"/>
                  </a:lnTo>
                  <a:lnTo>
                    <a:pt x="489522" y="69444"/>
                  </a:lnTo>
                  <a:lnTo>
                    <a:pt x="475904" y="78720"/>
                  </a:lnTo>
                  <a:lnTo>
                    <a:pt x="469984" y="75711"/>
                  </a:lnTo>
                  <a:lnTo>
                    <a:pt x="462138" y="78720"/>
                  </a:lnTo>
                  <a:lnTo>
                    <a:pt x="452270" y="74181"/>
                  </a:lnTo>
                  <a:lnTo>
                    <a:pt x="446350" y="80250"/>
                  </a:lnTo>
                  <a:lnTo>
                    <a:pt x="428686" y="66583"/>
                  </a:lnTo>
                  <a:lnTo>
                    <a:pt x="424738" y="57504"/>
                  </a:lnTo>
                  <a:lnTo>
                    <a:pt x="424738" y="48425"/>
                  </a:lnTo>
                  <a:lnTo>
                    <a:pt x="418867" y="46896"/>
                  </a:lnTo>
                  <a:lnTo>
                    <a:pt x="416893" y="40876"/>
                  </a:lnTo>
                  <a:lnTo>
                    <a:pt x="409048" y="36337"/>
                  </a:lnTo>
                  <a:lnTo>
                    <a:pt x="389312" y="37817"/>
                  </a:lnTo>
                  <a:lnTo>
                    <a:pt x="379444" y="27209"/>
                  </a:lnTo>
                  <a:lnTo>
                    <a:pt x="383391" y="19660"/>
                  </a:lnTo>
                  <a:lnTo>
                    <a:pt x="377520" y="15121"/>
                  </a:lnTo>
                  <a:lnTo>
                    <a:pt x="369625" y="1503"/>
                  </a:lnTo>
                  <a:lnTo>
                    <a:pt x="361780" y="1503"/>
                  </a:lnTo>
                  <a:lnTo>
                    <a:pt x="353935" y="4512"/>
                  </a:lnTo>
                  <a:lnTo>
                    <a:pt x="334199" y="4512"/>
                  </a:lnTo>
                  <a:lnTo>
                    <a:pt x="316584" y="-27"/>
                  </a:lnTo>
                  <a:lnTo>
                    <a:pt x="312588" y="4512"/>
                  </a:lnTo>
                  <a:lnTo>
                    <a:pt x="312588" y="10581"/>
                  </a:lnTo>
                  <a:lnTo>
                    <a:pt x="302720" y="12111"/>
                  </a:lnTo>
                  <a:lnTo>
                    <a:pt x="296848" y="10581"/>
                  </a:lnTo>
                  <a:lnTo>
                    <a:pt x="281109" y="13591"/>
                  </a:lnTo>
                  <a:lnTo>
                    <a:pt x="269316" y="13591"/>
                  </a:lnTo>
                  <a:lnTo>
                    <a:pt x="265418" y="27209"/>
                  </a:lnTo>
                  <a:lnTo>
                    <a:pt x="263445" y="36337"/>
                  </a:lnTo>
                  <a:lnTo>
                    <a:pt x="257524" y="37817"/>
                  </a:lnTo>
                  <a:lnTo>
                    <a:pt x="251653" y="33278"/>
                  </a:lnTo>
                  <a:lnTo>
                    <a:pt x="241785" y="34807"/>
                  </a:lnTo>
                  <a:lnTo>
                    <a:pt x="233890" y="31748"/>
                  </a:lnTo>
                  <a:lnTo>
                    <a:pt x="226094" y="33278"/>
                  </a:lnTo>
                  <a:lnTo>
                    <a:pt x="220174" y="39347"/>
                  </a:lnTo>
                  <a:lnTo>
                    <a:pt x="214302" y="37817"/>
                  </a:lnTo>
                  <a:lnTo>
                    <a:pt x="212279" y="31748"/>
                  </a:lnTo>
                  <a:lnTo>
                    <a:pt x="202411" y="31748"/>
                  </a:lnTo>
                  <a:lnTo>
                    <a:pt x="190619" y="36337"/>
                  </a:lnTo>
                  <a:lnTo>
                    <a:pt x="186671" y="34807"/>
                  </a:lnTo>
                  <a:lnTo>
                    <a:pt x="176803" y="33278"/>
                  </a:lnTo>
                  <a:lnTo>
                    <a:pt x="172905" y="36337"/>
                  </a:lnTo>
                  <a:lnTo>
                    <a:pt x="167034" y="36337"/>
                  </a:lnTo>
                  <a:lnTo>
                    <a:pt x="161113" y="31748"/>
                  </a:lnTo>
                  <a:lnTo>
                    <a:pt x="149321" y="36337"/>
                  </a:lnTo>
                  <a:lnTo>
                    <a:pt x="147397" y="31748"/>
                  </a:lnTo>
                  <a:lnTo>
                    <a:pt x="139502" y="28738"/>
                  </a:lnTo>
                  <a:lnTo>
                    <a:pt x="117890" y="24199"/>
                  </a:lnTo>
                  <a:lnTo>
                    <a:pt x="110046" y="21189"/>
                  </a:lnTo>
                  <a:lnTo>
                    <a:pt x="106099" y="21189"/>
                  </a:lnTo>
                  <a:lnTo>
                    <a:pt x="96231" y="27209"/>
                  </a:lnTo>
                  <a:lnTo>
                    <a:pt x="84438" y="27209"/>
                  </a:lnTo>
                  <a:lnTo>
                    <a:pt x="58880" y="30268"/>
                  </a:lnTo>
                  <a:lnTo>
                    <a:pt x="53008" y="33278"/>
                  </a:lnTo>
                  <a:lnTo>
                    <a:pt x="43140" y="28738"/>
                  </a:lnTo>
                  <a:lnTo>
                    <a:pt x="37219" y="28738"/>
                  </a:lnTo>
                  <a:lnTo>
                    <a:pt x="37219" y="46896"/>
                  </a:lnTo>
                  <a:lnTo>
                    <a:pt x="41167" y="52965"/>
                  </a:lnTo>
                  <a:lnTo>
                    <a:pt x="45113" y="60514"/>
                  </a:lnTo>
                  <a:lnTo>
                    <a:pt x="52959" y="65102"/>
                  </a:lnTo>
                  <a:lnTo>
                    <a:pt x="50985" y="68112"/>
                  </a:lnTo>
                  <a:lnTo>
                    <a:pt x="50985" y="72651"/>
                  </a:lnTo>
                  <a:lnTo>
                    <a:pt x="54933" y="78720"/>
                  </a:lnTo>
                  <a:lnTo>
                    <a:pt x="52959" y="86269"/>
                  </a:lnTo>
                  <a:lnTo>
                    <a:pt x="47087" y="87799"/>
                  </a:lnTo>
                  <a:lnTo>
                    <a:pt x="41167" y="92338"/>
                  </a:lnTo>
                  <a:lnTo>
                    <a:pt x="39193" y="99887"/>
                  </a:lnTo>
                  <a:lnTo>
                    <a:pt x="15608" y="121104"/>
                  </a:lnTo>
                  <a:lnTo>
                    <a:pt x="17582" y="131712"/>
                  </a:lnTo>
                  <a:lnTo>
                    <a:pt x="15608" y="140790"/>
                  </a:lnTo>
                  <a:lnTo>
                    <a:pt x="9737" y="139261"/>
                  </a:lnTo>
                  <a:lnTo>
                    <a:pt x="3816" y="152928"/>
                  </a:lnTo>
                  <a:lnTo>
                    <a:pt x="1892" y="163536"/>
                  </a:lnTo>
                  <a:lnTo>
                    <a:pt x="-82" y="165017"/>
                  </a:lnTo>
                  <a:lnTo>
                    <a:pt x="7763" y="171135"/>
                  </a:lnTo>
                  <a:lnTo>
                    <a:pt x="17631" y="175625"/>
                  </a:lnTo>
                  <a:lnTo>
                    <a:pt x="19605" y="181694"/>
                  </a:lnTo>
                  <a:lnTo>
                    <a:pt x="25476" y="180164"/>
                  </a:lnTo>
                  <a:lnTo>
                    <a:pt x="29424" y="177154"/>
                  </a:lnTo>
                  <a:lnTo>
                    <a:pt x="39292" y="177154"/>
                  </a:lnTo>
                  <a:lnTo>
                    <a:pt x="51084" y="184753"/>
                  </a:lnTo>
                  <a:lnTo>
                    <a:pt x="60952" y="184753"/>
                  </a:lnTo>
                  <a:lnTo>
                    <a:pt x="72745" y="189243"/>
                  </a:lnTo>
                  <a:lnTo>
                    <a:pt x="74718" y="193782"/>
                  </a:lnTo>
                  <a:lnTo>
                    <a:pt x="82563" y="196841"/>
                  </a:lnTo>
                  <a:lnTo>
                    <a:pt x="92431" y="193782"/>
                  </a:lnTo>
                  <a:lnTo>
                    <a:pt x="100276" y="192302"/>
                  </a:lnTo>
                  <a:lnTo>
                    <a:pt x="108121" y="187762"/>
                  </a:lnTo>
                  <a:lnTo>
                    <a:pt x="129732" y="181694"/>
                  </a:lnTo>
                  <a:lnTo>
                    <a:pt x="139600" y="178634"/>
                  </a:lnTo>
                  <a:lnTo>
                    <a:pt x="147495" y="177154"/>
                  </a:lnTo>
                  <a:lnTo>
                    <a:pt x="147495" y="158997"/>
                  </a:lnTo>
                  <a:lnTo>
                    <a:pt x="151393" y="160477"/>
                  </a:lnTo>
                  <a:lnTo>
                    <a:pt x="153367" y="158997"/>
                  </a:lnTo>
                  <a:lnTo>
                    <a:pt x="161211" y="162007"/>
                  </a:lnTo>
                  <a:lnTo>
                    <a:pt x="163185" y="158997"/>
                  </a:lnTo>
                  <a:lnTo>
                    <a:pt x="169106" y="158997"/>
                  </a:lnTo>
                  <a:lnTo>
                    <a:pt x="174978" y="155987"/>
                  </a:lnTo>
                  <a:lnTo>
                    <a:pt x="178925" y="163536"/>
                  </a:lnTo>
                  <a:lnTo>
                    <a:pt x="188793" y="163536"/>
                  </a:lnTo>
                  <a:lnTo>
                    <a:pt x="198661" y="171135"/>
                  </a:lnTo>
                  <a:lnTo>
                    <a:pt x="212377" y="172615"/>
                  </a:lnTo>
                  <a:lnTo>
                    <a:pt x="214401" y="169605"/>
                  </a:lnTo>
                  <a:lnTo>
                    <a:pt x="216325" y="169605"/>
                  </a:lnTo>
                  <a:lnTo>
                    <a:pt x="228117" y="178634"/>
                  </a:lnTo>
                  <a:lnTo>
                    <a:pt x="236012" y="181694"/>
                  </a:lnTo>
                  <a:lnTo>
                    <a:pt x="237985" y="193782"/>
                  </a:lnTo>
                  <a:lnTo>
                    <a:pt x="237985" y="201380"/>
                  </a:lnTo>
                  <a:lnTo>
                    <a:pt x="247853" y="204390"/>
                  </a:lnTo>
                  <a:lnTo>
                    <a:pt x="247853" y="207499"/>
                  </a:lnTo>
                  <a:lnTo>
                    <a:pt x="255649" y="215048"/>
                  </a:lnTo>
                  <a:lnTo>
                    <a:pt x="265517" y="221117"/>
                  </a:lnTo>
                  <a:lnTo>
                    <a:pt x="267441" y="225656"/>
                  </a:lnTo>
                  <a:lnTo>
                    <a:pt x="265517" y="230195"/>
                  </a:lnTo>
                  <a:lnTo>
                    <a:pt x="269415" y="234734"/>
                  </a:lnTo>
                  <a:lnTo>
                    <a:pt x="269415" y="240803"/>
                  </a:lnTo>
                  <a:lnTo>
                    <a:pt x="259547" y="240803"/>
                  </a:lnTo>
                  <a:lnTo>
                    <a:pt x="253626" y="234734"/>
                  </a:lnTo>
                  <a:lnTo>
                    <a:pt x="243758" y="239323"/>
                  </a:lnTo>
                  <a:lnTo>
                    <a:pt x="235962" y="239323"/>
                  </a:lnTo>
                  <a:lnTo>
                    <a:pt x="235962" y="257480"/>
                  </a:lnTo>
                  <a:lnTo>
                    <a:pt x="232015" y="255951"/>
                  </a:lnTo>
                  <a:lnTo>
                    <a:pt x="226144" y="268089"/>
                  </a:lnTo>
                  <a:lnTo>
                    <a:pt x="226144" y="272579"/>
                  </a:lnTo>
                  <a:lnTo>
                    <a:pt x="220223" y="271098"/>
                  </a:lnTo>
                  <a:lnTo>
                    <a:pt x="214351" y="274108"/>
                  </a:lnTo>
                  <a:lnTo>
                    <a:pt x="220223" y="283187"/>
                  </a:lnTo>
                  <a:lnTo>
                    <a:pt x="230091" y="284716"/>
                  </a:lnTo>
                  <a:lnTo>
                    <a:pt x="244005" y="284716"/>
                  </a:lnTo>
                  <a:lnTo>
                    <a:pt x="249925" y="281706"/>
                  </a:lnTo>
                  <a:lnTo>
                    <a:pt x="259793" y="280177"/>
                  </a:lnTo>
                  <a:lnTo>
                    <a:pt x="265665" y="284716"/>
                  </a:lnTo>
                  <a:lnTo>
                    <a:pt x="267590" y="280177"/>
                  </a:lnTo>
                  <a:lnTo>
                    <a:pt x="263691" y="275638"/>
                  </a:lnTo>
                  <a:lnTo>
                    <a:pt x="265665" y="272579"/>
                  </a:lnTo>
                  <a:lnTo>
                    <a:pt x="265665" y="268089"/>
                  </a:lnTo>
                  <a:lnTo>
                    <a:pt x="267590" y="272579"/>
                  </a:lnTo>
                  <a:lnTo>
                    <a:pt x="271586" y="272579"/>
                  </a:lnTo>
                  <a:lnTo>
                    <a:pt x="287276" y="257480"/>
                  </a:lnTo>
                  <a:lnTo>
                    <a:pt x="285303" y="252941"/>
                  </a:lnTo>
                  <a:lnTo>
                    <a:pt x="289201" y="252941"/>
                  </a:lnTo>
                  <a:lnTo>
                    <a:pt x="295121" y="245343"/>
                  </a:lnTo>
                  <a:lnTo>
                    <a:pt x="295121" y="239323"/>
                  </a:lnTo>
                  <a:lnTo>
                    <a:pt x="300993" y="233205"/>
                  </a:lnTo>
                  <a:lnTo>
                    <a:pt x="310861" y="233205"/>
                  </a:lnTo>
                  <a:lnTo>
                    <a:pt x="316782" y="225656"/>
                  </a:lnTo>
                  <a:lnTo>
                    <a:pt x="320680" y="228715"/>
                  </a:lnTo>
                  <a:lnTo>
                    <a:pt x="320680" y="230195"/>
                  </a:lnTo>
                  <a:lnTo>
                    <a:pt x="326551" y="230195"/>
                  </a:lnTo>
                  <a:lnTo>
                    <a:pt x="330498" y="227185"/>
                  </a:lnTo>
                  <a:lnTo>
                    <a:pt x="332472" y="224176"/>
                  </a:lnTo>
                  <a:lnTo>
                    <a:pt x="334396" y="227185"/>
                  </a:lnTo>
                  <a:lnTo>
                    <a:pt x="338343" y="230195"/>
                  </a:lnTo>
                  <a:lnTo>
                    <a:pt x="346188" y="231725"/>
                  </a:lnTo>
                  <a:lnTo>
                    <a:pt x="356056" y="228715"/>
                  </a:lnTo>
                  <a:lnTo>
                    <a:pt x="350185" y="233205"/>
                  </a:lnTo>
                  <a:lnTo>
                    <a:pt x="344313" y="234734"/>
                  </a:lnTo>
                  <a:lnTo>
                    <a:pt x="336419" y="233205"/>
                  </a:lnTo>
                  <a:lnTo>
                    <a:pt x="324627" y="234734"/>
                  </a:lnTo>
                  <a:lnTo>
                    <a:pt x="316831" y="234734"/>
                  </a:lnTo>
                  <a:lnTo>
                    <a:pt x="320729" y="239323"/>
                  </a:lnTo>
                  <a:lnTo>
                    <a:pt x="332521" y="239323"/>
                  </a:lnTo>
                  <a:lnTo>
                    <a:pt x="344313" y="242333"/>
                  </a:lnTo>
                  <a:lnTo>
                    <a:pt x="344313" y="243813"/>
                  </a:lnTo>
                  <a:lnTo>
                    <a:pt x="338393" y="246872"/>
                  </a:lnTo>
                  <a:lnTo>
                    <a:pt x="344313" y="249931"/>
                  </a:lnTo>
                  <a:lnTo>
                    <a:pt x="350185" y="249931"/>
                  </a:lnTo>
                  <a:lnTo>
                    <a:pt x="356056" y="252941"/>
                  </a:lnTo>
                  <a:lnTo>
                    <a:pt x="361978" y="249931"/>
                  </a:lnTo>
                  <a:lnTo>
                    <a:pt x="371846" y="248402"/>
                  </a:lnTo>
                  <a:lnTo>
                    <a:pt x="379691" y="251412"/>
                  </a:lnTo>
                  <a:lnTo>
                    <a:pt x="385611" y="254421"/>
                  </a:lnTo>
                  <a:lnTo>
                    <a:pt x="389559" y="249931"/>
                  </a:lnTo>
                  <a:lnTo>
                    <a:pt x="391483" y="251412"/>
                  </a:lnTo>
                  <a:lnTo>
                    <a:pt x="391729" y="252250"/>
                  </a:lnTo>
                  <a:cubicBezTo>
                    <a:pt x="393309" y="252250"/>
                    <a:pt x="395479" y="252250"/>
                    <a:pt x="398538" y="252250"/>
                  </a:cubicBezTo>
                  <a:lnTo>
                    <a:pt x="397404" y="251362"/>
                  </a:lnTo>
                  <a:lnTo>
                    <a:pt x="397404" y="249882"/>
                  </a:lnTo>
                  <a:lnTo>
                    <a:pt x="405249" y="249882"/>
                  </a:lnTo>
                  <a:lnTo>
                    <a:pt x="409196" y="246823"/>
                  </a:lnTo>
                  <a:lnTo>
                    <a:pt x="415068" y="249882"/>
                  </a:lnTo>
                  <a:lnTo>
                    <a:pt x="422962" y="249882"/>
                  </a:lnTo>
                  <a:lnTo>
                    <a:pt x="424887" y="246823"/>
                  </a:lnTo>
                  <a:lnTo>
                    <a:pt x="430807" y="245293"/>
                  </a:lnTo>
                  <a:lnTo>
                    <a:pt x="440675" y="234685"/>
                  </a:lnTo>
                  <a:lnTo>
                    <a:pt x="442649" y="231675"/>
                  </a:lnTo>
                  <a:lnTo>
                    <a:pt x="446547" y="233156"/>
                  </a:lnTo>
                  <a:lnTo>
                    <a:pt x="448520" y="237744"/>
                  </a:lnTo>
                  <a:lnTo>
                    <a:pt x="440675" y="243764"/>
                  </a:lnTo>
                  <a:lnTo>
                    <a:pt x="436728" y="245293"/>
                  </a:lnTo>
                  <a:lnTo>
                    <a:pt x="438702" y="248353"/>
                  </a:lnTo>
                  <a:lnTo>
                    <a:pt x="442649" y="246823"/>
                  </a:lnTo>
                  <a:lnTo>
                    <a:pt x="452517" y="237744"/>
                  </a:lnTo>
                  <a:lnTo>
                    <a:pt x="454491" y="233156"/>
                  </a:lnTo>
                  <a:lnTo>
                    <a:pt x="450543" y="228666"/>
                  </a:lnTo>
                  <a:lnTo>
                    <a:pt x="448570" y="224126"/>
                  </a:lnTo>
                  <a:lnTo>
                    <a:pt x="450543" y="224126"/>
                  </a:lnTo>
                  <a:lnTo>
                    <a:pt x="454491" y="231675"/>
                  </a:lnTo>
                  <a:lnTo>
                    <a:pt x="460362" y="231675"/>
                  </a:lnTo>
                  <a:lnTo>
                    <a:pt x="466283" y="227136"/>
                  </a:lnTo>
                  <a:lnTo>
                    <a:pt x="476151" y="230146"/>
                  </a:lnTo>
                  <a:lnTo>
                    <a:pt x="483996" y="225607"/>
                  </a:lnTo>
                  <a:lnTo>
                    <a:pt x="491841" y="225607"/>
                  </a:lnTo>
                  <a:lnTo>
                    <a:pt x="499736" y="219538"/>
                  </a:lnTo>
                  <a:lnTo>
                    <a:pt x="503634" y="214998"/>
                  </a:lnTo>
                  <a:lnTo>
                    <a:pt x="511528" y="214998"/>
                  </a:lnTo>
                  <a:lnTo>
                    <a:pt x="515377" y="207499"/>
                  </a:lnTo>
                  <a:lnTo>
                    <a:pt x="519324" y="204440"/>
                  </a:lnTo>
                  <a:lnTo>
                    <a:pt x="529192" y="205969"/>
                  </a:lnTo>
                  <a:lnTo>
                    <a:pt x="537037" y="202959"/>
                  </a:lnTo>
                  <a:lnTo>
                    <a:pt x="540935" y="202959"/>
                  </a:lnTo>
                  <a:lnTo>
                    <a:pt x="540935" y="205969"/>
                  </a:lnTo>
                  <a:lnTo>
                    <a:pt x="550803" y="204440"/>
                  </a:lnTo>
                  <a:lnTo>
                    <a:pt x="552727" y="190822"/>
                  </a:lnTo>
                  <a:lnTo>
                    <a:pt x="556724" y="189292"/>
                  </a:lnTo>
                  <a:lnTo>
                    <a:pt x="564569" y="177204"/>
                  </a:lnTo>
                  <a:lnTo>
                    <a:pt x="580259" y="177204"/>
                  </a:lnTo>
                  <a:lnTo>
                    <a:pt x="588154" y="172664"/>
                  </a:lnTo>
                  <a:lnTo>
                    <a:pt x="586131" y="165066"/>
                  </a:lnTo>
                  <a:lnTo>
                    <a:pt x="592052" y="152978"/>
                  </a:lnTo>
                  <a:lnTo>
                    <a:pt x="590127" y="145429"/>
                  </a:lnTo>
                  <a:lnTo>
                    <a:pt x="578335" y="139310"/>
                  </a:lnTo>
                  <a:lnTo>
                    <a:pt x="580259" y="12421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Graphic 2">
              <a:extLst>
                <a:ext uri="{FF2B5EF4-FFF2-40B4-BE49-F238E27FC236}">
                  <a16:creationId xmlns:a16="http://schemas.microsoft.com/office/drawing/2014/main" id="{E84F8966-975A-413B-B28E-41D1CAB50893}"/>
                </a:ext>
              </a:extLst>
            </p:cNvPr>
            <p:cNvSpPr/>
            <p:nvPr/>
          </p:nvSpPr>
          <p:spPr>
            <a:xfrm>
              <a:off x="6402506" y="3229588"/>
              <a:ext cx="125066" cy="55723"/>
            </a:xfrm>
            <a:custGeom>
              <a:avLst/>
              <a:gdLst>
                <a:gd name="connsiteX0" fmla="*/ 27697 w 137659"/>
                <a:gd name="connsiteY0" fmla="*/ 80 h 61338"/>
                <a:gd name="connsiteX1" fmla="*/ 29424 w 137659"/>
                <a:gd name="connsiteY1" fmla="*/ 6791 h 61338"/>
                <a:gd name="connsiteX2" fmla="*/ 33370 w 137659"/>
                <a:gd name="connsiteY2" fmla="*/ 12860 h 61338"/>
                <a:gd name="connsiteX3" fmla="*/ 29424 w 137659"/>
                <a:gd name="connsiteY3" fmla="*/ 14389 h 61338"/>
                <a:gd name="connsiteX4" fmla="*/ 19556 w 137659"/>
                <a:gd name="connsiteY4" fmla="*/ 15919 h 61338"/>
                <a:gd name="connsiteX5" fmla="*/ 5789 w 137659"/>
                <a:gd name="connsiteY5" fmla="*/ 21938 h 61338"/>
                <a:gd name="connsiteX6" fmla="*/ -82 w 137659"/>
                <a:gd name="connsiteY6" fmla="*/ 31017 h 61338"/>
                <a:gd name="connsiteX7" fmla="*/ 5789 w 137659"/>
                <a:gd name="connsiteY7" fmla="*/ 32546 h 61338"/>
                <a:gd name="connsiteX8" fmla="*/ 9737 w 137659"/>
                <a:gd name="connsiteY8" fmla="*/ 29537 h 61338"/>
                <a:gd name="connsiteX9" fmla="*/ 19605 w 137659"/>
                <a:gd name="connsiteY9" fmla="*/ 32546 h 61338"/>
                <a:gd name="connsiteX10" fmla="*/ 23552 w 137659"/>
                <a:gd name="connsiteY10" fmla="*/ 32546 h 61338"/>
                <a:gd name="connsiteX11" fmla="*/ 33420 w 137659"/>
                <a:gd name="connsiteY11" fmla="*/ 40145 h 61338"/>
                <a:gd name="connsiteX12" fmla="*/ 35394 w 137659"/>
                <a:gd name="connsiteY12" fmla="*/ 44684 h 61338"/>
                <a:gd name="connsiteX13" fmla="*/ 29473 w 137659"/>
                <a:gd name="connsiteY13" fmla="*/ 55292 h 61338"/>
                <a:gd name="connsiteX14" fmla="*/ 29473 w 137659"/>
                <a:gd name="connsiteY14" fmla="*/ 58302 h 61338"/>
                <a:gd name="connsiteX15" fmla="*/ 35394 w 137659"/>
                <a:gd name="connsiteY15" fmla="*/ 61312 h 61338"/>
                <a:gd name="connsiteX16" fmla="*/ 49110 w 137659"/>
                <a:gd name="connsiteY16" fmla="*/ 61312 h 61338"/>
                <a:gd name="connsiteX17" fmla="*/ 60903 w 137659"/>
                <a:gd name="connsiteY17" fmla="*/ 56772 h 61338"/>
                <a:gd name="connsiteX18" fmla="*/ 76642 w 137659"/>
                <a:gd name="connsiteY18" fmla="*/ 47694 h 61338"/>
                <a:gd name="connsiteX19" fmla="*/ 88434 w 137659"/>
                <a:gd name="connsiteY19" fmla="*/ 47694 h 61338"/>
                <a:gd name="connsiteX20" fmla="*/ 94306 w 137659"/>
                <a:gd name="connsiteY20" fmla="*/ 40145 h 61338"/>
                <a:gd name="connsiteX21" fmla="*/ 102201 w 137659"/>
                <a:gd name="connsiteY21" fmla="*/ 37135 h 61338"/>
                <a:gd name="connsiteX22" fmla="*/ 117890 w 137659"/>
                <a:gd name="connsiteY22" fmla="*/ 38615 h 61338"/>
                <a:gd name="connsiteX23" fmla="*/ 129683 w 137659"/>
                <a:gd name="connsiteY23" fmla="*/ 37135 h 61338"/>
                <a:gd name="connsiteX24" fmla="*/ 133630 w 137659"/>
                <a:gd name="connsiteY24" fmla="*/ 32546 h 61338"/>
                <a:gd name="connsiteX25" fmla="*/ 131657 w 137659"/>
                <a:gd name="connsiteY25" fmla="*/ 26527 h 61338"/>
                <a:gd name="connsiteX26" fmla="*/ 133630 w 137659"/>
                <a:gd name="connsiteY26" fmla="*/ 24997 h 61338"/>
                <a:gd name="connsiteX27" fmla="*/ 137577 w 137659"/>
                <a:gd name="connsiteY27" fmla="*/ 20409 h 61338"/>
                <a:gd name="connsiteX28" fmla="*/ 127709 w 137659"/>
                <a:gd name="connsiteY28" fmla="*/ 20409 h 61338"/>
                <a:gd name="connsiteX29" fmla="*/ 117841 w 137659"/>
                <a:gd name="connsiteY29" fmla="*/ 21938 h 61338"/>
                <a:gd name="connsiteX30" fmla="*/ 111970 w 137659"/>
                <a:gd name="connsiteY30" fmla="*/ 28007 h 61338"/>
                <a:gd name="connsiteX31" fmla="*/ 106049 w 137659"/>
                <a:gd name="connsiteY31" fmla="*/ 23468 h 61338"/>
                <a:gd name="connsiteX32" fmla="*/ 102102 w 137659"/>
                <a:gd name="connsiteY32" fmla="*/ 23468 h 61338"/>
                <a:gd name="connsiteX33" fmla="*/ 96181 w 137659"/>
                <a:gd name="connsiteY33" fmla="*/ 29537 h 61338"/>
                <a:gd name="connsiteX34" fmla="*/ 92283 w 137659"/>
                <a:gd name="connsiteY34" fmla="*/ 28007 h 61338"/>
                <a:gd name="connsiteX35" fmla="*/ 75113 w 137659"/>
                <a:gd name="connsiteY35" fmla="*/ 13205 h 61338"/>
                <a:gd name="connsiteX36" fmla="*/ 73484 w 137659"/>
                <a:gd name="connsiteY36" fmla="*/ 13896 h 61338"/>
                <a:gd name="connsiteX37" fmla="*/ 78418 w 137659"/>
                <a:gd name="connsiteY37" fmla="*/ 20310 h 61338"/>
                <a:gd name="connsiteX38" fmla="*/ 92234 w 137659"/>
                <a:gd name="connsiteY38" fmla="*/ 29389 h 61338"/>
                <a:gd name="connsiteX39" fmla="*/ 88286 w 137659"/>
                <a:gd name="connsiteY39" fmla="*/ 30869 h 61338"/>
                <a:gd name="connsiteX40" fmla="*/ 78418 w 137659"/>
                <a:gd name="connsiteY40" fmla="*/ 27859 h 61338"/>
                <a:gd name="connsiteX41" fmla="*/ 74471 w 137659"/>
                <a:gd name="connsiteY41" fmla="*/ 24849 h 61338"/>
                <a:gd name="connsiteX42" fmla="*/ 74471 w 137659"/>
                <a:gd name="connsiteY42" fmla="*/ 18780 h 61338"/>
                <a:gd name="connsiteX43" fmla="*/ 70524 w 137659"/>
                <a:gd name="connsiteY43" fmla="*/ 15771 h 61338"/>
                <a:gd name="connsiteX44" fmla="*/ 66626 w 137659"/>
                <a:gd name="connsiteY44" fmla="*/ 20261 h 61338"/>
                <a:gd name="connsiteX45" fmla="*/ 66626 w 137659"/>
                <a:gd name="connsiteY45" fmla="*/ 15771 h 61338"/>
                <a:gd name="connsiteX46" fmla="*/ 64653 w 137659"/>
                <a:gd name="connsiteY46" fmla="*/ 15771 h 61338"/>
                <a:gd name="connsiteX47" fmla="*/ 60705 w 137659"/>
                <a:gd name="connsiteY47" fmla="*/ 17251 h 61338"/>
                <a:gd name="connsiteX48" fmla="*/ 60705 w 137659"/>
                <a:gd name="connsiteY48" fmla="*/ 14586 h 61338"/>
                <a:gd name="connsiteX49" fmla="*/ 64653 w 137659"/>
                <a:gd name="connsiteY49" fmla="*/ 11577 h 61338"/>
                <a:gd name="connsiteX50" fmla="*/ 60705 w 137659"/>
                <a:gd name="connsiteY50" fmla="*/ 6988 h 61338"/>
                <a:gd name="connsiteX51" fmla="*/ 56807 w 137659"/>
                <a:gd name="connsiteY51" fmla="*/ 8518 h 61338"/>
                <a:gd name="connsiteX52" fmla="*/ 52860 w 137659"/>
                <a:gd name="connsiteY52" fmla="*/ 5508 h 61338"/>
                <a:gd name="connsiteX53" fmla="*/ 48913 w 137659"/>
                <a:gd name="connsiteY53" fmla="*/ 968 h 61338"/>
                <a:gd name="connsiteX54" fmla="*/ 37120 w 137659"/>
                <a:gd name="connsiteY54" fmla="*/ 2449 h 61338"/>
                <a:gd name="connsiteX55" fmla="*/ 34358 w 137659"/>
                <a:gd name="connsiteY55" fmla="*/ 327 h 61338"/>
                <a:gd name="connsiteX56" fmla="*/ 27697 w 137659"/>
                <a:gd name="connsiteY56" fmla="*/ 80 h 6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37659" h="61338">
                  <a:moveTo>
                    <a:pt x="27697" y="80"/>
                  </a:moveTo>
                  <a:lnTo>
                    <a:pt x="29424" y="6791"/>
                  </a:lnTo>
                  <a:lnTo>
                    <a:pt x="33370" y="12860"/>
                  </a:lnTo>
                  <a:lnTo>
                    <a:pt x="29424" y="14389"/>
                  </a:lnTo>
                  <a:lnTo>
                    <a:pt x="19556" y="15919"/>
                  </a:lnTo>
                  <a:lnTo>
                    <a:pt x="5789" y="21938"/>
                  </a:lnTo>
                  <a:lnTo>
                    <a:pt x="-82" y="31017"/>
                  </a:lnTo>
                  <a:lnTo>
                    <a:pt x="5789" y="32546"/>
                  </a:lnTo>
                  <a:lnTo>
                    <a:pt x="9737" y="29537"/>
                  </a:lnTo>
                  <a:lnTo>
                    <a:pt x="19605" y="32546"/>
                  </a:lnTo>
                  <a:lnTo>
                    <a:pt x="23552" y="32546"/>
                  </a:lnTo>
                  <a:lnTo>
                    <a:pt x="33420" y="40145"/>
                  </a:lnTo>
                  <a:lnTo>
                    <a:pt x="35394" y="44684"/>
                  </a:lnTo>
                  <a:lnTo>
                    <a:pt x="29473" y="55292"/>
                  </a:lnTo>
                  <a:lnTo>
                    <a:pt x="29473" y="58302"/>
                  </a:lnTo>
                  <a:lnTo>
                    <a:pt x="35394" y="61312"/>
                  </a:lnTo>
                  <a:lnTo>
                    <a:pt x="49110" y="61312"/>
                  </a:lnTo>
                  <a:lnTo>
                    <a:pt x="60903" y="56772"/>
                  </a:lnTo>
                  <a:lnTo>
                    <a:pt x="76642" y="47694"/>
                  </a:lnTo>
                  <a:lnTo>
                    <a:pt x="88434" y="47694"/>
                  </a:lnTo>
                  <a:lnTo>
                    <a:pt x="94306" y="40145"/>
                  </a:lnTo>
                  <a:lnTo>
                    <a:pt x="102201" y="37135"/>
                  </a:lnTo>
                  <a:lnTo>
                    <a:pt x="117890" y="38615"/>
                  </a:lnTo>
                  <a:lnTo>
                    <a:pt x="129683" y="37135"/>
                  </a:lnTo>
                  <a:lnTo>
                    <a:pt x="133630" y="32546"/>
                  </a:lnTo>
                  <a:lnTo>
                    <a:pt x="131657" y="26527"/>
                  </a:lnTo>
                  <a:lnTo>
                    <a:pt x="133630" y="24997"/>
                  </a:lnTo>
                  <a:lnTo>
                    <a:pt x="137577" y="20409"/>
                  </a:lnTo>
                  <a:lnTo>
                    <a:pt x="127709" y="20409"/>
                  </a:lnTo>
                  <a:lnTo>
                    <a:pt x="117841" y="21938"/>
                  </a:lnTo>
                  <a:lnTo>
                    <a:pt x="111970" y="28007"/>
                  </a:lnTo>
                  <a:lnTo>
                    <a:pt x="106049" y="23468"/>
                  </a:lnTo>
                  <a:lnTo>
                    <a:pt x="102102" y="23468"/>
                  </a:lnTo>
                  <a:lnTo>
                    <a:pt x="96181" y="29537"/>
                  </a:lnTo>
                  <a:lnTo>
                    <a:pt x="92283" y="28007"/>
                  </a:lnTo>
                  <a:lnTo>
                    <a:pt x="75113" y="13205"/>
                  </a:lnTo>
                  <a:cubicBezTo>
                    <a:pt x="74620" y="13496"/>
                    <a:pt x="74076" y="13728"/>
                    <a:pt x="73484" y="13896"/>
                  </a:cubicBezTo>
                  <a:lnTo>
                    <a:pt x="78418" y="20310"/>
                  </a:lnTo>
                  <a:lnTo>
                    <a:pt x="92234" y="29389"/>
                  </a:lnTo>
                  <a:lnTo>
                    <a:pt x="88286" y="30869"/>
                  </a:lnTo>
                  <a:lnTo>
                    <a:pt x="78418" y="27859"/>
                  </a:lnTo>
                  <a:lnTo>
                    <a:pt x="74471" y="24849"/>
                  </a:lnTo>
                  <a:lnTo>
                    <a:pt x="74471" y="18780"/>
                  </a:lnTo>
                  <a:lnTo>
                    <a:pt x="70524" y="15771"/>
                  </a:lnTo>
                  <a:lnTo>
                    <a:pt x="66626" y="20261"/>
                  </a:lnTo>
                  <a:lnTo>
                    <a:pt x="66626" y="15771"/>
                  </a:lnTo>
                  <a:lnTo>
                    <a:pt x="64653" y="15771"/>
                  </a:lnTo>
                  <a:lnTo>
                    <a:pt x="60705" y="17251"/>
                  </a:lnTo>
                  <a:lnTo>
                    <a:pt x="60705" y="14586"/>
                  </a:lnTo>
                  <a:lnTo>
                    <a:pt x="64653" y="11577"/>
                  </a:lnTo>
                  <a:lnTo>
                    <a:pt x="60705" y="6988"/>
                  </a:lnTo>
                  <a:lnTo>
                    <a:pt x="56807" y="8518"/>
                  </a:lnTo>
                  <a:lnTo>
                    <a:pt x="52860" y="5508"/>
                  </a:lnTo>
                  <a:lnTo>
                    <a:pt x="48913" y="968"/>
                  </a:lnTo>
                  <a:lnTo>
                    <a:pt x="37120" y="2449"/>
                  </a:lnTo>
                  <a:lnTo>
                    <a:pt x="34358" y="327"/>
                  </a:lnTo>
                  <a:cubicBezTo>
                    <a:pt x="31447" y="179"/>
                    <a:pt x="29275" y="-216"/>
                    <a:pt x="27697" y="80"/>
                  </a:cubicBezTo>
                  <a:close/>
                </a:path>
              </a:pathLst>
            </a:custGeom>
            <a:pattFill prst="dkUpDiag">
              <a:fgClr>
                <a:srgbClr val="D9D9D9"/>
              </a:fgClr>
              <a:bgClr>
                <a:schemeClr val="bg1"/>
              </a:bgClr>
            </a:pattFill>
            <a:ln w="3175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Graphic 2">
              <a:extLst>
                <a:ext uri="{FF2B5EF4-FFF2-40B4-BE49-F238E27FC236}">
                  <a16:creationId xmlns:a16="http://schemas.microsoft.com/office/drawing/2014/main" id="{09A95BBD-D9BA-4AB3-9E6E-FB57703E37B2}"/>
                </a:ext>
              </a:extLst>
            </p:cNvPr>
            <p:cNvSpPr/>
            <p:nvPr/>
          </p:nvSpPr>
          <p:spPr>
            <a:xfrm>
              <a:off x="6204555" y="3142948"/>
              <a:ext cx="111662" cy="105067"/>
            </a:xfrm>
            <a:custGeom>
              <a:avLst/>
              <a:gdLst>
                <a:gd name="connsiteX0" fmla="*/ -82 w 122906"/>
                <a:gd name="connsiteY0" fmla="*/ 20696 h 115653"/>
                <a:gd name="connsiteX1" fmla="*/ -82 w 122906"/>
                <a:gd name="connsiteY1" fmla="*/ 2934 h 115653"/>
                <a:gd name="connsiteX2" fmla="*/ 3866 w 122906"/>
                <a:gd name="connsiteY2" fmla="*/ 4414 h 115653"/>
                <a:gd name="connsiteX3" fmla="*/ 5888 w 122906"/>
                <a:gd name="connsiteY3" fmla="*/ 2934 h 115653"/>
                <a:gd name="connsiteX4" fmla="*/ 13832 w 122906"/>
                <a:gd name="connsiteY4" fmla="*/ 5894 h 115653"/>
                <a:gd name="connsiteX5" fmla="*/ 15806 w 122906"/>
                <a:gd name="connsiteY5" fmla="*/ 2934 h 115653"/>
                <a:gd name="connsiteX6" fmla="*/ 21727 w 122906"/>
                <a:gd name="connsiteY6" fmla="*/ 2934 h 115653"/>
                <a:gd name="connsiteX7" fmla="*/ 27697 w 122906"/>
                <a:gd name="connsiteY7" fmla="*/ -27 h 115653"/>
                <a:gd name="connsiteX8" fmla="*/ 31693 w 122906"/>
                <a:gd name="connsiteY8" fmla="*/ 7374 h 115653"/>
                <a:gd name="connsiteX9" fmla="*/ 41561 w 122906"/>
                <a:gd name="connsiteY9" fmla="*/ 7374 h 115653"/>
                <a:gd name="connsiteX10" fmla="*/ 51429 w 122906"/>
                <a:gd name="connsiteY10" fmla="*/ 14775 h 115653"/>
                <a:gd name="connsiteX11" fmla="*/ 65344 w 122906"/>
                <a:gd name="connsiteY11" fmla="*/ 16256 h 115653"/>
                <a:gd name="connsiteX12" fmla="*/ 67367 w 122906"/>
                <a:gd name="connsiteY12" fmla="*/ 13295 h 115653"/>
                <a:gd name="connsiteX13" fmla="*/ 69340 w 122906"/>
                <a:gd name="connsiteY13" fmla="*/ 13295 h 115653"/>
                <a:gd name="connsiteX14" fmla="*/ 81231 w 122906"/>
                <a:gd name="connsiteY14" fmla="*/ 22176 h 115653"/>
                <a:gd name="connsiteX15" fmla="*/ 89175 w 122906"/>
                <a:gd name="connsiteY15" fmla="*/ 25186 h 115653"/>
                <a:gd name="connsiteX16" fmla="*/ 91148 w 122906"/>
                <a:gd name="connsiteY16" fmla="*/ 37028 h 115653"/>
                <a:gd name="connsiteX17" fmla="*/ 91148 w 122906"/>
                <a:gd name="connsiteY17" fmla="*/ 44429 h 115653"/>
                <a:gd name="connsiteX18" fmla="*/ 101016 w 122906"/>
                <a:gd name="connsiteY18" fmla="*/ 47438 h 115653"/>
                <a:gd name="connsiteX19" fmla="*/ 101016 w 122906"/>
                <a:gd name="connsiteY19" fmla="*/ 50399 h 115653"/>
                <a:gd name="connsiteX20" fmla="*/ 108960 w 122906"/>
                <a:gd name="connsiteY20" fmla="*/ 57800 h 115653"/>
                <a:gd name="connsiteX21" fmla="*/ 118828 w 122906"/>
                <a:gd name="connsiteY21" fmla="*/ 63721 h 115653"/>
                <a:gd name="connsiteX22" fmla="*/ 120851 w 122906"/>
                <a:gd name="connsiteY22" fmla="*/ 68161 h 115653"/>
                <a:gd name="connsiteX23" fmla="*/ 118828 w 122906"/>
                <a:gd name="connsiteY23" fmla="*/ 72602 h 115653"/>
                <a:gd name="connsiteX24" fmla="*/ 122825 w 122906"/>
                <a:gd name="connsiteY24" fmla="*/ 77092 h 115653"/>
                <a:gd name="connsiteX25" fmla="*/ 122825 w 122906"/>
                <a:gd name="connsiteY25" fmla="*/ 83013 h 115653"/>
                <a:gd name="connsiteX26" fmla="*/ 112957 w 122906"/>
                <a:gd name="connsiteY26" fmla="*/ 83013 h 115653"/>
                <a:gd name="connsiteX27" fmla="*/ 106986 w 122906"/>
                <a:gd name="connsiteY27" fmla="*/ 77092 h 115653"/>
                <a:gd name="connsiteX28" fmla="*/ 97118 w 122906"/>
                <a:gd name="connsiteY28" fmla="*/ 81533 h 115653"/>
                <a:gd name="connsiteX29" fmla="*/ 89175 w 122906"/>
                <a:gd name="connsiteY29" fmla="*/ 81533 h 115653"/>
                <a:gd name="connsiteX30" fmla="*/ 89175 w 122906"/>
                <a:gd name="connsiteY30" fmla="*/ 99344 h 115653"/>
                <a:gd name="connsiteX31" fmla="*/ 85228 w 122906"/>
                <a:gd name="connsiteY31" fmla="*/ 97864 h 115653"/>
                <a:gd name="connsiteX32" fmla="*/ 79257 w 122906"/>
                <a:gd name="connsiteY32" fmla="*/ 109706 h 115653"/>
                <a:gd name="connsiteX33" fmla="*/ 79257 w 122906"/>
                <a:gd name="connsiteY33" fmla="*/ 114147 h 115653"/>
                <a:gd name="connsiteX34" fmla="*/ 73287 w 122906"/>
                <a:gd name="connsiteY34" fmla="*/ 112716 h 115653"/>
                <a:gd name="connsiteX35" fmla="*/ 67367 w 122906"/>
                <a:gd name="connsiteY35" fmla="*/ 115627 h 115653"/>
                <a:gd name="connsiteX36" fmla="*/ 67367 w 122906"/>
                <a:gd name="connsiteY36" fmla="*/ 115627 h 115653"/>
                <a:gd name="connsiteX37" fmla="*/ 63370 w 122906"/>
                <a:gd name="connsiteY37" fmla="*/ 108226 h 115653"/>
                <a:gd name="connsiteX38" fmla="*/ 63370 w 122906"/>
                <a:gd name="connsiteY38" fmla="*/ 80053 h 115653"/>
                <a:gd name="connsiteX39" fmla="*/ 55426 w 122906"/>
                <a:gd name="connsiteY39" fmla="*/ 69691 h 115653"/>
                <a:gd name="connsiteX40" fmla="*/ 53452 w 122906"/>
                <a:gd name="connsiteY40" fmla="*/ 62241 h 115653"/>
                <a:gd name="connsiteX41" fmla="*/ 35542 w 122906"/>
                <a:gd name="connsiteY41" fmla="*/ 48919 h 115653"/>
                <a:gd name="connsiteX42" fmla="*/ 33568 w 122906"/>
                <a:gd name="connsiteY42" fmla="*/ 42998 h 115653"/>
                <a:gd name="connsiteX43" fmla="*/ 17681 w 122906"/>
                <a:gd name="connsiteY43" fmla="*/ 32587 h 115653"/>
                <a:gd name="connsiteX44" fmla="*/ 13734 w 122906"/>
                <a:gd name="connsiteY44" fmla="*/ 19265 h 115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2906" h="115653">
                  <a:moveTo>
                    <a:pt x="-82" y="20696"/>
                  </a:moveTo>
                  <a:lnTo>
                    <a:pt x="-82" y="2934"/>
                  </a:lnTo>
                  <a:lnTo>
                    <a:pt x="3866" y="4414"/>
                  </a:lnTo>
                  <a:lnTo>
                    <a:pt x="5888" y="2934"/>
                  </a:lnTo>
                  <a:lnTo>
                    <a:pt x="13832" y="5894"/>
                  </a:lnTo>
                  <a:lnTo>
                    <a:pt x="15806" y="2934"/>
                  </a:lnTo>
                  <a:lnTo>
                    <a:pt x="21727" y="2934"/>
                  </a:lnTo>
                  <a:lnTo>
                    <a:pt x="27697" y="-27"/>
                  </a:lnTo>
                  <a:lnTo>
                    <a:pt x="31693" y="7374"/>
                  </a:lnTo>
                  <a:lnTo>
                    <a:pt x="41561" y="7374"/>
                  </a:lnTo>
                  <a:lnTo>
                    <a:pt x="51429" y="14775"/>
                  </a:lnTo>
                  <a:lnTo>
                    <a:pt x="65344" y="16256"/>
                  </a:lnTo>
                  <a:lnTo>
                    <a:pt x="67367" y="13295"/>
                  </a:lnTo>
                  <a:lnTo>
                    <a:pt x="69340" y="13295"/>
                  </a:lnTo>
                  <a:lnTo>
                    <a:pt x="81231" y="22176"/>
                  </a:lnTo>
                  <a:lnTo>
                    <a:pt x="89175" y="25186"/>
                  </a:lnTo>
                  <a:lnTo>
                    <a:pt x="91148" y="37028"/>
                  </a:lnTo>
                  <a:lnTo>
                    <a:pt x="91148" y="44429"/>
                  </a:lnTo>
                  <a:lnTo>
                    <a:pt x="101016" y="47438"/>
                  </a:lnTo>
                  <a:lnTo>
                    <a:pt x="101016" y="50399"/>
                  </a:lnTo>
                  <a:lnTo>
                    <a:pt x="108960" y="57800"/>
                  </a:lnTo>
                  <a:lnTo>
                    <a:pt x="118828" y="63721"/>
                  </a:lnTo>
                  <a:lnTo>
                    <a:pt x="120851" y="68161"/>
                  </a:lnTo>
                  <a:lnTo>
                    <a:pt x="118828" y="72602"/>
                  </a:lnTo>
                  <a:lnTo>
                    <a:pt x="122825" y="77092"/>
                  </a:lnTo>
                  <a:lnTo>
                    <a:pt x="122825" y="83013"/>
                  </a:lnTo>
                  <a:lnTo>
                    <a:pt x="112957" y="83013"/>
                  </a:lnTo>
                  <a:lnTo>
                    <a:pt x="106986" y="77092"/>
                  </a:lnTo>
                  <a:lnTo>
                    <a:pt x="97118" y="81533"/>
                  </a:lnTo>
                  <a:lnTo>
                    <a:pt x="89175" y="81533"/>
                  </a:lnTo>
                  <a:lnTo>
                    <a:pt x="89175" y="99344"/>
                  </a:lnTo>
                  <a:lnTo>
                    <a:pt x="85228" y="97864"/>
                  </a:lnTo>
                  <a:lnTo>
                    <a:pt x="79257" y="109706"/>
                  </a:lnTo>
                  <a:lnTo>
                    <a:pt x="79257" y="114147"/>
                  </a:lnTo>
                  <a:lnTo>
                    <a:pt x="73287" y="112716"/>
                  </a:lnTo>
                  <a:lnTo>
                    <a:pt x="67367" y="115627"/>
                  </a:lnTo>
                  <a:lnTo>
                    <a:pt x="67367" y="115627"/>
                  </a:lnTo>
                  <a:lnTo>
                    <a:pt x="63370" y="108226"/>
                  </a:lnTo>
                  <a:lnTo>
                    <a:pt x="63370" y="80053"/>
                  </a:lnTo>
                  <a:lnTo>
                    <a:pt x="55426" y="69691"/>
                  </a:lnTo>
                  <a:lnTo>
                    <a:pt x="53452" y="62241"/>
                  </a:lnTo>
                  <a:lnTo>
                    <a:pt x="35542" y="48919"/>
                  </a:lnTo>
                  <a:lnTo>
                    <a:pt x="33568" y="42998"/>
                  </a:lnTo>
                  <a:lnTo>
                    <a:pt x="17681" y="32587"/>
                  </a:lnTo>
                  <a:lnTo>
                    <a:pt x="13734" y="1926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Graphic 2">
              <a:extLst>
                <a:ext uri="{FF2B5EF4-FFF2-40B4-BE49-F238E27FC236}">
                  <a16:creationId xmlns:a16="http://schemas.microsoft.com/office/drawing/2014/main" id="{DD375D05-2167-4816-9EF0-F98B557ECD00}"/>
                </a:ext>
              </a:extLst>
            </p:cNvPr>
            <p:cNvSpPr/>
            <p:nvPr/>
          </p:nvSpPr>
          <p:spPr>
            <a:xfrm>
              <a:off x="6024620" y="3159893"/>
              <a:ext cx="288594" cy="159259"/>
            </a:xfrm>
            <a:custGeom>
              <a:avLst/>
              <a:gdLst>
                <a:gd name="connsiteX0" fmla="*/ 72596 w 317653"/>
                <a:gd name="connsiteY0" fmla="*/ 6042 h 175306"/>
                <a:gd name="connsiteX1" fmla="*/ 78468 w 317653"/>
                <a:gd name="connsiteY1" fmla="*/ 4562 h 175306"/>
                <a:gd name="connsiteX2" fmla="*/ 82415 w 317653"/>
                <a:gd name="connsiteY2" fmla="*/ 1503 h 175306"/>
                <a:gd name="connsiteX3" fmla="*/ 92283 w 317653"/>
                <a:gd name="connsiteY3" fmla="*/ 1503 h 175306"/>
                <a:gd name="connsiteX4" fmla="*/ 104026 w 317653"/>
                <a:gd name="connsiteY4" fmla="*/ 9101 h 175306"/>
                <a:gd name="connsiteX5" fmla="*/ 113894 w 317653"/>
                <a:gd name="connsiteY5" fmla="*/ 9101 h 175306"/>
                <a:gd name="connsiteX6" fmla="*/ 125637 w 317653"/>
                <a:gd name="connsiteY6" fmla="*/ 13690 h 175306"/>
                <a:gd name="connsiteX7" fmla="*/ 127562 w 317653"/>
                <a:gd name="connsiteY7" fmla="*/ 18229 h 175306"/>
                <a:gd name="connsiteX8" fmla="*/ 135407 w 317653"/>
                <a:gd name="connsiteY8" fmla="*/ 21288 h 175306"/>
                <a:gd name="connsiteX9" fmla="*/ 145275 w 317653"/>
                <a:gd name="connsiteY9" fmla="*/ 18229 h 175306"/>
                <a:gd name="connsiteX10" fmla="*/ 153120 w 317653"/>
                <a:gd name="connsiteY10" fmla="*/ 16749 h 175306"/>
                <a:gd name="connsiteX11" fmla="*/ 160916 w 317653"/>
                <a:gd name="connsiteY11" fmla="*/ 12160 h 175306"/>
                <a:gd name="connsiteX12" fmla="*/ 182477 w 317653"/>
                <a:gd name="connsiteY12" fmla="*/ 6042 h 175306"/>
                <a:gd name="connsiteX13" fmla="*/ 192346 w 317653"/>
                <a:gd name="connsiteY13" fmla="*/ 3032 h 175306"/>
                <a:gd name="connsiteX14" fmla="*/ 213907 w 317653"/>
                <a:gd name="connsiteY14" fmla="*/ -27 h 175306"/>
                <a:gd name="connsiteX15" fmla="*/ 217805 w 317653"/>
                <a:gd name="connsiteY15" fmla="*/ 13690 h 175306"/>
                <a:gd name="connsiteX16" fmla="*/ 233495 w 317653"/>
                <a:gd name="connsiteY16" fmla="*/ 24397 h 175306"/>
                <a:gd name="connsiteX17" fmla="*/ 235420 w 317653"/>
                <a:gd name="connsiteY17" fmla="*/ 30466 h 175306"/>
                <a:gd name="connsiteX18" fmla="*/ 253084 w 317653"/>
                <a:gd name="connsiteY18" fmla="*/ 44182 h 175306"/>
                <a:gd name="connsiteX19" fmla="*/ 255008 w 317653"/>
                <a:gd name="connsiteY19" fmla="*/ 51830 h 175306"/>
                <a:gd name="connsiteX20" fmla="*/ 262853 w 317653"/>
                <a:gd name="connsiteY20" fmla="*/ 62537 h 175306"/>
                <a:gd name="connsiteX21" fmla="*/ 262853 w 317653"/>
                <a:gd name="connsiteY21" fmla="*/ 91302 h 175306"/>
                <a:gd name="connsiteX22" fmla="*/ 266751 w 317653"/>
                <a:gd name="connsiteY22" fmla="*/ 98999 h 175306"/>
                <a:gd name="connsiteX23" fmla="*/ 272622 w 317653"/>
                <a:gd name="connsiteY23" fmla="*/ 108127 h 175306"/>
                <a:gd name="connsiteX24" fmla="*/ 282490 w 317653"/>
                <a:gd name="connsiteY24" fmla="*/ 109657 h 175306"/>
                <a:gd name="connsiteX25" fmla="*/ 296010 w 317653"/>
                <a:gd name="connsiteY25" fmla="*/ 109657 h 175306"/>
                <a:gd name="connsiteX26" fmla="*/ 301832 w 317653"/>
                <a:gd name="connsiteY26" fmla="*/ 106598 h 175306"/>
                <a:gd name="connsiteX27" fmla="*/ 311700 w 317653"/>
                <a:gd name="connsiteY27" fmla="*/ 105068 h 175306"/>
                <a:gd name="connsiteX28" fmla="*/ 317571 w 317653"/>
                <a:gd name="connsiteY28" fmla="*/ 109657 h 175306"/>
                <a:gd name="connsiteX29" fmla="*/ 313673 w 317653"/>
                <a:gd name="connsiteY29" fmla="*/ 114196 h 175306"/>
                <a:gd name="connsiteX30" fmla="*/ 317571 w 317653"/>
                <a:gd name="connsiteY30" fmla="*/ 115726 h 175306"/>
                <a:gd name="connsiteX31" fmla="*/ 317571 w 317653"/>
                <a:gd name="connsiteY31" fmla="*/ 120314 h 175306"/>
                <a:gd name="connsiteX32" fmla="*/ 313673 w 317653"/>
                <a:gd name="connsiteY32" fmla="*/ 127913 h 175306"/>
                <a:gd name="connsiteX33" fmla="*/ 305828 w 317653"/>
                <a:gd name="connsiteY33" fmla="*/ 129442 h 175306"/>
                <a:gd name="connsiteX34" fmla="*/ 294036 w 317653"/>
                <a:gd name="connsiteY34" fmla="*/ 130972 h 175306"/>
                <a:gd name="connsiteX35" fmla="*/ 290138 w 317653"/>
                <a:gd name="connsiteY35" fmla="*/ 137090 h 175306"/>
                <a:gd name="connsiteX36" fmla="*/ 286240 w 317653"/>
                <a:gd name="connsiteY36" fmla="*/ 141679 h 175306"/>
                <a:gd name="connsiteX37" fmla="*/ 288214 w 317653"/>
                <a:gd name="connsiteY37" fmla="*/ 146218 h 175306"/>
                <a:gd name="connsiteX38" fmla="*/ 288214 w 317653"/>
                <a:gd name="connsiteY38" fmla="*/ 155445 h 175306"/>
                <a:gd name="connsiteX39" fmla="*/ 284267 w 317653"/>
                <a:gd name="connsiteY39" fmla="*/ 159984 h 175306"/>
                <a:gd name="connsiteX40" fmla="*/ 286240 w 317653"/>
                <a:gd name="connsiteY40" fmla="*/ 169161 h 175306"/>
                <a:gd name="connsiteX41" fmla="*/ 278444 w 317653"/>
                <a:gd name="connsiteY41" fmla="*/ 169161 h 175306"/>
                <a:gd name="connsiteX42" fmla="*/ 278444 w 317653"/>
                <a:gd name="connsiteY42" fmla="*/ 164572 h 175306"/>
                <a:gd name="connsiteX43" fmla="*/ 268576 w 317653"/>
                <a:gd name="connsiteY43" fmla="*/ 159984 h 175306"/>
                <a:gd name="connsiteX44" fmla="*/ 262705 w 317653"/>
                <a:gd name="connsiteY44" fmla="*/ 163043 h 175306"/>
                <a:gd name="connsiteX45" fmla="*/ 258757 w 317653"/>
                <a:gd name="connsiteY45" fmla="*/ 159984 h 175306"/>
                <a:gd name="connsiteX46" fmla="*/ 245091 w 317653"/>
                <a:gd name="connsiteY46" fmla="*/ 155445 h 175306"/>
                <a:gd name="connsiteX47" fmla="*/ 235223 w 317653"/>
                <a:gd name="connsiteY47" fmla="*/ 153915 h 175306"/>
                <a:gd name="connsiteX48" fmla="*/ 225355 w 317653"/>
                <a:gd name="connsiteY48" fmla="*/ 155445 h 175306"/>
                <a:gd name="connsiteX49" fmla="*/ 203793 w 317653"/>
                <a:gd name="connsiteY49" fmla="*/ 163043 h 175306"/>
                <a:gd name="connsiteX50" fmla="*/ 201819 w 317653"/>
                <a:gd name="connsiteY50" fmla="*/ 169161 h 175306"/>
                <a:gd name="connsiteX51" fmla="*/ 191951 w 317653"/>
                <a:gd name="connsiteY51" fmla="*/ 172220 h 175306"/>
                <a:gd name="connsiteX52" fmla="*/ 186079 w 317653"/>
                <a:gd name="connsiteY52" fmla="*/ 173750 h 175306"/>
                <a:gd name="connsiteX53" fmla="*/ 168465 w 317653"/>
                <a:gd name="connsiteY53" fmla="*/ 173750 h 175306"/>
                <a:gd name="connsiteX54" fmla="*/ 160620 w 317653"/>
                <a:gd name="connsiteY54" fmla="*/ 170691 h 175306"/>
                <a:gd name="connsiteX55" fmla="*/ 152824 w 317653"/>
                <a:gd name="connsiteY55" fmla="*/ 173750 h 175306"/>
                <a:gd name="connsiteX56" fmla="*/ 146903 w 317653"/>
                <a:gd name="connsiteY56" fmla="*/ 170691 h 175306"/>
                <a:gd name="connsiteX57" fmla="*/ 137035 w 317653"/>
                <a:gd name="connsiteY57" fmla="*/ 175280 h 175306"/>
                <a:gd name="connsiteX58" fmla="*/ 125292 w 317653"/>
                <a:gd name="connsiteY58" fmla="*/ 172220 h 175306"/>
                <a:gd name="connsiteX59" fmla="*/ 121345 w 317653"/>
                <a:gd name="connsiteY59" fmla="*/ 172220 h 175306"/>
                <a:gd name="connsiteX60" fmla="*/ 115523 w 317653"/>
                <a:gd name="connsiteY60" fmla="*/ 169161 h 175306"/>
                <a:gd name="connsiteX61" fmla="*/ 107677 w 317653"/>
                <a:gd name="connsiteY61" fmla="*/ 169161 h 175306"/>
                <a:gd name="connsiteX62" fmla="*/ 99832 w 317653"/>
                <a:gd name="connsiteY62" fmla="*/ 173750 h 175306"/>
                <a:gd name="connsiteX63" fmla="*/ 95885 w 317653"/>
                <a:gd name="connsiteY63" fmla="*/ 167632 h 175306"/>
                <a:gd name="connsiteX64" fmla="*/ 97859 w 317653"/>
                <a:gd name="connsiteY64" fmla="*/ 163043 h 175306"/>
                <a:gd name="connsiteX65" fmla="*/ 97859 w 317653"/>
                <a:gd name="connsiteY65" fmla="*/ 158454 h 175306"/>
                <a:gd name="connsiteX66" fmla="*/ 93961 w 317653"/>
                <a:gd name="connsiteY66" fmla="*/ 155445 h 175306"/>
                <a:gd name="connsiteX67" fmla="*/ 82218 w 317653"/>
                <a:gd name="connsiteY67" fmla="*/ 155445 h 175306"/>
                <a:gd name="connsiteX68" fmla="*/ 80244 w 317653"/>
                <a:gd name="connsiteY68" fmla="*/ 149326 h 175306"/>
                <a:gd name="connsiteX69" fmla="*/ 80244 w 317653"/>
                <a:gd name="connsiteY69" fmla="*/ 144787 h 175306"/>
                <a:gd name="connsiteX70" fmla="*/ 88089 w 317653"/>
                <a:gd name="connsiteY70" fmla="*/ 137139 h 175306"/>
                <a:gd name="connsiteX71" fmla="*/ 74373 w 317653"/>
                <a:gd name="connsiteY71" fmla="*/ 135610 h 175306"/>
                <a:gd name="connsiteX72" fmla="*/ 68501 w 317653"/>
                <a:gd name="connsiteY72" fmla="*/ 143258 h 175306"/>
                <a:gd name="connsiteX73" fmla="*/ 62630 w 317653"/>
                <a:gd name="connsiteY73" fmla="*/ 137139 h 175306"/>
                <a:gd name="connsiteX74" fmla="*/ 54785 w 317653"/>
                <a:gd name="connsiteY74" fmla="*/ 141728 h 175306"/>
                <a:gd name="connsiteX75" fmla="*/ 52860 w 317653"/>
                <a:gd name="connsiteY75" fmla="*/ 135610 h 175306"/>
                <a:gd name="connsiteX76" fmla="*/ 39095 w 317653"/>
                <a:gd name="connsiteY76" fmla="*/ 132551 h 175306"/>
                <a:gd name="connsiteX77" fmla="*/ 37170 w 317653"/>
                <a:gd name="connsiteY77" fmla="*/ 129492 h 175306"/>
                <a:gd name="connsiteX78" fmla="*/ 41068 w 317653"/>
                <a:gd name="connsiteY78" fmla="*/ 121893 h 175306"/>
                <a:gd name="connsiteX79" fmla="*/ 33272 w 317653"/>
                <a:gd name="connsiteY79" fmla="*/ 115775 h 175306"/>
                <a:gd name="connsiteX80" fmla="*/ 23404 w 317653"/>
                <a:gd name="connsiteY80" fmla="*/ 109706 h 175306"/>
                <a:gd name="connsiteX81" fmla="*/ 21430 w 317653"/>
                <a:gd name="connsiteY81" fmla="*/ 105117 h 175306"/>
                <a:gd name="connsiteX82" fmla="*/ 9687 w 317653"/>
                <a:gd name="connsiteY82" fmla="*/ 94411 h 175306"/>
                <a:gd name="connsiteX83" fmla="*/ 7763 w 317653"/>
                <a:gd name="connsiteY83" fmla="*/ 89822 h 175306"/>
                <a:gd name="connsiteX84" fmla="*/ -82 w 317653"/>
                <a:gd name="connsiteY84" fmla="*/ 88292 h 175306"/>
                <a:gd name="connsiteX85" fmla="*/ 7763 w 317653"/>
                <a:gd name="connsiteY85" fmla="*/ 80694 h 175306"/>
                <a:gd name="connsiteX86" fmla="*/ 13586 w 317653"/>
                <a:gd name="connsiteY86" fmla="*/ 79164 h 175306"/>
                <a:gd name="connsiteX87" fmla="*/ 15609 w 317653"/>
                <a:gd name="connsiteY87" fmla="*/ 74625 h 175306"/>
                <a:gd name="connsiteX88" fmla="*/ 27352 w 317653"/>
                <a:gd name="connsiteY88" fmla="*/ 74625 h 175306"/>
                <a:gd name="connsiteX89" fmla="*/ 33223 w 317653"/>
                <a:gd name="connsiteY89" fmla="*/ 70036 h 175306"/>
                <a:gd name="connsiteX90" fmla="*/ 33223 w 317653"/>
                <a:gd name="connsiteY90" fmla="*/ 63968 h 175306"/>
                <a:gd name="connsiteX91" fmla="*/ 44966 w 317653"/>
                <a:gd name="connsiteY91" fmla="*/ 47142 h 175306"/>
                <a:gd name="connsiteX92" fmla="*/ 54834 w 317653"/>
                <a:gd name="connsiteY92" fmla="*/ 27406 h 175306"/>
                <a:gd name="connsiteX93" fmla="*/ 60706 w 317653"/>
                <a:gd name="connsiteY93" fmla="*/ 16700 h 175306"/>
                <a:gd name="connsiteX94" fmla="*/ 68551 w 317653"/>
                <a:gd name="connsiteY94" fmla="*/ 15170 h 175306"/>
                <a:gd name="connsiteX95" fmla="*/ 72448 w 317653"/>
                <a:gd name="connsiteY95" fmla="*/ 9052 h 17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17653" h="175306">
                  <a:moveTo>
                    <a:pt x="72596" y="6042"/>
                  </a:moveTo>
                  <a:lnTo>
                    <a:pt x="78468" y="4562"/>
                  </a:lnTo>
                  <a:lnTo>
                    <a:pt x="82415" y="1503"/>
                  </a:lnTo>
                  <a:lnTo>
                    <a:pt x="92283" y="1503"/>
                  </a:lnTo>
                  <a:lnTo>
                    <a:pt x="104026" y="9101"/>
                  </a:lnTo>
                  <a:lnTo>
                    <a:pt x="113894" y="9101"/>
                  </a:lnTo>
                  <a:lnTo>
                    <a:pt x="125637" y="13690"/>
                  </a:lnTo>
                  <a:lnTo>
                    <a:pt x="127562" y="18229"/>
                  </a:lnTo>
                  <a:lnTo>
                    <a:pt x="135407" y="21288"/>
                  </a:lnTo>
                  <a:lnTo>
                    <a:pt x="145275" y="18229"/>
                  </a:lnTo>
                  <a:lnTo>
                    <a:pt x="153120" y="16749"/>
                  </a:lnTo>
                  <a:lnTo>
                    <a:pt x="160916" y="12160"/>
                  </a:lnTo>
                  <a:lnTo>
                    <a:pt x="182477" y="6042"/>
                  </a:lnTo>
                  <a:lnTo>
                    <a:pt x="192346" y="3032"/>
                  </a:lnTo>
                  <a:lnTo>
                    <a:pt x="213907" y="-27"/>
                  </a:lnTo>
                  <a:lnTo>
                    <a:pt x="217805" y="13690"/>
                  </a:lnTo>
                  <a:lnTo>
                    <a:pt x="233495" y="24397"/>
                  </a:lnTo>
                  <a:lnTo>
                    <a:pt x="235420" y="30466"/>
                  </a:lnTo>
                  <a:lnTo>
                    <a:pt x="253084" y="44182"/>
                  </a:lnTo>
                  <a:lnTo>
                    <a:pt x="255008" y="51830"/>
                  </a:lnTo>
                  <a:lnTo>
                    <a:pt x="262853" y="62537"/>
                  </a:lnTo>
                  <a:lnTo>
                    <a:pt x="262853" y="91302"/>
                  </a:lnTo>
                  <a:lnTo>
                    <a:pt x="266751" y="98999"/>
                  </a:lnTo>
                  <a:lnTo>
                    <a:pt x="272622" y="108127"/>
                  </a:lnTo>
                  <a:lnTo>
                    <a:pt x="282490" y="109657"/>
                  </a:lnTo>
                  <a:lnTo>
                    <a:pt x="296010" y="109657"/>
                  </a:lnTo>
                  <a:lnTo>
                    <a:pt x="301832" y="106598"/>
                  </a:lnTo>
                  <a:lnTo>
                    <a:pt x="311700" y="105068"/>
                  </a:lnTo>
                  <a:lnTo>
                    <a:pt x="317571" y="109657"/>
                  </a:lnTo>
                  <a:lnTo>
                    <a:pt x="313673" y="114196"/>
                  </a:lnTo>
                  <a:lnTo>
                    <a:pt x="317571" y="115726"/>
                  </a:lnTo>
                  <a:lnTo>
                    <a:pt x="317571" y="120314"/>
                  </a:lnTo>
                  <a:lnTo>
                    <a:pt x="313673" y="127913"/>
                  </a:lnTo>
                  <a:lnTo>
                    <a:pt x="305828" y="129442"/>
                  </a:lnTo>
                  <a:lnTo>
                    <a:pt x="294036" y="130972"/>
                  </a:lnTo>
                  <a:lnTo>
                    <a:pt x="290138" y="137090"/>
                  </a:lnTo>
                  <a:lnTo>
                    <a:pt x="286240" y="141679"/>
                  </a:lnTo>
                  <a:lnTo>
                    <a:pt x="288214" y="146218"/>
                  </a:lnTo>
                  <a:lnTo>
                    <a:pt x="288214" y="155445"/>
                  </a:lnTo>
                  <a:lnTo>
                    <a:pt x="284267" y="159984"/>
                  </a:lnTo>
                  <a:lnTo>
                    <a:pt x="286240" y="169161"/>
                  </a:lnTo>
                  <a:lnTo>
                    <a:pt x="278444" y="169161"/>
                  </a:lnTo>
                  <a:lnTo>
                    <a:pt x="278444" y="164572"/>
                  </a:lnTo>
                  <a:lnTo>
                    <a:pt x="268576" y="159984"/>
                  </a:lnTo>
                  <a:lnTo>
                    <a:pt x="262705" y="163043"/>
                  </a:lnTo>
                  <a:lnTo>
                    <a:pt x="258757" y="159984"/>
                  </a:lnTo>
                  <a:lnTo>
                    <a:pt x="245091" y="155445"/>
                  </a:lnTo>
                  <a:lnTo>
                    <a:pt x="235223" y="153915"/>
                  </a:lnTo>
                  <a:lnTo>
                    <a:pt x="225355" y="155445"/>
                  </a:lnTo>
                  <a:lnTo>
                    <a:pt x="203793" y="163043"/>
                  </a:lnTo>
                  <a:lnTo>
                    <a:pt x="201819" y="169161"/>
                  </a:lnTo>
                  <a:lnTo>
                    <a:pt x="191951" y="172220"/>
                  </a:lnTo>
                  <a:lnTo>
                    <a:pt x="186079" y="173750"/>
                  </a:lnTo>
                  <a:lnTo>
                    <a:pt x="168465" y="173750"/>
                  </a:lnTo>
                  <a:lnTo>
                    <a:pt x="160620" y="170691"/>
                  </a:lnTo>
                  <a:lnTo>
                    <a:pt x="152824" y="173750"/>
                  </a:lnTo>
                  <a:lnTo>
                    <a:pt x="146903" y="170691"/>
                  </a:lnTo>
                  <a:lnTo>
                    <a:pt x="137035" y="175280"/>
                  </a:lnTo>
                  <a:lnTo>
                    <a:pt x="125292" y="172220"/>
                  </a:lnTo>
                  <a:lnTo>
                    <a:pt x="121345" y="172220"/>
                  </a:lnTo>
                  <a:lnTo>
                    <a:pt x="115523" y="169161"/>
                  </a:lnTo>
                  <a:lnTo>
                    <a:pt x="107677" y="169161"/>
                  </a:lnTo>
                  <a:lnTo>
                    <a:pt x="99832" y="173750"/>
                  </a:lnTo>
                  <a:lnTo>
                    <a:pt x="95885" y="167632"/>
                  </a:lnTo>
                  <a:lnTo>
                    <a:pt x="97859" y="163043"/>
                  </a:lnTo>
                  <a:lnTo>
                    <a:pt x="97859" y="158454"/>
                  </a:lnTo>
                  <a:lnTo>
                    <a:pt x="93961" y="155445"/>
                  </a:lnTo>
                  <a:lnTo>
                    <a:pt x="82218" y="155445"/>
                  </a:lnTo>
                  <a:lnTo>
                    <a:pt x="80244" y="149326"/>
                  </a:lnTo>
                  <a:lnTo>
                    <a:pt x="80244" y="144787"/>
                  </a:lnTo>
                  <a:lnTo>
                    <a:pt x="88089" y="137139"/>
                  </a:lnTo>
                  <a:lnTo>
                    <a:pt x="74373" y="135610"/>
                  </a:lnTo>
                  <a:lnTo>
                    <a:pt x="68501" y="143258"/>
                  </a:lnTo>
                  <a:lnTo>
                    <a:pt x="62630" y="137139"/>
                  </a:lnTo>
                  <a:lnTo>
                    <a:pt x="54785" y="141728"/>
                  </a:lnTo>
                  <a:lnTo>
                    <a:pt x="52860" y="135610"/>
                  </a:lnTo>
                  <a:lnTo>
                    <a:pt x="39095" y="132551"/>
                  </a:lnTo>
                  <a:lnTo>
                    <a:pt x="37170" y="129492"/>
                  </a:lnTo>
                  <a:lnTo>
                    <a:pt x="41068" y="121893"/>
                  </a:lnTo>
                  <a:lnTo>
                    <a:pt x="33272" y="115775"/>
                  </a:lnTo>
                  <a:lnTo>
                    <a:pt x="23404" y="109706"/>
                  </a:lnTo>
                  <a:lnTo>
                    <a:pt x="21430" y="105117"/>
                  </a:lnTo>
                  <a:lnTo>
                    <a:pt x="9687" y="94411"/>
                  </a:lnTo>
                  <a:lnTo>
                    <a:pt x="7763" y="89822"/>
                  </a:lnTo>
                  <a:lnTo>
                    <a:pt x="-82" y="88292"/>
                  </a:lnTo>
                  <a:lnTo>
                    <a:pt x="7763" y="80694"/>
                  </a:lnTo>
                  <a:lnTo>
                    <a:pt x="13586" y="79164"/>
                  </a:lnTo>
                  <a:lnTo>
                    <a:pt x="15609" y="74625"/>
                  </a:lnTo>
                  <a:lnTo>
                    <a:pt x="27352" y="74625"/>
                  </a:lnTo>
                  <a:lnTo>
                    <a:pt x="33223" y="70036"/>
                  </a:lnTo>
                  <a:lnTo>
                    <a:pt x="33223" y="63968"/>
                  </a:lnTo>
                  <a:lnTo>
                    <a:pt x="44966" y="47142"/>
                  </a:lnTo>
                  <a:lnTo>
                    <a:pt x="54834" y="27406"/>
                  </a:lnTo>
                  <a:lnTo>
                    <a:pt x="60706" y="16700"/>
                  </a:lnTo>
                  <a:lnTo>
                    <a:pt x="68551" y="15170"/>
                  </a:lnTo>
                  <a:lnTo>
                    <a:pt x="72448" y="905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Graphic 2">
              <a:extLst>
                <a:ext uri="{FF2B5EF4-FFF2-40B4-BE49-F238E27FC236}">
                  <a16:creationId xmlns:a16="http://schemas.microsoft.com/office/drawing/2014/main" id="{E1164E22-D9B0-4E88-A564-D8E029371C47}"/>
                </a:ext>
              </a:extLst>
            </p:cNvPr>
            <p:cNvSpPr/>
            <p:nvPr/>
          </p:nvSpPr>
          <p:spPr>
            <a:xfrm>
              <a:off x="5902649" y="3149717"/>
              <a:ext cx="186700" cy="104978"/>
            </a:xfrm>
            <a:custGeom>
              <a:avLst/>
              <a:gdLst>
                <a:gd name="connsiteX0" fmla="*/ 132989 w 205502"/>
                <a:gd name="connsiteY0" fmla="*/ 100233 h 115555"/>
                <a:gd name="connsiteX1" fmla="*/ 140784 w 205502"/>
                <a:gd name="connsiteY1" fmla="*/ 92535 h 115555"/>
                <a:gd name="connsiteX2" fmla="*/ 146706 w 205502"/>
                <a:gd name="connsiteY2" fmla="*/ 91006 h 115555"/>
                <a:gd name="connsiteX3" fmla="*/ 148630 w 205502"/>
                <a:gd name="connsiteY3" fmla="*/ 86368 h 115555"/>
                <a:gd name="connsiteX4" fmla="*/ 160373 w 205502"/>
                <a:gd name="connsiteY4" fmla="*/ 86368 h 115555"/>
                <a:gd name="connsiteX5" fmla="*/ 166195 w 205502"/>
                <a:gd name="connsiteY5" fmla="*/ 81730 h 115555"/>
                <a:gd name="connsiteX6" fmla="*/ 166195 w 205502"/>
                <a:gd name="connsiteY6" fmla="*/ 75563 h 115555"/>
                <a:gd name="connsiteX7" fmla="*/ 177987 w 205502"/>
                <a:gd name="connsiteY7" fmla="*/ 58589 h 115555"/>
                <a:gd name="connsiteX8" fmla="*/ 187855 w 205502"/>
                <a:gd name="connsiteY8" fmla="*/ 38508 h 115555"/>
                <a:gd name="connsiteX9" fmla="*/ 193678 w 205502"/>
                <a:gd name="connsiteY9" fmla="*/ 27752 h 115555"/>
                <a:gd name="connsiteX10" fmla="*/ 201523 w 205502"/>
                <a:gd name="connsiteY10" fmla="*/ 26222 h 115555"/>
                <a:gd name="connsiteX11" fmla="*/ 205421 w 205502"/>
                <a:gd name="connsiteY11" fmla="*/ 20005 h 115555"/>
                <a:gd name="connsiteX12" fmla="*/ 203496 w 205502"/>
                <a:gd name="connsiteY12" fmla="*/ 10779 h 115555"/>
                <a:gd name="connsiteX13" fmla="*/ 193628 w 205502"/>
                <a:gd name="connsiteY13" fmla="*/ 6141 h 115555"/>
                <a:gd name="connsiteX14" fmla="*/ 185832 w 205502"/>
                <a:gd name="connsiteY14" fmla="*/ -27 h 115555"/>
                <a:gd name="connsiteX15" fmla="*/ 175964 w 205502"/>
                <a:gd name="connsiteY15" fmla="*/ 3082 h 115555"/>
                <a:gd name="connsiteX16" fmla="*/ 166096 w 205502"/>
                <a:gd name="connsiteY16" fmla="*/ 1503 h 115555"/>
                <a:gd name="connsiteX17" fmla="*/ 152429 w 205502"/>
                <a:gd name="connsiteY17" fmla="*/ 3082 h 115555"/>
                <a:gd name="connsiteX18" fmla="*/ 142561 w 205502"/>
                <a:gd name="connsiteY18" fmla="*/ -27 h 115555"/>
                <a:gd name="connsiteX19" fmla="*/ 130867 w 205502"/>
                <a:gd name="connsiteY19" fmla="*/ 1503 h 115555"/>
                <a:gd name="connsiteX20" fmla="*/ 124946 w 205502"/>
                <a:gd name="connsiteY20" fmla="*/ 9249 h 115555"/>
                <a:gd name="connsiteX21" fmla="*/ 119420 w 205502"/>
                <a:gd name="connsiteY21" fmla="*/ 13690 h 115555"/>
                <a:gd name="connsiteX22" fmla="*/ 119420 w 205502"/>
                <a:gd name="connsiteY22" fmla="*/ 19857 h 115555"/>
                <a:gd name="connsiteX23" fmla="*/ 107677 w 205502"/>
                <a:gd name="connsiteY23" fmla="*/ 10631 h 115555"/>
                <a:gd name="connsiteX24" fmla="*/ 95984 w 205502"/>
                <a:gd name="connsiteY24" fmla="*/ 19857 h 115555"/>
                <a:gd name="connsiteX25" fmla="*/ 86116 w 205502"/>
                <a:gd name="connsiteY25" fmla="*/ 22966 h 115555"/>
                <a:gd name="connsiteX26" fmla="*/ 86116 w 205502"/>
                <a:gd name="connsiteY26" fmla="*/ 27604 h 115555"/>
                <a:gd name="connsiteX27" fmla="*/ 66379 w 205502"/>
                <a:gd name="connsiteY27" fmla="*/ 29133 h 115555"/>
                <a:gd name="connsiteX28" fmla="*/ 54686 w 205502"/>
                <a:gd name="connsiteY28" fmla="*/ 33722 h 115555"/>
                <a:gd name="connsiteX29" fmla="*/ 40969 w 205502"/>
                <a:gd name="connsiteY29" fmla="*/ 30663 h 115555"/>
                <a:gd name="connsiteX30" fmla="*/ 17483 w 205502"/>
                <a:gd name="connsiteY30" fmla="*/ 19857 h 115555"/>
                <a:gd name="connsiteX31" fmla="*/ 17483 w 205502"/>
                <a:gd name="connsiteY31" fmla="*/ 22966 h 115555"/>
                <a:gd name="connsiteX32" fmla="*/ 19457 w 205502"/>
                <a:gd name="connsiteY32" fmla="*/ 29133 h 115555"/>
                <a:gd name="connsiteX33" fmla="*/ 17483 w 205502"/>
                <a:gd name="connsiteY33" fmla="*/ 35301 h 115555"/>
                <a:gd name="connsiteX34" fmla="*/ 1842 w 205502"/>
                <a:gd name="connsiteY34" fmla="*/ 35301 h 115555"/>
                <a:gd name="connsiteX35" fmla="*/ -82 w 205502"/>
                <a:gd name="connsiteY35" fmla="*/ 38360 h 115555"/>
                <a:gd name="connsiteX36" fmla="*/ 5789 w 205502"/>
                <a:gd name="connsiteY36" fmla="*/ 46106 h 115555"/>
                <a:gd name="connsiteX37" fmla="*/ 3816 w 205502"/>
                <a:gd name="connsiteY37" fmla="*/ 52274 h 115555"/>
                <a:gd name="connsiteX38" fmla="*/ 1842 w 205502"/>
                <a:gd name="connsiteY38" fmla="*/ 58441 h 115555"/>
                <a:gd name="connsiteX39" fmla="*/ 5789 w 205502"/>
                <a:gd name="connsiteY39" fmla="*/ 63079 h 115555"/>
                <a:gd name="connsiteX40" fmla="*/ -82 w 205502"/>
                <a:gd name="connsiteY40" fmla="*/ 69247 h 115555"/>
                <a:gd name="connsiteX41" fmla="*/ -82 w 205502"/>
                <a:gd name="connsiteY41" fmla="*/ 69247 h 115555"/>
                <a:gd name="connsiteX42" fmla="*/ 7763 w 205502"/>
                <a:gd name="connsiteY42" fmla="*/ 80003 h 115555"/>
                <a:gd name="connsiteX43" fmla="*/ 9687 w 205502"/>
                <a:gd name="connsiteY43" fmla="*/ 89279 h 115555"/>
                <a:gd name="connsiteX44" fmla="*/ 17483 w 205502"/>
                <a:gd name="connsiteY44" fmla="*/ 90858 h 115555"/>
                <a:gd name="connsiteX45" fmla="*/ 31200 w 205502"/>
                <a:gd name="connsiteY45" fmla="*/ 103144 h 115555"/>
                <a:gd name="connsiteX46" fmla="*/ 37072 w 205502"/>
                <a:gd name="connsiteY46" fmla="*/ 106252 h 115555"/>
                <a:gd name="connsiteX47" fmla="*/ 42893 w 205502"/>
                <a:gd name="connsiteY47" fmla="*/ 109361 h 115555"/>
                <a:gd name="connsiteX48" fmla="*/ 62630 w 205502"/>
                <a:gd name="connsiteY48" fmla="*/ 112420 h 115555"/>
                <a:gd name="connsiteX49" fmla="*/ 76297 w 205502"/>
                <a:gd name="connsiteY49" fmla="*/ 115528 h 115555"/>
                <a:gd name="connsiteX50" fmla="*/ 80244 w 205502"/>
                <a:gd name="connsiteY50" fmla="*/ 110890 h 115555"/>
                <a:gd name="connsiteX51" fmla="*/ 86066 w 205502"/>
                <a:gd name="connsiteY51" fmla="*/ 112420 h 115555"/>
                <a:gd name="connsiteX52" fmla="*/ 91938 w 205502"/>
                <a:gd name="connsiteY52" fmla="*/ 107782 h 115555"/>
                <a:gd name="connsiteX53" fmla="*/ 99734 w 205502"/>
                <a:gd name="connsiteY53" fmla="*/ 103144 h 115555"/>
                <a:gd name="connsiteX54" fmla="*/ 103681 w 205502"/>
                <a:gd name="connsiteY54" fmla="*/ 104723 h 115555"/>
                <a:gd name="connsiteX55" fmla="*/ 107579 w 205502"/>
                <a:gd name="connsiteY55" fmla="*/ 101614 h 115555"/>
                <a:gd name="connsiteX56" fmla="*/ 117447 w 205502"/>
                <a:gd name="connsiteY56" fmla="*/ 93917 h 115555"/>
                <a:gd name="connsiteX57" fmla="*/ 121394 w 205502"/>
                <a:gd name="connsiteY57" fmla="*/ 95496 h 115555"/>
                <a:gd name="connsiteX58" fmla="*/ 129190 w 205502"/>
                <a:gd name="connsiteY58" fmla="*/ 97026 h 115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05502" h="115555">
                  <a:moveTo>
                    <a:pt x="132989" y="100233"/>
                  </a:moveTo>
                  <a:lnTo>
                    <a:pt x="140784" y="92535"/>
                  </a:lnTo>
                  <a:lnTo>
                    <a:pt x="146706" y="91006"/>
                  </a:lnTo>
                  <a:lnTo>
                    <a:pt x="148630" y="86368"/>
                  </a:lnTo>
                  <a:lnTo>
                    <a:pt x="160373" y="86368"/>
                  </a:lnTo>
                  <a:lnTo>
                    <a:pt x="166195" y="81730"/>
                  </a:lnTo>
                  <a:lnTo>
                    <a:pt x="166195" y="75563"/>
                  </a:lnTo>
                  <a:lnTo>
                    <a:pt x="177987" y="58589"/>
                  </a:lnTo>
                  <a:lnTo>
                    <a:pt x="187855" y="38508"/>
                  </a:lnTo>
                  <a:lnTo>
                    <a:pt x="193678" y="27752"/>
                  </a:lnTo>
                  <a:lnTo>
                    <a:pt x="201523" y="26222"/>
                  </a:lnTo>
                  <a:lnTo>
                    <a:pt x="205421" y="20005"/>
                  </a:lnTo>
                  <a:lnTo>
                    <a:pt x="203496" y="10779"/>
                  </a:lnTo>
                  <a:lnTo>
                    <a:pt x="193628" y="6141"/>
                  </a:lnTo>
                  <a:lnTo>
                    <a:pt x="185832" y="-27"/>
                  </a:lnTo>
                  <a:lnTo>
                    <a:pt x="175964" y="3082"/>
                  </a:lnTo>
                  <a:lnTo>
                    <a:pt x="166096" y="1503"/>
                  </a:lnTo>
                  <a:lnTo>
                    <a:pt x="152429" y="3082"/>
                  </a:lnTo>
                  <a:lnTo>
                    <a:pt x="142561" y="-27"/>
                  </a:lnTo>
                  <a:lnTo>
                    <a:pt x="130867" y="1503"/>
                  </a:lnTo>
                  <a:lnTo>
                    <a:pt x="124946" y="9249"/>
                  </a:lnTo>
                  <a:lnTo>
                    <a:pt x="119420" y="13690"/>
                  </a:lnTo>
                  <a:lnTo>
                    <a:pt x="119420" y="19857"/>
                  </a:lnTo>
                  <a:lnTo>
                    <a:pt x="107677" y="10631"/>
                  </a:lnTo>
                  <a:lnTo>
                    <a:pt x="95984" y="19857"/>
                  </a:lnTo>
                  <a:lnTo>
                    <a:pt x="86116" y="22966"/>
                  </a:lnTo>
                  <a:lnTo>
                    <a:pt x="86116" y="27604"/>
                  </a:lnTo>
                  <a:lnTo>
                    <a:pt x="66379" y="29133"/>
                  </a:lnTo>
                  <a:lnTo>
                    <a:pt x="54686" y="33722"/>
                  </a:lnTo>
                  <a:lnTo>
                    <a:pt x="40969" y="30663"/>
                  </a:lnTo>
                  <a:lnTo>
                    <a:pt x="17483" y="19857"/>
                  </a:lnTo>
                  <a:lnTo>
                    <a:pt x="17483" y="22966"/>
                  </a:lnTo>
                  <a:lnTo>
                    <a:pt x="19457" y="29133"/>
                  </a:lnTo>
                  <a:lnTo>
                    <a:pt x="17483" y="35301"/>
                  </a:lnTo>
                  <a:lnTo>
                    <a:pt x="1842" y="35301"/>
                  </a:lnTo>
                  <a:lnTo>
                    <a:pt x="-82" y="38360"/>
                  </a:lnTo>
                  <a:lnTo>
                    <a:pt x="5789" y="46106"/>
                  </a:lnTo>
                  <a:lnTo>
                    <a:pt x="3816" y="52274"/>
                  </a:lnTo>
                  <a:lnTo>
                    <a:pt x="1842" y="58441"/>
                  </a:lnTo>
                  <a:lnTo>
                    <a:pt x="5789" y="63079"/>
                  </a:lnTo>
                  <a:lnTo>
                    <a:pt x="-82" y="69247"/>
                  </a:lnTo>
                  <a:lnTo>
                    <a:pt x="-82" y="69247"/>
                  </a:lnTo>
                  <a:lnTo>
                    <a:pt x="7763" y="80003"/>
                  </a:lnTo>
                  <a:lnTo>
                    <a:pt x="9687" y="89279"/>
                  </a:lnTo>
                  <a:lnTo>
                    <a:pt x="17483" y="90858"/>
                  </a:lnTo>
                  <a:lnTo>
                    <a:pt x="31200" y="103144"/>
                  </a:lnTo>
                  <a:lnTo>
                    <a:pt x="37072" y="106252"/>
                  </a:lnTo>
                  <a:lnTo>
                    <a:pt x="42893" y="109361"/>
                  </a:lnTo>
                  <a:lnTo>
                    <a:pt x="62630" y="112420"/>
                  </a:lnTo>
                  <a:lnTo>
                    <a:pt x="76297" y="115528"/>
                  </a:lnTo>
                  <a:lnTo>
                    <a:pt x="80244" y="110890"/>
                  </a:lnTo>
                  <a:lnTo>
                    <a:pt x="86066" y="112420"/>
                  </a:lnTo>
                  <a:lnTo>
                    <a:pt x="91938" y="107782"/>
                  </a:lnTo>
                  <a:lnTo>
                    <a:pt x="99734" y="103144"/>
                  </a:lnTo>
                  <a:lnTo>
                    <a:pt x="103681" y="104723"/>
                  </a:lnTo>
                  <a:lnTo>
                    <a:pt x="107579" y="101614"/>
                  </a:lnTo>
                  <a:lnTo>
                    <a:pt x="117447" y="93917"/>
                  </a:lnTo>
                  <a:lnTo>
                    <a:pt x="121394" y="95496"/>
                  </a:lnTo>
                  <a:lnTo>
                    <a:pt x="129190" y="9702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Graphic 2">
              <a:extLst>
                <a:ext uri="{FF2B5EF4-FFF2-40B4-BE49-F238E27FC236}">
                  <a16:creationId xmlns:a16="http://schemas.microsoft.com/office/drawing/2014/main" id="{51647959-C4A4-475E-9584-D31DA230C7CB}"/>
                </a:ext>
              </a:extLst>
            </p:cNvPr>
            <p:cNvSpPr/>
            <p:nvPr/>
          </p:nvSpPr>
          <p:spPr>
            <a:xfrm>
              <a:off x="5916363" y="3119192"/>
              <a:ext cx="163078" cy="61050"/>
            </a:xfrm>
            <a:custGeom>
              <a:avLst/>
              <a:gdLst>
                <a:gd name="connsiteX0" fmla="*/ 1842 w 179500"/>
                <a:gd name="connsiteY0" fmla="*/ 53409 h 67201"/>
                <a:gd name="connsiteX1" fmla="*/ 25180 w 179500"/>
                <a:gd name="connsiteY1" fmla="*/ 64116 h 67201"/>
                <a:gd name="connsiteX2" fmla="*/ 38798 w 179500"/>
                <a:gd name="connsiteY2" fmla="*/ 67175 h 67201"/>
                <a:gd name="connsiteX3" fmla="*/ 50541 w 179500"/>
                <a:gd name="connsiteY3" fmla="*/ 62586 h 67201"/>
                <a:gd name="connsiteX4" fmla="*/ 69982 w 179500"/>
                <a:gd name="connsiteY4" fmla="*/ 61056 h 67201"/>
                <a:gd name="connsiteX5" fmla="*/ 69982 w 179500"/>
                <a:gd name="connsiteY5" fmla="*/ 56468 h 67201"/>
                <a:gd name="connsiteX6" fmla="*/ 79850 w 179500"/>
                <a:gd name="connsiteY6" fmla="*/ 53409 h 67201"/>
                <a:gd name="connsiteX7" fmla="*/ 91544 w 179500"/>
                <a:gd name="connsiteY7" fmla="*/ 44231 h 67201"/>
                <a:gd name="connsiteX8" fmla="*/ 103237 w 179500"/>
                <a:gd name="connsiteY8" fmla="*/ 53409 h 67201"/>
                <a:gd name="connsiteX9" fmla="*/ 103237 w 179500"/>
                <a:gd name="connsiteY9" fmla="*/ 47290 h 67201"/>
                <a:gd name="connsiteX10" fmla="*/ 109108 w 179500"/>
                <a:gd name="connsiteY10" fmla="*/ 42702 h 67201"/>
                <a:gd name="connsiteX11" fmla="*/ 114931 w 179500"/>
                <a:gd name="connsiteY11" fmla="*/ 35103 h 67201"/>
                <a:gd name="connsiteX12" fmla="*/ 126575 w 179500"/>
                <a:gd name="connsiteY12" fmla="*/ 33574 h 67201"/>
                <a:gd name="connsiteX13" fmla="*/ 136443 w 179500"/>
                <a:gd name="connsiteY13" fmla="*/ 36633 h 67201"/>
                <a:gd name="connsiteX14" fmla="*/ 150061 w 179500"/>
                <a:gd name="connsiteY14" fmla="*/ 35103 h 67201"/>
                <a:gd name="connsiteX15" fmla="*/ 159929 w 179500"/>
                <a:gd name="connsiteY15" fmla="*/ 36633 h 67201"/>
                <a:gd name="connsiteX16" fmla="*/ 171623 w 179500"/>
                <a:gd name="connsiteY16" fmla="*/ 32044 h 67201"/>
                <a:gd name="connsiteX17" fmla="*/ 173547 w 179500"/>
                <a:gd name="connsiteY17" fmla="*/ 21387 h 67201"/>
                <a:gd name="connsiteX18" fmla="*/ 179418 w 179500"/>
                <a:gd name="connsiteY18" fmla="*/ 7621 h 67201"/>
                <a:gd name="connsiteX19" fmla="*/ 179418 w 179500"/>
                <a:gd name="connsiteY19" fmla="*/ 7621 h 67201"/>
                <a:gd name="connsiteX20" fmla="*/ 163876 w 179500"/>
                <a:gd name="connsiteY20" fmla="*/ 1503 h 67201"/>
                <a:gd name="connsiteX21" fmla="*/ 150209 w 179500"/>
                <a:gd name="connsiteY21" fmla="*/ -27 h 67201"/>
                <a:gd name="connsiteX22" fmla="*/ 146311 w 179500"/>
                <a:gd name="connsiteY22" fmla="*/ 1503 h 67201"/>
                <a:gd name="connsiteX23" fmla="*/ 140489 w 179500"/>
                <a:gd name="connsiteY23" fmla="*/ -27 h 67201"/>
                <a:gd name="connsiteX24" fmla="*/ 132693 w 179500"/>
                <a:gd name="connsiteY24" fmla="*/ -27 h 67201"/>
                <a:gd name="connsiteX25" fmla="*/ 128795 w 179500"/>
                <a:gd name="connsiteY25" fmla="*/ 4562 h 67201"/>
                <a:gd name="connsiteX26" fmla="*/ 124898 w 179500"/>
                <a:gd name="connsiteY26" fmla="*/ 1503 h 67201"/>
                <a:gd name="connsiteX27" fmla="*/ 111280 w 179500"/>
                <a:gd name="connsiteY27" fmla="*/ 1503 h 67201"/>
                <a:gd name="connsiteX28" fmla="*/ 105408 w 179500"/>
                <a:gd name="connsiteY28" fmla="*/ 3032 h 67201"/>
                <a:gd name="connsiteX29" fmla="*/ 101559 w 179500"/>
                <a:gd name="connsiteY29" fmla="*/ 7621 h 67201"/>
                <a:gd name="connsiteX30" fmla="*/ 91691 w 179500"/>
                <a:gd name="connsiteY30" fmla="*/ 7621 h 67201"/>
                <a:gd name="connsiteX31" fmla="*/ 76149 w 179500"/>
                <a:gd name="connsiteY31" fmla="*/ 6091 h 67201"/>
                <a:gd name="connsiteX32" fmla="*/ 68353 w 179500"/>
                <a:gd name="connsiteY32" fmla="*/ 12210 h 67201"/>
                <a:gd name="connsiteX33" fmla="*/ 58485 w 179500"/>
                <a:gd name="connsiteY33" fmla="*/ 12210 h 67201"/>
                <a:gd name="connsiteX34" fmla="*/ 48617 w 179500"/>
                <a:gd name="connsiteY34" fmla="*/ 21387 h 67201"/>
                <a:gd name="connsiteX35" fmla="*/ 36923 w 179500"/>
                <a:gd name="connsiteY35" fmla="*/ 22916 h 67201"/>
                <a:gd name="connsiteX36" fmla="*/ 21381 w 179500"/>
                <a:gd name="connsiteY36" fmla="*/ 27456 h 67201"/>
                <a:gd name="connsiteX37" fmla="*/ 17484 w 179500"/>
                <a:gd name="connsiteY37" fmla="*/ 24446 h 67201"/>
                <a:gd name="connsiteX38" fmla="*/ 9687 w 179500"/>
                <a:gd name="connsiteY38" fmla="*/ 24446 h 67201"/>
                <a:gd name="connsiteX39" fmla="*/ 1892 w 179500"/>
                <a:gd name="connsiteY39" fmla="*/ 30515 h 67201"/>
                <a:gd name="connsiteX40" fmla="*/ -82 w 179500"/>
                <a:gd name="connsiteY40" fmla="*/ 30515 h 67201"/>
                <a:gd name="connsiteX41" fmla="*/ -82 w 179500"/>
                <a:gd name="connsiteY41" fmla="*/ 39692 h 6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9500" h="67201">
                  <a:moveTo>
                    <a:pt x="1842" y="53409"/>
                  </a:moveTo>
                  <a:lnTo>
                    <a:pt x="25180" y="64116"/>
                  </a:lnTo>
                  <a:lnTo>
                    <a:pt x="38798" y="67175"/>
                  </a:lnTo>
                  <a:lnTo>
                    <a:pt x="50541" y="62586"/>
                  </a:lnTo>
                  <a:lnTo>
                    <a:pt x="69982" y="61056"/>
                  </a:lnTo>
                  <a:lnTo>
                    <a:pt x="69982" y="56468"/>
                  </a:lnTo>
                  <a:lnTo>
                    <a:pt x="79850" y="53409"/>
                  </a:lnTo>
                  <a:lnTo>
                    <a:pt x="91544" y="44231"/>
                  </a:lnTo>
                  <a:lnTo>
                    <a:pt x="103237" y="53409"/>
                  </a:lnTo>
                  <a:lnTo>
                    <a:pt x="103237" y="47290"/>
                  </a:lnTo>
                  <a:lnTo>
                    <a:pt x="109108" y="42702"/>
                  </a:lnTo>
                  <a:lnTo>
                    <a:pt x="114931" y="35103"/>
                  </a:lnTo>
                  <a:lnTo>
                    <a:pt x="126575" y="33574"/>
                  </a:lnTo>
                  <a:lnTo>
                    <a:pt x="136443" y="36633"/>
                  </a:lnTo>
                  <a:lnTo>
                    <a:pt x="150061" y="35103"/>
                  </a:lnTo>
                  <a:lnTo>
                    <a:pt x="159929" y="36633"/>
                  </a:lnTo>
                  <a:lnTo>
                    <a:pt x="171623" y="32044"/>
                  </a:lnTo>
                  <a:lnTo>
                    <a:pt x="173547" y="21387"/>
                  </a:lnTo>
                  <a:lnTo>
                    <a:pt x="179418" y="7621"/>
                  </a:lnTo>
                  <a:lnTo>
                    <a:pt x="179418" y="7621"/>
                  </a:lnTo>
                  <a:lnTo>
                    <a:pt x="163876" y="1503"/>
                  </a:lnTo>
                  <a:lnTo>
                    <a:pt x="150209" y="-27"/>
                  </a:lnTo>
                  <a:lnTo>
                    <a:pt x="146311" y="1503"/>
                  </a:lnTo>
                  <a:lnTo>
                    <a:pt x="140489" y="-27"/>
                  </a:lnTo>
                  <a:lnTo>
                    <a:pt x="132693" y="-27"/>
                  </a:lnTo>
                  <a:lnTo>
                    <a:pt x="128795" y="4562"/>
                  </a:lnTo>
                  <a:lnTo>
                    <a:pt x="124898" y="1503"/>
                  </a:lnTo>
                  <a:lnTo>
                    <a:pt x="111280" y="1503"/>
                  </a:lnTo>
                  <a:lnTo>
                    <a:pt x="105408" y="3032"/>
                  </a:lnTo>
                  <a:lnTo>
                    <a:pt x="101559" y="7621"/>
                  </a:lnTo>
                  <a:lnTo>
                    <a:pt x="91691" y="7621"/>
                  </a:lnTo>
                  <a:lnTo>
                    <a:pt x="76149" y="6091"/>
                  </a:lnTo>
                  <a:lnTo>
                    <a:pt x="68353" y="12210"/>
                  </a:lnTo>
                  <a:lnTo>
                    <a:pt x="58485" y="12210"/>
                  </a:lnTo>
                  <a:lnTo>
                    <a:pt x="48617" y="21387"/>
                  </a:lnTo>
                  <a:lnTo>
                    <a:pt x="36923" y="22916"/>
                  </a:lnTo>
                  <a:lnTo>
                    <a:pt x="21381" y="27456"/>
                  </a:lnTo>
                  <a:lnTo>
                    <a:pt x="17484" y="24446"/>
                  </a:lnTo>
                  <a:lnTo>
                    <a:pt x="9687" y="24446"/>
                  </a:lnTo>
                  <a:lnTo>
                    <a:pt x="1892" y="30515"/>
                  </a:lnTo>
                  <a:lnTo>
                    <a:pt x="-82" y="30515"/>
                  </a:lnTo>
                  <a:lnTo>
                    <a:pt x="-82" y="3969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Graphic 2">
              <a:extLst>
                <a:ext uri="{FF2B5EF4-FFF2-40B4-BE49-F238E27FC236}">
                  <a16:creationId xmlns:a16="http://schemas.microsoft.com/office/drawing/2014/main" id="{94F7F58B-EE42-4FD6-866B-6B946AEB8DC5}"/>
                </a:ext>
              </a:extLst>
            </p:cNvPr>
            <p:cNvSpPr/>
            <p:nvPr/>
          </p:nvSpPr>
          <p:spPr>
            <a:xfrm>
              <a:off x="6095716" y="3298895"/>
              <a:ext cx="190645" cy="105335"/>
            </a:xfrm>
            <a:custGeom>
              <a:avLst/>
              <a:gdLst>
                <a:gd name="connsiteX0" fmla="*/ 4211 w 209844"/>
                <a:gd name="connsiteY0" fmla="*/ 1503 h 115949"/>
                <a:gd name="connsiteX1" fmla="*/ 15904 w 209844"/>
                <a:gd name="connsiteY1" fmla="*/ 1503 h 115949"/>
                <a:gd name="connsiteX2" fmla="*/ 19802 w 209844"/>
                <a:gd name="connsiteY2" fmla="*/ 4611 h 115949"/>
                <a:gd name="connsiteX3" fmla="*/ 19802 w 209844"/>
                <a:gd name="connsiteY3" fmla="*/ 9249 h 115949"/>
                <a:gd name="connsiteX4" fmla="*/ 17829 w 209844"/>
                <a:gd name="connsiteY4" fmla="*/ 13838 h 115949"/>
                <a:gd name="connsiteX5" fmla="*/ 21776 w 209844"/>
                <a:gd name="connsiteY5" fmla="*/ 20005 h 115949"/>
                <a:gd name="connsiteX6" fmla="*/ 29572 w 209844"/>
                <a:gd name="connsiteY6" fmla="*/ 15367 h 115949"/>
                <a:gd name="connsiteX7" fmla="*/ 37367 w 209844"/>
                <a:gd name="connsiteY7" fmla="*/ 15367 h 115949"/>
                <a:gd name="connsiteX8" fmla="*/ 43239 w 209844"/>
                <a:gd name="connsiteY8" fmla="*/ 18476 h 115949"/>
                <a:gd name="connsiteX9" fmla="*/ 47137 w 209844"/>
                <a:gd name="connsiteY9" fmla="*/ 18476 h 115949"/>
                <a:gd name="connsiteX10" fmla="*/ 58880 w 209844"/>
                <a:gd name="connsiteY10" fmla="*/ 21584 h 115949"/>
                <a:gd name="connsiteX11" fmla="*/ 68748 w 209844"/>
                <a:gd name="connsiteY11" fmla="*/ 16946 h 115949"/>
                <a:gd name="connsiteX12" fmla="*/ 74620 w 209844"/>
                <a:gd name="connsiteY12" fmla="*/ 20005 h 115949"/>
                <a:gd name="connsiteX13" fmla="*/ 82415 w 209844"/>
                <a:gd name="connsiteY13" fmla="*/ 16946 h 115949"/>
                <a:gd name="connsiteX14" fmla="*/ 90211 w 209844"/>
                <a:gd name="connsiteY14" fmla="*/ 20005 h 115949"/>
                <a:gd name="connsiteX15" fmla="*/ 107776 w 209844"/>
                <a:gd name="connsiteY15" fmla="*/ 20005 h 115949"/>
                <a:gd name="connsiteX16" fmla="*/ 113648 w 209844"/>
                <a:gd name="connsiteY16" fmla="*/ 18476 h 115949"/>
                <a:gd name="connsiteX17" fmla="*/ 123516 w 209844"/>
                <a:gd name="connsiteY17" fmla="*/ 15367 h 115949"/>
                <a:gd name="connsiteX18" fmla="*/ 125490 w 209844"/>
                <a:gd name="connsiteY18" fmla="*/ 9249 h 115949"/>
                <a:gd name="connsiteX19" fmla="*/ 146953 w 209844"/>
                <a:gd name="connsiteY19" fmla="*/ 1503 h 115949"/>
                <a:gd name="connsiteX20" fmla="*/ 156821 w 209844"/>
                <a:gd name="connsiteY20" fmla="*/ -27 h 115949"/>
                <a:gd name="connsiteX21" fmla="*/ 166689 w 209844"/>
                <a:gd name="connsiteY21" fmla="*/ 1503 h 115949"/>
                <a:gd name="connsiteX22" fmla="*/ 180356 w 209844"/>
                <a:gd name="connsiteY22" fmla="*/ 6141 h 115949"/>
                <a:gd name="connsiteX23" fmla="*/ 184303 w 209844"/>
                <a:gd name="connsiteY23" fmla="*/ 9249 h 115949"/>
                <a:gd name="connsiteX24" fmla="*/ 190125 w 209844"/>
                <a:gd name="connsiteY24" fmla="*/ 6141 h 115949"/>
                <a:gd name="connsiteX25" fmla="*/ 199994 w 209844"/>
                <a:gd name="connsiteY25" fmla="*/ 10779 h 115949"/>
                <a:gd name="connsiteX26" fmla="*/ 199994 w 209844"/>
                <a:gd name="connsiteY26" fmla="*/ 15367 h 115949"/>
                <a:gd name="connsiteX27" fmla="*/ 207838 w 209844"/>
                <a:gd name="connsiteY27" fmla="*/ 15367 h 115949"/>
                <a:gd name="connsiteX28" fmla="*/ 209763 w 209844"/>
                <a:gd name="connsiteY28" fmla="*/ 16946 h 115949"/>
                <a:gd name="connsiteX29" fmla="*/ 207838 w 209844"/>
                <a:gd name="connsiteY29" fmla="*/ 27752 h 115949"/>
                <a:gd name="connsiteX30" fmla="*/ 203891 w 209844"/>
                <a:gd name="connsiteY30" fmla="*/ 30811 h 115949"/>
                <a:gd name="connsiteX31" fmla="*/ 198020 w 209844"/>
                <a:gd name="connsiteY31" fmla="*/ 30811 h 115949"/>
                <a:gd name="connsiteX32" fmla="*/ 188152 w 209844"/>
                <a:gd name="connsiteY32" fmla="*/ 36978 h 115949"/>
                <a:gd name="connsiteX33" fmla="*/ 190125 w 209844"/>
                <a:gd name="connsiteY33" fmla="*/ 52422 h 115949"/>
                <a:gd name="connsiteX34" fmla="*/ 188152 w 209844"/>
                <a:gd name="connsiteY34" fmla="*/ 58589 h 115949"/>
                <a:gd name="connsiteX35" fmla="*/ 176458 w 209844"/>
                <a:gd name="connsiteY35" fmla="*/ 64757 h 115949"/>
                <a:gd name="connsiteX36" fmla="*/ 176458 w 209844"/>
                <a:gd name="connsiteY36" fmla="*/ 69395 h 115949"/>
                <a:gd name="connsiteX37" fmla="*/ 184303 w 209844"/>
                <a:gd name="connsiteY37" fmla="*/ 69395 h 115949"/>
                <a:gd name="connsiteX38" fmla="*/ 192099 w 209844"/>
                <a:gd name="connsiteY38" fmla="*/ 78622 h 115949"/>
                <a:gd name="connsiteX39" fmla="*/ 195997 w 209844"/>
                <a:gd name="connsiteY39" fmla="*/ 84789 h 115949"/>
                <a:gd name="connsiteX40" fmla="*/ 195997 w 209844"/>
                <a:gd name="connsiteY40" fmla="*/ 86319 h 115949"/>
                <a:gd name="connsiteX41" fmla="*/ 188152 w 209844"/>
                <a:gd name="connsiteY41" fmla="*/ 84740 h 115949"/>
                <a:gd name="connsiteX42" fmla="*/ 184303 w 209844"/>
                <a:gd name="connsiteY42" fmla="*/ 87848 h 115949"/>
                <a:gd name="connsiteX43" fmla="*/ 172560 w 209844"/>
                <a:gd name="connsiteY43" fmla="*/ 81681 h 115949"/>
                <a:gd name="connsiteX44" fmla="*/ 162692 w 209844"/>
                <a:gd name="connsiteY44" fmla="*/ 81681 h 115949"/>
                <a:gd name="connsiteX45" fmla="*/ 158745 w 209844"/>
                <a:gd name="connsiteY45" fmla="*/ 84740 h 115949"/>
                <a:gd name="connsiteX46" fmla="*/ 152923 w 209844"/>
                <a:gd name="connsiteY46" fmla="*/ 84740 h 115949"/>
                <a:gd name="connsiteX47" fmla="*/ 148679 w 209844"/>
                <a:gd name="connsiteY47" fmla="*/ 91253 h 115949"/>
                <a:gd name="connsiteX48" fmla="*/ 142808 w 209844"/>
                <a:gd name="connsiteY48" fmla="*/ 91253 h 115949"/>
                <a:gd name="connsiteX49" fmla="*/ 132940 w 209844"/>
                <a:gd name="connsiteY49" fmla="*/ 97420 h 115949"/>
                <a:gd name="connsiteX50" fmla="*/ 132940 w 209844"/>
                <a:gd name="connsiteY50" fmla="*/ 105117 h 115949"/>
                <a:gd name="connsiteX51" fmla="*/ 136887 w 209844"/>
                <a:gd name="connsiteY51" fmla="*/ 109755 h 115949"/>
                <a:gd name="connsiteX52" fmla="*/ 131016 w 209844"/>
                <a:gd name="connsiteY52" fmla="*/ 112814 h 115949"/>
                <a:gd name="connsiteX53" fmla="*/ 117299 w 209844"/>
                <a:gd name="connsiteY53" fmla="*/ 112814 h 115949"/>
                <a:gd name="connsiteX54" fmla="*/ 111427 w 209844"/>
                <a:gd name="connsiteY54" fmla="*/ 114393 h 115949"/>
                <a:gd name="connsiteX55" fmla="*/ 103632 w 209844"/>
                <a:gd name="connsiteY55" fmla="*/ 111285 h 115949"/>
                <a:gd name="connsiteX56" fmla="*/ 95836 w 209844"/>
                <a:gd name="connsiteY56" fmla="*/ 111285 h 115949"/>
                <a:gd name="connsiteX57" fmla="*/ 91938 w 209844"/>
                <a:gd name="connsiteY57" fmla="*/ 115923 h 115949"/>
                <a:gd name="connsiteX58" fmla="*/ 86067 w 209844"/>
                <a:gd name="connsiteY58" fmla="*/ 114393 h 115949"/>
                <a:gd name="connsiteX59" fmla="*/ 84093 w 209844"/>
                <a:gd name="connsiteY59" fmla="*/ 109755 h 115949"/>
                <a:gd name="connsiteX60" fmla="*/ 74225 w 209844"/>
                <a:gd name="connsiteY60" fmla="*/ 109755 h 115949"/>
                <a:gd name="connsiteX61" fmla="*/ 64357 w 209844"/>
                <a:gd name="connsiteY61" fmla="*/ 108176 h 115949"/>
                <a:gd name="connsiteX62" fmla="*/ 58535 w 209844"/>
                <a:gd name="connsiteY62" fmla="*/ 114393 h 115949"/>
                <a:gd name="connsiteX63" fmla="*/ 50739 w 209844"/>
                <a:gd name="connsiteY63" fmla="*/ 115923 h 115949"/>
                <a:gd name="connsiteX64" fmla="*/ 37022 w 209844"/>
                <a:gd name="connsiteY64" fmla="*/ 115923 h 115949"/>
                <a:gd name="connsiteX65" fmla="*/ 35098 w 209844"/>
                <a:gd name="connsiteY65" fmla="*/ 114393 h 115949"/>
                <a:gd name="connsiteX66" fmla="*/ 33124 w 209844"/>
                <a:gd name="connsiteY66" fmla="*/ 114393 h 115949"/>
                <a:gd name="connsiteX67" fmla="*/ 33124 w 209844"/>
                <a:gd name="connsiteY67" fmla="*/ 108176 h 115949"/>
                <a:gd name="connsiteX68" fmla="*/ 31151 w 209844"/>
                <a:gd name="connsiteY68" fmla="*/ 100479 h 115949"/>
                <a:gd name="connsiteX69" fmla="*/ 23355 w 209844"/>
                <a:gd name="connsiteY69" fmla="*/ 85036 h 115949"/>
                <a:gd name="connsiteX70" fmla="*/ 9687 w 209844"/>
                <a:gd name="connsiteY70" fmla="*/ 75809 h 115949"/>
                <a:gd name="connsiteX71" fmla="*/ 9687 w 209844"/>
                <a:gd name="connsiteY71" fmla="*/ 75809 h 115949"/>
                <a:gd name="connsiteX72" fmla="*/ 11661 w 209844"/>
                <a:gd name="connsiteY72" fmla="*/ 71171 h 115949"/>
                <a:gd name="connsiteX73" fmla="*/ 5790 w 209844"/>
                <a:gd name="connsiteY73" fmla="*/ 63474 h 115949"/>
                <a:gd name="connsiteX74" fmla="*/ 3866 w 209844"/>
                <a:gd name="connsiteY74" fmla="*/ 58836 h 115949"/>
                <a:gd name="connsiteX75" fmla="*/ 17484 w 209844"/>
                <a:gd name="connsiteY75" fmla="*/ 49609 h 115949"/>
                <a:gd name="connsiteX76" fmla="*/ 21430 w 209844"/>
                <a:gd name="connsiteY76" fmla="*/ 43393 h 115949"/>
                <a:gd name="connsiteX77" fmla="*/ 15559 w 209844"/>
                <a:gd name="connsiteY77" fmla="*/ 34117 h 115949"/>
                <a:gd name="connsiteX78" fmla="*/ 3866 w 209844"/>
                <a:gd name="connsiteY78" fmla="*/ 24890 h 115949"/>
                <a:gd name="connsiteX79" fmla="*/ -82 w 209844"/>
                <a:gd name="connsiteY79" fmla="*/ 11025 h 115949"/>
                <a:gd name="connsiteX80" fmla="*/ 5790 w 209844"/>
                <a:gd name="connsiteY80" fmla="*/ 6387 h 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209844" h="115949">
                  <a:moveTo>
                    <a:pt x="4211" y="1503"/>
                  </a:moveTo>
                  <a:lnTo>
                    <a:pt x="15904" y="1503"/>
                  </a:lnTo>
                  <a:lnTo>
                    <a:pt x="19802" y="4611"/>
                  </a:lnTo>
                  <a:lnTo>
                    <a:pt x="19802" y="9249"/>
                  </a:lnTo>
                  <a:lnTo>
                    <a:pt x="17829" y="13838"/>
                  </a:lnTo>
                  <a:lnTo>
                    <a:pt x="21776" y="20005"/>
                  </a:lnTo>
                  <a:lnTo>
                    <a:pt x="29572" y="15367"/>
                  </a:lnTo>
                  <a:lnTo>
                    <a:pt x="37367" y="15367"/>
                  </a:lnTo>
                  <a:lnTo>
                    <a:pt x="43239" y="18476"/>
                  </a:lnTo>
                  <a:lnTo>
                    <a:pt x="47137" y="18476"/>
                  </a:lnTo>
                  <a:lnTo>
                    <a:pt x="58880" y="21584"/>
                  </a:lnTo>
                  <a:lnTo>
                    <a:pt x="68748" y="16946"/>
                  </a:lnTo>
                  <a:lnTo>
                    <a:pt x="74620" y="20005"/>
                  </a:lnTo>
                  <a:lnTo>
                    <a:pt x="82415" y="16946"/>
                  </a:lnTo>
                  <a:lnTo>
                    <a:pt x="90211" y="20005"/>
                  </a:lnTo>
                  <a:lnTo>
                    <a:pt x="107776" y="20005"/>
                  </a:lnTo>
                  <a:lnTo>
                    <a:pt x="113648" y="18476"/>
                  </a:lnTo>
                  <a:lnTo>
                    <a:pt x="123516" y="15367"/>
                  </a:lnTo>
                  <a:lnTo>
                    <a:pt x="125490" y="9249"/>
                  </a:lnTo>
                  <a:lnTo>
                    <a:pt x="146953" y="1503"/>
                  </a:lnTo>
                  <a:lnTo>
                    <a:pt x="156821" y="-27"/>
                  </a:lnTo>
                  <a:lnTo>
                    <a:pt x="166689" y="1503"/>
                  </a:lnTo>
                  <a:lnTo>
                    <a:pt x="180356" y="6141"/>
                  </a:lnTo>
                  <a:lnTo>
                    <a:pt x="184303" y="9249"/>
                  </a:lnTo>
                  <a:lnTo>
                    <a:pt x="190125" y="6141"/>
                  </a:lnTo>
                  <a:lnTo>
                    <a:pt x="199994" y="10779"/>
                  </a:lnTo>
                  <a:lnTo>
                    <a:pt x="199994" y="15367"/>
                  </a:lnTo>
                  <a:lnTo>
                    <a:pt x="207838" y="15367"/>
                  </a:lnTo>
                  <a:lnTo>
                    <a:pt x="209763" y="16946"/>
                  </a:lnTo>
                  <a:lnTo>
                    <a:pt x="207838" y="27752"/>
                  </a:lnTo>
                  <a:lnTo>
                    <a:pt x="203891" y="30811"/>
                  </a:lnTo>
                  <a:lnTo>
                    <a:pt x="198020" y="30811"/>
                  </a:lnTo>
                  <a:lnTo>
                    <a:pt x="188152" y="36978"/>
                  </a:lnTo>
                  <a:lnTo>
                    <a:pt x="190125" y="52422"/>
                  </a:lnTo>
                  <a:lnTo>
                    <a:pt x="188152" y="58589"/>
                  </a:lnTo>
                  <a:lnTo>
                    <a:pt x="176458" y="64757"/>
                  </a:lnTo>
                  <a:lnTo>
                    <a:pt x="176458" y="69395"/>
                  </a:lnTo>
                  <a:lnTo>
                    <a:pt x="184303" y="69395"/>
                  </a:lnTo>
                  <a:lnTo>
                    <a:pt x="192099" y="78622"/>
                  </a:lnTo>
                  <a:lnTo>
                    <a:pt x="195997" y="84789"/>
                  </a:lnTo>
                  <a:lnTo>
                    <a:pt x="195997" y="86319"/>
                  </a:lnTo>
                  <a:lnTo>
                    <a:pt x="188152" y="84740"/>
                  </a:lnTo>
                  <a:lnTo>
                    <a:pt x="184303" y="87848"/>
                  </a:lnTo>
                  <a:lnTo>
                    <a:pt x="172560" y="81681"/>
                  </a:lnTo>
                  <a:lnTo>
                    <a:pt x="162692" y="81681"/>
                  </a:lnTo>
                  <a:lnTo>
                    <a:pt x="158745" y="84740"/>
                  </a:lnTo>
                  <a:lnTo>
                    <a:pt x="152923" y="84740"/>
                  </a:lnTo>
                  <a:lnTo>
                    <a:pt x="148679" y="91253"/>
                  </a:lnTo>
                  <a:lnTo>
                    <a:pt x="142808" y="91253"/>
                  </a:lnTo>
                  <a:lnTo>
                    <a:pt x="132940" y="97420"/>
                  </a:lnTo>
                  <a:lnTo>
                    <a:pt x="132940" y="105117"/>
                  </a:lnTo>
                  <a:lnTo>
                    <a:pt x="136887" y="109755"/>
                  </a:lnTo>
                  <a:lnTo>
                    <a:pt x="131016" y="112814"/>
                  </a:lnTo>
                  <a:lnTo>
                    <a:pt x="117299" y="112814"/>
                  </a:lnTo>
                  <a:lnTo>
                    <a:pt x="111427" y="114393"/>
                  </a:lnTo>
                  <a:lnTo>
                    <a:pt x="103632" y="111285"/>
                  </a:lnTo>
                  <a:lnTo>
                    <a:pt x="95836" y="111285"/>
                  </a:lnTo>
                  <a:lnTo>
                    <a:pt x="91938" y="115923"/>
                  </a:lnTo>
                  <a:lnTo>
                    <a:pt x="86067" y="114393"/>
                  </a:lnTo>
                  <a:lnTo>
                    <a:pt x="84093" y="109755"/>
                  </a:lnTo>
                  <a:lnTo>
                    <a:pt x="74225" y="109755"/>
                  </a:lnTo>
                  <a:lnTo>
                    <a:pt x="64357" y="108176"/>
                  </a:lnTo>
                  <a:lnTo>
                    <a:pt x="58535" y="114393"/>
                  </a:lnTo>
                  <a:lnTo>
                    <a:pt x="50739" y="115923"/>
                  </a:lnTo>
                  <a:lnTo>
                    <a:pt x="37022" y="115923"/>
                  </a:lnTo>
                  <a:lnTo>
                    <a:pt x="35098" y="114393"/>
                  </a:lnTo>
                  <a:lnTo>
                    <a:pt x="33124" y="114393"/>
                  </a:lnTo>
                  <a:lnTo>
                    <a:pt x="33124" y="108176"/>
                  </a:lnTo>
                  <a:lnTo>
                    <a:pt x="31151" y="100479"/>
                  </a:lnTo>
                  <a:lnTo>
                    <a:pt x="23355" y="85036"/>
                  </a:lnTo>
                  <a:lnTo>
                    <a:pt x="9687" y="75809"/>
                  </a:lnTo>
                  <a:lnTo>
                    <a:pt x="9687" y="75809"/>
                  </a:lnTo>
                  <a:lnTo>
                    <a:pt x="11661" y="71171"/>
                  </a:lnTo>
                  <a:lnTo>
                    <a:pt x="5790" y="63474"/>
                  </a:lnTo>
                  <a:lnTo>
                    <a:pt x="3866" y="58836"/>
                  </a:lnTo>
                  <a:lnTo>
                    <a:pt x="17484" y="49609"/>
                  </a:lnTo>
                  <a:lnTo>
                    <a:pt x="21430" y="43393"/>
                  </a:lnTo>
                  <a:lnTo>
                    <a:pt x="15559" y="34117"/>
                  </a:lnTo>
                  <a:lnTo>
                    <a:pt x="3866" y="24890"/>
                  </a:lnTo>
                  <a:lnTo>
                    <a:pt x="-82" y="11025"/>
                  </a:lnTo>
                  <a:lnTo>
                    <a:pt x="5790" y="638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Graphic 2">
              <a:extLst>
                <a:ext uri="{FF2B5EF4-FFF2-40B4-BE49-F238E27FC236}">
                  <a16:creationId xmlns:a16="http://schemas.microsoft.com/office/drawing/2014/main" id="{2664A18F-B2CE-4C8D-BB2C-46F71B181A3B}"/>
                </a:ext>
              </a:extLst>
            </p:cNvPr>
            <p:cNvSpPr/>
            <p:nvPr/>
          </p:nvSpPr>
          <p:spPr>
            <a:xfrm>
              <a:off x="6045286" y="3366713"/>
              <a:ext cx="81269" cy="57645"/>
            </a:xfrm>
            <a:custGeom>
              <a:avLst/>
              <a:gdLst>
                <a:gd name="connsiteX0" fmla="*/ 65492 w 89454"/>
                <a:gd name="connsiteY0" fmla="*/ -27 h 63451"/>
                <a:gd name="connsiteX1" fmla="*/ 79405 w 89454"/>
                <a:gd name="connsiteY1" fmla="*/ 9249 h 63451"/>
                <a:gd name="connsiteX2" fmla="*/ 87398 w 89454"/>
                <a:gd name="connsiteY2" fmla="*/ 24693 h 63451"/>
                <a:gd name="connsiteX3" fmla="*/ 89372 w 89454"/>
                <a:gd name="connsiteY3" fmla="*/ 32439 h 63451"/>
                <a:gd name="connsiteX4" fmla="*/ 89372 w 89454"/>
                <a:gd name="connsiteY4" fmla="*/ 38656 h 63451"/>
                <a:gd name="connsiteX5" fmla="*/ 85376 w 89454"/>
                <a:gd name="connsiteY5" fmla="*/ 41764 h 63451"/>
                <a:gd name="connsiteX6" fmla="*/ 79405 w 89454"/>
                <a:gd name="connsiteY6" fmla="*/ 41764 h 63451"/>
                <a:gd name="connsiteX7" fmla="*/ 71462 w 89454"/>
                <a:gd name="connsiteY7" fmla="*/ 47932 h 63451"/>
                <a:gd name="connsiteX8" fmla="*/ 53551 w 89454"/>
                <a:gd name="connsiteY8" fmla="*/ 46402 h 63451"/>
                <a:gd name="connsiteX9" fmla="*/ 45607 w 89454"/>
                <a:gd name="connsiteY9" fmla="*/ 50991 h 63451"/>
                <a:gd name="connsiteX10" fmla="*/ 45607 w 89454"/>
                <a:gd name="connsiteY10" fmla="*/ 52570 h 63451"/>
                <a:gd name="connsiteX11" fmla="*/ 35739 w 89454"/>
                <a:gd name="connsiteY11" fmla="*/ 55678 h 63451"/>
                <a:gd name="connsiteX12" fmla="*/ 19802 w 89454"/>
                <a:gd name="connsiteY12" fmla="*/ 63425 h 63451"/>
                <a:gd name="connsiteX13" fmla="*/ 19802 w 89454"/>
                <a:gd name="connsiteY13" fmla="*/ 63425 h 63451"/>
                <a:gd name="connsiteX14" fmla="*/ 11859 w 89454"/>
                <a:gd name="connsiteY14" fmla="*/ 58787 h 63451"/>
                <a:gd name="connsiteX15" fmla="*/ 7862 w 89454"/>
                <a:gd name="connsiteY15" fmla="*/ 52570 h 63451"/>
                <a:gd name="connsiteX16" fmla="*/ 3915 w 89454"/>
                <a:gd name="connsiteY16" fmla="*/ 43294 h 63451"/>
                <a:gd name="connsiteX17" fmla="*/ -82 w 89454"/>
                <a:gd name="connsiteY17" fmla="*/ 30910 h 63451"/>
                <a:gd name="connsiteX18" fmla="*/ 1892 w 89454"/>
                <a:gd name="connsiteY18" fmla="*/ 21584 h 63451"/>
                <a:gd name="connsiteX19" fmla="*/ 3915 w 89454"/>
                <a:gd name="connsiteY19" fmla="*/ 21584 h 63451"/>
                <a:gd name="connsiteX20" fmla="*/ 5889 w 89454"/>
                <a:gd name="connsiteY20" fmla="*/ 20055 h 63451"/>
                <a:gd name="connsiteX21" fmla="*/ 5889 w 89454"/>
                <a:gd name="connsiteY21" fmla="*/ 13887 h 63451"/>
                <a:gd name="connsiteX22" fmla="*/ 13832 w 89454"/>
                <a:gd name="connsiteY22" fmla="*/ 9249 h 63451"/>
                <a:gd name="connsiteX23" fmla="*/ 19802 w 89454"/>
                <a:gd name="connsiteY23" fmla="*/ 7670 h 63451"/>
                <a:gd name="connsiteX24" fmla="*/ 25772 w 89454"/>
                <a:gd name="connsiteY24" fmla="*/ 4562 h 63451"/>
                <a:gd name="connsiteX25" fmla="*/ 41709 w 89454"/>
                <a:gd name="connsiteY25" fmla="*/ 1503 h 63451"/>
                <a:gd name="connsiteX26" fmla="*/ 47680 w 89454"/>
                <a:gd name="connsiteY26" fmla="*/ 3032 h 63451"/>
                <a:gd name="connsiteX27" fmla="*/ 57548 w 89454"/>
                <a:gd name="connsiteY27" fmla="*/ -27 h 6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9454" h="63451">
                  <a:moveTo>
                    <a:pt x="65492" y="-27"/>
                  </a:moveTo>
                  <a:lnTo>
                    <a:pt x="79405" y="9249"/>
                  </a:lnTo>
                  <a:lnTo>
                    <a:pt x="87398" y="24693"/>
                  </a:lnTo>
                  <a:lnTo>
                    <a:pt x="89372" y="32439"/>
                  </a:lnTo>
                  <a:lnTo>
                    <a:pt x="89372" y="38656"/>
                  </a:lnTo>
                  <a:lnTo>
                    <a:pt x="85376" y="41764"/>
                  </a:lnTo>
                  <a:lnTo>
                    <a:pt x="79405" y="41764"/>
                  </a:lnTo>
                  <a:lnTo>
                    <a:pt x="71462" y="47932"/>
                  </a:lnTo>
                  <a:lnTo>
                    <a:pt x="53551" y="46402"/>
                  </a:lnTo>
                  <a:lnTo>
                    <a:pt x="45607" y="50991"/>
                  </a:lnTo>
                  <a:lnTo>
                    <a:pt x="45607" y="52570"/>
                  </a:lnTo>
                  <a:lnTo>
                    <a:pt x="35739" y="55678"/>
                  </a:lnTo>
                  <a:lnTo>
                    <a:pt x="19802" y="63425"/>
                  </a:lnTo>
                  <a:lnTo>
                    <a:pt x="19802" y="63425"/>
                  </a:lnTo>
                  <a:lnTo>
                    <a:pt x="11859" y="58787"/>
                  </a:lnTo>
                  <a:lnTo>
                    <a:pt x="7862" y="52570"/>
                  </a:lnTo>
                  <a:lnTo>
                    <a:pt x="3915" y="43294"/>
                  </a:lnTo>
                  <a:lnTo>
                    <a:pt x="-82" y="30910"/>
                  </a:lnTo>
                  <a:lnTo>
                    <a:pt x="1892" y="21584"/>
                  </a:lnTo>
                  <a:lnTo>
                    <a:pt x="3915" y="21584"/>
                  </a:lnTo>
                  <a:lnTo>
                    <a:pt x="5889" y="20055"/>
                  </a:lnTo>
                  <a:lnTo>
                    <a:pt x="5889" y="13887"/>
                  </a:lnTo>
                  <a:lnTo>
                    <a:pt x="13832" y="9249"/>
                  </a:lnTo>
                  <a:lnTo>
                    <a:pt x="19802" y="7670"/>
                  </a:lnTo>
                  <a:lnTo>
                    <a:pt x="25772" y="4562"/>
                  </a:lnTo>
                  <a:lnTo>
                    <a:pt x="41709" y="1503"/>
                  </a:lnTo>
                  <a:lnTo>
                    <a:pt x="47680" y="3032"/>
                  </a:lnTo>
                  <a:lnTo>
                    <a:pt x="57548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Graphic 2">
              <a:extLst>
                <a:ext uri="{FF2B5EF4-FFF2-40B4-BE49-F238E27FC236}">
                  <a16:creationId xmlns:a16="http://schemas.microsoft.com/office/drawing/2014/main" id="{0F5BA2CA-98F3-485C-B7B8-DB156EC9A3A1}"/>
                </a:ext>
              </a:extLst>
            </p:cNvPr>
            <p:cNvSpPr/>
            <p:nvPr/>
          </p:nvSpPr>
          <p:spPr>
            <a:xfrm>
              <a:off x="6001087" y="3356537"/>
              <a:ext cx="61052" cy="105114"/>
            </a:xfrm>
            <a:custGeom>
              <a:avLst/>
              <a:gdLst>
                <a:gd name="connsiteX0" fmla="*/ 49357 w 67201"/>
                <a:gd name="connsiteY0" fmla="*/ 32340 h 115703"/>
                <a:gd name="connsiteX1" fmla="*/ 47384 w 67201"/>
                <a:gd name="connsiteY1" fmla="*/ 41616 h 115703"/>
                <a:gd name="connsiteX2" fmla="*/ 51282 w 67201"/>
                <a:gd name="connsiteY2" fmla="*/ 53951 h 115703"/>
                <a:gd name="connsiteX3" fmla="*/ 55228 w 67201"/>
                <a:gd name="connsiteY3" fmla="*/ 63227 h 115703"/>
                <a:gd name="connsiteX4" fmla="*/ 59225 w 67201"/>
                <a:gd name="connsiteY4" fmla="*/ 69395 h 115703"/>
                <a:gd name="connsiteX5" fmla="*/ 67120 w 67201"/>
                <a:gd name="connsiteY5" fmla="*/ 73984 h 115703"/>
                <a:gd name="connsiteX6" fmla="*/ 65146 w 67201"/>
                <a:gd name="connsiteY6" fmla="*/ 83260 h 115703"/>
                <a:gd name="connsiteX7" fmla="*/ 59225 w 67201"/>
                <a:gd name="connsiteY7" fmla="*/ 92536 h 115703"/>
                <a:gd name="connsiteX8" fmla="*/ 47384 w 67201"/>
                <a:gd name="connsiteY8" fmla="*/ 95595 h 115703"/>
                <a:gd name="connsiteX9" fmla="*/ 45410 w 67201"/>
                <a:gd name="connsiteY9" fmla="*/ 103292 h 115703"/>
                <a:gd name="connsiteX10" fmla="*/ 39440 w 67201"/>
                <a:gd name="connsiteY10" fmla="*/ 112568 h 115703"/>
                <a:gd name="connsiteX11" fmla="*/ 35492 w 67201"/>
                <a:gd name="connsiteY11" fmla="*/ 115676 h 115703"/>
                <a:gd name="connsiteX12" fmla="*/ 29572 w 67201"/>
                <a:gd name="connsiteY12" fmla="*/ 111038 h 115703"/>
                <a:gd name="connsiteX13" fmla="*/ 23651 w 67201"/>
                <a:gd name="connsiteY13" fmla="*/ 95595 h 115703"/>
                <a:gd name="connsiteX14" fmla="*/ 9836 w 67201"/>
                <a:gd name="connsiteY14" fmla="*/ 95595 h 115703"/>
                <a:gd name="connsiteX15" fmla="*/ 3915 w 67201"/>
                <a:gd name="connsiteY15" fmla="*/ 92536 h 115703"/>
                <a:gd name="connsiteX16" fmla="*/ 9836 w 67201"/>
                <a:gd name="connsiteY16" fmla="*/ 84789 h 115703"/>
                <a:gd name="connsiteX17" fmla="*/ 3915 w 67201"/>
                <a:gd name="connsiteY17" fmla="*/ 78622 h 115703"/>
                <a:gd name="connsiteX18" fmla="*/ 3915 w 67201"/>
                <a:gd name="connsiteY18" fmla="*/ 70925 h 115703"/>
                <a:gd name="connsiteX19" fmla="*/ 7862 w 67201"/>
                <a:gd name="connsiteY19" fmla="*/ 64757 h 115703"/>
                <a:gd name="connsiteX20" fmla="*/ 1941 w 67201"/>
                <a:gd name="connsiteY20" fmla="*/ 53951 h 115703"/>
                <a:gd name="connsiteX21" fmla="*/ 7862 w 67201"/>
                <a:gd name="connsiteY21" fmla="*/ 41616 h 115703"/>
                <a:gd name="connsiteX22" fmla="*/ 11809 w 67201"/>
                <a:gd name="connsiteY22" fmla="*/ 40087 h 115703"/>
                <a:gd name="connsiteX23" fmla="*/ 11809 w 67201"/>
                <a:gd name="connsiteY23" fmla="*/ 35449 h 115703"/>
                <a:gd name="connsiteX24" fmla="*/ -82 w 67201"/>
                <a:gd name="connsiteY24" fmla="*/ 30811 h 115703"/>
                <a:gd name="connsiteX25" fmla="*/ -82 w 67201"/>
                <a:gd name="connsiteY25" fmla="*/ 18476 h 115703"/>
                <a:gd name="connsiteX26" fmla="*/ 7862 w 67201"/>
                <a:gd name="connsiteY26" fmla="*/ 10729 h 115703"/>
                <a:gd name="connsiteX27" fmla="*/ 13783 w 67201"/>
                <a:gd name="connsiteY27" fmla="*/ 3082 h 115703"/>
                <a:gd name="connsiteX28" fmla="*/ 17681 w 67201"/>
                <a:gd name="connsiteY28" fmla="*/ 3082 h 115703"/>
                <a:gd name="connsiteX29" fmla="*/ 21677 w 67201"/>
                <a:gd name="connsiteY29" fmla="*/ 7670 h 115703"/>
                <a:gd name="connsiteX30" fmla="*/ 27598 w 67201"/>
                <a:gd name="connsiteY30" fmla="*/ -27 h 115703"/>
                <a:gd name="connsiteX31" fmla="*/ 27598 w 67201"/>
                <a:gd name="connsiteY31" fmla="*/ -27 h 115703"/>
                <a:gd name="connsiteX32" fmla="*/ 29572 w 67201"/>
                <a:gd name="connsiteY32" fmla="*/ 3082 h 115703"/>
                <a:gd name="connsiteX33" fmla="*/ 33519 w 67201"/>
                <a:gd name="connsiteY33" fmla="*/ 9200 h 115703"/>
                <a:gd name="connsiteX34" fmla="*/ 37466 w 67201"/>
                <a:gd name="connsiteY34" fmla="*/ 10729 h 115703"/>
                <a:gd name="connsiteX35" fmla="*/ 45410 w 67201"/>
                <a:gd name="connsiteY35" fmla="*/ 13838 h 115703"/>
                <a:gd name="connsiteX36" fmla="*/ 49357 w 67201"/>
                <a:gd name="connsiteY36" fmla="*/ 18476 h 115703"/>
                <a:gd name="connsiteX37" fmla="*/ 47384 w 67201"/>
                <a:gd name="connsiteY37" fmla="*/ 29281 h 115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201" h="115703">
                  <a:moveTo>
                    <a:pt x="49357" y="32340"/>
                  </a:moveTo>
                  <a:lnTo>
                    <a:pt x="47384" y="41616"/>
                  </a:lnTo>
                  <a:lnTo>
                    <a:pt x="51282" y="53951"/>
                  </a:lnTo>
                  <a:lnTo>
                    <a:pt x="55228" y="63227"/>
                  </a:lnTo>
                  <a:lnTo>
                    <a:pt x="59225" y="69395"/>
                  </a:lnTo>
                  <a:lnTo>
                    <a:pt x="67120" y="73984"/>
                  </a:lnTo>
                  <a:lnTo>
                    <a:pt x="65146" y="83260"/>
                  </a:lnTo>
                  <a:lnTo>
                    <a:pt x="59225" y="92536"/>
                  </a:lnTo>
                  <a:lnTo>
                    <a:pt x="47384" y="95595"/>
                  </a:lnTo>
                  <a:lnTo>
                    <a:pt x="45410" y="103292"/>
                  </a:lnTo>
                  <a:lnTo>
                    <a:pt x="39440" y="112568"/>
                  </a:lnTo>
                  <a:lnTo>
                    <a:pt x="35492" y="115676"/>
                  </a:lnTo>
                  <a:lnTo>
                    <a:pt x="29572" y="111038"/>
                  </a:lnTo>
                  <a:lnTo>
                    <a:pt x="23651" y="95595"/>
                  </a:lnTo>
                  <a:lnTo>
                    <a:pt x="9836" y="95595"/>
                  </a:lnTo>
                  <a:lnTo>
                    <a:pt x="3915" y="92536"/>
                  </a:lnTo>
                  <a:lnTo>
                    <a:pt x="9836" y="84789"/>
                  </a:lnTo>
                  <a:lnTo>
                    <a:pt x="3915" y="78622"/>
                  </a:lnTo>
                  <a:lnTo>
                    <a:pt x="3915" y="70925"/>
                  </a:lnTo>
                  <a:lnTo>
                    <a:pt x="7862" y="64757"/>
                  </a:lnTo>
                  <a:lnTo>
                    <a:pt x="1941" y="53951"/>
                  </a:lnTo>
                  <a:lnTo>
                    <a:pt x="7862" y="41616"/>
                  </a:lnTo>
                  <a:lnTo>
                    <a:pt x="11809" y="40087"/>
                  </a:lnTo>
                  <a:lnTo>
                    <a:pt x="11809" y="35449"/>
                  </a:lnTo>
                  <a:lnTo>
                    <a:pt x="-82" y="30811"/>
                  </a:lnTo>
                  <a:lnTo>
                    <a:pt x="-82" y="18476"/>
                  </a:lnTo>
                  <a:lnTo>
                    <a:pt x="7862" y="10729"/>
                  </a:lnTo>
                  <a:lnTo>
                    <a:pt x="13783" y="3082"/>
                  </a:lnTo>
                  <a:lnTo>
                    <a:pt x="17681" y="3082"/>
                  </a:lnTo>
                  <a:lnTo>
                    <a:pt x="21677" y="7670"/>
                  </a:lnTo>
                  <a:lnTo>
                    <a:pt x="27598" y="-27"/>
                  </a:lnTo>
                  <a:lnTo>
                    <a:pt x="27598" y="-27"/>
                  </a:lnTo>
                  <a:lnTo>
                    <a:pt x="29572" y="3082"/>
                  </a:lnTo>
                  <a:lnTo>
                    <a:pt x="33519" y="9200"/>
                  </a:lnTo>
                  <a:lnTo>
                    <a:pt x="37466" y="10729"/>
                  </a:lnTo>
                  <a:lnTo>
                    <a:pt x="45410" y="13838"/>
                  </a:lnTo>
                  <a:lnTo>
                    <a:pt x="49357" y="18476"/>
                  </a:lnTo>
                  <a:lnTo>
                    <a:pt x="47384" y="2928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Graphic 2">
              <a:extLst>
                <a:ext uri="{FF2B5EF4-FFF2-40B4-BE49-F238E27FC236}">
                  <a16:creationId xmlns:a16="http://schemas.microsoft.com/office/drawing/2014/main" id="{FEEF75AE-0D9A-49F0-B4F7-1A4EBE522BB5}"/>
                </a:ext>
              </a:extLst>
            </p:cNvPr>
            <p:cNvSpPr/>
            <p:nvPr/>
          </p:nvSpPr>
          <p:spPr>
            <a:xfrm>
              <a:off x="5980782" y="3234570"/>
              <a:ext cx="132685" cy="152583"/>
            </a:xfrm>
            <a:custGeom>
              <a:avLst/>
              <a:gdLst>
                <a:gd name="connsiteX0" fmla="*/ -82 w 146047"/>
                <a:gd name="connsiteY0" fmla="*/ 18180 h 167954"/>
                <a:gd name="connsiteX1" fmla="*/ 5741 w 146047"/>
                <a:gd name="connsiteY1" fmla="*/ 13591 h 167954"/>
                <a:gd name="connsiteX2" fmla="*/ 13684 w 146047"/>
                <a:gd name="connsiteY2" fmla="*/ 9101 h 167954"/>
                <a:gd name="connsiteX3" fmla="*/ 17582 w 146047"/>
                <a:gd name="connsiteY3" fmla="*/ 10630 h 167954"/>
                <a:gd name="connsiteX4" fmla="*/ 21430 w 146047"/>
                <a:gd name="connsiteY4" fmla="*/ 7621 h 167954"/>
                <a:gd name="connsiteX5" fmla="*/ 31299 w 146047"/>
                <a:gd name="connsiteY5" fmla="*/ -27 h 167954"/>
                <a:gd name="connsiteX6" fmla="*/ 35197 w 146047"/>
                <a:gd name="connsiteY6" fmla="*/ 1503 h 167954"/>
                <a:gd name="connsiteX7" fmla="*/ 42943 w 146047"/>
                <a:gd name="connsiteY7" fmla="*/ 3032 h 167954"/>
                <a:gd name="connsiteX8" fmla="*/ 54588 w 146047"/>
                <a:gd name="connsiteY8" fmla="*/ 7621 h 167954"/>
                <a:gd name="connsiteX9" fmla="*/ 56512 w 146047"/>
                <a:gd name="connsiteY9" fmla="*/ 12160 h 167954"/>
                <a:gd name="connsiteX10" fmla="*/ 68156 w 146047"/>
                <a:gd name="connsiteY10" fmla="*/ 22867 h 167954"/>
                <a:gd name="connsiteX11" fmla="*/ 70129 w 146047"/>
                <a:gd name="connsiteY11" fmla="*/ 27455 h 167954"/>
                <a:gd name="connsiteX12" fmla="*/ 79997 w 146047"/>
                <a:gd name="connsiteY12" fmla="*/ 33574 h 167954"/>
                <a:gd name="connsiteX13" fmla="*/ 87744 w 146047"/>
                <a:gd name="connsiteY13" fmla="*/ 39692 h 167954"/>
                <a:gd name="connsiteX14" fmla="*/ 83896 w 146047"/>
                <a:gd name="connsiteY14" fmla="*/ 47290 h 167954"/>
                <a:gd name="connsiteX15" fmla="*/ 85820 w 146047"/>
                <a:gd name="connsiteY15" fmla="*/ 50349 h 167954"/>
                <a:gd name="connsiteX16" fmla="*/ 99388 w 146047"/>
                <a:gd name="connsiteY16" fmla="*/ 53408 h 167954"/>
                <a:gd name="connsiteX17" fmla="*/ 101362 w 146047"/>
                <a:gd name="connsiteY17" fmla="*/ 59478 h 167954"/>
                <a:gd name="connsiteX18" fmla="*/ 109108 w 146047"/>
                <a:gd name="connsiteY18" fmla="*/ 54938 h 167954"/>
                <a:gd name="connsiteX19" fmla="*/ 114931 w 146047"/>
                <a:gd name="connsiteY19" fmla="*/ 61007 h 167954"/>
                <a:gd name="connsiteX20" fmla="*/ 120753 w 146047"/>
                <a:gd name="connsiteY20" fmla="*/ 53408 h 167954"/>
                <a:gd name="connsiteX21" fmla="*/ 134321 w 146047"/>
                <a:gd name="connsiteY21" fmla="*/ 54938 h 167954"/>
                <a:gd name="connsiteX22" fmla="*/ 126575 w 146047"/>
                <a:gd name="connsiteY22" fmla="*/ 62537 h 167954"/>
                <a:gd name="connsiteX23" fmla="*/ 126575 w 146047"/>
                <a:gd name="connsiteY23" fmla="*/ 67125 h 167954"/>
                <a:gd name="connsiteX24" fmla="*/ 130473 w 146047"/>
                <a:gd name="connsiteY24" fmla="*/ 77832 h 167954"/>
                <a:gd name="connsiteX25" fmla="*/ 124651 w 146047"/>
                <a:gd name="connsiteY25" fmla="*/ 82421 h 167954"/>
                <a:gd name="connsiteX26" fmla="*/ 128499 w 146047"/>
                <a:gd name="connsiteY26" fmla="*/ 96137 h 167954"/>
                <a:gd name="connsiteX27" fmla="*/ 140144 w 146047"/>
                <a:gd name="connsiteY27" fmla="*/ 105315 h 167954"/>
                <a:gd name="connsiteX28" fmla="*/ 145966 w 146047"/>
                <a:gd name="connsiteY28" fmla="*/ 114442 h 167954"/>
                <a:gd name="connsiteX29" fmla="*/ 142117 w 146047"/>
                <a:gd name="connsiteY29" fmla="*/ 120561 h 167954"/>
                <a:gd name="connsiteX30" fmla="*/ 128499 w 146047"/>
                <a:gd name="connsiteY30" fmla="*/ 129738 h 167954"/>
                <a:gd name="connsiteX31" fmla="*/ 130473 w 146047"/>
                <a:gd name="connsiteY31" fmla="*/ 134327 h 167954"/>
                <a:gd name="connsiteX32" fmla="*/ 136295 w 146047"/>
                <a:gd name="connsiteY32" fmla="*/ 141974 h 167954"/>
                <a:gd name="connsiteX33" fmla="*/ 134321 w 146047"/>
                <a:gd name="connsiteY33" fmla="*/ 146514 h 167954"/>
                <a:gd name="connsiteX34" fmla="*/ 126575 w 146047"/>
                <a:gd name="connsiteY34" fmla="*/ 146514 h 167954"/>
                <a:gd name="connsiteX35" fmla="*/ 116707 w 146047"/>
                <a:gd name="connsiteY35" fmla="*/ 149573 h 167954"/>
                <a:gd name="connsiteX36" fmla="*/ 110885 w 146047"/>
                <a:gd name="connsiteY36" fmla="*/ 148043 h 167954"/>
                <a:gd name="connsiteX37" fmla="*/ 95392 w 146047"/>
                <a:gd name="connsiteY37" fmla="*/ 151103 h 167954"/>
                <a:gd name="connsiteX38" fmla="*/ 89570 w 146047"/>
                <a:gd name="connsiteY38" fmla="*/ 154162 h 167954"/>
                <a:gd name="connsiteX39" fmla="*/ 83747 w 146047"/>
                <a:gd name="connsiteY39" fmla="*/ 155691 h 167954"/>
                <a:gd name="connsiteX40" fmla="*/ 76001 w 146047"/>
                <a:gd name="connsiteY40" fmla="*/ 160230 h 167954"/>
                <a:gd name="connsiteX41" fmla="*/ 76001 w 146047"/>
                <a:gd name="connsiteY41" fmla="*/ 166349 h 167954"/>
                <a:gd name="connsiteX42" fmla="*/ 74027 w 146047"/>
                <a:gd name="connsiteY42" fmla="*/ 167928 h 167954"/>
                <a:gd name="connsiteX43" fmla="*/ 70179 w 146047"/>
                <a:gd name="connsiteY43" fmla="*/ 164819 h 167954"/>
                <a:gd name="connsiteX44" fmla="*/ 72103 w 146047"/>
                <a:gd name="connsiteY44" fmla="*/ 154162 h 167954"/>
                <a:gd name="connsiteX45" fmla="*/ 68206 w 146047"/>
                <a:gd name="connsiteY45" fmla="*/ 149573 h 167954"/>
                <a:gd name="connsiteX46" fmla="*/ 60459 w 146047"/>
                <a:gd name="connsiteY46" fmla="*/ 146514 h 167954"/>
                <a:gd name="connsiteX47" fmla="*/ 56561 w 146047"/>
                <a:gd name="connsiteY47" fmla="*/ 144984 h 167954"/>
                <a:gd name="connsiteX48" fmla="*/ 52713 w 146047"/>
                <a:gd name="connsiteY48" fmla="*/ 138915 h 167954"/>
                <a:gd name="connsiteX49" fmla="*/ 50739 w 146047"/>
                <a:gd name="connsiteY49" fmla="*/ 135856 h 167954"/>
                <a:gd name="connsiteX50" fmla="*/ 50739 w 146047"/>
                <a:gd name="connsiteY50" fmla="*/ 132797 h 167954"/>
                <a:gd name="connsiteX51" fmla="*/ 56561 w 146047"/>
                <a:gd name="connsiteY51" fmla="*/ 129738 h 167954"/>
                <a:gd name="connsiteX52" fmla="*/ 56561 w 146047"/>
                <a:gd name="connsiteY52" fmla="*/ 122090 h 167954"/>
                <a:gd name="connsiteX53" fmla="*/ 46693 w 146047"/>
                <a:gd name="connsiteY53" fmla="*/ 122090 h 167954"/>
                <a:gd name="connsiteX54" fmla="*/ 40871 w 146047"/>
                <a:gd name="connsiteY54" fmla="*/ 117502 h 167954"/>
                <a:gd name="connsiteX55" fmla="*/ 35048 w 146047"/>
                <a:gd name="connsiteY55" fmla="*/ 117502 h 167954"/>
                <a:gd name="connsiteX56" fmla="*/ 31151 w 146047"/>
                <a:gd name="connsiteY56" fmla="*/ 114442 h 167954"/>
                <a:gd name="connsiteX57" fmla="*/ 31151 w 146047"/>
                <a:gd name="connsiteY57" fmla="*/ 108275 h 167954"/>
                <a:gd name="connsiteX58" fmla="*/ 21283 w 146047"/>
                <a:gd name="connsiteY58" fmla="*/ 102157 h 167954"/>
                <a:gd name="connsiteX59" fmla="*/ 23256 w 146047"/>
                <a:gd name="connsiteY59" fmla="*/ 99098 h 167954"/>
                <a:gd name="connsiteX60" fmla="*/ 17434 w 146047"/>
                <a:gd name="connsiteY60" fmla="*/ 91499 h 167954"/>
                <a:gd name="connsiteX61" fmla="*/ 17434 w 146047"/>
                <a:gd name="connsiteY61" fmla="*/ 85381 h 167954"/>
                <a:gd name="connsiteX62" fmla="*/ 19359 w 146047"/>
                <a:gd name="connsiteY62" fmla="*/ 82322 h 167954"/>
                <a:gd name="connsiteX63" fmla="*/ 25180 w 146047"/>
                <a:gd name="connsiteY63" fmla="*/ 86911 h 167954"/>
                <a:gd name="connsiteX64" fmla="*/ 27105 w 146047"/>
                <a:gd name="connsiteY64" fmla="*/ 82322 h 167954"/>
                <a:gd name="connsiteX65" fmla="*/ 23256 w 146047"/>
                <a:gd name="connsiteY65" fmla="*/ 77733 h 167954"/>
                <a:gd name="connsiteX66" fmla="*/ 19359 w 146047"/>
                <a:gd name="connsiteY66" fmla="*/ 77733 h 167954"/>
                <a:gd name="connsiteX67" fmla="*/ 9490 w 146047"/>
                <a:gd name="connsiteY67" fmla="*/ 71615 h 167954"/>
                <a:gd name="connsiteX68" fmla="*/ 9490 w 146047"/>
                <a:gd name="connsiteY68" fmla="*/ 67026 h 167954"/>
                <a:gd name="connsiteX69" fmla="*/ 15312 w 146047"/>
                <a:gd name="connsiteY69" fmla="*/ 56369 h 167954"/>
                <a:gd name="connsiteX70" fmla="*/ 17286 w 146047"/>
                <a:gd name="connsiteY70" fmla="*/ 48721 h 167954"/>
                <a:gd name="connsiteX71" fmla="*/ 13684 w 146047"/>
                <a:gd name="connsiteY71" fmla="*/ 48721 h 167954"/>
                <a:gd name="connsiteX72" fmla="*/ 9786 w 146047"/>
                <a:gd name="connsiteY72" fmla="*/ 50251 h 167954"/>
                <a:gd name="connsiteX73" fmla="*/ 7862 w 146047"/>
                <a:gd name="connsiteY73" fmla="*/ 48721 h 167954"/>
                <a:gd name="connsiteX74" fmla="*/ 7862 w 146047"/>
                <a:gd name="connsiteY74" fmla="*/ 44132 h 167954"/>
                <a:gd name="connsiteX75" fmla="*/ 13684 w 146047"/>
                <a:gd name="connsiteY75" fmla="*/ 42603 h 167954"/>
                <a:gd name="connsiteX76" fmla="*/ 17582 w 146047"/>
                <a:gd name="connsiteY76" fmla="*/ 42603 h 167954"/>
                <a:gd name="connsiteX77" fmla="*/ 17582 w 146047"/>
                <a:gd name="connsiteY77" fmla="*/ 39593 h 167954"/>
                <a:gd name="connsiteX78" fmla="*/ 9786 w 146047"/>
                <a:gd name="connsiteY78" fmla="*/ 38064 h 167954"/>
                <a:gd name="connsiteX79" fmla="*/ 7862 w 146047"/>
                <a:gd name="connsiteY79" fmla="*/ 36534 h 167954"/>
                <a:gd name="connsiteX80" fmla="*/ 5938 w 146047"/>
                <a:gd name="connsiteY80" fmla="*/ 27357 h 167954"/>
                <a:gd name="connsiteX81" fmla="*/ 2040 w 146047"/>
                <a:gd name="connsiteY81" fmla="*/ 18180 h 167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6047" h="167954">
                  <a:moveTo>
                    <a:pt x="-82" y="18180"/>
                  </a:moveTo>
                  <a:lnTo>
                    <a:pt x="5741" y="13591"/>
                  </a:lnTo>
                  <a:lnTo>
                    <a:pt x="13684" y="9101"/>
                  </a:lnTo>
                  <a:lnTo>
                    <a:pt x="17582" y="10630"/>
                  </a:lnTo>
                  <a:lnTo>
                    <a:pt x="21430" y="7621"/>
                  </a:lnTo>
                  <a:lnTo>
                    <a:pt x="31299" y="-27"/>
                  </a:lnTo>
                  <a:lnTo>
                    <a:pt x="35197" y="1503"/>
                  </a:lnTo>
                  <a:lnTo>
                    <a:pt x="42943" y="3032"/>
                  </a:lnTo>
                  <a:lnTo>
                    <a:pt x="54588" y="7621"/>
                  </a:lnTo>
                  <a:lnTo>
                    <a:pt x="56512" y="12160"/>
                  </a:lnTo>
                  <a:lnTo>
                    <a:pt x="68156" y="22867"/>
                  </a:lnTo>
                  <a:lnTo>
                    <a:pt x="70129" y="27455"/>
                  </a:lnTo>
                  <a:lnTo>
                    <a:pt x="79997" y="33574"/>
                  </a:lnTo>
                  <a:lnTo>
                    <a:pt x="87744" y="39692"/>
                  </a:lnTo>
                  <a:lnTo>
                    <a:pt x="83896" y="47290"/>
                  </a:lnTo>
                  <a:lnTo>
                    <a:pt x="85820" y="50349"/>
                  </a:lnTo>
                  <a:lnTo>
                    <a:pt x="99388" y="53408"/>
                  </a:lnTo>
                  <a:lnTo>
                    <a:pt x="101362" y="59478"/>
                  </a:lnTo>
                  <a:lnTo>
                    <a:pt x="109108" y="54938"/>
                  </a:lnTo>
                  <a:lnTo>
                    <a:pt x="114931" y="61007"/>
                  </a:lnTo>
                  <a:lnTo>
                    <a:pt x="120753" y="53408"/>
                  </a:lnTo>
                  <a:lnTo>
                    <a:pt x="134321" y="54938"/>
                  </a:lnTo>
                  <a:lnTo>
                    <a:pt x="126575" y="62537"/>
                  </a:lnTo>
                  <a:lnTo>
                    <a:pt x="126575" y="67125"/>
                  </a:lnTo>
                  <a:lnTo>
                    <a:pt x="130473" y="77832"/>
                  </a:lnTo>
                  <a:lnTo>
                    <a:pt x="124651" y="82421"/>
                  </a:lnTo>
                  <a:lnTo>
                    <a:pt x="128499" y="96137"/>
                  </a:lnTo>
                  <a:lnTo>
                    <a:pt x="140144" y="105315"/>
                  </a:lnTo>
                  <a:lnTo>
                    <a:pt x="145966" y="114442"/>
                  </a:lnTo>
                  <a:lnTo>
                    <a:pt x="142117" y="120561"/>
                  </a:lnTo>
                  <a:lnTo>
                    <a:pt x="128499" y="129738"/>
                  </a:lnTo>
                  <a:lnTo>
                    <a:pt x="130473" y="134327"/>
                  </a:lnTo>
                  <a:lnTo>
                    <a:pt x="136295" y="141974"/>
                  </a:lnTo>
                  <a:lnTo>
                    <a:pt x="134321" y="146514"/>
                  </a:lnTo>
                  <a:lnTo>
                    <a:pt x="126575" y="146514"/>
                  </a:lnTo>
                  <a:lnTo>
                    <a:pt x="116707" y="149573"/>
                  </a:lnTo>
                  <a:lnTo>
                    <a:pt x="110885" y="148043"/>
                  </a:lnTo>
                  <a:lnTo>
                    <a:pt x="95392" y="151103"/>
                  </a:lnTo>
                  <a:lnTo>
                    <a:pt x="89570" y="154162"/>
                  </a:lnTo>
                  <a:lnTo>
                    <a:pt x="83747" y="155691"/>
                  </a:lnTo>
                  <a:lnTo>
                    <a:pt x="76001" y="160230"/>
                  </a:lnTo>
                  <a:lnTo>
                    <a:pt x="76001" y="166349"/>
                  </a:lnTo>
                  <a:lnTo>
                    <a:pt x="74027" y="167928"/>
                  </a:lnTo>
                  <a:lnTo>
                    <a:pt x="70179" y="164819"/>
                  </a:lnTo>
                  <a:lnTo>
                    <a:pt x="72103" y="154162"/>
                  </a:lnTo>
                  <a:lnTo>
                    <a:pt x="68206" y="149573"/>
                  </a:lnTo>
                  <a:lnTo>
                    <a:pt x="60459" y="146514"/>
                  </a:lnTo>
                  <a:lnTo>
                    <a:pt x="56561" y="144984"/>
                  </a:lnTo>
                  <a:lnTo>
                    <a:pt x="52713" y="138915"/>
                  </a:lnTo>
                  <a:lnTo>
                    <a:pt x="50739" y="135856"/>
                  </a:lnTo>
                  <a:lnTo>
                    <a:pt x="50739" y="132797"/>
                  </a:lnTo>
                  <a:lnTo>
                    <a:pt x="56561" y="129738"/>
                  </a:lnTo>
                  <a:lnTo>
                    <a:pt x="56561" y="122090"/>
                  </a:lnTo>
                  <a:lnTo>
                    <a:pt x="46693" y="122090"/>
                  </a:lnTo>
                  <a:lnTo>
                    <a:pt x="40871" y="117502"/>
                  </a:lnTo>
                  <a:lnTo>
                    <a:pt x="35048" y="117502"/>
                  </a:lnTo>
                  <a:lnTo>
                    <a:pt x="31151" y="114442"/>
                  </a:lnTo>
                  <a:lnTo>
                    <a:pt x="31151" y="108275"/>
                  </a:lnTo>
                  <a:lnTo>
                    <a:pt x="21283" y="102157"/>
                  </a:lnTo>
                  <a:lnTo>
                    <a:pt x="23256" y="99098"/>
                  </a:lnTo>
                  <a:lnTo>
                    <a:pt x="17434" y="91499"/>
                  </a:lnTo>
                  <a:lnTo>
                    <a:pt x="17434" y="85381"/>
                  </a:lnTo>
                  <a:lnTo>
                    <a:pt x="19359" y="82322"/>
                  </a:lnTo>
                  <a:lnTo>
                    <a:pt x="25180" y="86911"/>
                  </a:lnTo>
                  <a:lnTo>
                    <a:pt x="27105" y="82322"/>
                  </a:lnTo>
                  <a:lnTo>
                    <a:pt x="23256" y="77733"/>
                  </a:lnTo>
                  <a:lnTo>
                    <a:pt x="19359" y="77733"/>
                  </a:lnTo>
                  <a:lnTo>
                    <a:pt x="9490" y="71615"/>
                  </a:lnTo>
                  <a:lnTo>
                    <a:pt x="9490" y="67026"/>
                  </a:lnTo>
                  <a:lnTo>
                    <a:pt x="15312" y="56369"/>
                  </a:lnTo>
                  <a:lnTo>
                    <a:pt x="17286" y="48721"/>
                  </a:lnTo>
                  <a:lnTo>
                    <a:pt x="13684" y="48721"/>
                  </a:lnTo>
                  <a:lnTo>
                    <a:pt x="9786" y="50251"/>
                  </a:lnTo>
                  <a:lnTo>
                    <a:pt x="7862" y="48721"/>
                  </a:lnTo>
                  <a:lnTo>
                    <a:pt x="7862" y="44132"/>
                  </a:lnTo>
                  <a:lnTo>
                    <a:pt x="13684" y="42603"/>
                  </a:lnTo>
                  <a:lnTo>
                    <a:pt x="17582" y="42603"/>
                  </a:lnTo>
                  <a:lnTo>
                    <a:pt x="17582" y="39593"/>
                  </a:lnTo>
                  <a:lnTo>
                    <a:pt x="9786" y="38064"/>
                  </a:lnTo>
                  <a:lnTo>
                    <a:pt x="7862" y="36534"/>
                  </a:lnTo>
                  <a:lnTo>
                    <a:pt x="5938" y="27357"/>
                  </a:lnTo>
                  <a:lnTo>
                    <a:pt x="2040" y="1818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Graphic 2">
              <a:extLst>
                <a:ext uri="{FF2B5EF4-FFF2-40B4-BE49-F238E27FC236}">
                  <a16:creationId xmlns:a16="http://schemas.microsoft.com/office/drawing/2014/main" id="{4751D0FA-B53C-48F7-91E3-C3030838C7E0}"/>
                </a:ext>
              </a:extLst>
            </p:cNvPr>
            <p:cNvSpPr/>
            <p:nvPr/>
          </p:nvSpPr>
          <p:spPr>
            <a:xfrm>
              <a:off x="5973742" y="3322427"/>
              <a:ext cx="57872" cy="61230"/>
            </a:xfrm>
            <a:custGeom>
              <a:avLst/>
              <a:gdLst>
                <a:gd name="connsiteX0" fmla="*/ 30953 w 63698"/>
                <a:gd name="connsiteY0" fmla="*/ 67372 h 67398"/>
                <a:gd name="connsiteX1" fmla="*/ 30953 w 63698"/>
                <a:gd name="connsiteY1" fmla="*/ 55481 h 67398"/>
                <a:gd name="connsiteX2" fmla="*/ 38601 w 63698"/>
                <a:gd name="connsiteY2" fmla="*/ 48179 h 67398"/>
                <a:gd name="connsiteX3" fmla="*/ 44423 w 63698"/>
                <a:gd name="connsiteY3" fmla="*/ 40876 h 67398"/>
                <a:gd name="connsiteX4" fmla="*/ 48271 w 63698"/>
                <a:gd name="connsiteY4" fmla="*/ 40876 h 67398"/>
                <a:gd name="connsiteX5" fmla="*/ 52071 w 63698"/>
                <a:gd name="connsiteY5" fmla="*/ 45268 h 67398"/>
                <a:gd name="connsiteX6" fmla="*/ 57844 w 63698"/>
                <a:gd name="connsiteY6" fmla="*/ 37965 h 67398"/>
                <a:gd name="connsiteX7" fmla="*/ 57844 w 63698"/>
                <a:gd name="connsiteY7" fmla="*/ 35054 h 67398"/>
                <a:gd name="connsiteX8" fmla="*/ 63617 w 63698"/>
                <a:gd name="connsiteY8" fmla="*/ 32143 h 67398"/>
                <a:gd name="connsiteX9" fmla="*/ 63617 w 63698"/>
                <a:gd name="connsiteY9" fmla="*/ 24791 h 67398"/>
                <a:gd name="connsiteX10" fmla="*/ 53749 w 63698"/>
                <a:gd name="connsiteY10" fmla="*/ 24791 h 67398"/>
                <a:gd name="connsiteX11" fmla="*/ 48025 w 63698"/>
                <a:gd name="connsiteY11" fmla="*/ 20449 h 67398"/>
                <a:gd name="connsiteX12" fmla="*/ 42203 w 63698"/>
                <a:gd name="connsiteY12" fmla="*/ 20449 h 67398"/>
                <a:gd name="connsiteX13" fmla="*/ 38354 w 63698"/>
                <a:gd name="connsiteY13" fmla="*/ 17538 h 67398"/>
                <a:gd name="connsiteX14" fmla="*/ 38354 w 63698"/>
                <a:gd name="connsiteY14" fmla="*/ 11667 h 67398"/>
                <a:gd name="connsiteX15" fmla="*/ 28782 w 63698"/>
                <a:gd name="connsiteY15" fmla="*/ 5845 h 67398"/>
                <a:gd name="connsiteX16" fmla="*/ 28782 w 63698"/>
                <a:gd name="connsiteY16" fmla="*/ 5845 h 67398"/>
                <a:gd name="connsiteX17" fmla="*/ 23009 w 63698"/>
                <a:gd name="connsiteY17" fmla="*/ 4364 h 67398"/>
                <a:gd name="connsiteX18" fmla="*/ 17237 w 63698"/>
                <a:gd name="connsiteY18" fmla="*/ -27 h 67398"/>
                <a:gd name="connsiteX19" fmla="*/ 11464 w 63698"/>
                <a:gd name="connsiteY19" fmla="*/ 2884 h 67398"/>
                <a:gd name="connsiteX20" fmla="*/ 13388 w 63698"/>
                <a:gd name="connsiteY20" fmla="*/ 7325 h 67398"/>
                <a:gd name="connsiteX21" fmla="*/ 19161 w 63698"/>
                <a:gd name="connsiteY21" fmla="*/ 10236 h 67398"/>
                <a:gd name="connsiteX22" fmla="*/ 21085 w 63698"/>
                <a:gd name="connsiteY22" fmla="*/ 16058 h 67398"/>
                <a:gd name="connsiteX23" fmla="*/ 15312 w 63698"/>
                <a:gd name="connsiteY23" fmla="*/ 17538 h 67398"/>
                <a:gd name="connsiteX24" fmla="*/ 11464 w 63698"/>
                <a:gd name="connsiteY24" fmla="*/ 18969 h 67398"/>
                <a:gd name="connsiteX25" fmla="*/ 7615 w 63698"/>
                <a:gd name="connsiteY25" fmla="*/ 23360 h 67398"/>
                <a:gd name="connsiteX26" fmla="*/ 7615 w 63698"/>
                <a:gd name="connsiteY26" fmla="*/ 32143 h 67398"/>
                <a:gd name="connsiteX27" fmla="*/ 1892 w 63698"/>
                <a:gd name="connsiteY27" fmla="*/ 37965 h 67398"/>
                <a:gd name="connsiteX28" fmla="*/ -82 w 63698"/>
                <a:gd name="connsiteY28" fmla="*/ 40876 h 67398"/>
                <a:gd name="connsiteX29" fmla="*/ 1892 w 63698"/>
                <a:gd name="connsiteY29" fmla="*/ 42357 h 67398"/>
                <a:gd name="connsiteX30" fmla="*/ 9539 w 63698"/>
                <a:gd name="connsiteY30" fmla="*/ 45268 h 67398"/>
                <a:gd name="connsiteX31" fmla="*/ 23009 w 63698"/>
                <a:gd name="connsiteY31" fmla="*/ 58392 h 67398"/>
                <a:gd name="connsiteX32" fmla="*/ 23009 w 63698"/>
                <a:gd name="connsiteY32" fmla="*/ 62783 h 6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3698" h="67398">
                  <a:moveTo>
                    <a:pt x="30953" y="67372"/>
                  </a:moveTo>
                  <a:lnTo>
                    <a:pt x="30953" y="55481"/>
                  </a:lnTo>
                  <a:lnTo>
                    <a:pt x="38601" y="48179"/>
                  </a:lnTo>
                  <a:lnTo>
                    <a:pt x="44423" y="40876"/>
                  </a:lnTo>
                  <a:lnTo>
                    <a:pt x="48271" y="40876"/>
                  </a:lnTo>
                  <a:lnTo>
                    <a:pt x="52071" y="45268"/>
                  </a:lnTo>
                  <a:lnTo>
                    <a:pt x="57844" y="37965"/>
                  </a:lnTo>
                  <a:lnTo>
                    <a:pt x="57844" y="35054"/>
                  </a:lnTo>
                  <a:lnTo>
                    <a:pt x="63617" y="32143"/>
                  </a:lnTo>
                  <a:lnTo>
                    <a:pt x="63617" y="24791"/>
                  </a:lnTo>
                  <a:lnTo>
                    <a:pt x="53749" y="24791"/>
                  </a:lnTo>
                  <a:lnTo>
                    <a:pt x="48025" y="20449"/>
                  </a:lnTo>
                  <a:lnTo>
                    <a:pt x="42203" y="20449"/>
                  </a:lnTo>
                  <a:lnTo>
                    <a:pt x="38354" y="17538"/>
                  </a:lnTo>
                  <a:lnTo>
                    <a:pt x="38354" y="11667"/>
                  </a:lnTo>
                  <a:lnTo>
                    <a:pt x="28782" y="5845"/>
                  </a:lnTo>
                  <a:lnTo>
                    <a:pt x="28782" y="5845"/>
                  </a:lnTo>
                  <a:lnTo>
                    <a:pt x="23009" y="4364"/>
                  </a:lnTo>
                  <a:lnTo>
                    <a:pt x="17237" y="-27"/>
                  </a:lnTo>
                  <a:lnTo>
                    <a:pt x="11464" y="2884"/>
                  </a:lnTo>
                  <a:lnTo>
                    <a:pt x="13388" y="7325"/>
                  </a:lnTo>
                  <a:lnTo>
                    <a:pt x="19161" y="10236"/>
                  </a:lnTo>
                  <a:lnTo>
                    <a:pt x="21085" y="16058"/>
                  </a:lnTo>
                  <a:lnTo>
                    <a:pt x="15312" y="17538"/>
                  </a:lnTo>
                  <a:lnTo>
                    <a:pt x="11464" y="18969"/>
                  </a:lnTo>
                  <a:lnTo>
                    <a:pt x="7615" y="23360"/>
                  </a:lnTo>
                  <a:lnTo>
                    <a:pt x="7615" y="32143"/>
                  </a:lnTo>
                  <a:lnTo>
                    <a:pt x="1892" y="37965"/>
                  </a:lnTo>
                  <a:lnTo>
                    <a:pt x="-82" y="40876"/>
                  </a:lnTo>
                  <a:lnTo>
                    <a:pt x="1892" y="42357"/>
                  </a:lnTo>
                  <a:lnTo>
                    <a:pt x="9539" y="45268"/>
                  </a:lnTo>
                  <a:lnTo>
                    <a:pt x="23009" y="58392"/>
                  </a:lnTo>
                  <a:lnTo>
                    <a:pt x="23009" y="6278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Graphic 2">
              <a:extLst>
                <a:ext uri="{FF2B5EF4-FFF2-40B4-BE49-F238E27FC236}">
                  <a16:creationId xmlns:a16="http://schemas.microsoft.com/office/drawing/2014/main" id="{A2133995-D1A7-46CA-AB7F-CD78C2C34906}"/>
                </a:ext>
              </a:extLst>
            </p:cNvPr>
            <p:cNvSpPr/>
            <p:nvPr/>
          </p:nvSpPr>
          <p:spPr>
            <a:xfrm>
              <a:off x="5817163" y="3230941"/>
              <a:ext cx="180561" cy="119099"/>
            </a:xfrm>
            <a:custGeom>
              <a:avLst/>
              <a:gdLst>
                <a:gd name="connsiteX0" fmla="*/ 188250 w 198743"/>
                <a:gd name="connsiteY0" fmla="*/ 53359 h 131097"/>
                <a:gd name="connsiteX1" fmla="*/ 188250 w 198743"/>
                <a:gd name="connsiteY1" fmla="*/ 48425 h 131097"/>
                <a:gd name="connsiteX2" fmla="*/ 194467 w 198743"/>
                <a:gd name="connsiteY2" fmla="*/ 46846 h 131097"/>
                <a:gd name="connsiteX3" fmla="*/ 198661 w 198743"/>
                <a:gd name="connsiteY3" fmla="*/ 46846 h 131097"/>
                <a:gd name="connsiteX4" fmla="*/ 198661 w 198743"/>
                <a:gd name="connsiteY4" fmla="*/ 43639 h 131097"/>
                <a:gd name="connsiteX5" fmla="*/ 190323 w 198743"/>
                <a:gd name="connsiteY5" fmla="*/ 42011 h 131097"/>
                <a:gd name="connsiteX6" fmla="*/ 188250 w 198743"/>
                <a:gd name="connsiteY6" fmla="*/ 40383 h 131097"/>
                <a:gd name="connsiteX7" fmla="*/ 186129 w 198743"/>
                <a:gd name="connsiteY7" fmla="*/ 32340 h 131097"/>
                <a:gd name="connsiteX8" fmla="*/ 181984 w 198743"/>
                <a:gd name="connsiteY8" fmla="*/ 22472 h 131097"/>
                <a:gd name="connsiteX9" fmla="*/ 175718 w 198743"/>
                <a:gd name="connsiteY9" fmla="*/ 20844 h 131097"/>
                <a:gd name="connsiteX10" fmla="*/ 171573 w 198743"/>
                <a:gd name="connsiteY10" fmla="*/ 25778 h 131097"/>
                <a:gd name="connsiteX11" fmla="*/ 156771 w 198743"/>
                <a:gd name="connsiteY11" fmla="*/ 22571 h 131097"/>
                <a:gd name="connsiteX12" fmla="*/ 138022 w 198743"/>
                <a:gd name="connsiteY12" fmla="*/ 19364 h 131097"/>
                <a:gd name="connsiteX13" fmla="*/ 131805 w 198743"/>
                <a:gd name="connsiteY13" fmla="*/ 16107 h 131097"/>
                <a:gd name="connsiteX14" fmla="*/ 125539 w 198743"/>
                <a:gd name="connsiteY14" fmla="*/ 12900 h 131097"/>
                <a:gd name="connsiteX15" fmla="*/ 110737 w 198743"/>
                <a:gd name="connsiteY15" fmla="*/ 1601 h 131097"/>
                <a:gd name="connsiteX16" fmla="*/ 104471 w 198743"/>
                <a:gd name="connsiteY16" fmla="*/ -27 h 131097"/>
                <a:gd name="connsiteX17" fmla="*/ 104471 w 198743"/>
                <a:gd name="connsiteY17" fmla="*/ 1601 h 131097"/>
                <a:gd name="connsiteX18" fmla="*/ 87794 w 198743"/>
                <a:gd name="connsiteY18" fmla="*/ 1601 h 131097"/>
                <a:gd name="connsiteX19" fmla="*/ 66972 w 198743"/>
                <a:gd name="connsiteY19" fmla="*/ 11469 h 131097"/>
                <a:gd name="connsiteX20" fmla="*/ 64900 w 198743"/>
                <a:gd name="connsiteY20" fmla="*/ 19561 h 131097"/>
                <a:gd name="connsiteX21" fmla="*/ 54538 w 198743"/>
                <a:gd name="connsiteY21" fmla="*/ 24495 h 131097"/>
                <a:gd name="connsiteX22" fmla="*/ 52416 w 198743"/>
                <a:gd name="connsiteY22" fmla="*/ 35843 h 131097"/>
                <a:gd name="connsiteX23" fmla="*/ 44078 w 198743"/>
                <a:gd name="connsiteY23" fmla="*/ 35843 h 131097"/>
                <a:gd name="connsiteX24" fmla="*/ 29276 w 198743"/>
                <a:gd name="connsiteY24" fmla="*/ 30909 h 131097"/>
                <a:gd name="connsiteX25" fmla="*/ 23010 w 198743"/>
                <a:gd name="connsiteY25" fmla="*/ 32538 h 131097"/>
                <a:gd name="connsiteX26" fmla="*/ 14720 w 198743"/>
                <a:gd name="connsiteY26" fmla="*/ 39001 h 131097"/>
                <a:gd name="connsiteX27" fmla="*/ -82 w 198743"/>
                <a:gd name="connsiteY27" fmla="*/ 39001 h 131097"/>
                <a:gd name="connsiteX28" fmla="*/ 1991 w 198743"/>
                <a:gd name="connsiteY28" fmla="*/ 51879 h 131097"/>
                <a:gd name="connsiteX29" fmla="*/ 10329 w 198743"/>
                <a:gd name="connsiteY29" fmla="*/ 58343 h 131097"/>
                <a:gd name="connsiteX30" fmla="*/ 10329 w 198743"/>
                <a:gd name="connsiteY30" fmla="*/ 59971 h 131097"/>
                <a:gd name="connsiteX31" fmla="*/ 14523 w 198743"/>
                <a:gd name="connsiteY31" fmla="*/ 63178 h 131097"/>
                <a:gd name="connsiteX32" fmla="*/ 22812 w 198743"/>
                <a:gd name="connsiteY32" fmla="*/ 50300 h 131097"/>
                <a:gd name="connsiteX33" fmla="*/ 22812 w 198743"/>
                <a:gd name="connsiteY33" fmla="*/ 43689 h 131097"/>
                <a:gd name="connsiteX34" fmla="*/ 29078 w 198743"/>
                <a:gd name="connsiteY34" fmla="*/ 38755 h 131097"/>
                <a:gd name="connsiteX35" fmla="*/ 37368 w 198743"/>
                <a:gd name="connsiteY35" fmla="*/ 38755 h 131097"/>
                <a:gd name="connsiteX36" fmla="*/ 39489 w 198743"/>
                <a:gd name="connsiteY36" fmla="*/ 45169 h 131097"/>
                <a:gd name="connsiteX37" fmla="*/ 47779 w 198743"/>
                <a:gd name="connsiteY37" fmla="*/ 50103 h 131097"/>
                <a:gd name="connsiteX38" fmla="*/ 49900 w 198743"/>
                <a:gd name="connsiteY38" fmla="*/ 58145 h 131097"/>
                <a:gd name="connsiteX39" fmla="*/ 54094 w 198743"/>
                <a:gd name="connsiteY39" fmla="*/ 68013 h 131097"/>
                <a:gd name="connsiteX40" fmla="*/ 64456 w 198743"/>
                <a:gd name="connsiteY40" fmla="*/ 76056 h 131097"/>
                <a:gd name="connsiteX41" fmla="*/ 68650 w 198743"/>
                <a:gd name="connsiteY41" fmla="*/ 76056 h 131097"/>
                <a:gd name="connsiteX42" fmla="*/ 74866 w 198743"/>
                <a:gd name="connsiteY42" fmla="*/ 82519 h 131097"/>
                <a:gd name="connsiteX43" fmla="*/ 68650 w 198743"/>
                <a:gd name="connsiteY43" fmla="*/ 80891 h 131097"/>
                <a:gd name="connsiteX44" fmla="*/ 62383 w 198743"/>
                <a:gd name="connsiteY44" fmla="*/ 80891 h 131097"/>
                <a:gd name="connsiteX45" fmla="*/ 60311 w 198743"/>
                <a:gd name="connsiteY45" fmla="*/ 85825 h 131097"/>
                <a:gd name="connsiteX46" fmla="*/ 62383 w 198743"/>
                <a:gd name="connsiteY46" fmla="*/ 92289 h 131097"/>
                <a:gd name="connsiteX47" fmla="*/ 70722 w 198743"/>
                <a:gd name="connsiteY47" fmla="*/ 92289 h 131097"/>
                <a:gd name="connsiteX48" fmla="*/ 79060 w 198743"/>
                <a:gd name="connsiteY48" fmla="*/ 98752 h 131097"/>
                <a:gd name="connsiteX49" fmla="*/ 87350 w 198743"/>
                <a:gd name="connsiteY49" fmla="*/ 100381 h 131097"/>
                <a:gd name="connsiteX50" fmla="*/ 89471 w 198743"/>
                <a:gd name="connsiteY50" fmla="*/ 106795 h 131097"/>
                <a:gd name="connsiteX51" fmla="*/ 93615 w 198743"/>
                <a:gd name="connsiteY51" fmla="*/ 110002 h 131097"/>
                <a:gd name="connsiteX52" fmla="*/ 101954 w 198743"/>
                <a:gd name="connsiteY52" fmla="*/ 108423 h 131097"/>
                <a:gd name="connsiteX53" fmla="*/ 116756 w 198743"/>
                <a:gd name="connsiteY53" fmla="*/ 110002 h 131097"/>
                <a:gd name="connsiteX54" fmla="*/ 127167 w 198743"/>
                <a:gd name="connsiteY54" fmla="*/ 113258 h 131097"/>
                <a:gd name="connsiteX55" fmla="*/ 143795 w 198743"/>
                <a:gd name="connsiteY55" fmla="*/ 129393 h 131097"/>
                <a:gd name="connsiteX56" fmla="*/ 139650 w 198743"/>
                <a:gd name="connsiteY56" fmla="*/ 129393 h 131097"/>
                <a:gd name="connsiteX57" fmla="*/ 131361 w 198743"/>
                <a:gd name="connsiteY57" fmla="*/ 126136 h 131097"/>
                <a:gd name="connsiteX58" fmla="*/ 135505 w 198743"/>
                <a:gd name="connsiteY58" fmla="*/ 131070 h 131097"/>
                <a:gd name="connsiteX59" fmla="*/ 141772 w 198743"/>
                <a:gd name="connsiteY59" fmla="*/ 131070 h 131097"/>
                <a:gd name="connsiteX60" fmla="*/ 145917 w 198743"/>
                <a:gd name="connsiteY60" fmla="*/ 126136 h 131097"/>
                <a:gd name="connsiteX61" fmla="*/ 119766 w 198743"/>
                <a:gd name="connsiteY61" fmla="*/ 101910 h 131097"/>
                <a:gd name="connsiteX62" fmla="*/ 92728 w 198743"/>
                <a:gd name="connsiteY62" fmla="*/ 80940 h 131097"/>
                <a:gd name="connsiteX63" fmla="*/ 90655 w 198743"/>
                <a:gd name="connsiteY63" fmla="*/ 76006 h 131097"/>
                <a:gd name="connsiteX64" fmla="*/ 92728 w 198743"/>
                <a:gd name="connsiteY64" fmla="*/ 74428 h 131097"/>
                <a:gd name="connsiteX65" fmla="*/ 88534 w 198743"/>
                <a:gd name="connsiteY65" fmla="*/ 69493 h 131097"/>
                <a:gd name="connsiteX66" fmla="*/ 86461 w 198743"/>
                <a:gd name="connsiteY66" fmla="*/ 64559 h 131097"/>
                <a:gd name="connsiteX67" fmla="*/ 80244 w 198743"/>
                <a:gd name="connsiteY67" fmla="*/ 56517 h 131097"/>
                <a:gd name="connsiteX68" fmla="*/ 76051 w 198743"/>
                <a:gd name="connsiteY68" fmla="*/ 56517 h 131097"/>
                <a:gd name="connsiteX69" fmla="*/ 73978 w 198743"/>
                <a:gd name="connsiteY69" fmla="*/ 53310 h 131097"/>
                <a:gd name="connsiteX70" fmla="*/ 78123 w 198743"/>
                <a:gd name="connsiteY70" fmla="*/ 50103 h 131097"/>
                <a:gd name="connsiteX71" fmla="*/ 78123 w 198743"/>
                <a:gd name="connsiteY71" fmla="*/ 42011 h 131097"/>
                <a:gd name="connsiteX72" fmla="*/ 80244 w 198743"/>
                <a:gd name="connsiteY72" fmla="*/ 38804 h 131097"/>
                <a:gd name="connsiteX73" fmla="*/ 88534 w 198743"/>
                <a:gd name="connsiteY73" fmla="*/ 45218 h 131097"/>
                <a:gd name="connsiteX74" fmla="*/ 92728 w 198743"/>
                <a:gd name="connsiteY74" fmla="*/ 48425 h 131097"/>
                <a:gd name="connsiteX75" fmla="*/ 96872 w 198743"/>
                <a:gd name="connsiteY75" fmla="*/ 48425 h 131097"/>
                <a:gd name="connsiteX76" fmla="*/ 96872 w 198743"/>
                <a:gd name="connsiteY76" fmla="*/ 43491 h 131097"/>
                <a:gd name="connsiteX77" fmla="*/ 107283 w 198743"/>
                <a:gd name="connsiteY77" fmla="*/ 43491 h 131097"/>
                <a:gd name="connsiteX78" fmla="*/ 111477 w 198743"/>
                <a:gd name="connsiteY78" fmla="*/ 40235 h 131097"/>
                <a:gd name="connsiteX79" fmla="*/ 117694 w 198743"/>
                <a:gd name="connsiteY79" fmla="*/ 41863 h 131097"/>
                <a:gd name="connsiteX80" fmla="*/ 119766 w 198743"/>
                <a:gd name="connsiteY80" fmla="*/ 40235 h 131097"/>
                <a:gd name="connsiteX81" fmla="*/ 126032 w 198743"/>
                <a:gd name="connsiteY81" fmla="*/ 41863 h 131097"/>
                <a:gd name="connsiteX82" fmla="*/ 128104 w 198743"/>
                <a:gd name="connsiteY82" fmla="*/ 46797 h 131097"/>
                <a:gd name="connsiteX83" fmla="*/ 134371 w 198743"/>
                <a:gd name="connsiteY83" fmla="*/ 43590 h 131097"/>
                <a:gd name="connsiteX84" fmla="*/ 142709 w 198743"/>
                <a:gd name="connsiteY84" fmla="*/ 46797 h 131097"/>
                <a:gd name="connsiteX85" fmla="*/ 146854 w 198743"/>
                <a:gd name="connsiteY85" fmla="*/ 43590 h 131097"/>
                <a:gd name="connsiteX86" fmla="*/ 148926 w 198743"/>
                <a:gd name="connsiteY86" fmla="*/ 46797 h 131097"/>
                <a:gd name="connsiteX87" fmla="*/ 157265 w 198743"/>
                <a:gd name="connsiteY87" fmla="*/ 45169 h 131097"/>
                <a:gd name="connsiteX88" fmla="*/ 165554 w 198743"/>
                <a:gd name="connsiteY88" fmla="*/ 48376 h 131097"/>
                <a:gd name="connsiteX89" fmla="*/ 169748 w 198743"/>
                <a:gd name="connsiteY89" fmla="*/ 46797 h 131097"/>
                <a:gd name="connsiteX90" fmla="*/ 178086 w 198743"/>
                <a:gd name="connsiteY90" fmla="*/ 51731 h 131097"/>
                <a:gd name="connsiteX91" fmla="*/ 188497 w 198743"/>
                <a:gd name="connsiteY91" fmla="*/ 51731 h 131097"/>
                <a:gd name="connsiteX92" fmla="*/ 113302 w 198743"/>
                <a:gd name="connsiteY92" fmla="*/ 125889 h 131097"/>
                <a:gd name="connsiteX93" fmla="*/ 125785 w 198743"/>
                <a:gd name="connsiteY93" fmla="*/ 125889 h 131097"/>
                <a:gd name="connsiteX94" fmla="*/ 129930 w 198743"/>
                <a:gd name="connsiteY94" fmla="*/ 130823 h 131097"/>
                <a:gd name="connsiteX95" fmla="*/ 119519 w 198743"/>
                <a:gd name="connsiteY95" fmla="*/ 129245 h 131097"/>
                <a:gd name="connsiteX96" fmla="*/ 104964 w 198743"/>
                <a:gd name="connsiteY96" fmla="*/ 119475 h 131097"/>
                <a:gd name="connsiteX97" fmla="*/ 123714 w 198743"/>
                <a:gd name="connsiteY97" fmla="*/ 119475 h 131097"/>
                <a:gd name="connsiteX98" fmla="*/ 115375 w 198743"/>
                <a:gd name="connsiteY98" fmla="*/ 122683 h 131097"/>
                <a:gd name="connsiteX99" fmla="*/ 104964 w 198743"/>
                <a:gd name="connsiteY99" fmla="*/ 113012 h 131097"/>
                <a:gd name="connsiteX100" fmla="*/ 119766 w 198743"/>
                <a:gd name="connsiteY100" fmla="*/ 113012 h 131097"/>
                <a:gd name="connsiteX101" fmla="*/ 123960 w 198743"/>
                <a:gd name="connsiteY101" fmla="*/ 114640 h 131097"/>
                <a:gd name="connsiteX102" fmla="*/ 115622 w 198743"/>
                <a:gd name="connsiteY102" fmla="*/ 117847 h 131097"/>
                <a:gd name="connsiteX103" fmla="*/ 109355 w 198743"/>
                <a:gd name="connsiteY103" fmla="*/ 116219 h 131097"/>
                <a:gd name="connsiteX104" fmla="*/ 55032 w 198743"/>
                <a:gd name="connsiteY104" fmla="*/ 72701 h 131097"/>
                <a:gd name="connsiteX105" fmla="*/ 57055 w 198743"/>
                <a:gd name="connsiteY105" fmla="*/ 74329 h 131097"/>
                <a:gd name="connsiteX106" fmla="*/ 63321 w 198743"/>
                <a:gd name="connsiteY106" fmla="*/ 79263 h 131097"/>
                <a:gd name="connsiteX107" fmla="*/ 59127 w 198743"/>
                <a:gd name="connsiteY107" fmla="*/ 80891 h 131097"/>
                <a:gd name="connsiteX108" fmla="*/ 48716 w 198743"/>
                <a:gd name="connsiteY108" fmla="*/ 64609 h 131097"/>
                <a:gd name="connsiteX109" fmla="*/ 55032 w 198743"/>
                <a:gd name="connsiteY109" fmla="*/ 71072 h 131097"/>
                <a:gd name="connsiteX110" fmla="*/ 48716 w 198743"/>
                <a:gd name="connsiteY110" fmla="*/ 69493 h 131097"/>
                <a:gd name="connsiteX111" fmla="*/ 48716 w 198743"/>
                <a:gd name="connsiteY111" fmla="*/ 84000 h 131097"/>
                <a:gd name="connsiteX112" fmla="*/ 57055 w 198743"/>
                <a:gd name="connsiteY112" fmla="*/ 88934 h 131097"/>
                <a:gd name="connsiteX113" fmla="*/ 59127 w 198743"/>
                <a:gd name="connsiteY113" fmla="*/ 93868 h 131097"/>
                <a:gd name="connsiteX114" fmla="*/ 40427 w 198743"/>
                <a:gd name="connsiteY114" fmla="*/ 74131 h 131097"/>
                <a:gd name="connsiteX115" fmla="*/ 46644 w 198743"/>
                <a:gd name="connsiteY115" fmla="*/ 75710 h 131097"/>
                <a:gd name="connsiteX116" fmla="*/ 46644 w 198743"/>
                <a:gd name="connsiteY116" fmla="*/ 80644 h 131097"/>
                <a:gd name="connsiteX117" fmla="*/ 27894 w 198743"/>
                <a:gd name="connsiteY117" fmla="*/ 56369 h 131097"/>
                <a:gd name="connsiteX118" fmla="*/ 36233 w 198743"/>
                <a:gd name="connsiteY118" fmla="*/ 62833 h 131097"/>
                <a:gd name="connsiteX119" fmla="*/ 40427 w 198743"/>
                <a:gd name="connsiteY119" fmla="*/ 70875 h 131097"/>
                <a:gd name="connsiteX120" fmla="*/ 38305 w 198743"/>
                <a:gd name="connsiteY120" fmla="*/ 70875 h 131097"/>
                <a:gd name="connsiteX121" fmla="*/ 32088 w 198743"/>
                <a:gd name="connsiteY121" fmla="*/ 64412 h 131097"/>
                <a:gd name="connsiteX122" fmla="*/ 32088 w 198743"/>
                <a:gd name="connsiteY122" fmla="*/ 62833 h 131097"/>
                <a:gd name="connsiteX123" fmla="*/ 34161 w 198743"/>
                <a:gd name="connsiteY123" fmla="*/ 45070 h 131097"/>
                <a:gd name="connsiteX124" fmla="*/ 44571 w 198743"/>
                <a:gd name="connsiteY124" fmla="*/ 57997 h 131097"/>
                <a:gd name="connsiteX125" fmla="*/ 38305 w 198743"/>
                <a:gd name="connsiteY125" fmla="*/ 59625 h 131097"/>
                <a:gd name="connsiteX126" fmla="*/ 36233 w 198743"/>
                <a:gd name="connsiteY126" fmla="*/ 56369 h 131097"/>
                <a:gd name="connsiteX127" fmla="*/ 32088 w 198743"/>
                <a:gd name="connsiteY127" fmla="*/ 54741 h 131097"/>
                <a:gd name="connsiteX128" fmla="*/ 30016 w 198743"/>
                <a:gd name="connsiteY128" fmla="*/ 46698 h 13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198743" h="131097">
                  <a:moveTo>
                    <a:pt x="188250" y="53359"/>
                  </a:moveTo>
                  <a:lnTo>
                    <a:pt x="188250" y="48425"/>
                  </a:lnTo>
                  <a:lnTo>
                    <a:pt x="194467" y="46846"/>
                  </a:lnTo>
                  <a:lnTo>
                    <a:pt x="198661" y="46846"/>
                  </a:lnTo>
                  <a:lnTo>
                    <a:pt x="198661" y="43639"/>
                  </a:lnTo>
                  <a:lnTo>
                    <a:pt x="190323" y="42011"/>
                  </a:lnTo>
                  <a:lnTo>
                    <a:pt x="188250" y="40383"/>
                  </a:lnTo>
                  <a:lnTo>
                    <a:pt x="186129" y="32340"/>
                  </a:lnTo>
                  <a:lnTo>
                    <a:pt x="181984" y="22472"/>
                  </a:lnTo>
                  <a:lnTo>
                    <a:pt x="175718" y="20844"/>
                  </a:lnTo>
                  <a:lnTo>
                    <a:pt x="171573" y="25778"/>
                  </a:lnTo>
                  <a:lnTo>
                    <a:pt x="156771" y="22571"/>
                  </a:lnTo>
                  <a:lnTo>
                    <a:pt x="138022" y="19364"/>
                  </a:lnTo>
                  <a:lnTo>
                    <a:pt x="131805" y="16107"/>
                  </a:lnTo>
                  <a:lnTo>
                    <a:pt x="125539" y="12900"/>
                  </a:lnTo>
                  <a:lnTo>
                    <a:pt x="110737" y="1601"/>
                  </a:lnTo>
                  <a:lnTo>
                    <a:pt x="104471" y="-27"/>
                  </a:lnTo>
                  <a:lnTo>
                    <a:pt x="104471" y="1601"/>
                  </a:lnTo>
                  <a:lnTo>
                    <a:pt x="87794" y="1601"/>
                  </a:lnTo>
                  <a:lnTo>
                    <a:pt x="66972" y="11469"/>
                  </a:lnTo>
                  <a:lnTo>
                    <a:pt x="64900" y="19561"/>
                  </a:lnTo>
                  <a:lnTo>
                    <a:pt x="54538" y="24495"/>
                  </a:lnTo>
                  <a:lnTo>
                    <a:pt x="52416" y="35843"/>
                  </a:lnTo>
                  <a:lnTo>
                    <a:pt x="44078" y="35843"/>
                  </a:lnTo>
                  <a:lnTo>
                    <a:pt x="29276" y="30909"/>
                  </a:lnTo>
                  <a:lnTo>
                    <a:pt x="23010" y="32538"/>
                  </a:lnTo>
                  <a:lnTo>
                    <a:pt x="14720" y="39001"/>
                  </a:lnTo>
                  <a:lnTo>
                    <a:pt x="-82" y="39001"/>
                  </a:lnTo>
                  <a:lnTo>
                    <a:pt x="1991" y="51879"/>
                  </a:lnTo>
                  <a:lnTo>
                    <a:pt x="10329" y="58343"/>
                  </a:lnTo>
                  <a:lnTo>
                    <a:pt x="10329" y="59971"/>
                  </a:lnTo>
                  <a:lnTo>
                    <a:pt x="14523" y="63178"/>
                  </a:lnTo>
                  <a:lnTo>
                    <a:pt x="22812" y="50300"/>
                  </a:lnTo>
                  <a:lnTo>
                    <a:pt x="22812" y="43689"/>
                  </a:lnTo>
                  <a:lnTo>
                    <a:pt x="29078" y="38755"/>
                  </a:lnTo>
                  <a:lnTo>
                    <a:pt x="37368" y="38755"/>
                  </a:lnTo>
                  <a:lnTo>
                    <a:pt x="39489" y="45169"/>
                  </a:lnTo>
                  <a:lnTo>
                    <a:pt x="47779" y="50103"/>
                  </a:lnTo>
                  <a:lnTo>
                    <a:pt x="49900" y="58145"/>
                  </a:lnTo>
                  <a:lnTo>
                    <a:pt x="54094" y="68013"/>
                  </a:lnTo>
                  <a:lnTo>
                    <a:pt x="64456" y="76056"/>
                  </a:lnTo>
                  <a:lnTo>
                    <a:pt x="68650" y="76056"/>
                  </a:lnTo>
                  <a:lnTo>
                    <a:pt x="74866" y="82519"/>
                  </a:lnTo>
                  <a:lnTo>
                    <a:pt x="68650" y="80891"/>
                  </a:lnTo>
                  <a:lnTo>
                    <a:pt x="62383" y="80891"/>
                  </a:lnTo>
                  <a:lnTo>
                    <a:pt x="60311" y="85825"/>
                  </a:lnTo>
                  <a:lnTo>
                    <a:pt x="62383" y="92289"/>
                  </a:lnTo>
                  <a:lnTo>
                    <a:pt x="70722" y="92289"/>
                  </a:lnTo>
                  <a:lnTo>
                    <a:pt x="79060" y="98752"/>
                  </a:lnTo>
                  <a:lnTo>
                    <a:pt x="87350" y="100381"/>
                  </a:lnTo>
                  <a:lnTo>
                    <a:pt x="89471" y="106795"/>
                  </a:lnTo>
                  <a:lnTo>
                    <a:pt x="93615" y="110002"/>
                  </a:lnTo>
                  <a:lnTo>
                    <a:pt x="101954" y="108423"/>
                  </a:lnTo>
                  <a:lnTo>
                    <a:pt x="116756" y="110002"/>
                  </a:lnTo>
                  <a:lnTo>
                    <a:pt x="127167" y="113258"/>
                  </a:lnTo>
                  <a:lnTo>
                    <a:pt x="143795" y="129393"/>
                  </a:lnTo>
                  <a:lnTo>
                    <a:pt x="139650" y="129393"/>
                  </a:lnTo>
                  <a:lnTo>
                    <a:pt x="131361" y="126136"/>
                  </a:lnTo>
                  <a:lnTo>
                    <a:pt x="135505" y="131070"/>
                  </a:lnTo>
                  <a:lnTo>
                    <a:pt x="141772" y="131070"/>
                  </a:lnTo>
                  <a:lnTo>
                    <a:pt x="145917" y="126136"/>
                  </a:lnTo>
                  <a:lnTo>
                    <a:pt x="119766" y="101910"/>
                  </a:lnTo>
                  <a:lnTo>
                    <a:pt x="92728" y="80940"/>
                  </a:lnTo>
                  <a:lnTo>
                    <a:pt x="90655" y="76006"/>
                  </a:lnTo>
                  <a:lnTo>
                    <a:pt x="92728" y="74428"/>
                  </a:lnTo>
                  <a:lnTo>
                    <a:pt x="88534" y="69493"/>
                  </a:lnTo>
                  <a:lnTo>
                    <a:pt x="86461" y="64559"/>
                  </a:lnTo>
                  <a:lnTo>
                    <a:pt x="80244" y="56517"/>
                  </a:lnTo>
                  <a:lnTo>
                    <a:pt x="76051" y="56517"/>
                  </a:lnTo>
                  <a:lnTo>
                    <a:pt x="73978" y="53310"/>
                  </a:lnTo>
                  <a:lnTo>
                    <a:pt x="78123" y="50103"/>
                  </a:lnTo>
                  <a:lnTo>
                    <a:pt x="78123" y="42011"/>
                  </a:lnTo>
                  <a:lnTo>
                    <a:pt x="80244" y="38804"/>
                  </a:lnTo>
                  <a:lnTo>
                    <a:pt x="88534" y="45218"/>
                  </a:lnTo>
                  <a:lnTo>
                    <a:pt x="92728" y="48425"/>
                  </a:lnTo>
                  <a:lnTo>
                    <a:pt x="96872" y="48425"/>
                  </a:lnTo>
                  <a:lnTo>
                    <a:pt x="96872" y="43491"/>
                  </a:lnTo>
                  <a:lnTo>
                    <a:pt x="107283" y="43491"/>
                  </a:lnTo>
                  <a:lnTo>
                    <a:pt x="111477" y="40235"/>
                  </a:lnTo>
                  <a:lnTo>
                    <a:pt x="117694" y="41863"/>
                  </a:lnTo>
                  <a:lnTo>
                    <a:pt x="119766" y="40235"/>
                  </a:lnTo>
                  <a:lnTo>
                    <a:pt x="126032" y="41863"/>
                  </a:lnTo>
                  <a:lnTo>
                    <a:pt x="128104" y="46797"/>
                  </a:lnTo>
                  <a:lnTo>
                    <a:pt x="134371" y="43590"/>
                  </a:lnTo>
                  <a:lnTo>
                    <a:pt x="142709" y="46797"/>
                  </a:lnTo>
                  <a:lnTo>
                    <a:pt x="146854" y="43590"/>
                  </a:lnTo>
                  <a:lnTo>
                    <a:pt x="148926" y="46797"/>
                  </a:lnTo>
                  <a:lnTo>
                    <a:pt x="157265" y="45169"/>
                  </a:lnTo>
                  <a:lnTo>
                    <a:pt x="165554" y="48376"/>
                  </a:lnTo>
                  <a:lnTo>
                    <a:pt x="169748" y="46797"/>
                  </a:lnTo>
                  <a:lnTo>
                    <a:pt x="178086" y="51731"/>
                  </a:lnTo>
                  <a:lnTo>
                    <a:pt x="188497" y="51731"/>
                  </a:lnTo>
                  <a:close/>
                  <a:moveTo>
                    <a:pt x="113302" y="125889"/>
                  </a:moveTo>
                  <a:lnTo>
                    <a:pt x="125785" y="125889"/>
                  </a:lnTo>
                  <a:lnTo>
                    <a:pt x="129930" y="130823"/>
                  </a:lnTo>
                  <a:lnTo>
                    <a:pt x="119519" y="129245"/>
                  </a:lnTo>
                  <a:close/>
                  <a:moveTo>
                    <a:pt x="104964" y="119475"/>
                  </a:moveTo>
                  <a:lnTo>
                    <a:pt x="123714" y="119475"/>
                  </a:lnTo>
                  <a:lnTo>
                    <a:pt x="115375" y="122683"/>
                  </a:lnTo>
                  <a:close/>
                  <a:moveTo>
                    <a:pt x="104964" y="113012"/>
                  </a:moveTo>
                  <a:lnTo>
                    <a:pt x="119766" y="113012"/>
                  </a:lnTo>
                  <a:lnTo>
                    <a:pt x="123960" y="114640"/>
                  </a:lnTo>
                  <a:lnTo>
                    <a:pt x="115622" y="117847"/>
                  </a:lnTo>
                  <a:lnTo>
                    <a:pt x="109355" y="116219"/>
                  </a:lnTo>
                  <a:close/>
                  <a:moveTo>
                    <a:pt x="55032" y="72701"/>
                  </a:moveTo>
                  <a:lnTo>
                    <a:pt x="57055" y="74329"/>
                  </a:lnTo>
                  <a:lnTo>
                    <a:pt x="63321" y="79263"/>
                  </a:lnTo>
                  <a:lnTo>
                    <a:pt x="59127" y="80891"/>
                  </a:lnTo>
                  <a:close/>
                  <a:moveTo>
                    <a:pt x="48716" y="64609"/>
                  </a:moveTo>
                  <a:lnTo>
                    <a:pt x="55032" y="71072"/>
                  </a:lnTo>
                  <a:lnTo>
                    <a:pt x="48716" y="69493"/>
                  </a:lnTo>
                  <a:close/>
                  <a:moveTo>
                    <a:pt x="48716" y="84000"/>
                  </a:moveTo>
                  <a:lnTo>
                    <a:pt x="57055" y="88934"/>
                  </a:lnTo>
                  <a:lnTo>
                    <a:pt x="59127" y="93868"/>
                  </a:lnTo>
                  <a:close/>
                  <a:moveTo>
                    <a:pt x="40427" y="74131"/>
                  </a:moveTo>
                  <a:lnTo>
                    <a:pt x="46644" y="75710"/>
                  </a:lnTo>
                  <a:lnTo>
                    <a:pt x="46644" y="80644"/>
                  </a:lnTo>
                  <a:close/>
                  <a:moveTo>
                    <a:pt x="27894" y="56369"/>
                  </a:moveTo>
                  <a:lnTo>
                    <a:pt x="36233" y="62833"/>
                  </a:lnTo>
                  <a:lnTo>
                    <a:pt x="40427" y="70875"/>
                  </a:lnTo>
                  <a:lnTo>
                    <a:pt x="38305" y="70875"/>
                  </a:lnTo>
                  <a:lnTo>
                    <a:pt x="32088" y="64412"/>
                  </a:lnTo>
                  <a:lnTo>
                    <a:pt x="32088" y="62833"/>
                  </a:lnTo>
                  <a:close/>
                  <a:moveTo>
                    <a:pt x="34161" y="45070"/>
                  </a:moveTo>
                  <a:lnTo>
                    <a:pt x="44571" y="57997"/>
                  </a:lnTo>
                  <a:lnTo>
                    <a:pt x="38305" y="59625"/>
                  </a:lnTo>
                  <a:lnTo>
                    <a:pt x="36233" y="56369"/>
                  </a:lnTo>
                  <a:lnTo>
                    <a:pt x="32088" y="54741"/>
                  </a:lnTo>
                  <a:lnTo>
                    <a:pt x="30016" y="4669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Graphic 2">
              <a:extLst>
                <a:ext uri="{FF2B5EF4-FFF2-40B4-BE49-F238E27FC236}">
                  <a16:creationId xmlns:a16="http://schemas.microsoft.com/office/drawing/2014/main" id="{7A3B4EF6-8237-4475-AA84-DBAE5C0C0C9E}"/>
                </a:ext>
              </a:extLst>
            </p:cNvPr>
            <p:cNvSpPr/>
            <p:nvPr/>
          </p:nvSpPr>
          <p:spPr>
            <a:xfrm>
              <a:off x="5882432" y="3264962"/>
              <a:ext cx="122600" cy="94894"/>
            </a:xfrm>
            <a:custGeom>
              <a:avLst/>
              <a:gdLst>
                <a:gd name="connsiteX0" fmla="*/ 68057 w 134945"/>
                <a:gd name="connsiteY0" fmla="*/ 92240 h 104453"/>
                <a:gd name="connsiteX1" fmla="*/ 73929 w 134945"/>
                <a:gd name="connsiteY1" fmla="*/ 87602 h 104453"/>
                <a:gd name="connsiteX2" fmla="*/ 46643 w 134945"/>
                <a:gd name="connsiteY2" fmla="*/ 62931 h 104453"/>
                <a:gd name="connsiteX3" fmla="*/ 19407 w 134945"/>
                <a:gd name="connsiteY3" fmla="*/ 41469 h 104453"/>
                <a:gd name="connsiteX4" fmla="*/ 17483 w 134945"/>
                <a:gd name="connsiteY4" fmla="*/ 36830 h 104453"/>
                <a:gd name="connsiteX5" fmla="*/ 19407 w 134945"/>
                <a:gd name="connsiteY5" fmla="*/ 35301 h 104453"/>
                <a:gd name="connsiteX6" fmla="*/ 15510 w 134945"/>
                <a:gd name="connsiteY6" fmla="*/ 30712 h 104453"/>
                <a:gd name="connsiteX7" fmla="*/ 13536 w 134945"/>
                <a:gd name="connsiteY7" fmla="*/ 26074 h 104453"/>
                <a:gd name="connsiteX8" fmla="*/ 7714 w 134945"/>
                <a:gd name="connsiteY8" fmla="*/ 16847 h 104453"/>
                <a:gd name="connsiteX9" fmla="*/ 3816 w 134945"/>
                <a:gd name="connsiteY9" fmla="*/ 16847 h 104453"/>
                <a:gd name="connsiteX10" fmla="*/ -82 w 134945"/>
                <a:gd name="connsiteY10" fmla="*/ 13788 h 104453"/>
                <a:gd name="connsiteX11" fmla="*/ 5789 w 134945"/>
                <a:gd name="connsiteY11" fmla="*/ 10680 h 104453"/>
                <a:gd name="connsiteX12" fmla="*/ 5789 w 134945"/>
                <a:gd name="connsiteY12" fmla="*/ 3032 h 104453"/>
                <a:gd name="connsiteX13" fmla="*/ 7714 w 134945"/>
                <a:gd name="connsiteY13" fmla="*/ -27 h 104453"/>
                <a:gd name="connsiteX14" fmla="*/ 15510 w 134945"/>
                <a:gd name="connsiteY14" fmla="*/ 6091 h 104453"/>
                <a:gd name="connsiteX15" fmla="*/ 19407 w 134945"/>
                <a:gd name="connsiteY15" fmla="*/ 9150 h 104453"/>
                <a:gd name="connsiteX16" fmla="*/ 23305 w 134945"/>
                <a:gd name="connsiteY16" fmla="*/ 9150 h 104453"/>
                <a:gd name="connsiteX17" fmla="*/ 23305 w 134945"/>
                <a:gd name="connsiteY17" fmla="*/ 4562 h 104453"/>
                <a:gd name="connsiteX18" fmla="*/ 33173 w 134945"/>
                <a:gd name="connsiteY18" fmla="*/ 4562 h 104453"/>
                <a:gd name="connsiteX19" fmla="*/ 38995 w 134945"/>
                <a:gd name="connsiteY19" fmla="*/ 1503 h 104453"/>
                <a:gd name="connsiteX20" fmla="*/ 44867 w 134945"/>
                <a:gd name="connsiteY20" fmla="*/ 3032 h 104453"/>
                <a:gd name="connsiteX21" fmla="*/ 46791 w 134945"/>
                <a:gd name="connsiteY21" fmla="*/ 1503 h 104453"/>
                <a:gd name="connsiteX22" fmla="*/ 52663 w 134945"/>
                <a:gd name="connsiteY22" fmla="*/ 3032 h 104453"/>
                <a:gd name="connsiteX23" fmla="*/ 54587 w 134945"/>
                <a:gd name="connsiteY23" fmla="*/ 7621 h 104453"/>
                <a:gd name="connsiteX24" fmla="*/ 60409 w 134945"/>
                <a:gd name="connsiteY24" fmla="*/ 4562 h 104453"/>
                <a:gd name="connsiteX25" fmla="*/ 68205 w 134945"/>
                <a:gd name="connsiteY25" fmla="*/ 7621 h 104453"/>
                <a:gd name="connsiteX26" fmla="*/ 74077 w 134945"/>
                <a:gd name="connsiteY26" fmla="*/ 4562 h 104453"/>
                <a:gd name="connsiteX27" fmla="*/ 76001 w 134945"/>
                <a:gd name="connsiteY27" fmla="*/ 7621 h 104453"/>
                <a:gd name="connsiteX28" fmla="*/ 83797 w 134945"/>
                <a:gd name="connsiteY28" fmla="*/ 6091 h 104453"/>
                <a:gd name="connsiteX29" fmla="*/ 91592 w 134945"/>
                <a:gd name="connsiteY29" fmla="*/ 9150 h 104453"/>
                <a:gd name="connsiteX30" fmla="*/ 95490 w 134945"/>
                <a:gd name="connsiteY30" fmla="*/ 7621 h 104453"/>
                <a:gd name="connsiteX31" fmla="*/ 105358 w 134945"/>
                <a:gd name="connsiteY31" fmla="*/ 12209 h 104453"/>
                <a:gd name="connsiteX32" fmla="*/ 115227 w 134945"/>
                <a:gd name="connsiteY32" fmla="*/ 12209 h 104453"/>
                <a:gd name="connsiteX33" fmla="*/ 117200 w 134945"/>
                <a:gd name="connsiteY33" fmla="*/ 15318 h 104453"/>
                <a:gd name="connsiteX34" fmla="*/ 121098 w 134945"/>
                <a:gd name="connsiteY34" fmla="*/ 13788 h 104453"/>
                <a:gd name="connsiteX35" fmla="*/ 124996 w 134945"/>
                <a:gd name="connsiteY35" fmla="*/ 13788 h 104453"/>
                <a:gd name="connsiteX36" fmla="*/ 123022 w 134945"/>
                <a:gd name="connsiteY36" fmla="*/ 21436 h 104453"/>
                <a:gd name="connsiteX37" fmla="*/ 117200 w 134945"/>
                <a:gd name="connsiteY37" fmla="*/ 32242 h 104453"/>
                <a:gd name="connsiteX38" fmla="*/ 117200 w 134945"/>
                <a:gd name="connsiteY38" fmla="*/ 36830 h 104453"/>
                <a:gd name="connsiteX39" fmla="*/ 127068 w 134945"/>
                <a:gd name="connsiteY39" fmla="*/ 42998 h 104453"/>
                <a:gd name="connsiteX40" fmla="*/ 130966 w 134945"/>
                <a:gd name="connsiteY40" fmla="*/ 42998 h 104453"/>
                <a:gd name="connsiteX41" fmla="*/ 134864 w 134945"/>
                <a:gd name="connsiteY41" fmla="*/ 47587 h 104453"/>
                <a:gd name="connsiteX42" fmla="*/ 132940 w 134945"/>
                <a:gd name="connsiteY42" fmla="*/ 52175 h 104453"/>
                <a:gd name="connsiteX43" fmla="*/ 127068 w 134945"/>
                <a:gd name="connsiteY43" fmla="*/ 47587 h 104453"/>
                <a:gd name="connsiteX44" fmla="*/ 125144 w 134945"/>
                <a:gd name="connsiteY44" fmla="*/ 50646 h 104453"/>
                <a:gd name="connsiteX45" fmla="*/ 125144 w 134945"/>
                <a:gd name="connsiteY45" fmla="*/ 56813 h 104453"/>
                <a:gd name="connsiteX46" fmla="*/ 130966 w 134945"/>
                <a:gd name="connsiteY46" fmla="*/ 64461 h 104453"/>
                <a:gd name="connsiteX47" fmla="*/ 128993 w 134945"/>
                <a:gd name="connsiteY47" fmla="*/ 67569 h 104453"/>
                <a:gd name="connsiteX48" fmla="*/ 123170 w 134945"/>
                <a:gd name="connsiteY48" fmla="*/ 66040 h 104453"/>
                <a:gd name="connsiteX49" fmla="*/ 117348 w 134945"/>
                <a:gd name="connsiteY49" fmla="*/ 61402 h 104453"/>
                <a:gd name="connsiteX50" fmla="*/ 111526 w 134945"/>
                <a:gd name="connsiteY50" fmla="*/ 64461 h 104453"/>
                <a:gd name="connsiteX51" fmla="*/ 113450 w 134945"/>
                <a:gd name="connsiteY51" fmla="*/ 69099 h 104453"/>
                <a:gd name="connsiteX52" fmla="*/ 119322 w 134945"/>
                <a:gd name="connsiteY52" fmla="*/ 72158 h 104453"/>
                <a:gd name="connsiteX53" fmla="*/ 121246 w 134945"/>
                <a:gd name="connsiteY53" fmla="*/ 78326 h 104453"/>
                <a:gd name="connsiteX54" fmla="*/ 115375 w 134945"/>
                <a:gd name="connsiteY54" fmla="*/ 79855 h 104453"/>
                <a:gd name="connsiteX55" fmla="*/ 111526 w 134945"/>
                <a:gd name="connsiteY55" fmla="*/ 81385 h 104453"/>
                <a:gd name="connsiteX56" fmla="*/ 107628 w 134945"/>
                <a:gd name="connsiteY56" fmla="*/ 86023 h 104453"/>
                <a:gd name="connsiteX57" fmla="*/ 107628 w 134945"/>
                <a:gd name="connsiteY57" fmla="*/ 95249 h 104453"/>
                <a:gd name="connsiteX58" fmla="*/ 101757 w 134945"/>
                <a:gd name="connsiteY58" fmla="*/ 101367 h 104453"/>
                <a:gd name="connsiteX59" fmla="*/ 99832 w 134945"/>
                <a:gd name="connsiteY59" fmla="*/ 104427 h 104453"/>
                <a:gd name="connsiteX60" fmla="*/ 92036 w 134945"/>
                <a:gd name="connsiteY60" fmla="*/ 93720 h 104453"/>
                <a:gd name="connsiteX61" fmla="*/ 88139 w 134945"/>
                <a:gd name="connsiteY61" fmla="*/ 95249 h 104453"/>
                <a:gd name="connsiteX62" fmla="*/ 76445 w 134945"/>
                <a:gd name="connsiteY62" fmla="*/ 93720 h 104453"/>
                <a:gd name="connsiteX63" fmla="*/ 68649 w 134945"/>
                <a:gd name="connsiteY63" fmla="*/ 92190 h 104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34945" h="104453">
                  <a:moveTo>
                    <a:pt x="68057" y="92240"/>
                  </a:moveTo>
                  <a:lnTo>
                    <a:pt x="73929" y="87602"/>
                  </a:lnTo>
                  <a:lnTo>
                    <a:pt x="46643" y="62931"/>
                  </a:lnTo>
                  <a:lnTo>
                    <a:pt x="19407" y="41469"/>
                  </a:lnTo>
                  <a:lnTo>
                    <a:pt x="17483" y="36830"/>
                  </a:lnTo>
                  <a:lnTo>
                    <a:pt x="19407" y="35301"/>
                  </a:lnTo>
                  <a:lnTo>
                    <a:pt x="15510" y="30712"/>
                  </a:lnTo>
                  <a:lnTo>
                    <a:pt x="13536" y="26074"/>
                  </a:lnTo>
                  <a:lnTo>
                    <a:pt x="7714" y="16847"/>
                  </a:lnTo>
                  <a:lnTo>
                    <a:pt x="3816" y="16847"/>
                  </a:lnTo>
                  <a:lnTo>
                    <a:pt x="-82" y="13788"/>
                  </a:lnTo>
                  <a:lnTo>
                    <a:pt x="5789" y="10680"/>
                  </a:lnTo>
                  <a:lnTo>
                    <a:pt x="5789" y="3032"/>
                  </a:lnTo>
                  <a:lnTo>
                    <a:pt x="7714" y="-27"/>
                  </a:lnTo>
                  <a:lnTo>
                    <a:pt x="15510" y="6091"/>
                  </a:lnTo>
                  <a:lnTo>
                    <a:pt x="19407" y="9150"/>
                  </a:lnTo>
                  <a:lnTo>
                    <a:pt x="23305" y="9150"/>
                  </a:lnTo>
                  <a:lnTo>
                    <a:pt x="23305" y="4562"/>
                  </a:lnTo>
                  <a:lnTo>
                    <a:pt x="33173" y="4562"/>
                  </a:lnTo>
                  <a:lnTo>
                    <a:pt x="38995" y="1503"/>
                  </a:lnTo>
                  <a:lnTo>
                    <a:pt x="44867" y="3032"/>
                  </a:lnTo>
                  <a:lnTo>
                    <a:pt x="46791" y="1503"/>
                  </a:lnTo>
                  <a:lnTo>
                    <a:pt x="52663" y="3032"/>
                  </a:lnTo>
                  <a:lnTo>
                    <a:pt x="54587" y="7621"/>
                  </a:lnTo>
                  <a:lnTo>
                    <a:pt x="60409" y="4562"/>
                  </a:lnTo>
                  <a:lnTo>
                    <a:pt x="68205" y="7621"/>
                  </a:lnTo>
                  <a:lnTo>
                    <a:pt x="74077" y="4562"/>
                  </a:lnTo>
                  <a:lnTo>
                    <a:pt x="76001" y="7621"/>
                  </a:lnTo>
                  <a:lnTo>
                    <a:pt x="83797" y="6091"/>
                  </a:lnTo>
                  <a:lnTo>
                    <a:pt x="91592" y="9150"/>
                  </a:lnTo>
                  <a:lnTo>
                    <a:pt x="95490" y="7621"/>
                  </a:lnTo>
                  <a:lnTo>
                    <a:pt x="105358" y="12209"/>
                  </a:lnTo>
                  <a:lnTo>
                    <a:pt x="115227" y="12209"/>
                  </a:lnTo>
                  <a:lnTo>
                    <a:pt x="117200" y="15318"/>
                  </a:lnTo>
                  <a:lnTo>
                    <a:pt x="121098" y="13788"/>
                  </a:lnTo>
                  <a:lnTo>
                    <a:pt x="124996" y="13788"/>
                  </a:lnTo>
                  <a:lnTo>
                    <a:pt x="123022" y="21436"/>
                  </a:lnTo>
                  <a:lnTo>
                    <a:pt x="117200" y="32242"/>
                  </a:lnTo>
                  <a:lnTo>
                    <a:pt x="117200" y="36830"/>
                  </a:lnTo>
                  <a:lnTo>
                    <a:pt x="127068" y="42998"/>
                  </a:lnTo>
                  <a:lnTo>
                    <a:pt x="130966" y="42998"/>
                  </a:lnTo>
                  <a:lnTo>
                    <a:pt x="134864" y="47587"/>
                  </a:lnTo>
                  <a:lnTo>
                    <a:pt x="132940" y="52175"/>
                  </a:lnTo>
                  <a:lnTo>
                    <a:pt x="127068" y="47587"/>
                  </a:lnTo>
                  <a:lnTo>
                    <a:pt x="125144" y="50646"/>
                  </a:lnTo>
                  <a:lnTo>
                    <a:pt x="125144" y="56813"/>
                  </a:lnTo>
                  <a:lnTo>
                    <a:pt x="130966" y="64461"/>
                  </a:lnTo>
                  <a:lnTo>
                    <a:pt x="128993" y="67569"/>
                  </a:lnTo>
                  <a:lnTo>
                    <a:pt x="123170" y="66040"/>
                  </a:lnTo>
                  <a:lnTo>
                    <a:pt x="117348" y="61402"/>
                  </a:lnTo>
                  <a:lnTo>
                    <a:pt x="111526" y="64461"/>
                  </a:lnTo>
                  <a:lnTo>
                    <a:pt x="113450" y="69099"/>
                  </a:lnTo>
                  <a:lnTo>
                    <a:pt x="119322" y="72158"/>
                  </a:lnTo>
                  <a:lnTo>
                    <a:pt x="121246" y="78326"/>
                  </a:lnTo>
                  <a:lnTo>
                    <a:pt x="115375" y="79855"/>
                  </a:lnTo>
                  <a:lnTo>
                    <a:pt x="111526" y="81385"/>
                  </a:lnTo>
                  <a:lnTo>
                    <a:pt x="107628" y="86023"/>
                  </a:lnTo>
                  <a:lnTo>
                    <a:pt x="107628" y="95249"/>
                  </a:lnTo>
                  <a:lnTo>
                    <a:pt x="101757" y="101367"/>
                  </a:lnTo>
                  <a:lnTo>
                    <a:pt x="99832" y="104427"/>
                  </a:lnTo>
                  <a:lnTo>
                    <a:pt x="92036" y="93720"/>
                  </a:lnTo>
                  <a:lnTo>
                    <a:pt x="88139" y="95249"/>
                  </a:lnTo>
                  <a:lnTo>
                    <a:pt x="76445" y="93720"/>
                  </a:lnTo>
                  <a:lnTo>
                    <a:pt x="68649" y="9219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Graphic 2">
              <a:extLst>
                <a:ext uri="{FF2B5EF4-FFF2-40B4-BE49-F238E27FC236}">
                  <a16:creationId xmlns:a16="http://schemas.microsoft.com/office/drawing/2014/main" id="{DFF0C45C-0DB5-4555-8BF6-D72BD7725579}"/>
                </a:ext>
              </a:extLst>
            </p:cNvPr>
            <p:cNvSpPr/>
            <p:nvPr/>
          </p:nvSpPr>
          <p:spPr>
            <a:xfrm>
              <a:off x="5814251" y="3210725"/>
              <a:ext cx="95479" cy="54281"/>
            </a:xfrm>
            <a:custGeom>
              <a:avLst/>
              <a:gdLst>
                <a:gd name="connsiteX0" fmla="*/ 2286 w 105094"/>
                <a:gd name="connsiteY0" fmla="*/ 59724 h 59751"/>
                <a:gd name="connsiteX1" fmla="*/ 17779 w 105094"/>
                <a:gd name="connsiteY1" fmla="*/ 59724 h 59751"/>
                <a:gd name="connsiteX2" fmla="*/ 25476 w 105094"/>
                <a:gd name="connsiteY2" fmla="*/ 52077 h 59751"/>
                <a:gd name="connsiteX3" fmla="*/ 31299 w 105094"/>
                <a:gd name="connsiteY3" fmla="*/ 50547 h 59751"/>
                <a:gd name="connsiteX4" fmla="*/ 46742 w 105094"/>
                <a:gd name="connsiteY4" fmla="*/ 56665 h 59751"/>
                <a:gd name="connsiteX5" fmla="*/ 54538 w 105094"/>
                <a:gd name="connsiteY5" fmla="*/ 56665 h 59751"/>
                <a:gd name="connsiteX6" fmla="*/ 56462 w 105094"/>
                <a:gd name="connsiteY6" fmla="*/ 44380 h 59751"/>
                <a:gd name="connsiteX7" fmla="*/ 66330 w 105094"/>
                <a:gd name="connsiteY7" fmla="*/ 39791 h 59751"/>
                <a:gd name="connsiteX8" fmla="*/ 68254 w 105094"/>
                <a:gd name="connsiteY8" fmla="*/ 32143 h 59751"/>
                <a:gd name="connsiteX9" fmla="*/ 89520 w 105094"/>
                <a:gd name="connsiteY9" fmla="*/ 21436 h 59751"/>
                <a:gd name="connsiteX10" fmla="*/ 105013 w 105094"/>
                <a:gd name="connsiteY10" fmla="*/ 21436 h 59751"/>
                <a:gd name="connsiteX11" fmla="*/ 103088 w 105094"/>
                <a:gd name="connsiteY11" fmla="*/ 10680 h 59751"/>
                <a:gd name="connsiteX12" fmla="*/ 95342 w 105094"/>
                <a:gd name="connsiteY12" fmla="*/ -27 h 59751"/>
                <a:gd name="connsiteX13" fmla="*/ 85474 w 105094"/>
                <a:gd name="connsiteY13" fmla="*/ 4562 h 59751"/>
                <a:gd name="connsiteX14" fmla="*/ 70031 w 105094"/>
                <a:gd name="connsiteY14" fmla="*/ 12210 h 59751"/>
                <a:gd name="connsiteX15" fmla="*/ 66133 w 105094"/>
                <a:gd name="connsiteY15" fmla="*/ 10680 h 59751"/>
                <a:gd name="connsiteX16" fmla="*/ 62234 w 105094"/>
                <a:gd name="connsiteY16" fmla="*/ 12210 h 59751"/>
                <a:gd name="connsiteX17" fmla="*/ 54538 w 105094"/>
                <a:gd name="connsiteY17" fmla="*/ 15318 h 59751"/>
                <a:gd name="connsiteX18" fmla="*/ 46742 w 105094"/>
                <a:gd name="connsiteY18" fmla="*/ 15318 h 59751"/>
                <a:gd name="connsiteX19" fmla="*/ 36874 w 105094"/>
                <a:gd name="connsiteY19" fmla="*/ 18377 h 59751"/>
                <a:gd name="connsiteX20" fmla="*/ 31101 w 105094"/>
                <a:gd name="connsiteY20" fmla="*/ 13739 h 59751"/>
                <a:gd name="connsiteX21" fmla="*/ 17582 w 105094"/>
                <a:gd name="connsiteY21" fmla="*/ 13739 h 59751"/>
                <a:gd name="connsiteX22" fmla="*/ 11759 w 105094"/>
                <a:gd name="connsiteY22" fmla="*/ 12210 h 59751"/>
                <a:gd name="connsiteX23" fmla="*/ 1891 w 105094"/>
                <a:gd name="connsiteY23" fmla="*/ 22966 h 59751"/>
                <a:gd name="connsiteX24" fmla="*/ 3816 w 105094"/>
                <a:gd name="connsiteY24" fmla="*/ 27554 h 59751"/>
                <a:gd name="connsiteX25" fmla="*/ -82 w 105094"/>
                <a:gd name="connsiteY25" fmla="*/ 35202 h 59751"/>
                <a:gd name="connsiteX26" fmla="*/ 1891 w 105094"/>
                <a:gd name="connsiteY26" fmla="*/ 44380 h 59751"/>
                <a:gd name="connsiteX27" fmla="*/ 1891 w 105094"/>
                <a:gd name="connsiteY27" fmla="*/ 44380 h 59751"/>
                <a:gd name="connsiteX28" fmla="*/ 11759 w 105094"/>
                <a:gd name="connsiteY28" fmla="*/ 47439 h 59751"/>
                <a:gd name="connsiteX29" fmla="*/ 9786 w 105094"/>
                <a:gd name="connsiteY29" fmla="*/ 52077 h 59751"/>
                <a:gd name="connsiteX30" fmla="*/ 4013 w 105094"/>
                <a:gd name="connsiteY30" fmla="*/ 52077 h 59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094" h="59751">
                  <a:moveTo>
                    <a:pt x="2286" y="59724"/>
                  </a:moveTo>
                  <a:lnTo>
                    <a:pt x="17779" y="59724"/>
                  </a:lnTo>
                  <a:lnTo>
                    <a:pt x="25476" y="52077"/>
                  </a:lnTo>
                  <a:lnTo>
                    <a:pt x="31299" y="50547"/>
                  </a:lnTo>
                  <a:lnTo>
                    <a:pt x="46742" y="56665"/>
                  </a:lnTo>
                  <a:lnTo>
                    <a:pt x="54538" y="56665"/>
                  </a:lnTo>
                  <a:lnTo>
                    <a:pt x="56462" y="44380"/>
                  </a:lnTo>
                  <a:lnTo>
                    <a:pt x="66330" y="39791"/>
                  </a:lnTo>
                  <a:lnTo>
                    <a:pt x="68254" y="32143"/>
                  </a:lnTo>
                  <a:lnTo>
                    <a:pt x="89520" y="21436"/>
                  </a:lnTo>
                  <a:lnTo>
                    <a:pt x="105013" y="21436"/>
                  </a:lnTo>
                  <a:lnTo>
                    <a:pt x="103088" y="10680"/>
                  </a:lnTo>
                  <a:lnTo>
                    <a:pt x="95342" y="-27"/>
                  </a:lnTo>
                  <a:lnTo>
                    <a:pt x="85474" y="4562"/>
                  </a:lnTo>
                  <a:lnTo>
                    <a:pt x="70031" y="12210"/>
                  </a:lnTo>
                  <a:lnTo>
                    <a:pt x="66133" y="10680"/>
                  </a:lnTo>
                  <a:lnTo>
                    <a:pt x="62234" y="12210"/>
                  </a:lnTo>
                  <a:lnTo>
                    <a:pt x="54538" y="15318"/>
                  </a:lnTo>
                  <a:lnTo>
                    <a:pt x="46742" y="15318"/>
                  </a:lnTo>
                  <a:lnTo>
                    <a:pt x="36874" y="18377"/>
                  </a:lnTo>
                  <a:lnTo>
                    <a:pt x="31101" y="13739"/>
                  </a:lnTo>
                  <a:lnTo>
                    <a:pt x="17582" y="13739"/>
                  </a:lnTo>
                  <a:lnTo>
                    <a:pt x="11759" y="12210"/>
                  </a:lnTo>
                  <a:lnTo>
                    <a:pt x="1891" y="22966"/>
                  </a:lnTo>
                  <a:lnTo>
                    <a:pt x="3816" y="27554"/>
                  </a:lnTo>
                  <a:lnTo>
                    <a:pt x="-82" y="35202"/>
                  </a:lnTo>
                  <a:lnTo>
                    <a:pt x="1891" y="44380"/>
                  </a:lnTo>
                  <a:lnTo>
                    <a:pt x="1891" y="44380"/>
                  </a:lnTo>
                  <a:lnTo>
                    <a:pt x="11759" y="47439"/>
                  </a:lnTo>
                  <a:lnTo>
                    <a:pt x="9786" y="52077"/>
                  </a:lnTo>
                  <a:lnTo>
                    <a:pt x="4013" y="5207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Graphic 2">
              <a:extLst>
                <a:ext uri="{FF2B5EF4-FFF2-40B4-BE49-F238E27FC236}">
                  <a16:creationId xmlns:a16="http://schemas.microsoft.com/office/drawing/2014/main" id="{E2BE241B-33E7-4F36-BC9F-59EEFF3B01BD}"/>
                </a:ext>
              </a:extLst>
            </p:cNvPr>
            <p:cNvSpPr/>
            <p:nvPr/>
          </p:nvSpPr>
          <p:spPr>
            <a:xfrm>
              <a:off x="5689097" y="3132776"/>
              <a:ext cx="230630" cy="94938"/>
            </a:xfrm>
            <a:custGeom>
              <a:avLst/>
              <a:gdLst>
                <a:gd name="connsiteX0" fmla="*/ 149518 w 253855"/>
                <a:gd name="connsiteY0" fmla="*/ 98407 h 104502"/>
                <a:gd name="connsiteX1" fmla="*/ 155390 w 253855"/>
                <a:gd name="connsiteY1" fmla="*/ 99887 h 104502"/>
                <a:gd name="connsiteX2" fmla="*/ 169155 w 253855"/>
                <a:gd name="connsiteY2" fmla="*/ 99887 h 104502"/>
                <a:gd name="connsiteX3" fmla="*/ 175076 w 253855"/>
                <a:gd name="connsiteY3" fmla="*/ 104476 h 104502"/>
                <a:gd name="connsiteX4" fmla="*/ 184944 w 253855"/>
                <a:gd name="connsiteY4" fmla="*/ 101417 h 104502"/>
                <a:gd name="connsiteX5" fmla="*/ 192789 w 253855"/>
                <a:gd name="connsiteY5" fmla="*/ 101417 h 104502"/>
                <a:gd name="connsiteX6" fmla="*/ 200684 w 253855"/>
                <a:gd name="connsiteY6" fmla="*/ 98407 h 104502"/>
                <a:gd name="connsiteX7" fmla="*/ 204582 w 253855"/>
                <a:gd name="connsiteY7" fmla="*/ 96877 h 104502"/>
                <a:gd name="connsiteX8" fmla="*/ 208529 w 253855"/>
                <a:gd name="connsiteY8" fmla="*/ 98407 h 104502"/>
                <a:gd name="connsiteX9" fmla="*/ 224269 w 253855"/>
                <a:gd name="connsiteY9" fmla="*/ 90858 h 104502"/>
                <a:gd name="connsiteX10" fmla="*/ 234137 w 253855"/>
                <a:gd name="connsiteY10" fmla="*/ 86269 h 104502"/>
                <a:gd name="connsiteX11" fmla="*/ 240008 w 253855"/>
                <a:gd name="connsiteY11" fmla="*/ 80250 h 104502"/>
                <a:gd name="connsiteX12" fmla="*/ 236110 w 253855"/>
                <a:gd name="connsiteY12" fmla="*/ 75661 h 104502"/>
                <a:gd name="connsiteX13" fmla="*/ 238035 w 253855"/>
                <a:gd name="connsiteY13" fmla="*/ 69642 h 104502"/>
                <a:gd name="connsiteX14" fmla="*/ 240008 w 253855"/>
                <a:gd name="connsiteY14" fmla="*/ 63573 h 104502"/>
                <a:gd name="connsiteX15" fmla="*/ 234137 w 253855"/>
                <a:gd name="connsiteY15" fmla="*/ 55974 h 104502"/>
                <a:gd name="connsiteX16" fmla="*/ 236110 w 253855"/>
                <a:gd name="connsiteY16" fmla="*/ 52965 h 104502"/>
                <a:gd name="connsiteX17" fmla="*/ 251800 w 253855"/>
                <a:gd name="connsiteY17" fmla="*/ 52965 h 104502"/>
                <a:gd name="connsiteX18" fmla="*/ 253774 w 253855"/>
                <a:gd name="connsiteY18" fmla="*/ 46896 h 104502"/>
                <a:gd name="connsiteX19" fmla="*/ 251800 w 253855"/>
                <a:gd name="connsiteY19" fmla="*/ 40876 h 104502"/>
                <a:gd name="connsiteX20" fmla="*/ 249877 w 253855"/>
                <a:gd name="connsiteY20" fmla="*/ 24199 h 104502"/>
                <a:gd name="connsiteX21" fmla="*/ 249877 w 253855"/>
                <a:gd name="connsiteY21" fmla="*/ 15121 h 104502"/>
                <a:gd name="connsiteX22" fmla="*/ 236110 w 253855"/>
                <a:gd name="connsiteY22" fmla="*/ 12111 h 104502"/>
                <a:gd name="connsiteX23" fmla="*/ 230140 w 253855"/>
                <a:gd name="connsiteY23" fmla="*/ 5993 h 104502"/>
                <a:gd name="connsiteX24" fmla="*/ 220272 w 253855"/>
                <a:gd name="connsiteY24" fmla="*/ 9052 h 104502"/>
                <a:gd name="connsiteX25" fmla="*/ 208480 w 253855"/>
                <a:gd name="connsiteY25" fmla="*/ 7522 h 104502"/>
                <a:gd name="connsiteX26" fmla="*/ 200634 w 253855"/>
                <a:gd name="connsiteY26" fmla="*/ 2983 h 104502"/>
                <a:gd name="connsiteX27" fmla="*/ 188793 w 253855"/>
                <a:gd name="connsiteY27" fmla="*/ 2983 h 104502"/>
                <a:gd name="connsiteX28" fmla="*/ 180948 w 253855"/>
                <a:gd name="connsiteY28" fmla="*/ -27 h 104502"/>
                <a:gd name="connsiteX29" fmla="*/ 177001 w 253855"/>
                <a:gd name="connsiteY29" fmla="*/ 5993 h 104502"/>
                <a:gd name="connsiteX30" fmla="*/ 173103 w 253855"/>
                <a:gd name="connsiteY30" fmla="*/ 9052 h 104502"/>
                <a:gd name="connsiteX31" fmla="*/ 173103 w 253855"/>
                <a:gd name="connsiteY31" fmla="*/ 13591 h 104502"/>
                <a:gd name="connsiteX32" fmla="*/ 163235 w 253855"/>
                <a:gd name="connsiteY32" fmla="*/ 15121 h 104502"/>
                <a:gd name="connsiteX33" fmla="*/ 159337 w 253855"/>
                <a:gd name="connsiteY33" fmla="*/ 18130 h 104502"/>
                <a:gd name="connsiteX34" fmla="*/ 141574 w 253855"/>
                <a:gd name="connsiteY34" fmla="*/ 7522 h 104502"/>
                <a:gd name="connsiteX35" fmla="*/ 135703 w 253855"/>
                <a:gd name="connsiteY35" fmla="*/ 7522 h 104502"/>
                <a:gd name="connsiteX36" fmla="*/ 135703 w 253855"/>
                <a:gd name="connsiteY36" fmla="*/ 19660 h 104502"/>
                <a:gd name="connsiteX37" fmla="*/ 129782 w 253855"/>
                <a:gd name="connsiteY37" fmla="*/ 19660 h 104502"/>
                <a:gd name="connsiteX38" fmla="*/ 125884 w 253855"/>
                <a:gd name="connsiteY38" fmla="*/ 25729 h 104502"/>
                <a:gd name="connsiteX39" fmla="*/ 117989 w 253855"/>
                <a:gd name="connsiteY39" fmla="*/ 28738 h 104502"/>
                <a:gd name="connsiteX40" fmla="*/ 106148 w 253855"/>
                <a:gd name="connsiteY40" fmla="*/ 40876 h 104502"/>
                <a:gd name="connsiteX41" fmla="*/ 106148 w 253855"/>
                <a:gd name="connsiteY41" fmla="*/ 43886 h 104502"/>
                <a:gd name="connsiteX42" fmla="*/ 117989 w 253855"/>
                <a:gd name="connsiteY42" fmla="*/ 48425 h 104502"/>
                <a:gd name="connsiteX43" fmla="*/ 117989 w 253855"/>
                <a:gd name="connsiteY43" fmla="*/ 52965 h 104502"/>
                <a:gd name="connsiteX44" fmla="*/ 114042 w 253855"/>
                <a:gd name="connsiteY44" fmla="*/ 55974 h 104502"/>
                <a:gd name="connsiteX45" fmla="*/ 104174 w 253855"/>
                <a:gd name="connsiteY45" fmla="*/ 51484 h 104502"/>
                <a:gd name="connsiteX46" fmla="*/ 98303 w 253855"/>
                <a:gd name="connsiteY46" fmla="*/ 52965 h 104502"/>
                <a:gd name="connsiteX47" fmla="*/ 90408 w 253855"/>
                <a:gd name="connsiteY47" fmla="*/ 51484 h 104502"/>
                <a:gd name="connsiteX48" fmla="*/ 84537 w 253855"/>
                <a:gd name="connsiteY48" fmla="*/ 52965 h 104502"/>
                <a:gd name="connsiteX49" fmla="*/ 70721 w 253855"/>
                <a:gd name="connsiteY49" fmla="*/ 59034 h 104502"/>
                <a:gd name="connsiteX50" fmla="*/ 64850 w 253855"/>
                <a:gd name="connsiteY50" fmla="*/ 59034 h 104502"/>
                <a:gd name="connsiteX51" fmla="*/ 60903 w 253855"/>
                <a:gd name="connsiteY51" fmla="*/ 57504 h 104502"/>
                <a:gd name="connsiteX52" fmla="*/ 54982 w 253855"/>
                <a:gd name="connsiteY52" fmla="*/ 59034 h 104502"/>
                <a:gd name="connsiteX53" fmla="*/ 49110 w 253855"/>
                <a:gd name="connsiteY53" fmla="*/ 55974 h 104502"/>
                <a:gd name="connsiteX54" fmla="*/ 37318 w 253855"/>
                <a:gd name="connsiteY54" fmla="*/ 54494 h 104502"/>
                <a:gd name="connsiteX55" fmla="*/ 29424 w 253855"/>
                <a:gd name="connsiteY55" fmla="*/ 55974 h 104502"/>
                <a:gd name="connsiteX56" fmla="*/ 29424 w 253855"/>
                <a:gd name="connsiteY56" fmla="*/ 60514 h 104502"/>
                <a:gd name="connsiteX57" fmla="*/ 27450 w 253855"/>
                <a:gd name="connsiteY57" fmla="*/ 63573 h 104502"/>
                <a:gd name="connsiteX58" fmla="*/ 19556 w 253855"/>
                <a:gd name="connsiteY58" fmla="*/ 60514 h 104502"/>
                <a:gd name="connsiteX59" fmla="*/ 13684 w 253855"/>
                <a:gd name="connsiteY59" fmla="*/ 55974 h 104502"/>
                <a:gd name="connsiteX60" fmla="*/ 5789 w 253855"/>
                <a:gd name="connsiteY60" fmla="*/ 57504 h 104502"/>
                <a:gd name="connsiteX61" fmla="*/ 1892 w 253855"/>
                <a:gd name="connsiteY61" fmla="*/ 60514 h 104502"/>
                <a:gd name="connsiteX62" fmla="*/ -82 w 253855"/>
                <a:gd name="connsiteY62" fmla="*/ 60514 h 104502"/>
                <a:gd name="connsiteX63" fmla="*/ 3816 w 253855"/>
                <a:gd name="connsiteY63" fmla="*/ 63573 h 104502"/>
                <a:gd name="connsiteX64" fmla="*/ 3816 w 253855"/>
                <a:gd name="connsiteY64" fmla="*/ 68112 h 104502"/>
                <a:gd name="connsiteX65" fmla="*/ 9786 w 253855"/>
                <a:gd name="connsiteY65" fmla="*/ 71122 h 104502"/>
                <a:gd name="connsiteX66" fmla="*/ 9786 w 253855"/>
                <a:gd name="connsiteY66" fmla="*/ 75661 h 104502"/>
                <a:gd name="connsiteX67" fmla="*/ 15657 w 253855"/>
                <a:gd name="connsiteY67" fmla="*/ 75661 h 104502"/>
                <a:gd name="connsiteX68" fmla="*/ 19556 w 253855"/>
                <a:gd name="connsiteY68" fmla="*/ 74132 h 104502"/>
                <a:gd name="connsiteX69" fmla="*/ 27450 w 253855"/>
                <a:gd name="connsiteY69" fmla="*/ 80250 h 104502"/>
                <a:gd name="connsiteX70" fmla="*/ 33371 w 253855"/>
                <a:gd name="connsiteY70" fmla="*/ 75661 h 104502"/>
                <a:gd name="connsiteX71" fmla="*/ 37318 w 253855"/>
                <a:gd name="connsiteY71" fmla="*/ 75661 h 104502"/>
                <a:gd name="connsiteX72" fmla="*/ 43190 w 253855"/>
                <a:gd name="connsiteY72" fmla="*/ 80250 h 104502"/>
                <a:gd name="connsiteX73" fmla="*/ 43190 w 253855"/>
                <a:gd name="connsiteY73" fmla="*/ 80250 h 104502"/>
                <a:gd name="connsiteX74" fmla="*/ 54982 w 253855"/>
                <a:gd name="connsiteY74" fmla="*/ 84740 h 104502"/>
                <a:gd name="connsiteX75" fmla="*/ 72695 w 253855"/>
                <a:gd name="connsiteY75" fmla="*/ 75661 h 104502"/>
                <a:gd name="connsiteX76" fmla="*/ 80540 w 253855"/>
                <a:gd name="connsiteY76" fmla="*/ 77191 h 104502"/>
                <a:gd name="connsiteX77" fmla="*/ 92382 w 253855"/>
                <a:gd name="connsiteY77" fmla="*/ 77191 h 104502"/>
                <a:gd name="connsiteX78" fmla="*/ 92382 w 253855"/>
                <a:gd name="connsiteY78" fmla="*/ 83260 h 104502"/>
                <a:gd name="connsiteX79" fmla="*/ 108121 w 253855"/>
                <a:gd name="connsiteY79" fmla="*/ 92338 h 104502"/>
                <a:gd name="connsiteX80" fmla="*/ 131706 w 253855"/>
                <a:gd name="connsiteY80" fmla="*/ 95397 h 104502"/>
                <a:gd name="connsiteX81" fmla="*/ 143498 w 253855"/>
                <a:gd name="connsiteY81" fmla="*/ 95397 h 104502"/>
                <a:gd name="connsiteX82" fmla="*/ 149419 w 253855"/>
                <a:gd name="connsiteY82" fmla="*/ 98407 h 10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53855" h="104502">
                  <a:moveTo>
                    <a:pt x="149518" y="98407"/>
                  </a:moveTo>
                  <a:lnTo>
                    <a:pt x="155390" y="99887"/>
                  </a:lnTo>
                  <a:lnTo>
                    <a:pt x="169155" y="99887"/>
                  </a:lnTo>
                  <a:lnTo>
                    <a:pt x="175076" y="104476"/>
                  </a:lnTo>
                  <a:lnTo>
                    <a:pt x="184944" y="101417"/>
                  </a:lnTo>
                  <a:lnTo>
                    <a:pt x="192789" y="101417"/>
                  </a:lnTo>
                  <a:lnTo>
                    <a:pt x="200684" y="98407"/>
                  </a:lnTo>
                  <a:lnTo>
                    <a:pt x="204582" y="96877"/>
                  </a:lnTo>
                  <a:lnTo>
                    <a:pt x="208529" y="98407"/>
                  </a:lnTo>
                  <a:lnTo>
                    <a:pt x="224269" y="90858"/>
                  </a:lnTo>
                  <a:lnTo>
                    <a:pt x="234137" y="86269"/>
                  </a:lnTo>
                  <a:lnTo>
                    <a:pt x="240008" y="80250"/>
                  </a:lnTo>
                  <a:lnTo>
                    <a:pt x="236110" y="75661"/>
                  </a:lnTo>
                  <a:lnTo>
                    <a:pt x="238035" y="69642"/>
                  </a:lnTo>
                  <a:lnTo>
                    <a:pt x="240008" y="63573"/>
                  </a:lnTo>
                  <a:lnTo>
                    <a:pt x="234137" y="55974"/>
                  </a:lnTo>
                  <a:lnTo>
                    <a:pt x="236110" y="52965"/>
                  </a:lnTo>
                  <a:lnTo>
                    <a:pt x="251800" y="52965"/>
                  </a:lnTo>
                  <a:lnTo>
                    <a:pt x="253774" y="46896"/>
                  </a:lnTo>
                  <a:lnTo>
                    <a:pt x="251800" y="40876"/>
                  </a:lnTo>
                  <a:lnTo>
                    <a:pt x="249877" y="24199"/>
                  </a:lnTo>
                  <a:lnTo>
                    <a:pt x="249877" y="15121"/>
                  </a:lnTo>
                  <a:lnTo>
                    <a:pt x="236110" y="12111"/>
                  </a:lnTo>
                  <a:lnTo>
                    <a:pt x="230140" y="5993"/>
                  </a:lnTo>
                  <a:lnTo>
                    <a:pt x="220272" y="9052"/>
                  </a:lnTo>
                  <a:lnTo>
                    <a:pt x="208480" y="7522"/>
                  </a:lnTo>
                  <a:lnTo>
                    <a:pt x="200634" y="2983"/>
                  </a:lnTo>
                  <a:lnTo>
                    <a:pt x="188793" y="2983"/>
                  </a:lnTo>
                  <a:lnTo>
                    <a:pt x="180948" y="-27"/>
                  </a:lnTo>
                  <a:lnTo>
                    <a:pt x="177001" y="5993"/>
                  </a:lnTo>
                  <a:lnTo>
                    <a:pt x="173103" y="9052"/>
                  </a:lnTo>
                  <a:lnTo>
                    <a:pt x="173103" y="13591"/>
                  </a:lnTo>
                  <a:lnTo>
                    <a:pt x="163235" y="15121"/>
                  </a:lnTo>
                  <a:lnTo>
                    <a:pt x="159337" y="18130"/>
                  </a:lnTo>
                  <a:lnTo>
                    <a:pt x="141574" y="7522"/>
                  </a:lnTo>
                  <a:lnTo>
                    <a:pt x="135703" y="7522"/>
                  </a:lnTo>
                  <a:lnTo>
                    <a:pt x="135703" y="19660"/>
                  </a:lnTo>
                  <a:lnTo>
                    <a:pt x="129782" y="19660"/>
                  </a:lnTo>
                  <a:lnTo>
                    <a:pt x="125884" y="25729"/>
                  </a:lnTo>
                  <a:lnTo>
                    <a:pt x="117989" y="28738"/>
                  </a:lnTo>
                  <a:lnTo>
                    <a:pt x="106148" y="40876"/>
                  </a:lnTo>
                  <a:lnTo>
                    <a:pt x="106148" y="43886"/>
                  </a:lnTo>
                  <a:lnTo>
                    <a:pt x="117989" y="48425"/>
                  </a:lnTo>
                  <a:lnTo>
                    <a:pt x="117989" y="52965"/>
                  </a:lnTo>
                  <a:lnTo>
                    <a:pt x="114042" y="55974"/>
                  </a:lnTo>
                  <a:lnTo>
                    <a:pt x="104174" y="51484"/>
                  </a:lnTo>
                  <a:lnTo>
                    <a:pt x="98303" y="52965"/>
                  </a:lnTo>
                  <a:lnTo>
                    <a:pt x="90408" y="51484"/>
                  </a:lnTo>
                  <a:lnTo>
                    <a:pt x="84537" y="52965"/>
                  </a:lnTo>
                  <a:lnTo>
                    <a:pt x="70721" y="59034"/>
                  </a:lnTo>
                  <a:lnTo>
                    <a:pt x="64850" y="59034"/>
                  </a:lnTo>
                  <a:lnTo>
                    <a:pt x="60903" y="57504"/>
                  </a:lnTo>
                  <a:lnTo>
                    <a:pt x="54982" y="59034"/>
                  </a:lnTo>
                  <a:lnTo>
                    <a:pt x="49110" y="55974"/>
                  </a:lnTo>
                  <a:lnTo>
                    <a:pt x="37318" y="54494"/>
                  </a:lnTo>
                  <a:lnTo>
                    <a:pt x="29424" y="55974"/>
                  </a:lnTo>
                  <a:lnTo>
                    <a:pt x="29424" y="60514"/>
                  </a:lnTo>
                  <a:lnTo>
                    <a:pt x="27450" y="63573"/>
                  </a:lnTo>
                  <a:lnTo>
                    <a:pt x="19556" y="60514"/>
                  </a:lnTo>
                  <a:lnTo>
                    <a:pt x="13684" y="55974"/>
                  </a:lnTo>
                  <a:lnTo>
                    <a:pt x="5789" y="57504"/>
                  </a:lnTo>
                  <a:lnTo>
                    <a:pt x="1892" y="60514"/>
                  </a:lnTo>
                  <a:lnTo>
                    <a:pt x="-82" y="60514"/>
                  </a:lnTo>
                  <a:lnTo>
                    <a:pt x="3816" y="63573"/>
                  </a:lnTo>
                  <a:lnTo>
                    <a:pt x="3816" y="68112"/>
                  </a:lnTo>
                  <a:lnTo>
                    <a:pt x="9786" y="71122"/>
                  </a:lnTo>
                  <a:lnTo>
                    <a:pt x="9786" y="75661"/>
                  </a:lnTo>
                  <a:lnTo>
                    <a:pt x="15657" y="75661"/>
                  </a:lnTo>
                  <a:lnTo>
                    <a:pt x="19556" y="74132"/>
                  </a:lnTo>
                  <a:lnTo>
                    <a:pt x="27450" y="80250"/>
                  </a:lnTo>
                  <a:lnTo>
                    <a:pt x="33371" y="75661"/>
                  </a:lnTo>
                  <a:lnTo>
                    <a:pt x="37318" y="75661"/>
                  </a:lnTo>
                  <a:lnTo>
                    <a:pt x="43190" y="80250"/>
                  </a:lnTo>
                  <a:lnTo>
                    <a:pt x="43190" y="80250"/>
                  </a:lnTo>
                  <a:lnTo>
                    <a:pt x="54982" y="84740"/>
                  </a:lnTo>
                  <a:lnTo>
                    <a:pt x="72695" y="75661"/>
                  </a:lnTo>
                  <a:lnTo>
                    <a:pt x="80540" y="77191"/>
                  </a:lnTo>
                  <a:lnTo>
                    <a:pt x="92382" y="77191"/>
                  </a:lnTo>
                  <a:lnTo>
                    <a:pt x="92382" y="83260"/>
                  </a:lnTo>
                  <a:lnTo>
                    <a:pt x="108121" y="92338"/>
                  </a:lnTo>
                  <a:lnTo>
                    <a:pt x="131706" y="95397"/>
                  </a:lnTo>
                  <a:lnTo>
                    <a:pt x="143498" y="95397"/>
                  </a:lnTo>
                  <a:lnTo>
                    <a:pt x="149419" y="9840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Graphic 2">
              <a:extLst>
                <a:ext uri="{FF2B5EF4-FFF2-40B4-BE49-F238E27FC236}">
                  <a16:creationId xmlns:a16="http://schemas.microsoft.com/office/drawing/2014/main" id="{3BF840E2-5CDF-43BA-B61D-8DF26AF98555}"/>
                </a:ext>
              </a:extLst>
            </p:cNvPr>
            <p:cNvSpPr/>
            <p:nvPr/>
          </p:nvSpPr>
          <p:spPr>
            <a:xfrm>
              <a:off x="5818061" y="2909011"/>
              <a:ext cx="305042" cy="216952"/>
            </a:xfrm>
            <a:custGeom>
              <a:avLst/>
              <a:gdLst>
                <a:gd name="connsiteX0" fmla="*/ 201375 w 335760"/>
                <a:gd name="connsiteY0" fmla="*/ 237251 h 238807"/>
                <a:gd name="connsiteX1" fmla="*/ 211243 w 335760"/>
                <a:gd name="connsiteY1" fmla="*/ 237251 h 238807"/>
                <a:gd name="connsiteX2" fmla="*/ 215190 w 335760"/>
                <a:gd name="connsiteY2" fmla="*/ 232761 h 238807"/>
                <a:gd name="connsiteX3" fmla="*/ 221111 w 335760"/>
                <a:gd name="connsiteY3" fmla="*/ 231231 h 238807"/>
                <a:gd name="connsiteX4" fmla="*/ 234926 w 335760"/>
                <a:gd name="connsiteY4" fmla="*/ 231231 h 238807"/>
                <a:gd name="connsiteX5" fmla="*/ 238873 w 335760"/>
                <a:gd name="connsiteY5" fmla="*/ 234241 h 238807"/>
                <a:gd name="connsiteX6" fmla="*/ 242821 w 335760"/>
                <a:gd name="connsiteY6" fmla="*/ 229751 h 238807"/>
                <a:gd name="connsiteX7" fmla="*/ 250764 w 335760"/>
                <a:gd name="connsiteY7" fmla="*/ 229751 h 238807"/>
                <a:gd name="connsiteX8" fmla="*/ 256636 w 335760"/>
                <a:gd name="connsiteY8" fmla="*/ 231231 h 238807"/>
                <a:gd name="connsiteX9" fmla="*/ 260632 w 335760"/>
                <a:gd name="connsiteY9" fmla="*/ 229751 h 238807"/>
                <a:gd name="connsiteX10" fmla="*/ 274448 w 335760"/>
                <a:gd name="connsiteY10" fmla="*/ 231231 h 238807"/>
                <a:gd name="connsiteX11" fmla="*/ 290237 w 335760"/>
                <a:gd name="connsiteY11" fmla="*/ 237251 h 238807"/>
                <a:gd name="connsiteX12" fmla="*/ 296157 w 335760"/>
                <a:gd name="connsiteY12" fmla="*/ 238781 h 238807"/>
                <a:gd name="connsiteX13" fmla="*/ 298131 w 335760"/>
                <a:gd name="connsiteY13" fmla="*/ 229751 h 238807"/>
                <a:gd name="connsiteX14" fmla="*/ 296157 w 335760"/>
                <a:gd name="connsiteY14" fmla="*/ 219143 h 238807"/>
                <a:gd name="connsiteX15" fmla="*/ 319890 w 335760"/>
                <a:gd name="connsiteY15" fmla="*/ 197976 h 238807"/>
                <a:gd name="connsiteX16" fmla="*/ 321864 w 335760"/>
                <a:gd name="connsiteY16" fmla="*/ 190427 h 238807"/>
                <a:gd name="connsiteX17" fmla="*/ 327785 w 335760"/>
                <a:gd name="connsiteY17" fmla="*/ 185888 h 238807"/>
                <a:gd name="connsiteX18" fmla="*/ 333706 w 335760"/>
                <a:gd name="connsiteY18" fmla="*/ 184407 h 238807"/>
                <a:gd name="connsiteX19" fmla="*/ 335679 w 335760"/>
                <a:gd name="connsiteY19" fmla="*/ 176809 h 238807"/>
                <a:gd name="connsiteX20" fmla="*/ 331732 w 335760"/>
                <a:gd name="connsiteY20" fmla="*/ 170790 h 238807"/>
                <a:gd name="connsiteX21" fmla="*/ 331732 w 335760"/>
                <a:gd name="connsiteY21" fmla="*/ 166250 h 238807"/>
                <a:gd name="connsiteX22" fmla="*/ 333706 w 335760"/>
                <a:gd name="connsiteY22" fmla="*/ 163240 h 238807"/>
                <a:gd name="connsiteX23" fmla="*/ 325811 w 335760"/>
                <a:gd name="connsiteY23" fmla="*/ 158701 h 238807"/>
                <a:gd name="connsiteX24" fmla="*/ 321864 w 335760"/>
                <a:gd name="connsiteY24" fmla="*/ 151152 h 238807"/>
                <a:gd name="connsiteX25" fmla="*/ 317916 w 335760"/>
                <a:gd name="connsiteY25" fmla="*/ 145083 h 238807"/>
                <a:gd name="connsiteX26" fmla="*/ 317916 w 335760"/>
                <a:gd name="connsiteY26" fmla="*/ 122386 h 238807"/>
                <a:gd name="connsiteX27" fmla="*/ 310022 w 335760"/>
                <a:gd name="connsiteY27" fmla="*/ 113357 h 238807"/>
                <a:gd name="connsiteX28" fmla="*/ 306075 w 335760"/>
                <a:gd name="connsiteY28" fmla="*/ 104279 h 238807"/>
                <a:gd name="connsiteX29" fmla="*/ 311996 w 335760"/>
                <a:gd name="connsiteY29" fmla="*/ 98210 h 238807"/>
                <a:gd name="connsiteX30" fmla="*/ 319890 w 335760"/>
                <a:gd name="connsiteY30" fmla="*/ 93671 h 238807"/>
                <a:gd name="connsiteX31" fmla="*/ 319890 w 335760"/>
                <a:gd name="connsiteY31" fmla="*/ 75513 h 238807"/>
                <a:gd name="connsiteX32" fmla="*/ 315943 w 335760"/>
                <a:gd name="connsiteY32" fmla="*/ 72503 h 238807"/>
                <a:gd name="connsiteX33" fmla="*/ 311996 w 335760"/>
                <a:gd name="connsiteY33" fmla="*/ 64954 h 238807"/>
                <a:gd name="connsiteX34" fmla="*/ 308048 w 335760"/>
                <a:gd name="connsiteY34" fmla="*/ 58935 h 238807"/>
                <a:gd name="connsiteX35" fmla="*/ 302128 w 335760"/>
                <a:gd name="connsiteY35" fmla="*/ 43787 h 238807"/>
                <a:gd name="connsiteX36" fmla="*/ 296157 w 335760"/>
                <a:gd name="connsiteY36" fmla="*/ 34758 h 238807"/>
                <a:gd name="connsiteX37" fmla="*/ 298131 w 335760"/>
                <a:gd name="connsiteY37" fmla="*/ 28689 h 238807"/>
                <a:gd name="connsiteX38" fmla="*/ 294184 w 335760"/>
                <a:gd name="connsiteY38" fmla="*/ 16601 h 238807"/>
                <a:gd name="connsiteX39" fmla="*/ 290237 w 335760"/>
                <a:gd name="connsiteY39" fmla="*/ 16601 h 238807"/>
                <a:gd name="connsiteX40" fmla="*/ 282342 w 335760"/>
                <a:gd name="connsiteY40" fmla="*/ 10581 h 238807"/>
                <a:gd name="connsiteX41" fmla="*/ 233002 w 335760"/>
                <a:gd name="connsiteY41" fmla="*/ 15071 h 238807"/>
                <a:gd name="connsiteX42" fmla="*/ 187559 w 335760"/>
                <a:gd name="connsiteY42" fmla="*/ 12062 h 238807"/>
                <a:gd name="connsiteX43" fmla="*/ 183612 w 335760"/>
                <a:gd name="connsiteY43" fmla="*/ 13591 h 238807"/>
                <a:gd name="connsiteX44" fmla="*/ 169797 w 335760"/>
                <a:gd name="connsiteY44" fmla="*/ 24150 h 238807"/>
                <a:gd name="connsiteX45" fmla="*/ 159929 w 335760"/>
                <a:gd name="connsiteY45" fmla="*/ 25680 h 238807"/>
                <a:gd name="connsiteX46" fmla="*/ 157955 w 335760"/>
                <a:gd name="connsiteY46" fmla="*/ 24150 h 238807"/>
                <a:gd name="connsiteX47" fmla="*/ 167823 w 335760"/>
                <a:gd name="connsiteY47" fmla="*/ 19611 h 238807"/>
                <a:gd name="connsiteX48" fmla="*/ 177691 w 335760"/>
                <a:gd name="connsiteY48" fmla="*/ 10581 h 238807"/>
                <a:gd name="connsiteX49" fmla="*/ 173744 w 335760"/>
                <a:gd name="connsiteY49" fmla="*/ 10581 h 238807"/>
                <a:gd name="connsiteX50" fmla="*/ 165850 w 335760"/>
                <a:gd name="connsiteY50" fmla="*/ 16601 h 238807"/>
                <a:gd name="connsiteX51" fmla="*/ 153959 w 335760"/>
                <a:gd name="connsiteY51" fmla="*/ 22670 h 238807"/>
                <a:gd name="connsiteX52" fmla="*/ 136196 w 335760"/>
                <a:gd name="connsiteY52" fmla="*/ 19611 h 238807"/>
                <a:gd name="connsiteX53" fmla="*/ 132249 w 335760"/>
                <a:gd name="connsiteY53" fmla="*/ 10581 h 238807"/>
                <a:gd name="connsiteX54" fmla="*/ 136196 w 335760"/>
                <a:gd name="connsiteY54" fmla="*/ 5993 h 238807"/>
                <a:gd name="connsiteX55" fmla="*/ 146064 w 335760"/>
                <a:gd name="connsiteY55" fmla="*/ 7522 h 238807"/>
                <a:gd name="connsiteX56" fmla="*/ 148087 w 335760"/>
                <a:gd name="connsiteY56" fmla="*/ 9052 h 238807"/>
                <a:gd name="connsiteX57" fmla="*/ 150060 w 335760"/>
                <a:gd name="connsiteY57" fmla="*/ 7522 h 238807"/>
                <a:gd name="connsiteX58" fmla="*/ 138170 w 335760"/>
                <a:gd name="connsiteY58" fmla="*/ 2983 h 238807"/>
                <a:gd name="connsiteX59" fmla="*/ 120358 w 335760"/>
                <a:gd name="connsiteY59" fmla="*/ -27 h 238807"/>
                <a:gd name="connsiteX60" fmla="*/ 104569 w 335760"/>
                <a:gd name="connsiteY60" fmla="*/ 5993 h 238807"/>
                <a:gd name="connsiteX61" fmla="*/ 94701 w 335760"/>
                <a:gd name="connsiteY61" fmla="*/ 4512 h 238807"/>
                <a:gd name="connsiteX62" fmla="*/ 84833 w 335760"/>
                <a:gd name="connsiteY62" fmla="*/ 7522 h 238807"/>
                <a:gd name="connsiteX63" fmla="*/ 78912 w 335760"/>
                <a:gd name="connsiteY63" fmla="*/ 15071 h 238807"/>
                <a:gd name="connsiteX64" fmla="*/ 67021 w 335760"/>
                <a:gd name="connsiteY64" fmla="*/ 15071 h 238807"/>
                <a:gd name="connsiteX65" fmla="*/ 61100 w 335760"/>
                <a:gd name="connsiteY65" fmla="*/ 22670 h 238807"/>
                <a:gd name="connsiteX66" fmla="*/ 61100 w 335760"/>
                <a:gd name="connsiteY66" fmla="*/ 27012 h 238807"/>
                <a:gd name="connsiteX67" fmla="*/ 49258 w 335760"/>
                <a:gd name="connsiteY67" fmla="*/ 27012 h 238807"/>
                <a:gd name="connsiteX68" fmla="*/ 31496 w 335760"/>
                <a:gd name="connsiteY68" fmla="*/ 34610 h 238807"/>
                <a:gd name="connsiteX69" fmla="*/ 21628 w 335760"/>
                <a:gd name="connsiteY69" fmla="*/ 36090 h 238807"/>
                <a:gd name="connsiteX70" fmla="*/ 17681 w 335760"/>
                <a:gd name="connsiteY70" fmla="*/ 42110 h 238807"/>
                <a:gd name="connsiteX71" fmla="*/ 13782 w 335760"/>
                <a:gd name="connsiteY71" fmla="*/ 51188 h 238807"/>
                <a:gd name="connsiteX72" fmla="*/ 11809 w 335760"/>
                <a:gd name="connsiteY72" fmla="*/ 52718 h 238807"/>
                <a:gd name="connsiteX73" fmla="*/ 13782 w 335760"/>
                <a:gd name="connsiteY73" fmla="*/ 55777 h 238807"/>
                <a:gd name="connsiteX74" fmla="*/ 9786 w 335760"/>
                <a:gd name="connsiteY74" fmla="*/ 55777 h 238807"/>
                <a:gd name="connsiteX75" fmla="*/ 13782 w 335760"/>
                <a:gd name="connsiteY75" fmla="*/ 67865 h 238807"/>
                <a:gd name="connsiteX76" fmla="*/ 11809 w 335760"/>
                <a:gd name="connsiteY76" fmla="*/ 79954 h 238807"/>
                <a:gd name="connsiteX77" fmla="*/ -82 w 335760"/>
                <a:gd name="connsiteY77" fmla="*/ 82964 h 238807"/>
                <a:gd name="connsiteX78" fmla="*/ -82 w 335760"/>
                <a:gd name="connsiteY78" fmla="*/ 87454 h 238807"/>
                <a:gd name="connsiteX79" fmla="*/ 13782 w 335760"/>
                <a:gd name="connsiteY79" fmla="*/ 98062 h 238807"/>
                <a:gd name="connsiteX80" fmla="*/ 11809 w 335760"/>
                <a:gd name="connsiteY80" fmla="*/ 104131 h 238807"/>
                <a:gd name="connsiteX81" fmla="*/ 17681 w 335760"/>
                <a:gd name="connsiteY81" fmla="*/ 110150 h 238807"/>
                <a:gd name="connsiteX82" fmla="*/ 17681 w 335760"/>
                <a:gd name="connsiteY82" fmla="*/ 114689 h 238807"/>
                <a:gd name="connsiteX83" fmla="*/ 19654 w 335760"/>
                <a:gd name="connsiteY83" fmla="*/ 120758 h 238807"/>
                <a:gd name="connsiteX84" fmla="*/ 17681 w 335760"/>
                <a:gd name="connsiteY84" fmla="*/ 126827 h 238807"/>
                <a:gd name="connsiteX85" fmla="*/ 23601 w 335760"/>
                <a:gd name="connsiteY85" fmla="*/ 138916 h 238807"/>
                <a:gd name="connsiteX86" fmla="*/ 27598 w 335760"/>
                <a:gd name="connsiteY86" fmla="*/ 140396 h 238807"/>
                <a:gd name="connsiteX87" fmla="*/ 31545 w 335760"/>
                <a:gd name="connsiteY87" fmla="*/ 144935 h 238807"/>
                <a:gd name="connsiteX88" fmla="*/ 31545 w 335760"/>
                <a:gd name="connsiteY88" fmla="*/ 161563 h 238807"/>
                <a:gd name="connsiteX89" fmla="*/ 29572 w 335760"/>
                <a:gd name="connsiteY89" fmla="*/ 164573 h 238807"/>
                <a:gd name="connsiteX90" fmla="*/ 33519 w 335760"/>
                <a:gd name="connsiteY90" fmla="*/ 169112 h 238807"/>
                <a:gd name="connsiteX91" fmla="*/ 35492 w 335760"/>
                <a:gd name="connsiteY91" fmla="*/ 166102 h 238807"/>
                <a:gd name="connsiteX92" fmla="*/ 43387 w 335760"/>
                <a:gd name="connsiteY92" fmla="*/ 167582 h 238807"/>
                <a:gd name="connsiteX93" fmla="*/ 47334 w 335760"/>
                <a:gd name="connsiteY93" fmla="*/ 166102 h 238807"/>
                <a:gd name="connsiteX94" fmla="*/ 61149 w 335760"/>
                <a:gd name="connsiteY94" fmla="*/ 167582 h 238807"/>
                <a:gd name="connsiteX95" fmla="*/ 61149 w 335760"/>
                <a:gd name="connsiteY95" fmla="*/ 170641 h 238807"/>
                <a:gd name="connsiteX96" fmla="*/ 67070 w 335760"/>
                <a:gd name="connsiteY96" fmla="*/ 178191 h 238807"/>
                <a:gd name="connsiteX97" fmla="*/ 75014 w 335760"/>
                <a:gd name="connsiteY97" fmla="*/ 176661 h 238807"/>
                <a:gd name="connsiteX98" fmla="*/ 78961 w 335760"/>
                <a:gd name="connsiteY98" fmla="*/ 181200 h 238807"/>
                <a:gd name="connsiteX99" fmla="*/ 75014 w 335760"/>
                <a:gd name="connsiteY99" fmla="*/ 187269 h 238807"/>
                <a:gd name="connsiteX100" fmla="*/ 78961 w 335760"/>
                <a:gd name="connsiteY100" fmla="*/ 190279 h 238807"/>
                <a:gd name="connsiteX101" fmla="*/ 80935 w 335760"/>
                <a:gd name="connsiteY101" fmla="*/ 191759 h 238807"/>
                <a:gd name="connsiteX102" fmla="*/ 80935 w 335760"/>
                <a:gd name="connsiteY102" fmla="*/ 197828 h 238807"/>
                <a:gd name="connsiteX103" fmla="*/ 84882 w 335760"/>
                <a:gd name="connsiteY103" fmla="*/ 199357 h 238807"/>
                <a:gd name="connsiteX104" fmla="*/ 88830 w 335760"/>
                <a:gd name="connsiteY104" fmla="*/ 196348 h 238807"/>
                <a:gd name="connsiteX105" fmla="*/ 92776 w 335760"/>
                <a:gd name="connsiteY105" fmla="*/ 196348 h 238807"/>
                <a:gd name="connsiteX106" fmla="*/ 84882 w 335760"/>
                <a:gd name="connsiteY106" fmla="*/ 187269 h 238807"/>
                <a:gd name="connsiteX107" fmla="*/ 88830 w 335760"/>
                <a:gd name="connsiteY107" fmla="*/ 185740 h 238807"/>
                <a:gd name="connsiteX108" fmla="*/ 104618 w 335760"/>
                <a:gd name="connsiteY108" fmla="*/ 193289 h 238807"/>
                <a:gd name="connsiteX109" fmla="*/ 116509 w 335760"/>
                <a:gd name="connsiteY109" fmla="*/ 191759 h 238807"/>
                <a:gd name="connsiteX110" fmla="*/ 114536 w 335760"/>
                <a:gd name="connsiteY110" fmla="*/ 196348 h 238807"/>
                <a:gd name="connsiteX111" fmla="*/ 122381 w 335760"/>
                <a:gd name="connsiteY111" fmla="*/ 203897 h 238807"/>
                <a:gd name="connsiteX112" fmla="*/ 134272 w 335760"/>
                <a:gd name="connsiteY112" fmla="*/ 199357 h 238807"/>
                <a:gd name="connsiteX113" fmla="*/ 146114 w 335760"/>
                <a:gd name="connsiteY113" fmla="*/ 203897 h 238807"/>
                <a:gd name="connsiteX114" fmla="*/ 167872 w 335760"/>
                <a:gd name="connsiteY114" fmla="*/ 215985 h 238807"/>
                <a:gd name="connsiteX115" fmla="*/ 173793 w 335760"/>
                <a:gd name="connsiteY115" fmla="*/ 225015 h 238807"/>
                <a:gd name="connsiteX116" fmla="*/ 181688 w 335760"/>
                <a:gd name="connsiteY116" fmla="*/ 226544 h 238807"/>
                <a:gd name="connsiteX117" fmla="*/ 185635 w 335760"/>
                <a:gd name="connsiteY117" fmla="*/ 223534 h 238807"/>
                <a:gd name="connsiteX118" fmla="*/ 193530 w 335760"/>
                <a:gd name="connsiteY118" fmla="*/ 223534 h 238807"/>
                <a:gd name="connsiteX119" fmla="*/ 199450 w 335760"/>
                <a:gd name="connsiteY119" fmla="*/ 229603 h 238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35760" h="238807">
                  <a:moveTo>
                    <a:pt x="201375" y="237251"/>
                  </a:moveTo>
                  <a:lnTo>
                    <a:pt x="211243" y="237251"/>
                  </a:lnTo>
                  <a:lnTo>
                    <a:pt x="215190" y="232761"/>
                  </a:lnTo>
                  <a:lnTo>
                    <a:pt x="221111" y="231231"/>
                  </a:lnTo>
                  <a:lnTo>
                    <a:pt x="234926" y="231231"/>
                  </a:lnTo>
                  <a:lnTo>
                    <a:pt x="238873" y="234241"/>
                  </a:lnTo>
                  <a:lnTo>
                    <a:pt x="242821" y="229751"/>
                  </a:lnTo>
                  <a:lnTo>
                    <a:pt x="250764" y="229751"/>
                  </a:lnTo>
                  <a:lnTo>
                    <a:pt x="256636" y="231231"/>
                  </a:lnTo>
                  <a:lnTo>
                    <a:pt x="260632" y="229751"/>
                  </a:lnTo>
                  <a:lnTo>
                    <a:pt x="274448" y="231231"/>
                  </a:lnTo>
                  <a:lnTo>
                    <a:pt x="290237" y="237251"/>
                  </a:lnTo>
                  <a:lnTo>
                    <a:pt x="296157" y="238781"/>
                  </a:lnTo>
                  <a:lnTo>
                    <a:pt x="298131" y="229751"/>
                  </a:lnTo>
                  <a:lnTo>
                    <a:pt x="296157" y="219143"/>
                  </a:lnTo>
                  <a:lnTo>
                    <a:pt x="319890" y="197976"/>
                  </a:lnTo>
                  <a:lnTo>
                    <a:pt x="321864" y="190427"/>
                  </a:lnTo>
                  <a:lnTo>
                    <a:pt x="327785" y="185888"/>
                  </a:lnTo>
                  <a:lnTo>
                    <a:pt x="333706" y="184407"/>
                  </a:lnTo>
                  <a:lnTo>
                    <a:pt x="335679" y="176809"/>
                  </a:lnTo>
                  <a:lnTo>
                    <a:pt x="331732" y="170790"/>
                  </a:lnTo>
                  <a:lnTo>
                    <a:pt x="331732" y="166250"/>
                  </a:lnTo>
                  <a:lnTo>
                    <a:pt x="333706" y="163240"/>
                  </a:lnTo>
                  <a:lnTo>
                    <a:pt x="325811" y="158701"/>
                  </a:lnTo>
                  <a:lnTo>
                    <a:pt x="321864" y="151152"/>
                  </a:lnTo>
                  <a:lnTo>
                    <a:pt x="317916" y="145083"/>
                  </a:lnTo>
                  <a:lnTo>
                    <a:pt x="317916" y="122386"/>
                  </a:lnTo>
                  <a:lnTo>
                    <a:pt x="310022" y="113357"/>
                  </a:lnTo>
                  <a:lnTo>
                    <a:pt x="306075" y="104279"/>
                  </a:lnTo>
                  <a:lnTo>
                    <a:pt x="311996" y="98210"/>
                  </a:lnTo>
                  <a:lnTo>
                    <a:pt x="319890" y="93671"/>
                  </a:lnTo>
                  <a:lnTo>
                    <a:pt x="319890" y="75513"/>
                  </a:lnTo>
                  <a:lnTo>
                    <a:pt x="315943" y="72503"/>
                  </a:lnTo>
                  <a:lnTo>
                    <a:pt x="311996" y="64954"/>
                  </a:lnTo>
                  <a:lnTo>
                    <a:pt x="308048" y="58935"/>
                  </a:lnTo>
                  <a:lnTo>
                    <a:pt x="302128" y="43787"/>
                  </a:lnTo>
                  <a:lnTo>
                    <a:pt x="296157" y="34758"/>
                  </a:lnTo>
                  <a:lnTo>
                    <a:pt x="298131" y="28689"/>
                  </a:lnTo>
                  <a:lnTo>
                    <a:pt x="294184" y="16601"/>
                  </a:lnTo>
                  <a:lnTo>
                    <a:pt x="290237" y="16601"/>
                  </a:lnTo>
                  <a:lnTo>
                    <a:pt x="282342" y="10581"/>
                  </a:lnTo>
                  <a:lnTo>
                    <a:pt x="233002" y="15071"/>
                  </a:lnTo>
                  <a:lnTo>
                    <a:pt x="187559" y="12062"/>
                  </a:lnTo>
                  <a:lnTo>
                    <a:pt x="183612" y="13591"/>
                  </a:lnTo>
                  <a:lnTo>
                    <a:pt x="169797" y="24150"/>
                  </a:lnTo>
                  <a:lnTo>
                    <a:pt x="159929" y="25680"/>
                  </a:lnTo>
                  <a:lnTo>
                    <a:pt x="157955" y="24150"/>
                  </a:lnTo>
                  <a:lnTo>
                    <a:pt x="167823" y="19611"/>
                  </a:lnTo>
                  <a:lnTo>
                    <a:pt x="177691" y="10581"/>
                  </a:lnTo>
                  <a:lnTo>
                    <a:pt x="173744" y="10581"/>
                  </a:lnTo>
                  <a:lnTo>
                    <a:pt x="165850" y="16601"/>
                  </a:lnTo>
                  <a:lnTo>
                    <a:pt x="153959" y="22670"/>
                  </a:lnTo>
                  <a:lnTo>
                    <a:pt x="136196" y="19611"/>
                  </a:lnTo>
                  <a:lnTo>
                    <a:pt x="132249" y="10581"/>
                  </a:lnTo>
                  <a:lnTo>
                    <a:pt x="136196" y="5993"/>
                  </a:lnTo>
                  <a:lnTo>
                    <a:pt x="146064" y="7522"/>
                  </a:lnTo>
                  <a:lnTo>
                    <a:pt x="148087" y="9052"/>
                  </a:lnTo>
                  <a:lnTo>
                    <a:pt x="150060" y="7522"/>
                  </a:lnTo>
                  <a:lnTo>
                    <a:pt x="138170" y="2983"/>
                  </a:lnTo>
                  <a:lnTo>
                    <a:pt x="120358" y="-27"/>
                  </a:lnTo>
                  <a:lnTo>
                    <a:pt x="104569" y="5993"/>
                  </a:lnTo>
                  <a:lnTo>
                    <a:pt x="94701" y="4512"/>
                  </a:lnTo>
                  <a:lnTo>
                    <a:pt x="84833" y="7522"/>
                  </a:lnTo>
                  <a:lnTo>
                    <a:pt x="78912" y="15071"/>
                  </a:lnTo>
                  <a:lnTo>
                    <a:pt x="67021" y="15071"/>
                  </a:lnTo>
                  <a:lnTo>
                    <a:pt x="61100" y="22670"/>
                  </a:lnTo>
                  <a:lnTo>
                    <a:pt x="61100" y="27012"/>
                  </a:lnTo>
                  <a:lnTo>
                    <a:pt x="49258" y="27012"/>
                  </a:lnTo>
                  <a:lnTo>
                    <a:pt x="31496" y="34610"/>
                  </a:lnTo>
                  <a:lnTo>
                    <a:pt x="21628" y="36090"/>
                  </a:lnTo>
                  <a:lnTo>
                    <a:pt x="17681" y="42110"/>
                  </a:lnTo>
                  <a:lnTo>
                    <a:pt x="13782" y="51188"/>
                  </a:lnTo>
                  <a:lnTo>
                    <a:pt x="11809" y="52718"/>
                  </a:lnTo>
                  <a:lnTo>
                    <a:pt x="13782" y="55777"/>
                  </a:lnTo>
                  <a:lnTo>
                    <a:pt x="9786" y="55777"/>
                  </a:lnTo>
                  <a:lnTo>
                    <a:pt x="13782" y="67865"/>
                  </a:lnTo>
                  <a:lnTo>
                    <a:pt x="11809" y="79954"/>
                  </a:lnTo>
                  <a:lnTo>
                    <a:pt x="-82" y="82964"/>
                  </a:lnTo>
                  <a:lnTo>
                    <a:pt x="-82" y="87454"/>
                  </a:lnTo>
                  <a:lnTo>
                    <a:pt x="13782" y="98062"/>
                  </a:lnTo>
                  <a:lnTo>
                    <a:pt x="11809" y="104131"/>
                  </a:lnTo>
                  <a:lnTo>
                    <a:pt x="17681" y="110150"/>
                  </a:lnTo>
                  <a:lnTo>
                    <a:pt x="17681" y="114689"/>
                  </a:lnTo>
                  <a:lnTo>
                    <a:pt x="19654" y="120758"/>
                  </a:lnTo>
                  <a:lnTo>
                    <a:pt x="17681" y="126827"/>
                  </a:lnTo>
                  <a:lnTo>
                    <a:pt x="23601" y="138916"/>
                  </a:lnTo>
                  <a:lnTo>
                    <a:pt x="27598" y="140396"/>
                  </a:lnTo>
                  <a:lnTo>
                    <a:pt x="31545" y="144935"/>
                  </a:lnTo>
                  <a:lnTo>
                    <a:pt x="31545" y="161563"/>
                  </a:lnTo>
                  <a:lnTo>
                    <a:pt x="29572" y="164573"/>
                  </a:lnTo>
                  <a:lnTo>
                    <a:pt x="33519" y="169112"/>
                  </a:lnTo>
                  <a:lnTo>
                    <a:pt x="35492" y="166102"/>
                  </a:lnTo>
                  <a:lnTo>
                    <a:pt x="43387" y="167582"/>
                  </a:lnTo>
                  <a:lnTo>
                    <a:pt x="47334" y="166102"/>
                  </a:lnTo>
                  <a:lnTo>
                    <a:pt x="61149" y="167582"/>
                  </a:lnTo>
                  <a:lnTo>
                    <a:pt x="61149" y="170641"/>
                  </a:lnTo>
                  <a:lnTo>
                    <a:pt x="67070" y="178191"/>
                  </a:lnTo>
                  <a:lnTo>
                    <a:pt x="75014" y="176661"/>
                  </a:lnTo>
                  <a:lnTo>
                    <a:pt x="78961" y="181200"/>
                  </a:lnTo>
                  <a:lnTo>
                    <a:pt x="75014" y="187269"/>
                  </a:lnTo>
                  <a:lnTo>
                    <a:pt x="78961" y="190279"/>
                  </a:lnTo>
                  <a:lnTo>
                    <a:pt x="80935" y="191759"/>
                  </a:lnTo>
                  <a:lnTo>
                    <a:pt x="80935" y="197828"/>
                  </a:lnTo>
                  <a:lnTo>
                    <a:pt x="84882" y="199357"/>
                  </a:lnTo>
                  <a:lnTo>
                    <a:pt x="88830" y="196348"/>
                  </a:lnTo>
                  <a:lnTo>
                    <a:pt x="92776" y="196348"/>
                  </a:lnTo>
                  <a:lnTo>
                    <a:pt x="84882" y="187269"/>
                  </a:lnTo>
                  <a:lnTo>
                    <a:pt x="88830" y="185740"/>
                  </a:lnTo>
                  <a:lnTo>
                    <a:pt x="104618" y="193289"/>
                  </a:lnTo>
                  <a:lnTo>
                    <a:pt x="116509" y="191759"/>
                  </a:lnTo>
                  <a:lnTo>
                    <a:pt x="114536" y="196348"/>
                  </a:lnTo>
                  <a:lnTo>
                    <a:pt x="122381" y="203897"/>
                  </a:lnTo>
                  <a:lnTo>
                    <a:pt x="134272" y="199357"/>
                  </a:lnTo>
                  <a:lnTo>
                    <a:pt x="146114" y="203897"/>
                  </a:lnTo>
                  <a:lnTo>
                    <a:pt x="167872" y="215985"/>
                  </a:lnTo>
                  <a:lnTo>
                    <a:pt x="173793" y="225015"/>
                  </a:lnTo>
                  <a:lnTo>
                    <a:pt x="181688" y="226544"/>
                  </a:lnTo>
                  <a:lnTo>
                    <a:pt x="185635" y="223534"/>
                  </a:lnTo>
                  <a:lnTo>
                    <a:pt x="193530" y="223534"/>
                  </a:lnTo>
                  <a:lnTo>
                    <a:pt x="199450" y="22960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Graphic 2">
              <a:extLst>
                <a:ext uri="{FF2B5EF4-FFF2-40B4-BE49-F238E27FC236}">
                  <a16:creationId xmlns:a16="http://schemas.microsoft.com/office/drawing/2014/main" id="{C3CA0691-36A0-46FD-9B1B-21A7376ED42D}"/>
                </a:ext>
              </a:extLst>
            </p:cNvPr>
            <p:cNvSpPr/>
            <p:nvPr/>
          </p:nvSpPr>
          <p:spPr>
            <a:xfrm>
              <a:off x="5757097" y="3058186"/>
              <a:ext cx="243990" cy="91533"/>
            </a:xfrm>
            <a:custGeom>
              <a:avLst/>
              <a:gdLst>
                <a:gd name="connsiteX0" fmla="*/ 96625 w 268559"/>
                <a:gd name="connsiteY0" fmla="*/ -27 h 100753"/>
                <a:gd name="connsiteX1" fmla="*/ 100572 w 268559"/>
                <a:gd name="connsiteY1" fmla="*/ 4611 h 100753"/>
                <a:gd name="connsiteX2" fmla="*/ 102546 w 268559"/>
                <a:gd name="connsiteY2" fmla="*/ 1552 h 100753"/>
                <a:gd name="connsiteX3" fmla="*/ 110440 w 268559"/>
                <a:gd name="connsiteY3" fmla="*/ 3082 h 100753"/>
                <a:gd name="connsiteX4" fmla="*/ 114388 w 268559"/>
                <a:gd name="connsiteY4" fmla="*/ 1552 h 100753"/>
                <a:gd name="connsiteX5" fmla="*/ 128203 w 268559"/>
                <a:gd name="connsiteY5" fmla="*/ 3082 h 100753"/>
                <a:gd name="connsiteX6" fmla="*/ 128203 w 268559"/>
                <a:gd name="connsiteY6" fmla="*/ 6141 h 100753"/>
                <a:gd name="connsiteX7" fmla="*/ 134124 w 268559"/>
                <a:gd name="connsiteY7" fmla="*/ 13937 h 100753"/>
                <a:gd name="connsiteX8" fmla="*/ 142067 w 268559"/>
                <a:gd name="connsiteY8" fmla="*/ 12358 h 100753"/>
                <a:gd name="connsiteX9" fmla="*/ 146015 w 268559"/>
                <a:gd name="connsiteY9" fmla="*/ 16996 h 100753"/>
                <a:gd name="connsiteX10" fmla="*/ 142067 w 268559"/>
                <a:gd name="connsiteY10" fmla="*/ 23213 h 100753"/>
                <a:gd name="connsiteX11" fmla="*/ 146015 w 268559"/>
                <a:gd name="connsiteY11" fmla="*/ 26321 h 100753"/>
                <a:gd name="connsiteX12" fmla="*/ 147988 w 268559"/>
                <a:gd name="connsiteY12" fmla="*/ 27900 h 100753"/>
                <a:gd name="connsiteX13" fmla="*/ 147988 w 268559"/>
                <a:gd name="connsiteY13" fmla="*/ 34067 h 100753"/>
                <a:gd name="connsiteX14" fmla="*/ 151935 w 268559"/>
                <a:gd name="connsiteY14" fmla="*/ 35597 h 100753"/>
                <a:gd name="connsiteX15" fmla="*/ 155883 w 268559"/>
                <a:gd name="connsiteY15" fmla="*/ 32489 h 100753"/>
                <a:gd name="connsiteX16" fmla="*/ 159830 w 268559"/>
                <a:gd name="connsiteY16" fmla="*/ 32489 h 100753"/>
                <a:gd name="connsiteX17" fmla="*/ 151935 w 268559"/>
                <a:gd name="connsiteY17" fmla="*/ 23213 h 100753"/>
                <a:gd name="connsiteX18" fmla="*/ 155883 w 268559"/>
                <a:gd name="connsiteY18" fmla="*/ 21683 h 100753"/>
                <a:gd name="connsiteX19" fmla="*/ 171672 w 268559"/>
                <a:gd name="connsiteY19" fmla="*/ 29429 h 100753"/>
                <a:gd name="connsiteX20" fmla="*/ 183563 w 268559"/>
                <a:gd name="connsiteY20" fmla="*/ 27900 h 100753"/>
                <a:gd name="connsiteX21" fmla="*/ 181589 w 268559"/>
                <a:gd name="connsiteY21" fmla="*/ 32489 h 100753"/>
                <a:gd name="connsiteX22" fmla="*/ 189434 w 268559"/>
                <a:gd name="connsiteY22" fmla="*/ 40284 h 100753"/>
                <a:gd name="connsiteX23" fmla="*/ 201325 w 268559"/>
                <a:gd name="connsiteY23" fmla="*/ 35350 h 100753"/>
                <a:gd name="connsiteX24" fmla="*/ 213167 w 268559"/>
                <a:gd name="connsiteY24" fmla="*/ 40284 h 100753"/>
                <a:gd name="connsiteX25" fmla="*/ 234926 w 268559"/>
                <a:gd name="connsiteY25" fmla="*/ 52669 h 100753"/>
                <a:gd name="connsiteX26" fmla="*/ 240847 w 268559"/>
                <a:gd name="connsiteY26" fmla="*/ 61994 h 100753"/>
                <a:gd name="connsiteX27" fmla="*/ 248741 w 268559"/>
                <a:gd name="connsiteY27" fmla="*/ 63523 h 100753"/>
                <a:gd name="connsiteX28" fmla="*/ 252689 w 268559"/>
                <a:gd name="connsiteY28" fmla="*/ 60415 h 100753"/>
                <a:gd name="connsiteX29" fmla="*/ 260583 w 268559"/>
                <a:gd name="connsiteY29" fmla="*/ 60415 h 100753"/>
                <a:gd name="connsiteX30" fmla="*/ 266504 w 268559"/>
                <a:gd name="connsiteY30" fmla="*/ 66632 h 100753"/>
                <a:gd name="connsiteX31" fmla="*/ 268477 w 268559"/>
                <a:gd name="connsiteY31" fmla="*/ 74378 h 100753"/>
                <a:gd name="connsiteX32" fmla="*/ 252689 w 268559"/>
                <a:gd name="connsiteY32" fmla="*/ 72800 h 100753"/>
                <a:gd name="connsiteX33" fmla="*/ 244794 w 268559"/>
                <a:gd name="connsiteY33" fmla="*/ 79016 h 100753"/>
                <a:gd name="connsiteX34" fmla="*/ 234926 w 268559"/>
                <a:gd name="connsiteY34" fmla="*/ 79016 h 100753"/>
                <a:gd name="connsiteX35" fmla="*/ 225058 w 268559"/>
                <a:gd name="connsiteY35" fmla="*/ 88342 h 100753"/>
                <a:gd name="connsiteX36" fmla="*/ 213216 w 268559"/>
                <a:gd name="connsiteY36" fmla="*/ 89871 h 100753"/>
                <a:gd name="connsiteX37" fmla="*/ 197427 w 268559"/>
                <a:gd name="connsiteY37" fmla="*/ 94509 h 100753"/>
                <a:gd name="connsiteX38" fmla="*/ 193480 w 268559"/>
                <a:gd name="connsiteY38" fmla="*/ 91450 h 100753"/>
                <a:gd name="connsiteX39" fmla="*/ 185537 w 268559"/>
                <a:gd name="connsiteY39" fmla="*/ 91450 h 100753"/>
                <a:gd name="connsiteX40" fmla="*/ 177691 w 268559"/>
                <a:gd name="connsiteY40" fmla="*/ 97618 h 100753"/>
                <a:gd name="connsiteX41" fmla="*/ 161853 w 268559"/>
                <a:gd name="connsiteY41" fmla="*/ 94509 h 100753"/>
                <a:gd name="connsiteX42" fmla="*/ 155932 w 268559"/>
                <a:gd name="connsiteY42" fmla="*/ 88342 h 100753"/>
                <a:gd name="connsiteX43" fmla="*/ 146064 w 268559"/>
                <a:gd name="connsiteY43" fmla="*/ 91450 h 100753"/>
                <a:gd name="connsiteX44" fmla="*/ 134173 w 268559"/>
                <a:gd name="connsiteY44" fmla="*/ 89871 h 100753"/>
                <a:gd name="connsiteX45" fmla="*/ 126279 w 268559"/>
                <a:gd name="connsiteY45" fmla="*/ 85233 h 100753"/>
                <a:gd name="connsiteX46" fmla="*/ 114437 w 268559"/>
                <a:gd name="connsiteY46" fmla="*/ 85233 h 100753"/>
                <a:gd name="connsiteX47" fmla="*/ 106543 w 268559"/>
                <a:gd name="connsiteY47" fmla="*/ 82125 h 100753"/>
                <a:gd name="connsiteX48" fmla="*/ 102595 w 268559"/>
                <a:gd name="connsiteY48" fmla="*/ 88342 h 100753"/>
                <a:gd name="connsiteX49" fmla="*/ 98648 w 268559"/>
                <a:gd name="connsiteY49" fmla="*/ 91450 h 100753"/>
                <a:gd name="connsiteX50" fmla="*/ 98648 w 268559"/>
                <a:gd name="connsiteY50" fmla="*/ 96039 h 100753"/>
                <a:gd name="connsiteX51" fmla="*/ 88780 w 268559"/>
                <a:gd name="connsiteY51" fmla="*/ 97618 h 100753"/>
                <a:gd name="connsiteX52" fmla="*/ 84833 w 268559"/>
                <a:gd name="connsiteY52" fmla="*/ 100726 h 100753"/>
                <a:gd name="connsiteX53" fmla="*/ 67070 w 268559"/>
                <a:gd name="connsiteY53" fmla="*/ 89871 h 100753"/>
                <a:gd name="connsiteX54" fmla="*/ 61149 w 268559"/>
                <a:gd name="connsiteY54" fmla="*/ 89871 h 100753"/>
                <a:gd name="connsiteX55" fmla="*/ 47334 w 268559"/>
                <a:gd name="connsiteY55" fmla="*/ 75908 h 100753"/>
                <a:gd name="connsiteX56" fmla="*/ 41413 w 268559"/>
                <a:gd name="connsiteY56" fmla="*/ 72800 h 100753"/>
                <a:gd name="connsiteX57" fmla="*/ 27549 w 268559"/>
                <a:gd name="connsiteY57" fmla="*/ 63523 h 100753"/>
                <a:gd name="connsiteX58" fmla="*/ 21627 w 268559"/>
                <a:gd name="connsiteY58" fmla="*/ 60415 h 100753"/>
                <a:gd name="connsiteX59" fmla="*/ 19654 w 268559"/>
                <a:gd name="connsiteY59" fmla="*/ 55777 h 100753"/>
                <a:gd name="connsiteX60" fmla="*/ 19654 w 268559"/>
                <a:gd name="connsiteY60" fmla="*/ 48031 h 100753"/>
                <a:gd name="connsiteX61" fmla="*/ 11759 w 268559"/>
                <a:gd name="connsiteY61" fmla="*/ 37176 h 100753"/>
                <a:gd name="connsiteX62" fmla="*/ 3865 w 268559"/>
                <a:gd name="connsiteY62" fmla="*/ 32489 h 100753"/>
                <a:gd name="connsiteX63" fmla="*/ -82 w 268559"/>
                <a:gd name="connsiteY63" fmla="*/ 27900 h 100753"/>
                <a:gd name="connsiteX64" fmla="*/ 5839 w 268559"/>
                <a:gd name="connsiteY64" fmla="*/ 26321 h 100753"/>
                <a:gd name="connsiteX65" fmla="*/ 9786 w 268559"/>
                <a:gd name="connsiteY65" fmla="*/ 29429 h 100753"/>
                <a:gd name="connsiteX66" fmla="*/ 15707 w 268559"/>
                <a:gd name="connsiteY66" fmla="*/ 30959 h 100753"/>
                <a:gd name="connsiteX67" fmla="*/ 27549 w 268559"/>
                <a:gd name="connsiteY67" fmla="*/ 21683 h 100753"/>
                <a:gd name="connsiteX68" fmla="*/ 33469 w 268559"/>
                <a:gd name="connsiteY68" fmla="*/ 21683 h 100753"/>
                <a:gd name="connsiteX69" fmla="*/ 41413 w 268559"/>
                <a:gd name="connsiteY69" fmla="*/ 13937 h 100753"/>
                <a:gd name="connsiteX70" fmla="*/ 49307 w 268559"/>
                <a:gd name="connsiteY70" fmla="*/ 13937 h 100753"/>
                <a:gd name="connsiteX71" fmla="*/ 53205 w 268559"/>
                <a:gd name="connsiteY71" fmla="*/ 7720 h 100753"/>
                <a:gd name="connsiteX72" fmla="*/ 63073 w 268559"/>
                <a:gd name="connsiteY72" fmla="*/ 7720 h 100753"/>
                <a:gd name="connsiteX73" fmla="*/ 68995 w 268559"/>
                <a:gd name="connsiteY73" fmla="*/ 9249 h 100753"/>
                <a:gd name="connsiteX74" fmla="*/ 76889 w 268559"/>
                <a:gd name="connsiteY74" fmla="*/ 6141 h 100753"/>
                <a:gd name="connsiteX75" fmla="*/ 76889 w 268559"/>
                <a:gd name="connsiteY75" fmla="*/ -27 h 100753"/>
                <a:gd name="connsiteX76" fmla="*/ 86757 w 268559"/>
                <a:gd name="connsiteY76" fmla="*/ 3082 h 100753"/>
                <a:gd name="connsiteX77" fmla="*/ 90704 w 268559"/>
                <a:gd name="connsiteY77" fmla="*/ -27 h 100753"/>
                <a:gd name="connsiteX78" fmla="*/ 96675 w 268559"/>
                <a:gd name="connsiteY78" fmla="*/ 1552 h 10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68559" h="100753">
                  <a:moveTo>
                    <a:pt x="96625" y="-27"/>
                  </a:moveTo>
                  <a:lnTo>
                    <a:pt x="100572" y="4611"/>
                  </a:lnTo>
                  <a:lnTo>
                    <a:pt x="102546" y="1552"/>
                  </a:lnTo>
                  <a:lnTo>
                    <a:pt x="110440" y="3082"/>
                  </a:lnTo>
                  <a:lnTo>
                    <a:pt x="114388" y="1552"/>
                  </a:lnTo>
                  <a:lnTo>
                    <a:pt x="128203" y="3082"/>
                  </a:lnTo>
                  <a:lnTo>
                    <a:pt x="128203" y="6141"/>
                  </a:lnTo>
                  <a:lnTo>
                    <a:pt x="134124" y="13937"/>
                  </a:lnTo>
                  <a:lnTo>
                    <a:pt x="142067" y="12358"/>
                  </a:lnTo>
                  <a:lnTo>
                    <a:pt x="146015" y="16996"/>
                  </a:lnTo>
                  <a:lnTo>
                    <a:pt x="142067" y="23213"/>
                  </a:lnTo>
                  <a:lnTo>
                    <a:pt x="146015" y="26321"/>
                  </a:lnTo>
                  <a:lnTo>
                    <a:pt x="147988" y="27900"/>
                  </a:lnTo>
                  <a:lnTo>
                    <a:pt x="147988" y="34067"/>
                  </a:lnTo>
                  <a:lnTo>
                    <a:pt x="151935" y="35597"/>
                  </a:lnTo>
                  <a:lnTo>
                    <a:pt x="155883" y="32489"/>
                  </a:lnTo>
                  <a:lnTo>
                    <a:pt x="159830" y="32489"/>
                  </a:lnTo>
                  <a:lnTo>
                    <a:pt x="151935" y="23213"/>
                  </a:lnTo>
                  <a:lnTo>
                    <a:pt x="155883" y="21683"/>
                  </a:lnTo>
                  <a:lnTo>
                    <a:pt x="171672" y="29429"/>
                  </a:lnTo>
                  <a:lnTo>
                    <a:pt x="183563" y="27900"/>
                  </a:lnTo>
                  <a:lnTo>
                    <a:pt x="181589" y="32489"/>
                  </a:lnTo>
                  <a:lnTo>
                    <a:pt x="189434" y="40284"/>
                  </a:lnTo>
                  <a:lnTo>
                    <a:pt x="201325" y="35350"/>
                  </a:lnTo>
                  <a:lnTo>
                    <a:pt x="213167" y="40284"/>
                  </a:lnTo>
                  <a:lnTo>
                    <a:pt x="234926" y="52669"/>
                  </a:lnTo>
                  <a:lnTo>
                    <a:pt x="240847" y="61994"/>
                  </a:lnTo>
                  <a:lnTo>
                    <a:pt x="248741" y="63523"/>
                  </a:lnTo>
                  <a:lnTo>
                    <a:pt x="252689" y="60415"/>
                  </a:lnTo>
                  <a:lnTo>
                    <a:pt x="260583" y="60415"/>
                  </a:lnTo>
                  <a:lnTo>
                    <a:pt x="266504" y="66632"/>
                  </a:lnTo>
                  <a:lnTo>
                    <a:pt x="268477" y="74378"/>
                  </a:lnTo>
                  <a:lnTo>
                    <a:pt x="252689" y="72800"/>
                  </a:lnTo>
                  <a:lnTo>
                    <a:pt x="244794" y="79016"/>
                  </a:lnTo>
                  <a:lnTo>
                    <a:pt x="234926" y="79016"/>
                  </a:lnTo>
                  <a:lnTo>
                    <a:pt x="225058" y="88342"/>
                  </a:lnTo>
                  <a:lnTo>
                    <a:pt x="213216" y="89871"/>
                  </a:lnTo>
                  <a:lnTo>
                    <a:pt x="197427" y="94509"/>
                  </a:lnTo>
                  <a:lnTo>
                    <a:pt x="193480" y="91450"/>
                  </a:lnTo>
                  <a:lnTo>
                    <a:pt x="185537" y="91450"/>
                  </a:lnTo>
                  <a:lnTo>
                    <a:pt x="177691" y="97618"/>
                  </a:lnTo>
                  <a:lnTo>
                    <a:pt x="161853" y="94509"/>
                  </a:lnTo>
                  <a:lnTo>
                    <a:pt x="155932" y="88342"/>
                  </a:lnTo>
                  <a:lnTo>
                    <a:pt x="146064" y="91450"/>
                  </a:lnTo>
                  <a:lnTo>
                    <a:pt x="134173" y="89871"/>
                  </a:lnTo>
                  <a:lnTo>
                    <a:pt x="126279" y="85233"/>
                  </a:lnTo>
                  <a:lnTo>
                    <a:pt x="114437" y="85233"/>
                  </a:lnTo>
                  <a:lnTo>
                    <a:pt x="106543" y="82125"/>
                  </a:lnTo>
                  <a:lnTo>
                    <a:pt x="102595" y="88342"/>
                  </a:lnTo>
                  <a:lnTo>
                    <a:pt x="98648" y="91450"/>
                  </a:lnTo>
                  <a:lnTo>
                    <a:pt x="98648" y="96039"/>
                  </a:lnTo>
                  <a:lnTo>
                    <a:pt x="88780" y="97618"/>
                  </a:lnTo>
                  <a:lnTo>
                    <a:pt x="84833" y="100726"/>
                  </a:lnTo>
                  <a:lnTo>
                    <a:pt x="67070" y="89871"/>
                  </a:lnTo>
                  <a:lnTo>
                    <a:pt x="61149" y="89871"/>
                  </a:lnTo>
                  <a:lnTo>
                    <a:pt x="47334" y="75908"/>
                  </a:lnTo>
                  <a:lnTo>
                    <a:pt x="41413" y="72800"/>
                  </a:lnTo>
                  <a:lnTo>
                    <a:pt x="27549" y="63523"/>
                  </a:lnTo>
                  <a:lnTo>
                    <a:pt x="21627" y="60415"/>
                  </a:lnTo>
                  <a:lnTo>
                    <a:pt x="19654" y="55777"/>
                  </a:lnTo>
                  <a:lnTo>
                    <a:pt x="19654" y="48031"/>
                  </a:lnTo>
                  <a:lnTo>
                    <a:pt x="11759" y="37176"/>
                  </a:lnTo>
                  <a:lnTo>
                    <a:pt x="3865" y="32489"/>
                  </a:lnTo>
                  <a:lnTo>
                    <a:pt x="-82" y="27900"/>
                  </a:lnTo>
                  <a:lnTo>
                    <a:pt x="5839" y="26321"/>
                  </a:lnTo>
                  <a:lnTo>
                    <a:pt x="9786" y="29429"/>
                  </a:lnTo>
                  <a:lnTo>
                    <a:pt x="15707" y="30959"/>
                  </a:lnTo>
                  <a:lnTo>
                    <a:pt x="27549" y="21683"/>
                  </a:lnTo>
                  <a:lnTo>
                    <a:pt x="33469" y="21683"/>
                  </a:lnTo>
                  <a:lnTo>
                    <a:pt x="41413" y="13937"/>
                  </a:lnTo>
                  <a:lnTo>
                    <a:pt x="49307" y="13937"/>
                  </a:lnTo>
                  <a:lnTo>
                    <a:pt x="53205" y="7720"/>
                  </a:lnTo>
                  <a:lnTo>
                    <a:pt x="63073" y="7720"/>
                  </a:lnTo>
                  <a:lnTo>
                    <a:pt x="68995" y="9249"/>
                  </a:lnTo>
                  <a:lnTo>
                    <a:pt x="76889" y="6141"/>
                  </a:lnTo>
                  <a:lnTo>
                    <a:pt x="76889" y="-27"/>
                  </a:lnTo>
                  <a:lnTo>
                    <a:pt x="86757" y="3082"/>
                  </a:lnTo>
                  <a:lnTo>
                    <a:pt x="90704" y="-27"/>
                  </a:lnTo>
                  <a:lnTo>
                    <a:pt x="96675" y="155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Graphic 2">
              <a:extLst>
                <a:ext uri="{FF2B5EF4-FFF2-40B4-BE49-F238E27FC236}">
                  <a16:creationId xmlns:a16="http://schemas.microsoft.com/office/drawing/2014/main" id="{0B5B635E-E620-4517-9AE9-81586908FA5B}"/>
                </a:ext>
              </a:extLst>
            </p:cNvPr>
            <p:cNvSpPr/>
            <p:nvPr/>
          </p:nvSpPr>
          <p:spPr>
            <a:xfrm>
              <a:off x="5573802" y="2909011"/>
              <a:ext cx="274649" cy="281362"/>
            </a:xfrm>
            <a:custGeom>
              <a:avLst/>
              <a:gdLst>
                <a:gd name="connsiteX0" fmla="*/ 84981 w 302307"/>
                <a:gd name="connsiteY0" fmla="*/ -27 h 309709"/>
                <a:gd name="connsiteX1" fmla="*/ 92875 w 302307"/>
                <a:gd name="connsiteY1" fmla="*/ -27 h 309709"/>
                <a:gd name="connsiteX2" fmla="*/ 108713 w 302307"/>
                <a:gd name="connsiteY2" fmla="*/ 3032 h 309709"/>
                <a:gd name="connsiteX3" fmla="*/ 112661 w 302307"/>
                <a:gd name="connsiteY3" fmla="*/ 4562 h 309709"/>
                <a:gd name="connsiteX4" fmla="*/ 118532 w 302307"/>
                <a:gd name="connsiteY4" fmla="*/ 3032 h 309709"/>
                <a:gd name="connsiteX5" fmla="*/ 124503 w 302307"/>
                <a:gd name="connsiteY5" fmla="*/ 9101 h 309709"/>
                <a:gd name="connsiteX6" fmla="*/ 130423 w 302307"/>
                <a:gd name="connsiteY6" fmla="*/ 10631 h 309709"/>
                <a:gd name="connsiteX7" fmla="*/ 128449 w 302307"/>
                <a:gd name="connsiteY7" fmla="*/ 18278 h 309709"/>
                <a:gd name="connsiteX8" fmla="*/ 124503 w 302307"/>
                <a:gd name="connsiteY8" fmla="*/ 21288 h 309709"/>
                <a:gd name="connsiteX9" fmla="*/ 126476 w 302307"/>
                <a:gd name="connsiteY9" fmla="*/ 24347 h 309709"/>
                <a:gd name="connsiteX10" fmla="*/ 132397 w 302307"/>
                <a:gd name="connsiteY10" fmla="*/ 25877 h 309709"/>
                <a:gd name="connsiteX11" fmla="*/ 134371 w 302307"/>
                <a:gd name="connsiteY11" fmla="*/ 30466 h 309709"/>
                <a:gd name="connsiteX12" fmla="*/ 140291 w 302307"/>
                <a:gd name="connsiteY12" fmla="*/ 27406 h 309709"/>
                <a:gd name="connsiteX13" fmla="*/ 142265 w 302307"/>
                <a:gd name="connsiteY13" fmla="*/ 24347 h 309709"/>
                <a:gd name="connsiteX14" fmla="*/ 146261 w 302307"/>
                <a:gd name="connsiteY14" fmla="*/ 22818 h 309709"/>
                <a:gd name="connsiteX15" fmla="*/ 148235 w 302307"/>
                <a:gd name="connsiteY15" fmla="*/ 25877 h 309709"/>
                <a:gd name="connsiteX16" fmla="*/ 156080 w 302307"/>
                <a:gd name="connsiteY16" fmla="*/ 30466 h 309709"/>
                <a:gd name="connsiteX17" fmla="*/ 158054 w 302307"/>
                <a:gd name="connsiteY17" fmla="*/ 28936 h 309709"/>
                <a:gd name="connsiteX18" fmla="*/ 164024 w 302307"/>
                <a:gd name="connsiteY18" fmla="*/ 25877 h 309709"/>
                <a:gd name="connsiteX19" fmla="*/ 167971 w 302307"/>
                <a:gd name="connsiteY19" fmla="*/ 25877 h 309709"/>
                <a:gd name="connsiteX20" fmla="*/ 167971 w 302307"/>
                <a:gd name="connsiteY20" fmla="*/ 31946 h 309709"/>
                <a:gd name="connsiteX21" fmla="*/ 162050 w 302307"/>
                <a:gd name="connsiteY21" fmla="*/ 36534 h 309709"/>
                <a:gd name="connsiteX22" fmla="*/ 158054 w 302307"/>
                <a:gd name="connsiteY22" fmla="*/ 35005 h 309709"/>
                <a:gd name="connsiteX23" fmla="*/ 152133 w 302307"/>
                <a:gd name="connsiteY23" fmla="*/ 39593 h 309709"/>
                <a:gd name="connsiteX24" fmla="*/ 162001 w 302307"/>
                <a:gd name="connsiteY24" fmla="*/ 41123 h 309709"/>
                <a:gd name="connsiteX25" fmla="*/ 163975 w 302307"/>
                <a:gd name="connsiteY25" fmla="*/ 39593 h 309709"/>
                <a:gd name="connsiteX26" fmla="*/ 171869 w 302307"/>
                <a:gd name="connsiteY26" fmla="*/ 41123 h 309709"/>
                <a:gd name="connsiteX27" fmla="*/ 173843 w 302307"/>
                <a:gd name="connsiteY27" fmla="*/ 45712 h 309709"/>
                <a:gd name="connsiteX28" fmla="*/ 181737 w 302307"/>
                <a:gd name="connsiteY28" fmla="*/ 42653 h 309709"/>
                <a:gd name="connsiteX29" fmla="*/ 183760 w 302307"/>
                <a:gd name="connsiteY29" fmla="*/ 39593 h 309709"/>
                <a:gd name="connsiteX30" fmla="*/ 187658 w 302307"/>
                <a:gd name="connsiteY30" fmla="*/ 33475 h 309709"/>
                <a:gd name="connsiteX31" fmla="*/ 199500 w 302307"/>
                <a:gd name="connsiteY31" fmla="*/ 31946 h 309709"/>
                <a:gd name="connsiteX32" fmla="*/ 199500 w 302307"/>
                <a:gd name="connsiteY32" fmla="*/ 28887 h 309709"/>
                <a:gd name="connsiteX33" fmla="*/ 209368 w 302307"/>
                <a:gd name="connsiteY33" fmla="*/ 25828 h 309709"/>
                <a:gd name="connsiteX34" fmla="*/ 209368 w 302307"/>
                <a:gd name="connsiteY34" fmla="*/ 22768 h 309709"/>
                <a:gd name="connsiteX35" fmla="*/ 213315 w 302307"/>
                <a:gd name="connsiteY35" fmla="*/ 21239 h 309709"/>
                <a:gd name="connsiteX36" fmla="*/ 221209 w 302307"/>
                <a:gd name="connsiteY36" fmla="*/ 22768 h 309709"/>
                <a:gd name="connsiteX37" fmla="*/ 215288 w 302307"/>
                <a:gd name="connsiteY37" fmla="*/ 24298 h 309709"/>
                <a:gd name="connsiteX38" fmla="*/ 211341 w 302307"/>
                <a:gd name="connsiteY38" fmla="*/ 27357 h 309709"/>
                <a:gd name="connsiteX39" fmla="*/ 211341 w 302307"/>
                <a:gd name="connsiteY39" fmla="*/ 25828 h 309709"/>
                <a:gd name="connsiteX40" fmla="*/ 207394 w 302307"/>
                <a:gd name="connsiteY40" fmla="*/ 28887 h 309709"/>
                <a:gd name="connsiteX41" fmla="*/ 209368 w 302307"/>
                <a:gd name="connsiteY41" fmla="*/ 31946 h 309709"/>
                <a:gd name="connsiteX42" fmla="*/ 217262 w 302307"/>
                <a:gd name="connsiteY42" fmla="*/ 27357 h 309709"/>
                <a:gd name="connsiteX43" fmla="*/ 225156 w 302307"/>
                <a:gd name="connsiteY43" fmla="*/ 27357 h 309709"/>
                <a:gd name="connsiteX44" fmla="*/ 227130 w 302307"/>
                <a:gd name="connsiteY44" fmla="*/ 25828 h 309709"/>
                <a:gd name="connsiteX45" fmla="*/ 229104 w 302307"/>
                <a:gd name="connsiteY45" fmla="*/ 28887 h 309709"/>
                <a:gd name="connsiteX46" fmla="*/ 235024 w 302307"/>
                <a:gd name="connsiteY46" fmla="*/ 28887 h 309709"/>
                <a:gd name="connsiteX47" fmla="*/ 246916 w 302307"/>
                <a:gd name="connsiteY47" fmla="*/ 36534 h 309709"/>
                <a:gd name="connsiteX48" fmla="*/ 252787 w 302307"/>
                <a:gd name="connsiteY48" fmla="*/ 36534 h 309709"/>
                <a:gd name="connsiteX49" fmla="*/ 256784 w 302307"/>
                <a:gd name="connsiteY49" fmla="*/ 41123 h 309709"/>
                <a:gd name="connsiteX50" fmla="*/ 256784 w 302307"/>
                <a:gd name="connsiteY50" fmla="*/ 47192 h 309709"/>
                <a:gd name="connsiteX51" fmla="*/ 262705 w 302307"/>
                <a:gd name="connsiteY51" fmla="*/ 51780 h 309709"/>
                <a:gd name="connsiteX52" fmla="*/ 268626 w 302307"/>
                <a:gd name="connsiteY52" fmla="*/ 51780 h 309709"/>
                <a:gd name="connsiteX53" fmla="*/ 272573 w 302307"/>
                <a:gd name="connsiteY53" fmla="*/ 54840 h 309709"/>
                <a:gd name="connsiteX54" fmla="*/ 280517 w 302307"/>
                <a:gd name="connsiteY54" fmla="*/ 54840 h 309709"/>
                <a:gd name="connsiteX55" fmla="*/ 284464 w 302307"/>
                <a:gd name="connsiteY55" fmla="*/ 67027 h 309709"/>
                <a:gd name="connsiteX56" fmla="*/ 282490 w 302307"/>
                <a:gd name="connsiteY56" fmla="*/ 79263 h 309709"/>
                <a:gd name="connsiteX57" fmla="*/ 270599 w 302307"/>
                <a:gd name="connsiteY57" fmla="*/ 82322 h 309709"/>
                <a:gd name="connsiteX58" fmla="*/ 270599 w 302307"/>
                <a:gd name="connsiteY58" fmla="*/ 86911 h 309709"/>
                <a:gd name="connsiteX59" fmla="*/ 284464 w 302307"/>
                <a:gd name="connsiteY59" fmla="*/ 97568 h 309709"/>
                <a:gd name="connsiteX60" fmla="*/ 282490 w 302307"/>
                <a:gd name="connsiteY60" fmla="*/ 103637 h 309709"/>
                <a:gd name="connsiteX61" fmla="*/ 288362 w 302307"/>
                <a:gd name="connsiteY61" fmla="*/ 109755 h 309709"/>
                <a:gd name="connsiteX62" fmla="*/ 288362 w 302307"/>
                <a:gd name="connsiteY62" fmla="*/ 114344 h 309709"/>
                <a:gd name="connsiteX63" fmla="*/ 290335 w 302307"/>
                <a:gd name="connsiteY63" fmla="*/ 120462 h 309709"/>
                <a:gd name="connsiteX64" fmla="*/ 288362 w 302307"/>
                <a:gd name="connsiteY64" fmla="*/ 126580 h 309709"/>
                <a:gd name="connsiteX65" fmla="*/ 294282 w 302307"/>
                <a:gd name="connsiteY65" fmla="*/ 138768 h 309709"/>
                <a:gd name="connsiteX66" fmla="*/ 298279 w 302307"/>
                <a:gd name="connsiteY66" fmla="*/ 140297 h 309709"/>
                <a:gd name="connsiteX67" fmla="*/ 302226 w 302307"/>
                <a:gd name="connsiteY67" fmla="*/ 144836 h 309709"/>
                <a:gd name="connsiteX68" fmla="*/ 302226 w 302307"/>
                <a:gd name="connsiteY68" fmla="*/ 161662 h 309709"/>
                <a:gd name="connsiteX69" fmla="*/ 300253 w 302307"/>
                <a:gd name="connsiteY69" fmla="*/ 166250 h 309709"/>
                <a:gd name="connsiteX70" fmla="*/ 294282 w 302307"/>
                <a:gd name="connsiteY70" fmla="*/ 164721 h 309709"/>
                <a:gd name="connsiteX71" fmla="*/ 290335 w 302307"/>
                <a:gd name="connsiteY71" fmla="*/ 167780 h 309709"/>
                <a:gd name="connsiteX72" fmla="*/ 280467 w 302307"/>
                <a:gd name="connsiteY72" fmla="*/ 164721 h 309709"/>
                <a:gd name="connsiteX73" fmla="*/ 280467 w 302307"/>
                <a:gd name="connsiteY73" fmla="*/ 170790 h 309709"/>
                <a:gd name="connsiteX74" fmla="*/ 272524 w 302307"/>
                <a:gd name="connsiteY74" fmla="*/ 173849 h 309709"/>
                <a:gd name="connsiteX75" fmla="*/ 266602 w 302307"/>
                <a:gd name="connsiteY75" fmla="*/ 172319 h 309709"/>
                <a:gd name="connsiteX76" fmla="*/ 256734 w 302307"/>
                <a:gd name="connsiteY76" fmla="*/ 172319 h 309709"/>
                <a:gd name="connsiteX77" fmla="*/ 252738 w 302307"/>
                <a:gd name="connsiteY77" fmla="*/ 178437 h 309709"/>
                <a:gd name="connsiteX78" fmla="*/ 244893 w 302307"/>
                <a:gd name="connsiteY78" fmla="*/ 178437 h 309709"/>
                <a:gd name="connsiteX79" fmla="*/ 236949 w 302307"/>
                <a:gd name="connsiteY79" fmla="*/ 186036 h 309709"/>
                <a:gd name="connsiteX80" fmla="*/ 231028 w 302307"/>
                <a:gd name="connsiteY80" fmla="*/ 186036 h 309709"/>
                <a:gd name="connsiteX81" fmla="*/ 219186 w 302307"/>
                <a:gd name="connsiteY81" fmla="*/ 195213 h 309709"/>
                <a:gd name="connsiteX82" fmla="*/ 213266 w 302307"/>
                <a:gd name="connsiteY82" fmla="*/ 193733 h 309709"/>
                <a:gd name="connsiteX83" fmla="*/ 209318 w 302307"/>
                <a:gd name="connsiteY83" fmla="*/ 190674 h 309709"/>
                <a:gd name="connsiteX84" fmla="*/ 203398 w 302307"/>
                <a:gd name="connsiteY84" fmla="*/ 192203 h 309709"/>
                <a:gd name="connsiteX85" fmla="*/ 207345 w 302307"/>
                <a:gd name="connsiteY85" fmla="*/ 196742 h 309709"/>
                <a:gd name="connsiteX86" fmla="*/ 215240 w 302307"/>
                <a:gd name="connsiteY86" fmla="*/ 201331 h 309709"/>
                <a:gd name="connsiteX87" fmla="*/ 223134 w 302307"/>
                <a:gd name="connsiteY87" fmla="*/ 211989 h 309709"/>
                <a:gd name="connsiteX88" fmla="*/ 223134 w 302307"/>
                <a:gd name="connsiteY88" fmla="*/ 219636 h 309709"/>
                <a:gd name="connsiteX89" fmla="*/ 225108 w 302307"/>
                <a:gd name="connsiteY89" fmla="*/ 224176 h 309709"/>
                <a:gd name="connsiteX90" fmla="*/ 231028 w 302307"/>
                <a:gd name="connsiteY90" fmla="*/ 227284 h 309709"/>
                <a:gd name="connsiteX91" fmla="*/ 244893 w 302307"/>
                <a:gd name="connsiteY91" fmla="*/ 236412 h 309709"/>
                <a:gd name="connsiteX92" fmla="*/ 250814 w 302307"/>
                <a:gd name="connsiteY92" fmla="*/ 239471 h 309709"/>
                <a:gd name="connsiteX93" fmla="*/ 264629 w 302307"/>
                <a:gd name="connsiteY93" fmla="*/ 253188 h 309709"/>
                <a:gd name="connsiteX94" fmla="*/ 264629 w 302307"/>
                <a:gd name="connsiteY94" fmla="*/ 265424 h 309709"/>
                <a:gd name="connsiteX95" fmla="*/ 258708 w 302307"/>
                <a:gd name="connsiteY95" fmla="*/ 265424 h 309709"/>
                <a:gd name="connsiteX96" fmla="*/ 254712 w 302307"/>
                <a:gd name="connsiteY96" fmla="*/ 271542 h 309709"/>
                <a:gd name="connsiteX97" fmla="*/ 246866 w 302307"/>
                <a:gd name="connsiteY97" fmla="*/ 274602 h 309709"/>
                <a:gd name="connsiteX98" fmla="*/ 234976 w 302307"/>
                <a:gd name="connsiteY98" fmla="*/ 286789 h 309709"/>
                <a:gd name="connsiteX99" fmla="*/ 234976 w 302307"/>
                <a:gd name="connsiteY99" fmla="*/ 289798 h 309709"/>
                <a:gd name="connsiteX100" fmla="*/ 246866 w 302307"/>
                <a:gd name="connsiteY100" fmla="*/ 294387 h 309709"/>
                <a:gd name="connsiteX101" fmla="*/ 246866 w 302307"/>
                <a:gd name="connsiteY101" fmla="*/ 298976 h 309709"/>
                <a:gd name="connsiteX102" fmla="*/ 242919 w 302307"/>
                <a:gd name="connsiteY102" fmla="*/ 302035 h 309709"/>
                <a:gd name="connsiteX103" fmla="*/ 233051 w 302307"/>
                <a:gd name="connsiteY103" fmla="*/ 297446 h 309709"/>
                <a:gd name="connsiteX104" fmla="*/ 227130 w 302307"/>
                <a:gd name="connsiteY104" fmla="*/ 298976 h 309709"/>
                <a:gd name="connsiteX105" fmla="*/ 219236 w 302307"/>
                <a:gd name="connsiteY105" fmla="*/ 297446 h 309709"/>
                <a:gd name="connsiteX106" fmla="*/ 213315 w 302307"/>
                <a:gd name="connsiteY106" fmla="*/ 298976 h 309709"/>
                <a:gd name="connsiteX107" fmla="*/ 199450 w 302307"/>
                <a:gd name="connsiteY107" fmla="*/ 305094 h 309709"/>
                <a:gd name="connsiteX108" fmla="*/ 193530 w 302307"/>
                <a:gd name="connsiteY108" fmla="*/ 305094 h 309709"/>
                <a:gd name="connsiteX109" fmla="*/ 189582 w 302307"/>
                <a:gd name="connsiteY109" fmla="*/ 303564 h 309709"/>
                <a:gd name="connsiteX110" fmla="*/ 183711 w 302307"/>
                <a:gd name="connsiteY110" fmla="*/ 305094 h 309709"/>
                <a:gd name="connsiteX111" fmla="*/ 177740 w 302307"/>
                <a:gd name="connsiteY111" fmla="*/ 302035 h 309709"/>
                <a:gd name="connsiteX112" fmla="*/ 165899 w 302307"/>
                <a:gd name="connsiteY112" fmla="*/ 300505 h 309709"/>
                <a:gd name="connsiteX113" fmla="*/ 157955 w 302307"/>
                <a:gd name="connsiteY113" fmla="*/ 302035 h 309709"/>
                <a:gd name="connsiteX114" fmla="*/ 157955 w 302307"/>
                <a:gd name="connsiteY114" fmla="*/ 306623 h 309709"/>
                <a:gd name="connsiteX115" fmla="*/ 155982 w 302307"/>
                <a:gd name="connsiteY115" fmla="*/ 309683 h 309709"/>
                <a:gd name="connsiteX116" fmla="*/ 148136 w 302307"/>
                <a:gd name="connsiteY116" fmla="*/ 306623 h 309709"/>
                <a:gd name="connsiteX117" fmla="*/ 142166 w 302307"/>
                <a:gd name="connsiteY117" fmla="*/ 302035 h 309709"/>
                <a:gd name="connsiteX118" fmla="*/ 134272 w 302307"/>
                <a:gd name="connsiteY118" fmla="*/ 303564 h 309709"/>
                <a:gd name="connsiteX119" fmla="*/ 130324 w 302307"/>
                <a:gd name="connsiteY119" fmla="*/ 306623 h 309709"/>
                <a:gd name="connsiteX120" fmla="*/ 128351 w 302307"/>
                <a:gd name="connsiteY120" fmla="*/ 306623 h 309709"/>
                <a:gd name="connsiteX121" fmla="*/ 126377 w 302307"/>
                <a:gd name="connsiteY121" fmla="*/ 303564 h 309709"/>
                <a:gd name="connsiteX122" fmla="*/ 116509 w 302307"/>
                <a:gd name="connsiteY122" fmla="*/ 297446 h 309709"/>
                <a:gd name="connsiteX123" fmla="*/ 110588 w 302307"/>
                <a:gd name="connsiteY123" fmla="*/ 297446 h 309709"/>
                <a:gd name="connsiteX124" fmla="*/ 108614 w 302307"/>
                <a:gd name="connsiteY124" fmla="*/ 300505 h 309709"/>
                <a:gd name="connsiteX125" fmla="*/ 104668 w 302307"/>
                <a:gd name="connsiteY125" fmla="*/ 298976 h 309709"/>
                <a:gd name="connsiteX126" fmla="*/ 98697 w 302307"/>
                <a:gd name="connsiteY126" fmla="*/ 294387 h 309709"/>
                <a:gd name="connsiteX127" fmla="*/ 92776 w 302307"/>
                <a:gd name="connsiteY127" fmla="*/ 295917 h 309709"/>
                <a:gd name="connsiteX128" fmla="*/ 92776 w 302307"/>
                <a:gd name="connsiteY128" fmla="*/ 298976 h 309709"/>
                <a:gd name="connsiteX129" fmla="*/ 90803 w 302307"/>
                <a:gd name="connsiteY129" fmla="*/ 303564 h 309709"/>
                <a:gd name="connsiteX130" fmla="*/ 82908 w 302307"/>
                <a:gd name="connsiteY130" fmla="*/ 300505 h 309709"/>
                <a:gd name="connsiteX131" fmla="*/ 76988 w 302307"/>
                <a:gd name="connsiteY131" fmla="*/ 303564 h 309709"/>
                <a:gd name="connsiteX132" fmla="*/ 71067 w 302307"/>
                <a:gd name="connsiteY132" fmla="*/ 302035 h 309709"/>
                <a:gd name="connsiteX133" fmla="*/ 71067 w 302307"/>
                <a:gd name="connsiteY133" fmla="*/ 302035 h 309709"/>
                <a:gd name="connsiteX134" fmla="*/ 65146 w 302307"/>
                <a:gd name="connsiteY134" fmla="*/ 295917 h 309709"/>
                <a:gd name="connsiteX135" fmla="*/ 59176 w 302307"/>
                <a:gd name="connsiteY135" fmla="*/ 292857 h 309709"/>
                <a:gd name="connsiteX136" fmla="*/ 59176 w 302307"/>
                <a:gd name="connsiteY136" fmla="*/ 285259 h 309709"/>
                <a:gd name="connsiteX137" fmla="*/ 63123 w 302307"/>
                <a:gd name="connsiteY137" fmla="*/ 273072 h 309709"/>
                <a:gd name="connsiteX138" fmla="*/ 69093 w 302307"/>
                <a:gd name="connsiteY138" fmla="*/ 270013 h 309709"/>
                <a:gd name="connsiteX139" fmla="*/ 69093 w 302307"/>
                <a:gd name="connsiteY139" fmla="*/ 265424 h 309709"/>
                <a:gd name="connsiteX140" fmla="*/ 73040 w 302307"/>
                <a:gd name="connsiteY140" fmla="*/ 254717 h 309709"/>
                <a:gd name="connsiteX141" fmla="*/ 80935 w 302307"/>
                <a:gd name="connsiteY141" fmla="*/ 247119 h 309709"/>
                <a:gd name="connsiteX142" fmla="*/ 73040 w 302307"/>
                <a:gd name="connsiteY142" fmla="*/ 244060 h 309709"/>
                <a:gd name="connsiteX143" fmla="*/ 65146 w 302307"/>
                <a:gd name="connsiteY143" fmla="*/ 244060 h 309709"/>
                <a:gd name="connsiteX144" fmla="*/ 57202 w 302307"/>
                <a:gd name="connsiteY144" fmla="*/ 241001 h 309709"/>
                <a:gd name="connsiteX145" fmla="*/ 51281 w 302307"/>
                <a:gd name="connsiteY145" fmla="*/ 242530 h 309709"/>
                <a:gd name="connsiteX146" fmla="*/ 47384 w 302307"/>
                <a:gd name="connsiteY146" fmla="*/ 241001 h 309709"/>
                <a:gd name="connsiteX147" fmla="*/ 41413 w 302307"/>
                <a:gd name="connsiteY147" fmla="*/ 241001 h 309709"/>
                <a:gd name="connsiteX148" fmla="*/ 35492 w 302307"/>
                <a:gd name="connsiteY148" fmla="*/ 242530 h 309709"/>
                <a:gd name="connsiteX149" fmla="*/ 27598 w 302307"/>
                <a:gd name="connsiteY149" fmla="*/ 237942 h 309709"/>
                <a:gd name="connsiteX150" fmla="*/ 27598 w 302307"/>
                <a:gd name="connsiteY150" fmla="*/ 234932 h 309709"/>
                <a:gd name="connsiteX151" fmla="*/ 21627 w 302307"/>
                <a:gd name="connsiteY151" fmla="*/ 230343 h 309709"/>
                <a:gd name="connsiteX152" fmla="*/ 21627 w 302307"/>
                <a:gd name="connsiteY152" fmla="*/ 230343 h 309709"/>
                <a:gd name="connsiteX153" fmla="*/ 21627 w 302307"/>
                <a:gd name="connsiteY153" fmla="*/ 219636 h 309709"/>
                <a:gd name="connsiteX154" fmla="*/ 17681 w 302307"/>
                <a:gd name="connsiteY154" fmla="*/ 216577 h 309709"/>
                <a:gd name="connsiteX155" fmla="*/ 15756 w 302307"/>
                <a:gd name="connsiteY155" fmla="*/ 210459 h 309709"/>
                <a:gd name="connsiteX156" fmla="*/ 7862 w 302307"/>
                <a:gd name="connsiteY156" fmla="*/ 201331 h 309709"/>
                <a:gd name="connsiteX157" fmla="*/ 5839 w 302307"/>
                <a:gd name="connsiteY157" fmla="*/ 201331 h 309709"/>
                <a:gd name="connsiteX158" fmla="*/ 9836 w 302307"/>
                <a:gd name="connsiteY158" fmla="*/ 192203 h 309709"/>
                <a:gd name="connsiteX159" fmla="*/ 5839 w 302307"/>
                <a:gd name="connsiteY159" fmla="*/ 187565 h 309709"/>
                <a:gd name="connsiteX160" fmla="*/ 5839 w 302307"/>
                <a:gd name="connsiteY160" fmla="*/ 182976 h 309709"/>
                <a:gd name="connsiteX161" fmla="*/ -82 w 302307"/>
                <a:gd name="connsiteY161" fmla="*/ 172319 h 309709"/>
                <a:gd name="connsiteX162" fmla="*/ 3865 w 302307"/>
                <a:gd name="connsiteY162" fmla="*/ 169260 h 309709"/>
                <a:gd name="connsiteX163" fmla="*/ 1891 w 302307"/>
                <a:gd name="connsiteY163" fmla="*/ 169260 h 309709"/>
                <a:gd name="connsiteX164" fmla="*/ 5839 w 302307"/>
                <a:gd name="connsiteY164" fmla="*/ 161662 h 309709"/>
                <a:gd name="connsiteX165" fmla="*/ 7862 w 302307"/>
                <a:gd name="connsiteY165" fmla="*/ 152534 h 309709"/>
                <a:gd name="connsiteX166" fmla="*/ 5839 w 302307"/>
                <a:gd name="connsiteY166" fmla="*/ 141777 h 309709"/>
                <a:gd name="connsiteX167" fmla="*/ 9836 w 302307"/>
                <a:gd name="connsiteY167" fmla="*/ 137238 h 309709"/>
                <a:gd name="connsiteX168" fmla="*/ 13782 w 302307"/>
                <a:gd name="connsiteY168" fmla="*/ 131120 h 309709"/>
                <a:gd name="connsiteX169" fmla="*/ 23651 w 302307"/>
                <a:gd name="connsiteY169" fmla="*/ 129590 h 309709"/>
                <a:gd name="connsiteX170" fmla="*/ 31594 w 302307"/>
                <a:gd name="connsiteY170" fmla="*/ 131120 h 309709"/>
                <a:gd name="connsiteX171" fmla="*/ 39489 w 302307"/>
                <a:gd name="connsiteY171" fmla="*/ 129590 h 309709"/>
                <a:gd name="connsiteX172" fmla="*/ 35542 w 302307"/>
                <a:gd name="connsiteY172" fmla="*/ 121992 h 309709"/>
                <a:gd name="connsiteX173" fmla="*/ 39489 w 302307"/>
                <a:gd name="connsiteY173" fmla="*/ 118933 h 309709"/>
                <a:gd name="connsiteX174" fmla="*/ 39489 w 302307"/>
                <a:gd name="connsiteY174" fmla="*/ 112864 h 309709"/>
                <a:gd name="connsiteX175" fmla="*/ 41462 w 302307"/>
                <a:gd name="connsiteY175" fmla="*/ 109805 h 309709"/>
                <a:gd name="connsiteX176" fmla="*/ 39489 w 302307"/>
                <a:gd name="connsiteY176" fmla="*/ 106746 h 309709"/>
                <a:gd name="connsiteX177" fmla="*/ 27647 w 302307"/>
                <a:gd name="connsiteY177" fmla="*/ 106746 h 309709"/>
                <a:gd name="connsiteX178" fmla="*/ 27647 w 302307"/>
                <a:gd name="connsiteY178" fmla="*/ 103687 h 309709"/>
                <a:gd name="connsiteX179" fmla="*/ 29621 w 302307"/>
                <a:gd name="connsiteY179" fmla="*/ 97618 h 309709"/>
                <a:gd name="connsiteX180" fmla="*/ 39489 w 302307"/>
                <a:gd name="connsiteY180" fmla="*/ 100677 h 309709"/>
                <a:gd name="connsiteX181" fmla="*/ 43436 w 302307"/>
                <a:gd name="connsiteY181" fmla="*/ 97618 h 309709"/>
                <a:gd name="connsiteX182" fmla="*/ 43436 w 302307"/>
                <a:gd name="connsiteY182" fmla="*/ 89970 h 309709"/>
                <a:gd name="connsiteX183" fmla="*/ 47433 w 302307"/>
                <a:gd name="connsiteY183" fmla="*/ 85431 h 309709"/>
                <a:gd name="connsiteX184" fmla="*/ 47433 w 302307"/>
                <a:gd name="connsiteY184" fmla="*/ 82372 h 309709"/>
                <a:gd name="connsiteX185" fmla="*/ 49406 w 302307"/>
                <a:gd name="connsiteY185" fmla="*/ 79312 h 309709"/>
                <a:gd name="connsiteX186" fmla="*/ 49406 w 302307"/>
                <a:gd name="connsiteY186" fmla="*/ 77783 h 309709"/>
                <a:gd name="connsiteX187" fmla="*/ 49406 w 302307"/>
                <a:gd name="connsiteY187" fmla="*/ 77783 h 309709"/>
                <a:gd name="connsiteX188" fmla="*/ 49406 w 302307"/>
                <a:gd name="connsiteY188" fmla="*/ 73194 h 309709"/>
                <a:gd name="connsiteX189" fmla="*/ 41462 w 302307"/>
                <a:gd name="connsiteY189" fmla="*/ 71665 h 309709"/>
                <a:gd name="connsiteX190" fmla="*/ 37515 w 302307"/>
                <a:gd name="connsiteY190" fmla="*/ 65546 h 309709"/>
                <a:gd name="connsiteX191" fmla="*/ 39489 w 302307"/>
                <a:gd name="connsiteY191" fmla="*/ 59478 h 309709"/>
                <a:gd name="connsiteX192" fmla="*/ 55278 w 302307"/>
                <a:gd name="connsiteY192" fmla="*/ 56418 h 309709"/>
                <a:gd name="connsiteX193" fmla="*/ 59225 w 302307"/>
                <a:gd name="connsiteY193" fmla="*/ 54889 h 309709"/>
                <a:gd name="connsiteX194" fmla="*/ 69093 w 302307"/>
                <a:gd name="connsiteY194" fmla="*/ 59478 h 309709"/>
                <a:gd name="connsiteX195" fmla="*/ 69093 w 302307"/>
                <a:gd name="connsiteY195" fmla="*/ 65546 h 309709"/>
                <a:gd name="connsiteX196" fmla="*/ 73040 w 302307"/>
                <a:gd name="connsiteY196" fmla="*/ 73194 h 309709"/>
                <a:gd name="connsiteX197" fmla="*/ 76988 w 302307"/>
                <a:gd name="connsiteY197" fmla="*/ 68606 h 309709"/>
                <a:gd name="connsiteX198" fmla="*/ 75014 w 302307"/>
                <a:gd name="connsiteY198" fmla="*/ 62487 h 309709"/>
                <a:gd name="connsiteX199" fmla="*/ 75014 w 302307"/>
                <a:gd name="connsiteY199" fmla="*/ 59478 h 309709"/>
                <a:gd name="connsiteX200" fmla="*/ 76988 w 302307"/>
                <a:gd name="connsiteY200" fmla="*/ 57948 h 309709"/>
                <a:gd name="connsiteX201" fmla="*/ 82908 w 302307"/>
                <a:gd name="connsiteY201" fmla="*/ 60958 h 309709"/>
                <a:gd name="connsiteX202" fmla="*/ 80935 w 302307"/>
                <a:gd name="connsiteY202" fmla="*/ 68606 h 309709"/>
                <a:gd name="connsiteX203" fmla="*/ 88829 w 302307"/>
                <a:gd name="connsiteY203" fmla="*/ 76253 h 309709"/>
                <a:gd name="connsiteX204" fmla="*/ 86856 w 302307"/>
                <a:gd name="connsiteY204" fmla="*/ 71665 h 309709"/>
                <a:gd name="connsiteX205" fmla="*/ 86856 w 302307"/>
                <a:gd name="connsiteY205" fmla="*/ 60958 h 309709"/>
                <a:gd name="connsiteX206" fmla="*/ 84882 w 302307"/>
                <a:gd name="connsiteY206" fmla="*/ 56418 h 309709"/>
                <a:gd name="connsiteX207" fmla="*/ 88829 w 302307"/>
                <a:gd name="connsiteY207" fmla="*/ 50300 h 309709"/>
                <a:gd name="connsiteX208" fmla="*/ 94750 w 302307"/>
                <a:gd name="connsiteY208" fmla="*/ 50300 h 309709"/>
                <a:gd name="connsiteX209" fmla="*/ 98697 w 302307"/>
                <a:gd name="connsiteY209" fmla="*/ 51830 h 309709"/>
                <a:gd name="connsiteX210" fmla="*/ 108565 w 302307"/>
                <a:gd name="connsiteY210" fmla="*/ 50300 h 309709"/>
                <a:gd name="connsiteX211" fmla="*/ 120358 w 302307"/>
                <a:gd name="connsiteY211" fmla="*/ 59478 h 309709"/>
                <a:gd name="connsiteX212" fmla="*/ 134222 w 302307"/>
                <a:gd name="connsiteY212" fmla="*/ 62487 h 309709"/>
                <a:gd name="connsiteX213" fmla="*/ 120358 w 302307"/>
                <a:gd name="connsiteY213" fmla="*/ 57948 h 309709"/>
                <a:gd name="connsiteX214" fmla="*/ 110489 w 302307"/>
                <a:gd name="connsiteY214" fmla="*/ 47241 h 309709"/>
                <a:gd name="connsiteX215" fmla="*/ 98599 w 302307"/>
                <a:gd name="connsiteY215" fmla="*/ 47241 h 309709"/>
                <a:gd name="connsiteX216" fmla="*/ 94651 w 302307"/>
                <a:gd name="connsiteY216" fmla="*/ 45761 h 309709"/>
                <a:gd name="connsiteX217" fmla="*/ 94651 w 302307"/>
                <a:gd name="connsiteY217" fmla="*/ 39643 h 309709"/>
                <a:gd name="connsiteX218" fmla="*/ 102546 w 302307"/>
                <a:gd name="connsiteY218" fmla="*/ 36584 h 309709"/>
                <a:gd name="connsiteX219" fmla="*/ 94651 w 302307"/>
                <a:gd name="connsiteY219" fmla="*/ 31995 h 309709"/>
                <a:gd name="connsiteX220" fmla="*/ 94651 w 302307"/>
                <a:gd name="connsiteY220" fmla="*/ 25877 h 309709"/>
                <a:gd name="connsiteX221" fmla="*/ 88731 w 302307"/>
                <a:gd name="connsiteY221" fmla="*/ 27406 h 309709"/>
                <a:gd name="connsiteX222" fmla="*/ 86757 w 302307"/>
                <a:gd name="connsiteY222" fmla="*/ 22818 h 309709"/>
                <a:gd name="connsiteX223" fmla="*/ 92678 w 302307"/>
                <a:gd name="connsiteY223" fmla="*/ 22818 h 309709"/>
                <a:gd name="connsiteX224" fmla="*/ 98599 w 302307"/>
                <a:gd name="connsiteY224" fmla="*/ 21288 h 309709"/>
                <a:gd name="connsiteX225" fmla="*/ 92678 w 302307"/>
                <a:gd name="connsiteY225" fmla="*/ 13690 h 309709"/>
                <a:gd name="connsiteX226" fmla="*/ 92678 w 302307"/>
                <a:gd name="connsiteY226" fmla="*/ 9101 h 309709"/>
                <a:gd name="connsiteX227" fmla="*/ 88731 w 302307"/>
                <a:gd name="connsiteY227" fmla="*/ 9101 h 309709"/>
                <a:gd name="connsiteX228" fmla="*/ 84783 w 302307"/>
                <a:gd name="connsiteY228" fmla="*/ 6091 h 309709"/>
                <a:gd name="connsiteX229" fmla="*/ 84783 w 302307"/>
                <a:gd name="connsiteY229" fmla="*/ -27 h 309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</a:cxnLst>
              <a:rect l="l" t="t" r="r" b="b"/>
              <a:pathLst>
                <a:path w="302307" h="309709">
                  <a:moveTo>
                    <a:pt x="84981" y="-27"/>
                  </a:moveTo>
                  <a:lnTo>
                    <a:pt x="92875" y="-27"/>
                  </a:lnTo>
                  <a:lnTo>
                    <a:pt x="108713" y="3032"/>
                  </a:lnTo>
                  <a:lnTo>
                    <a:pt x="112661" y="4562"/>
                  </a:lnTo>
                  <a:lnTo>
                    <a:pt x="118532" y="3032"/>
                  </a:lnTo>
                  <a:lnTo>
                    <a:pt x="124503" y="9101"/>
                  </a:lnTo>
                  <a:lnTo>
                    <a:pt x="130423" y="10631"/>
                  </a:lnTo>
                  <a:lnTo>
                    <a:pt x="128449" y="18278"/>
                  </a:lnTo>
                  <a:lnTo>
                    <a:pt x="124503" y="21288"/>
                  </a:lnTo>
                  <a:lnTo>
                    <a:pt x="126476" y="24347"/>
                  </a:lnTo>
                  <a:lnTo>
                    <a:pt x="132397" y="25877"/>
                  </a:lnTo>
                  <a:lnTo>
                    <a:pt x="134371" y="30466"/>
                  </a:lnTo>
                  <a:lnTo>
                    <a:pt x="140291" y="27406"/>
                  </a:lnTo>
                  <a:lnTo>
                    <a:pt x="142265" y="24347"/>
                  </a:lnTo>
                  <a:lnTo>
                    <a:pt x="146261" y="22818"/>
                  </a:lnTo>
                  <a:lnTo>
                    <a:pt x="148235" y="25877"/>
                  </a:lnTo>
                  <a:lnTo>
                    <a:pt x="156080" y="30466"/>
                  </a:lnTo>
                  <a:lnTo>
                    <a:pt x="158054" y="28936"/>
                  </a:lnTo>
                  <a:lnTo>
                    <a:pt x="164024" y="25877"/>
                  </a:lnTo>
                  <a:lnTo>
                    <a:pt x="167971" y="25877"/>
                  </a:lnTo>
                  <a:lnTo>
                    <a:pt x="167971" y="31946"/>
                  </a:lnTo>
                  <a:lnTo>
                    <a:pt x="162050" y="36534"/>
                  </a:lnTo>
                  <a:lnTo>
                    <a:pt x="158054" y="35005"/>
                  </a:lnTo>
                  <a:lnTo>
                    <a:pt x="152133" y="39593"/>
                  </a:lnTo>
                  <a:lnTo>
                    <a:pt x="162001" y="41123"/>
                  </a:lnTo>
                  <a:lnTo>
                    <a:pt x="163975" y="39593"/>
                  </a:lnTo>
                  <a:lnTo>
                    <a:pt x="171869" y="41123"/>
                  </a:lnTo>
                  <a:lnTo>
                    <a:pt x="173843" y="45712"/>
                  </a:lnTo>
                  <a:lnTo>
                    <a:pt x="181737" y="42653"/>
                  </a:lnTo>
                  <a:lnTo>
                    <a:pt x="183760" y="39593"/>
                  </a:lnTo>
                  <a:lnTo>
                    <a:pt x="187658" y="33475"/>
                  </a:lnTo>
                  <a:lnTo>
                    <a:pt x="199500" y="31946"/>
                  </a:lnTo>
                  <a:lnTo>
                    <a:pt x="199500" y="28887"/>
                  </a:lnTo>
                  <a:lnTo>
                    <a:pt x="209368" y="25828"/>
                  </a:lnTo>
                  <a:lnTo>
                    <a:pt x="209368" y="22768"/>
                  </a:lnTo>
                  <a:lnTo>
                    <a:pt x="213315" y="21239"/>
                  </a:lnTo>
                  <a:lnTo>
                    <a:pt x="221209" y="22768"/>
                  </a:lnTo>
                  <a:lnTo>
                    <a:pt x="215288" y="24298"/>
                  </a:lnTo>
                  <a:lnTo>
                    <a:pt x="211341" y="27357"/>
                  </a:lnTo>
                  <a:lnTo>
                    <a:pt x="211341" y="25828"/>
                  </a:lnTo>
                  <a:lnTo>
                    <a:pt x="207394" y="28887"/>
                  </a:lnTo>
                  <a:lnTo>
                    <a:pt x="209368" y="31946"/>
                  </a:lnTo>
                  <a:lnTo>
                    <a:pt x="217262" y="27357"/>
                  </a:lnTo>
                  <a:lnTo>
                    <a:pt x="225156" y="27357"/>
                  </a:lnTo>
                  <a:lnTo>
                    <a:pt x="227130" y="25828"/>
                  </a:lnTo>
                  <a:lnTo>
                    <a:pt x="229104" y="28887"/>
                  </a:lnTo>
                  <a:lnTo>
                    <a:pt x="235024" y="28887"/>
                  </a:lnTo>
                  <a:lnTo>
                    <a:pt x="246916" y="36534"/>
                  </a:lnTo>
                  <a:lnTo>
                    <a:pt x="252787" y="36534"/>
                  </a:lnTo>
                  <a:lnTo>
                    <a:pt x="256784" y="41123"/>
                  </a:lnTo>
                  <a:lnTo>
                    <a:pt x="256784" y="47192"/>
                  </a:lnTo>
                  <a:lnTo>
                    <a:pt x="262705" y="51780"/>
                  </a:lnTo>
                  <a:lnTo>
                    <a:pt x="268626" y="51780"/>
                  </a:lnTo>
                  <a:lnTo>
                    <a:pt x="272573" y="54840"/>
                  </a:lnTo>
                  <a:lnTo>
                    <a:pt x="280517" y="54840"/>
                  </a:lnTo>
                  <a:lnTo>
                    <a:pt x="284464" y="67027"/>
                  </a:lnTo>
                  <a:lnTo>
                    <a:pt x="282490" y="79263"/>
                  </a:lnTo>
                  <a:lnTo>
                    <a:pt x="270599" y="82322"/>
                  </a:lnTo>
                  <a:lnTo>
                    <a:pt x="270599" y="86911"/>
                  </a:lnTo>
                  <a:lnTo>
                    <a:pt x="284464" y="97568"/>
                  </a:lnTo>
                  <a:lnTo>
                    <a:pt x="282490" y="103637"/>
                  </a:lnTo>
                  <a:lnTo>
                    <a:pt x="288362" y="109755"/>
                  </a:lnTo>
                  <a:lnTo>
                    <a:pt x="288362" y="114344"/>
                  </a:lnTo>
                  <a:lnTo>
                    <a:pt x="290335" y="120462"/>
                  </a:lnTo>
                  <a:lnTo>
                    <a:pt x="288362" y="126580"/>
                  </a:lnTo>
                  <a:lnTo>
                    <a:pt x="294282" y="138768"/>
                  </a:lnTo>
                  <a:lnTo>
                    <a:pt x="298279" y="140297"/>
                  </a:lnTo>
                  <a:lnTo>
                    <a:pt x="302226" y="144836"/>
                  </a:lnTo>
                  <a:lnTo>
                    <a:pt x="302226" y="161662"/>
                  </a:lnTo>
                  <a:lnTo>
                    <a:pt x="300253" y="166250"/>
                  </a:lnTo>
                  <a:lnTo>
                    <a:pt x="294282" y="164721"/>
                  </a:lnTo>
                  <a:lnTo>
                    <a:pt x="290335" y="167780"/>
                  </a:lnTo>
                  <a:lnTo>
                    <a:pt x="280467" y="164721"/>
                  </a:lnTo>
                  <a:lnTo>
                    <a:pt x="280467" y="170790"/>
                  </a:lnTo>
                  <a:lnTo>
                    <a:pt x="272524" y="173849"/>
                  </a:lnTo>
                  <a:lnTo>
                    <a:pt x="266602" y="172319"/>
                  </a:lnTo>
                  <a:lnTo>
                    <a:pt x="256734" y="172319"/>
                  </a:lnTo>
                  <a:lnTo>
                    <a:pt x="252738" y="178437"/>
                  </a:lnTo>
                  <a:lnTo>
                    <a:pt x="244893" y="178437"/>
                  </a:lnTo>
                  <a:lnTo>
                    <a:pt x="236949" y="186036"/>
                  </a:lnTo>
                  <a:lnTo>
                    <a:pt x="231028" y="186036"/>
                  </a:lnTo>
                  <a:lnTo>
                    <a:pt x="219186" y="195213"/>
                  </a:lnTo>
                  <a:lnTo>
                    <a:pt x="213266" y="193733"/>
                  </a:lnTo>
                  <a:lnTo>
                    <a:pt x="209318" y="190674"/>
                  </a:lnTo>
                  <a:lnTo>
                    <a:pt x="203398" y="192203"/>
                  </a:lnTo>
                  <a:lnTo>
                    <a:pt x="207345" y="196742"/>
                  </a:lnTo>
                  <a:lnTo>
                    <a:pt x="215240" y="201331"/>
                  </a:lnTo>
                  <a:lnTo>
                    <a:pt x="223134" y="211989"/>
                  </a:lnTo>
                  <a:lnTo>
                    <a:pt x="223134" y="219636"/>
                  </a:lnTo>
                  <a:lnTo>
                    <a:pt x="225108" y="224176"/>
                  </a:lnTo>
                  <a:lnTo>
                    <a:pt x="231028" y="227284"/>
                  </a:lnTo>
                  <a:lnTo>
                    <a:pt x="244893" y="236412"/>
                  </a:lnTo>
                  <a:lnTo>
                    <a:pt x="250814" y="239471"/>
                  </a:lnTo>
                  <a:lnTo>
                    <a:pt x="264629" y="253188"/>
                  </a:lnTo>
                  <a:lnTo>
                    <a:pt x="264629" y="265424"/>
                  </a:lnTo>
                  <a:lnTo>
                    <a:pt x="258708" y="265424"/>
                  </a:lnTo>
                  <a:lnTo>
                    <a:pt x="254712" y="271542"/>
                  </a:lnTo>
                  <a:lnTo>
                    <a:pt x="246866" y="274602"/>
                  </a:lnTo>
                  <a:lnTo>
                    <a:pt x="234976" y="286789"/>
                  </a:lnTo>
                  <a:lnTo>
                    <a:pt x="234976" y="289798"/>
                  </a:lnTo>
                  <a:lnTo>
                    <a:pt x="246866" y="294387"/>
                  </a:lnTo>
                  <a:lnTo>
                    <a:pt x="246866" y="298976"/>
                  </a:lnTo>
                  <a:lnTo>
                    <a:pt x="242919" y="302035"/>
                  </a:lnTo>
                  <a:lnTo>
                    <a:pt x="233051" y="297446"/>
                  </a:lnTo>
                  <a:lnTo>
                    <a:pt x="227130" y="298976"/>
                  </a:lnTo>
                  <a:lnTo>
                    <a:pt x="219236" y="297446"/>
                  </a:lnTo>
                  <a:lnTo>
                    <a:pt x="213315" y="298976"/>
                  </a:lnTo>
                  <a:lnTo>
                    <a:pt x="199450" y="305094"/>
                  </a:lnTo>
                  <a:lnTo>
                    <a:pt x="193530" y="305094"/>
                  </a:lnTo>
                  <a:lnTo>
                    <a:pt x="189582" y="303564"/>
                  </a:lnTo>
                  <a:lnTo>
                    <a:pt x="183711" y="305094"/>
                  </a:lnTo>
                  <a:lnTo>
                    <a:pt x="177740" y="302035"/>
                  </a:lnTo>
                  <a:lnTo>
                    <a:pt x="165899" y="300505"/>
                  </a:lnTo>
                  <a:lnTo>
                    <a:pt x="157955" y="302035"/>
                  </a:lnTo>
                  <a:lnTo>
                    <a:pt x="157955" y="306623"/>
                  </a:lnTo>
                  <a:lnTo>
                    <a:pt x="155982" y="309683"/>
                  </a:lnTo>
                  <a:lnTo>
                    <a:pt x="148136" y="306623"/>
                  </a:lnTo>
                  <a:lnTo>
                    <a:pt x="142166" y="302035"/>
                  </a:lnTo>
                  <a:lnTo>
                    <a:pt x="134272" y="303564"/>
                  </a:lnTo>
                  <a:lnTo>
                    <a:pt x="130324" y="306623"/>
                  </a:lnTo>
                  <a:lnTo>
                    <a:pt x="128351" y="306623"/>
                  </a:lnTo>
                  <a:lnTo>
                    <a:pt x="126377" y="303564"/>
                  </a:lnTo>
                  <a:lnTo>
                    <a:pt x="116509" y="297446"/>
                  </a:lnTo>
                  <a:lnTo>
                    <a:pt x="110588" y="297446"/>
                  </a:lnTo>
                  <a:lnTo>
                    <a:pt x="108614" y="300505"/>
                  </a:lnTo>
                  <a:lnTo>
                    <a:pt x="104668" y="298976"/>
                  </a:lnTo>
                  <a:lnTo>
                    <a:pt x="98697" y="294387"/>
                  </a:lnTo>
                  <a:lnTo>
                    <a:pt x="92776" y="295917"/>
                  </a:lnTo>
                  <a:lnTo>
                    <a:pt x="92776" y="298976"/>
                  </a:lnTo>
                  <a:lnTo>
                    <a:pt x="90803" y="303564"/>
                  </a:lnTo>
                  <a:lnTo>
                    <a:pt x="82908" y="300505"/>
                  </a:lnTo>
                  <a:lnTo>
                    <a:pt x="76988" y="303564"/>
                  </a:lnTo>
                  <a:lnTo>
                    <a:pt x="71067" y="302035"/>
                  </a:lnTo>
                  <a:lnTo>
                    <a:pt x="71067" y="302035"/>
                  </a:lnTo>
                  <a:lnTo>
                    <a:pt x="65146" y="295917"/>
                  </a:lnTo>
                  <a:lnTo>
                    <a:pt x="59176" y="292857"/>
                  </a:lnTo>
                  <a:lnTo>
                    <a:pt x="59176" y="285259"/>
                  </a:lnTo>
                  <a:lnTo>
                    <a:pt x="63123" y="273072"/>
                  </a:lnTo>
                  <a:lnTo>
                    <a:pt x="69093" y="270013"/>
                  </a:lnTo>
                  <a:lnTo>
                    <a:pt x="69093" y="265424"/>
                  </a:lnTo>
                  <a:lnTo>
                    <a:pt x="73040" y="254717"/>
                  </a:lnTo>
                  <a:lnTo>
                    <a:pt x="80935" y="247119"/>
                  </a:lnTo>
                  <a:lnTo>
                    <a:pt x="73040" y="244060"/>
                  </a:lnTo>
                  <a:lnTo>
                    <a:pt x="65146" y="244060"/>
                  </a:lnTo>
                  <a:lnTo>
                    <a:pt x="57202" y="241001"/>
                  </a:lnTo>
                  <a:lnTo>
                    <a:pt x="51281" y="242530"/>
                  </a:lnTo>
                  <a:lnTo>
                    <a:pt x="47384" y="241001"/>
                  </a:lnTo>
                  <a:lnTo>
                    <a:pt x="41413" y="241001"/>
                  </a:lnTo>
                  <a:lnTo>
                    <a:pt x="35492" y="242530"/>
                  </a:lnTo>
                  <a:lnTo>
                    <a:pt x="27598" y="237942"/>
                  </a:lnTo>
                  <a:lnTo>
                    <a:pt x="27598" y="234932"/>
                  </a:lnTo>
                  <a:lnTo>
                    <a:pt x="21627" y="230343"/>
                  </a:lnTo>
                  <a:lnTo>
                    <a:pt x="21627" y="230343"/>
                  </a:lnTo>
                  <a:lnTo>
                    <a:pt x="21627" y="219636"/>
                  </a:lnTo>
                  <a:lnTo>
                    <a:pt x="17681" y="216577"/>
                  </a:lnTo>
                  <a:lnTo>
                    <a:pt x="15756" y="210459"/>
                  </a:lnTo>
                  <a:lnTo>
                    <a:pt x="7862" y="201331"/>
                  </a:lnTo>
                  <a:lnTo>
                    <a:pt x="5839" y="201331"/>
                  </a:lnTo>
                  <a:lnTo>
                    <a:pt x="9836" y="192203"/>
                  </a:lnTo>
                  <a:lnTo>
                    <a:pt x="5839" y="187565"/>
                  </a:lnTo>
                  <a:lnTo>
                    <a:pt x="5839" y="182976"/>
                  </a:lnTo>
                  <a:lnTo>
                    <a:pt x="-82" y="172319"/>
                  </a:lnTo>
                  <a:lnTo>
                    <a:pt x="3865" y="169260"/>
                  </a:lnTo>
                  <a:lnTo>
                    <a:pt x="1891" y="169260"/>
                  </a:lnTo>
                  <a:lnTo>
                    <a:pt x="5839" y="161662"/>
                  </a:lnTo>
                  <a:lnTo>
                    <a:pt x="7862" y="152534"/>
                  </a:lnTo>
                  <a:lnTo>
                    <a:pt x="5839" y="141777"/>
                  </a:lnTo>
                  <a:lnTo>
                    <a:pt x="9836" y="137238"/>
                  </a:lnTo>
                  <a:lnTo>
                    <a:pt x="13782" y="131120"/>
                  </a:lnTo>
                  <a:lnTo>
                    <a:pt x="23651" y="129590"/>
                  </a:lnTo>
                  <a:lnTo>
                    <a:pt x="31594" y="131120"/>
                  </a:lnTo>
                  <a:lnTo>
                    <a:pt x="39489" y="129590"/>
                  </a:lnTo>
                  <a:lnTo>
                    <a:pt x="35542" y="121992"/>
                  </a:lnTo>
                  <a:lnTo>
                    <a:pt x="39489" y="118933"/>
                  </a:lnTo>
                  <a:lnTo>
                    <a:pt x="39489" y="112864"/>
                  </a:lnTo>
                  <a:lnTo>
                    <a:pt x="41462" y="109805"/>
                  </a:lnTo>
                  <a:lnTo>
                    <a:pt x="39489" y="106746"/>
                  </a:lnTo>
                  <a:lnTo>
                    <a:pt x="27647" y="106746"/>
                  </a:lnTo>
                  <a:lnTo>
                    <a:pt x="27647" y="103687"/>
                  </a:lnTo>
                  <a:lnTo>
                    <a:pt x="29621" y="97618"/>
                  </a:lnTo>
                  <a:lnTo>
                    <a:pt x="39489" y="100677"/>
                  </a:lnTo>
                  <a:lnTo>
                    <a:pt x="43436" y="97618"/>
                  </a:lnTo>
                  <a:lnTo>
                    <a:pt x="43436" y="89970"/>
                  </a:lnTo>
                  <a:lnTo>
                    <a:pt x="47433" y="85431"/>
                  </a:lnTo>
                  <a:lnTo>
                    <a:pt x="47433" y="82372"/>
                  </a:lnTo>
                  <a:lnTo>
                    <a:pt x="49406" y="79312"/>
                  </a:lnTo>
                  <a:lnTo>
                    <a:pt x="49406" y="77783"/>
                  </a:lnTo>
                  <a:lnTo>
                    <a:pt x="49406" y="77783"/>
                  </a:lnTo>
                  <a:lnTo>
                    <a:pt x="49406" y="73194"/>
                  </a:lnTo>
                  <a:lnTo>
                    <a:pt x="41462" y="71665"/>
                  </a:lnTo>
                  <a:lnTo>
                    <a:pt x="37515" y="65546"/>
                  </a:lnTo>
                  <a:lnTo>
                    <a:pt x="39489" y="59478"/>
                  </a:lnTo>
                  <a:lnTo>
                    <a:pt x="55278" y="56418"/>
                  </a:lnTo>
                  <a:lnTo>
                    <a:pt x="59225" y="54889"/>
                  </a:lnTo>
                  <a:lnTo>
                    <a:pt x="69093" y="59478"/>
                  </a:lnTo>
                  <a:lnTo>
                    <a:pt x="69093" y="65546"/>
                  </a:lnTo>
                  <a:lnTo>
                    <a:pt x="73040" y="73194"/>
                  </a:lnTo>
                  <a:lnTo>
                    <a:pt x="76988" y="68606"/>
                  </a:lnTo>
                  <a:lnTo>
                    <a:pt x="75014" y="62487"/>
                  </a:lnTo>
                  <a:lnTo>
                    <a:pt x="75014" y="59478"/>
                  </a:lnTo>
                  <a:lnTo>
                    <a:pt x="76988" y="57948"/>
                  </a:lnTo>
                  <a:lnTo>
                    <a:pt x="82908" y="60958"/>
                  </a:lnTo>
                  <a:lnTo>
                    <a:pt x="80935" y="68606"/>
                  </a:lnTo>
                  <a:lnTo>
                    <a:pt x="88829" y="76253"/>
                  </a:lnTo>
                  <a:lnTo>
                    <a:pt x="86856" y="71665"/>
                  </a:lnTo>
                  <a:lnTo>
                    <a:pt x="86856" y="60958"/>
                  </a:lnTo>
                  <a:lnTo>
                    <a:pt x="84882" y="56418"/>
                  </a:lnTo>
                  <a:lnTo>
                    <a:pt x="88829" y="50300"/>
                  </a:lnTo>
                  <a:lnTo>
                    <a:pt x="94750" y="50300"/>
                  </a:lnTo>
                  <a:lnTo>
                    <a:pt x="98697" y="51830"/>
                  </a:lnTo>
                  <a:lnTo>
                    <a:pt x="108565" y="50300"/>
                  </a:lnTo>
                  <a:lnTo>
                    <a:pt x="120358" y="59478"/>
                  </a:lnTo>
                  <a:lnTo>
                    <a:pt x="134222" y="62487"/>
                  </a:lnTo>
                  <a:lnTo>
                    <a:pt x="120358" y="57948"/>
                  </a:lnTo>
                  <a:lnTo>
                    <a:pt x="110489" y="47241"/>
                  </a:lnTo>
                  <a:lnTo>
                    <a:pt x="98599" y="47241"/>
                  </a:lnTo>
                  <a:lnTo>
                    <a:pt x="94651" y="45761"/>
                  </a:lnTo>
                  <a:lnTo>
                    <a:pt x="94651" y="39643"/>
                  </a:lnTo>
                  <a:lnTo>
                    <a:pt x="102546" y="36584"/>
                  </a:lnTo>
                  <a:lnTo>
                    <a:pt x="94651" y="31995"/>
                  </a:lnTo>
                  <a:lnTo>
                    <a:pt x="94651" y="25877"/>
                  </a:lnTo>
                  <a:lnTo>
                    <a:pt x="88731" y="27406"/>
                  </a:lnTo>
                  <a:lnTo>
                    <a:pt x="86757" y="22818"/>
                  </a:lnTo>
                  <a:lnTo>
                    <a:pt x="92678" y="22818"/>
                  </a:lnTo>
                  <a:lnTo>
                    <a:pt x="98599" y="21288"/>
                  </a:lnTo>
                  <a:lnTo>
                    <a:pt x="92678" y="13690"/>
                  </a:lnTo>
                  <a:lnTo>
                    <a:pt x="92678" y="9101"/>
                  </a:lnTo>
                  <a:lnTo>
                    <a:pt x="88731" y="9101"/>
                  </a:lnTo>
                  <a:lnTo>
                    <a:pt x="84783" y="6091"/>
                  </a:lnTo>
                  <a:lnTo>
                    <a:pt x="84783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Graphic 2">
              <a:extLst>
                <a:ext uri="{FF2B5EF4-FFF2-40B4-BE49-F238E27FC236}">
                  <a16:creationId xmlns:a16="http://schemas.microsoft.com/office/drawing/2014/main" id="{28427425-1F7F-4A0E-9DFB-1A9EBD0C21FC}"/>
                </a:ext>
              </a:extLst>
            </p:cNvPr>
            <p:cNvSpPr/>
            <p:nvPr/>
          </p:nvSpPr>
          <p:spPr>
            <a:xfrm>
              <a:off x="5692546" y="3193781"/>
              <a:ext cx="6813" cy="6768"/>
            </a:xfrm>
            <a:custGeom>
              <a:avLst/>
              <a:gdLst>
                <a:gd name="connsiteX0" fmla="*/ 1793 w 7499"/>
                <a:gd name="connsiteY0" fmla="*/ -27 h 7450"/>
                <a:gd name="connsiteX1" fmla="*/ 7418 w 7499"/>
                <a:gd name="connsiteY1" fmla="*/ 2983 h 7450"/>
                <a:gd name="connsiteX2" fmla="*/ 7418 w 7499"/>
                <a:gd name="connsiteY2" fmla="*/ 7424 h 7450"/>
                <a:gd name="connsiteX3" fmla="*/ 1793 w 7499"/>
                <a:gd name="connsiteY3" fmla="*/ 7424 h 7450"/>
                <a:gd name="connsiteX4" fmla="*/ -82 w 7499"/>
                <a:gd name="connsiteY4" fmla="*/ 4463 h 7450"/>
                <a:gd name="connsiteX5" fmla="*/ 1793 w 7499"/>
                <a:gd name="connsiteY5" fmla="*/ -27 h 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9" h="7450">
                  <a:moveTo>
                    <a:pt x="1793" y="-27"/>
                  </a:moveTo>
                  <a:lnTo>
                    <a:pt x="7418" y="2983"/>
                  </a:lnTo>
                  <a:lnTo>
                    <a:pt x="7418" y="7424"/>
                  </a:lnTo>
                  <a:lnTo>
                    <a:pt x="1793" y="7424"/>
                  </a:lnTo>
                  <a:lnTo>
                    <a:pt x="-82" y="4463"/>
                  </a:lnTo>
                  <a:lnTo>
                    <a:pt x="1793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Graphic 2">
              <a:extLst>
                <a:ext uri="{FF2B5EF4-FFF2-40B4-BE49-F238E27FC236}">
                  <a16:creationId xmlns:a16="http://schemas.microsoft.com/office/drawing/2014/main" id="{09454F23-897B-4852-811B-D474DEA3962A}"/>
                </a:ext>
              </a:extLst>
            </p:cNvPr>
            <p:cNvSpPr/>
            <p:nvPr/>
          </p:nvSpPr>
          <p:spPr>
            <a:xfrm>
              <a:off x="5580883" y="3176837"/>
              <a:ext cx="148957" cy="71181"/>
            </a:xfrm>
            <a:custGeom>
              <a:avLst/>
              <a:gdLst>
                <a:gd name="connsiteX0" fmla="*/ 62975 w 163957"/>
                <a:gd name="connsiteY0" fmla="*/ 7670 h 78352"/>
                <a:gd name="connsiteX1" fmla="*/ 68945 w 163957"/>
                <a:gd name="connsiteY1" fmla="*/ 9200 h 78352"/>
                <a:gd name="connsiteX2" fmla="*/ 74866 w 163957"/>
                <a:gd name="connsiteY2" fmla="*/ 6141 h 78352"/>
                <a:gd name="connsiteX3" fmla="*/ 82761 w 163957"/>
                <a:gd name="connsiteY3" fmla="*/ 9200 h 78352"/>
                <a:gd name="connsiteX4" fmla="*/ 84783 w 163957"/>
                <a:gd name="connsiteY4" fmla="*/ 4611 h 78352"/>
                <a:gd name="connsiteX5" fmla="*/ 84783 w 163957"/>
                <a:gd name="connsiteY5" fmla="*/ 1503 h 78352"/>
                <a:gd name="connsiteX6" fmla="*/ 90705 w 163957"/>
                <a:gd name="connsiteY6" fmla="*/ -27 h 78352"/>
                <a:gd name="connsiteX7" fmla="*/ 96675 w 163957"/>
                <a:gd name="connsiteY7" fmla="*/ 4611 h 78352"/>
                <a:gd name="connsiteX8" fmla="*/ 100622 w 163957"/>
                <a:gd name="connsiteY8" fmla="*/ 6141 h 78352"/>
                <a:gd name="connsiteX9" fmla="*/ 102596 w 163957"/>
                <a:gd name="connsiteY9" fmla="*/ 3032 h 78352"/>
                <a:gd name="connsiteX10" fmla="*/ 108516 w 163957"/>
                <a:gd name="connsiteY10" fmla="*/ 3032 h 78352"/>
                <a:gd name="connsiteX11" fmla="*/ 118384 w 163957"/>
                <a:gd name="connsiteY11" fmla="*/ 9200 h 78352"/>
                <a:gd name="connsiteX12" fmla="*/ 124354 w 163957"/>
                <a:gd name="connsiteY12" fmla="*/ 15367 h 78352"/>
                <a:gd name="connsiteX13" fmla="*/ 124354 w 163957"/>
                <a:gd name="connsiteY13" fmla="*/ 19956 h 78352"/>
                <a:gd name="connsiteX14" fmla="*/ 122381 w 163957"/>
                <a:gd name="connsiteY14" fmla="*/ 24545 h 78352"/>
                <a:gd name="connsiteX15" fmla="*/ 124354 w 163957"/>
                <a:gd name="connsiteY15" fmla="*/ 27604 h 78352"/>
                <a:gd name="connsiteX16" fmla="*/ 136196 w 163957"/>
                <a:gd name="connsiteY16" fmla="*/ 27604 h 78352"/>
                <a:gd name="connsiteX17" fmla="*/ 140144 w 163957"/>
                <a:gd name="connsiteY17" fmla="*/ 26074 h 78352"/>
                <a:gd name="connsiteX18" fmla="*/ 148087 w 163957"/>
                <a:gd name="connsiteY18" fmla="*/ 32242 h 78352"/>
                <a:gd name="connsiteX19" fmla="*/ 154008 w 163957"/>
                <a:gd name="connsiteY19" fmla="*/ 27604 h 78352"/>
                <a:gd name="connsiteX20" fmla="*/ 157955 w 163957"/>
                <a:gd name="connsiteY20" fmla="*/ 27604 h 78352"/>
                <a:gd name="connsiteX21" fmla="*/ 163876 w 163957"/>
                <a:gd name="connsiteY21" fmla="*/ 32242 h 78352"/>
                <a:gd name="connsiteX22" fmla="*/ 154008 w 163957"/>
                <a:gd name="connsiteY22" fmla="*/ 39939 h 78352"/>
                <a:gd name="connsiteX23" fmla="*/ 157955 w 163957"/>
                <a:gd name="connsiteY23" fmla="*/ 50695 h 78352"/>
                <a:gd name="connsiteX24" fmla="*/ 144140 w 163957"/>
                <a:gd name="connsiteY24" fmla="*/ 53754 h 78352"/>
                <a:gd name="connsiteX25" fmla="*/ 144140 w 163957"/>
                <a:gd name="connsiteY25" fmla="*/ 64510 h 78352"/>
                <a:gd name="connsiteX26" fmla="*/ 138170 w 163957"/>
                <a:gd name="connsiteY26" fmla="*/ 59922 h 78352"/>
                <a:gd name="connsiteX27" fmla="*/ 132249 w 163957"/>
                <a:gd name="connsiteY27" fmla="*/ 59922 h 78352"/>
                <a:gd name="connsiteX28" fmla="*/ 114437 w 163957"/>
                <a:gd name="connsiteY28" fmla="*/ 56863 h 78352"/>
                <a:gd name="connsiteX29" fmla="*/ 114437 w 163957"/>
                <a:gd name="connsiteY29" fmla="*/ 64510 h 78352"/>
                <a:gd name="connsiteX30" fmla="*/ 108516 w 163957"/>
                <a:gd name="connsiteY30" fmla="*/ 76796 h 78352"/>
                <a:gd name="connsiteX31" fmla="*/ 104569 w 163957"/>
                <a:gd name="connsiteY31" fmla="*/ 70678 h 78352"/>
                <a:gd name="connsiteX32" fmla="*/ 90705 w 163957"/>
                <a:gd name="connsiteY32" fmla="*/ 64510 h 78352"/>
                <a:gd name="connsiteX33" fmla="*/ 94651 w 163957"/>
                <a:gd name="connsiteY33" fmla="*/ 58392 h 78352"/>
                <a:gd name="connsiteX34" fmla="*/ 84783 w 163957"/>
                <a:gd name="connsiteY34" fmla="*/ 53754 h 78352"/>
                <a:gd name="connsiteX35" fmla="*/ 72893 w 163957"/>
                <a:gd name="connsiteY35" fmla="*/ 73737 h 78352"/>
                <a:gd name="connsiteX36" fmla="*/ 63025 w 163957"/>
                <a:gd name="connsiteY36" fmla="*/ 70678 h 78352"/>
                <a:gd name="connsiteX37" fmla="*/ 47235 w 163957"/>
                <a:gd name="connsiteY37" fmla="*/ 78326 h 78352"/>
                <a:gd name="connsiteX38" fmla="*/ 41265 w 163957"/>
                <a:gd name="connsiteY38" fmla="*/ 76796 h 78352"/>
                <a:gd name="connsiteX39" fmla="*/ 39292 w 163957"/>
                <a:gd name="connsiteY39" fmla="*/ 72207 h 78352"/>
                <a:gd name="connsiteX40" fmla="*/ 35345 w 163957"/>
                <a:gd name="connsiteY40" fmla="*/ 69148 h 78352"/>
                <a:gd name="connsiteX41" fmla="*/ 33371 w 163957"/>
                <a:gd name="connsiteY41" fmla="*/ 59922 h 78352"/>
                <a:gd name="connsiteX42" fmla="*/ 29424 w 163957"/>
                <a:gd name="connsiteY42" fmla="*/ 55284 h 78352"/>
                <a:gd name="connsiteX43" fmla="*/ 17532 w 163957"/>
                <a:gd name="connsiteY43" fmla="*/ 53754 h 78352"/>
                <a:gd name="connsiteX44" fmla="*/ 13586 w 163957"/>
                <a:gd name="connsiteY44" fmla="*/ 58392 h 78352"/>
                <a:gd name="connsiteX45" fmla="*/ 15559 w 163957"/>
                <a:gd name="connsiteY45" fmla="*/ 64510 h 78352"/>
                <a:gd name="connsiteX46" fmla="*/ 7664 w 163957"/>
                <a:gd name="connsiteY46" fmla="*/ 69148 h 78352"/>
                <a:gd name="connsiteX47" fmla="*/ -82 w 163957"/>
                <a:gd name="connsiteY47" fmla="*/ 69148 h 78352"/>
                <a:gd name="connsiteX48" fmla="*/ -82 w 163957"/>
                <a:gd name="connsiteY48" fmla="*/ 62783 h 78352"/>
                <a:gd name="connsiteX49" fmla="*/ 3915 w 163957"/>
                <a:gd name="connsiteY49" fmla="*/ 61254 h 78352"/>
                <a:gd name="connsiteX50" fmla="*/ 7862 w 163957"/>
                <a:gd name="connsiteY50" fmla="*/ 61254 h 78352"/>
                <a:gd name="connsiteX51" fmla="*/ 7862 w 163957"/>
                <a:gd name="connsiteY51" fmla="*/ 55086 h 78352"/>
                <a:gd name="connsiteX52" fmla="*/ 9836 w 163957"/>
                <a:gd name="connsiteY52" fmla="*/ 45860 h 78352"/>
                <a:gd name="connsiteX53" fmla="*/ 17730 w 163957"/>
                <a:gd name="connsiteY53" fmla="*/ 32044 h 78352"/>
                <a:gd name="connsiteX54" fmla="*/ 23700 w 163957"/>
                <a:gd name="connsiteY54" fmla="*/ 30515 h 78352"/>
                <a:gd name="connsiteX55" fmla="*/ 31595 w 163957"/>
                <a:gd name="connsiteY55" fmla="*/ 24347 h 78352"/>
                <a:gd name="connsiteX56" fmla="*/ 37515 w 163957"/>
                <a:gd name="connsiteY56" fmla="*/ 21288 h 78352"/>
                <a:gd name="connsiteX57" fmla="*/ 37515 w 163957"/>
                <a:gd name="connsiteY57" fmla="*/ 15170 h 78352"/>
                <a:gd name="connsiteX58" fmla="*/ 29621 w 163957"/>
                <a:gd name="connsiteY58" fmla="*/ 10532 h 78352"/>
                <a:gd name="connsiteX59" fmla="*/ 33568 w 163957"/>
                <a:gd name="connsiteY59" fmla="*/ 5943 h 78352"/>
                <a:gd name="connsiteX60" fmla="*/ 41463 w 163957"/>
                <a:gd name="connsiteY60" fmla="*/ 5943 h 78352"/>
                <a:gd name="connsiteX61" fmla="*/ 43436 w 163957"/>
                <a:gd name="connsiteY61" fmla="*/ 10532 h 78352"/>
                <a:gd name="connsiteX62" fmla="*/ 49258 w 163957"/>
                <a:gd name="connsiteY62" fmla="*/ 10532 h 78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63957" h="78352">
                  <a:moveTo>
                    <a:pt x="62975" y="7670"/>
                  </a:moveTo>
                  <a:lnTo>
                    <a:pt x="68945" y="9200"/>
                  </a:lnTo>
                  <a:lnTo>
                    <a:pt x="74866" y="6141"/>
                  </a:lnTo>
                  <a:lnTo>
                    <a:pt x="82761" y="9200"/>
                  </a:lnTo>
                  <a:lnTo>
                    <a:pt x="84783" y="4611"/>
                  </a:lnTo>
                  <a:lnTo>
                    <a:pt x="84783" y="1503"/>
                  </a:lnTo>
                  <a:lnTo>
                    <a:pt x="90705" y="-27"/>
                  </a:lnTo>
                  <a:lnTo>
                    <a:pt x="96675" y="4611"/>
                  </a:lnTo>
                  <a:lnTo>
                    <a:pt x="100622" y="6141"/>
                  </a:lnTo>
                  <a:lnTo>
                    <a:pt x="102596" y="3032"/>
                  </a:lnTo>
                  <a:lnTo>
                    <a:pt x="108516" y="3032"/>
                  </a:lnTo>
                  <a:lnTo>
                    <a:pt x="118384" y="9200"/>
                  </a:lnTo>
                  <a:lnTo>
                    <a:pt x="124354" y="15367"/>
                  </a:lnTo>
                  <a:lnTo>
                    <a:pt x="124354" y="19956"/>
                  </a:lnTo>
                  <a:lnTo>
                    <a:pt x="122381" y="24545"/>
                  </a:lnTo>
                  <a:lnTo>
                    <a:pt x="124354" y="27604"/>
                  </a:lnTo>
                  <a:lnTo>
                    <a:pt x="136196" y="27604"/>
                  </a:lnTo>
                  <a:lnTo>
                    <a:pt x="140144" y="26074"/>
                  </a:lnTo>
                  <a:lnTo>
                    <a:pt x="148087" y="32242"/>
                  </a:lnTo>
                  <a:lnTo>
                    <a:pt x="154008" y="27604"/>
                  </a:lnTo>
                  <a:lnTo>
                    <a:pt x="157955" y="27604"/>
                  </a:lnTo>
                  <a:lnTo>
                    <a:pt x="163876" y="32242"/>
                  </a:lnTo>
                  <a:lnTo>
                    <a:pt x="154008" y="39939"/>
                  </a:lnTo>
                  <a:lnTo>
                    <a:pt x="157955" y="50695"/>
                  </a:lnTo>
                  <a:lnTo>
                    <a:pt x="144140" y="53754"/>
                  </a:lnTo>
                  <a:lnTo>
                    <a:pt x="144140" y="64510"/>
                  </a:lnTo>
                  <a:lnTo>
                    <a:pt x="138170" y="59922"/>
                  </a:lnTo>
                  <a:lnTo>
                    <a:pt x="132249" y="59922"/>
                  </a:lnTo>
                  <a:lnTo>
                    <a:pt x="114437" y="56863"/>
                  </a:lnTo>
                  <a:lnTo>
                    <a:pt x="114437" y="64510"/>
                  </a:lnTo>
                  <a:lnTo>
                    <a:pt x="108516" y="76796"/>
                  </a:lnTo>
                  <a:lnTo>
                    <a:pt x="104569" y="70678"/>
                  </a:lnTo>
                  <a:lnTo>
                    <a:pt x="90705" y="64510"/>
                  </a:lnTo>
                  <a:lnTo>
                    <a:pt x="94651" y="58392"/>
                  </a:lnTo>
                  <a:lnTo>
                    <a:pt x="84783" y="53754"/>
                  </a:lnTo>
                  <a:lnTo>
                    <a:pt x="72893" y="73737"/>
                  </a:lnTo>
                  <a:lnTo>
                    <a:pt x="63025" y="70678"/>
                  </a:lnTo>
                  <a:lnTo>
                    <a:pt x="47235" y="78326"/>
                  </a:lnTo>
                  <a:lnTo>
                    <a:pt x="41265" y="76796"/>
                  </a:lnTo>
                  <a:lnTo>
                    <a:pt x="39292" y="72207"/>
                  </a:lnTo>
                  <a:lnTo>
                    <a:pt x="35345" y="69148"/>
                  </a:lnTo>
                  <a:lnTo>
                    <a:pt x="33371" y="59922"/>
                  </a:lnTo>
                  <a:lnTo>
                    <a:pt x="29424" y="55284"/>
                  </a:lnTo>
                  <a:lnTo>
                    <a:pt x="17532" y="53754"/>
                  </a:lnTo>
                  <a:lnTo>
                    <a:pt x="13586" y="58392"/>
                  </a:lnTo>
                  <a:lnTo>
                    <a:pt x="15559" y="64510"/>
                  </a:lnTo>
                  <a:lnTo>
                    <a:pt x="7664" y="69148"/>
                  </a:lnTo>
                  <a:lnTo>
                    <a:pt x="-82" y="69148"/>
                  </a:lnTo>
                  <a:lnTo>
                    <a:pt x="-82" y="62783"/>
                  </a:lnTo>
                  <a:lnTo>
                    <a:pt x="3915" y="61254"/>
                  </a:lnTo>
                  <a:lnTo>
                    <a:pt x="7862" y="61254"/>
                  </a:lnTo>
                  <a:lnTo>
                    <a:pt x="7862" y="55086"/>
                  </a:lnTo>
                  <a:lnTo>
                    <a:pt x="9836" y="45860"/>
                  </a:lnTo>
                  <a:lnTo>
                    <a:pt x="17730" y="32044"/>
                  </a:lnTo>
                  <a:lnTo>
                    <a:pt x="23700" y="30515"/>
                  </a:lnTo>
                  <a:lnTo>
                    <a:pt x="31595" y="24347"/>
                  </a:lnTo>
                  <a:lnTo>
                    <a:pt x="37515" y="21288"/>
                  </a:lnTo>
                  <a:lnTo>
                    <a:pt x="37515" y="15170"/>
                  </a:lnTo>
                  <a:lnTo>
                    <a:pt x="29621" y="10532"/>
                  </a:lnTo>
                  <a:lnTo>
                    <a:pt x="33568" y="5943"/>
                  </a:lnTo>
                  <a:lnTo>
                    <a:pt x="41463" y="5943"/>
                  </a:lnTo>
                  <a:lnTo>
                    <a:pt x="43436" y="10532"/>
                  </a:lnTo>
                  <a:lnTo>
                    <a:pt x="49258" y="1053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Graphic 2">
              <a:extLst>
                <a:ext uri="{FF2B5EF4-FFF2-40B4-BE49-F238E27FC236}">
                  <a16:creationId xmlns:a16="http://schemas.microsoft.com/office/drawing/2014/main" id="{79D85ACA-9867-4F45-ACC1-42B18DD1019A}"/>
                </a:ext>
              </a:extLst>
            </p:cNvPr>
            <p:cNvSpPr/>
            <p:nvPr/>
          </p:nvSpPr>
          <p:spPr>
            <a:xfrm>
              <a:off x="5502169" y="2970017"/>
              <a:ext cx="115832" cy="94982"/>
            </a:xfrm>
            <a:custGeom>
              <a:avLst/>
              <a:gdLst>
                <a:gd name="connsiteX0" fmla="*/ 81281 w 127495"/>
                <a:gd name="connsiteY0" fmla="*/ 104476 h 104552"/>
                <a:gd name="connsiteX1" fmla="*/ 85129 w 127495"/>
                <a:gd name="connsiteY1" fmla="*/ 96680 h 104552"/>
                <a:gd name="connsiteX2" fmla="*/ 87004 w 127495"/>
                <a:gd name="connsiteY2" fmla="*/ 87305 h 104552"/>
                <a:gd name="connsiteX3" fmla="*/ 85129 w 127495"/>
                <a:gd name="connsiteY3" fmla="*/ 76401 h 104552"/>
                <a:gd name="connsiteX4" fmla="*/ 88928 w 127495"/>
                <a:gd name="connsiteY4" fmla="*/ 71714 h 104552"/>
                <a:gd name="connsiteX5" fmla="*/ 92777 w 127495"/>
                <a:gd name="connsiteY5" fmla="*/ 65497 h 104552"/>
                <a:gd name="connsiteX6" fmla="*/ 102645 w 127495"/>
                <a:gd name="connsiteY6" fmla="*/ 63918 h 104552"/>
                <a:gd name="connsiteX7" fmla="*/ 110342 w 127495"/>
                <a:gd name="connsiteY7" fmla="*/ 65497 h 104552"/>
                <a:gd name="connsiteX8" fmla="*/ 117990 w 127495"/>
                <a:gd name="connsiteY8" fmla="*/ 63918 h 104552"/>
                <a:gd name="connsiteX9" fmla="*/ 114141 w 127495"/>
                <a:gd name="connsiteY9" fmla="*/ 56122 h 104552"/>
                <a:gd name="connsiteX10" fmla="*/ 117990 w 127495"/>
                <a:gd name="connsiteY10" fmla="*/ 53014 h 104552"/>
                <a:gd name="connsiteX11" fmla="*/ 117990 w 127495"/>
                <a:gd name="connsiteY11" fmla="*/ 46797 h 104552"/>
                <a:gd name="connsiteX12" fmla="*/ 119964 w 127495"/>
                <a:gd name="connsiteY12" fmla="*/ 43639 h 104552"/>
                <a:gd name="connsiteX13" fmla="*/ 117990 w 127495"/>
                <a:gd name="connsiteY13" fmla="*/ 40531 h 104552"/>
                <a:gd name="connsiteX14" fmla="*/ 106296 w 127495"/>
                <a:gd name="connsiteY14" fmla="*/ 40531 h 104552"/>
                <a:gd name="connsiteX15" fmla="*/ 106296 w 127495"/>
                <a:gd name="connsiteY15" fmla="*/ 37422 h 104552"/>
                <a:gd name="connsiteX16" fmla="*/ 108221 w 127495"/>
                <a:gd name="connsiteY16" fmla="*/ 31205 h 104552"/>
                <a:gd name="connsiteX17" fmla="*/ 117792 w 127495"/>
                <a:gd name="connsiteY17" fmla="*/ 34265 h 104552"/>
                <a:gd name="connsiteX18" fmla="*/ 121641 w 127495"/>
                <a:gd name="connsiteY18" fmla="*/ 31205 h 104552"/>
                <a:gd name="connsiteX19" fmla="*/ 121641 w 127495"/>
                <a:gd name="connsiteY19" fmla="*/ 23360 h 104552"/>
                <a:gd name="connsiteX20" fmla="*/ 125490 w 127495"/>
                <a:gd name="connsiteY20" fmla="*/ 18673 h 104552"/>
                <a:gd name="connsiteX21" fmla="*/ 125490 w 127495"/>
                <a:gd name="connsiteY21" fmla="*/ 15565 h 104552"/>
                <a:gd name="connsiteX22" fmla="*/ 127414 w 127495"/>
                <a:gd name="connsiteY22" fmla="*/ 12456 h 104552"/>
                <a:gd name="connsiteX23" fmla="*/ 127414 w 127495"/>
                <a:gd name="connsiteY23" fmla="*/ 10927 h 104552"/>
                <a:gd name="connsiteX24" fmla="*/ 121641 w 127495"/>
                <a:gd name="connsiteY24" fmla="*/ 9348 h 104552"/>
                <a:gd name="connsiteX25" fmla="*/ 115917 w 127495"/>
                <a:gd name="connsiteY25" fmla="*/ 6239 h 104552"/>
                <a:gd name="connsiteX26" fmla="*/ 104372 w 127495"/>
                <a:gd name="connsiteY26" fmla="*/ -27 h 104552"/>
                <a:gd name="connsiteX27" fmla="*/ 94751 w 127495"/>
                <a:gd name="connsiteY27" fmla="*/ 1552 h 104552"/>
                <a:gd name="connsiteX28" fmla="*/ 88978 w 127495"/>
                <a:gd name="connsiteY28" fmla="*/ 7769 h 104552"/>
                <a:gd name="connsiteX29" fmla="*/ 83205 w 127495"/>
                <a:gd name="connsiteY29" fmla="*/ 4660 h 104552"/>
                <a:gd name="connsiteX30" fmla="*/ 79357 w 127495"/>
                <a:gd name="connsiteY30" fmla="*/ 7769 h 104552"/>
                <a:gd name="connsiteX31" fmla="*/ 69784 w 127495"/>
                <a:gd name="connsiteY31" fmla="*/ 7769 h 104552"/>
                <a:gd name="connsiteX32" fmla="*/ 61890 w 127495"/>
                <a:gd name="connsiteY32" fmla="*/ 14134 h 104552"/>
                <a:gd name="connsiteX33" fmla="*/ 50394 w 127495"/>
                <a:gd name="connsiteY33" fmla="*/ 20351 h 104552"/>
                <a:gd name="connsiteX34" fmla="*/ 48469 w 127495"/>
                <a:gd name="connsiteY34" fmla="*/ 18772 h 104552"/>
                <a:gd name="connsiteX35" fmla="*/ 38601 w 127495"/>
                <a:gd name="connsiteY35" fmla="*/ 21929 h 104552"/>
                <a:gd name="connsiteX36" fmla="*/ 38601 w 127495"/>
                <a:gd name="connsiteY36" fmla="*/ 28146 h 104552"/>
                <a:gd name="connsiteX37" fmla="*/ 30904 w 127495"/>
                <a:gd name="connsiteY37" fmla="*/ 34363 h 104552"/>
                <a:gd name="connsiteX38" fmla="*/ 34753 w 127495"/>
                <a:gd name="connsiteY38" fmla="*/ 42159 h 104552"/>
                <a:gd name="connsiteX39" fmla="*/ 32828 w 127495"/>
                <a:gd name="connsiteY39" fmla="*/ 48425 h 104552"/>
                <a:gd name="connsiteX40" fmla="*/ 28980 w 127495"/>
                <a:gd name="connsiteY40" fmla="*/ 53113 h 104552"/>
                <a:gd name="connsiteX41" fmla="*/ 27055 w 127495"/>
                <a:gd name="connsiteY41" fmla="*/ 59330 h 104552"/>
                <a:gd name="connsiteX42" fmla="*/ 21332 w 127495"/>
                <a:gd name="connsiteY42" fmla="*/ 62487 h 104552"/>
                <a:gd name="connsiteX43" fmla="*/ 23207 w 127495"/>
                <a:gd name="connsiteY43" fmla="*/ 67125 h 104552"/>
                <a:gd name="connsiteX44" fmla="*/ 30904 w 127495"/>
                <a:gd name="connsiteY44" fmla="*/ 73392 h 104552"/>
                <a:gd name="connsiteX45" fmla="*/ 36677 w 127495"/>
                <a:gd name="connsiteY45" fmla="*/ 74921 h 104552"/>
                <a:gd name="connsiteX46" fmla="*/ 28980 w 127495"/>
                <a:gd name="connsiteY46" fmla="*/ 74921 h 104552"/>
                <a:gd name="connsiteX47" fmla="*/ 25181 w 127495"/>
                <a:gd name="connsiteY47" fmla="*/ 76500 h 104552"/>
                <a:gd name="connsiteX48" fmla="*/ 23207 w 127495"/>
                <a:gd name="connsiteY48" fmla="*/ 79608 h 104552"/>
                <a:gd name="connsiteX49" fmla="*/ 27055 w 127495"/>
                <a:gd name="connsiteY49" fmla="*/ 82766 h 104552"/>
                <a:gd name="connsiteX50" fmla="*/ 30904 w 127495"/>
                <a:gd name="connsiteY50" fmla="*/ 82766 h 104552"/>
                <a:gd name="connsiteX51" fmla="*/ 30904 w 127495"/>
                <a:gd name="connsiteY51" fmla="*/ 87404 h 104552"/>
                <a:gd name="connsiteX52" fmla="*/ 25181 w 127495"/>
                <a:gd name="connsiteY52" fmla="*/ 87404 h 104552"/>
                <a:gd name="connsiteX53" fmla="*/ 19359 w 127495"/>
                <a:gd name="connsiteY53" fmla="*/ 81187 h 104552"/>
                <a:gd name="connsiteX54" fmla="*/ 13635 w 127495"/>
                <a:gd name="connsiteY54" fmla="*/ 78079 h 104552"/>
                <a:gd name="connsiteX55" fmla="*/ 5938 w 127495"/>
                <a:gd name="connsiteY55" fmla="*/ 81187 h 104552"/>
                <a:gd name="connsiteX56" fmla="*/ 7862 w 127495"/>
                <a:gd name="connsiteY56" fmla="*/ 82766 h 104552"/>
                <a:gd name="connsiteX57" fmla="*/ 15510 w 127495"/>
                <a:gd name="connsiteY57" fmla="*/ 85875 h 104552"/>
                <a:gd name="connsiteX58" fmla="*/ 19359 w 127495"/>
                <a:gd name="connsiteY58" fmla="*/ 88983 h 104552"/>
                <a:gd name="connsiteX59" fmla="*/ 21332 w 127495"/>
                <a:gd name="connsiteY59" fmla="*/ 88983 h 104552"/>
                <a:gd name="connsiteX60" fmla="*/ 27055 w 127495"/>
                <a:gd name="connsiteY60" fmla="*/ 92091 h 104552"/>
                <a:gd name="connsiteX61" fmla="*/ 21332 w 127495"/>
                <a:gd name="connsiteY61" fmla="*/ 90562 h 104552"/>
                <a:gd name="connsiteX62" fmla="*/ 17484 w 127495"/>
                <a:gd name="connsiteY62" fmla="*/ 90562 h 104552"/>
                <a:gd name="connsiteX63" fmla="*/ 7616 w 127495"/>
                <a:gd name="connsiteY63" fmla="*/ 87404 h 104552"/>
                <a:gd name="connsiteX64" fmla="*/ -82 w 127495"/>
                <a:gd name="connsiteY64" fmla="*/ 87404 h 104552"/>
                <a:gd name="connsiteX65" fmla="*/ 3767 w 127495"/>
                <a:gd name="connsiteY65" fmla="*/ 88983 h 104552"/>
                <a:gd name="connsiteX66" fmla="*/ 7616 w 127495"/>
                <a:gd name="connsiteY66" fmla="*/ 93621 h 104552"/>
                <a:gd name="connsiteX67" fmla="*/ 15264 w 127495"/>
                <a:gd name="connsiteY67" fmla="*/ 93621 h 104552"/>
                <a:gd name="connsiteX68" fmla="*/ 17237 w 127495"/>
                <a:gd name="connsiteY68" fmla="*/ 96779 h 104552"/>
                <a:gd name="connsiteX69" fmla="*/ 21085 w 127495"/>
                <a:gd name="connsiteY69" fmla="*/ 93621 h 104552"/>
                <a:gd name="connsiteX70" fmla="*/ 26809 w 127495"/>
                <a:gd name="connsiteY70" fmla="*/ 92091 h 104552"/>
                <a:gd name="connsiteX71" fmla="*/ 28733 w 127495"/>
                <a:gd name="connsiteY71" fmla="*/ 90562 h 104552"/>
                <a:gd name="connsiteX72" fmla="*/ 34506 w 127495"/>
                <a:gd name="connsiteY72" fmla="*/ 90562 h 104552"/>
                <a:gd name="connsiteX73" fmla="*/ 36430 w 127495"/>
                <a:gd name="connsiteY73" fmla="*/ 85628 h 104552"/>
                <a:gd name="connsiteX74" fmla="*/ 49900 w 127495"/>
                <a:gd name="connsiteY74" fmla="*/ 85628 h 104552"/>
                <a:gd name="connsiteX75" fmla="*/ 53699 w 127495"/>
                <a:gd name="connsiteY75" fmla="*/ 90562 h 104552"/>
                <a:gd name="connsiteX76" fmla="*/ 59522 w 127495"/>
                <a:gd name="connsiteY76" fmla="*/ 90562 h 104552"/>
                <a:gd name="connsiteX77" fmla="*/ 61397 w 127495"/>
                <a:gd name="connsiteY77" fmla="*/ 93621 h 104552"/>
                <a:gd name="connsiteX78" fmla="*/ 71265 w 127495"/>
                <a:gd name="connsiteY78" fmla="*/ 93621 h 104552"/>
                <a:gd name="connsiteX79" fmla="*/ 73238 w 127495"/>
                <a:gd name="connsiteY79" fmla="*/ 98555 h 104552"/>
                <a:gd name="connsiteX80" fmla="*/ 73238 w 127495"/>
                <a:gd name="connsiteY80" fmla="*/ 102946 h 104552"/>
                <a:gd name="connsiteX81" fmla="*/ 80935 w 127495"/>
                <a:gd name="connsiteY81" fmla="*/ 104525 h 104552"/>
                <a:gd name="connsiteX82" fmla="*/ 13981 w 127495"/>
                <a:gd name="connsiteY82" fmla="*/ 76401 h 104552"/>
                <a:gd name="connsiteX83" fmla="*/ 19704 w 127495"/>
                <a:gd name="connsiteY83" fmla="*/ 74822 h 104552"/>
                <a:gd name="connsiteX84" fmla="*/ 21677 w 127495"/>
                <a:gd name="connsiteY84" fmla="*/ 77980 h 104552"/>
                <a:gd name="connsiteX85" fmla="*/ 19704 w 127495"/>
                <a:gd name="connsiteY85" fmla="*/ 77980 h 104552"/>
                <a:gd name="connsiteX86" fmla="*/ 17829 w 127495"/>
                <a:gd name="connsiteY86" fmla="*/ 76401 h 104552"/>
                <a:gd name="connsiteX87" fmla="*/ 17829 w 127495"/>
                <a:gd name="connsiteY87" fmla="*/ 70184 h 104552"/>
                <a:gd name="connsiteX88" fmla="*/ 21677 w 127495"/>
                <a:gd name="connsiteY88" fmla="*/ 70184 h 104552"/>
                <a:gd name="connsiteX89" fmla="*/ 27401 w 127495"/>
                <a:gd name="connsiteY89" fmla="*/ 73293 h 104552"/>
                <a:gd name="connsiteX90" fmla="*/ 25526 w 127495"/>
                <a:gd name="connsiteY90" fmla="*/ 74822 h 104552"/>
                <a:gd name="connsiteX91" fmla="*/ 23552 w 127495"/>
                <a:gd name="connsiteY91" fmla="*/ 73293 h 104552"/>
                <a:gd name="connsiteX92" fmla="*/ 21677 w 127495"/>
                <a:gd name="connsiteY92" fmla="*/ 71714 h 104552"/>
                <a:gd name="connsiteX93" fmla="*/ 17829 w 127495"/>
                <a:gd name="connsiteY93" fmla="*/ 73293 h 10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27495" h="104552">
                  <a:moveTo>
                    <a:pt x="81281" y="104476"/>
                  </a:moveTo>
                  <a:lnTo>
                    <a:pt x="85129" y="96680"/>
                  </a:lnTo>
                  <a:lnTo>
                    <a:pt x="87004" y="87305"/>
                  </a:lnTo>
                  <a:lnTo>
                    <a:pt x="85129" y="76401"/>
                  </a:lnTo>
                  <a:lnTo>
                    <a:pt x="88928" y="71714"/>
                  </a:lnTo>
                  <a:lnTo>
                    <a:pt x="92777" y="65497"/>
                  </a:lnTo>
                  <a:lnTo>
                    <a:pt x="102645" y="63918"/>
                  </a:lnTo>
                  <a:lnTo>
                    <a:pt x="110342" y="65497"/>
                  </a:lnTo>
                  <a:lnTo>
                    <a:pt x="117990" y="63918"/>
                  </a:lnTo>
                  <a:lnTo>
                    <a:pt x="114141" y="56122"/>
                  </a:lnTo>
                  <a:lnTo>
                    <a:pt x="117990" y="53014"/>
                  </a:lnTo>
                  <a:lnTo>
                    <a:pt x="117990" y="46797"/>
                  </a:lnTo>
                  <a:lnTo>
                    <a:pt x="119964" y="43639"/>
                  </a:lnTo>
                  <a:lnTo>
                    <a:pt x="117990" y="40531"/>
                  </a:lnTo>
                  <a:lnTo>
                    <a:pt x="106296" y="40531"/>
                  </a:lnTo>
                  <a:lnTo>
                    <a:pt x="106296" y="37422"/>
                  </a:lnTo>
                  <a:lnTo>
                    <a:pt x="108221" y="31205"/>
                  </a:lnTo>
                  <a:lnTo>
                    <a:pt x="117792" y="34265"/>
                  </a:lnTo>
                  <a:lnTo>
                    <a:pt x="121641" y="31205"/>
                  </a:lnTo>
                  <a:lnTo>
                    <a:pt x="121641" y="23360"/>
                  </a:lnTo>
                  <a:lnTo>
                    <a:pt x="125490" y="18673"/>
                  </a:lnTo>
                  <a:lnTo>
                    <a:pt x="125490" y="15565"/>
                  </a:lnTo>
                  <a:lnTo>
                    <a:pt x="127414" y="12456"/>
                  </a:lnTo>
                  <a:lnTo>
                    <a:pt x="127414" y="10927"/>
                  </a:lnTo>
                  <a:lnTo>
                    <a:pt x="121641" y="9348"/>
                  </a:lnTo>
                  <a:lnTo>
                    <a:pt x="115917" y="6239"/>
                  </a:lnTo>
                  <a:lnTo>
                    <a:pt x="104372" y="-27"/>
                  </a:lnTo>
                  <a:lnTo>
                    <a:pt x="94751" y="1552"/>
                  </a:lnTo>
                  <a:lnTo>
                    <a:pt x="88978" y="7769"/>
                  </a:lnTo>
                  <a:lnTo>
                    <a:pt x="83205" y="4660"/>
                  </a:lnTo>
                  <a:lnTo>
                    <a:pt x="79357" y="7769"/>
                  </a:lnTo>
                  <a:lnTo>
                    <a:pt x="69784" y="7769"/>
                  </a:lnTo>
                  <a:lnTo>
                    <a:pt x="61890" y="14134"/>
                  </a:lnTo>
                  <a:lnTo>
                    <a:pt x="50394" y="20351"/>
                  </a:lnTo>
                  <a:lnTo>
                    <a:pt x="48469" y="18772"/>
                  </a:lnTo>
                  <a:lnTo>
                    <a:pt x="38601" y="21929"/>
                  </a:lnTo>
                  <a:lnTo>
                    <a:pt x="38601" y="28146"/>
                  </a:lnTo>
                  <a:lnTo>
                    <a:pt x="30904" y="34363"/>
                  </a:lnTo>
                  <a:lnTo>
                    <a:pt x="34753" y="42159"/>
                  </a:lnTo>
                  <a:lnTo>
                    <a:pt x="32828" y="48425"/>
                  </a:lnTo>
                  <a:lnTo>
                    <a:pt x="28980" y="53113"/>
                  </a:lnTo>
                  <a:lnTo>
                    <a:pt x="27055" y="59330"/>
                  </a:lnTo>
                  <a:lnTo>
                    <a:pt x="21332" y="62487"/>
                  </a:lnTo>
                  <a:lnTo>
                    <a:pt x="23207" y="67125"/>
                  </a:lnTo>
                  <a:lnTo>
                    <a:pt x="30904" y="73392"/>
                  </a:lnTo>
                  <a:lnTo>
                    <a:pt x="36677" y="74921"/>
                  </a:lnTo>
                  <a:lnTo>
                    <a:pt x="28980" y="74921"/>
                  </a:lnTo>
                  <a:lnTo>
                    <a:pt x="25181" y="76500"/>
                  </a:lnTo>
                  <a:lnTo>
                    <a:pt x="23207" y="79608"/>
                  </a:lnTo>
                  <a:lnTo>
                    <a:pt x="27055" y="82766"/>
                  </a:lnTo>
                  <a:lnTo>
                    <a:pt x="30904" y="82766"/>
                  </a:lnTo>
                  <a:lnTo>
                    <a:pt x="30904" y="87404"/>
                  </a:lnTo>
                  <a:lnTo>
                    <a:pt x="25181" y="87404"/>
                  </a:lnTo>
                  <a:lnTo>
                    <a:pt x="19359" y="81187"/>
                  </a:lnTo>
                  <a:lnTo>
                    <a:pt x="13635" y="78079"/>
                  </a:lnTo>
                  <a:lnTo>
                    <a:pt x="5938" y="81187"/>
                  </a:lnTo>
                  <a:lnTo>
                    <a:pt x="7862" y="82766"/>
                  </a:lnTo>
                  <a:lnTo>
                    <a:pt x="15510" y="85875"/>
                  </a:lnTo>
                  <a:lnTo>
                    <a:pt x="19359" y="88983"/>
                  </a:lnTo>
                  <a:lnTo>
                    <a:pt x="21332" y="88983"/>
                  </a:lnTo>
                  <a:lnTo>
                    <a:pt x="27055" y="92091"/>
                  </a:lnTo>
                  <a:lnTo>
                    <a:pt x="21332" y="90562"/>
                  </a:lnTo>
                  <a:lnTo>
                    <a:pt x="17484" y="90562"/>
                  </a:lnTo>
                  <a:lnTo>
                    <a:pt x="7616" y="87404"/>
                  </a:lnTo>
                  <a:lnTo>
                    <a:pt x="-82" y="87404"/>
                  </a:lnTo>
                  <a:lnTo>
                    <a:pt x="3767" y="88983"/>
                  </a:lnTo>
                  <a:lnTo>
                    <a:pt x="7616" y="93621"/>
                  </a:lnTo>
                  <a:lnTo>
                    <a:pt x="15264" y="93621"/>
                  </a:lnTo>
                  <a:lnTo>
                    <a:pt x="17237" y="96779"/>
                  </a:lnTo>
                  <a:lnTo>
                    <a:pt x="21085" y="93621"/>
                  </a:lnTo>
                  <a:lnTo>
                    <a:pt x="26809" y="92091"/>
                  </a:lnTo>
                  <a:lnTo>
                    <a:pt x="28733" y="90562"/>
                  </a:lnTo>
                  <a:lnTo>
                    <a:pt x="34506" y="90562"/>
                  </a:lnTo>
                  <a:lnTo>
                    <a:pt x="36430" y="85628"/>
                  </a:lnTo>
                  <a:lnTo>
                    <a:pt x="49900" y="85628"/>
                  </a:lnTo>
                  <a:lnTo>
                    <a:pt x="53699" y="90562"/>
                  </a:lnTo>
                  <a:lnTo>
                    <a:pt x="59522" y="90562"/>
                  </a:lnTo>
                  <a:lnTo>
                    <a:pt x="61397" y="93621"/>
                  </a:lnTo>
                  <a:lnTo>
                    <a:pt x="71265" y="93621"/>
                  </a:lnTo>
                  <a:lnTo>
                    <a:pt x="73238" y="98555"/>
                  </a:lnTo>
                  <a:lnTo>
                    <a:pt x="73238" y="102946"/>
                  </a:lnTo>
                  <a:lnTo>
                    <a:pt x="80935" y="104525"/>
                  </a:lnTo>
                  <a:close/>
                  <a:moveTo>
                    <a:pt x="13981" y="76401"/>
                  </a:moveTo>
                  <a:lnTo>
                    <a:pt x="19704" y="74822"/>
                  </a:lnTo>
                  <a:lnTo>
                    <a:pt x="21677" y="77980"/>
                  </a:lnTo>
                  <a:lnTo>
                    <a:pt x="19704" y="77980"/>
                  </a:lnTo>
                  <a:lnTo>
                    <a:pt x="17829" y="76401"/>
                  </a:lnTo>
                  <a:close/>
                  <a:moveTo>
                    <a:pt x="17829" y="70184"/>
                  </a:moveTo>
                  <a:lnTo>
                    <a:pt x="21677" y="70184"/>
                  </a:lnTo>
                  <a:lnTo>
                    <a:pt x="27401" y="73293"/>
                  </a:lnTo>
                  <a:lnTo>
                    <a:pt x="25526" y="74822"/>
                  </a:lnTo>
                  <a:lnTo>
                    <a:pt x="23552" y="73293"/>
                  </a:lnTo>
                  <a:lnTo>
                    <a:pt x="21677" y="71714"/>
                  </a:lnTo>
                  <a:lnTo>
                    <a:pt x="17829" y="7329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Graphic 2">
              <a:extLst>
                <a:ext uri="{FF2B5EF4-FFF2-40B4-BE49-F238E27FC236}">
                  <a16:creationId xmlns:a16="http://schemas.microsoft.com/office/drawing/2014/main" id="{8DD8EF81-DB46-409B-B5C3-8318BD5FA04A}"/>
                </a:ext>
              </a:extLst>
            </p:cNvPr>
            <p:cNvSpPr/>
            <p:nvPr/>
          </p:nvSpPr>
          <p:spPr>
            <a:xfrm>
              <a:off x="5489438" y="3048010"/>
              <a:ext cx="94629" cy="64413"/>
            </a:xfrm>
            <a:custGeom>
              <a:avLst/>
              <a:gdLst>
                <a:gd name="connsiteX0" fmla="*/ 100030 w 104157"/>
                <a:gd name="connsiteY0" fmla="*/ 48721 h 70902"/>
                <a:gd name="connsiteX1" fmla="*/ 104076 w 104157"/>
                <a:gd name="connsiteY1" fmla="*/ 39840 h 70902"/>
                <a:gd name="connsiteX2" fmla="*/ 100030 w 104157"/>
                <a:gd name="connsiteY2" fmla="*/ 35399 h 70902"/>
                <a:gd name="connsiteX3" fmla="*/ 100030 w 104157"/>
                <a:gd name="connsiteY3" fmla="*/ 30959 h 70902"/>
                <a:gd name="connsiteX4" fmla="*/ 94060 w 104157"/>
                <a:gd name="connsiteY4" fmla="*/ 20647 h 70902"/>
                <a:gd name="connsiteX5" fmla="*/ 98056 w 104157"/>
                <a:gd name="connsiteY5" fmla="*/ 17686 h 70902"/>
                <a:gd name="connsiteX6" fmla="*/ 88188 w 104157"/>
                <a:gd name="connsiteY6" fmla="*/ 16206 h 70902"/>
                <a:gd name="connsiteX7" fmla="*/ 88188 w 104157"/>
                <a:gd name="connsiteY7" fmla="*/ 11815 h 70902"/>
                <a:gd name="connsiteX8" fmla="*/ 86165 w 104157"/>
                <a:gd name="connsiteY8" fmla="*/ 7374 h 70902"/>
                <a:gd name="connsiteX9" fmla="*/ 76297 w 104157"/>
                <a:gd name="connsiteY9" fmla="*/ 7374 h 70902"/>
                <a:gd name="connsiteX10" fmla="*/ 74274 w 104157"/>
                <a:gd name="connsiteY10" fmla="*/ 4414 h 70902"/>
                <a:gd name="connsiteX11" fmla="*/ 68254 w 104157"/>
                <a:gd name="connsiteY11" fmla="*/ 4414 h 70902"/>
                <a:gd name="connsiteX12" fmla="*/ 64209 w 104157"/>
                <a:gd name="connsiteY12" fmla="*/ -27 h 70902"/>
                <a:gd name="connsiteX13" fmla="*/ 50147 w 104157"/>
                <a:gd name="connsiteY13" fmla="*/ -27 h 70902"/>
                <a:gd name="connsiteX14" fmla="*/ 48124 w 104157"/>
                <a:gd name="connsiteY14" fmla="*/ 4414 h 70902"/>
                <a:gd name="connsiteX15" fmla="*/ 42154 w 104157"/>
                <a:gd name="connsiteY15" fmla="*/ 4414 h 70902"/>
                <a:gd name="connsiteX16" fmla="*/ 40131 w 104157"/>
                <a:gd name="connsiteY16" fmla="*/ 5845 h 70902"/>
                <a:gd name="connsiteX17" fmla="*/ 34062 w 104157"/>
                <a:gd name="connsiteY17" fmla="*/ 7374 h 70902"/>
                <a:gd name="connsiteX18" fmla="*/ 30065 w 104157"/>
                <a:gd name="connsiteY18" fmla="*/ 10285 h 70902"/>
                <a:gd name="connsiteX19" fmla="*/ 28092 w 104157"/>
                <a:gd name="connsiteY19" fmla="*/ 7374 h 70902"/>
                <a:gd name="connsiteX20" fmla="*/ 20000 w 104157"/>
                <a:gd name="connsiteY20" fmla="*/ 7374 h 70902"/>
                <a:gd name="connsiteX21" fmla="*/ 16003 w 104157"/>
                <a:gd name="connsiteY21" fmla="*/ 2934 h 70902"/>
                <a:gd name="connsiteX22" fmla="*/ 12007 w 104157"/>
                <a:gd name="connsiteY22" fmla="*/ 1453 h 70902"/>
                <a:gd name="connsiteX23" fmla="*/ 5987 w 104157"/>
                <a:gd name="connsiteY23" fmla="*/ 5845 h 70902"/>
                <a:gd name="connsiteX24" fmla="*/ -82 w 104157"/>
                <a:gd name="connsiteY24" fmla="*/ 13246 h 70902"/>
                <a:gd name="connsiteX25" fmla="*/ 3964 w 104157"/>
                <a:gd name="connsiteY25" fmla="*/ 16206 h 70902"/>
                <a:gd name="connsiteX26" fmla="*/ 5987 w 104157"/>
                <a:gd name="connsiteY26" fmla="*/ 26518 h 70902"/>
                <a:gd name="connsiteX27" fmla="*/ 13980 w 104157"/>
                <a:gd name="connsiteY27" fmla="*/ 29528 h 70902"/>
                <a:gd name="connsiteX28" fmla="*/ 16003 w 104157"/>
                <a:gd name="connsiteY28" fmla="*/ 33919 h 70902"/>
                <a:gd name="connsiteX29" fmla="*/ 28092 w 104157"/>
                <a:gd name="connsiteY29" fmla="*/ 41320 h 70902"/>
                <a:gd name="connsiteX30" fmla="*/ 32088 w 104157"/>
                <a:gd name="connsiteY30" fmla="*/ 41320 h 70902"/>
                <a:gd name="connsiteX31" fmla="*/ 36085 w 104157"/>
                <a:gd name="connsiteY31" fmla="*/ 44281 h 70902"/>
                <a:gd name="connsiteX32" fmla="*/ 40131 w 104157"/>
                <a:gd name="connsiteY32" fmla="*/ 45761 h 70902"/>
                <a:gd name="connsiteX33" fmla="*/ 42154 w 104157"/>
                <a:gd name="connsiteY33" fmla="*/ 54642 h 70902"/>
                <a:gd name="connsiteX34" fmla="*/ 48124 w 104157"/>
                <a:gd name="connsiteY34" fmla="*/ 57603 h 70902"/>
                <a:gd name="connsiteX35" fmla="*/ 52169 w 104157"/>
                <a:gd name="connsiteY35" fmla="*/ 56073 h 70902"/>
                <a:gd name="connsiteX36" fmla="*/ 56216 w 104157"/>
                <a:gd name="connsiteY36" fmla="*/ 56073 h 70902"/>
                <a:gd name="connsiteX37" fmla="*/ 62235 w 104157"/>
                <a:gd name="connsiteY37" fmla="*/ 59034 h 70902"/>
                <a:gd name="connsiteX38" fmla="*/ 66232 w 104157"/>
                <a:gd name="connsiteY38" fmla="*/ 59034 h 70902"/>
                <a:gd name="connsiteX39" fmla="*/ 74274 w 104157"/>
                <a:gd name="connsiteY39" fmla="*/ 67915 h 70902"/>
                <a:gd name="connsiteX40" fmla="*/ 80294 w 104157"/>
                <a:gd name="connsiteY40" fmla="*/ 67915 h 70902"/>
                <a:gd name="connsiteX41" fmla="*/ 88336 w 104157"/>
                <a:gd name="connsiteY41" fmla="*/ 70875 h 70902"/>
                <a:gd name="connsiteX42" fmla="*/ 90359 w 104157"/>
                <a:gd name="connsiteY42" fmla="*/ 69395 h 70902"/>
                <a:gd name="connsiteX43" fmla="*/ 98402 w 104157"/>
                <a:gd name="connsiteY43" fmla="*/ 69395 h 70902"/>
                <a:gd name="connsiteX44" fmla="*/ 98402 w 104157"/>
                <a:gd name="connsiteY44" fmla="*/ 66435 h 70902"/>
                <a:gd name="connsiteX45" fmla="*/ 94405 w 104157"/>
                <a:gd name="connsiteY45" fmla="*/ 64954 h 70902"/>
                <a:gd name="connsiteX46" fmla="*/ 94405 w 104157"/>
                <a:gd name="connsiteY46" fmla="*/ 60514 h 70902"/>
                <a:gd name="connsiteX47" fmla="*/ 90359 w 104157"/>
                <a:gd name="connsiteY47" fmla="*/ 59034 h 70902"/>
                <a:gd name="connsiteX48" fmla="*/ 96379 w 104157"/>
                <a:gd name="connsiteY48" fmla="*/ 54642 h 70902"/>
                <a:gd name="connsiteX49" fmla="*/ 98402 w 104157"/>
                <a:gd name="connsiteY49" fmla="*/ 48721 h 7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04157" h="70902">
                  <a:moveTo>
                    <a:pt x="100030" y="48721"/>
                  </a:moveTo>
                  <a:lnTo>
                    <a:pt x="104076" y="39840"/>
                  </a:lnTo>
                  <a:lnTo>
                    <a:pt x="100030" y="35399"/>
                  </a:lnTo>
                  <a:lnTo>
                    <a:pt x="100030" y="30959"/>
                  </a:lnTo>
                  <a:lnTo>
                    <a:pt x="94060" y="20647"/>
                  </a:lnTo>
                  <a:lnTo>
                    <a:pt x="98056" y="17686"/>
                  </a:lnTo>
                  <a:lnTo>
                    <a:pt x="88188" y="16206"/>
                  </a:lnTo>
                  <a:lnTo>
                    <a:pt x="88188" y="11815"/>
                  </a:lnTo>
                  <a:lnTo>
                    <a:pt x="86165" y="7374"/>
                  </a:lnTo>
                  <a:lnTo>
                    <a:pt x="76297" y="7374"/>
                  </a:lnTo>
                  <a:lnTo>
                    <a:pt x="74274" y="4414"/>
                  </a:lnTo>
                  <a:lnTo>
                    <a:pt x="68254" y="4414"/>
                  </a:lnTo>
                  <a:lnTo>
                    <a:pt x="64209" y="-27"/>
                  </a:lnTo>
                  <a:lnTo>
                    <a:pt x="50147" y="-27"/>
                  </a:lnTo>
                  <a:lnTo>
                    <a:pt x="48124" y="4414"/>
                  </a:lnTo>
                  <a:lnTo>
                    <a:pt x="42154" y="4414"/>
                  </a:lnTo>
                  <a:lnTo>
                    <a:pt x="40131" y="5845"/>
                  </a:lnTo>
                  <a:lnTo>
                    <a:pt x="34062" y="7374"/>
                  </a:lnTo>
                  <a:lnTo>
                    <a:pt x="30065" y="10285"/>
                  </a:lnTo>
                  <a:lnTo>
                    <a:pt x="28092" y="7374"/>
                  </a:lnTo>
                  <a:lnTo>
                    <a:pt x="20000" y="7374"/>
                  </a:lnTo>
                  <a:lnTo>
                    <a:pt x="16003" y="2934"/>
                  </a:lnTo>
                  <a:lnTo>
                    <a:pt x="12007" y="1453"/>
                  </a:lnTo>
                  <a:lnTo>
                    <a:pt x="5987" y="5845"/>
                  </a:lnTo>
                  <a:lnTo>
                    <a:pt x="-82" y="13246"/>
                  </a:lnTo>
                  <a:lnTo>
                    <a:pt x="3964" y="16206"/>
                  </a:lnTo>
                  <a:lnTo>
                    <a:pt x="5987" y="26518"/>
                  </a:lnTo>
                  <a:lnTo>
                    <a:pt x="13980" y="29528"/>
                  </a:lnTo>
                  <a:lnTo>
                    <a:pt x="16003" y="33919"/>
                  </a:lnTo>
                  <a:lnTo>
                    <a:pt x="28092" y="41320"/>
                  </a:lnTo>
                  <a:lnTo>
                    <a:pt x="32088" y="41320"/>
                  </a:lnTo>
                  <a:lnTo>
                    <a:pt x="36085" y="44281"/>
                  </a:lnTo>
                  <a:lnTo>
                    <a:pt x="40131" y="45761"/>
                  </a:lnTo>
                  <a:lnTo>
                    <a:pt x="42154" y="54642"/>
                  </a:lnTo>
                  <a:lnTo>
                    <a:pt x="48124" y="57603"/>
                  </a:lnTo>
                  <a:lnTo>
                    <a:pt x="52169" y="56073"/>
                  </a:lnTo>
                  <a:lnTo>
                    <a:pt x="56216" y="56073"/>
                  </a:lnTo>
                  <a:lnTo>
                    <a:pt x="62235" y="59034"/>
                  </a:lnTo>
                  <a:lnTo>
                    <a:pt x="66232" y="59034"/>
                  </a:lnTo>
                  <a:lnTo>
                    <a:pt x="74274" y="67915"/>
                  </a:lnTo>
                  <a:lnTo>
                    <a:pt x="80294" y="67915"/>
                  </a:lnTo>
                  <a:lnTo>
                    <a:pt x="88336" y="70875"/>
                  </a:lnTo>
                  <a:lnTo>
                    <a:pt x="90359" y="69395"/>
                  </a:lnTo>
                  <a:lnTo>
                    <a:pt x="98402" y="69395"/>
                  </a:lnTo>
                  <a:lnTo>
                    <a:pt x="98402" y="66435"/>
                  </a:lnTo>
                  <a:lnTo>
                    <a:pt x="94405" y="64954"/>
                  </a:lnTo>
                  <a:lnTo>
                    <a:pt x="94405" y="60514"/>
                  </a:lnTo>
                  <a:lnTo>
                    <a:pt x="90359" y="59034"/>
                  </a:lnTo>
                  <a:lnTo>
                    <a:pt x="96379" y="54642"/>
                  </a:lnTo>
                  <a:lnTo>
                    <a:pt x="98402" y="4872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Graphic 2">
              <a:extLst>
                <a:ext uri="{FF2B5EF4-FFF2-40B4-BE49-F238E27FC236}">
                  <a16:creationId xmlns:a16="http://schemas.microsoft.com/office/drawing/2014/main" id="{5463EE80-580B-4F85-B7A1-58E58ABCA8E0}"/>
                </a:ext>
              </a:extLst>
            </p:cNvPr>
            <p:cNvSpPr/>
            <p:nvPr/>
          </p:nvSpPr>
          <p:spPr>
            <a:xfrm>
              <a:off x="5570530" y="3092119"/>
              <a:ext cx="23713" cy="27120"/>
            </a:xfrm>
            <a:custGeom>
              <a:avLst/>
              <a:gdLst>
                <a:gd name="connsiteX0" fmla="*/ 7912 w 26101"/>
                <a:gd name="connsiteY0" fmla="*/ 20844 h 29851"/>
                <a:gd name="connsiteX1" fmla="*/ 7912 w 26101"/>
                <a:gd name="connsiteY1" fmla="*/ 17884 h 29851"/>
                <a:gd name="connsiteX2" fmla="*/ 3915 w 26101"/>
                <a:gd name="connsiteY2" fmla="*/ 16404 h 29851"/>
                <a:gd name="connsiteX3" fmla="*/ 3915 w 26101"/>
                <a:gd name="connsiteY3" fmla="*/ 11914 h 29851"/>
                <a:gd name="connsiteX4" fmla="*/ -82 w 26101"/>
                <a:gd name="connsiteY4" fmla="*/ 10433 h 29851"/>
                <a:gd name="connsiteX5" fmla="*/ 5938 w 26101"/>
                <a:gd name="connsiteY5" fmla="*/ 5943 h 29851"/>
                <a:gd name="connsiteX6" fmla="*/ 7912 w 26101"/>
                <a:gd name="connsiteY6" fmla="*/ -27 h 29851"/>
                <a:gd name="connsiteX7" fmla="*/ 11958 w 26101"/>
                <a:gd name="connsiteY7" fmla="*/ -27 h 29851"/>
                <a:gd name="connsiteX8" fmla="*/ 19951 w 26101"/>
                <a:gd name="connsiteY8" fmla="*/ 8953 h 29851"/>
                <a:gd name="connsiteX9" fmla="*/ 21974 w 26101"/>
                <a:gd name="connsiteY9" fmla="*/ 14923 h 29851"/>
                <a:gd name="connsiteX10" fmla="*/ 26019 w 26101"/>
                <a:gd name="connsiteY10" fmla="*/ 17884 h 29851"/>
                <a:gd name="connsiteX11" fmla="*/ 26019 w 26101"/>
                <a:gd name="connsiteY11" fmla="*/ 28344 h 29851"/>
                <a:gd name="connsiteX12" fmla="*/ 19951 w 26101"/>
                <a:gd name="connsiteY12" fmla="*/ 29824 h 29851"/>
                <a:gd name="connsiteX13" fmla="*/ 11958 w 26101"/>
                <a:gd name="connsiteY13" fmla="*/ 28344 h 29851"/>
                <a:gd name="connsiteX14" fmla="*/ 7912 w 26101"/>
                <a:gd name="connsiteY14" fmla="*/ 20893 h 2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101" h="29851">
                  <a:moveTo>
                    <a:pt x="7912" y="20844"/>
                  </a:moveTo>
                  <a:lnTo>
                    <a:pt x="7912" y="17884"/>
                  </a:lnTo>
                  <a:lnTo>
                    <a:pt x="3915" y="16404"/>
                  </a:lnTo>
                  <a:lnTo>
                    <a:pt x="3915" y="11914"/>
                  </a:lnTo>
                  <a:lnTo>
                    <a:pt x="-82" y="10433"/>
                  </a:lnTo>
                  <a:lnTo>
                    <a:pt x="5938" y="5943"/>
                  </a:lnTo>
                  <a:lnTo>
                    <a:pt x="7912" y="-27"/>
                  </a:lnTo>
                  <a:lnTo>
                    <a:pt x="11958" y="-27"/>
                  </a:lnTo>
                  <a:lnTo>
                    <a:pt x="19951" y="8953"/>
                  </a:lnTo>
                  <a:lnTo>
                    <a:pt x="21974" y="14923"/>
                  </a:lnTo>
                  <a:lnTo>
                    <a:pt x="26019" y="17884"/>
                  </a:lnTo>
                  <a:lnTo>
                    <a:pt x="26019" y="28344"/>
                  </a:lnTo>
                  <a:lnTo>
                    <a:pt x="19951" y="29824"/>
                  </a:lnTo>
                  <a:lnTo>
                    <a:pt x="11958" y="28344"/>
                  </a:lnTo>
                  <a:lnTo>
                    <a:pt x="7912" y="2089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Graphic 2">
              <a:extLst>
                <a:ext uri="{FF2B5EF4-FFF2-40B4-BE49-F238E27FC236}">
                  <a16:creationId xmlns:a16="http://schemas.microsoft.com/office/drawing/2014/main" id="{836FBD69-6D3B-473C-B257-16B608C4A85D}"/>
                </a:ext>
              </a:extLst>
            </p:cNvPr>
            <p:cNvSpPr/>
            <p:nvPr/>
          </p:nvSpPr>
          <p:spPr>
            <a:xfrm>
              <a:off x="5102678" y="2891975"/>
              <a:ext cx="135331" cy="149355"/>
            </a:xfrm>
            <a:custGeom>
              <a:avLst/>
              <a:gdLst>
                <a:gd name="connsiteX0" fmla="*/ 35690 w 148958"/>
                <a:gd name="connsiteY0" fmla="*/ 164178 h 164402"/>
                <a:gd name="connsiteX1" fmla="*/ 49604 w 148958"/>
                <a:gd name="connsiteY1" fmla="*/ 162648 h 164402"/>
                <a:gd name="connsiteX2" fmla="*/ 61545 w 148958"/>
                <a:gd name="connsiteY2" fmla="*/ 161119 h 164402"/>
                <a:gd name="connsiteX3" fmla="*/ 69538 w 148958"/>
                <a:gd name="connsiteY3" fmla="*/ 155050 h 164402"/>
                <a:gd name="connsiteX4" fmla="*/ 67515 w 148958"/>
                <a:gd name="connsiteY4" fmla="*/ 150461 h 164402"/>
                <a:gd name="connsiteX5" fmla="*/ 75508 w 148958"/>
                <a:gd name="connsiteY5" fmla="*/ 150461 h 164402"/>
                <a:gd name="connsiteX6" fmla="*/ 73485 w 148958"/>
                <a:gd name="connsiteY6" fmla="*/ 153520 h 164402"/>
                <a:gd name="connsiteX7" fmla="*/ 79455 w 148958"/>
                <a:gd name="connsiteY7" fmla="*/ 153520 h 164402"/>
                <a:gd name="connsiteX8" fmla="*/ 85425 w 148958"/>
                <a:gd name="connsiteY8" fmla="*/ 147451 h 164402"/>
                <a:gd name="connsiteX9" fmla="*/ 91395 w 148958"/>
                <a:gd name="connsiteY9" fmla="*/ 148981 h 164402"/>
                <a:gd name="connsiteX10" fmla="*/ 93418 w 148958"/>
                <a:gd name="connsiteY10" fmla="*/ 141333 h 164402"/>
                <a:gd name="connsiteX11" fmla="*/ 113155 w 148958"/>
                <a:gd name="connsiteY11" fmla="*/ 139804 h 164402"/>
                <a:gd name="connsiteX12" fmla="*/ 115128 w 148958"/>
                <a:gd name="connsiteY12" fmla="*/ 135264 h 164402"/>
                <a:gd name="connsiteX13" fmla="*/ 119125 w 148958"/>
                <a:gd name="connsiteY13" fmla="*/ 139804 h 164402"/>
                <a:gd name="connsiteX14" fmla="*/ 123121 w 148958"/>
                <a:gd name="connsiteY14" fmla="*/ 136794 h 164402"/>
                <a:gd name="connsiteX15" fmla="*/ 127068 w 148958"/>
                <a:gd name="connsiteY15" fmla="*/ 138274 h 164402"/>
                <a:gd name="connsiteX16" fmla="*/ 136936 w 148958"/>
                <a:gd name="connsiteY16" fmla="*/ 138274 h 164402"/>
                <a:gd name="connsiteX17" fmla="*/ 128993 w 148958"/>
                <a:gd name="connsiteY17" fmla="*/ 130725 h 164402"/>
                <a:gd name="connsiteX18" fmla="*/ 134963 w 148958"/>
                <a:gd name="connsiteY18" fmla="*/ 129195 h 164402"/>
                <a:gd name="connsiteX19" fmla="*/ 138910 w 148958"/>
                <a:gd name="connsiteY19" fmla="*/ 123127 h 164402"/>
                <a:gd name="connsiteX20" fmla="*/ 138910 w 148958"/>
                <a:gd name="connsiteY20" fmla="*/ 118538 h 164402"/>
                <a:gd name="connsiteX21" fmla="*/ 146903 w 148958"/>
                <a:gd name="connsiteY21" fmla="*/ 112469 h 164402"/>
                <a:gd name="connsiteX22" fmla="*/ 148877 w 148958"/>
                <a:gd name="connsiteY22" fmla="*/ 106400 h 164402"/>
                <a:gd name="connsiteX23" fmla="*/ 144880 w 148958"/>
                <a:gd name="connsiteY23" fmla="*/ 92684 h 164402"/>
                <a:gd name="connsiteX24" fmla="*/ 138910 w 148958"/>
                <a:gd name="connsiteY24" fmla="*/ 89674 h 164402"/>
                <a:gd name="connsiteX25" fmla="*/ 146903 w 148958"/>
                <a:gd name="connsiteY25" fmla="*/ 86615 h 164402"/>
                <a:gd name="connsiteX26" fmla="*/ 146903 w 148958"/>
                <a:gd name="connsiteY26" fmla="*/ 80546 h 164402"/>
                <a:gd name="connsiteX27" fmla="*/ 138910 w 148958"/>
                <a:gd name="connsiteY27" fmla="*/ 74428 h 164402"/>
                <a:gd name="connsiteX28" fmla="*/ 142907 w 148958"/>
                <a:gd name="connsiteY28" fmla="*/ 69888 h 164402"/>
                <a:gd name="connsiteX29" fmla="*/ 134963 w 148958"/>
                <a:gd name="connsiteY29" fmla="*/ 66879 h 164402"/>
                <a:gd name="connsiteX30" fmla="*/ 138910 w 148958"/>
                <a:gd name="connsiteY30" fmla="*/ 60760 h 164402"/>
                <a:gd name="connsiteX31" fmla="*/ 144880 w 148958"/>
                <a:gd name="connsiteY31" fmla="*/ 62290 h 164402"/>
                <a:gd name="connsiteX32" fmla="*/ 135012 w 148958"/>
                <a:gd name="connsiteY32" fmla="*/ 57701 h 164402"/>
                <a:gd name="connsiteX33" fmla="*/ 131016 w 148958"/>
                <a:gd name="connsiteY33" fmla="*/ 56172 h 164402"/>
                <a:gd name="connsiteX34" fmla="*/ 123072 w 148958"/>
                <a:gd name="connsiteY34" fmla="*/ 45564 h 164402"/>
                <a:gd name="connsiteX35" fmla="*/ 113204 w 148958"/>
                <a:gd name="connsiteY35" fmla="*/ 41024 h 164402"/>
                <a:gd name="connsiteX36" fmla="*/ 109207 w 148958"/>
                <a:gd name="connsiteY36" fmla="*/ 44034 h 164402"/>
                <a:gd name="connsiteX37" fmla="*/ 105260 w 148958"/>
                <a:gd name="connsiteY37" fmla="*/ 51632 h 164402"/>
                <a:gd name="connsiteX38" fmla="*/ 101263 w 148958"/>
                <a:gd name="connsiteY38" fmla="*/ 53162 h 164402"/>
                <a:gd name="connsiteX39" fmla="*/ 87350 w 148958"/>
                <a:gd name="connsiteY39" fmla="*/ 41024 h 164402"/>
                <a:gd name="connsiteX40" fmla="*/ 93320 w 148958"/>
                <a:gd name="connsiteY40" fmla="*/ 27308 h 164402"/>
                <a:gd name="connsiteX41" fmla="*/ 101263 w 148958"/>
                <a:gd name="connsiteY41" fmla="*/ 25827 h 164402"/>
                <a:gd name="connsiteX42" fmla="*/ 103237 w 148958"/>
                <a:gd name="connsiteY42" fmla="*/ 21239 h 164402"/>
                <a:gd name="connsiteX43" fmla="*/ 109207 w 148958"/>
                <a:gd name="connsiteY43" fmla="*/ 19709 h 164402"/>
                <a:gd name="connsiteX44" fmla="*/ 113204 w 148958"/>
                <a:gd name="connsiteY44" fmla="*/ 16650 h 164402"/>
                <a:gd name="connsiteX45" fmla="*/ 109207 w 148958"/>
                <a:gd name="connsiteY45" fmla="*/ 16650 h 164402"/>
                <a:gd name="connsiteX46" fmla="*/ 117200 w 148958"/>
                <a:gd name="connsiteY46" fmla="*/ 10581 h 164402"/>
                <a:gd name="connsiteX47" fmla="*/ 123171 w 148958"/>
                <a:gd name="connsiteY47" fmla="*/ 7572 h 164402"/>
                <a:gd name="connsiteX48" fmla="*/ 115178 w 148958"/>
                <a:gd name="connsiteY48" fmla="*/ 4512 h 164402"/>
                <a:gd name="connsiteX49" fmla="*/ 111230 w 148958"/>
                <a:gd name="connsiteY49" fmla="*/ -27 h 164402"/>
                <a:gd name="connsiteX50" fmla="*/ 113204 w 148958"/>
                <a:gd name="connsiteY50" fmla="*/ 4512 h 164402"/>
                <a:gd name="connsiteX51" fmla="*/ 103336 w 148958"/>
                <a:gd name="connsiteY51" fmla="*/ 4512 h 164402"/>
                <a:gd name="connsiteX52" fmla="*/ 105358 w 148958"/>
                <a:gd name="connsiteY52" fmla="*/ 10581 h 164402"/>
                <a:gd name="connsiteX53" fmla="*/ 99388 w 148958"/>
                <a:gd name="connsiteY53" fmla="*/ 18180 h 164402"/>
                <a:gd name="connsiteX54" fmla="*/ 101362 w 148958"/>
                <a:gd name="connsiteY54" fmla="*/ 15121 h 164402"/>
                <a:gd name="connsiteX55" fmla="*/ 103336 w 148958"/>
                <a:gd name="connsiteY55" fmla="*/ 10581 h 164402"/>
                <a:gd name="connsiteX56" fmla="*/ 99388 w 148958"/>
                <a:gd name="connsiteY56" fmla="*/ 6042 h 164402"/>
                <a:gd name="connsiteX57" fmla="*/ 95392 w 148958"/>
                <a:gd name="connsiteY57" fmla="*/ 6042 h 164402"/>
                <a:gd name="connsiteX58" fmla="*/ 97365 w 148958"/>
                <a:gd name="connsiteY58" fmla="*/ 9052 h 164402"/>
                <a:gd name="connsiteX59" fmla="*/ 93418 w 148958"/>
                <a:gd name="connsiteY59" fmla="*/ 9052 h 164402"/>
                <a:gd name="connsiteX60" fmla="*/ 89422 w 148958"/>
                <a:gd name="connsiteY60" fmla="*/ 7572 h 164402"/>
                <a:gd name="connsiteX61" fmla="*/ 81478 w 148958"/>
                <a:gd name="connsiteY61" fmla="*/ 9052 h 164402"/>
                <a:gd name="connsiteX62" fmla="*/ 79455 w 148958"/>
                <a:gd name="connsiteY62" fmla="*/ 15121 h 164402"/>
                <a:gd name="connsiteX63" fmla="*/ 77482 w 148958"/>
                <a:gd name="connsiteY63" fmla="*/ 15121 h 164402"/>
                <a:gd name="connsiteX64" fmla="*/ 75508 w 148958"/>
                <a:gd name="connsiteY64" fmla="*/ 19709 h 164402"/>
                <a:gd name="connsiteX65" fmla="*/ 79455 w 148958"/>
                <a:gd name="connsiteY65" fmla="*/ 21239 h 164402"/>
                <a:gd name="connsiteX66" fmla="*/ 79455 w 148958"/>
                <a:gd name="connsiteY66" fmla="*/ 22768 h 164402"/>
                <a:gd name="connsiteX67" fmla="*/ 73485 w 148958"/>
                <a:gd name="connsiteY67" fmla="*/ 22768 h 164402"/>
                <a:gd name="connsiteX68" fmla="*/ 73485 w 148958"/>
                <a:gd name="connsiteY68" fmla="*/ 26025 h 164402"/>
                <a:gd name="connsiteX69" fmla="*/ 65541 w 148958"/>
                <a:gd name="connsiteY69" fmla="*/ 27505 h 164402"/>
                <a:gd name="connsiteX70" fmla="*/ 67515 w 148958"/>
                <a:gd name="connsiteY70" fmla="*/ 32094 h 164402"/>
                <a:gd name="connsiteX71" fmla="*/ 77383 w 148958"/>
                <a:gd name="connsiteY71" fmla="*/ 32094 h 164402"/>
                <a:gd name="connsiteX72" fmla="*/ 75409 w 148958"/>
                <a:gd name="connsiteY72" fmla="*/ 33574 h 164402"/>
                <a:gd name="connsiteX73" fmla="*/ 81379 w 148958"/>
                <a:gd name="connsiteY73" fmla="*/ 32094 h 164402"/>
                <a:gd name="connsiteX74" fmla="*/ 85327 w 148958"/>
                <a:gd name="connsiteY74" fmla="*/ 32094 h 164402"/>
                <a:gd name="connsiteX75" fmla="*/ 77383 w 148958"/>
                <a:gd name="connsiteY75" fmla="*/ 39692 h 164402"/>
                <a:gd name="connsiteX76" fmla="*/ 65442 w 148958"/>
                <a:gd name="connsiteY76" fmla="*/ 44231 h 164402"/>
                <a:gd name="connsiteX77" fmla="*/ 69439 w 148958"/>
                <a:gd name="connsiteY77" fmla="*/ 45761 h 164402"/>
                <a:gd name="connsiteX78" fmla="*/ 59571 w 148958"/>
                <a:gd name="connsiteY78" fmla="*/ 47290 h 164402"/>
                <a:gd name="connsiteX79" fmla="*/ 55574 w 148958"/>
                <a:gd name="connsiteY79" fmla="*/ 45761 h 164402"/>
                <a:gd name="connsiteX80" fmla="*/ 49604 w 148958"/>
                <a:gd name="connsiteY80" fmla="*/ 50300 h 164402"/>
                <a:gd name="connsiteX81" fmla="*/ 47630 w 148958"/>
                <a:gd name="connsiteY81" fmla="*/ 44231 h 164402"/>
                <a:gd name="connsiteX82" fmla="*/ 29720 w 148958"/>
                <a:gd name="connsiteY82" fmla="*/ 42751 h 164402"/>
                <a:gd name="connsiteX83" fmla="*/ 29720 w 148958"/>
                <a:gd name="connsiteY83" fmla="*/ 45761 h 164402"/>
                <a:gd name="connsiteX84" fmla="*/ 21776 w 148958"/>
                <a:gd name="connsiteY84" fmla="*/ 42751 h 164402"/>
                <a:gd name="connsiteX85" fmla="*/ 19753 w 148958"/>
                <a:gd name="connsiteY85" fmla="*/ 51830 h 164402"/>
                <a:gd name="connsiteX86" fmla="*/ 23750 w 148958"/>
                <a:gd name="connsiteY86" fmla="*/ 47290 h 164402"/>
                <a:gd name="connsiteX87" fmla="*/ 25724 w 148958"/>
                <a:gd name="connsiteY87" fmla="*/ 51830 h 164402"/>
                <a:gd name="connsiteX88" fmla="*/ 27746 w 148958"/>
                <a:gd name="connsiteY88" fmla="*/ 53359 h 164402"/>
                <a:gd name="connsiteX89" fmla="*/ 29720 w 148958"/>
                <a:gd name="connsiteY89" fmla="*/ 57899 h 164402"/>
                <a:gd name="connsiteX90" fmla="*/ 25724 w 148958"/>
                <a:gd name="connsiteY90" fmla="*/ 57899 h 164402"/>
                <a:gd name="connsiteX91" fmla="*/ 25724 w 148958"/>
                <a:gd name="connsiteY91" fmla="*/ 54889 h 164402"/>
                <a:gd name="connsiteX92" fmla="*/ 15856 w 148958"/>
                <a:gd name="connsiteY92" fmla="*/ 54889 h 164402"/>
                <a:gd name="connsiteX93" fmla="*/ 25724 w 148958"/>
                <a:gd name="connsiteY93" fmla="*/ 60958 h 164402"/>
                <a:gd name="connsiteX94" fmla="*/ 33717 w 148958"/>
                <a:gd name="connsiteY94" fmla="*/ 59428 h 164402"/>
                <a:gd name="connsiteX95" fmla="*/ 35690 w 148958"/>
                <a:gd name="connsiteY95" fmla="*/ 64017 h 164402"/>
                <a:gd name="connsiteX96" fmla="*/ 25822 w 148958"/>
                <a:gd name="connsiteY96" fmla="*/ 67076 h 164402"/>
                <a:gd name="connsiteX97" fmla="*/ 25822 w 148958"/>
                <a:gd name="connsiteY97" fmla="*/ 71615 h 164402"/>
                <a:gd name="connsiteX98" fmla="*/ 27845 w 148958"/>
                <a:gd name="connsiteY98" fmla="*/ 73145 h 164402"/>
                <a:gd name="connsiteX99" fmla="*/ 17977 w 148958"/>
                <a:gd name="connsiteY99" fmla="*/ 74625 h 164402"/>
                <a:gd name="connsiteX100" fmla="*/ 19951 w 148958"/>
                <a:gd name="connsiteY100" fmla="*/ 79214 h 164402"/>
                <a:gd name="connsiteX101" fmla="*/ 17977 w 148958"/>
                <a:gd name="connsiteY101" fmla="*/ 79214 h 164402"/>
                <a:gd name="connsiteX102" fmla="*/ 21974 w 148958"/>
                <a:gd name="connsiteY102" fmla="*/ 82273 h 164402"/>
                <a:gd name="connsiteX103" fmla="*/ 25921 w 148958"/>
                <a:gd name="connsiteY103" fmla="*/ 80743 h 164402"/>
                <a:gd name="connsiteX104" fmla="*/ 23947 w 148958"/>
                <a:gd name="connsiteY104" fmla="*/ 83802 h 164402"/>
                <a:gd name="connsiteX105" fmla="*/ 31891 w 148958"/>
                <a:gd name="connsiteY105" fmla="*/ 82273 h 164402"/>
                <a:gd name="connsiteX106" fmla="*/ 33914 w 148958"/>
                <a:gd name="connsiteY106" fmla="*/ 89871 h 164402"/>
                <a:gd name="connsiteX107" fmla="*/ 53650 w 148958"/>
                <a:gd name="connsiteY107" fmla="*/ 89871 h 164402"/>
                <a:gd name="connsiteX108" fmla="*/ 47680 w 148958"/>
                <a:gd name="connsiteY108" fmla="*/ 95940 h 164402"/>
                <a:gd name="connsiteX109" fmla="*/ 43683 w 148958"/>
                <a:gd name="connsiteY109" fmla="*/ 94410 h 164402"/>
                <a:gd name="connsiteX110" fmla="*/ 35739 w 148958"/>
                <a:gd name="connsiteY110" fmla="*/ 103538 h 164402"/>
                <a:gd name="connsiteX111" fmla="*/ 39736 w 148958"/>
                <a:gd name="connsiteY111" fmla="*/ 103538 h 164402"/>
                <a:gd name="connsiteX112" fmla="*/ 31743 w 148958"/>
                <a:gd name="connsiteY112" fmla="*/ 111137 h 164402"/>
                <a:gd name="connsiteX113" fmla="*/ 19802 w 148958"/>
                <a:gd name="connsiteY113" fmla="*/ 118735 h 164402"/>
                <a:gd name="connsiteX114" fmla="*/ 25773 w 148958"/>
                <a:gd name="connsiteY114" fmla="*/ 118735 h 164402"/>
                <a:gd name="connsiteX115" fmla="*/ 31743 w 148958"/>
                <a:gd name="connsiteY115" fmla="*/ 114196 h 164402"/>
                <a:gd name="connsiteX116" fmla="*/ 35739 w 148958"/>
                <a:gd name="connsiteY116" fmla="*/ 115676 h 164402"/>
                <a:gd name="connsiteX117" fmla="*/ 45607 w 148958"/>
                <a:gd name="connsiteY117" fmla="*/ 115676 h 164402"/>
                <a:gd name="connsiteX118" fmla="*/ 51578 w 148958"/>
                <a:gd name="connsiteY118" fmla="*/ 111137 h 164402"/>
                <a:gd name="connsiteX119" fmla="*/ 51578 w 148958"/>
                <a:gd name="connsiteY119" fmla="*/ 114196 h 164402"/>
                <a:gd name="connsiteX120" fmla="*/ 59522 w 148958"/>
                <a:gd name="connsiteY120" fmla="*/ 114196 h 164402"/>
                <a:gd name="connsiteX121" fmla="*/ 43585 w 148958"/>
                <a:gd name="connsiteY121" fmla="*/ 118735 h 164402"/>
                <a:gd name="connsiteX122" fmla="*/ 29671 w 148958"/>
                <a:gd name="connsiteY122" fmla="*/ 118735 h 164402"/>
                <a:gd name="connsiteX123" fmla="*/ 27697 w 148958"/>
                <a:gd name="connsiteY123" fmla="*/ 123324 h 164402"/>
                <a:gd name="connsiteX124" fmla="*/ 19704 w 148958"/>
                <a:gd name="connsiteY124" fmla="*/ 124854 h 164402"/>
                <a:gd name="connsiteX125" fmla="*/ 21727 w 148958"/>
                <a:gd name="connsiteY125" fmla="*/ 127863 h 164402"/>
                <a:gd name="connsiteX126" fmla="*/ 21727 w 148958"/>
                <a:gd name="connsiteY126" fmla="*/ 130922 h 164402"/>
                <a:gd name="connsiteX127" fmla="*/ 23701 w 148958"/>
                <a:gd name="connsiteY127" fmla="*/ 132403 h 164402"/>
                <a:gd name="connsiteX128" fmla="*/ 17731 w 148958"/>
                <a:gd name="connsiteY128" fmla="*/ 132403 h 164402"/>
                <a:gd name="connsiteX129" fmla="*/ 13734 w 148958"/>
                <a:gd name="connsiteY129" fmla="*/ 129393 h 164402"/>
                <a:gd name="connsiteX130" fmla="*/ 11760 w 148958"/>
                <a:gd name="connsiteY130" fmla="*/ 130922 h 164402"/>
                <a:gd name="connsiteX131" fmla="*/ 9786 w 148958"/>
                <a:gd name="connsiteY131" fmla="*/ 129393 h 164402"/>
                <a:gd name="connsiteX132" fmla="*/ -82 w 148958"/>
                <a:gd name="connsiteY132" fmla="*/ 133932 h 164402"/>
                <a:gd name="connsiteX133" fmla="*/ -82 w 148958"/>
                <a:gd name="connsiteY133" fmla="*/ 136991 h 164402"/>
                <a:gd name="connsiteX134" fmla="*/ 23799 w 148958"/>
                <a:gd name="connsiteY134" fmla="*/ 135462 h 164402"/>
                <a:gd name="connsiteX135" fmla="*/ 15856 w 148958"/>
                <a:gd name="connsiteY135" fmla="*/ 140001 h 164402"/>
                <a:gd name="connsiteX136" fmla="*/ 7862 w 148958"/>
                <a:gd name="connsiteY136" fmla="*/ 141531 h 164402"/>
                <a:gd name="connsiteX137" fmla="*/ 3915 w 148958"/>
                <a:gd name="connsiteY137" fmla="*/ 149178 h 164402"/>
                <a:gd name="connsiteX138" fmla="*/ 9885 w 148958"/>
                <a:gd name="connsiteY138" fmla="*/ 149178 h 164402"/>
                <a:gd name="connsiteX139" fmla="*/ 11859 w 148958"/>
                <a:gd name="connsiteY139" fmla="*/ 153718 h 164402"/>
                <a:gd name="connsiteX140" fmla="*/ 27796 w 148958"/>
                <a:gd name="connsiteY140" fmla="*/ 149178 h 164402"/>
                <a:gd name="connsiteX141" fmla="*/ 15856 w 148958"/>
                <a:gd name="connsiteY141" fmla="*/ 155247 h 164402"/>
                <a:gd name="connsiteX142" fmla="*/ 9885 w 148958"/>
                <a:gd name="connsiteY142" fmla="*/ 158257 h 164402"/>
                <a:gd name="connsiteX143" fmla="*/ 19753 w 148958"/>
                <a:gd name="connsiteY143" fmla="*/ 158257 h 164402"/>
                <a:gd name="connsiteX144" fmla="*/ 29621 w 148958"/>
                <a:gd name="connsiteY144" fmla="*/ 153718 h 164402"/>
                <a:gd name="connsiteX145" fmla="*/ 29621 w 148958"/>
                <a:gd name="connsiteY145" fmla="*/ 156727 h 164402"/>
                <a:gd name="connsiteX146" fmla="*/ 19753 w 148958"/>
                <a:gd name="connsiteY146" fmla="*/ 161316 h 164402"/>
                <a:gd name="connsiteX147" fmla="*/ 25724 w 148958"/>
                <a:gd name="connsiteY147" fmla="*/ 161316 h 164402"/>
                <a:gd name="connsiteX148" fmla="*/ 23750 w 148958"/>
                <a:gd name="connsiteY148" fmla="*/ 164375 h 164402"/>
                <a:gd name="connsiteX149" fmla="*/ 31694 w 148958"/>
                <a:gd name="connsiteY149" fmla="*/ 162846 h 16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148958" h="164402">
                  <a:moveTo>
                    <a:pt x="35690" y="164178"/>
                  </a:moveTo>
                  <a:lnTo>
                    <a:pt x="49604" y="162648"/>
                  </a:lnTo>
                  <a:lnTo>
                    <a:pt x="61545" y="161119"/>
                  </a:lnTo>
                  <a:lnTo>
                    <a:pt x="69538" y="155050"/>
                  </a:lnTo>
                  <a:lnTo>
                    <a:pt x="67515" y="150461"/>
                  </a:lnTo>
                  <a:lnTo>
                    <a:pt x="75508" y="150461"/>
                  </a:lnTo>
                  <a:lnTo>
                    <a:pt x="73485" y="153520"/>
                  </a:lnTo>
                  <a:lnTo>
                    <a:pt x="79455" y="153520"/>
                  </a:lnTo>
                  <a:lnTo>
                    <a:pt x="85425" y="147451"/>
                  </a:lnTo>
                  <a:lnTo>
                    <a:pt x="91395" y="148981"/>
                  </a:lnTo>
                  <a:lnTo>
                    <a:pt x="93418" y="141333"/>
                  </a:lnTo>
                  <a:lnTo>
                    <a:pt x="113155" y="139804"/>
                  </a:lnTo>
                  <a:lnTo>
                    <a:pt x="115128" y="135264"/>
                  </a:lnTo>
                  <a:lnTo>
                    <a:pt x="119125" y="139804"/>
                  </a:lnTo>
                  <a:lnTo>
                    <a:pt x="123121" y="136794"/>
                  </a:lnTo>
                  <a:lnTo>
                    <a:pt x="127068" y="138274"/>
                  </a:lnTo>
                  <a:lnTo>
                    <a:pt x="136936" y="138274"/>
                  </a:lnTo>
                  <a:lnTo>
                    <a:pt x="128993" y="130725"/>
                  </a:lnTo>
                  <a:lnTo>
                    <a:pt x="134963" y="129195"/>
                  </a:lnTo>
                  <a:lnTo>
                    <a:pt x="138910" y="123127"/>
                  </a:lnTo>
                  <a:lnTo>
                    <a:pt x="138910" y="118538"/>
                  </a:lnTo>
                  <a:lnTo>
                    <a:pt x="146903" y="112469"/>
                  </a:lnTo>
                  <a:lnTo>
                    <a:pt x="148877" y="106400"/>
                  </a:lnTo>
                  <a:lnTo>
                    <a:pt x="144880" y="92684"/>
                  </a:lnTo>
                  <a:lnTo>
                    <a:pt x="138910" y="89674"/>
                  </a:lnTo>
                  <a:lnTo>
                    <a:pt x="146903" y="86615"/>
                  </a:lnTo>
                  <a:lnTo>
                    <a:pt x="146903" y="80546"/>
                  </a:lnTo>
                  <a:lnTo>
                    <a:pt x="138910" y="74428"/>
                  </a:lnTo>
                  <a:lnTo>
                    <a:pt x="142907" y="69888"/>
                  </a:lnTo>
                  <a:lnTo>
                    <a:pt x="134963" y="66879"/>
                  </a:lnTo>
                  <a:lnTo>
                    <a:pt x="138910" y="60760"/>
                  </a:lnTo>
                  <a:lnTo>
                    <a:pt x="144880" y="62290"/>
                  </a:lnTo>
                  <a:lnTo>
                    <a:pt x="135012" y="57701"/>
                  </a:lnTo>
                  <a:lnTo>
                    <a:pt x="131016" y="56172"/>
                  </a:lnTo>
                  <a:lnTo>
                    <a:pt x="123072" y="45564"/>
                  </a:lnTo>
                  <a:lnTo>
                    <a:pt x="113204" y="41024"/>
                  </a:lnTo>
                  <a:lnTo>
                    <a:pt x="109207" y="44034"/>
                  </a:lnTo>
                  <a:lnTo>
                    <a:pt x="105260" y="51632"/>
                  </a:lnTo>
                  <a:lnTo>
                    <a:pt x="101263" y="53162"/>
                  </a:lnTo>
                  <a:lnTo>
                    <a:pt x="87350" y="41024"/>
                  </a:lnTo>
                  <a:lnTo>
                    <a:pt x="93320" y="27308"/>
                  </a:lnTo>
                  <a:lnTo>
                    <a:pt x="101263" y="25827"/>
                  </a:lnTo>
                  <a:lnTo>
                    <a:pt x="103237" y="21239"/>
                  </a:lnTo>
                  <a:lnTo>
                    <a:pt x="109207" y="19709"/>
                  </a:lnTo>
                  <a:lnTo>
                    <a:pt x="113204" y="16650"/>
                  </a:lnTo>
                  <a:lnTo>
                    <a:pt x="109207" y="16650"/>
                  </a:lnTo>
                  <a:lnTo>
                    <a:pt x="117200" y="10581"/>
                  </a:lnTo>
                  <a:lnTo>
                    <a:pt x="123171" y="7572"/>
                  </a:lnTo>
                  <a:lnTo>
                    <a:pt x="115178" y="4512"/>
                  </a:lnTo>
                  <a:lnTo>
                    <a:pt x="111230" y="-27"/>
                  </a:lnTo>
                  <a:lnTo>
                    <a:pt x="113204" y="4512"/>
                  </a:lnTo>
                  <a:lnTo>
                    <a:pt x="103336" y="4512"/>
                  </a:lnTo>
                  <a:lnTo>
                    <a:pt x="105358" y="10581"/>
                  </a:lnTo>
                  <a:lnTo>
                    <a:pt x="99388" y="18180"/>
                  </a:lnTo>
                  <a:lnTo>
                    <a:pt x="101362" y="15121"/>
                  </a:lnTo>
                  <a:lnTo>
                    <a:pt x="103336" y="10581"/>
                  </a:lnTo>
                  <a:lnTo>
                    <a:pt x="99388" y="6042"/>
                  </a:lnTo>
                  <a:lnTo>
                    <a:pt x="95392" y="6042"/>
                  </a:lnTo>
                  <a:lnTo>
                    <a:pt x="97365" y="9052"/>
                  </a:lnTo>
                  <a:lnTo>
                    <a:pt x="93418" y="9052"/>
                  </a:lnTo>
                  <a:lnTo>
                    <a:pt x="89422" y="7572"/>
                  </a:lnTo>
                  <a:lnTo>
                    <a:pt x="81478" y="9052"/>
                  </a:lnTo>
                  <a:lnTo>
                    <a:pt x="79455" y="15121"/>
                  </a:lnTo>
                  <a:lnTo>
                    <a:pt x="77482" y="15121"/>
                  </a:lnTo>
                  <a:lnTo>
                    <a:pt x="75508" y="19709"/>
                  </a:lnTo>
                  <a:lnTo>
                    <a:pt x="79455" y="21239"/>
                  </a:lnTo>
                  <a:lnTo>
                    <a:pt x="79455" y="22768"/>
                  </a:lnTo>
                  <a:lnTo>
                    <a:pt x="73485" y="22768"/>
                  </a:lnTo>
                  <a:lnTo>
                    <a:pt x="73485" y="26025"/>
                  </a:lnTo>
                  <a:lnTo>
                    <a:pt x="65541" y="27505"/>
                  </a:lnTo>
                  <a:lnTo>
                    <a:pt x="67515" y="32094"/>
                  </a:lnTo>
                  <a:lnTo>
                    <a:pt x="77383" y="32094"/>
                  </a:lnTo>
                  <a:lnTo>
                    <a:pt x="75409" y="33574"/>
                  </a:lnTo>
                  <a:lnTo>
                    <a:pt x="81379" y="32094"/>
                  </a:lnTo>
                  <a:lnTo>
                    <a:pt x="85327" y="32094"/>
                  </a:lnTo>
                  <a:lnTo>
                    <a:pt x="77383" y="39692"/>
                  </a:lnTo>
                  <a:lnTo>
                    <a:pt x="65442" y="44231"/>
                  </a:lnTo>
                  <a:lnTo>
                    <a:pt x="69439" y="45761"/>
                  </a:lnTo>
                  <a:lnTo>
                    <a:pt x="59571" y="47290"/>
                  </a:lnTo>
                  <a:lnTo>
                    <a:pt x="55574" y="45761"/>
                  </a:lnTo>
                  <a:lnTo>
                    <a:pt x="49604" y="50300"/>
                  </a:lnTo>
                  <a:lnTo>
                    <a:pt x="47630" y="44231"/>
                  </a:lnTo>
                  <a:lnTo>
                    <a:pt x="29720" y="42751"/>
                  </a:lnTo>
                  <a:lnTo>
                    <a:pt x="29720" y="45761"/>
                  </a:lnTo>
                  <a:lnTo>
                    <a:pt x="21776" y="42751"/>
                  </a:lnTo>
                  <a:lnTo>
                    <a:pt x="19753" y="51830"/>
                  </a:lnTo>
                  <a:lnTo>
                    <a:pt x="23750" y="47290"/>
                  </a:lnTo>
                  <a:lnTo>
                    <a:pt x="25724" y="51830"/>
                  </a:lnTo>
                  <a:lnTo>
                    <a:pt x="27746" y="53359"/>
                  </a:lnTo>
                  <a:lnTo>
                    <a:pt x="29720" y="57899"/>
                  </a:lnTo>
                  <a:lnTo>
                    <a:pt x="25724" y="57899"/>
                  </a:lnTo>
                  <a:lnTo>
                    <a:pt x="25724" y="54889"/>
                  </a:lnTo>
                  <a:lnTo>
                    <a:pt x="15856" y="54889"/>
                  </a:lnTo>
                  <a:lnTo>
                    <a:pt x="25724" y="60958"/>
                  </a:lnTo>
                  <a:lnTo>
                    <a:pt x="33717" y="59428"/>
                  </a:lnTo>
                  <a:lnTo>
                    <a:pt x="35690" y="64017"/>
                  </a:lnTo>
                  <a:lnTo>
                    <a:pt x="25822" y="67076"/>
                  </a:lnTo>
                  <a:lnTo>
                    <a:pt x="25822" y="71615"/>
                  </a:lnTo>
                  <a:lnTo>
                    <a:pt x="27845" y="73145"/>
                  </a:lnTo>
                  <a:lnTo>
                    <a:pt x="17977" y="74625"/>
                  </a:lnTo>
                  <a:lnTo>
                    <a:pt x="19951" y="79214"/>
                  </a:lnTo>
                  <a:lnTo>
                    <a:pt x="17977" y="79214"/>
                  </a:lnTo>
                  <a:lnTo>
                    <a:pt x="21974" y="82273"/>
                  </a:lnTo>
                  <a:lnTo>
                    <a:pt x="25921" y="80743"/>
                  </a:lnTo>
                  <a:lnTo>
                    <a:pt x="23947" y="83802"/>
                  </a:lnTo>
                  <a:lnTo>
                    <a:pt x="31891" y="82273"/>
                  </a:lnTo>
                  <a:lnTo>
                    <a:pt x="33914" y="89871"/>
                  </a:lnTo>
                  <a:lnTo>
                    <a:pt x="53650" y="89871"/>
                  </a:lnTo>
                  <a:lnTo>
                    <a:pt x="47680" y="95940"/>
                  </a:lnTo>
                  <a:lnTo>
                    <a:pt x="43683" y="94410"/>
                  </a:lnTo>
                  <a:lnTo>
                    <a:pt x="35739" y="103538"/>
                  </a:lnTo>
                  <a:lnTo>
                    <a:pt x="39736" y="103538"/>
                  </a:lnTo>
                  <a:lnTo>
                    <a:pt x="31743" y="111137"/>
                  </a:lnTo>
                  <a:lnTo>
                    <a:pt x="19802" y="118735"/>
                  </a:lnTo>
                  <a:lnTo>
                    <a:pt x="25773" y="118735"/>
                  </a:lnTo>
                  <a:lnTo>
                    <a:pt x="31743" y="114196"/>
                  </a:lnTo>
                  <a:lnTo>
                    <a:pt x="35739" y="115676"/>
                  </a:lnTo>
                  <a:lnTo>
                    <a:pt x="45607" y="115676"/>
                  </a:lnTo>
                  <a:lnTo>
                    <a:pt x="51578" y="111137"/>
                  </a:lnTo>
                  <a:lnTo>
                    <a:pt x="51578" y="114196"/>
                  </a:lnTo>
                  <a:lnTo>
                    <a:pt x="59522" y="114196"/>
                  </a:lnTo>
                  <a:lnTo>
                    <a:pt x="43585" y="118735"/>
                  </a:lnTo>
                  <a:lnTo>
                    <a:pt x="29671" y="118735"/>
                  </a:lnTo>
                  <a:lnTo>
                    <a:pt x="27697" y="123324"/>
                  </a:lnTo>
                  <a:lnTo>
                    <a:pt x="19704" y="124854"/>
                  </a:lnTo>
                  <a:lnTo>
                    <a:pt x="21727" y="127863"/>
                  </a:lnTo>
                  <a:lnTo>
                    <a:pt x="21727" y="130922"/>
                  </a:lnTo>
                  <a:lnTo>
                    <a:pt x="23701" y="132403"/>
                  </a:lnTo>
                  <a:lnTo>
                    <a:pt x="17731" y="132403"/>
                  </a:lnTo>
                  <a:lnTo>
                    <a:pt x="13734" y="129393"/>
                  </a:lnTo>
                  <a:lnTo>
                    <a:pt x="11760" y="130922"/>
                  </a:lnTo>
                  <a:lnTo>
                    <a:pt x="9786" y="129393"/>
                  </a:lnTo>
                  <a:lnTo>
                    <a:pt x="-82" y="133932"/>
                  </a:lnTo>
                  <a:lnTo>
                    <a:pt x="-82" y="136991"/>
                  </a:lnTo>
                  <a:lnTo>
                    <a:pt x="23799" y="135462"/>
                  </a:lnTo>
                  <a:lnTo>
                    <a:pt x="15856" y="140001"/>
                  </a:lnTo>
                  <a:lnTo>
                    <a:pt x="7862" y="141531"/>
                  </a:lnTo>
                  <a:lnTo>
                    <a:pt x="3915" y="149178"/>
                  </a:lnTo>
                  <a:lnTo>
                    <a:pt x="9885" y="149178"/>
                  </a:lnTo>
                  <a:lnTo>
                    <a:pt x="11859" y="153718"/>
                  </a:lnTo>
                  <a:lnTo>
                    <a:pt x="27796" y="149178"/>
                  </a:lnTo>
                  <a:lnTo>
                    <a:pt x="15856" y="155247"/>
                  </a:lnTo>
                  <a:lnTo>
                    <a:pt x="9885" y="158257"/>
                  </a:lnTo>
                  <a:lnTo>
                    <a:pt x="19753" y="158257"/>
                  </a:lnTo>
                  <a:lnTo>
                    <a:pt x="29621" y="153718"/>
                  </a:lnTo>
                  <a:lnTo>
                    <a:pt x="29621" y="156727"/>
                  </a:lnTo>
                  <a:lnTo>
                    <a:pt x="19753" y="161316"/>
                  </a:lnTo>
                  <a:lnTo>
                    <a:pt x="25724" y="161316"/>
                  </a:lnTo>
                  <a:lnTo>
                    <a:pt x="23750" y="164375"/>
                  </a:lnTo>
                  <a:lnTo>
                    <a:pt x="31694" y="16284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Graphic 2">
              <a:extLst>
                <a:ext uri="{FF2B5EF4-FFF2-40B4-BE49-F238E27FC236}">
                  <a16:creationId xmlns:a16="http://schemas.microsoft.com/office/drawing/2014/main" id="{60E78F7C-A6F2-48DA-BBBA-C9F2FE34961F}"/>
                </a:ext>
              </a:extLst>
            </p:cNvPr>
            <p:cNvSpPr/>
            <p:nvPr/>
          </p:nvSpPr>
          <p:spPr>
            <a:xfrm>
              <a:off x="5180539" y="2746164"/>
              <a:ext cx="284917" cy="359492"/>
            </a:xfrm>
            <a:custGeom>
              <a:avLst/>
              <a:gdLst>
                <a:gd name="connsiteX0" fmla="*/ 56808 w 313607"/>
                <a:gd name="connsiteY0" fmla="*/ 222695 h 395709"/>
                <a:gd name="connsiteX1" fmla="*/ 48371 w 313607"/>
                <a:gd name="connsiteY1" fmla="*/ 217761 h 395709"/>
                <a:gd name="connsiteX2" fmla="*/ 44177 w 313607"/>
                <a:gd name="connsiteY2" fmla="*/ 216232 h 395709"/>
                <a:gd name="connsiteX3" fmla="*/ 35739 w 313607"/>
                <a:gd name="connsiteY3" fmla="*/ 204982 h 395709"/>
                <a:gd name="connsiteX4" fmla="*/ 25230 w 313607"/>
                <a:gd name="connsiteY4" fmla="*/ 200048 h 395709"/>
                <a:gd name="connsiteX5" fmla="*/ 21036 w 313607"/>
                <a:gd name="connsiteY5" fmla="*/ 203255 h 395709"/>
                <a:gd name="connsiteX6" fmla="*/ 18915 w 313607"/>
                <a:gd name="connsiteY6" fmla="*/ 211298 h 395709"/>
                <a:gd name="connsiteX7" fmla="*/ 14720 w 313607"/>
                <a:gd name="connsiteY7" fmla="*/ 212926 h 395709"/>
                <a:gd name="connsiteX8" fmla="*/ -82 w 313607"/>
                <a:gd name="connsiteY8" fmla="*/ 200048 h 395709"/>
                <a:gd name="connsiteX9" fmla="*/ 6234 w 313607"/>
                <a:gd name="connsiteY9" fmla="*/ 187269 h 395709"/>
                <a:gd name="connsiteX10" fmla="*/ 14671 w 313607"/>
                <a:gd name="connsiteY10" fmla="*/ 185641 h 395709"/>
                <a:gd name="connsiteX11" fmla="*/ 16743 w 313607"/>
                <a:gd name="connsiteY11" fmla="*/ 180707 h 395709"/>
                <a:gd name="connsiteX12" fmla="*/ 20987 w 313607"/>
                <a:gd name="connsiteY12" fmla="*/ 179079 h 395709"/>
                <a:gd name="connsiteX13" fmla="*/ 25181 w 313607"/>
                <a:gd name="connsiteY13" fmla="*/ 175921 h 395709"/>
                <a:gd name="connsiteX14" fmla="*/ 31496 w 313607"/>
                <a:gd name="connsiteY14" fmla="*/ 174292 h 395709"/>
                <a:gd name="connsiteX15" fmla="*/ 33618 w 313607"/>
                <a:gd name="connsiteY15" fmla="*/ 172714 h 395709"/>
                <a:gd name="connsiteX16" fmla="*/ 37812 w 313607"/>
                <a:gd name="connsiteY16" fmla="*/ 171085 h 395709"/>
                <a:gd name="connsiteX17" fmla="*/ 44128 w 313607"/>
                <a:gd name="connsiteY17" fmla="*/ 167878 h 395709"/>
                <a:gd name="connsiteX18" fmla="*/ 56758 w 313607"/>
                <a:gd name="connsiteY18" fmla="*/ 169506 h 395709"/>
                <a:gd name="connsiteX19" fmla="*/ 60953 w 313607"/>
                <a:gd name="connsiteY19" fmla="*/ 171085 h 395709"/>
                <a:gd name="connsiteX20" fmla="*/ 60953 w 313607"/>
                <a:gd name="connsiteY20" fmla="*/ 177500 h 395709"/>
                <a:gd name="connsiteX21" fmla="*/ 73584 w 313607"/>
                <a:gd name="connsiteY21" fmla="*/ 190328 h 395709"/>
                <a:gd name="connsiteX22" fmla="*/ 67268 w 313607"/>
                <a:gd name="connsiteY22" fmla="*/ 193535 h 395709"/>
                <a:gd name="connsiteX23" fmla="*/ 77777 w 313607"/>
                <a:gd name="connsiteY23" fmla="*/ 193535 h 395709"/>
                <a:gd name="connsiteX24" fmla="*/ 79850 w 313607"/>
                <a:gd name="connsiteY24" fmla="*/ 206314 h 395709"/>
                <a:gd name="connsiteX25" fmla="*/ 75705 w 313607"/>
                <a:gd name="connsiteY25" fmla="*/ 196742 h 395709"/>
                <a:gd name="connsiteX26" fmla="*/ 71462 w 313607"/>
                <a:gd name="connsiteY26" fmla="*/ 196742 h 395709"/>
                <a:gd name="connsiteX27" fmla="*/ 73584 w 313607"/>
                <a:gd name="connsiteY27" fmla="*/ 199900 h 395709"/>
                <a:gd name="connsiteX28" fmla="*/ 71462 w 313607"/>
                <a:gd name="connsiteY28" fmla="*/ 204834 h 395709"/>
                <a:gd name="connsiteX29" fmla="*/ 75705 w 313607"/>
                <a:gd name="connsiteY29" fmla="*/ 206413 h 395709"/>
                <a:gd name="connsiteX30" fmla="*/ 75705 w 313607"/>
                <a:gd name="connsiteY30" fmla="*/ 211347 h 395709"/>
                <a:gd name="connsiteX31" fmla="*/ 67268 w 313607"/>
                <a:gd name="connsiteY31" fmla="*/ 209719 h 395709"/>
                <a:gd name="connsiteX32" fmla="*/ 65147 w 313607"/>
                <a:gd name="connsiteY32" fmla="*/ 214653 h 395709"/>
                <a:gd name="connsiteX33" fmla="*/ 60953 w 313607"/>
                <a:gd name="connsiteY33" fmla="*/ 217811 h 395709"/>
                <a:gd name="connsiteX34" fmla="*/ 56758 w 313607"/>
                <a:gd name="connsiteY34" fmla="*/ 217811 h 395709"/>
                <a:gd name="connsiteX35" fmla="*/ 56758 w 313607"/>
                <a:gd name="connsiteY35" fmla="*/ 222745 h 395709"/>
                <a:gd name="connsiteX36" fmla="*/ 281898 w 313607"/>
                <a:gd name="connsiteY36" fmla="*/ 329961 h 395709"/>
                <a:gd name="connsiteX37" fmla="*/ 286092 w 313607"/>
                <a:gd name="connsiteY37" fmla="*/ 331590 h 395709"/>
                <a:gd name="connsiteX38" fmla="*/ 290336 w 313607"/>
                <a:gd name="connsiteY38" fmla="*/ 329961 h 395709"/>
                <a:gd name="connsiteX39" fmla="*/ 288214 w 313607"/>
                <a:gd name="connsiteY39" fmla="*/ 328432 h 395709"/>
                <a:gd name="connsiteX40" fmla="*/ 286092 w 313607"/>
                <a:gd name="connsiteY40" fmla="*/ 328432 h 395709"/>
                <a:gd name="connsiteX41" fmla="*/ 208283 w 313607"/>
                <a:gd name="connsiteY41" fmla="*/ 365240 h 395709"/>
                <a:gd name="connsiteX42" fmla="*/ 216720 w 313607"/>
                <a:gd name="connsiteY42" fmla="*/ 360306 h 395709"/>
                <a:gd name="connsiteX43" fmla="*/ 220864 w 313607"/>
                <a:gd name="connsiteY43" fmla="*/ 361885 h 395709"/>
                <a:gd name="connsiteX44" fmla="*/ 225108 w 313607"/>
                <a:gd name="connsiteY44" fmla="*/ 361885 h 395709"/>
                <a:gd name="connsiteX45" fmla="*/ 222986 w 313607"/>
                <a:gd name="connsiteY45" fmla="*/ 365092 h 395709"/>
                <a:gd name="connsiteX46" fmla="*/ 222986 w 313607"/>
                <a:gd name="connsiteY46" fmla="*/ 368299 h 395709"/>
                <a:gd name="connsiteX47" fmla="*/ 216720 w 313607"/>
                <a:gd name="connsiteY47" fmla="*/ 368299 h 395709"/>
                <a:gd name="connsiteX48" fmla="*/ 212477 w 313607"/>
                <a:gd name="connsiteY48" fmla="*/ 365092 h 395709"/>
                <a:gd name="connsiteX49" fmla="*/ 90261 w 313607"/>
                <a:gd name="connsiteY49" fmla="*/ 141037 h 395709"/>
                <a:gd name="connsiteX50" fmla="*/ 90261 w 313607"/>
                <a:gd name="connsiteY50" fmla="*/ 145971 h 395709"/>
                <a:gd name="connsiteX51" fmla="*/ 94454 w 313607"/>
                <a:gd name="connsiteY51" fmla="*/ 147550 h 395709"/>
                <a:gd name="connsiteX52" fmla="*/ 92383 w 313607"/>
                <a:gd name="connsiteY52" fmla="*/ 144343 h 395709"/>
                <a:gd name="connsiteX53" fmla="*/ 56611 w 313607"/>
                <a:gd name="connsiteY53" fmla="*/ 136103 h 395709"/>
                <a:gd name="connsiteX54" fmla="*/ 58732 w 313607"/>
                <a:gd name="connsiteY54" fmla="*/ 129689 h 395709"/>
                <a:gd name="connsiteX55" fmla="*/ 58732 w 313607"/>
                <a:gd name="connsiteY55" fmla="*/ 132896 h 395709"/>
                <a:gd name="connsiteX56" fmla="*/ 35542 w 313607"/>
                <a:gd name="connsiteY56" fmla="*/ 116910 h 395709"/>
                <a:gd name="connsiteX57" fmla="*/ 35542 w 313607"/>
                <a:gd name="connsiteY57" fmla="*/ 111976 h 395709"/>
                <a:gd name="connsiteX58" fmla="*/ 41907 w 313607"/>
                <a:gd name="connsiteY58" fmla="*/ 113604 h 395709"/>
                <a:gd name="connsiteX59" fmla="*/ 43979 w 313607"/>
                <a:gd name="connsiteY59" fmla="*/ 110495 h 395709"/>
                <a:gd name="connsiteX60" fmla="*/ 50295 w 313607"/>
                <a:gd name="connsiteY60" fmla="*/ 104081 h 395709"/>
                <a:gd name="connsiteX61" fmla="*/ 50295 w 313607"/>
                <a:gd name="connsiteY61" fmla="*/ 109015 h 395709"/>
                <a:gd name="connsiteX62" fmla="*/ 58781 w 313607"/>
                <a:gd name="connsiteY62" fmla="*/ 99295 h 395709"/>
                <a:gd name="connsiteX63" fmla="*/ 62926 w 313607"/>
                <a:gd name="connsiteY63" fmla="*/ 96088 h 395709"/>
                <a:gd name="connsiteX64" fmla="*/ 58781 w 313607"/>
                <a:gd name="connsiteY64" fmla="*/ 96088 h 395709"/>
                <a:gd name="connsiteX65" fmla="*/ 52416 w 313607"/>
                <a:gd name="connsiteY65" fmla="*/ 91253 h 395709"/>
                <a:gd name="connsiteX66" fmla="*/ 54538 w 313607"/>
                <a:gd name="connsiteY66" fmla="*/ 96187 h 395709"/>
                <a:gd name="connsiteX67" fmla="*/ 58781 w 313607"/>
                <a:gd name="connsiteY67" fmla="*/ 92980 h 395709"/>
                <a:gd name="connsiteX68" fmla="*/ 56660 w 313607"/>
                <a:gd name="connsiteY68" fmla="*/ 89773 h 395709"/>
                <a:gd name="connsiteX69" fmla="*/ 147101 w 313607"/>
                <a:gd name="connsiteY69" fmla="*/ -27 h 395709"/>
                <a:gd name="connsiteX70" fmla="*/ 149222 w 313607"/>
                <a:gd name="connsiteY70" fmla="*/ 1601 h 395709"/>
                <a:gd name="connsiteX71" fmla="*/ 151295 w 313607"/>
                <a:gd name="connsiteY71" fmla="*/ -27 h 395709"/>
                <a:gd name="connsiteX72" fmla="*/ 140785 w 313607"/>
                <a:gd name="connsiteY72" fmla="*/ 1601 h 395709"/>
                <a:gd name="connsiteX73" fmla="*/ 145028 w 313607"/>
                <a:gd name="connsiteY73" fmla="*/ 1601 h 395709"/>
                <a:gd name="connsiteX74" fmla="*/ 149222 w 313607"/>
                <a:gd name="connsiteY74" fmla="*/ 4809 h 395709"/>
                <a:gd name="connsiteX75" fmla="*/ 147101 w 313607"/>
                <a:gd name="connsiteY75" fmla="*/ 8016 h 395709"/>
                <a:gd name="connsiteX76" fmla="*/ 155538 w 313607"/>
                <a:gd name="connsiteY76" fmla="*/ 6387 h 395709"/>
                <a:gd name="connsiteX77" fmla="*/ 155538 w 313607"/>
                <a:gd name="connsiteY77" fmla="*/ 11321 h 395709"/>
                <a:gd name="connsiteX78" fmla="*/ 151295 w 313607"/>
                <a:gd name="connsiteY78" fmla="*/ 9743 h 395709"/>
                <a:gd name="connsiteX79" fmla="*/ 145028 w 313607"/>
                <a:gd name="connsiteY79" fmla="*/ 11321 h 395709"/>
                <a:gd name="connsiteX80" fmla="*/ 142907 w 313607"/>
                <a:gd name="connsiteY80" fmla="*/ 6387 h 395709"/>
                <a:gd name="connsiteX81" fmla="*/ 142907 w 313607"/>
                <a:gd name="connsiteY81" fmla="*/ 9595 h 395709"/>
                <a:gd name="connsiteX82" fmla="*/ 140785 w 313607"/>
                <a:gd name="connsiteY82" fmla="*/ 8016 h 395709"/>
                <a:gd name="connsiteX83" fmla="*/ 138713 w 313607"/>
                <a:gd name="connsiteY83" fmla="*/ 12802 h 395709"/>
                <a:gd name="connsiteX84" fmla="*/ 142907 w 313607"/>
                <a:gd name="connsiteY84" fmla="*/ 17736 h 395709"/>
                <a:gd name="connsiteX85" fmla="*/ 145028 w 313607"/>
                <a:gd name="connsiteY85" fmla="*/ 14529 h 395709"/>
                <a:gd name="connsiteX86" fmla="*/ 142907 w 313607"/>
                <a:gd name="connsiteY86" fmla="*/ 11321 h 395709"/>
                <a:gd name="connsiteX87" fmla="*/ 35592 w 313607"/>
                <a:gd name="connsiteY87" fmla="*/ 49609 h 395709"/>
                <a:gd name="connsiteX88" fmla="*/ 37713 w 313607"/>
                <a:gd name="connsiteY88" fmla="*/ 46452 h 395709"/>
                <a:gd name="connsiteX89" fmla="*/ 33519 w 313607"/>
                <a:gd name="connsiteY89" fmla="*/ 43245 h 395709"/>
                <a:gd name="connsiteX90" fmla="*/ 37713 w 313607"/>
                <a:gd name="connsiteY90" fmla="*/ 40037 h 395709"/>
                <a:gd name="connsiteX91" fmla="*/ 46101 w 313607"/>
                <a:gd name="connsiteY91" fmla="*/ 41616 h 395709"/>
                <a:gd name="connsiteX92" fmla="*/ 44029 w 313607"/>
                <a:gd name="connsiteY92" fmla="*/ 36682 h 395709"/>
                <a:gd name="connsiteX93" fmla="*/ 60854 w 313607"/>
                <a:gd name="connsiteY93" fmla="*/ 27061 h 395709"/>
                <a:gd name="connsiteX94" fmla="*/ 60854 w 313607"/>
                <a:gd name="connsiteY94" fmla="*/ 35054 h 395709"/>
                <a:gd name="connsiteX95" fmla="*/ 54538 w 313607"/>
                <a:gd name="connsiteY95" fmla="*/ 39988 h 395709"/>
                <a:gd name="connsiteX96" fmla="*/ 52416 w 313607"/>
                <a:gd name="connsiteY96" fmla="*/ 44922 h 395709"/>
                <a:gd name="connsiteX97" fmla="*/ 56660 w 313607"/>
                <a:gd name="connsiteY97" fmla="*/ 46550 h 395709"/>
                <a:gd name="connsiteX98" fmla="*/ 50344 w 313607"/>
                <a:gd name="connsiteY98" fmla="*/ 51484 h 395709"/>
                <a:gd name="connsiteX99" fmla="*/ 37713 w 313607"/>
                <a:gd name="connsiteY99" fmla="*/ 51484 h 395709"/>
                <a:gd name="connsiteX100" fmla="*/ 35592 w 313607"/>
                <a:gd name="connsiteY100" fmla="*/ 57652 h 395709"/>
                <a:gd name="connsiteX101" fmla="*/ 39786 w 313607"/>
                <a:gd name="connsiteY101" fmla="*/ 60859 h 395709"/>
                <a:gd name="connsiteX102" fmla="*/ 48223 w 313607"/>
                <a:gd name="connsiteY102" fmla="*/ 54445 h 395709"/>
                <a:gd name="connsiteX103" fmla="*/ 41956 w 313607"/>
                <a:gd name="connsiteY103" fmla="*/ 52817 h 395709"/>
                <a:gd name="connsiteX104" fmla="*/ 37713 w 313607"/>
                <a:gd name="connsiteY104" fmla="*/ 54445 h 395709"/>
                <a:gd name="connsiteX105" fmla="*/ 37713 w 313607"/>
                <a:gd name="connsiteY105" fmla="*/ 56024 h 395709"/>
                <a:gd name="connsiteX106" fmla="*/ 33519 w 313607"/>
                <a:gd name="connsiteY106" fmla="*/ 67224 h 395709"/>
                <a:gd name="connsiteX107" fmla="*/ 27204 w 313607"/>
                <a:gd name="connsiteY107" fmla="*/ 68852 h 395709"/>
                <a:gd name="connsiteX108" fmla="*/ 20888 w 313607"/>
                <a:gd name="connsiteY108" fmla="*/ 63918 h 395709"/>
                <a:gd name="connsiteX109" fmla="*/ 25082 w 313607"/>
                <a:gd name="connsiteY109" fmla="*/ 62290 h 395709"/>
                <a:gd name="connsiteX110" fmla="*/ 33519 w 313607"/>
                <a:gd name="connsiteY110" fmla="*/ 63918 h 395709"/>
                <a:gd name="connsiteX111" fmla="*/ 29276 w 313607"/>
                <a:gd name="connsiteY111" fmla="*/ 73638 h 395709"/>
                <a:gd name="connsiteX112" fmla="*/ 25082 w 313607"/>
                <a:gd name="connsiteY112" fmla="*/ 73638 h 395709"/>
                <a:gd name="connsiteX113" fmla="*/ 25082 w 313607"/>
                <a:gd name="connsiteY113" fmla="*/ 70431 h 395709"/>
                <a:gd name="connsiteX114" fmla="*/ 31397 w 313607"/>
                <a:gd name="connsiteY114" fmla="*/ 70431 h 395709"/>
                <a:gd name="connsiteX115" fmla="*/ 22960 w 313607"/>
                <a:gd name="connsiteY115" fmla="*/ 89674 h 395709"/>
                <a:gd name="connsiteX116" fmla="*/ 25082 w 313607"/>
                <a:gd name="connsiteY116" fmla="*/ 92881 h 395709"/>
                <a:gd name="connsiteX117" fmla="*/ 20888 w 313607"/>
                <a:gd name="connsiteY117" fmla="*/ 96088 h 395709"/>
                <a:gd name="connsiteX118" fmla="*/ 20888 w 313607"/>
                <a:gd name="connsiteY118" fmla="*/ 92782 h 395709"/>
                <a:gd name="connsiteX119" fmla="*/ 29276 w 313607"/>
                <a:gd name="connsiteY119" fmla="*/ 88046 h 395709"/>
                <a:gd name="connsiteX120" fmla="*/ 27204 w 313607"/>
                <a:gd name="connsiteY120" fmla="*/ 81681 h 395709"/>
                <a:gd name="connsiteX121" fmla="*/ 29276 w 313607"/>
                <a:gd name="connsiteY121" fmla="*/ 80053 h 395709"/>
                <a:gd name="connsiteX122" fmla="*/ 29276 w 313607"/>
                <a:gd name="connsiteY122" fmla="*/ 75119 h 395709"/>
                <a:gd name="connsiteX123" fmla="*/ 25082 w 313607"/>
                <a:gd name="connsiteY123" fmla="*/ 75119 h 395709"/>
                <a:gd name="connsiteX124" fmla="*/ 25082 w 313607"/>
                <a:gd name="connsiteY124" fmla="*/ 78326 h 395709"/>
                <a:gd name="connsiteX125" fmla="*/ 22960 w 313607"/>
                <a:gd name="connsiteY125" fmla="*/ 81533 h 395709"/>
                <a:gd name="connsiteX126" fmla="*/ 25082 w 313607"/>
                <a:gd name="connsiteY126" fmla="*/ 86467 h 395709"/>
                <a:gd name="connsiteX127" fmla="*/ 65048 w 313607"/>
                <a:gd name="connsiteY127" fmla="*/ 91253 h 395709"/>
                <a:gd name="connsiteX128" fmla="*/ 65048 w 313607"/>
                <a:gd name="connsiteY128" fmla="*/ 84839 h 395709"/>
                <a:gd name="connsiteX129" fmla="*/ 56660 w 313607"/>
                <a:gd name="connsiteY129" fmla="*/ 86467 h 395709"/>
                <a:gd name="connsiteX130" fmla="*/ 50344 w 313607"/>
                <a:gd name="connsiteY130" fmla="*/ 78474 h 395709"/>
                <a:gd name="connsiteX131" fmla="*/ 52416 w 313607"/>
                <a:gd name="connsiteY131" fmla="*/ 76845 h 395709"/>
                <a:gd name="connsiteX132" fmla="*/ 50344 w 313607"/>
                <a:gd name="connsiteY132" fmla="*/ 75267 h 395709"/>
                <a:gd name="connsiteX133" fmla="*/ 50344 w 313607"/>
                <a:gd name="connsiteY133" fmla="*/ 76845 h 395709"/>
                <a:gd name="connsiteX134" fmla="*/ 41956 w 313607"/>
                <a:gd name="connsiteY134" fmla="*/ 73638 h 395709"/>
                <a:gd name="connsiteX135" fmla="*/ 46101 w 313607"/>
                <a:gd name="connsiteY135" fmla="*/ 70431 h 395709"/>
                <a:gd name="connsiteX136" fmla="*/ 48223 w 313607"/>
                <a:gd name="connsiteY136" fmla="*/ 72059 h 395709"/>
                <a:gd name="connsiteX137" fmla="*/ 48223 w 313607"/>
                <a:gd name="connsiteY137" fmla="*/ 67125 h 395709"/>
                <a:gd name="connsiteX138" fmla="*/ 54538 w 313607"/>
                <a:gd name="connsiteY138" fmla="*/ 72059 h 395709"/>
                <a:gd name="connsiteX139" fmla="*/ 54538 w 313607"/>
                <a:gd name="connsiteY139" fmla="*/ 64165 h 395709"/>
                <a:gd name="connsiteX140" fmla="*/ 58781 w 313607"/>
                <a:gd name="connsiteY140" fmla="*/ 62537 h 395709"/>
                <a:gd name="connsiteX141" fmla="*/ 60854 w 313607"/>
                <a:gd name="connsiteY141" fmla="*/ 68951 h 395709"/>
                <a:gd name="connsiteX142" fmla="*/ 60854 w 313607"/>
                <a:gd name="connsiteY142" fmla="*/ 78572 h 395709"/>
                <a:gd name="connsiteX143" fmla="*/ 69242 w 313607"/>
                <a:gd name="connsiteY143" fmla="*/ 81779 h 395709"/>
                <a:gd name="connsiteX144" fmla="*/ 73485 w 313607"/>
                <a:gd name="connsiteY144" fmla="*/ 81779 h 395709"/>
                <a:gd name="connsiteX145" fmla="*/ 75607 w 313607"/>
                <a:gd name="connsiteY145" fmla="*/ 83358 h 395709"/>
                <a:gd name="connsiteX146" fmla="*/ 69242 w 313607"/>
                <a:gd name="connsiteY146" fmla="*/ 84937 h 395709"/>
                <a:gd name="connsiteX147" fmla="*/ 67169 w 313607"/>
                <a:gd name="connsiteY147" fmla="*/ 91351 h 395709"/>
                <a:gd name="connsiteX148" fmla="*/ 54538 w 313607"/>
                <a:gd name="connsiteY148" fmla="*/ 123275 h 395709"/>
                <a:gd name="connsiteX149" fmla="*/ 67169 w 313607"/>
                <a:gd name="connsiteY149" fmla="*/ 121696 h 395709"/>
                <a:gd name="connsiteX150" fmla="*/ 67169 w 313607"/>
                <a:gd name="connsiteY150" fmla="*/ 123275 h 395709"/>
                <a:gd name="connsiteX151" fmla="*/ 73485 w 313607"/>
                <a:gd name="connsiteY151" fmla="*/ 118341 h 395709"/>
                <a:gd name="connsiteX152" fmla="*/ 71363 w 313607"/>
                <a:gd name="connsiteY152" fmla="*/ 113407 h 395709"/>
                <a:gd name="connsiteX153" fmla="*/ 67169 w 313607"/>
                <a:gd name="connsiteY153" fmla="*/ 113407 h 395709"/>
                <a:gd name="connsiteX154" fmla="*/ 60854 w 313607"/>
                <a:gd name="connsiteY154" fmla="*/ 106992 h 395709"/>
                <a:gd name="connsiteX155" fmla="*/ 54538 w 313607"/>
                <a:gd name="connsiteY155" fmla="*/ 111926 h 395709"/>
                <a:gd name="connsiteX156" fmla="*/ 62926 w 313607"/>
                <a:gd name="connsiteY156" fmla="*/ 115133 h 395709"/>
                <a:gd name="connsiteX157" fmla="*/ 58781 w 313607"/>
                <a:gd name="connsiteY157" fmla="*/ 118341 h 395709"/>
                <a:gd name="connsiteX158" fmla="*/ 60854 w 313607"/>
                <a:gd name="connsiteY158" fmla="*/ 119969 h 395709"/>
                <a:gd name="connsiteX159" fmla="*/ 65048 w 313607"/>
                <a:gd name="connsiteY159" fmla="*/ 145725 h 395709"/>
                <a:gd name="connsiteX160" fmla="*/ 60854 w 313607"/>
                <a:gd name="connsiteY160" fmla="*/ 139310 h 395709"/>
                <a:gd name="connsiteX161" fmla="*/ 73485 w 313607"/>
                <a:gd name="connsiteY161" fmla="*/ 129689 h 395709"/>
                <a:gd name="connsiteX162" fmla="*/ 69242 w 313607"/>
                <a:gd name="connsiteY162" fmla="*/ 140939 h 395709"/>
                <a:gd name="connsiteX163" fmla="*/ 54538 w 313607"/>
                <a:gd name="connsiteY163" fmla="*/ 152139 h 395709"/>
                <a:gd name="connsiteX164" fmla="*/ 62926 w 313607"/>
                <a:gd name="connsiteY164" fmla="*/ 148932 h 395709"/>
                <a:gd name="connsiteX165" fmla="*/ 58781 w 313607"/>
                <a:gd name="connsiteY165" fmla="*/ 139310 h 395709"/>
                <a:gd name="connsiteX166" fmla="*/ 48223 w 313607"/>
                <a:gd name="connsiteY166" fmla="*/ 142517 h 395709"/>
                <a:gd name="connsiteX167" fmla="*/ 48223 w 313607"/>
                <a:gd name="connsiteY167" fmla="*/ 150511 h 395709"/>
                <a:gd name="connsiteX168" fmla="*/ 56660 w 313607"/>
                <a:gd name="connsiteY168" fmla="*/ 147303 h 395709"/>
                <a:gd name="connsiteX169" fmla="*/ 81922 w 313607"/>
                <a:gd name="connsiteY169" fmla="*/ 152139 h 395709"/>
                <a:gd name="connsiteX170" fmla="*/ 83994 w 313607"/>
                <a:gd name="connsiteY170" fmla="*/ 160132 h 395709"/>
                <a:gd name="connsiteX171" fmla="*/ 90310 w 313607"/>
                <a:gd name="connsiteY171" fmla="*/ 163339 h 395709"/>
                <a:gd name="connsiteX172" fmla="*/ 92431 w 313607"/>
                <a:gd name="connsiteY172" fmla="*/ 156925 h 395709"/>
                <a:gd name="connsiteX173" fmla="*/ 88188 w 313607"/>
                <a:gd name="connsiteY173" fmla="*/ 148932 h 395709"/>
                <a:gd name="connsiteX174" fmla="*/ 105063 w 313607"/>
                <a:gd name="connsiteY174" fmla="*/ 253138 h 395709"/>
                <a:gd name="connsiteX175" fmla="*/ 115572 w 313607"/>
                <a:gd name="connsiteY175" fmla="*/ 256296 h 395709"/>
                <a:gd name="connsiteX176" fmla="*/ 123960 w 313607"/>
                <a:gd name="connsiteY176" fmla="*/ 251362 h 395709"/>
                <a:gd name="connsiteX177" fmla="*/ 117645 w 313607"/>
                <a:gd name="connsiteY177" fmla="*/ 251362 h 395709"/>
                <a:gd name="connsiteX178" fmla="*/ 115572 w 313607"/>
                <a:gd name="connsiteY178" fmla="*/ 246428 h 395709"/>
                <a:gd name="connsiteX179" fmla="*/ 107135 w 313607"/>
                <a:gd name="connsiteY179" fmla="*/ 248056 h 395709"/>
                <a:gd name="connsiteX180" fmla="*/ 98747 w 313607"/>
                <a:gd name="connsiteY180" fmla="*/ 221067 h 395709"/>
                <a:gd name="connsiteX181" fmla="*/ 100820 w 313607"/>
                <a:gd name="connsiteY181" fmla="*/ 213123 h 395709"/>
                <a:gd name="connsiteX182" fmla="*/ 113450 w 313607"/>
                <a:gd name="connsiteY182" fmla="*/ 203255 h 395709"/>
                <a:gd name="connsiteX183" fmla="*/ 111329 w 313607"/>
                <a:gd name="connsiteY183" fmla="*/ 208189 h 395709"/>
                <a:gd name="connsiteX184" fmla="*/ 113450 w 313607"/>
                <a:gd name="connsiteY184" fmla="*/ 211397 h 395709"/>
                <a:gd name="connsiteX185" fmla="*/ 105063 w 313607"/>
                <a:gd name="connsiteY185" fmla="*/ 219390 h 395709"/>
                <a:gd name="connsiteX186" fmla="*/ 83945 w 313607"/>
                <a:gd name="connsiteY186" fmla="*/ 395683 h 395709"/>
                <a:gd name="connsiteX187" fmla="*/ 88139 w 313607"/>
                <a:gd name="connsiteY187" fmla="*/ 392476 h 395709"/>
                <a:gd name="connsiteX188" fmla="*/ 88139 w 313607"/>
                <a:gd name="connsiteY188" fmla="*/ 389268 h 395709"/>
                <a:gd name="connsiteX189" fmla="*/ 90261 w 313607"/>
                <a:gd name="connsiteY189" fmla="*/ 386061 h 395709"/>
                <a:gd name="connsiteX190" fmla="*/ 92383 w 313607"/>
                <a:gd name="connsiteY190" fmla="*/ 387640 h 395709"/>
                <a:gd name="connsiteX191" fmla="*/ 96576 w 313607"/>
                <a:gd name="connsiteY191" fmla="*/ 384482 h 395709"/>
                <a:gd name="connsiteX192" fmla="*/ 100770 w 313607"/>
                <a:gd name="connsiteY192" fmla="*/ 384482 h 395709"/>
                <a:gd name="connsiteX193" fmla="*/ 102843 w 313607"/>
                <a:gd name="connsiteY193" fmla="*/ 379548 h 395709"/>
                <a:gd name="connsiteX194" fmla="*/ 109207 w 313607"/>
                <a:gd name="connsiteY194" fmla="*/ 381177 h 395709"/>
                <a:gd name="connsiteX195" fmla="*/ 113401 w 313607"/>
                <a:gd name="connsiteY195" fmla="*/ 377969 h 395709"/>
                <a:gd name="connsiteX196" fmla="*/ 117595 w 313607"/>
                <a:gd name="connsiteY196" fmla="*/ 379548 h 395709"/>
                <a:gd name="connsiteX197" fmla="*/ 121839 w 313607"/>
                <a:gd name="connsiteY197" fmla="*/ 377969 h 395709"/>
                <a:gd name="connsiteX198" fmla="*/ 123910 w 313607"/>
                <a:gd name="connsiteY198" fmla="*/ 381177 h 395709"/>
                <a:gd name="connsiteX199" fmla="*/ 128105 w 313607"/>
                <a:gd name="connsiteY199" fmla="*/ 381177 h 395709"/>
                <a:gd name="connsiteX200" fmla="*/ 132348 w 313607"/>
                <a:gd name="connsiteY200" fmla="*/ 384384 h 395709"/>
                <a:gd name="connsiteX201" fmla="*/ 138664 w 313607"/>
                <a:gd name="connsiteY201" fmla="*/ 384384 h 395709"/>
                <a:gd name="connsiteX202" fmla="*/ 136542 w 313607"/>
                <a:gd name="connsiteY202" fmla="*/ 381177 h 395709"/>
                <a:gd name="connsiteX203" fmla="*/ 142858 w 313607"/>
                <a:gd name="connsiteY203" fmla="*/ 379548 h 395709"/>
                <a:gd name="connsiteX204" fmla="*/ 142858 w 313607"/>
                <a:gd name="connsiteY204" fmla="*/ 371555 h 395709"/>
                <a:gd name="connsiteX205" fmla="*/ 147051 w 313607"/>
                <a:gd name="connsiteY205" fmla="*/ 368348 h 395709"/>
                <a:gd name="connsiteX206" fmla="*/ 149173 w 313607"/>
                <a:gd name="connsiteY206" fmla="*/ 366769 h 395709"/>
                <a:gd name="connsiteX207" fmla="*/ 151245 w 313607"/>
                <a:gd name="connsiteY207" fmla="*/ 365141 h 395709"/>
                <a:gd name="connsiteX208" fmla="*/ 163877 w 313607"/>
                <a:gd name="connsiteY208" fmla="*/ 361934 h 395709"/>
                <a:gd name="connsiteX209" fmla="*/ 170192 w 313607"/>
                <a:gd name="connsiteY209" fmla="*/ 363562 h 395709"/>
                <a:gd name="connsiteX210" fmla="*/ 178629 w 313607"/>
                <a:gd name="connsiteY210" fmla="*/ 368496 h 395709"/>
                <a:gd name="connsiteX211" fmla="*/ 180701 w 313607"/>
                <a:gd name="connsiteY211" fmla="*/ 366917 h 395709"/>
                <a:gd name="connsiteX212" fmla="*/ 189139 w 313607"/>
                <a:gd name="connsiteY212" fmla="*/ 366917 h 395709"/>
                <a:gd name="connsiteX213" fmla="*/ 193382 w 313607"/>
                <a:gd name="connsiteY213" fmla="*/ 368496 h 395709"/>
                <a:gd name="connsiteX214" fmla="*/ 197526 w 313607"/>
                <a:gd name="connsiteY214" fmla="*/ 363562 h 395709"/>
                <a:gd name="connsiteX215" fmla="*/ 203842 w 313607"/>
                <a:gd name="connsiteY215" fmla="*/ 360355 h 395709"/>
                <a:gd name="connsiteX216" fmla="*/ 210207 w 313607"/>
                <a:gd name="connsiteY216" fmla="*/ 361934 h 395709"/>
                <a:gd name="connsiteX217" fmla="*/ 216522 w 313607"/>
                <a:gd name="connsiteY217" fmla="*/ 357000 h 395709"/>
                <a:gd name="connsiteX218" fmla="*/ 222789 w 313607"/>
                <a:gd name="connsiteY218" fmla="*/ 358579 h 395709"/>
                <a:gd name="connsiteX219" fmla="*/ 224911 w 313607"/>
                <a:gd name="connsiteY219" fmla="*/ 358579 h 395709"/>
                <a:gd name="connsiteX220" fmla="*/ 229104 w 313607"/>
                <a:gd name="connsiteY220" fmla="*/ 355372 h 395709"/>
                <a:gd name="connsiteX221" fmla="*/ 231226 w 313607"/>
                <a:gd name="connsiteY221" fmla="*/ 358579 h 395709"/>
                <a:gd name="connsiteX222" fmla="*/ 235420 w 313607"/>
                <a:gd name="connsiteY222" fmla="*/ 360207 h 395709"/>
                <a:gd name="connsiteX223" fmla="*/ 239614 w 313607"/>
                <a:gd name="connsiteY223" fmla="*/ 357000 h 395709"/>
                <a:gd name="connsiteX224" fmla="*/ 252245 w 313607"/>
                <a:gd name="connsiteY224" fmla="*/ 357000 h 395709"/>
                <a:gd name="connsiteX225" fmla="*/ 258560 w 313607"/>
                <a:gd name="connsiteY225" fmla="*/ 355372 h 395709"/>
                <a:gd name="connsiteX226" fmla="*/ 266997 w 313607"/>
                <a:gd name="connsiteY226" fmla="*/ 358579 h 395709"/>
                <a:gd name="connsiteX227" fmla="*/ 271192 w 313607"/>
                <a:gd name="connsiteY227" fmla="*/ 358579 h 395709"/>
                <a:gd name="connsiteX228" fmla="*/ 275386 w 313607"/>
                <a:gd name="connsiteY228" fmla="*/ 355372 h 395709"/>
                <a:gd name="connsiteX229" fmla="*/ 281701 w 313607"/>
                <a:gd name="connsiteY229" fmla="*/ 353793 h 395709"/>
                <a:gd name="connsiteX230" fmla="*/ 285895 w 313607"/>
                <a:gd name="connsiteY230" fmla="*/ 348859 h 395709"/>
                <a:gd name="connsiteX231" fmla="*/ 290138 w 313607"/>
                <a:gd name="connsiteY231" fmla="*/ 348859 h 395709"/>
                <a:gd name="connsiteX232" fmla="*/ 294332 w 313607"/>
                <a:gd name="connsiteY232" fmla="*/ 350438 h 395709"/>
                <a:gd name="connsiteX233" fmla="*/ 292211 w 313607"/>
                <a:gd name="connsiteY233" fmla="*/ 347280 h 395709"/>
                <a:gd name="connsiteX234" fmla="*/ 300648 w 313607"/>
                <a:gd name="connsiteY234" fmla="*/ 342346 h 395709"/>
                <a:gd name="connsiteX235" fmla="*/ 306964 w 313607"/>
                <a:gd name="connsiteY235" fmla="*/ 340718 h 395709"/>
                <a:gd name="connsiteX236" fmla="*/ 306964 w 313607"/>
                <a:gd name="connsiteY236" fmla="*/ 335784 h 395709"/>
                <a:gd name="connsiteX237" fmla="*/ 304842 w 313607"/>
                <a:gd name="connsiteY237" fmla="*/ 332527 h 395709"/>
                <a:gd name="connsiteX238" fmla="*/ 306964 w 313607"/>
                <a:gd name="connsiteY238" fmla="*/ 329320 h 395709"/>
                <a:gd name="connsiteX239" fmla="*/ 298526 w 313607"/>
                <a:gd name="connsiteY239" fmla="*/ 329320 h 395709"/>
                <a:gd name="connsiteX240" fmla="*/ 290138 w 313607"/>
                <a:gd name="connsiteY240" fmla="*/ 330948 h 395709"/>
                <a:gd name="connsiteX241" fmla="*/ 288017 w 313607"/>
                <a:gd name="connsiteY241" fmla="*/ 332527 h 395709"/>
                <a:gd name="connsiteX242" fmla="*/ 281701 w 313607"/>
                <a:gd name="connsiteY242" fmla="*/ 330948 h 395709"/>
                <a:gd name="connsiteX243" fmla="*/ 279629 w 313607"/>
                <a:gd name="connsiteY243" fmla="*/ 329320 h 395709"/>
                <a:gd name="connsiteX244" fmla="*/ 281701 w 313607"/>
                <a:gd name="connsiteY244" fmla="*/ 327790 h 395709"/>
                <a:gd name="connsiteX245" fmla="*/ 281701 w 313607"/>
                <a:gd name="connsiteY245" fmla="*/ 327790 h 395709"/>
                <a:gd name="connsiteX246" fmla="*/ 283823 w 313607"/>
                <a:gd name="connsiteY246" fmla="*/ 326162 h 395709"/>
                <a:gd name="connsiteX247" fmla="*/ 277754 w 313607"/>
                <a:gd name="connsiteY247" fmla="*/ 326162 h 395709"/>
                <a:gd name="connsiteX248" fmla="*/ 273560 w 313607"/>
                <a:gd name="connsiteY248" fmla="*/ 327790 h 395709"/>
                <a:gd name="connsiteX249" fmla="*/ 279876 w 313607"/>
                <a:gd name="connsiteY249" fmla="*/ 322856 h 395709"/>
                <a:gd name="connsiteX250" fmla="*/ 284070 w 313607"/>
                <a:gd name="connsiteY250" fmla="*/ 322856 h 395709"/>
                <a:gd name="connsiteX251" fmla="*/ 290385 w 313607"/>
                <a:gd name="connsiteY251" fmla="*/ 321277 h 395709"/>
                <a:gd name="connsiteX252" fmla="*/ 288263 w 313607"/>
                <a:gd name="connsiteY252" fmla="*/ 316343 h 395709"/>
                <a:gd name="connsiteX253" fmla="*/ 281948 w 313607"/>
                <a:gd name="connsiteY253" fmla="*/ 316343 h 395709"/>
                <a:gd name="connsiteX254" fmla="*/ 286142 w 313607"/>
                <a:gd name="connsiteY254" fmla="*/ 313136 h 395709"/>
                <a:gd name="connsiteX255" fmla="*/ 290385 w 313607"/>
                <a:gd name="connsiteY255" fmla="*/ 311508 h 395709"/>
                <a:gd name="connsiteX256" fmla="*/ 292457 w 313607"/>
                <a:gd name="connsiteY256" fmla="*/ 313136 h 395709"/>
                <a:gd name="connsiteX257" fmla="*/ 298773 w 313607"/>
                <a:gd name="connsiteY257" fmla="*/ 309978 h 395709"/>
                <a:gd name="connsiteX258" fmla="*/ 300894 w 313607"/>
                <a:gd name="connsiteY258" fmla="*/ 308350 h 395709"/>
                <a:gd name="connsiteX259" fmla="*/ 298773 w 313607"/>
                <a:gd name="connsiteY259" fmla="*/ 306771 h 395709"/>
                <a:gd name="connsiteX260" fmla="*/ 298773 w 313607"/>
                <a:gd name="connsiteY260" fmla="*/ 305143 h 395709"/>
                <a:gd name="connsiteX261" fmla="*/ 294579 w 313607"/>
                <a:gd name="connsiteY261" fmla="*/ 305143 h 395709"/>
                <a:gd name="connsiteX262" fmla="*/ 296700 w 313607"/>
                <a:gd name="connsiteY262" fmla="*/ 301936 h 395709"/>
                <a:gd name="connsiteX263" fmla="*/ 298773 w 313607"/>
                <a:gd name="connsiteY263" fmla="*/ 301936 h 395709"/>
                <a:gd name="connsiteX264" fmla="*/ 300894 w 313607"/>
                <a:gd name="connsiteY264" fmla="*/ 305143 h 395709"/>
                <a:gd name="connsiteX265" fmla="*/ 305089 w 313607"/>
                <a:gd name="connsiteY265" fmla="*/ 300209 h 395709"/>
                <a:gd name="connsiteX266" fmla="*/ 309283 w 313607"/>
                <a:gd name="connsiteY266" fmla="*/ 298581 h 395709"/>
                <a:gd name="connsiteX267" fmla="*/ 309283 w 313607"/>
                <a:gd name="connsiteY267" fmla="*/ 290144 h 395709"/>
                <a:gd name="connsiteX268" fmla="*/ 313526 w 313607"/>
                <a:gd name="connsiteY268" fmla="*/ 282101 h 395709"/>
                <a:gd name="connsiteX269" fmla="*/ 311404 w 313607"/>
                <a:gd name="connsiteY269" fmla="*/ 278894 h 395709"/>
                <a:gd name="connsiteX270" fmla="*/ 309283 w 313607"/>
                <a:gd name="connsiteY270" fmla="*/ 270901 h 395709"/>
                <a:gd name="connsiteX271" fmla="*/ 296700 w 313607"/>
                <a:gd name="connsiteY271" fmla="*/ 262858 h 395709"/>
                <a:gd name="connsiteX272" fmla="*/ 269317 w 313607"/>
                <a:gd name="connsiteY272" fmla="*/ 262858 h 395709"/>
                <a:gd name="connsiteX273" fmla="*/ 269317 w 313607"/>
                <a:gd name="connsiteY273" fmla="*/ 269322 h 395709"/>
                <a:gd name="connsiteX274" fmla="*/ 265123 w 313607"/>
                <a:gd name="connsiteY274" fmla="*/ 274256 h 395709"/>
                <a:gd name="connsiteX275" fmla="*/ 260929 w 313607"/>
                <a:gd name="connsiteY275" fmla="*/ 267891 h 395709"/>
                <a:gd name="connsiteX276" fmla="*/ 254614 w 313607"/>
                <a:gd name="connsiteY276" fmla="*/ 266312 h 395709"/>
                <a:gd name="connsiteX277" fmla="*/ 265123 w 313607"/>
                <a:gd name="connsiteY277" fmla="*/ 258270 h 395709"/>
                <a:gd name="connsiteX278" fmla="*/ 265123 w 313607"/>
                <a:gd name="connsiteY278" fmla="*/ 253336 h 395709"/>
                <a:gd name="connsiteX279" fmla="*/ 256735 w 313607"/>
                <a:gd name="connsiteY279" fmla="*/ 240507 h 395709"/>
                <a:gd name="connsiteX280" fmla="*/ 252492 w 313607"/>
                <a:gd name="connsiteY280" fmla="*/ 240507 h 395709"/>
                <a:gd name="connsiteX281" fmla="*/ 246176 w 313607"/>
                <a:gd name="connsiteY281" fmla="*/ 237300 h 395709"/>
                <a:gd name="connsiteX282" fmla="*/ 241982 w 313607"/>
                <a:gd name="connsiteY282" fmla="*/ 232366 h 395709"/>
                <a:gd name="connsiteX283" fmla="*/ 237739 w 313607"/>
                <a:gd name="connsiteY283" fmla="*/ 233994 h 395709"/>
                <a:gd name="connsiteX284" fmla="*/ 235666 w 313607"/>
                <a:gd name="connsiteY284" fmla="*/ 233994 h 395709"/>
                <a:gd name="connsiteX285" fmla="*/ 231473 w 313607"/>
                <a:gd name="connsiteY285" fmla="*/ 232366 h 395709"/>
                <a:gd name="connsiteX286" fmla="*/ 237739 w 313607"/>
                <a:gd name="connsiteY286" fmla="*/ 232366 h 395709"/>
                <a:gd name="connsiteX287" fmla="*/ 241982 w 313607"/>
                <a:gd name="connsiteY287" fmla="*/ 230787 h 395709"/>
                <a:gd name="connsiteX288" fmla="*/ 246176 w 313607"/>
                <a:gd name="connsiteY288" fmla="*/ 232366 h 395709"/>
                <a:gd name="connsiteX289" fmla="*/ 248298 w 313607"/>
                <a:gd name="connsiteY289" fmla="*/ 235573 h 395709"/>
                <a:gd name="connsiteX290" fmla="*/ 252492 w 313607"/>
                <a:gd name="connsiteY290" fmla="*/ 233994 h 395709"/>
                <a:gd name="connsiteX291" fmla="*/ 256735 w 313607"/>
                <a:gd name="connsiteY291" fmla="*/ 235573 h 395709"/>
                <a:gd name="connsiteX292" fmla="*/ 246176 w 313607"/>
                <a:gd name="connsiteY292" fmla="*/ 224324 h 395709"/>
                <a:gd name="connsiteX293" fmla="*/ 241982 w 313607"/>
                <a:gd name="connsiteY293" fmla="*/ 219390 h 395709"/>
                <a:gd name="connsiteX294" fmla="*/ 244104 w 313607"/>
                <a:gd name="connsiteY294" fmla="*/ 216232 h 395709"/>
                <a:gd name="connsiteX295" fmla="*/ 248298 w 313607"/>
                <a:gd name="connsiteY295" fmla="*/ 214604 h 395709"/>
                <a:gd name="connsiteX296" fmla="*/ 241982 w 313607"/>
                <a:gd name="connsiteY296" fmla="*/ 213025 h 395709"/>
                <a:gd name="connsiteX297" fmla="*/ 239860 w 313607"/>
                <a:gd name="connsiteY297" fmla="*/ 209768 h 395709"/>
                <a:gd name="connsiteX298" fmla="*/ 237739 w 313607"/>
                <a:gd name="connsiteY298" fmla="*/ 209768 h 395709"/>
                <a:gd name="connsiteX299" fmla="*/ 233595 w 313607"/>
                <a:gd name="connsiteY299" fmla="*/ 199900 h 395709"/>
                <a:gd name="connsiteX300" fmla="*/ 223036 w 313607"/>
                <a:gd name="connsiteY300" fmla="*/ 196742 h 395709"/>
                <a:gd name="connsiteX301" fmla="*/ 212526 w 313607"/>
                <a:gd name="connsiteY301" fmla="*/ 195114 h 395709"/>
                <a:gd name="connsiteX302" fmla="*/ 210454 w 313607"/>
                <a:gd name="connsiteY302" fmla="*/ 190180 h 395709"/>
                <a:gd name="connsiteX303" fmla="*/ 208332 w 313607"/>
                <a:gd name="connsiteY303" fmla="*/ 188552 h 395709"/>
                <a:gd name="connsiteX304" fmla="*/ 204089 w 313607"/>
                <a:gd name="connsiteY304" fmla="*/ 177352 h 395709"/>
                <a:gd name="connsiteX305" fmla="*/ 199895 w 313607"/>
                <a:gd name="connsiteY305" fmla="*/ 170937 h 395709"/>
                <a:gd name="connsiteX306" fmla="*/ 197773 w 313607"/>
                <a:gd name="connsiteY306" fmla="*/ 158158 h 395709"/>
                <a:gd name="connsiteX307" fmla="*/ 193628 w 313607"/>
                <a:gd name="connsiteY307" fmla="*/ 153224 h 395709"/>
                <a:gd name="connsiteX308" fmla="*/ 189385 w 313607"/>
                <a:gd name="connsiteY308" fmla="*/ 153224 h 395709"/>
                <a:gd name="connsiteX309" fmla="*/ 180948 w 313607"/>
                <a:gd name="connsiteY309" fmla="*/ 140445 h 395709"/>
                <a:gd name="connsiteX310" fmla="*/ 174632 w 313607"/>
                <a:gd name="connsiteY310" fmla="*/ 138817 h 395709"/>
                <a:gd name="connsiteX311" fmla="*/ 168366 w 313607"/>
                <a:gd name="connsiteY311" fmla="*/ 135610 h 395709"/>
                <a:gd name="connsiteX312" fmla="*/ 162051 w 313607"/>
                <a:gd name="connsiteY312" fmla="*/ 132403 h 395709"/>
                <a:gd name="connsiteX313" fmla="*/ 157807 w 313607"/>
                <a:gd name="connsiteY313" fmla="*/ 135610 h 395709"/>
                <a:gd name="connsiteX314" fmla="*/ 151492 w 313607"/>
                <a:gd name="connsiteY314" fmla="*/ 138817 h 395709"/>
                <a:gd name="connsiteX315" fmla="*/ 143104 w 313607"/>
                <a:gd name="connsiteY315" fmla="*/ 135610 h 395709"/>
                <a:gd name="connsiteX316" fmla="*/ 138910 w 313607"/>
                <a:gd name="connsiteY316" fmla="*/ 137238 h 395709"/>
                <a:gd name="connsiteX317" fmla="*/ 132594 w 313607"/>
                <a:gd name="connsiteY317" fmla="*/ 135610 h 395709"/>
                <a:gd name="connsiteX318" fmla="*/ 130473 w 313607"/>
                <a:gd name="connsiteY318" fmla="*/ 132403 h 395709"/>
                <a:gd name="connsiteX319" fmla="*/ 134667 w 313607"/>
                <a:gd name="connsiteY319" fmla="*/ 134031 h 395709"/>
                <a:gd name="connsiteX320" fmla="*/ 143104 w 313607"/>
                <a:gd name="connsiteY320" fmla="*/ 134031 h 395709"/>
                <a:gd name="connsiteX321" fmla="*/ 149420 w 313607"/>
                <a:gd name="connsiteY321" fmla="*/ 132403 h 395709"/>
                <a:gd name="connsiteX322" fmla="*/ 151492 w 313607"/>
                <a:gd name="connsiteY322" fmla="*/ 127469 h 395709"/>
                <a:gd name="connsiteX323" fmla="*/ 159929 w 313607"/>
                <a:gd name="connsiteY323" fmla="*/ 127469 h 395709"/>
                <a:gd name="connsiteX324" fmla="*/ 166245 w 313607"/>
                <a:gd name="connsiteY324" fmla="*/ 124261 h 395709"/>
                <a:gd name="connsiteX325" fmla="*/ 159929 w 313607"/>
                <a:gd name="connsiteY325" fmla="*/ 121054 h 395709"/>
                <a:gd name="connsiteX326" fmla="*/ 157807 w 313607"/>
                <a:gd name="connsiteY326" fmla="*/ 117847 h 395709"/>
                <a:gd name="connsiteX327" fmla="*/ 155735 w 313607"/>
                <a:gd name="connsiteY327" fmla="*/ 116268 h 395709"/>
                <a:gd name="connsiteX328" fmla="*/ 147298 w 313607"/>
                <a:gd name="connsiteY328" fmla="*/ 119475 h 395709"/>
                <a:gd name="connsiteX329" fmla="*/ 145226 w 313607"/>
                <a:gd name="connsiteY329" fmla="*/ 117847 h 395709"/>
                <a:gd name="connsiteX330" fmla="*/ 151492 w 313607"/>
                <a:gd name="connsiteY330" fmla="*/ 114640 h 395709"/>
                <a:gd name="connsiteX331" fmla="*/ 159929 w 313607"/>
                <a:gd name="connsiteY331" fmla="*/ 114640 h 395709"/>
                <a:gd name="connsiteX332" fmla="*/ 166245 w 313607"/>
                <a:gd name="connsiteY332" fmla="*/ 111433 h 395709"/>
                <a:gd name="connsiteX333" fmla="*/ 166245 w 313607"/>
                <a:gd name="connsiteY333" fmla="*/ 108226 h 395709"/>
                <a:gd name="connsiteX334" fmla="*/ 170439 w 313607"/>
                <a:gd name="connsiteY334" fmla="*/ 106647 h 395709"/>
                <a:gd name="connsiteX335" fmla="*/ 174632 w 313607"/>
                <a:gd name="connsiteY335" fmla="*/ 98654 h 395709"/>
                <a:gd name="connsiteX336" fmla="*/ 176754 w 313607"/>
                <a:gd name="connsiteY336" fmla="*/ 93720 h 395709"/>
                <a:gd name="connsiteX337" fmla="*/ 176754 w 313607"/>
                <a:gd name="connsiteY337" fmla="*/ 92782 h 395709"/>
                <a:gd name="connsiteX338" fmla="*/ 180948 w 313607"/>
                <a:gd name="connsiteY338" fmla="*/ 87848 h 395709"/>
                <a:gd name="connsiteX339" fmla="*/ 178876 w 313607"/>
                <a:gd name="connsiteY339" fmla="*/ 84641 h 395709"/>
                <a:gd name="connsiteX340" fmla="*/ 183070 w 313607"/>
                <a:gd name="connsiteY340" fmla="*/ 78276 h 395709"/>
                <a:gd name="connsiteX341" fmla="*/ 187264 w 313607"/>
                <a:gd name="connsiteY341" fmla="*/ 73342 h 395709"/>
                <a:gd name="connsiteX342" fmla="*/ 187264 w 313607"/>
                <a:gd name="connsiteY342" fmla="*/ 68408 h 395709"/>
                <a:gd name="connsiteX343" fmla="*/ 178876 w 313607"/>
                <a:gd name="connsiteY343" fmla="*/ 61994 h 395709"/>
                <a:gd name="connsiteX344" fmla="*/ 178876 w 313607"/>
                <a:gd name="connsiteY344" fmla="*/ 63622 h 395709"/>
                <a:gd name="connsiteX345" fmla="*/ 164074 w 313607"/>
                <a:gd name="connsiteY345" fmla="*/ 63622 h 395709"/>
                <a:gd name="connsiteX346" fmla="*/ 153564 w 313607"/>
                <a:gd name="connsiteY346" fmla="*/ 61994 h 395709"/>
                <a:gd name="connsiteX347" fmla="*/ 151443 w 313607"/>
                <a:gd name="connsiteY347" fmla="*/ 63622 h 395709"/>
                <a:gd name="connsiteX348" fmla="*/ 147249 w 313607"/>
                <a:gd name="connsiteY348" fmla="*/ 63622 h 395709"/>
                <a:gd name="connsiteX349" fmla="*/ 140933 w 313607"/>
                <a:gd name="connsiteY349" fmla="*/ 61994 h 395709"/>
                <a:gd name="connsiteX350" fmla="*/ 138861 w 313607"/>
                <a:gd name="connsiteY350" fmla="*/ 61994 h 395709"/>
                <a:gd name="connsiteX351" fmla="*/ 136739 w 313607"/>
                <a:gd name="connsiteY351" fmla="*/ 63622 h 395709"/>
                <a:gd name="connsiteX352" fmla="*/ 132545 w 313607"/>
                <a:gd name="connsiteY352" fmla="*/ 65201 h 395709"/>
                <a:gd name="connsiteX353" fmla="*/ 126230 w 313607"/>
                <a:gd name="connsiteY353" fmla="*/ 68408 h 395709"/>
                <a:gd name="connsiteX354" fmla="*/ 124108 w 313607"/>
                <a:gd name="connsiteY354" fmla="*/ 68408 h 395709"/>
                <a:gd name="connsiteX355" fmla="*/ 119914 w 313607"/>
                <a:gd name="connsiteY355" fmla="*/ 71615 h 395709"/>
                <a:gd name="connsiteX356" fmla="*/ 117792 w 313607"/>
                <a:gd name="connsiteY356" fmla="*/ 69987 h 395709"/>
                <a:gd name="connsiteX357" fmla="*/ 124108 w 313607"/>
                <a:gd name="connsiteY357" fmla="*/ 65053 h 395709"/>
                <a:gd name="connsiteX358" fmla="*/ 128302 w 313607"/>
                <a:gd name="connsiteY358" fmla="*/ 57060 h 395709"/>
                <a:gd name="connsiteX359" fmla="*/ 124108 w 313607"/>
                <a:gd name="connsiteY359" fmla="*/ 58639 h 395709"/>
                <a:gd name="connsiteX360" fmla="*/ 119914 w 313607"/>
                <a:gd name="connsiteY360" fmla="*/ 57060 h 395709"/>
                <a:gd name="connsiteX361" fmla="*/ 124108 w 313607"/>
                <a:gd name="connsiteY361" fmla="*/ 55432 h 395709"/>
                <a:gd name="connsiteX362" fmla="*/ 124108 w 313607"/>
                <a:gd name="connsiteY362" fmla="*/ 52225 h 395709"/>
                <a:gd name="connsiteX363" fmla="*/ 138910 w 313607"/>
                <a:gd name="connsiteY363" fmla="*/ 42652 h 395709"/>
                <a:gd name="connsiteX364" fmla="*/ 143104 w 313607"/>
                <a:gd name="connsiteY364" fmla="*/ 36238 h 395709"/>
                <a:gd name="connsiteX365" fmla="*/ 147298 w 313607"/>
                <a:gd name="connsiteY365" fmla="*/ 36238 h 395709"/>
                <a:gd name="connsiteX366" fmla="*/ 149420 w 313607"/>
                <a:gd name="connsiteY366" fmla="*/ 29824 h 395709"/>
                <a:gd name="connsiteX367" fmla="*/ 147298 w 313607"/>
                <a:gd name="connsiteY367" fmla="*/ 28196 h 395709"/>
                <a:gd name="connsiteX368" fmla="*/ 149420 w 313607"/>
                <a:gd name="connsiteY368" fmla="*/ 23262 h 395709"/>
                <a:gd name="connsiteX369" fmla="*/ 149420 w 313607"/>
                <a:gd name="connsiteY369" fmla="*/ 21683 h 395709"/>
                <a:gd name="connsiteX370" fmla="*/ 143104 w 313607"/>
                <a:gd name="connsiteY370" fmla="*/ 21683 h 395709"/>
                <a:gd name="connsiteX371" fmla="*/ 138910 w 313607"/>
                <a:gd name="connsiteY371" fmla="*/ 24890 h 395709"/>
                <a:gd name="connsiteX372" fmla="*/ 134667 w 313607"/>
                <a:gd name="connsiteY372" fmla="*/ 23262 h 395709"/>
                <a:gd name="connsiteX373" fmla="*/ 128351 w 313607"/>
                <a:gd name="connsiteY373" fmla="*/ 26469 h 395709"/>
                <a:gd name="connsiteX374" fmla="*/ 122085 w 313607"/>
                <a:gd name="connsiteY374" fmla="*/ 24890 h 395709"/>
                <a:gd name="connsiteX375" fmla="*/ 115770 w 313607"/>
                <a:gd name="connsiteY375" fmla="*/ 26469 h 395709"/>
                <a:gd name="connsiteX376" fmla="*/ 113648 w 313607"/>
                <a:gd name="connsiteY376" fmla="*/ 26469 h 395709"/>
                <a:gd name="connsiteX377" fmla="*/ 109454 w 313607"/>
                <a:gd name="connsiteY377" fmla="*/ 29676 h 395709"/>
                <a:gd name="connsiteX378" fmla="*/ 111527 w 313607"/>
                <a:gd name="connsiteY378" fmla="*/ 26469 h 395709"/>
                <a:gd name="connsiteX379" fmla="*/ 107332 w 313607"/>
                <a:gd name="connsiteY379" fmla="*/ 26469 h 395709"/>
                <a:gd name="connsiteX380" fmla="*/ 103089 w 313607"/>
                <a:gd name="connsiteY380" fmla="*/ 29676 h 395709"/>
                <a:gd name="connsiteX381" fmla="*/ 103089 w 313607"/>
                <a:gd name="connsiteY381" fmla="*/ 26469 h 395709"/>
                <a:gd name="connsiteX382" fmla="*/ 96823 w 313607"/>
                <a:gd name="connsiteY382" fmla="*/ 23262 h 395709"/>
                <a:gd name="connsiteX383" fmla="*/ 94701 w 313607"/>
                <a:gd name="connsiteY383" fmla="*/ 28196 h 395709"/>
                <a:gd name="connsiteX384" fmla="*/ 92629 w 313607"/>
                <a:gd name="connsiteY384" fmla="*/ 29824 h 395709"/>
                <a:gd name="connsiteX385" fmla="*/ 92629 w 313607"/>
                <a:gd name="connsiteY385" fmla="*/ 33574 h 395709"/>
                <a:gd name="connsiteX386" fmla="*/ 90261 w 313607"/>
                <a:gd name="connsiteY386" fmla="*/ 33574 h 395709"/>
                <a:gd name="connsiteX387" fmla="*/ 90261 w 313607"/>
                <a:gd name="connsiteY387" fmla="*/ 38508 h 395709"/>
                <a:gd name="connsiteX388" fmla="*/ 83945 w 313607"/>
                <a:gd name="connsiteY388" fmla="*/ 40136 h 395709"/>
                <a:gd name="connsiteX389" fmla="*/ 88139 w 313607"/>
                <a:gd name="connsiteY389" fmla="*/ 43343 h 395709"/>
                <a:gd name="connsiteX390" fmla="*/ 86017 w 313607"/>
                <a:gd name="connsiteY390" fmla="*/ 48277 h 395709"/>
                <a:gd name="connsiteX391" fmla="*/ 81873 w 313607"/>
                <a:gd name="connsiteY391" fmla="*/ 48277 h 395709"/>
                <a:gd name="connsiteX392" fmla="*/ 90261 w 313607"/>
                <a:gd name="connsiteY392" fmla="*/ 53211 h 395709"/>
                <a:gd name="connsiteX393" fmla="*/ 92383 w 313607"/>
                <a:gd name="connsiteY393" fmla="*/ 58145 h 395709"/>
                <a:gd name="connsiteX394" fmla="*/ 83945 w 313607"/>
                <a:gd name="connsiteY394" fmla="*/ 54938 h 395709"/>
                <a:gd name="connsiteX395" fmla="*/ 81873 w 313607"/>
                <a:gd name="connsiteY395" fmla="*/ 56517 h 395709"/>
                <a:gd name="connsiteX396" fmla="*/ 77629 w 313607"/>
                <a:gd name="connsiteY396" fmla="*/ 53310 h 395709"/>
                <a:gd name="connsiteX397" fmla="*/ 77629 w 313607"/>
                <a:gd name="connsiteY397" fmla="*/ 58244 h 395709"/>
                <a:gd name="connsiteX398" fmla="*/ 75557 w 313607"/>
                <a:gd name="connsiteY398" fmla="*/ 61451 h 395709"/>
                <a:gd name="connsiteX399" fmla="*/ 73435 w 313607"/>
                <a:gd name="connsiteY399" fmla="*/ 56517 h 395709"/>
                <a:gd name="connsiteX400" fmla="*/ 71314 w 313607"/>
                <a:gd name="connsiteY400" fmla="*/ 61451 h 395709"/>
                <a:gd name="connsiteX401" fmla="*/ 73435 w 313607"/>
                <a:gd name="connsiteY401" fmla="*/ 63030 h 395709"/>
                <a:gd name="connsiteX402" fmla="*/ 71314 w 313607"/>
                <a:gd name="connsiteY402" fmla="*/ 66237 h 395709"/>
                <a:gd name="connsiteX403" fmla="*/ 75557 w 313607"/>
                <a:gd name="connsiteY403" fmla="*/ 71171 h 395709"/>
                <a:gd name="connsiteX404" fmla="*/ 79702 w 313607"/>
                <a:gd name="connsiteY404" fmla="*/ 71171 h 395709"/>
                <a:gd name="connsiteX405" fmla="*/ 75557 w 313607"/>
                <a:gd name="connsiteY405" fmla="*/ 72800 h 395709"/>
                <a:gd name="connsiteX406" fmla="*/ 71314 w 313607"/>
                <a:gd name="connsiteY406" fmla="*/ 69592 h 395709"/>
                <a:gd name="connsiteX407" fmla="*/ 71314 w 313607"/>
                <a:gd name="connsiteY407" fmla="*/ 79214 h 395709"/>
                <a:gd name="connsiteX408" fmla="*/ 79702 w 313607"/>
                <a:gd name="connsiteY408" fmla="*/ 77586 h 395709"/>
                <a:gd name="connsiteX409" fmla="*/ 73435 w 313607"/>
                <a:gd name="connsiteY409" fmla="*/ 79214 h 395709"/>
                <a:gd name="connsiteX410" fmla="*/ 73435 w 313607"/>
                <a:gd name="connsiteY410" fmla="*/ 80793 h 395709"/>
                <a:gd name="connsiteX411" fmla="*/ 75557 w 313607"/>
                <a:gd name="connsiteY411" fmla="*/ 82421 h 395709"/>
                <a:gd name="connsiteX412" fmla="*/ 81873 w 313607"/>
                <a:gd name="connsiteY412" fmla="*/ 80793 h 395709"/>
                <a:gd name="connsiteX413" fmla="*/ 79702 w 313607"/>
                <a:gd name="connsiteY413" fmla="*/ 82421 h 395709"/>
                <a:gd name="connsiteX414" fmla="*/ 81873 w 313607"/>
                <a:gd name="connsiteY414" fmla="*/ 84000 h 395709"/>
                <a:gd name="connsiteX415" fmla="*/ 77629 w 313607"/>
                <a:gd name="connsiteY415" fmla="*/ 82421 h 395709"/>
                <a:gd name="connsiteX416" fmla="*/ 75557 w 313607"/>
                <a:gd name="connsiteY416" fmla="*/ 84000 h 395709"/>
                <a:gd name="connsiteX417" fmla="*/ 75557 w 313607"/>
                <a:gd name="connsiteY417" fmla="*/ 87207 h 395709"/>
                <a:gd name="connsiteX418" fmla="*/ 77629 w 313607"/>
                <a:gd name="connsiteY418" fmla="*/ 88786 h 395709"/>
                <a:gd name="connsiteX419" fmla="*/ 73435 w 313607"/>
                <a:gd name="connsiteY419" fmla="*/ 88786 h 395709"/>
                <a:gd name="connsiteX420" fmla="*/ 71314 w 313607"/>
                <a:gd name="connsiteY420" fmla="*/ 91993 h 395709"/>
                <a:gd name="connsiteX421" fmla="*/ 75557 w 313607"/>
                <a:gd name="connsiteY421" fmla="*/ 93621 h 395709"/>
                <a:gd name="connsiteX422" fmla="*/ 77629 w 313607"/>
                <a:gd name="connsiteY422" fmla="*/ 95200 h 395709"/>
                <a:gd name="connsiteX423" fmla="*/ 71314 w 313607"/>
                <a:gd name="connsiteY423" fmla="*/ 93621 h 395709"/>
                <a:gd name="connsiteX424" fmla="*/ 69192 w 313607"/>
                <a:gd name="connsiteY424" fmla="*/ 96828 h 395709"/>
                <a:gd name="connsiteX425" fmla="*/ 71314 w 313607"/>
                <a:gd name="connsiteY425" fmla="*/ 98407 h 395709"/>
                <a:gd name="connsiteX426" fmla="*/ 69192 w 313607"/>
                <a:gd name="connsiteY426" fmla="*/ 101614 h 395709"/>
                <a:gd name="connsiteX427" fmla="*/ 67120 w 313607"/>
                <a:gd name="connsiteY427" fmla="*/ 103242 h 395709"/>
                <a:gd name="connsiteX428" fmla="*/ 60805 w 313607"/>
                <a:gd name="connsiteY428" fmla="*/ 103242 h 395709"/>
                <a:gd name="connsiteX429" fmla="*/ 58732 w 313607"/>
                <a:gd name="connsiteY429" fmla="*/ 104821 h 395709"/>
                <a:gd name="connsiteX430" fmla="*/ 60805 w 313607"/>
                <a:gd name="connsiteY430" fmla="*/ 106400 h 395709"/>
                <a:gd name="connsiteX431" fmla="*/ 64998 w 313607"/>
                <a:gd name="connsiteY431" fmla="*/ 106400 h 395709"/>
                <a:gd name="connsiteX432" fmla="*/ 69192 w 313607"/>
                <a:gd name="connsiteY432" fmla="*/ 108028 h 395709"/>
                <a:gd name="connsiteX433" fmla="*/ 64998 w 313607"/>
                <a:gd name="connsiteY433" fmla="*/ 108028 h 395709"/>
                <a:gd name="connsiteX434" fmla="*/ 69192 w 313607"/>
                <a:gd name="connsiteY434" fmla="*/ 112962 h 395709"/>
                <a:gd name="connsiteX435" fmla="*/ 71314 w 313607"/>
                <a:gd name="connsiteY435" fmla="*/ 112962 h 395709"/>
                <a:gd name="connsiteX436" fmla="*/ 75557 w 313607"/>
                <a:gd name="connsiteY436" fmla="*/ 114591 h 395709"/>
                <a:gd name="connsiteX437" fmla="*/ 90359 w 313607"/>
                <a:gd name="connsiteY437" fmla="*/ 103390 h 395709"/>
                <a:gd name="connsiteX438" fmla="*/ 88237 w 313607"/>
                <a:gd name="connsiteY438" fmla="*/ 106548 h 395709"/>
                <a:gd name="connsiteX439" fmla="*/ 90359 w 313607"/>
                <a:gd name="connsiteY439" fmla="*/ 108176 h 395709"/>
                <a:gd name="connsiteX440" fmla="*/ 84044 w 313607"/>
                <a:gd name="connsiteY440" fmla="*/ 108176 h 395709"/>
                <a:gd name="connsiteX441" fmla="*/ 81971 w 313607"/>
                <a:gd name="connsiteY441" fmla="*/ 116170 h 395709"/>
                <a:gd name="connsiteX442" fmla="*/ 81971 w 313607"/>
                <a:gd name="connsiteY442" fmla="*/ 117798 h 395709"/>
                <a:gd name="connsiteX443" fmla="*/ 77728 w 313607"/>
                <a:gd name="connsiteY443" fmla="*/ 125791 h 395709"/>
                <a:gd name="connsiteX444" fmla="*/ 79800 w 313607"/>
                <a:gd name="connsiteY444" fmla="*/ 125791 h 395709"/>
                <a:gd name="connsiteX445" fmla="*/ 75656 w 313607"/>
                <a:gd name="connsiteY445" fmla="*/ 135659 h 395709"/>
                <a:gd name="connsiteX446" fmla="*/ 75656 w 313607"/>
                <a:gd name="connsiteY446" fmla="*/ 140593 h 395709"/>
                <a:gd name="connsiteX447" fmla="*/ 73534 w 313607"/>
                <a:gd name="connsiteY447" fmla="*/ 143800 h 395709"/>
                <a:gd name="connsiteX448" fmla="*/ 75656 w 313607"/>
                <a:gd name="connsiteY448" fmla="*/ 147007 h 395709"/>
                <a:gd name="connsiteX449" fmla="*/ 77728 w 313607"/>
                <a:gd name="connsiteY449" fmla="*/ 145379 h 395709"/>
                <a:gd name="connsiteX450" fmla="*/ 73534 w 313607"/>
                <a:gd name="connsiteY450" fmla="*/ 151793 h 395709"/>
                <a:gd name="connsiteX451" fmla="*/ 73534 w 313607"/>
                <a:gd name="connsiteY451" fmla="*/ 161415 h 395709"/>
                <a:gd name="connsiteX452" fmla="*/ 69291 w 313607"/>
                <a:gd name="connsiteY452" fmla="*/ 164622 h 395709"/>
                <a:gd name="connsiteX453" fmla="*/ 69291 w 313607"/>
                <a:gd name="connsiteY453" fmla="*/ 166201 h 395709"/>
                <a:gd name="connsiteX454" fmla="*/ 77728 w 313607"/>
                <a:gd name="connsiteY454" fmla="*/ 166201 h 395709"/>
                <a:gd name="connsiteX455" fmla="*/ 75656 w 313607"/>
                <a:gd name="connsiteY455" fmla="*/ 161267 h 395709"/>
                <a:gd name="connsiteX456" fmla="*/ 79800 w 313607"/>
                <a:gd name="connsiteY456" fmla="*/ 154852 h 395709"/>
                <a:gd name="connsiteX457" fmla="*/ 79800 w 313607"/>
                <a:gd name="connsiteY457" fmla="*/ 151645 h 395709"/>
                <a:gd name="connsiteX458" fmla="*/ 84044 w 313607"/>
                <a:gd name="connsiteY458" fmla="*/ 146711 h 395709"/>
                <a:gd name="connsiteX459" fmla="*/ 79800 w 313607"/>
                <a:gd name="connsiteY459" fmla="*/ 135511 h 395709"/>
                <a:gd name="connsiteX460" fmla="*/ 84044 w 313607"/>
                <a:gd name="connsiteY460" fmla="*/ 135511 h 395709"/>
                <a:gd name="connsiteX461" fmla="*/ 92481 w 313607"/>
                <a:gd name="connsiteY461" fmla="*/ 125643 h 395709"/>
                <a:gd name="connsiteX462" fmla="*/ 86116 w 313607"/>
                <a:gd name="connsiteY462" fmla="*/ 135511 h 395709"/>
                <a:gd name="connsiteX463" fmla="*/ 84044 w 313607"/>
                <a:gd name="connsiteY463" fmla="*/ 141925 h 395709"/>
                <a:gd name="connsiteX464" fmla="*/ 86116 w 313607"/>
                <a:gd name="connsiteY464" fmla="*/ 143504 h 395709"/>
                <a:gd name="connsiteX465" fmla="*/ 88237 w 313607"/>
                <a:gd name="connsiteY465" fmla="*/ 138570 h 395709"/>
                <a:gd name="connsiteX466" fmla="*/ 92481 w 313607"/>
                <a:gd name="connsiteY466" fmla="*/ 135363 h 395709"/>
                <a:gd name="connsiteX467" fmla="*/ 94553 w 313607"/>
                <a:gd name="connsiteY467" fmla="*/ 141777 h 395709"/>
                <a:gd name="connsiteX468" fmla="*/ 98796 w 313607"/>
                <a:gd name="connsiteY468" fmla="*/ 135363 h 395709"/>
                <a:gd name="connsiteX469" fmla="*/ 96675 w 313607"/>
                <a:gd name="connsiteY469" fmla="*/ 130429 h 395709"/>
                <a:gd name="connsiteX470" fmla="*/ 100869 w 313607"/>
                <a:gd name="connsiteY470" fmla="*/ 128850 h 395709"/>
                <a:gd name="connsiteX471" fmla="*/ 98796 w 313607"/>
                <a:gd name="connsiteY471" fmla="*/ 135264 h 395709"/>
                <a:gd name="connsiteX472" fmla="*/ 107185 w 313607"/>
                <a:gd name="connsiteY472" fmla="*/ 140198 h 395709"/>
                <a:gd name="connsiteX473" fmla="*/ 100869 w 313607"/>
                <a:gd name="connsiteY473" fmla="*/ 138620 h 395709"/>
                <a:gd name="connsiteX474" fmla="*/ 96675 w 313607"/>
                <a:gd name="connsiteY474" fmla="*/ 146613 h 395709"/>
                <a:gd name="connsiteX475" fmla="*/ 98796 w 313607"/>
                <a:gd name="connsiteY475" fmla="*/ 153027 h 395709"/>
                <a:gd name="connsiteX476" fmla="*/ 102941 w 313607"/>
                <a:gd name="connsiteY476" fmla="*/ 153027 h 395709"/>
                <a:gd name="connsiteX477" fmla="*/ 105112 w 313607"/>
                <a:gd name="connsiteY477" fmla="*/ 159441 h 395709"/>
                <a:gd name="connsiteX478" fmla="*/ 98796 w 313607"/>
                <a:gd name="connsiteY478" fmla="*/ 164375 h 395709"/>
                <a:gd name="connsiteX479" fmla="*/ 94553 w 313607"/>
                <a:gd name="connsiteY479" fmla="*/ 177204 h 395709"/>
                <a:gd name="connsiteX480" fmla="*/ 94553 w 313607"/>
                <a:gd name="connsiteY480" fmla="*/ 183568 h 395709"/>
                <a:gd name="connsiteX481" fmla="*/ 90359 w 313607"/>
                <a:gd name="connsiteY481" fmla="*/ 180361 h 395709"/>
                <a:gd name="connsiteX482" fmla="*/ 90359 w 313607"/>
                <a:gd name="connsiteY482" fmla="*/ 186776 h 395709"/>
                <a:gd name="connsiteX483" fmla="*/ 96675 w 313607"/>
                <a:gd name="connsiteY483" fmla="*/ 194818 h 395709"/>
                <a:gd name="connsiteX484" fmla="*/ 94553 w 313607"/>
                <a:gd name="connsiteY484" fmla="*/ 186776 h 395709"/>
                <a:gd name="connsiteX485" fmla="*/ 100869 w 313607"/>
                <a:gd name="connsiteY485" fmla="*/ 186776 h 395709"/>
                <a:gd name="connsiteX486" fmla="*/ 113500 w 313607"/>
                <a:gd name="connsiteY486" fmla="*/ 193190 h 395709"/>
                <a:gd name="connsiteX487" fmla="*/ 113500 w 313607"/>
                <a:gd name="connsiteY487" fmla="*/ 188256 h 395709"/>
                <a:gd name="connsiteX488" fmla="*/ 107185 w 313607"/>
                <a:gd name="connsiteY488" fmla="*/ 183322 h 395709"/>
                <a:gd name="connsiteX489" fmla="*/ 111378 w 313607"/>
                <a:gd name="connsiteY489" fmla="*/ 183322 h 395709"/>
                <a:gd name="connsiteX490" fmla="*/ 121937 w 313607"/>
                <a:gd name="connsiteY490" fmla="*/ 188256 h 395709"/>
                <a:gd name="connsiteX491" fmla="*/ 128203 w 313607"/>
                <a:gd name="connsiteY491" fmla="*/ 188256 h 395709"/>
                <a:gd name="connsiteX492" fmla="*/ 128203 w 313607"/>
                <a:gd name="connsiteY492" fmla="*/ 185049 h 395709"/>
                <a:gd name="connsiteX493" fmla="*/ 134667 w 313607"/>
                <a:gd name="connsiteY493" fmla="*/ 185049 h 395709"/>
                <a:gd name="connsiteX494" fmla="*/ 136789 w 313607"/>
                <a:gd name="connsiteY494" fmla="*/ 180115 h 395709"/>
                <a:gd name="connsiteX495" fmla="*/ 155735 w 313607"/>
                <a:gd name="connsiteY495" fmla="*/ 180115 h 395709"/>
                <a:gd name="connsiteX496" fmla="*/ 143104 w 313607"/>
                <a:gd name="connsiteY496" fmla="*/ 183322 h 395709"/>
                <a:gd name="connsiteX497" fmla="*/ 136789 w 313607"/>
                <a:gd name="connsiteY497" fmla="*/ 200936 h 395709"/>
                <a:gd name="connsiteX498" fmla="*/ 145226 w 313607"/>
                <a:gd name="connsiteY498" fmla="*/ 213814 h 395709"/>
                <a:gd name="connsiteX499" fmla="*/ 149420 w 313607"/>
                <a:gd name="connsiteY499" fmla="*/ 212186 h 395709"/>
                <a:gd name="connsiteX500" fmla="*/ 149420 w 313607"/>
                <a:gd name="connsiteY500" fmla="*/ 218551 h 395709"/>
                <a:gd name="connsiteX501" fmla="*/ 155735 w 313607"/>
                <a:gd name="connsiteY501" fmla="*/ 213617 h 395709"/>
                <a:gd name="connsiteX502" fmla="*/ 162051 w 313607"/>
                <a:gd name="connsiteY502" fmla="*/ 213617 h 395709"/>
                <a:gd name="connsiteX503" fmla="*/ 159929 w 313607"/>
                <a:gd name="connsiteY503" fmla="*/ 221561 h 395709"/>
                <a:gd name="connsiteX504" fmla="*/ 162051 w 313607"/>
                <a:gd name="connsiteY504" fmla="*/ 223189 h 395709"/>
                <a:gd name="connsiteX505" fmla="*/ 155735 w 313607"/>
                <a:gd name="connsiteY505" fmla="*/ 228123 h 395709"/>
                <a:gd name="connsiteX506" fmla="*/ 157807 w 313607"/>
                <a:gd name="connsiteY506" fmla="*/ 236165 h 395709"/>
                <a:gd name="connsiteX507" fmla="*/ 153613 w 313607"/>
                <a:gd name="connsiteY507" fmla="*/ 242530 h 395709"/>
                <a:gd name="connsiteX508" fmla="*/ 157807 w 313607"/>
                <a:gd name="connsiteY508" fmla="*/ 247464 h 395709"/>
                <a:gd name="connsiteX509" fmla="*/ 162051 w 313607"/>
                <a:gd name="connsiteY509" fmla="*/ 250671 h 395709"/>
                <a:gd name="connsiteX510" fmla="*/ 166245 w 313607"/>
                <a:gd name="connsiteY510" fmla="*/ 250671 h 395709"/>
                <a:gd name="connsiteX511" fmla="*/ 164123 w 313607"/>
                <a:gd name="connsiteY511" fmla="*/ 252300 h 395709"/>
                <a:gd name="connsiteX512" fmla="*/ 159929 w 313607"/>
                <a:gd name="connsiteY512" fmla="*/ 252300 h 395709"/>
                <a:gd name="connsiteX513" fmla="*/ 155735 w 313607"/>
                <a:gd name="connsiteY513" fmla="*/ 247366 h 395709"/>
                <a:gd name="connsiteX514" fmla="*/ 151492 w 313607"/>
                <a:gd name="connsiteY514" fmla="*/ 248994 h 395709"/>
                <a:gd name="connsiteX515" fmla="*/ 153613 w 313607"/>
                <a:gd name="connsiteY515" fmla="*/ 253928 h 395709"/>
                <a:gd name="connsiteX516" fmla="*/ 157807 w 313607"/>
                <a:gd name="connsiteY516" fmla="*/ 255507 h 395709"/>
                <a:gd name="connsiteX517" fmla="*/ 153613 w 313607"/>
                <a:gd name="connsiteY517" fmla="*/ 255507 h 395709"/>
                <a:gd name="connsiteX518" fmla="*/ 147298 w 313607"/>
                <a:gd name="connsiteY518" fmla="*/ 250573 h 395709"/>
                <a:gd name="connsiteX519" fmla="*/ 136789 w 313607"/>
                <a:gd name="connsiteY519" fmla="*/ 253780 h 395709"/>
                <a:gd name="connsiteX520" fmla="*/ 130473 w 313607"/>
                <a:gd name="connsiteY520" fmla="*/ 253780 h 395709"/>
                <a:gd name="connsiteX521" fmla="*/ 119964 w 313607"/>
                <a:gd name="connsiteY521" fmla="*/ 258714 h 395709"/>
                <a:gd name="connsiteX522" fmla="*/ 113648 w 313607"/>
                <a:gd name="connsiteY522" fmla="*/ 266756 h 395709"/>
                <a:gd name="connsiteX523" fmla="*/ 105260 w 313607"/>
                <a:gd name="connsiteY523" fmla="*/ 269963 h 395709"/>
                <a:gd name="connsiteX524" fmla="*/ 101017 w 313607"/>
                <a:gd name="connsiteY524" fmla="*/ 274898 h 395709"/>
                <a:gd name="connsiteX525" fmla="*/ 109454 w 313607"/>
                <a:gd name="connsiteY525" fmla="*/ 274898 h 395709"/>
                <a:gd name="connsiteX526" fmla="*/ 109454 w 313607"/>
                <a:gd name="connsiteY526" fmla="*/ 273368 h 395709"/>
                <a:gd name="connsiteX527" fmla="*/ 122085 w 313607"/>
                <a:gd name="connsiteY527" fmla="*/ 270161 h 395709"/>
                <a:gd name="connsiteX528" fmla="*/ 119964 w 313607"/>
                <a:gd name="connsiteY528" fmla="*/ 275095 h 395709"/>
                <a:gd name="connsiteX529" fmla="*/ 124157 w 313607"/>
                <a:gd name="connsiteY529" fmla="*/ 280029 h 395709"/>
                <a:gd name="connsiteX530" fmla="*/ 119964 w 313607"/>
                <a:gd name="connsiteY530" fmla="*/ 281608 h 395709"/>
                <a:gd name="connsiteX531" fmla="*/ 124157 w 313607"/>
                <a:gd name="connsiteY531" fmla="*/ 286542 h 395709"/>
                <a:gd name="connsiteX532" fmla="*/ 126279 w 313607"/>
                <a:gd name="connsiteY532" fmla="*/ 286542 h 395709"/>
                <a:gd name="connsiteX533" fmla="*/ 117842 w 313607"/>
                <a:gd name="connsiteY533" fmla="*/ 299321 h 395709"/>
                <a:gd name="connsiteX534" fmla="*/ 111527 w 313607"/>
                <a:gd name="connsiteY534" fmla="*/ 300949 h 395709"/>
                <a:gd name="connsiteX535" fmla="*/ 107332 w 313607"/>
                <a:gd name="connsiteY535" fmla="*/ 305883 h 395709"/>
                <a:gd name="connsiteX536" fmla="*/ 103089 w 313607"/>
                <a:gd name="connsiteY536" fmla="*/ 305883 h 395709"/>
                <a:gd name="connsiteX537" fmla="*/ 96823 w 313607"/>
                <a:gd name="connsiteY537" fmla="*/ 309090 h 395709"/>
                <a:gd name="connsiteX538" fmla="*/ 90261 w 313607"/>
                <a:gd name="connsiteY538" fmla="*/ 309090 h 395709"/>
                <a:gd name="connsiteX539" fmla="*/ 81873 w 313607"/>
                <a:gd name="connsiteY539" fmla="*/ 314024 h 395709"/>
                <a:gd name="connsiteX540" fmla="*/ 88139 w 313607"/>
                <a:gd name="connsiteY540" fmla="*/ 315653 h 395709"/>
                <a:gd name="connsiteX541" fmla="*/ 88139 w 313607"/>
                <a:gd name="connsiteY541" fmla="*/ 318860 h 395709"/>
                <a:gd name="connsiteX542" fmla="*/ 83945 w 313607"/>
                <a:gd name="connsiteY542" fmla="*/ 322067 h 395709"/>
                <a:gd name="connsiteX543" fmla="*/ 92383 w 313607"/>
                <a:gd name="connsiteY543" fmla="*/ 322067 h 395709"/>
                <a:gd name="connsiteX544" fmla="*/ 90261 w 313607"/>
                <a:gd name="connsiteY544" fmla="*/ 323695 h 395709"/>
                <a:gd name="connsiteX545" fmla="*/ 94454 w 313607"/>
                <a:gd name="connsiteY545" fmla="*/ 325274 h 395709"/>
                <a:gd name="connsiteX546" fmla="*/ 98698 w 313607"/>
                <a:gd name="connsiteY546" fmla="*/ 325274 h 395709"/>
                <a:gd name="connsiteX547" fmla="*/ 105013 w 313607"/>
                <a:gd name="connsiteY547" fmla="*/ 322067 h 395709"/>
                <a:gd name="connsiteX548" fmla="*/ 113401 w 313607"/>
                <a:gd name="connsiteY548" fmla="*/ 318860 h 395709"/>
                <a:gd name="connsiteX549" fmla="*/ 115523 w 313607"/>
                <a:gd name="connsiteY549" fmla="*/ 323794 h 395709"/>
                <a:gd name="connsiteX550" fmla="*/ 121839 w 313607"/>
                <a:gd name="connsiteY550" fmla="*/ 323794 h 395709"/>
                <a:gd name="connsiteX551" fmla="*/ 117595 w 313607"/>
                <a:gd name="connsiteY551" fmla="*/ 325373 h 395709"/>
                <a:gd name="connsiteX552" fmla="*/ 115523 w 313607"/>
                <a:gd name="connsiteY552" fmla="*/ 328580 h 395709"/>
                <a:gd name="connsiteX553" fmla="*/ 126032 w 313607"/>
                <a:gd name="connsiteY553" fmla="*/ 328580 h 395709"/>
                <a:gd name="connsiteX554" fmla="*/ 126032 w 313607"/>
                <a:gd name="connsiteY554" fmla="*/ 327001 h 395709"/>
                <a:gd name="connsiteX555" fmla="*/ 130226 w 313607"/>
                <a:gd name="connsiteY555" fmla="*/ 327001 h 395709"/>
                <a:gd name="connsiteX556" fmla="*/ 136542 w 313607"/>
                <a:gd name="connsiteY556" fmla="*/ 331935 h 395709"/>
                <a:gd name="connsiteX557" fmla="*/ 140736 w 313607"/>
                <a:gd name="connsiteY557" fmla="*/ 336869 h 395709"/>
                <a:gd name="connsiteX558" fmla="*/ 153367 w 313607"/>
                <a:gd name="connsiteY558" fmla="*/ 336869 h 395709"/>
                <a:gd name="connsiteX559" fmla="*/ 155488 w 313607"/>
                <a:gd name="connsiteY559" fmla="*/ 331935 h 395709"/>
                <a:gd name="connsiteX560" fmla="*/ 161804 w 313607"/>
                <a:gd name="connsiteY560" fmla="*/ 330405 h 395709"/>
                <a:gd name="connsiteX561" fmla="*/ 168120 w 313607"/>
                <a:gd name="connsiteY561" fmla="*/ 327198 h 395709"/>
                <a:gd name="connsiteX562" fmla="*/ 172314 w 313607"/>
                <a:gd name="connsiteY562" fmla="*/ 323991 h 395709"/>
                <a:gd name="connsiteX563" fmla="*/ 178629 w 313607"/>
                <a:gd name="connsiteY563" fmla="*/ 322363 h 395709"/>
                <a:gd name="connsiteX564" fmla="*/ 170192 w 313607"/>
                <a:gd name="connsiteY564" fmla="*/ 330405 h 395709"/>
                <a:gd name="connsiteX565" fmla="*/ 159682 w 313607"/>
                <a:gd name="connsiteY565" fmla="*/ 336770 h 395709"/>
                <a:gd name="connsiteX566" fmla="*/ 159682 w 313607"/>
                <a:gd name="connsiteY566" fmla="*/ 344813 h 395709"/>
                <a:gd name="connsiteX567" fmla="*/ 153367 w 313607"/>
                <a:gd name="connsiteY567" fmla="*/ 344813 h 395709"/>
                <a:gd name="connsiteX568" fmla="*/ 149173 w 313607"/>
                <a:gd name="connsiteY568" fmla="*/ 346392 h 395709"/>
                <a:gd name="connsiteX569" fmla="*/ 144979 w 313607"/>
                <a:gd name="connsiteY569" fmla="*/ 344813 h 395709"/>
                <a:gd name="connsiteX570" fmla="*/ 128105 w 313607"/>
                <a:gd name="connsiteY570" fmla="*/ 343185 h 395709"/>
                <a:gd name="connsiteX571" fmla="*/ 117595 w 313607"/>
                <a:gd name="connsiteY571" fmla="*/ 344813 h 395709"/>
                <a:gd name="connsiteX572" fmla="*/ 117595 w 313607"/>
                <a:gd name="connsiteY572" fmla="*/ 349747 h 395709"/>
                <a:gd name="connsiteX573" fmla="*/ 113401 w 313607"/>
                <a:gd name="connsiteY573" fmla="*/ 352905 h 395709"/>
                <a:gd name="connsiteX574" fmla="*/ 107086 w 313607"/>
                <a:gd name="connsiteY574" fmla="*/ 352905 h 395709"/>
                <a:gd name="connsiteX575" fmla="*/ 107086 w 313607"/>
                <a:gd name="connsiteY575" fmla="*/ 364154 h 395709"/>
                <a:gd name="connsiteX576" fmla="*/ 100770 w 313607"/>
                <a:gd name="connsiteY576" fmla="*/ 369088 h 395709"/>
                <a:gd name="connsiteX577" fmla="*/ 98698 w 313607"/>
                <a:gd name="connsiteY577" fmla="*/ 372246 h 395709"/>
                <a:gd name="connsiteX578" fmla="*/ 92383 w 313607"/>
                <a:gd name="connsiteY578" fmla="*/ 372246 h 395709"/>
                <a:gd name="connsiteX579" fmla="*/ 90261 w 313607"/>
                <a:gd name="connsiteY579" fmla="*/ 378660 h 395709"/>
                <a:gd name="connsiteX580" fmla="*/ 88139 w 313607"/>
                <a:gd name="connsiteY580" fmla="*/ 378660 h 395709"/>
                <a:gd name="connsiteX581" fmla="*/ 86017 w 313607"/>
                <a:gd name="connsiteY581" fmla="*/ 381867 h 395709"/>
                <a:gd name="connsiteX582" fmla="*/ 77629 w 313607"/>
                <a:gd name="connsiteY582" fmla="*/ 386801 h 395709"/>
                <a:gd name="connsiteX583" fmla="*/ 73435 w 313607"/>
                <a:gd name="connsiteY583" fmla="*/ 386801 h 395709"/>
                <a:gd name="connsiteX584" fmla="*/ 67120 w 313607"/>
                <a:gd name="connsiteY584" fmla="*/ 389959 h 395709"/>
                <a:gd name="connsiteX585" fmla="*/ 67120 w 313607"/>
                <a:gd name="connsiteY585" fmla="*/ 394893 h 395709"/>
                <a:gd name="connsiteX586" fmla="*/ 73435 w 313607"/>
                <a:gd name="connsiteY586" fmla="*/ 394893 h 395709"/>
                <a:gd name="connsiteX587" fmla="*/ 73435 w 313607"/>
                <a:gd name="connsiteY587" fmla="*/ 389959 h 395709"/>
                <a:gd name="connsiteX588" fmla="*/ 81873 w 313607"/>
                <a:gd name="connsiteY588" fmla="*/ 393166 h 39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</a:cxnLst>
              <a:rect l="l" t="t" r="r" b="b"/>
              <a:pathLst>
                <a:path w="313607" h="395709">
                  <a:moveTo>
                    <a:pt x="56808" y="222695"/>
                  </a:moveTo>
                  <a:lnTo>
                    <a:pt x="48371" y="217761"/>
                  </a:lnTo>
                  <a:lnTo>
                    <a:pt x="44177" y="216232"/>
                  </a:lnTo>
                  <a:lnTo>
                    <a:pt x="35739" y="204982"/>
                  </a:lnTo>
                  <a:lnTo>
                    <a:pt x="25230" y="200048"/>
                  </a:lnTo>
                  <a:lnTo>
                    <a:pt x="21036" y="203255"/>
                  </a:lnTo>
                  <a:lnTo>
                    <a:pt x="18915" y="211298"/>
                  </a:lnTo>
                  <a:lnTo>
                    <a:pt x="14720" y="212926"/>
                  </a:lnTo>
                  <a:lnTo>
                    <a:pt x="-82" y="200048"/>
                  </a:lnTo>
                  <a:lnTo>
                    <a:pt x="6234" y="187269"/>
                  </a:lnTo>
                  <a:lnTo>
                    <a:pt x="14671" y="185641"/>
                  </a:lnTo>
                  <a:lnTo>
                    <a:pt x="16743" y="180707"/>
                  </a:lnTo>
                  <a:lnTo>
                    <a:pt x="20987" y="179079"/>
                  </a:lnTo>
                  <a:lnTo>
                    <a:pt x="25181" y="175921"/>
                  </a:lnTo>
                  <a:lnTo>
                    <a:pt x="31496" y="174292"/>
                  </a:lnTo>
                  <a:lnTo>
                    <a:pt x="33618" y="172714"/>
                  </a:lnTo>
                  <a:lnTo>
                    <a:pt x="37812" y="171085"/>
                  </a:lnTo>
                  <a:lnTo>
                    <a:pt x="44128" y="167878"/>
                  </a:lnTo>
                  <a:lnTo>
                    <a:pt x="56758" y="169506"/>
                  </a:lnTo>
                  <a:lnTo>
                    <a:pt x="60953" y="171085"/>
                  </a:lnTo>
                  <a:lnTo>
                    <a:pt x="60953" y="177500"/>
                  </a:lnTo>
                  <a:lnTo>
                    <a:pt x="73584" y="190328"/>
                  </a:lnTo>
                  <a:lnTo>
                    <a:pt x="67268" y="193535"/>
                  </a:lnTo>
                  <a:lnTo>
                    <a:pt x="77777" y="193535"/>
                  </a:lnTo>
                  <a:lnTo>
                    <a:pt x="79850" y="206314"/>
                  </a:lnTo>
                  <a:lnTo>
                    <a:pt x="75705" y="196742"/>
                  </a:lnTo>
                  <a:lnTo>
                    <a:pt x="71462" y="196742"/>
                  </a:lnTo>
                  <a:lnTo>
                    <a:pt x="73584" y="199900"/>
                  </a:lnTo>
                  <a:lnTo>
                    <a:pt x="71462" y="204834"/>
                  </a:lnTo>
                  <a:lnTo>
                    <a:pt x="75705" y="206413"/>
                  </a:lnTo>
                  <a:lnTo>
                    <a:pt x="75705" y="211347"/>
                  </a:lnTo>
                  <a:lnTo>
                    <a:pt x="67268" y="209719"/>
                  </a:lnTo>
                  <a:lnTo>
                    <a:pt x="65147" y="214653"/>
                  </a:lnTo>
                  <a:lnTo>
                    <a:pt x="60953" y="217811"/>
                  </a:lnTo>
                  <a:lnTo>
                    <a:pt x="56758" y="217811"/>
                  </a:lnTo>
                  <a:lnTo>
                    <a:pt x="56758" y="222745"/>
                  </a:lnTo>
                  <a:close/>
                  <a:moveTo>
                    <a:pt x="281898" y="329961"/>
                  </a:moveTo>
                  <a:lnTo>
                    <a:pt x="286092" y="331590"/>
                  </a:lnTo>
                  <a:lnTo>
                    <a:pt x="290336" y="329961"/>
                  </a:lnTo>
                  <a:lnTo>
                    <a:pt x="288214" y="328432"/>
                  </a:lnTo>
                  <a:lnTo>
                    <a:pt x="286092" y="328432"/>
                  </a:lnTo>
                  <a:close/>
                  <a:moveTo>
                    <a:pt x="208283" y="365240"/>
                  </a:moveTo>
                  <a:lnTo>
                    <a:pt x="216720" y="360306"/>
                  </a:lnTo>
                  <a:lnTo>
                    <a:pt x="220864" y="361885"/>
                  </a:lnTo>
                  <a:lnTo>
                    <a:pt x="225108" y="361885"/>
                  </a:lnTo>
                  <a:lnTo>
                    <a:pt x="222986" y="365092"/>
                  </a:lnTo>
                  <a:lnTo>
                    <a:pt x="222986" y="368299"/>
                  </a:lnTo>
                  <a:lnTo>
                    <a:pt x="216720" y="368299"/>
                  </a:lnTo>
                  <a:lnTo>
                    <a:pt x="212477" y="365092"/>
                  </a:lnTo>
                  <a:close/>
                  <a:moveTo>
                    <a:pt x="90261" y="141037"/>
                  </a:moveTo>
                  <a:lnTo>
                    <a:pt x="90261" y="145971"/>
                  </a:lnTo>
                  <a:lnTo>
                    <a:pt x="94454" y="147550"/>
                  </a:lnTo>
                  <a:lnTo>
                    <a:pt x="92383" y="144343"/>
                  </a:lnTo>
                  <a:close/>
                  <a:moveTo>
                    <a:pt x="56611" y="136103"/>
                  </a:moveTo>
                  <a:lnTo>
                    <a:pt x="58732" y="129689"/>
                  </a:lnTo>
                  <a:lnTo>
                    <a:pt x="58732" y="132896"/>
                  </a:lnTo>
                  <a:close/>
                  <a:moveTo>
                    <a:pt x="35542" y="116910"/>
                  </a:moveTo>
                  <a:lnTo>
                    <a:pt x="35542" y="111976"/>
                  </a:lnTo>
                  <a:lnTo>
                    <a:pt x="41907" y="113604"/>
                  </a:lnTo>
                  <a:close/>
                  <a:moveTo>
                    <a:pt x="43979" y="110495"/>
                  </a:moveTo>
                  <a:lnTo>
                    <a:pt x="50295" y="104081"/>
                  </a:lnTo>
                  <a:lnTo>
                    <a:pt x="50295" y="109015"/>
                  </a:lnTo>
                  <a:close/>
                  <a:moveTo>
                    <a:pt x="58781" y="99295"/>
                  </a:moveTo>
                  <a:lnTo>
                    <a:pt x="62926" y="96088"/>
                  </a:lnTo>
                  <a:lnTo>
                    <a:pt x="58781" y="96088"/>
                  </a:lnTo>
                  <a:close/>
                  <a:moveTo>
                    <a:pt x="52416" y="91253"/>
                  </a:moveTo>
                  <a:lnTo>
                    <a:pt x="54538" y="96187"/>
                  </a:lnTo>
                  <a:lnTo>
                    <a:pt x="58781" y="92980"/>
                  </a:lnTo>
                  <a:lnTo>
                    <a:pt x="56660" y="89773"/>
                  </a:lnTo>
                  <a:close/>
                  <a:moveTo>
                    <a:pt x="147101" y="-27"/>
                  </a:moveTo>
                  <a:lnTo>
                    <a:pt x="149222" y="1601"/>
                  </a:lnTo>
                  <a:lnTo>
                    <a:pt x="151295" y="-27"/>
                  </a:lnTo>
                  <a:close/>
                  <a:moveTo>
                    <a:pt x="140785" y="1601"/>
                  </a:moveTo>
                  <a:lnTo>
                    <a:pt x="145028" y="1601"/>
                  </a:lnTo>
                  <a:lnTo>
                    <a:pt x="149222" y="4809"/>
                  </a:lnTo>
                  <a:lnTo>
                    <a:pt x="147101" y="8016"/>
                  </a:lnTo>
                  <a:lnTo>
                    <a:pt x="155538" y="6387"/>
                  </a:lnTo>
                  <a:lnTo>
                    <a:pt x="155538" y="11321"/>
                  </a:lnTo>
                  <a:lnTo>
                    <a:pt x="151295" y="9743"/>
                  </a:lnTo>
                  <a:lnTo>
                    <a:pt x="145028" y="11321"/>
                  </a:lnTo>
                  <a:lnTo>
                    <a:pt x="142907" y="6387"/>
                  </a:lnTo>
                  <a:lnTo>
                    <a:pt x="142907" y="9595"/>
                  </a:lnTo>
                  <a:lnTo>
                    <a:pt x="140785" y="8016"/>
                  </a:lnTo>
                  <a:close/>
                  <a:moveTo>
                    <a:pt x="138713" y="12802"/>
                  </a:moveTo>
                  <a:lnTo>
                    <a:pt x="142907" y="17736"/>
                  </a:lnTo>
                  <a:lnTo>
                    <a:pt x="145028" y="14529"/>
                  </a:lnTo>
                  <a:lnTo>
                    <a:pt x="142907" y="11321"/>
                  </a:lnTo>
                  <a:close/>
                  <a:moveTo>
                    <a:pt x="35592" y="49609"/>
                  </a:moveTo>
                  <a:lnTo>
                    <a:pt x="37713" y="46452"/>
                  </a:lnTo>
                  <a:lnTo>
                    <a:pt x="33519" y="43245"/>
                  </a:lnTo>
                  <a:lnTo>
                    <a:pt x="37713" y="40037"/>
                  </a:lnTo>
                  <a:lnTo>
                    <a:pt x="46101" y="41616"/>
                  </a:lnTo>
                  <a:lnTo>
                    <a:pt x="44029" y="36682"/>
                  </a:lnTo>
                  <a:lnTo>
                    <a:pt x="60854" y="27061"/>
                  </a:lnTo>
                  <a:lnTo>
                    <a:pt x="60854" y="35054"/>
                  </a:lnTo>
                  <a:lnTo>
                    <a:pt x="54538" y="39988"/>
                  </a:lnTo>
                  <a:lnTo>
                    <a:pt x="52416" y="44922"/>
                  </a:lnTo>
                  <a:lnTo>
                    <a:pt x="56660" y="46550"/>
                  </a:lnTo>
                  <a:lnTo>
                    <a:pt x="50344" y="51484"/>
                  </a:lnTo>
                  <a:lnTo>
                    <a:pt x="37713" y="51484"/>
                  </a:lnTo>
                  <a:close/>
                  <a:moveTo>
                    <a:pt x="35592" y="57652"/>
                  </a:moveTo>
                  <a:lnTo>
                    <a:pt x="39786" y="60859"/>
                  </a:lnTo>
                  <a:lnTo>
                    <a:pt x="48223" y="54445"/>
                  </a:lnTo>
                  <a:lnTo>
                    <a:pt x="41956" y="52817"/>
                  </a:lnTo>
                  <a:lnTo>
                    <a:pt x="37713" y="54445"/>
                  </a:lnTo>
                  <a:lnTo>
                    <a:pt x="37713" y="56024"/>
                  </a:lnTo>
                  <a:close/>
                  <a:moveTo>
                    <a:pt x="33519" y="67224"/>
                  </a:moveTo>
                  <a:lnTo>
                    <a:pt x="27204" y="68852"/>
                  </a:lnTo>
                  <a:lnTo>
                    <a:pt x="20888" y="63918"/>
                  </a:lnTo>
                  <a:lnTo>
                    <a:pt x="25082" y="62290"/>
                  </a:lnTo>
                  <a:lnTo>
                    <a:pt x="33519" y="63918"/>
                  </a:lnTo>
                  <a:close/>
                  <a:moveTo>
                    <a:pt x="29276" y="73638"/>
                  </a:moveTo>
                  <a:lnTo>
                    <a:pt x="25082" y="73638"/>
                  </a:lnTo>
                  <a:lnTo>
                    <a:pt x="25082" y="70431"/>
                  </a:lnTo>
                  <a:lnTo>
                    <a:pt x="31397" y="70431"/>
                  </a:lnTo>
                  <a:close/>
                  <a:moveTo>
                    <a:pt x="22960" y="89674"/>
                  </a:moveTo>
                  <a:lnTo>
                    <a:pt x="25082" y="92881"/>
                  </a:lnTo>
                  <a:lnTo>
                    <a:pt x="20888" y="96088"/>
                  </a:lnTo>
                  <a:lnTo>
                    <a:pt x="20888" y="92782"/>
                  </a:lnTo>
                  <a:close/>
                  <a:moveTo>
                    <a:pt x="29276" y="88046"/>
                  </a:moveTo>
                  <a:lnTo>
                    <a:pt x="27204" y="81681"/>
                  </a:lnTo>
                  <a:lnTo>
                    <a:pt x="29276" y="80053"/>
                  </a:lnTo>
                  <a:lnTo>
                    <a:pt x="29276" y="75119"/>
                  </a:lnTo>
                  <a:lnTo>
                    <a:pt x="25082" y="75119"/>
                  </a:lnTo>
                  <a:lnTo>
                    <a:pt x="25082" y="78326"/>
                  </a:lnTo>
                  <a:lnTo>
                    <a:pt x="22960" y="81533"/>
                  </a:lnTo>
                  <a:lnTo>
                    <a:pt x="25082" y="86467"/>
                  </a:lnTo>
                  <a:close/>
                  <a:moveTo>
                    <a:pt x="65048" y="91253"/>
                  </a:moveTo>
                  <a:lnTo>
                    <a:pt x="65048" y="84839"/>
                  </a:lnTo>
                  <a:lnTo>
                    <a:pt x="56660" y="86467"/>
                  </a:lnTo>
                  <a:lnTo>
                    <a:pt x="50344" y="78474"/>
                  </a:lnTo>
                  <a:lnTo>
                    <a:pt x="52416" y="76845"/>
                  </a:lnTo>
                  <a:lnTo>
                    <a:pt x="50344" y="75267"/>
                  </a:lnTo>
                  <a:lnTo>
                    <a:pt x="50344" y="76845"/>
                  </a:lnTo>
                  <a:lnTo>
                    <a:pt x="41956" y="73638"/>
                  </a:lnTo>
                  <a:lnTo>
                    <a:pt x="46101" y="70431"/>
                  </a:lnTo>
                  <a:lnTo>
                    <a:pt x="48223" y="72059"/>
                  </a:lnTo>
                  <a:lnTo>
                    <a:pt x="48223" y="67125"/>
                  </a:lnTo>
                  <a:lnTo>
                    <a:pt x="54538" y="72059"/>
                  </a:lnTo>
                  <a:lnTo>
                    <a:pt x="54538" y="64165"/>
                  </a:lnTo>
                  <a:lnTo>
                    <a:pt x="58781" y="62537"/>
                  </a:lnTo>
                  <a:lnTo>
                    <a:pt x="60854" y="68951"/>
                  </a:lnTo>
                  <a:lnTo>
                    <a:pt x="60854" y="78572"/>
                  </a:lnTo>
                  <a:lnTo>
                    <a:pt x="69242" y="81779"/>
                  </a:lnTo>
                  <a:lnTo>
                    <a:pt x="73485" y="81779"/>
                  </a:lnTo>
                  <a:lnTo>
                    <a:pt x="75607" y="83358"/>
                  </a:lnTo>
                  <a:lnTo>
                    <a:pt x="69242" y="84937"/>
                  </a:lnTo>
                  <a:lnTo>
                    <a:pt x="67169" y="91351"/>
                  </a:lnTo>
                  <a:close/>
                  <a:moveTo>
                    <a:pt x="54538" y="123275"/>
                  </a:moveTo>
                  <a:lnTo>
                    <a:pt x="67169" y="121696"/>
                  </a:lnTo>
                  <a:lnTo>
                    <a:pt x="67169" y="123275"/>
                  </a:lnTo>
                  <a:lnTo>
                    <a:pt x="73485" y="118341"/>
                  </a:lnTo>
                  <a:lnTo>
                    <a:pt x="71363" y="113407"/>
                  </a:lnTo>
                  <a:lnTo>
                    <a:pt x="67169" y="113407"/>
                  </a:lnTo>
                  <a:lnTo>
                    <a:pt x="60854" y="106992"/>
                  </a:lnTo>
                  <a:lnTo>
                    <a:pt x="54538" y="111926"/>
                  </a:lnTo>
                  <a:lnTo>
                    <a:pt x="62926" y="115133"/>
                  </a:lnTo>
                  <a:lnTo>
                    <a:pt x="58781" y="118341"/>
                  </a:lnTo>
                  <a:lnTo>
                    <a:pt x="60854" y="119969"/>
                  </a:lnTo>
                  <a:close/>
                  <a:moveTo>
                    <a:pt x="65048" y="145725"/>
                  </a:moveTo>
                  <a:lnTo>
                    <a:pt x="60854" y="139310"/>
                  </a:lnTo>
                  <a:lnTo>
                    <a:pt x="73485" y="129689"/>
                  </a:lnTo>
                  <a:lnTo>
                    <a:pt x="69242" y="140939"/>
                  </a:lnTo>
                  <a:close/>
                  <a:moveTo>
                    <a:pt x="54538" y="152139"/>
                  </a:moveTo>
                  <a:lnTo>
                    <a:pt x="62926" y="148932"/>
                  </a:lnTo>
                  <a:lnTo>
                    <a:pt x="58781" y="139310"/>
                  </a:lnTo>
                  <a:lnTo>
                    <a:pt x="48223" y="142517"/>
                  </a:lnTo>
                  <a:lnTo>
                    <a:pt x="48223" y="150511"/>
                  </a:lnTo>
                  <a:lnTo>
                    <a:pt x="56660" y="147303"/>
                  </a:lnTo>
                  <a:close/>
                  <a:moveTo>
                    <a:pt x="81922" y="152139"/>
                  </a:moveTo>
                  <a:lnTo>
                    <a:pt x="83994" y="160132"/>
                  </a:lnTo>
                  <a:lnTo>
                    <a:pt x="90310" y="163339"/>
                  </a:lnTo>
                  <a:lnTo>
                    <a:pt x="92431" y="156925"/>
                  </a:lnTo>
                  <a:lnTo>
                    <a:pt x="88188" y="148932"/>
                  </a:lnTo>
                  <a:close/>
                  <a:moveTo>
                    <a:pt x="105063" y="253138"/>
                  </a:moveTo>
                  <a:lnTo>
                    <a:pt x="115572" y="256296"/>
                  </a:lnTo>
                  <a:lnTo>
                    <a:pt x="123960" y="251362"/>
                  </a:lnTo>
                  <a:lnTo>
                    <a:pt x="117645" y="251362"/>
                  </a:lnTo>
                  <a:lnTo>
                    <a:pt x="115572" y="246428"/>
                  </a:lnTo>
                  <a:lnTo>
                    <a:pt x="107135" y="248056"/>
                  </a:lnTo>
                  <a:close/>
                  <a:moveTo>
                    <a:pt x="98747" y="221067"/>
                  </a:moveTo>
                  <a:lnTo>
                    <a:pt x="100820" y="213123"/>
                  </a:lnTo>
                  <a:lnTo>
                    <a:pt x="113450" y="203255"/>
                  </a:lnTo>
                  <a:lnTo>
                    <a:pt x="111329" y="208189"/>
                  </a:lnTo>
                  <a:lnTo>
                    <a:pt x="113450" y="211397"/>
                  </a:lnTo>
                  <a:lnTo>
                    <a:pt x="105063" y="219390"/>
                  </a:lnTo>
                  <a:close/>
                  <a:moveTo>
                    <a:pt x="83945" y="395683"/>
                  </a:moveTo>
                  <a:lnTo>
                    <a:pt x="88139" y="392476"/>
                  </a:lnTo>
                  <a:lnTo>
                    <a:pt x="88139" y="389268"/>
                  </a:lnTo>
                  <a:lnTo>
                    <a:pt x="90261" y="386061"/>
                  </a:lnTo>
                  <a:lnTo>
                    <a:pt x="92383" y="387640"/>
                  </a:lnTo>
                  <a:lnTo>
                    <a:pt x="96576" y="384482"/>
                  </a:lnTo>
                  <a:lnTo>
                    <a:pt x="100770" y="384482"/>
                  </a:lnTo>
                  <a:lnTo>
                    <a:pt x="102843" y="379548"/>
                  </a:lnTo>
                  <a:lnTo>
                    <a:pt x="109207" y="381177"/>
                  </a:lnTo>
                  <a:lnTo>
                    <a:pt x="113401" y="377969"/>
                  </a:lnTo>
                  <a:lnTo>
                    <a:pt x="117595" y="379548"/>
                  </a:lnTo>
                  <a:lnTo>
                    <a:pt x="121839" y="377969"/>
                  </a:lnTo>
                  <a:lnTo>
                    <a:pt x="123910" y="381177"/>
                  </a:lnTo>
                  <a:lnTo>
                    <a:pt x="128105" y="381177"/>
                  </a:lnTo>
                  <a:lnTo>
                    <a:pt x="132348" y="384384"/>
                  </a:lnTo>
                  <a:lnTo>
                    <a:pt x="138664" y="384384"/>
                  </a:lnTo>
                  <a:lnTo>
                    <a:pt x="136542" y="381177"/>
                  </a:lnTo>
                  <a:lnTo>
                    <a:pt x="142858" y="379548"/>
                  </a:lnTo>
                  <a:lnTo>
                    <a:pt x="142858" y="371555"/>
                  </a:lnTo>
                  <a:lnTo>
                    <a:pt x="147051" y="368348"/>
                  </a:lnTo>
                  <a:lnTo>
                    <a:pt x="149173" y="366769"/>
                  </a:lnTo>
                  <a:lnTo>
                    <a:pt x="151245" y="365141"/>
                  </a:lnTo>
                  <a:lnTo>
                    <a:pt x="163877" y="361934"/>
                  </a:lnTo>
                  <a:lnTo>
                    <a:pt x="170192" y="363562"/>
                  </a:lnTo>
                  <a:lnTo>
                    <a:pt x="178629" y="368496"/>
                  </a:lnTo>
                  <a:lnTo>
                    <a:pt x="180701" y="366917"/>
                  </a:lnTo>
                  <a:lnTo>
                    <a:pt x="189139" y="366917"/>
                  </a:lnTo>
                  <a:lnTo>
                    <a:pt x="193382" y="368496"/>
                  </a:lnTo>
                  <a:lnTo>
                    <a:pt x="197526" y="363562"/>
                  </a:lnTo>
                  <a:lnTo>
                    <a:pt x="203842" y="360355"/>
                  </a:lnTo>
                  <a:lnTo>
                    <a:pt x="210207" y="361934"/>
                  </a:lnTo>
                  <a:lnTo>
                    <a:pt x="216522" y="357000"/>
                  </a:lnTo>
                  <a:lnTo>
                    <a:pt x="222789" y="358579"/>
                  </a:lnTo>
                  <a:lnTo>
                    <a:pt x="224911" y="358579"/>
                  </a:lnTo>
                  <a:lnTo>
                    <a:pt x="229104" y="355372"/>
                  </a:lnTo>
                  <a:lnTo>
                    <a:pt x="231226" y="358579"/>
                  </a:lnTo>
                  <a:lnTo>
                    <a:pt x="235420" y="360207"/>
                  </a:lnTo>
                  <a:lnTo>
                    <a:pt x="239614" y="357000"/>
                  </a:lnTo>
                  <a:lnTo>
                    <a:pt x="252245" y="357000"/>
                  </a:lnTo>
                  <a:lnTo>
                    <a:pt x="258560" y="355372"/>
                  </a:lnTo>
                  <a:lnTo>
                    <a:pt x="266997" y="358579"/>
                  </a:lnTo>
                  <a:lnTo>
                    <a:pt x="271192" y="358579"/>
                  </a:lnTo>
                  <a:lnTo>
                    <a:pt x="275386" y="355372"/>
                  </a:lnTo>
                  <a:lnTo>
                    <a:pt x="281701" y="353793"/>
                  </a:lnTo>
                  <a:lnTo>
                    <a:pt x="285895" y="348859"/>
                  </a:lnTo>
                  <a:lnTo>
                    <a:pt x="290138" y="348859"/>
                  </a:lnTo>
                  <a:lnTo>
                    <a:pt x="294332" y="350438"/>
                  </a:lnTo>
                  <a:lnTo>
                    <a:pt x="292211" y="347280"/>
                  </a:lnTo>
                  <a:lnTo>
                    <a:pt x="300648" y="342346"/>
                  </a:lnTo>
                  <a:lnTo>
                    <a:pt x="306964" y="340718"/>
                  </a:lnTo>
                  <a:lnTo>
                    <a:pt x="306964" y="335784"/>
                  </a:lnTo>
                  <a:lnTo>
                    <a:pt x="304842" y="332527"/>
                  </a:lnTo>
                  <a:lnTo>
                    <a:pt x="306964" y="329320"/>
                  </a:lnTo>
                  <a:lnTo>
                    <a:pt x="298526" y="329320"/>
                  </a:lnTo>
                  <a:lnTo>
                    <a:pt x="290138" y="330948"/>
                  </a:lnTo>
                  <a:lnTo>
                    <a:pt x="288017" y="332527"/>
                  </a:lnTo>
                  <a:lnTo>
                    <a:pt x="281701" y="330948"/>
                  </a:lnTo>
                  <a:lnTo>
                    <a:pt x="279629" y="329320"/>
                  </a:lnTo>
                  <a:lnTo>
                    <a:pt x="281701" y="327790"/>
                  </a:lnTo>
                  <a:lnTo>
                    <a:pt x="281701" y="327790"/>
                  </a:lnTo>
                  <a:lnTo>
                    <a:pt x="283823" y="326162"/>
                  </a:lnTo>
                  <a:lnTo>
                    <a:pt x="277754" y="326162"/>
                  </a:lnTo>
                  <a:lnTo>
                    <a:pt x="273560" y="327790"/>
                  </a:lnTo>
                  <a:lnTo>
                    <a:pt x="279876" y="322856"/>
                  </a:lnTo>
                  <a:lnTo>
                    <a:pt x="284070" y="322856"/>
                  </a:lnTo>
                  <a:lnTo>
                    <a:pt x="290385" y="321277"/>
                  </a:lnTo>
                  <a:lnTo>
                    <a:pt x="288263" y="316343"/>
                  </a:lnTo>
                  <a:lnTo>
                    <a:pt x="281948" y="316343"/>
                  </a:lnTo>
                  <a:lnTo>
                    <a:pt x="286142" y="313136"/>
                  </a:lnTo>
                  <a:lnTo>
                    <a:pt x="290385" y="311508"/>
                  </a:lnTo>
                  <a:lnTo>
                    <a:pt x="292457" y="313136"/>
                  </a:lnTo>
                  <a:lnTo>
                    <a:pt x="298773" y="309978"/>
                  </a:lnTo>
                  <a:lnTo>
                    <a:pt x="300894" y="308350"/>
                  </a:lnTo>
                  <a:lnTo>
                    <a:pt x="298773" y="306771"/>
                  </a:lnTo>
                  <a:lnTo>
                    <a:pt x="298773" y="305143"/>
                  </a:lnTo>
                  <a:lnTo>
                    <a:pt x="294579" y="305143"/>
                  </a:lnTo>
                  <a:lnTo>
                    <a:pt x="296700" y="301936"/>
                  </a:lnTo>
                  <a:lnTo>
                    <a:pt x="298773" y="301936"/>
                  </a:lnTo>
                  <a:lnTo>
                    <a:pt x="300894" y="305143"/>
                  </a:lnTo>
                  <a:lnTo>
                    <a:pt x="305089" y="300209"/>
                  </a:lnTo>
                  <a:lnTo>
                    <a:pt x="309283" y="298581"/>
                  </a:lnTo>
                  <a:lnTo>
                    <a:pt x="309283" y="290144"/>
                  </a:lnTo>
                  <a:lnTo>
                    <a:pt x="313526" y="282101"/>
                  </a:lnTo>
                  <a:lnTo>
                    <a:pt x="311404" y="278894"/>
                  </a:lnTo>
                  <a:lnTo>
                    <a:pt x="309283" y="270901"/>
                  </a:lnTo>
                  <a:lnTo>
                    <a:pt x="296700" y="262858"/>
                  </a:lnTo>
                  <a:lnTo>
                    <a:pt x="269317" y="262858"/>
                  </a:lnTo>
                  <a:lnTo>
                    <a:pt x="269317" y="269322"/>
                  </a:lnTo>
                  <a:lnTo>
                    <a:pt x="265123" y="274256"/>
                  </a:lnTo>
                  <a:lnTo>
                    <a:pt x="260929" y="267891"/>
                  </a:lnTo>
                  <a:lnTo>
                    <a:pt x="254614" y="266312"/>
                  </a:lnTo>
                  <a:lnTo>
                    <a:pt x="265123" y="258270"/>
                  </a:lnTo>
                  <a:lnTo>
                    <a:pt x="265123" y="253336"/>
                  </a:lnTo>
                  <a:lnTo>
                    <a:pt x="256735" y="240507"/>
                  </a:lnTo>
                  <a:lnTo>
                    <a:pt x="252492" y="240507"/>
                  </a:lnTo>
                  <a:lnTo>
                    <a:pt x="246176" y="237300"/>
                  </a:lnTo>
                  <a:lnTo>
                    <a:pt x="241982" y="232366"/>
                  </a:lnTo>
                  <a:lnTo>
                    <a:pt x="237739" y="233994"/>
                  </a:lnTo>
                  <a:lnTo>
                    <a:pt x="235666" y="233994"/>
                  </a:lnTo>
                  <a:lnTo>
                    <a:pt x="231473" y="232366"/>
                  </a:lnTo>
                  <a:lnTo>
                    <a:pt x="237739" y="232366"/>
                  </a:lnTo>
                  <a:lnTo>
                    <a:pt x="241982" y="230787"/>
                  </a:lnTo>
                  <a:lnTo>
                    <a:pt x="246176" y="232366"/>
                  </a:lnTo>
                  <a:lnTo>
                    <a:pt x="248298" y="235573"/>
                  </a:lnTo>
                  <a:lnTo>
                    <a:pt x="252492" y="233994"/>
                  </a:lnTo>
                  <a:lnTo>
                    <a:pt x="256735" y="235573"/>
                  </a:lnTo>
                  <a:lnTo>
                    <a:pt x="246176" y="224324"/>
                  </a:lnTo>
                  <a:lnTo>
                    <a:pt x="241982" y="219390"/>
                  </a:lnTo>
                  <a:lnTo>
                    <a:pt x="244104" y="216232"/>
                  </a:lnTo>
                  <a:lnTo>
                    <a:pt x="248298" y="214604"/>
                  </a:lnTo>
                  <a:lnTo>
                    <a:pt x="241982" y="213025"/>
                  </a:lnTo>
                  <a:lnTo>
                    <a:pt x="239860" y="209768"/>
                  </a:lnTo>
                  <a:lnTo>
                    <a:pt x="237739" y="209768"/>
                  </a:lnTo>
                  <a:lnTo>
                    <a:pt x="233595" y="199900"/>
                  </a:lnTo>
                  <a:lnTo>
                    <a:pt x="223036" y="196742"/>
                  </a:lnTo>
                  <a:lnTo>
                    <a:pt x="212526" y="195114"/>
                  </a:lnTo>
                  <a:lnTo>
                    <a:pt x="210454" y="190180"/>
                  </a:lnTo>
                  <a:lnTo>
                    <a:pt x="208332" y="188552"/>
                  </a:lnTo>
                  <a:lnTo>
                    <a:pt x="204089" y="177352"/>
                  </a:lnTo>
                  <a:lnTo>
                    <a:pt x="199895" y="170937"/>
                  </a:lnTo>
                  <a:lnTo>
                    <a:pt x="197773" y="158158"/>
                  </a:lnTo>
                  <a:lnTo>
                    <a:pt x="193628" y="153224"/>
                  </a:lnTo>
                  <a:lnTo>
                    <a:pt x="189385" y="153224"/>
                  </a:lnTo>
                  <a:lnTo>
                    <a:pt x="180948" y="140445"/>
                  </a:lnTo>
                  <a:lnTo>
                    <a:pt x="174632" y="138817"/>
                  </a:lnTo>
                  <a:lnTo>
                    <a:pt x="168366" y="135610"/>
                  </a:lnTo>
                  <a:lnTo>
                    <a:pt x="162051" y="132403"/>
                  </a:lnTo>
                  <a:lnTo>
                    <a:pt x="157807" y="135610"/>
                  </a:lnTo>
                  <a:lnTo>
                    <a:pt x="151492" y="138817"/>
                  </a:lnTo>
                  <a:lnTo>
                    <a:pt x="143104" y="135610"/>
                  </a:lnTo>
                  <a:lnTo>
                    <a:pt x="138910" y="137238"/>
                  </a:lnTo>
                  <a:lnTo>
                    <a:pt x="132594" y="135610"/>
                  </a:lnTo>
                  <a:lnTo>
                    <a:pt x="130473" y="132403"/>
                  </a:lnTo>
                  <a:lnTo>
                    <a:pt x="134667" y="134031"/>
                  </a:lnTo>
                  <a:lnTo>
                    <a:pt x="143104" y="134031"/>
                  </a:lnTo>
                  <a:lnTo>
                    <a:pt x="149420" y="132403"/>
                  </a:lnTo>
                  <a:lnTo>
                    <a:pt x="151492" y="127469"/>
                  </a:lnTo>
                  <a:lnTo>
                    <a:pt x="159929" y="127469"/>
                  </a:lnTo>
                  <a:lnTo>
                    <a:pt x="166245" y="124261"/>
                  </a:lnTo>
                  <a:lnTo>
                    <a:pt x="159929" y="121054"/>
                  </a:lnTo>
                  <a:lnTo>
                    <a:pt x="157807" y="117847"/>
                  </a:lnTo>
                  <a:lnTo>
                    <a:pt x="155735" y="116268"/>
                  </a:lnTo>
                  <a:lnTo>
                    <a:pt x="147298" y="119475"/>
                  </a:lnTo>
                  <a:lnTo>
                    <a:pt x="145226" y="117847"/>
                  </a:lnTo>
                  <a:lnTo>
                    <a:pt x="151492" y="114640"/>
                  </a:lnTo>
                  <a:lnTo>
                    <a:pt x="159929" y="114640"/>
                  </a:lnTo>
                  <a:lnTo>
                    <a:pt x="166245" y="111433"/>
                  </a:lnTo>
                  <a:lnTo>
                    <a:pt x="166245" y="108226"/>
                  </a:lnTo>
                  <a:lnTo>
                    <a:pt x="170439" y="106647"/>
                  </a:lnTo>
                  <a:lnTo>
                    <a:pt x="174632" y="98654"/>
                  </a:lnTo>
                  <a:lnTo>
                    <a:pt x="176754" y="93720"/>
                  </a:lnTo>
                  <a:lnTo>
                    <a:pt x="176754" y="92782"/>
                  </a:lnTo>
                  <a:lnTo>
                    <a:pt x="180948" y="87848"/>
                  </a:lnTo>
                  <a:lnTo>
                    <a:pt x="178876" y="84641"/>
                  </a:lnTo>
                  <a:lnTo>
                    <a:pt x="183070" y="78276"/>
                  </a:lnTo>
                  <a:lnTo>
                    <a:pt x="187264" y="73342"/>
                  </a:lnTo>
                  <a:lnTo>
                    <a:pt x="187264" y="68408"/>
                  </a:lnTo>
                  <a:lnTo>
                    <a:pt x="178876" y="61994"/>
                  </a:lnTo>
                  <a:lnTo>
                    <a:pt x="178876" y="63622"/>
                  </a:lnTo>
                  <a:lnTo>
                    <a:pt x="164074" y="63622"/>
                  </a:lnTo>
                  <a:lnTo>
                    <a:pt x="153564" y="61994"/>
                  </a:lnTo>
                  <a:lnTo>
                    <a:pt x="151443" y="63622"/>
                  </a:lnTo>
                  <a:lnTo>
                    <a:pt x="147249" y="63622"/>
                  </a:lnTo>
                  <a:lnTo>
                    <a:pt x="140933" y="61994"/>
                  </a:lnTo>
                  <a:lnTo>
                    <a:pt x="138861" y="61994"/>
                  </a:lnTo>
                  <a:lnTo>
                    <a:pt x="136739" y="63622"/>
                  </a:lnTo>
                  <a:lnTo>
                    <a:pt x="132545" y="65201"/>
                  </a:lnTo>
                  <a:lnTo>
                    <a:pt x="126230" y="68408"/>
                  </a:lnTo>
                  <a:lnTo>
                    <a:pt x="124108" y="68408"/>
                  </a:lnTo>
                  <a:lnTo>
                    <a:pt x="119914" y="71615"/>
                  </a:lnTo>
                  <a:lnTo>
                    <a:pt x="117792" y="69987"/>
                  </a:lnTo>
                  <a:lnTo>
                    <a:pt x="124108" y="65053"/>
                  </a:lnTo>
                  <a:lnTo>
                    <a:pt x="128302" y="57060"/>
                  </a:lnTo>
                  <a:lnTo>
                    <a:pt x="124108" y="58639"/>
                  </a:lnTo>
                  <a:lnTo>
                    <a:pt x="119914" y="57060"/>
                  </a:lnTo>
                  <a:lnTo>
                    <a:pt x="124108" y="55432"/>
                  </a:lnTo>
                  <a:lnTo>
                    <a:pt x="124108" y="52225"/>
                  </a:lnTo>
                  <a:lnTo>
                    <a:pt x="138910" y="42652"/>
                  </a:lnTo>
                  <a:lnTo>
                    <a:pt x="143104" y="36238"/>
                  </a:lnTo>
                  <a:lnTo>
                    <a:pt x="147298" y="36238"/>
                  </a:lnTo>
                  <a:lnTo>
                    <a:pt x="149420" y="29824"/>
                  </a:lnTo>
                  <a:lnTo>
                    <a:pt x="147298" y="28196"/>
                  </a:lnTo>
                  <a:lnTo>
                    <a:pt x="149420" y="23262"/>
                  </a:lnTo>
                  <a:lnTo>
                    <a:pt x="149420" y="21683"/>
                  </a:lnTo>
                  <a:lnTo>
                    <a:pt x="143104" y="21683"/>
                  </a:lnTo>
                  <a:lnTo>
                    <a:pt x="138910" y="24890"/>
                  </a:lnTo>
                  <a:lnTo>
                    <a:pt x="134667" y="23262"/>
                  </a:lnTo>
                  <a:lnTo>
                    <a:pt x="128351" y="26469"/>
                  </a:lnTo>
                  <a:lnTo>
                    <a:pt x="122085" y="24890"/>
                  </a:lnTo>
                  <a:lnTo>
                    <a:pt x="115770" y="26469"/>
                  </a:lnTo>
                  <a:lnTo>
                    <a:pt x="113648" y="26469"/>
                  </a:lnTo>
                  <a:lnTo>
                    <a:pt x="109454" y="29676"/>
                  </a:lnTo>
                  <a:lnTo>
                    <a:pt x="111527" y="26469"/>
                  </a:lnTo>
                  <a:lnTo>
                    <a:pt x="107332" y="26469"/>
                  </a:lnTo>
                  <a:lnTo>
                    <a:pt x="103089" y="29676"/>
                  </a:lnTo>
                  <a:lnTo>
                    <a:pt x="103089" y="26469"/>
                  </a:lnTo>
                  <a:lnTo>
                    <a:pt x="96823" y="23262"/>
                  </a:lnTo>
                  <a:lnTo>
                    <a:pt x="94701" y="28196"/>
                  </a:lnTo>
                  <a:lnTo>
                    <a:pt x="92629" y="29824"/>
                  </a:lnTo>
                  <a:lnTo>
                    <a:pt x="92629" y="33574"/>
                  </a:lnTo>
                  <a:lnTo>
                    <a:pt x="90261" y="33574"/>
                  </a:lnTo>
                  <a:lnTo>
                    <a:pt x="90261" y="38508"/>
                  </a:lnTo>
                  <a:lnTo>
                    <a:pt x="83945" y="40136"/>
                  </a:lnTo>
                  <a:lnTo>
                    <a:pt x="88139" y="43343"/>
                  </a:lnTo>
                  <a:lnTo>
                    <a:pt x="86017" y="48277"/>
                  </a:lnTo>
                  <a:lnTo>
                    <a:pt x="81873" y="48277"/>
                  </a:lnTo>
                  <a:lnTo>
                    <a:pt x="90261" y="53211"/>
                  </a:lnTo>
                  <a:lnTo>
                    <a:pt x="92383" y="58145"/>
                  </a:lnTo>
                  <a:lnTo>
                    <a:pt x="83945" y="54938"/>
                  </a:lnTo>
                  <a:lnTo>
                    <a:pt x="81873" y="56517"/>
                  </a:lnTo>
                  <a:lnTo>
                    <a:pt x="77629" y="53310"/>
                  </a:lnTo>
                  <a:lnTo>
                    <a:pt x="77629" y="58244"/>
                  </a:lnTo>
                  <a:lnTo>
                    <a:pt x="75557" y="61451"/>
                  </a:lnTo>
                  <a:lnTo>
                    <a:pt x="73435" y="56517"/>
                  </a:lnTo>
                  <a:lnTo>
                    <a:pt x="71314" y="61451"/>
                  </a:lnTo>
                  <a:lnTo>
                    <a:pt x="73435" y="63030"/>
                  </a:lnTo>
                  <a:lnTo>
                    <a:pt x="71314" y="66237"/>
                  </a:lnTo>
                  <a:lnTo>
                    <a:pt x="75557" y="71171"/>
                  </a:lnTo>
                  <a:lnTo>
                    <a:pt x="79702" y="71171"/>
                  </a:lnTo>
                  <a:lnTo>
                    <a:pt x="75557" y="72800"/>
                  </a:lnTo>
                  <a:lnTo>
                    <a:pt x="71314" y="69592"/>
                  </a:lnTo>
                  <a:lnTo>
                    <a:pt x="71314" y="79214"/>
                  </a:lnTo>
                  <a:lnTo>
                    <a:pt x="79702" y="77586"/>
                  </a:lnTo>
                  <a:lnTo>
                    <a:pt x="73435" y="79214"/>
                  </a:lnTo>
                  <a:lnTo>
                    <a:pt x="73435" y="80793"/>
                  </a:lnTo>
                  <a:lnTo>
                    <a:pt x="75557" y="82421"/>
                  </a:lnTo>
                  <a:lnTo>
                    <a:pt x="81873" y="80793"/>
                  </a:lnTo>
                  <a:lnTo>
                    <a:pt x="79702" y="82421"/>
                  </a:lnTo>
                  <a:lnTo>
                    <a:pt x="81873" y="84000"/>
                  </a:lnTo>
                  <a:lnTo>
                    <a:pt x="77629" y="82421"/>
                  </a:lnTo>
                  <a:lnTo>
                    <a:pt x="75557" y="84000"/>
                  </a:lnTo>
                  <a:lnTo>
                    <a:pt x="75557" y="87207"/>
                  </a:lnTo>
                  <a:lnTo>
                    <a:pt x="77629" y="88786"/>
                  </a:lnTo>
                  <a:lnTo>
                    <a:pt x="73435" y="88786"/>
                  </a:lnTo>
                  <a:lnTo>
                    <a:pt x="71314" y="91993"/>
                  </a:lnTo>
                  <a:lnTo>
                    <a:pt x="75557" y="93621"/>
                  </a:lnTo>
                  <a:lnTo>
                    <a:pt x="77629" y="95200"/>
                  </a:lnTo>
                  <a:lnTo>
                    <a:pt x="71314" y="93621"/>
                  </a:lnTo>
                  <a:lnTo>
                    <a:pt x="69192" y="96828"/>
                  </a:lnTo>
                  <a:lnTo>
                    <a:pt x="71314" y="98407"/>
                  </a:lnTo>
                  <a:lnTo>
                    <a:pt x="69192" y="101614"/>
                  </a:lnTo>
                  <a:lnTo>
                    <a:pt x="67120" y="103242"/>
                  </a:lnTo>
                  <a:lnTo>
                    <a:pt x="60805" y="103242"/>
                  </a:lnTo>
                  <a:lnTo>
                    <a:pt x="58732" y="104821"/>
                  </a:lnTo>
                  <a:lnTo>
                    <a:pt x="60805" y="106400"/>
                  </a:lnTo>
                  <a:lnTo>
                    <a:pt x="64998" y="106400"/>
                  </a:lnTo>
                  <a:lnTo>
                    <a:pt x="69192" y="108028"/>
                  </a:lnTo>
                  <a:lnTo>
                    <a:pt x="64998" y="108028"/>
                  </a:lnTo>
                  <a:lnTo>
                    <a:pt x="69192" y="112962"/>
                  </a:lnTo>
                  <a:lnTo>
                    <a:pt x="71314" y="112962"/>
                  </a:lnTo>
                  <a:lnTo>
                    <a:pt x="75557" y="114591"/>
                  </a:lnTo>
                  <a:lnTo>
                    <a:pt x="90359" y="103390"/>
                  </a:lnTo>
                  <a:lnTo>
                    <a:pt x="88237" y="106548"/>
                  </a:lnTo>
                  <a:lnTo>
                    <a:pt x="90359" y="108176"/>
                  </a:lnTo>
                  <a:lnTo>
                    <a:pt x="84044" y="108176"/>
                  </a:lnTo>
                  <a:lnTo>
                    <a:pt x="81971" y="116170"/>
                  </a:lnTo>
                  <a:lnTo>
                    <a:pt x="81971" y="117798"/>
                  </a:lnTo>
                  <a:lnTo>
                    <a:pt x="77728" y="125791"/>
                  </a:lnTo>
                  <a:lnTo>
                    <a:pt x="79800" y="125791"/>
                  </a:lnTo>
                  <a:lnTo>
                    <a:pt x="75656" y="135659"/>
                  </a:lnTo>
                  <a:lnTo>
                    <a:pt x="75656" y="140593"/>
                  </a:lnTo>
                  <a:lnTo>
                    <a:pt x="73534" y="143800"/>
                  </a:lnTo>
                  <a:lnTo>
                    <a:pt x="75656" y="147007"/>
                  </a:lnTo>
                  <a:lnTo>
                    <a:pt x="77728" y="145379"/>
                  </a:lnTo>
                  <a:lnTo>
                    <a:pt x="73534" y="151793"/>
                  </a:lnTo>
                  <a:lnTo>
                    <a:pt x="73534" y="161415"/>
                  </a:lnTo>
                  <a:lnTo>
                    <a:pt x="69291" y="164622"/>
                  </a:lnTo>
                  <a:lnTo>
                    <a:pt x="69291" y="166201"/>
                  </a:lnTo>
                  <a:lnTo>
                    <a:pt x="77728" y="166201"/>
                  </a:lnTo>
                  <a:lnTo>
                    <a:pt x="75656" y="161267"/>
                  </a:lnTo>
                  <a:lnTo>
                    <a:pt x="79800" y="154852"/>
                  </a:lnTo>
                  <a:lnTo>
                    <a:pt x="79800" y="151645"/>
                  </a:lnTo>
                  <a:lnTo>
                    <a:pt x="84044" y="146711"/>
                  </a:lnTo>
                  <a:lnTo>
                    <a:pt x="79800" y="135511"/>
                  </a:lnTo>
                  <a:lnTo>
                    <a:pt x="84044" y="135511"/>
                  </a:lnTo>
                  <a:lnTo>
                    <a:pt x="92481" y="125643"/>
                  </a:lnTo>
                  <a:lnTo>
                    <a:pt x="86116" y="135511"/>
                  </a:lnTo>
                  <a:lnTo>
                    <a:pt x="84044" y="141925"/>
                  </a:lnTo>
                  <a:lnTo>
                    <a:pt x="86116" y="143504"/>
                  </a:lnTo>
                  <a:lnTo>
                    <a:pt x="88237" y="138570"/>
                  </a:lnTo>
                  <a:lnTo>
                    <a:pt x="92481" y="135363"/>
                  </a:lnTo>
                  <a:lnTo>
                    <a:pt x="94553" y="141777"/>
                  </a:lnTo>
                  <a:lnTo>
                    <a:pt x="98796" y="135363"/>
                  </a:lnTo>
                  <a:lnTo>
                    <a:pt x="96675" y="130429"/>
                  </a:lnTo>
                  <a:lnTo>
                    <a:pt x="100869" y="128850"/>
                  </a:lnTo>
                  <a:lnTo>
                    <a:pt x="98796" y="135264"/>
                  </a:lnTo>
                  <a:lnTo>
                    <a:pt x="107185" y="140198"/>
                  </a:lnTo>
                  <a:lnTo>
                    <a:pt x="100869" y="138620"/>
                  </a:lnTo>
                  <a:lnTo>
                    <a:pt x="96675" y="146613"/>
                  </a:lnTo>
                  <a:lnTo>
                    <a:pt x="98796" y="153027"/>
                  </a:lnTo>
                  <a:lnTo>
                    <a:pt x="102941" y="153027"/>
                  </a:lnTo>
                  <a:lnTo>
                    <a:pt x="105112" y="159441"/>
                  </a:lnTo>
                  <a:lnTo>
                    <a:pt x="98796" y="164375"/>
                  </a:lnTo>
                  <a:lnTo>
                    <a:pt x="94553" y="177204"/>
                  </a:lnTo>
                  <a:lnTo>
                    <a:pt x="94553" y="183568"/>
                  </a:lnTo>
                  <a:lnTo>
                    <a:pt x="90359" y="180361"/>
                  </a:lnTo>
                  <a:lnTo>
                    <a:pt x="90359" y="186776"/>
                  </a:lnTo>
                  <a:lnTo>
                    <a:pt x="96675" y="194818"/>
                  </a:lnTo>
                  <a:lnTo>
                    <a:pt x="94553" y="186776"/>
                  </a:lnTo>
                  <a:lnTo>
                    <a:pt x="100869" y="186776"/>
                  </a:lnTo>
                  <a:lnTo>
                    <a:pt x="113500" y="193190"/>
                  </a:lnTo>
                  <a:lnTo>
                    <a:pt x="113500" y="188256"/>
                  </a:lnTo>
                  <a:lnTo>
                    <a:pt x="107185" y="183322"/>
                  </a:lnTo>
                  <a:lnTo>
                    <a:pt x="111378" y="183322"/>
                  </a:lnTo>
                  <a:lnTo>
                    <a:pt x="121937" y="188256"/>
                  </a:lnTo>
                  <a:lnTo>
                    <a:pt x="128203" y="188256"/>
                  </a:lnTo>
                  <a:lnTo>
                    <a:pt x="128203" y="185049"/>
                  </a:lnTo>
                  <a:lnTo>
                    <a:pt x="134667" y="185049"/>
                  </a:lnTo>
                  <a:lnTo>
                    <a:pt x="136789" y="180115"/>
                  </a:lnTo>
                  <a:lnTo>
                    <a:pt x="155735" y="180115"/>
                  </a:lnTo>
                  <a:lnTo>
                    <a:pt x="143104" y="183322"/>
                  </a:lnTo>
                  <a:lnTo>
                    <a:pt x="136789" y="200936"/>
                  </a:lnTo>
                  <a:lnTo>
                    <a:pt x="145226" y="213814"/>
                  </a:lnTo>
                  <a:lnTo>
                    <a:pt x="149420" y="212186"/>
                  </a:lnTo>
                  <a:lnTo>
                    <a:pt x="149420" y="218551"/>
                  </a:lnTo>
                  <a:lnTo>
                    <a:pt x="155735" y="213617"/>
                  </a:lnTo>
                  <a:lnTo>
                    <a:pt x="162051" y="213617"/>
                  </a:lnTo>
                  <a:lnTo>
                    <a:pt x="159929" y="221561"/>
                  </a:lnTo>
                  <a:lnTo>
                    <a:pt x="162051" y="223189"/>
                  </a:lnTo>
                  <a:lnTo>
                    <a:pt x="155735" y="228123"/>
                  </a:lnTo>
                  <a:lnTo>
                    <a:pt x="157807" y="236165"/>
                  </a:lnTo>
                  <a:lnTo>
                    <a:pt x="153613" y="242530"/>
                  </a:lnTo>
                  <a:lnTo>
                    <a:pt x="157807" y="247464"/>
                  </a:lnTo>
                  <a:lnTo>
                    <a:pt x="162051" y="250671"/>
                  </a:lnTo>
                  <a:lnTo>
                    <a:pt x="166245" y="250671"/>
                  </a:lnTo>
                  <a:lnTo>
                    <a:pt x="164123" y="252300"/>
                  </a:lnTo>
                  <a:lnTo>
                    <a:pt x="159929" y="252300"/>
                  </a:lnTo>
                  <a:lnTo>
                    <a:pt x="155735" y="247366"/>
                  </a:lnTo>
                  <a:lnTo>
                    <a:pt x="151492" y="248994"/>
                  </a:lnTo>
                  <a:lnTo>
                    <a:pt x="153613" y="253928"/>
                  </a:lnTo>
                  <a:lnTo>
                    <a:pt x="157807" y="255507"/>
                  </a:lnTo>
                  <a:lnTo>
                    <a:pt x="153613" y="255507"/>
                  </a:lnTo>
                  <a:lnTo>
                    <a:pt x="147298" y="250573"/>
                  </a:lnTo>
                  <a:lnTo>
                    <a:pt x="136789" y="253780"/>
                  </a:lnTo>
                  <a:lnTo>
                    <a:pt x="130473" y="253780"/>
                  </a:lnTo>
                  <a:lnTo>
                    <a:pt x="119964" y="258714"/>
                  </a:lnTo>
                  <a:lnTo>
                    <a:pt x="113648" y="266756"/>
                  </a:lnTo>
                  <a:lnTo>
                    <a:pt x="105260" y="269963"/>
                  </a:lnTo>
                  <a:lnTo>
                    <a:pt x="101017" y="274898"/>
                  </a:lnTo>
                  <a:lnTo>
                    <a:pt x="109454" y="274898"/>
                  </a:lnTo>
                  <a:lnTo>
                    <a:pt x="109454" y="273368"/>
                  </a:lnTo>
                  <a:lnTo>
                    <a:pt x="122085" y="270161"/>
                  </a:lnTo>
                  <a:lnTo>
                    <a:pt x="119964" y="275095"/>
                  </a:lnTo>
                  <a:lnTo>
                    <a:pt x="124157" y="280029"/>
                  </a:lnTo>
                  <a:lnTo>
                    <a:pt x="119964" y="281608"/>
                  </a:lnTo>
                  <a:lnTo>
                    <a:pt x="124157" y="286542"/>
                  </a:lnTo>
                  <a:lnTo>
                    <a:pt x="126279" y="286542"/>
                  </a:lnTo>
                  <a:lnTo>
                    <a:pt x="117842" y="299321"/>
                  </a:lnTo>
                  <a:lnTo>
                    <a:pt x="111527" y="300949"/>
                  </a:lnTo>
                  <a:lnTo>
                    <a:pt x="107332" y="305883"/>
                  </a:lnTo>
                  <a:lnTo>
                    <a:pt x="103089" y="305883"/>
                  </a:lnTo>
                  <a:lnTo>
                    <a:pt x="96823" y="309090"/>
                  </a:lnTo>
                  <a:lnTo>
                    <a:pt x="90261" y="309090"/>
                  </a:lnTo>
                  <a:lnTo>
                    <a:pt x="81873" y="314024"/>
                  </a:lnTo>
                  <a:lnTo>
                    <a:pt x="88139" y="315653"/>
                  </a:lnTo>
                  <a:lnTo>
                    <a:pt x="88139" y="318860"/>
                  </a:lnTo>
                  <a:lnTo>
                    <a:pt x="83945" y="322067"/>
                  </a:lnTo>
                  <a:lnTo>
                    <a:pt x="92383" y="322067"/>
                  </a:lnTo>
                  <a:lnTo>
                    <a:pt x="90261" y="323695"/>
                  </a:lnTo>
                  <a:lnTo>
                    <a:pt x="94454" y="325274"/>
                  </a:lnTo>
                  <a:lnTo>
                    <a:pt x="98698" y="325274"/>
                  </a:lnTo>
                  <a:lnTo>
                    <a:pt x="105013" y="322067"/>
                  </a:lnTo>
                  <a:lnTo>
                    <a:pt x="113401" y="318860"/>
                  </a:lnTo>
                  <a:lnTo>
                    <a:pt x="115523" y="323794"/>
                  </a:lnTo>
                  <a:lnTo>
                    <a:pt x="121839" y="323794"/>
                  </a:lnTo>
                  <a:lnTo>
                    <a:pt x="117595" y="325373"/>
                  </a:lnTo>
                  <a:lnTo>
                    <a:pt x="115523" y="328580"/>
                  </a:lnTo>
                  <a:lnTo>
                    <a:pt x="126032" y="328580"/>
                  </a:lnTo>
                  <a:lnTo>
                    <a:pt x="126032" y="327001"/>
                  </a:lnTo>
                  <a:lnTo>
                    <a:pt x="130226" y="327001"/>
                  </a:lnTo>
                  <a:lnTo>
                    <a:pt x="136542" y="331935"/>
                  </a:lnTo>
                  <a:lnTo>
                    <a:pt x="140736" y="336869"/>
                  </a:lnTo>
                  <a:lnTo>
                    <a:pt x="153367" y="336869"/>
                  </a:lnTo>
                  <a:lnTo>
                    <a:pt x="155488" y="331935"/>
                  </a:lnTo>
                  <a:lnTo>
                    <a:pt x="161804" y="330405"/>
                  </a:lnTo>
                  <a:lnTo>
                    <a:pt x="168120" y="327198"/>
                  </a:lnTo>
                  <a:lnTo>
                    <a:pt x="172314" y="323991"/>
                  </a:lnTo>
                  <a:lnTo>
                    <a:pt x="178629" y="322363"/>
                  </a:lnTo>
                  <a:lnTo>
                    <a:pt x="170192" y="330405"/>
                  </a:lnTo>
                  <a:lnTo>
                    <a:pt x="159682" y="336770"/>
                  </a:lnTo>
                  <a:lnTo>
                    <a:pt x="159682" y="344813"/>
                  </a:lnTo>
                  <a:lnTo>
                    <a:pt x="153367" y="344813"/>
                  </a:lnTo>
                  <a:lnTo>
                    <a:pt x="149173" y="346392"/>
                  </a:lnTo>
                  <a:lnTo>
                    <a:pt x="144979" y="344813"/>
                  </a:lnTo>
                  <a:lnTo>
                    <a:pt x="128105" y="343185"/>
                  </a:lnTo>
                  <a:lnTo>
                    <a:pt x="117595" y="344813"/>
                  </a:lnTo>
                  <a:lnTo>
                    <a:pt x="117595" y="349747"/>
                  </a:lnTo>
                  <a:lnTo>
                    <a:pt x="113401" y="352905"/>
                  </a:lnTo>
                  <a:lnTo>
                    <a:pt x="107086" y="352905"/>
                  </a:lnTo>
                  <a:lnTo>
                    <a:pt x="107086" y="364154"/>
                  </a:lnTo>
                  <a:lnTo>
                    <a:pt x="100770" y="369088"/>
                  </a:lnTo>
                  <a:lnTo>
                    <a:pt x="98698" y="372246"/>
                  </a:lnTo>
                  <a:lnTo>
                    <a:pt x="92383" y="372246"/>
                  </a:lnTo>
                  <a:lnTo>
                    <a:pt x="90261" y="378660"/>
                  </a:lnTo>
                  <a:lnTo>
                    <a:pt x="88139" y="378660"/>
                  </a:lnTo>
                  <a:lnTo>
                    <a:pt x="86017" y="381867"/>
                  </a:lnTo>
                  <a:lnTo>
                    <a:pt x="77629" y="386801"/>
                  </a:lnTo>
                  <a:lnTo>
                    <a:pt x="73435" y="386801"/>
                  </a:lnTo>
                  <a:lnTo>
                    <a:pt x="67120" y="389959"/>
                  </a:lnTo>
                  <a:lnTo>
                    <a:pt x="67120" y="394893"/>
                  </a:lnTo>
                  <a:lnTo>
                    <a:pt x="73435" y="394893"/>
                  </a:lnTo>
                  <a:lnTo>
                    <a:pt x="73435" y="389959"/>
                  </a:lnTo>
                  <a:lnTo>
                    <a:pt x="81873" y="39316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Graphic 2">
              <a:extLst>
                <a:ext uri="{FF2B5EF4-FFF2-40B4-BE49-F238E27FC236}">
                  <a16:creationId xmlns:a16="http://schemas.microsoft.com/office/drawing/2014/main" id="{23D3480F-2D5D-4231-B896-51F8AA217D23}"/>
                </a:ext>
              </a:extLst>
            </p:cNvPr>
            <p:cNvSpPr/>
            <p:nvPr/>
          </p:nvSpPr>
          <p:spPr>
            <a:xfrm>
              <a:off x="5272076" y="3058186"/>
              <a:ext cx="427329" cy="342415"/>
            </a:xfrm>
            <a:custGeom>
              <a:avLst/>
              <a:gdLst>
                <a:gd name="connsiteX0" fmla="*/ 380086 w 470361"/>
                <a:gd name="connsiteY0" fmla="*/ 206808 h 376910"/>
                <a:gd name="connsiteX1" fmla="*/ 378112 w 470361"/>
                <a:gd name="connsiteY1" fmla="*/ 202219 h 376910"/>
                <a:gd name="connsiteX2" fmla="*/ 374214 w 470361"/>
                <a:gd name="connsiteY2" fmla="*/ 199111 h 376910"/>
                <a:gd name="connsiteX3" fmla="*/ 372240 w 470361"/>
                <a:gd name="connsiteY3" fmla="*/ 189933 h 376910"/>
                <a:gd name="connsiteX4" fmla="*/ 368343 w 470361"/>
                <a:gd name="connsiteY4" fmla="*/ 185345 h 376910"/>
                <a:gd name="connsiteX5" fmla="*/ 356600 w 470361"/>
                <a:gd name="connsiteY5" fmla="*/ 183815 h 376910"/>
                <a:gd name="connsiteX6" fmla="*/ 352652 w 470361"/>
                <a:gd name="connsiteY6" fmla="*/ 188404 h 376910"/>
                <a:gd name="connsiteX7" fmla="*/ 354626 w 470361"/>
                <a:gd name="connsiteY7" fmla="*/ 194522 h 376910"/>
                <a:gd name="connsiteX8" fmla="*/ 346781 w 470361"/>
                <a:gd name="connsiteY8" fmla="*/ 199111 h 376910"/>
                <a:gd name="connsiteX9" fmla="*/ 338936 w 470361"/>
                <a:gd name="connsiteY9" fmla="*/ 199111 h 376910"/>
                <a:gd name="connsiteX10" fmla="*/ 338936 w 470361"/>
                <a:gd name="connsiteY10" fmla="*/ 192993 h 376910"/>
                <a:gd name="connsiteX11" fmla="*/ 342883 w 470361"/>
                <a:gd name="connsiteY11" fmla="*/ 191463 h 376910"/>
                <a:gd name="connsiteX12" fmla="*/ 346781 w 470361"/>
                <a:gd name="connsiteY12" fmla="*/ 191463 h 376910"/>
                <a:gd name="connsiteX13" fmla="*/ 346781 w 470361"/>
                <a:gd name="connsiteY13" fmla="*/ 185345 h 376910"/>
                <a:gd name="connsiteX14" fmla="*/ 348755 w 470361"/>
                <a:gd name="connsiteY14" fmla="*/ 176168 h 376910"/>
                <a:gd name="connsiteX15" fmla="*/ 356600 w 470361"/>
                <a:gd name="connsiteY15" fmla="*/ 162352 h 376910"/>
                <a:gd name="connsiteX16" fmla="*/ 362471 w 470361"/>
                <a:gd name="connsiteY16" fmla="*/ 160823 h 376910"/>
                <a:gd name="connsiteX17" fmla="*/ 370267 w 470361"/>
                <a:gd name="connsiteY17" fmla="*/ 154705 h 376910"/>
                <a:gd name="connsiteX18" fmla="*/ 376188 w 470361"/>
                <a:gd name="connsiteY18" fmla="*/ 151645 h 376910"/>
                <a:gd name="connsiteX19" fmla="*/ 376188 w 470361"/>
                <a:gd name="connsiteY19" fmla="*/ 145527 h 376910"/>
                <a:gd name="connsiteX20" fmla="*/ 368343 w 470361"/>
                <a:gd name="connsiteY20" fmla="*/ 140939 h 376910"/>
                <a:gd name="connsiteX21" fmla="*/ 372240 w 470361"/>
                <a:gd name="connsiteY21" fmla="*/ 136350 h 376910"/>
                <a:gd name="connsiteX22" fmla="*/ 380086 w 470361"/>
                <a:gd name="connsiteY22" fmla="*/ 136350 h 376910"/>
                <a:gd name="connsiteX23" fmla="*/ 382060 w 470361"/>
                <a:gd name="connsiteY23" fmla="*/ 140939 h 376910"/>
                <a:gd name="connsiteX24" fmla="*/ 387931 w 470361"/>
                <a:gd name="connsiteY24" fmla="*/ 140939 h 376910"/>
                <a:gd name="connsiteX25" fmla="*/ 401647 w 470361"/>
                <a:gd name="connsiteY25" fmla="*/ 137879 h 376910"/>
                <a:gd name="connsiteX26" fmla="*/ 395776 w 470361"/>
                <a:gd name="connsiteY26" fmla="*/ 131712 h 376910"/>
                <a:gd name="connsiteX27" fmla="*/ 389855 w 470361"/>
                <a:gd name="connsiteY27" fmla="*/ 128653 h 376910"/>
                <a:gd name="connsiteX28" fmla="*/ 389855 w 470361"/>
                <a:gd name="connsiteY28" fmla="*/ 121005 h 376910"/>
                <a:gd name="connsiteX29" fmla="*/ 393802 w 470361"/>
                <a:gd name="connsiteY29" fmla="*/ 108769 h 376910"/>
                <a:gd name="connsiteX30" fmla="*/ 399674 w 470361"/>
                <a:gd name="connsiteY30" fmla="*/ 105710 h 376910"/>
                <a:gd name="connsiteX31" fmla="*/ 399674 w 470361"/>
                <a:gd name="connsiteY31" fmla="*/ 101072 h 376910"/>
                <a:gd name="connsiteX32" fmla="*/ 403621 w 470361"/>
                <a:gd name="connsiteY32" fmla="*/ 90365 h 376910"/>
                <a:gd name="connsiteX33" fmla="*/ 411417 w 470361"/>
                <a:gd name="connsiteY33" fmla="*/ 82717 h 376910"/>
                <a:gd name="connsiteX34" fmla="*/ 403621 w 470361"/>
                <a:gd name="connsiteY34" fmla="*/ 79658 h 376910"/>
                <a:gd name="connsiteX35" fmla="*/ 395776 w 470361"/>
                <a:gd name="connsiteY35" fmla="*/ 79658 h 376910"/>
                <a:gd name="connsiteX36" fmla="*/ 387931 w 470361"/>
                <a:gd name="connsiteY36" fmla="*/ 76599 h 376910"/>
                <a:gd name="connsiteX37" fmla="*/ 382060 w 470361"/>
                <a:gd name="connsiteY37" fmla="*/ 78128 h 376910"/>
                <a:gd name="connsiteX38" fmla="*/ 378112 w 470361"/>
                <a:gd name="connsiteY38" fmla="*/ 76599 h 376910"/>
                <a:gd name="connsiteX39" fmla="*/ 372240 w 470361"/>
                <a:gd name="connsiteY39" fmla="*/ 76599 h 376910"/>
                <a:gd name="connsiteX40" fmla="*/ 366369 w 470361"/>
                <a:gd name="connsiteY40" fmla="*/ 78128 h 376910"/>
                <a:gd name="connsiteX41" fmla="*/ 358524 w 470361"/>
                <a:gd name="connsiteY41" fmla="*/ 73540 h 376910"/>
                <a:gd name="connsiteX42" fmla="*/ 358524 w 470361"/>
                <a:gd name="connsiteY42" fmla="*/ 70481 h 376910"/>
                <a:gd name="connsiteX43" fmla="*/ 352652 w 470361"/>
                <a:gd name="connsiteY43" fmla="*/ 65842 h 376910"/>
                <a:gd name="connsiteX44" fmla="*/ 346781 w 470361"/>
                <a:gd name="connsiteY44" fmla="*/ 67372 h 376910"/>
                <a:gd name="connsiteX45" fmla="*/ 338936 w 470361"/>
                <a:gd name="connsiteY45" fmla="*/ 65842 h 376910"/>
                <a:gd name="connsiteX46" fmla="*/ 335038 w 470361"/>
                <a:gd name="connsiteY46" fmla="*/ 58195 h 376910"/>
                <a:gd name="connsiteX47" fmla="*/ 327192 w 470361"/>
                <a:gd name="connsiteY47" fmla="*/ 58195 h 376910"/>
                <a:gd name="connsiteX48" fmla="*/ 325219 w 470361"/>
                <a:gd name="connsiteY48" fmla="*/ 59724 h 376910"/>
                <a:gd name="connsiteX49" fmla="*/ 317374 w 470361"/>
                <a:gd name="connsiteY49" fmla="*/ 56665 h 376910"/>
                <a:gd name="connsiteX50" fmla="*/ 311503 w 470361"/>
                <a:gd name="connsiteY50" fmla="*/ 56665 h 376910"/>
                <a:gd name="connsiteX51" fmla="*/ 303707 w 470361"/>
                <a:gd name="connsiteY51" fmla="*/ 47488 h 376910"/>
                <a:gd name="connsiteX52" fmla="*/ 299760 w 470361"/>
                <a:gd name="connsiteY52" fmla="*/ 47488 h 376910"/>
                <a:gd name="connsiteX53" fmla="*/ 293888 w 470361"/>
                <a:gd name="connsiteY53" fmla="*/ 44429 h 376910"/>
                <a:gd name="connsiteX54" fmla="*/ 289941 w 470361"/>
                <a:gd name="connsiteY54" fmla="*/ 44429 h 376910"/>
                <a:gd name="connsiteX55" fmla="*/ 286043 w 470361"/>
                <a:gd name="connsiteY55" fmla="*/ 45958 h 376910"/>
                <a:gd name="connsiteX56" fmla="*/ 280172 w 470361"/>
                <a:gd name="connsiteY56" fmla="*/ 42899 h 376910"/>
                <a:gd name="connsiteX57" fmla="*/ 278198 w 470361"/>
                <a:gd name="connsiteY57" fmla="*/ 33673 h 376910"/>
                <a:gd name="connsiteX58" fmla="*/ 274300 w 470361"/>
                <a:gd name="connsiteY58" fmla="*/ 32143 h 376910"/>
                <a:gd name="connsiteX59" fmla="*/ 270353 w 470361"/>
                <a:gd name="connsiteY59" fmla="*/ 29084 h 376910"/>
                <a:gd name="connsiteX60" fmla="*/ 266455 w 470361"/>
                <a:gd name="connsiteY60" fmla="*/ 29084 h 376910"/>
                <a:gd name="connsiteX61" fmla="*/ 254712 w 470361"/>
                <a:gd name="connsiteY61" fmla="*/ 21436 h 376910"/>
                <a:gd name="connsiteX62" fmla="*/ 252738 w 470361"/>
                <a:gd name="connsiteY62" fmla="*/ 16848 h 376910"/>
                <a:gd name="connsiteX63" fmla="*/ 244942 w 470361"/>
                <a:gd name="connsiteY63" fmla="*/ 13788 h 376910"/>
                <a:gd name="connsiteX64" fmla="*/ 242919 w 470361"/>
                <a:gd name="connsiteY64" fmla="*/ 3032 h 376910"/>
                <a:gd name="connsiteX65" fmla="*/ 239021 w 470361"/>
                <a:gd name="connsiteY65" fmla="*/ -27 h 376910"/>
                <a:gd name="connsiteX66" fmla="*/ 239021 w 470361"/>
                <a:gd name="connsiteY66" fmla="*/ 1503 h 376910"/>
                <a:gd name="connsiteX67" fmla="*/ 225305 w 470361"/>
                <a:gd name="connsiteY67" fmla="*/ 6091 h 376910"/>
                <a:gd name="connsiteX68" fmla="*/ 221407 w 470361"/>
                <a:gd name="connsiteY68" fmla="*/ 3032 h 376910"/>
                <a:gd name="connsiteX69" fmla="*/ 211539 w 470361"/>
                <a:gd name="connsiteY69" fmla="*/ 7621 h 376910"/>
                <a:gd name="connsiteX70" fmla="*/ 209615 w 470361"/>
                <a:gd name="connsiteY70" fmla="*/ 15318 h 376910"/>
                <a:gd name="connsiteX71" fmla="*/ 211539 w 470361"/>
                <a:gd name="connsiteY71" fmla="*/ 22966 h 376910"/>
                <a:gd name="connsiteX72" fmla="*/ 209615 w 470361"/>
                <a:gd name="connsiteY72" fmla="*/ 33673 h 376910"/>
                <a:gd name="connsiteX73" fmla="*/ 199747 w 470361"/>
                <a:gd name="connsiteY73" fmla="*/ 42899 h 376910"/>
                <a:gd name="connsiteX74" fmla="*/ 199747 w 470361"/>
                <a:gd name="connsiteY74" fmla="*/ 47488 h 376910"/>
                <a:gd name="connsiteX75" fmla="*/ 186030 w 470361"/>
                <a:gd name="connsiteY75" fmla="*/ 49017 h 376910"/>
                <a:gd name="connsiteX76" fmla="*/ 182132 w 470361"/>
                <a:gd name="connsiteY76" fmla="*/ 49017 h 376910"/>
                <a:gd name="connsiteX77" fmla="*/ 174287 w 470361"/>
                <a:gd name="connsiteY77" fmla="*/ 47488 h 376910"/>
                <a:gd name="connsiteX78" fmla="*/ 162544 w 470361"/>
                <a:gd name="connsiteY78" fmla="*/ 53606 h 376910"/>
                <a:gd name="connsiteX79" fmla="*/ 156623 w 470361"/>
                <a:gd name="connsiteY79" fmla="*/ 58195 h 376910"/>
                <a:gd name="connsiteX80" fmla="*/ 162544 w 470361"/>
                <a:gd name="connsiteY80" fmla="*/ 62783 h 376910"/>
                <a:gd name="connsiteX81" fmla="*/ 168416 w 470361"/>
                <a:gd name="connsiteY81" fmla="*/ 65842 h 376910"/>
                <a:gd name="connsiteX82" fmla="*/ 156623 w 470361"/>
                <a:gd name="connsiteY82" fmla="*/ 70481 h 376910"/>
                <a:gd name="connsiteX83" fmla="*/ 146755 w 470361"/>
                <a:gd name="connsiteY83" fmla="*/ 72010 h 376910"/>
                <a:gd name="connsiteX84" fmla="*/ 135012 w 470361"/>
                <a:gd name="connsiteY84" fmla="*/ 70481 h 376910"/>
                <a:gd name="connsiteX85" fmla="*/ 129091 w 470361"/>
                <a:gd name="connsiteY85" fmla="*/ 68951 h 376910"/>
                <a:gd name="connsiteX86" fmla="*/ 121246 w 470361"/>
                <a:gd name="connsiteY86" fmla="*/ 70481 h 376910"/>
                <a:gd name="connsiteX87" fmla="*/ 119322 w 470361"/>
                <a:gd name="connsiteY87" fmla="*/ 67372 h 376910"/>
                <a:gd name="connsiteX88" fmla="*/ 115424 w 470361"/>
                <a:gd name="connsiteY88" fmla="*/ 62783 h 376910"/>
                <a:gd name="connsiteX89" fmla="*/ 117348 w 470361"/>
                <a:gd name="connsiteY89" fmla="*/ 58195 h 376910"/>
                <a:gd name="connsiteX90" fmla="*/ 111477 w 470361"/>
                <a:gd name="connsiteY90" fmla="*/ 55136 h 376910"/>
                <a:gd name="connsiteX91" fmla="*/ 105605 w 470361"/>
                <a:gd name="connsiteY91" fmla="*/ 56665 h 376910"/>
                <a:gd name="connsiteX92" fmla="*/ 98056 w 470361"/>
                <a:gd name="connsiteY92" fmla="*/ 56665 h 376910"/>
                <a:gd name="connsiteX93" fmla="*/ 94158 w 470361"/>
                <a:gd name="connsiteY93" fmla="*/ 55136 h 376910"/>
                <a:gd name="connsiteX94" fmla="*/ 98056 w 470361"/>
                <a:gd name="connsiteY94" fmla="*/ 62783 h 376910"/>
                <a:gd name="connsiteX95" fmla="*/ 96132 w 470361"/>
                <a:gd name="connsiteY95" fmla="*/ 67372 h 376910"/>
                <a:gd name="connsiteX96" fmla="*/ 107924 w 470361"/>
                <a:gd name="connsiteY96" fmla="*/ 74970 h 376910"/>
                <a:gd name="connsiteX97" fmla="*/ 105951 w 470361"/>
                <a:gd name="connsiteY97" fmla="*/ 78030 h 376910"/>
                <a:gd name="connsiteX98" fmla="*/ 105951 w 470361"/>
                <a:gd name="connsiteY98" fmla="*/ 87207 h 376910"/>
                <a:gd name="connsiteX99" fmla="*/ 109849 w 470361"/>
                <a:gd name="connsiteY99" fmla="*/ 93325 h 376910"/>
                <a:gd name="connsiteX100" fmla="*/ 109849 w 470361"/>
                <a:gd name="connsiteY100" fmla="*/ 97914 h 376910"/>
                <a:gd name="connsiteX101" fmla="*/ 98106 w 470361"/>
                <a:gd name="connsiteY101" fmla="*/ 96384 h 376910"/>
                <a:gd name="connsiteX102" fmla="*/ 92234 w 470361"/>
                <a:gd name="connsiteY102" fmla="*/ 97914 h 376910"/>
                <a:gd name="connsiteX103" fmla="*/ 80491 w 470361"/>
                <a:gd name="connsiteY103" fmla="*/ 97914 h 376910"/>
                <a:gd name="connsiteX104" fmla="*/ 78518 w 470361"/>
                <a:gd name="connsiteY104" fmla="*/ 96384 h 376910"/>
                <a:gd name="connsiteX105" fmla="*/ 70672 w 470361"/>
                <a:gd name="connsiteY105" fmla="*/ 102552 h 376910"/>
                <a:gd name="connsiteX106" fmla="*/ 60804 w 470361"/>
                <a:gd name="connsiteY106" fmla="*/ 88736 h 376910"/>
                <a:gd name="connsiteX107" fmla="*/ 52959 w 470361"/>
                <a:gd name="connsiteY107" fmla="*/ 87207 h 376910"/>
                <a:gd name="connsiteX108" fmla="*/ 45114 w 470361"/>
                <a:gd name="connsiteY108" fmla="*/ 88736 h 376910"/>
                <a:gd name="connsiteX109" fmla="*/ 39242 w 470361"/>
                <a:gd name="connsiteY109" fmla="*/ 96384 h 376910"/>
                <a:gd name="connsiteX110" fmla="*/ 35295 w 470361"/>
                <a:gd name="connsiteY110" fmla="*/ 94855 h 376910"/>
                <a:gd name="connsiteX111" fmla="*/ 31397 w 470361"/>
                <a:gd name="connsiteY111" fmla="*/ 97914 h 376910"/>
                <a:gd name="connsiteX112" fmla="*/ 29473 w 470361"/>
                <a:gd name="connsiteY112" fmla="*/ 96384 h 376910"/>
                <a:gd name="connsiteX113" fmla="*/ 19605 w 470361"/>
                <a:gd name="connsiteY113" fmla="*/ 96384 h 376910"/>
                <a:gd name="connsiteX114" fmla="*/ 15658 w 470361"/>
                <a:gd name="connsiteY114" fmla="*/ 99443 h 376910"/>
                <a:gd name="connsiteX115" fmla="*/ 5790 w 470361"/>
                <a:gd name="connsiteY115" fmla="*/ 100973 h 376910"/>
                <a:gd name="connsiteX116" fmla="*/ -82 w 470361"/>
                <a:gd name="connsiteY116" fmla="*/ 105611 h 376910"/>
                <a:gd name="connsiteX117" fmla="*/ 3816 w 470361"/>
                <a:gd name="connsiteY117" fmla="*/ 108670 h 376910"/>
                <a:gd name="connsiteX118" fmla="*/ 9687 w 470361"/>
                <a:gd name="connsiteY118" fmla="*/ 107140 h 376910"/>
                <a:gd name="connsiteX119" fmla="*/ 15559 w 470361"/>
                <a:gd name="connsiteY119" fmla="*/ 108670 h 376910"/>
                <a:gd name="connsiteX120" fmla="*/ 15559 w 470361"/>
                <a:gd name="connsiteY120" fmla="*/ 111729 h 376910"/>
                <a:gd name="connsiteX121" fmla="*/ 9687 w 470361"/>
                <a:gd name="connsiteY121" fmla="*/ 110200 h 376910"/>
                <a:gd name="connsiteX122" fmla="*/ 5790 w 470361"/>
                <a:gd name="connsiteY122" fmla="*/ 110200 h 376910"/>
                <a:gd name="connsiteX123" fmla="*/ 7714 w 470361"/>
                <a:gd name="connsiteY123" fmla="*/ 116318 h 376910"/>
                <a:gd name="connsiteX124" fmla="*/ 9687 w 470361"/>
                <a:gd name="connsiteY124" fmla="*/ 111729 h 376910"/>
                <a:gd name="connsiteX125" fmla="*/ 13635 w 470361"/>
                <a:gd name="connsiteY125" fmla="*/ 113259 h 376910"/>
                <a:gd name="connsiteX126" fmla="*/ 15559 w 470361"/>
                <a:gd name="connsiteY126" fmla="*/ 116318 h 376910"/>
                <a:gd name="connsiteX127" fmla="*/ 11661 w 470361"/>
                <a:gd name="connsiteY127" fmla="*/ 119377 h 376910"/>
                <a:gd name="connsiteX128" fmla="*/ 5790 w 470361"/>
                <a:gd name="connsiteY128" fmla="*/ 120906 h 376910"/>
                <a:gd name="connsiteX129" fmla="*/ 5790 w 470361"/>
                <a:gd name="connsiteY129" fmla="*/ 122436 h 376910"/>
                <a:gd name="connsiteX130" fmla="*/ 11661 w 470361"/>
                <a:gd name="connsiteY130" fmla="*/ 122436 h 376910"/>
                <a:gd name="connsiteX131" fmla="*/ 13635 w 470361"/>
                <a:gd name="connsiteY131" fmla="*/ 130084 h 376910"/>
                <a:gd name="connsiteX132" fmla="*/ 13635 w 470361"/>
                <a:gd name="connsiteY132" fmla="*/ 133143 h 376910"/>
                <a:gd name="connsiteX133" fmla="*/ 19506 w 470361"/>
                <a:gd name="connsiteY133" fmla="*/ 128554 h 376910"/>
                <a:gd name="connsiteX134" fmla="*/ 27302 w 470361"/>
                <a:gd name="connsiteY134" fmla="*/ 130084 h 376910"/>
                <a:gd name="connsiteX135" fmla="*/ 31249 w 470361"/>
                <a:gd name="connsiteY135" fmla="*/ 130084 h 376910"/>
                <a:gd name="connsiteX136" fmla="*/ 42992 w 470361"/>
                <a:gd name="connsiteY136" fmla="*/ 133143 h 376910"/>
                <a:gd name="connsiteX137" fmla="*/ 44966 w 470361"/>
                <a:gd name="connsiteY137" fmla="*/ 136251 h 376910"/>
                <a:gd name="connsiteX138" fmla="*/ 48913 w 470361"/>
                <a:gd name="connsiteY138" fmla="*/ 136251 h 376910"/>
                <a:gd name="connsiteX139" fmla="*/ 58781 w 470361"/>
                <a:gd name="connsiteY139" fmla="*/ 140840 h 376910"/>
                <a:gd name="connsiteX140" fmla="*/ 62679 w 470361"/>
                <a:gd name="connsiteY140" fmla="*/ 136251 h 376910"/>
                <a:gd name="connsiteX141" fmla="*/ 66626 w 470361"/>
                <a:gd name="connsiteY141" fmla="*/ 137781 h 376910"/>
                <a:gd name="connsiteX142" fmla="*/ 66626 w 470361"/>
                <a:gd name="connsiteY142" fmla="*/ 142369 h 376910"/>
                <a:gd name="connsiteX143" fmla="*/ 72498 w 470361"/>
                <a:gd name="connsiteY143" fmla="*/ 139310 h 376910"/>
                <a:gd name="connsiteX144" fmla="*/ 76445 w 470361"/>
                <a:gd name="connsiteY144" fmla="*/ 142369 h 376910"/>
                <a:gd name="connsiteX145" fmla="*/ 74422 w 470361"/>
                <a:gd name="connsiteY145" fmla="*/ 150017 h 376910"/>
                <a:gd name="connsiteX146" fmla="*/ 76445 w 470361"/>
                <a:gd name="connsiteY146" fmla="*/ 154606 h 376910"/>
                <a:gd name="connsiteX147" fmla="*/ 80343 w 470361"/>
                <a:gd name="connsiteY147" fmla="*/ 154606 h 376910"/>
                <a:gd name="connsiteX148" fmla="*/ 88188 w 470361"/>
                <a:gd name="connsiteY148" fmla="*/ 150017 h 376910"/>
                <a:gd name="connsiteX149" fmla="*/ 96033 w 470361"/>
                <a:gd name="connsiteY149" fmla="*/ 151547 h 376910"/>
                <a:gd name="connsiteX150" fmla="*/ 99931 w 470361"/>
                <a:gd name="connsiteY150" fmla="*/ 156135 h 376910"/>
                <a:gd name="connsiteX151" fmla="*/ 96033 w 470361"/>
                <a:gd name="connsiteY151" fmla="*/ 153076 h 376910"/>
                <a:gd name="connsiteX152" fmla="*/ 88188 w 470361"/>
                <a:gd name="connsiteY152" fmla="*/ 154606 h 376910"/>
                <a:gd name="connsiteX153" fmla="*/ 84241 w 470361"/>
                <a:gd name="connsiteY153" fmla="*/ 159195 h 376910"/>
                <a:gd name="connsiteX154" fmla="*/ 86214 w 470361"/>
                <a:gd name="connsiteY154" fmla="*/ 160724 h 376910"/>
                <a:gd name="connsiteX155" fmla="*/ 88188 w 470361"/>
                <a:gd name="connsiteY155" fmla="*/ 165313 h 376910"/>
                <a:gd name="connsiteX156" fmla="*/ 84241 w 470361"/>
                <a:gd name="connsiteY156" fmla="*/ 169951 h 376910"/>
                <a:gd name="connsiteX157" fmla="*/ 86214 w 470361"/>
                <a:gd name="connsiteY157" fmla="*/ 176069 h 376910"/>
                <a:gd name="connsiteX158" fmla="*/ 94059 w 470361"/>
                <a:gd name="connsiteY158" fmla="*/ 176069 h 376910"/>
                <a:gd name="connsiteX159" fmla="*/ 101855 w 470361"/>
                <a:gd name="connsiteY159" fmla="*/ 185246 h 376910"/>
                <a:gd name="connsiteX160" fmla="*/ 111724 w 470361"/>
                <a:gd name="connsiteY160" fmla="*/ 186776 h 376910"/>
                <a:gd name="connsiteX161" fmla="*/ 119568 w 470361"/>
                <a:gd name="connsiteY161" fmla="*/ 191365 h 376910"/>
                <a:gd name="connsiteX162" fmla="*/ 117595 w 470361"/>
                <a:gd name="connsiteY162" fmla="*/ 195953 h 376910"/>
                <a:gd name="connsiteX163" fmla="*/ 121493 w 470361"/>
                <a:gd name="connsiteY163" fmla="*/ 202121 h 376910"/>
                <a:gd name="connsiteX164" fmla="*/ 119568 w 470361"/>
                <a:gd name="connsiteY164" fmla="*/ 208239 h 376910"/>
                <a:gd name="connsiteX165" fmla="*/ 117595 w 470361"/>
                <a:gd name="connsiteY165" fmla="*/ 208239 h 376910"/>
                <a:gd name="connsiteX166" fmla="*/ 115670 w 470361"/>
                <a:gd name="connsiteY166" fmla="*/ 212827 h 376910"/>
                <a:gd name="connsiteX167" fmla="*/ 121493 w 470361"/>
                <a:gd name="connsiteY167" fmla="*/ 214357 h 376910"/>
                <a:gd name="connsiteX168" fmla="*/ 133285 w 470361"/>
                <a:gd name="connsiteY168" fmla="*/ 222005 h 376910"/>
                <a:gd name="connsiteX169" fmla="*/ 141130 w 470361"/>
                <a:gd name="connsiteY169" fmla="*/ 238879 h 376910"/>
                <a:gd name="connsiteX170" fmla="*/ 133285 w 470361"/>
                <a:gd name="connsiteY170" fmla="*/ 232761 h 376910"/>
                <a:gd name="connsiteX171" fmla="*/ 131312 w 470361"/>
                <a:gd name="connsiteY171" fmla="*/ 225064 h 376910"/>
                <a:gd name="connsiteX172" fmla="*/ 121443 w 470361"/>
                <a:gd name="connsiteY172" fmla="*/ 220475 h 376910"/>
                <a:gd name="connsiteX173" fmla="*/ 117545 w 470361"/>
                <a:gd name="connsiteY173" fmla="*/ 222005 h 376910"/>
                <a:gd name="connsiteX174" fmla="*/ 115622 w 470361"/>
                <a:gd name="connsiteY174" fmla="*/ 238879 h 376910"/>
                <a:gd name="connsiteX175" fmla="*/ 115622 w 470361"/>
                <a:gd name="connsiteY175" fmla="*/ 249586 h 376910"/>
                <a:gd name="connsiteX176" fmla="*/ 121443 w 470361"/>
                <a:gd name="connsiteY176" fmla="*/ 254175 h 376910"/>
                <a:gd name="connsiteX177" fmla="*/ 115622 w 470361"/>
                <a:gd name="connsiteY177" fmla="*/ 257283 h 376910"/>
                <a:gd name="connsiteX178" fmla="*/ 113648 w 470361"/>
                <a:gd name="connsiteY178" fmla="*/ 278697 h 376910"/>
                <a:gd name="connsiteX179" fmla="*/ 107776 w 470361"/>
                <a:gd name="connsiteY179" fmla="*/ 295571 h 376910"/>
                <a:gd name="connsiteX180" fmla="*/ 99931 w 470361"/>
                <a:gd name="connsiteY180" fmla="*/ 300160 h 376910"/>
                <a:gd name="connsiteX181" fmla="*/ 105802 w 470361"/>
                <a:gd name="connsiteY181" fmla="*/ 304749 h 376910"/>
                <a:gd name="connsiteX182" fmla="*/ 107776 w 470361"/>
                <a:gd name="connsiteY182" fmla="*/ 304749 h 376910"/>
                <a:gd name="connsiteX183" fmla="*/ 111674 w 470361"/>
                <a:gd name="connsiteY183" fmla="*/ 306278 h 376910"/>
                <a:gd name="connsiteX184" fmla="*/ 111674 w 470361"/>
                <a:gd name="connsiteY184" fmla="*/ 317034 h 376910"/>
                <a:gd name="connsiteX185" fmla="*/ 121542 w 470361"/>
                <a:gd name="connsiteY185" fmla="*/ 315505 h 376910"/>
                <a:gd name="connsiteX186" fmla="*/ 137232 w 470361"/>
                <a:gd name="connsiteY186" fmla="*/ 320093 h 376910"/>
                <a:gd name="connsiteX187" fmla="*/ 143153 w 470361"/>
                <a:gd name="connsiteY187" fmla="*/ 326211 h 376910"/>
                <a:gd name="connsiteX188" fmla="*/ 150998 w 470361"/>
                <a:gd name="connsiteY188" fmla="*/ 323152 h 376910"/>
                <a:gd name="connsiteX189" fmla="*/ 160866 w 470361"/>
                <a:gd name="connsiteY189" fmla="*/ 332330 h 376910"/>
                <a:gd name="connsiteX190" fmla="*/ 168711 w 470361"/>
                <a:gd name="connsiteY190" fmla="*/ 332330 h 376910"/>
                <a:gd name="connsiteX191" fmla="*/ 174583 w 470361"/>
                <a:gd name="connsiteY191" fmla="*/ 333859 h 376910"/>
                <a:gd name="connsiteX192" fmla="*/ 180454 w 470361"/>
                <a:gd name="connsiteY192" fmla="*/ 327741 h 376910"/>
                <a:gd name="connsiteX193" fmla="*/ 196095 w 470361"/>
                <a:gd name="connsiteY193" fmla="*/ 326211 h 376910"/>
                <a:gd name="connsiteX194" fmla="*/ 202016 w 470361"/>
                <a:gd name="connsiteY194" fmla="*/ 329271 h 376910"/>
                <a:gd name="connsiteX195" fmla="*/ 211884 w 470361"/>
                <a:gd name="connsiteY195" fmla="*/ 329271 h 376910"/>
                <a:gd name="connsiteX196" fmla="*/ 221752 w 470361"/>
                <a:gd name="connsiteY196" fmla="*/ 335389 h 376910"/>
                <a:gd name="connsiteX197" fmla="*/ 239367 w 470361"/>
                <a:gd name="connsiteY197" fmla="*/ 333859 h 376910"/>
                <a:gd name="connsiteX198" fmla="*/ 251110 w 470361"/>
                <a:gd name="connsiteY198" fmla="*/ 340027 h 376910"/>
                <a:gd name="connsiteX199" fmla="*/ 255057 w 470361"/>
                <a:gd name="connsiteY199" fmla="*/ 340027 h 376910"/>
                <a:gd name="connsiteX200" fmla="*/ 255057 w 470361"/>
                <a:gd name="connsiteY200" fmla="*/ 338497 h 376910"/>
                <a:gd name="connsiteX201" fmla="*/ 253084 w 470361"/>
                <a:gd name="connsiteY201" fmla="*/ 327741 h 376910"/>
                <a:gd name="connsiteX202" fmla="*/ 255057 w 470361"/>
                <a:gd name="connsiteY202" fmla="*/ 318564 h 376910"/>
                <a:gd name="connsiteX203" fmla="*/ 255057 w 470361"/>
                <a:gd name="connsiteY203" fmla="*/ 312446 h 376910"/>
                <a:gd name="connsiteX204" fmla="*/ 264925 w 470361"/>
                <a:gd name="connsiteY204" fmla="*/ 306278 h 376910"/>
                <a:gd name="connsiteX205" fmla="*/ 276668 w 470361"/>
                <a:gd name="connsiteY205" fmla="*/ 294042 h 376910"/>
                <a:gd name="connsiteX206" fmla="*/ 280566 w 470361"/>
                <a:gd name="connsiteY206" fmla="*/ 294042 h 376910"/>
                <a:gd name="connsiteX207" fmla="*/ 284514 w 470361"/>
                <a:gd name="connsiteY207" fmla="*/ 297101 h 376910"/>
                <a:gd name="connsiteX208" fmla="*/ 292309 w 470361"/>
                <a:gd name="connsiteY208" fmla="*/ 297101 h 376910"/>
                <a:gd name="connsiteX209" fmla="*/ 302177 w 470361"/>
                <a:gd name="connsiteY209" fmla="*/ 301689 h 376910"/>
                <a:gd name="connsiteX210" fmla="*/ 308049 w 470361"/>
                <a:gd name="connsiteY210" fmla="*/ 301689 h 376910"/>
                <a:gd name="connsiteX211" fmla="*/ 313920 w 470361"/>
                <a:gd name="connsiteY211" fmla="*/ 298630 h 376910"/>
                <a:gd name="connsiteX212" fmla="*/ 317818 w 470361"/>
                <a:gd name="connsiteY212" fmla="*/ 298630 h 376910"/>
                <a:gd name="connsiteX213" fmla="*/ 341354 w 470361"/>
                <a:gd name="connsiteY213" fmla="*/ 310916 h 376910"/>
                <a:gd name="connsiteX214" fmla="*/ 347225 w 470361"/>
                <a:gd name="connsiteY214" fmla="*/ 315505 h 376910"/>
                <a:gd name="connsiteX215" fmla="*/ 362915 w 470361"/>
                <a:gd name="connsiteY215" fmla="*/ 315505 h 376910"/>
                <a:gd name="connsiteX216" fmla="*/ 370711 w 470361"/>
                <a:gd name="connsiteY216" fmla="*/ 310916 h 376910"/>
                <a:gd name="connsiteX217" fmla="*/ 368787 w 470361"/>
                <a:gd name="connsiteY217" fmla="*/ 307808 h 376910"/>
                <a:gd name="connsiteX218" fmla="*/ 374658 w 470361"/>
                <a:gd name="connsiteY218" fmla="*/ 300160 h 376910"/>
                <a:gd name="connsiteX219" fmla="*/ 396220 w 470361"/>
                <a:gd name="connsiteY219" fmla="*/ 286394 h 376910"/>
                <a:gd name="connsiteX220" fmla="*/ 400118 w 470361"/>
                <a:gd name="connsiteY220" fmla="*/ 286394 h 376910"/>
                <a:gd name="connsiteX221" fmla="*/ 396220 w 470361"/>
                <a:gd name="connsiteY221" fmla="*/ 280226 h 376910"/>
                <a:gd name="connsiteX222" fmla="*/ 402091 w 470361"/>
                <a:gd name="connsiteY222" fmla="*/ 269519 h 376910"/>
                <a:gd name="connsiteX223" fmla="*/ 390299 w 470361"/>
                <a:gd name="connsiteY223" fmla="*/ 269519 h 376910"/>
                <a:gd name="connsiteX224" fmla="*/ 378556 w 470361"/>
                <a:gd name="connsiteY224" fmla="*/ 263401 h 376910"/>
                <a:gd name="connsiteX225" fmla="*/ 376632 w 470361"/>
                <a:gd name="connsiteY225" fmla="*/ 246527 h 376910"/>
                <a:gd name="connsiteX226" fmla="*/ 368787 w 470361"/>
                <a:gd name="connsiteY226" fmla="*/ 238879 h 376910"/>
                <a:gd name="connsiteX227" fmla="*/ 374658 w 470361"/>
                <a:gd name="connsiteY227" fmla="*/ 234290 h 376910"/>
                <a:gd name="connsiteX228" fmla="*/ 382503 w 470361"/>
                <a:gd name="connsiteY228" fmla="*/ 232761 h 376910"/>
                <a:gd name="connsiteX229" fmla="*/ 384477 w 470361"/>
                <a:gd name="connsiteY229" fmla="*/ 222005 h 376910"/>
                <a:gd name="connsiteX230" fmla="*/ 376632 w 470361"/>
                <a:gd name="connsiteY230" fmla="*/ 215887 h 376910"/>
                <a:gd name="connsiteX231" fmla="*/ 376632 w 470361"/>
                <a:gd name="connsiteY231" fmla="*/ 209768 h 376910"/>
                <a:gd name="connsiteX232" fmla="*/ 378556 w 470361"/>
                <a:gd name="connsiteY232" fmla="*/ 206709 h 376910"/>
                <a:gd name="connsiteX233" fmla="*/ 454540 w 470361"/>
                <a:gd name="connsiteY233" fmla="*/ 376884 h 376910"/>
                <a:gd name="connsiteX234" fmla="*/ 442797 w 470361"/>
                <a:gd name="connsiteY234" fmla="*/ 373825 h 376910"/>
                <a:gd name="connsiteX235" fmla="*/ 442797 w 470361"/>
                <a:gd name="connsiteY235" fmla="*/ 371013 h 376910"/>
                <a:gd name="connsiteX236" fmla="*/ 444722 w 470361"/>
                <a:gd name="connsiteY236" fmla="*/ 367954 h 376910"/>
                <a:gd name="connsiteX237" fmla="*/ 446695 w 470361"/>
                <a:gd name="connsiteY237" fmla="*/ 367954 h 376910"/>
                <a:gd name="connsiteX238" fmla="*/ 444722 w 470361"/>
                <a:gd name="connsiteY238" fmla="*/ 366424 h 376910"/>
                <a:gd name="connsiteX239" fmla="*/ 442797 w 470361"/>
                <a:gd name="connsiteY239" fmla="*/ 366424 h 376910"/>
                <a:gd name="connsiteX240" fmla="*/ 442797 w 470361"/>
                <a:gd name="connsiteY240" fmla="*/ 361786 h 376910"/>
                <a:gd name="connsiteX241" fmla="*/ 438850 w 470361"/>
                <a:gd name="connsiteY241" fmla="*/ 358727 h 376910"/>
                <a:gd name="connsiteX242" fmla="*/ 436877 w 470361"/>
                <a:gd name="connsiteY242" fmla="*/ 355668 h 376910"/>
                <a:gd name="connsiteX243" fmla="*/ 438850 w 470361"/>
                <a:gd name="connsiteY243" fmla="*/ 354138 h 376910"/>
                <a:gd name="connsiteX244" fmla="*/ 438850 w 470361"/>
                <a:gd name="connsiteY244" fmla="*/ 351079 h 376910"/>
                <a:gd name="connsiteX245" fmla="*/ 432978 w 470361"/>
                <a:gd name="connsiteY245" fmla="*/ 349550 h 376910"/>
                <a:gd name="connsiteX246" fmla="*/ 432978 w 470361"/>
                <a:gd name="connsiteY246" fmla="*/ 344961 h 376910"/>
                <a:gd name="connsiteX247" fmla="*/ 436877 w 470361"/>
                <a:gd name="connsiteY247" fmla="*/ 344961 h 376910"/>
                <a:gd name="connsiteX248" fmla="*/ 436877 w 470361"/>
                <a:gd name="connsiteY248" fmla="*/ 341902 h 376910"/>
                <a:gd name="connsiteX249" fmla="*/ 432978 w 470361"/>
                <a:gd name="connsiteY249" fmla="*/ 338843 h 376910"/>
                <a:gd name="connsiteX250" fmla="*/ 438850 w 470361"/>
                <a:gd name="connsiteY250" fmla="*/ 332675 h 376910"/>
                <a:gd name="connsiteX251" fmla="*/ 448718 w 470361"/>
                <a:gd name="connsiteY251" fmla="*/ 328086 h 376910"/>
                <a:gd name="connsiteX252" fmla="*/ 452616 w 470361"/>
                <a:gd name="connsiteY252" fmla="*/ 323498 h 376910"/>
                <a:gd name="connsiteX253" fmla="*/ 456514 w 470361"/>
                <a:gd name="connsiteY253" fmla="*/ 328086 h 376910"/>
                <a:gd name="connsiteX254" fmla="*/ 460461 w 470361"/>
                <a:gd name="connsiteY254" fmla="*/ 328086 h 376910"/>
                <a:gd name="connsiteX255" fmla="*/ 460461 w 470361"/>
                <a:gd name="connsiteY255" fmla="*/ 321672 h 376910"/>
                <a:gd name="connsiteX256" fmla="*/ 458488 w 470361"/>
                <a:gd name="connsiteY256" fmla="*/ 318613 h 376910"/>
                <a:gd name="connsiteX257" fmla="*/ 460461 w 470361"/>
                <a:gd name="connsiteY257" fmla="*/ 314025 h 376910"/>
                <a:gd name="connsiteX258" fmla="*/ 462435 w 470361"/>
                <a:gd name="connsiteY258" fmla="*/ 314025 h 376910"/>
                <a:gd name="connsiteX259" fmla="*/ 464359 w 470361"/>
                <a:gd name="connsiteY259" fmla="*/ 321672 h 376910"/>
                <a:gd name="connsiteX260" fmla="*/ 464359 w 470361"/>
                <a:gd name="connsiteY260" fmla="*/ 329320 h 376910"/>
                <a:gd name="connsiteX261" fmla="*/ 470279 w 470361"/>
                <a:gd name="connsiteY261" fmla="*/ 343135 h 376910"/>
                <a:gd name="connsiteX262" fmla="*/ 464359 w 470361"/>
                <a:gd name="connsiteY262" fmla="*/ 355372 h 376910"/>
                <a:gd name="connsiteX263" fmla="*/ 464359 w 470361"/>
                <a:gd name="connsiteY263" fmla="*/ 364598 h 376910"/>
                <a:gd name="connsiteX264" fmla="*/ 460461 w 470361"/>
                <a:gd name="connsiteY264" fmla="*/ 373776 h 3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470361" h="376910">
                  <a:moveTo>
                    <a:pt x="380086" y="206808"/>
                  </a:moveTo>
                  <a:lnTo>
                    <a:pt x="378112" y="202219"/>
                  </a:lnTo>
                  <a:lnTo>
                    <a:pt x="374214" y="199111"/>
                  </a:lnTo>
                  <a:lnTo>
                    <a:pt x="372240" y="189933"/>
                  </a:lnTo>
                  <a:lnTo>
                    <a:pt x="368343" y="185345"/>
                  </a:lnTo>
                  <a:lnTo>
                    <a:pt x="356600" y="183815"/>
                  </a:lnTo>
                  <a:lnTo>
                    <a:pt x="352652" y="188404"/>
                  </a:lnTo>
                  <a:lnTo>
                    <a:pt x="354626" y="194522"/>
                  </a:lnTo>
                  <a:lnTo>
                    <a:pt x="346781" y="199111"/>
                  </a:lnTo>
                  <a:lnTo>
                    <a:pt x="338936" y="199111"/>
                  </a:lnTo>
                  <a:lnTo>
                    <a:pt x="338936" y="192993"/>
                  </a:lnTo>
                  <a:lnTo>
                    <a:pt x="342883" y="191463"/>
                  </a:lnTo>
                  <a:lnTo>
                    <a:pt x="346781" y="191463"/>
                  </a:lnTo>
                  <a:lnTo>
                    <a:pt x="346781" y="185345"/>
                  </a:lnTo>
                  <a:lnTo>
                    <a:pt x="348755" y="176168"/>
                  </a:lnTo>
                  <a:lnTo>
                    <a:pt x="356600" y="162352"/>
                  </a:lnTo>
                  <a:lnTo>
                    <a:pt x="362471" y="160823"/>
                  </a:lnTo>
                  <a:lnTo>
                    <a:pt x="370267" y="154705"/>
                  </a:lnTo>
                  <a:lnTo>
                    <a:pt x="376188" y="151645"/>
                  </a:lnTo>
                  <a:lnTo>
                    <a:pt x="376188" y="145527"/>
                  </a:lnTo>
                  <a:lnTo>
                    <a:pt x="368343" y="140939"/>
                  </a:lnTo>
                  <a:lnTo>
                    <a:pt x="372240" y="136350"/>
                  </a:lnTo>
                  <a:lnTo>
                    <a:pt x="380086" y="136350"/>
                  </a:lnTo>
                  <a:lnTo>
                    <a:pt x="382060" y="140939"/>
                  </a:lnTo>
                  <a:lnTo>
                    <a:pt x="387931" y="140939"/>
                  </a:lnTo>
                  <a:lnTo>
                    <a:pt x="401647" y="137879"/>
                  </a:lnTo>
                  <a:lnTo>
                    <a:pt x="395776" y="131712"/>
                  </a:lnTo>
                  <a:lnTo>
                    <a:pt x="389855" y="128653"/>
                  </a:lnTo>
                  <a:lnTo>
                    <a:pt x="389855" y="121005"/>
                  </a:lnTo>
                  <a:lnTo>
                    <a:pt x="393802" y="108769"/>
                  </a:lnTo>
                  <a:lnTo>
                    <a:pt x="399674" y="105710"/>
                  </a:lnTo>
                  <a:lnTo>
                    <a:pt x="399674" y="101072"/>
                  </a:lnTo>
                  <a:lnTo>
                    <a:pt x="403621" y="90365"/>
                  </a:lnTo>
                  <a:lnTo>
                    <a:pt x="411417" y="82717"/>
                  </a:lnTo>
                  <a:lnTo>
                    <a:pt x="403621" y="79658"/>
                  </a:lnTo>
                  <a:lnTo>
                    <a:pt x="395776" y="79658"/>
                  </a:lnTo>
                  <a:lnTo>
                    <a:pt x="387931" y="76599"/>
                  </a:lnTo>
                  <a:lnTo>
                    <a:pt x="382060" y="78128"/>
                  </a:lnTo>
                  <a:lnTo>
                    <a:pt x="378112" y="76599"/>
                  </a:lnTo>
                  <a:lnTo>
                    <a:pt x="372240" y="76599"/>
                  </a:lnTo>
                  <a:lnTo>
                    <a:pt x="366369" y="78128"/>
                  </a:lnTo>
                  <a:lnTo>
                    <a:pt x="358524" y="73540"/>
                  </a:lnTo>
                  <a:lnTo>
                    <a:pt x="358524" y="70481"/>
                  </a:lnTo>
                  <a:lnTo>
                    <a:pt x="352652" y="65842"/>
                  </a:lnTo>
                  <a:lnTo>
                    <a:pt x="346781" y="67372"/>
                  </a:lnTo>
                  <a:lnTo>
                    <a:pt x="338936" y="65842"/>
                  </a:lnTo>
                  <a:lnTo>
                    <a:pt x="335038" y="58195"/>
                  </a:lnTo>
                  <a:lnTo>
                    <a:pt x="327192" y="58195"/>
                  </a:lnTo>
                  <a:lnTo>
                    <a:pt x="325219" y="59724"/>
                  </a:lnTo>
                  <a:lnTo>
                    <a:pt x="317374" y="56665"/>
                  </a:lnTo>
                  <a:lnTo>
                    <a:pt x="311503" y="56665"/>
                  </a:lnTo>
                  <a:lnTo>
                    <a:pt x="303707" y="47488"/>
                  </a:lnTo>
                  <a:lnTo>
                    <a:pt x="299760" y="47488"/>
                  </a:lnTo>
                  <a:lnTo>
                    <a:pt x="293888" y="44429"/>
                  </a:lnTo>
                  <a:lnTo>
                    <a:pt x="289941" y="44429"/>
                  </a:lnTo>
                  <a:lnTo>
                    <a:pt x="286043" y="45958"/>
                  </a:lnTo>
                  <a:lnTo>
                    <a:pt x="280172" y="42899"/>
                  </a:lnTo>
                  <a:lnTo>
                    <a:pt x="278198" y="33673"/>
                  </a:lnTo>
                  <a:lnTo>
                    <a:pt x="274300" y="32143"/>
                  </a:lnTo>
                  <a:lnTo>
                    <a:pt x="270353" y="29084"/>
                  </a:lnTo>
                  <a:lnTo>
                    <a:pt x="266455" y="29084"/>
                  </a:lnTo>
                  <a:lnTo>
                    <a:pt x="254712" y="21436"/>
                  </a:lnTo>
                  <a:lnTo>
                    <a:pt x="252738" y="16848"/>
                  </a:lnTo>
                  <a:lnTo>
                    <a:pt x="244942" y="13788"/>
                  </a:lnTo>
                  <a:lnTo>
                    <a:pt x="242919" y="3032"/>
                  </a:lnTo>
                  <a:lnTo>
                    <a:pt x="239021" y="-27"/>
                  </a:lnTo>
                  <a:lnTo>
                    <a:pt x="239021" y="1503"/>
                  </a:lnTo>
                  <a:lnTo>
                    <a:pt x="225305" y="6091"/>
                  </a:lnTo>
                  <a:lnTo>
                    <a:pt x="221407" y="3032"/>
                  </a:lnTo>
                  <a:lnTo>
                    <a:pt x="211539" y="7621"/>
                  </a:lnTo>
                  <a:lnTo>
                    <a:pt x="209615" y="15318"/>
                  </a:lnTo>
                  <a:lnTo>
                    <a:pt x="211539" y="22966"/>
                  </a:lnTo>
                  <a:lnTo>
                    <a:pt x="209615" y="33673"/>
                  </a:lnTo>
                  <a:lnTo>
                    <a:pt x="199747" y="42899"/>
                  </a:lnTo>
                  <a:lnTo>
                    <a:pt x="199747" y="47488"/>
                  </a:lnTo>
                  <a:lnTo>
                    <a:pt x="186030" y="49017"/>
                  </a:lnTo>
                  <a:lnTo>
                    <a:pt x="182132" y="49017"/>
                  </a:lnTo>
                  <a:lnTo>
                    <a:pt x="174287" y="47488"/>
                  </a:lnTo>
                  <a:lnTo>
                    <a:pt x="162544" y="53606"/>
                  </a:lnTo>
                  <a:lnTo>
                    <a:pt x="156623" y="58195"/>
                  </a:lnTo>
                  <a:lnTo>
                    <a:pt x="162544" y="62783"/>
                  </a:lnTo>
                  <a:lnTo>
                    <a:pt x="168416" y="65842"/>
                  </a:lnTo>
                  <a:lnTo>
                    <a:pt x="156623" y="70481"/>
                  </a:lnTo>
                  <a:lnTo>
                    <a:pt x="146755" y="72010"/>
                  </a:lnTo>
                  <a:lnTo>
                    <a:pt x="135012" y="70481"/>
                  </a:lnTo>
                  <a:lnTo>
                    <a:pt x="129091" y="68951"/>
                  </a:lnTo>
                  <a:lnTo>
                    <a:pt x="121246" y="70481"/>
                  </a:lnTo>
                  <a:lnTo>
                    <a:pt x="119322" y="67372"/>
                  </a:lnTo>
                  <a:lnTo>
                    <a:pt x="115424" y="62783"/>
                  </a:lnTo>
                  <a:lnTo>
                    <a:pt x="117348" y="58195"/>
                  </a:lnTo>
                  <a:lnTo>
                    <a:pt x="111477" y="55136"/>
                  </a:lnTo>
                  <a:lnTo>
                    <a:pt x="105605" y="56665"/>
                  </a:lnTo>
                  <a:lnTo>
                    <a:pt x="98056" y="56665"/>
                  </a:lnTo>
                  <a:lnTo>
                    <a:pt x="94158" y="55136"/>
                  </a:lnTo>
                  <a:lnTo>
                    <a:pt x="98056" y="62783"/>
                  </a:lnTo>
                  <a:lnTo>
                    <a:pt x="96132" y="67372"/>
                  </a:lnTo>
                  <a:lnTo>
                    <a:pt x="107924" y="74970"/>
                  </a:lnTo>
                  <a:lnTo>
                    <a:pt x="105951" y="78030"/>
                  </a:lnTo>
                  <a:lnTo>
                    <a:pt x="105951" y="87207"/>
                  </a:lnTo>
                  <a:lnTo>
                    <a:pt x="109849" y="93325"/>
                  </a:lnTo>
                  <a:lnTo>
                    <a:pt x="109849" y="97914"/>
                  </a:lnTo>
                  <a:lnTo>
                    <a:pt x="98106" y="96384"/>
                  </a:lnTo>
                  <a:lnTo>
                    <a:pt x="92234" y="97914"/>
                  </a:lnTo>
                  <a:lnTo>
                    <a:pt x="80491" y="97914"/>
                  </a:lnTo>
                  <a:lnTo>
                    <a:pt x="78518" y="96384"/>
                  </a:lnTo>
                  <a:lnTo>
                    <a:pt x="70672" y="102552"/>
                  </a:lnTo>
                  <a:lnTo>
                    <a:pt x="60804" y="88736"/>
                  </a:lnTo>
                  <a:lnTo>
                    <a:pt x="52959" y="87207"/>
                  </a:lnTo>
                  <a:lnTo>
                    <a:pt x="45114" y="88736"/>
                  </a:lnTo>
                  <a:lnTo>
                    <a:pt x="39242" y="96384"/>
                  </a:lnTo>
                  <a:lnTo>
                    <a:pt x="35295" y="94855"/>
                  </a:lnTo>
                  <a:lnTo>
                    <a:pt x="31397" y="97914"/>
                  </a:lnTo>
                  <a:lnTo>
                    <a:pt x="29473" y="96384"/>
                  </a:lnTo>
                  <a:lnTo>
                    <a:pt x="19605" y="96384"/>
                  </a:lnTo>
                  <a:lnTo>
                    <a:pt x="15658" y="99443"/>
                  </a:lnTo>
                  <a:lnTo>
                    <a:pt x="5790" y="100973"/>
                  </a:lnTo>
                  <a:lnTo>
                    <a:pt x="-82" y="105611"/>
                  </a:lnTo>
                  <a:lnTo>
                    <a:pt x="3816" y="108670"/>
                  </a:lnTo>
                  <a:lnTo>
                    <a:pt x="9687" y="107140"/>
                  </a:lnTo>
                  <a:lnTo>
                    <a:pt x="15559" y="108670"/>
                  </a:lnTo>
                  <a:lnTo>
                    <a:pt x="15559" y="111729"/>
                  </a:lnTo>
                  <a:lnTo>
                    <a:pt x="9687" y="110200"/>
                  </a:lnTo>
                  <a:lnTo>
                    <a:pt x="5790" y="110200"/>
                  </a:lnTo>
                  <a:lnTo>
                    <a:pt x="7714" y="116318"/>
                  </a:lnTo>
                  <a:lnTo>
                    <a:pt x="9687" y="111729"/>
                  </a:lnTo>
                  <a:lnTo>
                    <a:pt x="13635" y="113259"/>
                  </a:lnTo>
                  <a:lnTo>
                    <a:pt x="15559" y="116318"/>
                  </a:lnTo>
                  <a:lnTo>
                    <a:pt x="11661" y="119377"/>
                  </a:lnTo>
                  <a:lnTo>
                    <a:pt x="5790" y="120906"/>
                  </a:lnTo>
                  <a:lnTo>
                    <a:pt x="5790" y="122436"/>
                  </a:lnTo>
                  <a:lnTo>
                    <a:pt x="11661" y="122436"/>
                  </a:lnTo>
                  <a:lnTo>
                    <a:pt x="13635" y="130084"/>
                  </a:lnTo>
                  <a:lnTo>
                    <a:pt x="13635" y="133143"/>
                  </a:lnTo>
                  <a:lnTo>
                    <a:pt x="19506" y="128554"/>
                  </a:lnTo>
                  <a:lnTo>
                    <a:pt x="27302" y="130084"/>
                  </a:lnTo>
                  <a:lnTo>
                    <a:pt x="31249" y="130084"/>
                  </a:lnTo>
                  <a:lnTo>
                    <a:pt x="42992" y="133143"/>
                  </a:lnTo>
                  <a:lnTo>
                    <a:pt x="44966" y="136251"/>
                  </a:lnTo>
                  <a:lnTo>
                    <a:pt x="48913" y="136251"/>
                  </a:lnTo>
                  <a:lnTo>
                    <a:pt x="58781" y="140840"/>
                  </a:lnTo>
                  <a:lnTo>
                    <a:pt x="62679" y="136251"/>
                  </a:lnTo>
                  <a:lnTo>
                    <a:pt x="66626" y="137781"/>
                  </a:lnTo>
                  <a:lnTo>
                    <a:pt x="66626" y="142369"/>
                  </a:lnTo>
                  <a:lnTo>
                    <a:pt x="72498" y="139310"/>
                  </a:lnTo>
                  <a:lnTo>
                    <a:pt x="76445" y="142369"/>
                  </a:lnTo>
                  <a:lnTo>
                    <a:pt x="74422" y="150017"/>
                  </a:lnTo>
                  <a:lnTo>
                    <a:pt x="76445" y="154606"/>
                  </a:lnTo>
                  <a:lnTo>
                    <a:pt x="80343" y="154606"/>
                  </a:lnTo>
                  <a:lnTo>
                    <a:pt x="88188" y="150017"/>
                  </a:lnTo>
                  <a:lnTo>
                    <a:pt x="96033" y="151547"/>
                  </a:lnTo>
                  <a:lnTo>
                    <a:pt x="99931" y="156135"/>
                  </a:lnTo>
                  <a:lnTo>
                    <a:pt x="96033" y="153076"/>
                  </a:lnTo>
                  <a:lnTo>
                    <a:pt x="88188" y="154606"/>
                  </a:lnTo>
                  <a:lnTo>
                    <a:pt x="84241" y="159195"/>
                  </a:lnTo>
                  <a:lnTo>
                    <a:pt x="86214" y="160724"/>
                  </a:lnTo>
                  <a:lnTo>
                    <a:pt x="88188" y="165313"/>
                  </a:lnTo>
                  <a:lnTo>
                    <a:pt x="84241" y="169951"/>
                  </a:lnTo>
                  <a:lnTo>
                    <a:pt x="86214" y="176069"/>
                  </a:lnTo>
                  <a:lnTo>
                    <a:pt x="94059" y="176069"/>
                  </a:lnTo>
                  <a:lnTo>
                    <a:pt x="101855" y="185246"/>
                  </a:lnTo>
                  <a:lnTo>
                    <a:pt x="111724" y="186776"/>
                  </a:lnTo>
                  <a:lnTo>
                    <a:pt x="119568" y="191365"/>
                  </a:lnTo>
                  <a:lnTo>
                    <a:pt x="117595" y="195953"/>
                  </a:lnTo>
                  <a:lnTo>
                    <a:pt x="121493" y="202121"/>
                  </a:lnTo>
                  <a:lnTo>
                    <a:pt x="119568" y="208239"/>
                  </a:lnTo>
                  <a:lnTo>
                    <a:pt x="117595" y="208239"/>
                  </a:lnTo>
                  <a:lnTo>
                    <a:pt x="115670" y="212827"/>
                  </a:lnTo>
                  <a:lnTo>
                    <a:pt x="121493" y="214357"/>
                  </a:lnTo>
                  <a:lnTo>
                    <a:pt x="133285" y="222005"/>
                  </a:lnTo>
                  <a:lnTo>
                    <a:pt x="141130" y="238879"/>
                  </a:lnTo>
                  <a:lnTo>
                    <a:pt x="133285" y="232761"/>
                  </a:lnTo>
                  <a:lnTo>
                    <a:pt x="131312" y="225064"/>
                  </a:lnTo>
                  <a:lnTo>
                    <a:pt x="121443" y="220475"/>
                  </a:lnTo>
                  <a:lnTo>
                    <a:pt x="117545" y="222005"/>
                  </a:lnTo>
                  <a:lnTo>
                    <a:pt x="115622" y="238879"/>
                  </a:lnTo>
                  <a:lnTo>
                    <a:pt x="115622" y="249586"/>
                  </a:lnTo>
                  <a:lnTo>
                    <a:pt x="121443" y="254175"/>
                  </a:lnTo>
                  <a:lnTo>
                    <a:pt x="115622" y="257283"/>
                  </a:lnTo>
                  <a:lnTo>
                    <a:pt x="113648" y="278697"/>
                  </a:lnTo>
                  <a:lnTo>
                    <a:pt x="107776" y="295571"/>
                  </a:lnTo>
                  <a:lnTo>
                    <a:pt x="99931" y="300160"/>
                  </a:lnTo>
                  <a:lnTo>
                    <a:pt x="105802" y="304749"/>
                  </a:lnTo>
                  <a:lnTo>
                    <a:pt x="107776" y="304749"/>
                  </a:lnTo>
                  <a:lnTo>
                    <a:pt x="111674" y="306278"/>
                  </a:lnTo>
                  <a:lnTo>
                    <a:pt x="111674" y="317034"/>
                  </a:lnTo>
                  <a:lnTo>
                    <a:pt x="121542" y="315505"/>
                  </a:lnTo>
                  <a:lnTo>
                    <a:pt x="137232" y="320093"/>
                  </a:lnTo>
                  <a:lnTo>
                    <a:pt x="143153" y="326211"/>
                  </a:lnTo>
                  <a:lnTo>
                    <a:pt x="150998" y="323152"/>
                  </a:lnTo>
                  <a:lnTo>
                    <a:pt x="160866" y="332330"/>
                  </a:lnTo>
                  <a:lnTo>
                    <a:pt x="168711" y="332330"/>
                  </a:lnTo>
                  <a:lnTo>
                    <a:pt x="174583" y="333859"/>
                  </a:lnTo>
                  <a:lnTo>
                    <a:pt x="180454" y="327741"/>
                  </a:lnTo>
                  <a:lnTo>
                    <a:pt x="196095" y="326211"/>
                  </a:lnTo>
                  <a:lnTo>
                    <a:pt x="202016" y="329271"/>
                  </a:lnTo>
                  <a:lnTo>
                    <a:pt x="211884" y="329271"/>
                  </a:lnTo>
                  <a:lnTo>
                    <a:pt x="221752" y="335389"/>
                  </a:lnTo>
                  <a:lnTo>
                    <a:pt x="239367" y="333859"/>
                  </a:lnTo>
                  <a:lnTo>
                    <a:pt x="251110" y="340027"/>
                  </a:lnTo>
                  <a:lnTo>
                    <a:pt x="255057" y="340027"/>
                  </a:lnTo>
                  <a:lnTo>
                    <a:pt x="255057" y="338497"/>
                  </a:lnTo>
                  <a:lnTo>
                    <a:pt x="253084" y="327741"/>
                  </a:lnTo>
                  <a:lnTo>
                    <a:pt x="255057" y="318564"/>
                  </a:lnTo>
                  <a:lnTo>
                    <a:pt x="255057" y="312446"/>
                  </a:lnTo>
                  <a:lnTo>
                    <a:pt x="264925" y="306278"/>
                  </a:lnTo>
                  <a:lnTo>
                    <a:pt x="276668" y="294042"/>
                  </a:lnTo>
                  <a:lnTo>
                    <a:pt x="280566" y="294042"/>
                  </a:lnTo>
                  <a:lnTo>
                    <a:pt x="284514" y="297101"/>
                  </a:lnTo>
                  <a:lnTo>
                    <a:pt x="292309" y="297101"/>
                  </a:lnTo>
                  <a:lnTo>
                    <a:pt x="302177" y="301689"/>
                  </a:lnTo>
                  <a:lnTo>
                    <a:pt x="308049" y="301689"/>
                  </a:lnTo>
                  <a:lnTo>
                    <a:pt x="313920" y="298630"/>
                  </a:lnTo>
                  <a:lnTo>
                    <a:pt x="317818" y="298630"/>
                  </a:lnTo>
                  <a:lnTo>
                    <a:pt x="341354" y="310916"/>
                  </a:lnTo>
                  <a:lnTo>
                    <a:pt x="347225" y="315505"/>
                  </a:lnTo>
                  <a:lnTo>
                    <a:pt x="362915" y="315505"/>
                  </a:lnTo>
                  <a:lnTo>
                    <a:pt x="370711" y="310916"/>
                  </a:lnTo>
                  <a:lnTo>
                    <a:pt x="368787" y="307808"/>
                  </a:lnTo>
                  <a:lnTo>
                    <a:pt x="374658" y="300160"/>
                  </a:lnTo>
                  <a:lnTo>
                    <a:pt x="396220" y="286394"/>
                  </a:lnTo>
                  <a:lnTo>
                    <a:pt x="400118" y="286394"/>
                  </a:lnTo>
                  <a:lnTo>
                    <a:pt x="396220" y="280226"/>
                  </a:lnTo>
                  <a:lnTo>
                    <a:pt x="402091" y="269519"/>
                  </a:lnTo>
                  <a:lnTo>
                    <a:pt x="390299" y="269519"/>
                  </a:lnTo>
                  <a:lnTo>
                    <a:pt x="378556" y="263401"/>
                  </a:lnTo>
                  <a:lnTo>
                    <a:pt x="376632" y="246527"/>
                  </a:lnTo>
                  <a:lnTo>
                    <a:pt x="368787" y="238879"/>
                  </a:lnTo>
                  <a:lnTo>
                    <a:pt x="374658" y="234290"/>
                  </a:lnTo>
                  <a:lnTo>
                    <a:pt x="382503" y="232761"/>
                  </a:lnTo>
                  <a:lnTo>
                    <a:pt x="384477" y="222005"/>
                  </a:lnTo>
                  <a:lnTo>
                    <a:pt x="376632" y="215887"/>
                  </a:lnTo>
                  <a:lnTo>
                    <a:pt x="376632" y="209768"/>
                  </a:lnTo>
                  <a:lnTo>
                    <a:pt x="378556" y="206709"/>
                  </a:lnTo>
                  <a:close/>
                  <a:moveTo>
                    <a:pt x="454540" y="376884"/>
                  </a:moveTo>
                  <a:lnTo>
                    <a:pt x="442797" y="373825"/>
                  </a:lnTo>
                  <a:lnTo>
                    <a:pt x="442797" y="371013"/>
                  </a:lnTo>
                  <a:lnTo>
                    <a:pt x="444722" y="367954"/>
                  </a:lnTo>
                  <a:lnTo>
                    <a:pt x="446695" y="367954"/>
                  </a:lnTo>
                  <a:lnTo>
                    <a:pt x="444722" y="366424"/>
                  </a:lnTo>
                  <a:lnTo>
                    <a:pt x="442797" y="366424"/>
                  </a:lnTo>
                  <a:lnTo>
                    <a:pt x="442797" y="361786"/>
                  </a:lnTo>
                  <a:lnTo>
                    <a:pt x="438850" y="358727"/>
                  </a:lnTo>
                  <a:lnTo>
                    <a:pt x="436877" y="355668"/>
                  </a:lnTo>
                  <a:lnTo>
                    <a:pt x="438850" y="354138"/>
                  </a:lnTo>
                  <a:lnTo>
                    <a:pt x="438850" y="351079"/>
                  </a:lnTo>
                  <a:lnTo>
                    <a:pt x="432978" y="349550"/>
                  </a:lnTo>
                  <a:lnTo>
                    <a:pt x="432978" y="344961"/>
                  </a:lnTo>
                  <a:lnTo>
                    <a:pt x="436877" y="344961"/>
                  </a:lnTo>
                  <a:lnTo>
                    <a:pt x="436877" y="341902"/>
                  </a:lnTo>
                  <a:lnTo>
                    <a:pt x="432978" y="338843"/>
                  </a:lnTo>
                  <a:lnTo>
                    <a:pt x="438850" y="332675"/>
                  </a:lnTo>
                  <a:lnTo>
                    <a:pt x="448718" y="328086"/>
                  </a:lnTo>
                  <a:lnTo>
                    <a:pt x="452616" y="323498"/>
                  </a:lnTo>
                  <a:lnTo>
                    <a:pt x="456514" y="328086"/>
                  </a:lnTo>
                  <a:lnTo>
                    <a:pt x="460461" y="328086"/>
                  </a:lnTo>
                  <a:lnTo>
                    <a:pt x="460461" y="321672"/>
                  </a:lnTo>
                  <a:lnTo>
                    <a:pt x="458488" y="318613"/>
                  </a:lnTo>
                  <a:lnTo>
                    <a:pt x="460461" y="314025"/>
                  </a:lnTo>
                  <a:lnTo>
                    <a:pt x="462435" y="314025"/>
                  </a:lnTo>
                  <a:lnTo>
                    <a:pt x="464359" y="321672"/>
                  </a:lnTo>
                  <a:lnTo>
                    <a:pt x="464359" y="329320"/>
                  </a:lnTo>
                  <a:lnTo>
                    <a:pt x="470279" y="343135"/>
                  </a:lnTo>
                  <a:lnTo>
                    <a:pt x="464359" y="355372"/>
                  </a:lnTo>
                  <a:lnTo>
                    <a:pt x="464359" y="364598"/>
                  </a:lnTo>
                  <a:lnTo>
                    <a:pt x="460461" y="37377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Graphic 2">
              <a:extLst>
                <a:ext uri="{FF2B5EF4-FFF2-40B4-BE49-F238E27FC236}">
                  <a16:creationId xmlns:a16="http://schemas.microsoft.com/office/drawing/2014/main" id="{9D883C4D-F9B0-4A51-9242-6EEA36ACFA20}"/>
                </a:ext>
              </a:extLst>
            </p:cNvPr>
            <p:cNvSpPr/>
            <p:nvPr/>
          </p:nvSpPr>
          <p:spPr>
            <a:xfrm>
              <a:off x="5858807" y="3587069"/>
              <a:ext cx="10176" cy="6768"/>
            </a:xfrm>
            <a:custGeom>
              <a:avLst/>
              <a:gdLst>
                <a:gd name="connsiteX0" fmla="*/ -82 w 11200"/>
                <a:gd name="connsiteY0" fmla="*/ -27 h 7450"/>
                <a:gd name="connsiteX1" fmla="*/ -82 w 11200"/>
                <a:gd name="connsiteY1" fmla="*/ 2490 h 7450"/>
                <a:gd name="connsiteX2" fmla="*/ 6628 w 11200"/>
                <a:gd name="connsiteY2" fmla="*/ 7424 h 7450"/>
                <a:gd name="connsiteX3" fmla="*/ 11119 w 11200"/>
                <a:gd name="connsiteY3" fmla="*/ 3723 h 7450"/>
                <a:gd name="connsiteX4" fmla="*/ 11119 w 11200"/>
                <a:gd name="connsiteY4" fmla="*/ -27 h 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0" h="7450">
                  <a:moveTo>
                    <a:pt x="-82" y="-27"/>
                  </a:moveTo>
                  <a:lnTo>
                    <a:pt x="-82" y="2490"/>
                  </a:lnTo>
                  <a:lnTo>
                    <a:pt x="6628" y="7424"/>
                  </a:lnTo>
                  <a:lnTo>
                    <a:pt x="11119" y="3723"/>
                  </a:lnTo>
                  <a:lnTo>
                    <a:pt x="11119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Graphic 2">
              <a:extLst>
                <a:ext uri="{FF2B5EF4-FFF2-40B4-BE49-F238E27FC236}">
                  <a16:creationId xmlns:a16="http://schemas.microsoft.com/office/drawing/2014/main" id="{32A6FBE7-8316-463C-ACA8-1BF5557C148D}"/>
                </a:ext>
              </a:extLst>
            </p:cNvPr>
            <p:cNvSpPr/>
            <p:nvPr/>
          </p:nvSpPr>
          <p:spPr>
            <a:xfrm>
              <a:off x="5607780" y="3200685"/>
              <a:ext cx="372774" cy="362899"/>
            </a:xfrm>
            <a:custGeom>
              <a:avLst/>
              <a:gdLst>
                <a:gd name="connsiteX0" fmla="*/ 31348 w 410314"/>
                <a:gd name="connsiteY0" fmla="*/ 128357 h 399459"/>
                <a:gd name="connsiteX1" fmla="*/ 27450 w 410314"/>
                <a:gd name="connsiteY1" fmla="*/ 122238 h 399459"/>
                <a:gd name="connsiteX2" fmla="*/ 33322 w 410314"/>
                <a:gd name="connsiteY2" fmla="*/ 111532 h 399459"/>
                <a:gd name="connsiteX3" fmla="*/ 21529 w 410314"/>
                <a:gd name="connsiteY3" fmla="*/ 111532 h 399459"/>
                <a:gd name="connsiteX4" fmla="*/ 9786 w 410314"/>
                <a:gd name="connsiteY4" fmla="*/ 105611 h 399459"/>
                <a:gd name="connsiteX5" fmla="*/ 7862 w 410314"/>
                <a:gd name="connsiteY5" fmla="*/ 88786 h 399459"/>
                <a:gd name="connsiteX6" fmla="*/ -82 w 410314"/>
                <a:gd name="connsiteY6" fmla="*/ 80941 h 399459"/>
                <a:gd name="connsiteX7" fmla="*/ 5789 w 410314"/>
                <a:gd name="connsiteY7" fmla="*/ 76352 h 399459"/>
                <a:gd name="connsiteX8" fmla="*/ 13635 w 410314"/>
                <a:gd name="connsiteY8" fmla="*/ 74822 h 399459"/>
                <a:gd name="connsiteX9" fmla="*/ 15609 w 410314"/>
                <a:gd name="connsiteY9" fmla="*/ 64116 h 399459"/>
                <a:gd name="connsiteX10" fmla="*/ 7763 w 410314"/>
                <a:gd name="connsiteY10" fmla="*/ 57997 h 399459"/>
                <a:gd name="connsiteX11" fmla="*/ 7763 w 410314"/>
                <a:gd name="connsiteY11" fmla="*/ 51879 h 399459"/>
                <a:gd name="connsiteX12" fmla="*/ 9687 w 410314"/>
                <a:gd name="connsiteY12" fmla="*/ 48820 h 399459"/>
                <a:gd name="connsiteX13" fmla="*/ 17582 w 410314"/>
                <a:gd name="connsiteY13" fmla="*/ 50350 h 399459"/>
                <a:gd name="connsiteX14" fmla="*/ 33272 w 410314"/>
                <a:gd name="connsiteY14" fmla="*/ 42702 h 399459"/>
                <a:gd name="connsiteX15" fmla="*/ 43140 w 410314"/>
                <a:gd name="connsiteY15" fmla="*/ 45761 h 399459"/>
                <a:gd name="connsiteX16" fmla="*/ 54933 w 410314"/>
                <a:gd name="connsiteY16" fmla="*/ 26025 h 399459"/>
                <a:gd name="connsiteX17" fmla="*/ 64801 w 410314"/>
                <a:gd name="connsiteY17" fmla="*/ 30613 h 399459"/>
                <a:gd name="connsiteX18" fmla="*/ 60903 w 410314"/>
                <a:gd name="connsiteY18" fmla="*/ 36732 h 399459"/>
                <a:gd name="connsiteX19" fmla="*/ 74620 w 410314"/>
                <a:gd name="connsiteY19" fmla="*/ 42850 h 399459"/>
                <a:gd name="connsiteX20" fmla="*/ 78566 w 410314"/>
                <a:gd name="connsiteY20" fmla="*/ 48968 h 399459"/>
                <a:gd name="connsiteX21" fmla="*/ 84438 w 410314"/>
                <a:gd name="connsiteY21" fmla="*/ 36732 h 399459"/>
                <a:gd name="connsiteX22" fmla="*/ 84438 w 410314"/>
                <a:gd name="connsiteY22" fmla="*/ 29084 h 399459"/>
                <a:gd name="connsiteX23" fmla="*/ 102151 w 410314"/>
                <a:gd name="connsiteY23" fmla="*/ 32143 h 399459"/>
                <a:gd name="connsiteX24" fmla="*/ 108023 w 410314"/>
                <a:gd name="connsiteY24" fmla="*/ 32143 h 399459"/>
                <a:gd name="connsiteX25" fmla="*/ 113944 w 410314"/>
                <a:gd name="connsiteY25" fmla="*/ 36732 h 399459"/>
                <a:gd name="connsiteX26" fmla="*/ 113944 w 410314"/>
                <a:gd name="connsiteY26" fmla="*/ 26025 h 399459"/>
                <a:gd name="connsiteX27" fmla="*/ 127660 w 410314"/>
                <a:gd name="connsiteY27" fmla="*/ 22966 h 399459"/>
                <a:gd name="connsiteX28" fmla="*/ 123762 w 410314"/>
                <a:gd name="connsiteY28" fmla="*/ 12259 h 399459"/>
                <a:gd name="connsiteX29" fmla="*/ 133630 w 410314"/>
                <a:gd name="connsiteY29" fmla="*/ 4611 h 399459"/>
                <a:gd name="connsiteX30" fmla="*/ 145423 w 410314"/>
                <a:gd name="connsiteY30" fmla="*/ 9200 h 399459"/>
                <a:gd name="connsiteX31" fmla="*/ 163038 w 410314"/>
                <a:gd name="connsiteY31" fmla="*/ -27 h 399459"/>
                <a:gd name="connsiteX32" fmla="*/ 170932 w 410314"/>
                <a:gd name="connsiteY32" fmla="*/ 1503 h 399459"/>
                <a:gd name="connsiteX33" fmla="*/ 182477 w 410314"/>
                <a:gd name="connsiteY33" fmla="*/ 1503 h 399459"/>
                <a:gd name="connsiteX34" fmla="*/ 182477 w 410314"/>
                <a:gd name="connsiteY34" fmla="*/ 7670 h 399459"/>
                <a:gd name="connsiteX35" fmla="*/ 198168 w 410314"/>
                <a:gd name="connsiteY35" fmla="*/ 16848 h 399459"/>
                <a:gd name="connsiteX36" fmla="*/ 221752 w 410314"/>
                <a:gd name="connsiteY36" fmla="*/ 19907 h 399459"/>
                <a:gd name="connsiteX37" fmla="*/ 233545 w 410314"/>
                <a:gd name="connsiteY37" fmla="*/ 19907 h 399459"/>
                <a:gd name="connsiteX38" fmla="*/ 239416 w 410314"/>
                <a:gd name="connsiteY38" fmla="*/ 22966 h 399459"/>
                <a:gd name="connsiteX39" fmla="*/ 229548 w 410314"/>
                <a:gd name="connsiteY39" fmla="*/ 33672 h 399459"/>
                <a:gd name="connsiteX40" fmla="*/ 231521 w 410314"/>
                <a:gd name="connsiteY40" fmla="*/ 38261 h 399459"/>
                <a:gd name="connsiteX41" fmla="*/ 227575 w 410314"/>
                <a:gd name="connsiteY41" fmla="*/ 45909 h 399459"/>
                <a:gd name="connsiteX42" fmla="*/ 229548 w 410314"/>
                <a:gd name="connsiteY42" fmla="*/ 55086 h 399459"/>
                <a:gd name="connsiteX43" fmla="*/ 221703 w 410314"/>
                <a:gd name="connsiteY43" fmla="*/ 53557 h 399459"/>
                <a:gd name="connsiteX44" fmla="*/ 217756 w 410314"/>
                <a:gd name="connsiteY44" fmla="*/ 55086 h 399459"/>
                <a:gd name="connsiteX45" fmla="*/ 211884 w 410314"/>
                <a:gd name="connsiteY45" fmla="*/ 59675 h 399459"/>
                <a:gd name="connsiteX46" fmla="*/ 204039 w 410314"/>
                <a:gd name="connsiteY46" fmla="*/ 59675 h 399459"/>
                <a:gd name="connsiteX47" fmla="*/ 196145 w 410314"/>
                <a:gd name="connsiteY47" fmla="*/ 67323 h 399459"/>
                <a:gd name="connsiteX48" fmla="*/ 188300 w 410314"/>
                <a:gd name="connsiteY48" fmla="*/ 67323 h 399459"/>
                <a:gd name="connsiteX49" fmla="*/ 186326 w 410314"/>
                <a:gd name="connsiteY49" fmla="*/ 71911 h 399459"/>
                <a:gd name="connsiteX50" fmla="*/ 188300 w 410314"/>
                <a:gd name="connsiteY50" fmla="*/ 78029 h 399459"/>
                <a:gd name="connsiteX51" fmla="*/ 194220 w 410314"/>
                <a:gd name="connsiteY51" fmla="*/ 82618 h 399459"/>
                <a:gd name="connsiteX52" fmla="*/ 188300 w 410314"/>
                <a:gd name="connsiteY52" fmla="*/ 90266 h 399459"/>
                <a:gd name="connsiteX53" fmla="*/ 186326 w 410314"/>
                <a:gd name="connsiteY53" fmla="*/ 91796 h 399459"/>
                <a:gd name="connsiteX54" fmla="*/ 190273 w 410314"/>
                <a:gd name="connsiteY54" fmla="*/ 100973 h 399459"/>
                <a:gd name="connsiteX55" fmla="*/ 190273 w 410314"/>
                <a:gd name="connsiteY55" fmla="*/ 110150 h 399459"/>
                <a:gd name="connsiteX56" fmla="*/ 194220 w 410314"/>
                <a:gd name="connsiteY56" fmla="*/ 113209 h 399459"/>
                <a:gd name="connsiteX57" fmla="*/ 211884 w 410314"/>
                <a:gd name="connsiteY57" fmla="*/ 122387 h 399459"/>
                <a:gd name="connsiteX58" fmla="*/ 219730 w 410314"/>
                <a:gd name="connsiteY58" fmla="*/ 125446 h 399459"/>
                <a:gd name="connsiteX59" fmla="*/ 223677 w 410314"/>
                <a:gd name="connsiteY59" fmla="*/ 131564 h 399459"/>
                <a:gd name="connsiteX60" fmla="*/ 247261 w 410314"/>
                <a:gd name="connsiteY60" fmla="*/ 151300 h 399459"/>
                <a:gd name="connsiteX61" fmla="*/ 247261 w 410314"/>
                <a:gd name="connsiteY61" fmla="*/ 157418 h 399459"/>
                <a:gd name="connsiteX62" fmla="*/ 251159 w 410314"/>
                <a:gd name="connsiteY62" fmla="*/ 157418 h 399459"/>
                <a:gd name="connsiteX63" fmla="*/ 251159 w 410314"/>
                <a:gd name="connsiteY63" fmla="*/ 163536 h 399459"/>
                <a:gd name="connsiteX64" fmla="*/ 255106 w 410314"/>
                <a:gd name="connsiteY64" fmla="*/ 169654 h 399459"/>
                <a:gd name="connsiteX65" fmla="*/ 260978 w 410314"/>
                <a:gd name="connsiteY65" fmla="*/ 177302 h 399459"/>
                <a:gd name="connsiteX66" fmla="*/ 266899 w 410314"/>
                <a:gd name="connsiteY66" fmla="*/ 183421 h 399459"/>
                <a:gd name="connsiteX67" fmla="*/ 278691 w 410314"/>
                <a:gd name="connsiteY67" fmla="*/ 189539 h 399459"/>
                <a:gd name="connsiteX68" fmla="*/ 282589 w 410314"/>
                <a:gd name="connsiteY68" fmla="*/ 194127 h 399459"/>
                <a:gd name="connsiteX69" fmla="*/ 290434 w 410314"/>
                <a:gd name="connsiteY69" fmla="*/ 195657 h 399459"/>
                <a:gd name="connsiteX70" fmla="*/ 294382 w 410314"/>
                <a:gd name="connsiteY70" fmla="*/ 197186 h 399459"/>
                <a:gd name="connsiteX71" fmla="*/ 308098 w 410314"/>
                <a:gd name="connsiteY71" fmla="*/ 197186 h 399459"/>
                <a:gd name="connsiteX72" fmla="*/ 314019 w 410314"/>
                <a:gd name="connsiteY72" fmla="*/ 200196 h 399459"/>
                <a:gd name="connsiteX73" fmla="*/ 321913 w 410314"/>
                <a:gd name="connsiteY73" fmla="*/ 197186 h 399459"/>
                <a:gd name="connsiteX74" fmla="*/ 327735 w 410314"/>
                <a:gd name="connsiteY74" fmla="*/ 201726 h 399459"/>
                <a:gd name="connsiteX75" fmla="*/ 327735 w 410314"/>
                <a:gd name="connsiteY75" fmla="*/ 206314 h 399459"/>
                <a:gd name="connsiteX76" fmla="*/ 317867 w 410314"/>
                <a:gd name="connsiteY76" fmla="*/ 210903 h 399459"/>
                <a:gd name="connsiteX77" fmla="*/ 317867 w 410314"/>
                <a:gd name="connsiteY77" fmla="*/ 214160 h 399459"/>
                <a:gd name="connsiteX78" fmla="*/ 321864 w 410314"/>
                <a:gd name="connsiteY78" fmla="*/ 218748 h 399459"/>
                <a:gd name="connsiteX79" fmla="*/ 329659 w 410314"/>
                <a:gd name="connsiteY79" fmla="*/ 218748 h 399459"/>
                <a:gd name="connsiteX80" fmla="*/ 343426 w 410314"/>
                <a:gd name="connsiteY80" fmla="*/ 221807 h 399459"/>
                <a:gd name="connsiteX81" fmla="*/ 370908 w 410314"/>
                <a:gd name="connsiteY81" fmla="*/ 235573 h 399459"/>
                <a:gd name="connsiteX82" fmla="*/ 382700 w 410314"/>
                <a:gd name="connsiteY82" fmla="*/ 241692 h 399459"/>
                <a:gd name="connsiteX83" fmla="*/ 388622 w 410314"/>
                <a:gd name="connsiteY83" fmla="*/ 247859 h 399459"/>
                <a:gd name="connsiteX84" fmla="*/ 400414 w 410314"/>
                <a:gd name="connsiteY84" fmla="*/ 250918 h 399459"/>
                <a:gd name="connsiteX85" fmla="*/ 408259 w 410314"/>
                <a:gd name="connsiteY85" fmla="*/ 255507 h 399459"/>
                <a:gd name="connsiteX86" fmla="*/ 410233 w 410314"/>
                <a:gd name="connsiteY86" fmla="*/ 258566 h 399459"/>
                <a:gd name="connsiteX87" fmla="*/ 410233 w 410314"/>
                <a:gd name="connsiteY87" fmla="*/ 266214 h 399459"/>
                <a:gd name="connsiteX88" fmla="*/ 404311 w 410314"/>
                <a:gd name="connsiteY88" fmla="*/ 270802 h 399459"/>
                <a:gd name="connsiteX89" fmla="*/ 408259 w 410314"/>
                <a:gd name="connsiteY89" fmla="*/ 275391 h 399459"/>
                <a:gd name="connsiteX90" fmla="*/ 404311 w 410314"/>
                <a:gd name="connsiteY90" fmla="*/ 276920 h 399459"/>
                <a:gd name="connsiteX91" fmla="*/ 404311 w 410314"/>
                <a:gd name="connsiteY91" fmla="*/ 279980 h 399459"/>
                <a:gd name="connsiteX92" fmla="*/ 398440 w 410314"/>
                <a:gd name="connsiteY92" fmla="*/ 275391 h 399459"/>
                <a:gd name="connsiteX93" fmla="*/ 392519 w 410314"/>
                <a:gd name="connsiteY93" fmla="*/ 270802 h 399459"/>
                <a:gd name="connsiteX94" fmla="*/ 390595 w 410314"/>
                <a:gd name="connsiteY94" fmla="*/ 266214 h 399459"/>
                <a:gd name="connsiteX95" fmla="*/ 390595 w 410314"/>
                <a:gd name="connsiteY95" fmla="*/ 261625 h 399459"/>
                <a:gd name="connsiteX96" fmla="*/ 386648 w 410314"/>
                <a:gd name="connsiteY96" fmla="*/ 258566 h 399459"/>
                <a:gd name="connsiteX97" fmla="*/ 376780 w 410314"/>
                <a:gd name="connsiteY97" fmla="*/ 258566 h 399459"/>
                <a:gd name="connsiteX98" fmla="*/ 374806 w 410314"/>
                <a:gd name="connsiteY98" fmla="*/ 257036 h 399459"/>
                <a:gd name="connsiteX99" fmla="*/ 364938 w 410314"/>
                <a:gd name="connsiteY99" fmla="*/ 253977 h 399459"/>
                <a:gd name="connsiteX100" fmla="*/ 360991 w 410314"/>
                <a:gd name="connsiteY100" fmla="*/ 253977 h 399459"/>
                <a:gd name="connsiteX101" fmla="*/ 357093 w 410314"/>
                <a:gd name="connsiteY101" fmla="*/ 255507 h 399459"/>
                <a:gd name="connsiteX102" fmla="*/ 355119 w 410314"/>
                <a:gd name="connsiteY102" fmla="*/ 263155 h 399459"/>
                <a:gd name="connsiteX103" fmla="*/ 351172 w 410314"/>
                <a:gd name="connsiteY103" fmla="*/ 266214 h 399459"/>
                <a:gd name="connsiteX104" fmla="*/ 351172 w 410314"/>
                <a:gd name="connsiteY104" fmla="*/ 273861 h 399459"/>
                <a:gd name="connsiteX105" fmla="*/ 345301 w 410314"/>
                <a:gd name="connsiteY105" fmla="*/ 276920 h 399459"/>
                <a:gd name="connsiteX106" fmla="*/ 345301 w 410314"/>
                <a:gd name="connsiteY106" fmla="*/ 283039 h 399459"/>
                <a:gd name="connsiteX107" fmla="*/ 349199 w 410314"/>
                <a:gd name="connsiteY107" fmla="*/ 286098 h 399459"/>
                <a:gd name="connsiteX108" fmla="*/ 353146 w 410314"/>
                <a:gd name="connsiteY108" fmla="*/ 287627 h 399459"/>
                <a:gd name="connsiteX109" fmla="*/ 363014 w 410314"/>
                <a:gd name="connsiteY109" fmla="*/ 295275 h 399459"/>
                <a:gd name="connsiteX110" fmla="*/ 364987 w 410314"/>
                <a:gd name="connsiteY110" fmla="*/ 298334 h 399459"/>
                <a:gd name="connsiteX111" fmla="*/ 364987 w 410314"/>
                <a:gd name="connsiteY111" fmla="*/ 309041 h 399459"/>
                <a:gd name="connsiteX112" fmla="*/ 363014 w 410314"/>
                <a:gd name="connsiteY112" fmla="*/ 313630 h 399459"/>
                <a:gd name="connsiteX113" fmla="*/ 357142 w 410314"/>
                <a:gd name="connsiteY113" fmla="*/ 315159 h 399459"/>
                <a:gd name="connsiteX114" fmla="*/ 351221 w 410314"/>
                <a:gd name="connsiteY114" fmla="*/ 319748 h 399459"/>
                <a:gd name="connsiteX115" fmla="*/ 351221 w 410314"/>
                <a:gd name="connsiteY115" fmla="*/ 335043 h 399459"/>
                <a:gd name="connsiteX116" fmla="*/ 341353 w 410314"/>
                <a:gd name="connsiteY116" fmla="*/ 341162 h 399459"/>
                <a:gd name="connsiteX117" fmla="*/ 341353 w 410314"/>
                <a:gd name="connsiteY117" fmla="*/ 348809 h 399459"/>
                <a:gd name="connsiteX118" fmla="*/ 333508 w 410314"/>
                <a:gd name="connsiteY118" fmla="*/ 353398 h 399459"/>
                <a:gd name="connsiteX119" fmla="*/ 323640 w 410314"/>
                <a:gd name="connsiteY119" fmla="*/ 354928 h 399459"/>
                <a:gd name="connsiteX120" fmla="*/ 315795 w 410314"/>
                <a:gd name="connsiteY120" fmla="*/ 348809 h 399459"/>
                <a:gd name="connsiteX121" fmla="*/ 315795 w 410314"/>
                <a:gd name="connsiteY121" fmla="*/ 344221 h 399459"/>
                <a:gd name="connsiteX122" fmla="*/ 317720 w 410314"/>
                <a:gd name="connsiteY122" fmla="*/ 341162 h 399459"/>
                <a:gd name="connsiteX123" fmla="*/ 321716 w 410314"/>
                <a:gd name="connsiteY123" fmla="*/ 339632 h 399459"/>
                <a:gd name="connsiteX124" fmla="*/ 325614 w 410314"/>
                <a:gd name="connsiteY124" fmla="*/ 335043 h 399459"/>
                <a:gd name="connsiteX125" fmla="*/ 327538 w 410314"/>
                <a:gd name="connsiteY125" fmla="*/ 328925 h 399459"/>
                <a:gd name="connsiteX126" fmla="*/ 325614 w 410314"/>
                <a:gd name="connsiteY126" fmla="*/ 322807 h 399459"/>
                <a:gd name="connsiteX127" fmla="*/ 327538 w 410314"/>
                <a:gd name="connsiteY127" fmla="*/ 321278 h 399459"/>
                <a:gd name="connsiteX128" fmla="*/ 331485 w 410314"/>
                <a:gd name="connsiteY128" fmla="*/ 321278 h 399459"/>
                <a:gd name="connsiteX129" fmla="*/ 333459 w 410314"/>
                <a:gd name="connsiteY129" fmla="*/ 318219 h 399459"/>
                <a:gd name="connsiteX130" fmla="*/ 335433 w 410314"/>
                <a:gd name="connsiteY130" fmla="*/ 312100 h 399459"/>
                <a:gd name="connsiteX131" fmla="*/ 331485 w 410314"/>
                <a:gd name="connsiteY131" fmla="*/ 307511 h 399459"/>
                <a:gd name="connsiteX132" fmla="*/ 327538 w 410314"/>
                <a:gd name="connsiteY132" fmla="*/ 295275 h 399459"/>
                <a:gd name="connsiteX133" fmla="*/ 323640 w 410314"/>
                <a:gd name="connsiteY133" fmla="*/ 292216 h 399459"/>
                <a:gd name="connsiteX134" fmla="*/ 323640 w 410314"/>
                <a:gd name="connsiteY134" fmla="*/ 283039 h 399459"/>
                <a:gd name="connsiteX135" fmla="*/ 319693 w 410314"/>
                <a:gd name="connsiteY135" fmla="*/ 272332 h 399459"/>
                <a:gd name="connsiteX136" fmla="*/ 313821 w 410314"/>
                <a:gd name="connsiteY136" fmla="*/ 269273 h 399459"/>
                <a:gd name="connsiteX137" fmla="*/ 311848 w 410314"/>
                <a:gd name="connsiteY137" fmla="*/ 270802 h 399459"/>
                <a:gd name="connsiteX138" fmla="*/ 300105 w 410314"/>
                <a:gd name="connsiteY138" fmla="*/ 269273 h 399459"/>
                <a:gd name="connsiteX139" fmla="*/ 298082 w 410314"/>
                <a:gd name="connsiteY139" fmla="*/ 264684 h 399459"/>
                <a:gd name="connsiteX140" fmla="*/ 290237 w 410314"/>
                <a:gd name="connsiteY140" fmla="*/ 264684 h 399459"/>
                <a:gd name="connsiteX141" fmla="*/ 286290 w 410314"/>
                <a:gd name="connsiteY141" fmla="*/ 261625 h 399459"/>
                <a:gd name="connsiteX142" fmla="*/ 288312 w 410314"/>
                <a:gd name="connsiteY142" fmla="*/ 258566 h 399459"/>
                <a:gd name="connsiteX143" fmla="*/ 290237 w 410314"/>
                <a:gd name="connsiteY143" fmla="*/ 250918 h 399459"/>
                <a:gd name="connsiteX144" fmla="*/ 284365 w 410314"/>
                <a:gd name="connsiteY144" fmla="*/ 246330 h 399459"/>
                <a:gd name="connsiteX145" fmla="*/ 272573 w 410314"/>
                <a:gd name="connsiteY145" fmla="*/ 246330 h 399459"/>
                <a:gd name="connsiteX146" fmla="*/ 272573 w 410314"/>
                <a:gd name="connsiteY146" fmla="*/ 241692 h 399459"/>
                <a:gd name="connsiteX147" fmla="*/ 266701 w 410314"/>
                <a:gd name="connsiteY147" fmla="*/ 240162 h 399459"/>
                <a:gd name="connsiteX148" fmla="*/ 262754 w 410314"/>
                <a:gd name="connsiteY148" fmla="*/ 241692 h 399459"/>
                <a:gd name="connsiteX149" fmla="*/ 256882 w 410314"/>
                <a:gd name="connsiteY149" fmla="*/ 240162 h 399459"/>
                <a:gd name="connsiteX150" fmla="*/ 250962 w 410314"/>
                <a:gd name="connsiteY150" fmla="*/ 227925 h 399459"/>
                <a:gd name="connsiteX151" fmla="*/ 243117 w 410314"/>
                <a:gd name="connsiteY151" fmla="*/ 227925 h 399459"/>
                <a:gd name="connsiteX152" fmla="*/ 237196 w 410314"/>
                <a:gd name="connsiteY152" fmla="*/ 223337 h 399459"/>
                <a:gd name="connsiteX153" fmla="*/ 231325 w 410314"/>
                <a:gd name="connsiteY153" fmla="*/ 227925 h 399459"/>
                <a:gd name="connsiteX154" fmla="*/ 223480 w 410314"/>
                <a:gd name="connsiteY154" fmla="*/ 227925 h 399459"/>
                <a:gd name="connsiteX155" fmla="*/ 223480 w 410314"/>
                <a:gd name="connsiteY155" fmla="*/ 221807 h 399459"/>
                <a:gd name="connsiteX156" fmla="*/ 217558 w 410314"/>
                <a:gd name="connsiteY156" fmla="*/ 218748 h 399459"/>
                <a:gd name="connsiteX157" fmla="*/ 212082 w 410314"/>
                <a:gd name="connsiteY157" fmla="*/ 218748 h 399459"/>
                <a:gd name="connsiteX158" fmla="*/ 196342 w 410314"/>
                <a:gd name="connsiteY158" fmla="*/ 209571 h 399459"/>
                <a:gd name="connsiteX159" fmla="*/ 182626 w 410314"/>
                <a:gd name="connsiteY159" fmla="*/ 192795 h 399459"/>
                <a:gd name="connsiteX160" fmla="*/ 176704 w 410314"/>
                <a:gd name="connsiteY160" fmla="*/ 191266 h 399459"/>
                <a:gd name="connsiteX161" fmla="*/ 176704 w 410314"/>
                <a:gd name="connsiteY161" fmla="*/ 186677 h 399459"/>
                <a:gd name="connsiteX162" fmla="*/ 170833 w 410314"/>
                <a:gd name="connsiteY162" fmla="*/ 179029 h 399459"/>
                <a:gd name="connsiteX163" fmla="*/ 159041 w 410314"/>
                <a:gd name="connsiteY163" fmla="*/ 179029 h 399459"/>
                <a:gd name="connsiteX164" fmla="*/ 157116 w 410314"/>
                <a:gd name="connsiteY164" fmla="*/ 174441 h 399459"/>
                <a:gd name="connsiteX165" fmla="*/ 147248 w 410314"/>
                <a:gd name="connsiteY165" fmla="*/ 165263 h 399459"/>
                <a:gd name="connsiteX166" fmla="*/ 143350 w 410314"/>
                <a:gd name="connsiteY166" fmla="*/ 159145 h 399459"/>
                <a:gd name="connsiteX167" fmla="*/ 135505 w 410314"/>
                <a:gd name="connsiteY167" fmla="*/ 156086 h 399459"/>
                <a:gd name="connsiteX168" fmla="*/ 135505 w 410314"/>
                <a:gd name="connsiteY168" fmla="*/ 148438 h 399459"/>
                <a:gd name="connsiteX169" fmla="*/ 127611 w 410314"/>
                <a:gd name="connsiteY169" fmla="*/ 143850 h 399459"/>
                <a:gd name="connsiteX170" fmla="*/ 127611 w 410314"/>
                <a:gd name="connsiteY170" fmla="*/ 137682 h 399459"/>
                <a:gd name="connsiteX171" fmla="*/ 121739 w 410314"/>
                <a:gd name="connsiteY171" fmla="*/ 130034 h 399459"/>
                <a:gd name="connsiteX172" fmla="*/ 117792 w 410314"/>
                <a:gd name="connsiteY172" fmla="*/ 125446 h 399459"/>
                <a:gd name="connsiteX173" fmla="*/ 115819 w 410314"/>
                <a:gd name="connsiteY173" fmla="*/ 122387 h 399459"/>
                <a:gd name="connsiteX174" fmla="*/ 113894 w 410314"/>
                <a:gd name="connsiteY174" fmla="*/ 116268 h 399459"/>
                <a:gd name="connsiteX175" fmla="*/ 104026 w 410314"/>
                <a:gd name="connsiteY175" fmla="*/ 113209 h 399459"/>
                <a:gd name="connsiteX176" fmla="*/ 96181 w 410314"/>
                <a:gd name="connsiteY176" fmla="*/ 110150 h 399459"/>
                <a:gd name="connsiteX177" fmla="*/ 72596 w 410314"/>
                <a:gd name="connsiteY177" fmla="*/ 104032 h 399459"/>
                <a:gd name="connsiteX178" fmla="*/ 52860 w 410314"/>
                <a:gd name="connsiteY178" fmla="*/ 113209 h 399459"/>
                <a:gd name="connsiteX179" fmla="*/ 52860 w 410314"/>
                <a:gd name="connsiteY179" fmla="*/ 117798 h 399459"/>
                <a:gd name="connsiteX180" fmla="*/ 46989 w 410314"/>
                <a:gd name="connsiteY180" fmla="*/ 125446 h 399459"/>
                <a:gd name="connsiteX181" fmla="*/ 31249 w 410314"/>
                <a:gd name="connsiteY181" fmla="*/ 128505 h 399459"/>
                <a:gd name="connsiteX182" fmla="*/ 54933 w 410314"/>
                <a:gd name="connsiteY182" fmla="*/ 232366 h 399459"/>
                <a:gd name="connsiteX183" fmla="*/ 56906 w 410314"/>
                <a:gd name="connsiteY183" fmla="*/ 232366 h 399459"/>
                <a:gd name="connsiteX184" fmla="*/ 58880 w 410314"/>
                <a:gd name="connsiteY184" fmla="*/ 229307 h 399459"/>
                <a:gd name="connsiteX185" fmla="*/ 60853 w 410314"/>
                <a:gd name="connsiteY185" fmla="*/ 227778 h 399459"/>
                <a:gd name="connsiteX186" fmla="*/ 58880 w 410314"/>
                <a:gd name="connsiteY186" fmla="*/ 223189 h 399459"/>
                <a:gd name="connsiteX187" fmla="*/ 56906 w 410314"/>
                <a:gd name="connsiteY187" fmla="*/ 227778 h 399459"/>
                <a:gd name="connsiteX188" fmla="*/ 54933 w 410314"/>
                <a:gd name="connsiteY188" fmla="*/ 229307 h 399459"/>
                <a:gd name="connsiteX189" fmla="*/ 54933 w 410314"/>
                <a:gd name="connsiteY189" fmla="*/ 232366 h 399459"/>
                <a:gd name="connsiteX190" fmla="*/ 147248 w 410314"/>
                <a:gd name="connsiteY190" fmla="*/ 181940 h 399459"/>
                <a:gd name="connsiteX191" fmla="*/ 151196 w 410314"/>
                <a:gd name="connsiteY191" fmla="*/ 183470 h 399459"/>
                <a:gd name="connsiteX192" fmla="*/ 151196 w 410314"/>
                <a:gd name="connsiteY192" fmla="*/ 180411 h 399459"/>
                <a:gd name="connsiteX193" fmla="*/ 147248 w 410314"/>
                <a:gd name="connsiteY193" fmla="*/ 181940 h 399459"/>
                <a:gd name="connsiteX194" fmla="*/ 119766 w 410314"/>
                <a:gd name="connsiteY194" fmla="*/ 163586 h 399459"/>
                <a:gd name="connsiteX195" fmla="*/ 115819 w 410314"/>
                <a:gd name="connsiteY195" fmla="*/ 166645 h 399459"/>
                <a:gd name="connsiteX196" fmla="*/ 119766 w 410314"/>
                <a:gd name="connsiteY196" fmla="*/ 168174 h 399459"/>
                <a:gd name="connsiteX197" fmla="*/ 127611 w 410314"/>
                <a:gd name="connsiteY197" fmla="*/ 165115 h 399459"/>
                <a:gd name="connsiteX198" fmla="*/ 133532 w 410314"/>
                <a:gd name="connsiteY198" fmla="*/ 166645 h 399459"/>
                <a:gd name="connsiteX199" fmla="*/ 133532 w 410314"/>
                <a:gd name="connsiteY199" fmla="*/ 162056 h 399459"/>
                <a:gd name="connsiteX200" fmla="*/ 127611 w 410314"/>
                <a:gd name="connsiteY200" fmla="*/ 158997 h 399459"/>
                <a:gd name="connsiteX201" fmla="*/ 127611 w 410314"/>
                <a:gd name="connsiteY201" fmla="*/ 162056 h 399459"/>
                <a:gd name="connsiteX202" fmla="*/ 119766 w 410314"/>
                <a:gd name="connsiteY202" fmla="*/ 163586 h 399459"/>
                <a:gd name="connsiteX203" fmla="*/ 74570 w 410314"/>
                <a:gd name="connsiteY203" fmla="*/ 316541 h 399459"/>
                <a:gd name="connsiteX204" fmla="*/ 78518 w 410314"/>
                <a:gd name="connsiteY204" fmla="*/ 315011 h 399459"/>
                <a:gd name="connsiteX205" fmla="*/ 80491 w 410314"/>
                <a:gd name="connsiteY205" fmla="*/ 316541 h 399459"/>
                <a:gd name="connsiteX206" fmla="*/ 86363 w 410314"/>
                <a:gd name="connsiteY206" fmla="*/ 315011 h 399459"/>
                <a:gd name="connsiteX207" fmla="*/ 86363 w 410314"/>
                <a:gd name="connsiteY207" fmla="*/ 307364 h 399459"/>
                <a:gd name="connsiteX208" fmla="*/ 88336 w 410314"/>
                <a:gd name="connsiteY208" fmla="*/ 302775 h 399459"/>
                <a:gd name="connsiteX209" fmla="*/ 94207 w 410314"/>
                <a:gd name="connsiteY209" fmla="*/ 302775 h 399459"/>
                <a:gd name="connsiteX210" fmla="*/ 102102 w 410314"/>
                <a:gd name="connsiteY210" fmla="*/ 307364 h 399459"/>
                <a:gd name="connsiteX211" fmla="*/ 104026 w 410314"/>
                <a:gd name="connsiteY211" fmla="*/ 307364 h 399459"/>
                <a:gd name="connsiteX212" fmla="*/ 107974 w 410314"/>
                <a:gd name="connsiteY212" fmla="*/ 302775 h 399459"/>
                <a:gd name="connsiteX213" fmla="*/ 107974 w 410314"/>
                <a:gd name="connsiteY213" fmla="*/ 275243 h 399459"/>
                <a:gd name="connsiteX214" fmla="*/ 109947 w 410314"/>
                <a:gd name="connsiteY214" fmla="*/ 264536 h 399459"/>
                <a:gd name="connsiteX215" fmla="*/ 102102 w 410314"/>
                <a:gd name="connsiteY215" fmla="*/ 258418 h 399459"/>
                <a:gd name="connsiteX216" fmla="*/ 107974 w 410314"/>
                <a:gd name="connsiteY216" fmla="*/ 253829 h 399459"/>
                <a:gd name="connsiteX217" fmla="*/ 109947 w 410314"/>
                <a:gd name="connsiteY217" fmla="*/ 247711 h 399459"/>
                <a:gd name="connsiteX218" fmla="*/ 107974 w 410314"/>
                <a:gd name="connsiteY218" fmla="*/ 240014 h 399459"/>
                <a:gd name="connsiteX219" fmla="*/ 104026 w 410314"/>
                <a:gd name="connsiteY219" fmla="*/ 236955 h 399459"/>
                <a:gd name="connsiteX220" fmla="*/ 96181 w 410314"/>
                <a:gd name="connsiteY220" fmla="*/ 229307 h 399459"/>
                <a:gd name="connsiteX221" fmla="*/ 94207 w 410314"/>
                <a:gd name="connsiteY221" fmla="*/ 230837 h 399459"/>
                <a:gd name="connsiteX222" fmla="*/ 88336 w 410314"/>
                <a:gd name="connsiteY222" fmla="*/ 224718 h 399459"/>
                <a:gd name="connsiteX223" fmla="*/ 82464 w 410314"/>
                <a:gd name="connsiteY223" fmla="*/ 227778 h 399459"/>
                <a:gd name="connsiteX224" fmla="*/ 70672 w 410314"/>
                <a:gd name="connsiteY224" fmla="*/ 240014 h 399459"/>
                <a:gd name="connsiteX225" fmla="*/ 64751 w 410314"/>
                <a:gd name="connsiteY225" fmla="*/ 240014 h 399459"/>
                <a:gd name="connsiteX226" fmla="*/ 54883 w 410314"/>
                <a:gd name="connsiteY226" fmla="*/ 236955 h 399459"/>
                <a:gd name="connsiteX227" fmla="*/ 54883 w 410314"/>
                <a:gd name="connsiteY227" fmla="*/ 246181 h 399459"/>
                <a:gd name="connsiteX228" fmla="*/ 58830 w 410314"/>
                <a:gd name="connsiteY228" fmla="*/ 253829 h 399459"/>
                <a:gd name="connsiteX229" fmla="*/ 60804 w 410314"/>
                <a:gd name="connsiteY229" fmla="*/ 256888 h 399459"/>
                <a:gd name="connsiteX230" fmla="*/ 66676 w 410314"/>
                <a:gd name="connsiteY230" fmla="*/ 261477 h 399459"/>
                <a:gd name="connsiteX231" fmla="*/ 66676 w 410314"/>
                <a:gd name="connsiteY231" fmla="*/ 267595 h 399459"/>
                <a:gd name="connsiteX232" fmla="*/ 60804 w 410314"/>
                <a:gd name="connsiteY232" fmla="*/ 272184 h 399459"/>
                <a:gd name="connsiteX233" fmla="*/ 64702 w 410314"/>
                <a:gd name="connsiteY233" fmla="*/ 275243 h 399459"/>
                <a:gd name="connsiteX234" fmla="*/ 70623 w 410314"/>
                <a:gd name="connsiteY234" fmla="*/ 276772 h 399459"/>
                <a:gd name="connsiteX235" fmla="*/ 70623 w 410314"/>
                <a:gd name="connsiteY235" fmla="*/ 279832 h 399459"/>
                <a:gd name="connsiteX236" fmla="*/ 66676 w 410314"/>
                <a:gd name="connsiteY236" fmla="*/ 284420 h 399459"/>
                <a:gd name="connsiteX237" fmla="*/ 64702 w 410314"/>
                <a:gd name="connsiteY237" fmla="*/ 295127 h 399459"/>
                <a:gd name="connsiteX238" fmla="*/ 66676 w 410314"/>
                <a:gd name="connsiteY238" fmla="*/ 298186 h 399459"/>
                <a:gd name="connsiteX239" fmla="*/ 70623 w 410314"/>
                <a:gd name="connsiteY239" fmla="*/ 311952 h 399459"/>
                <a:gd name="connsiteX240" fmla="*/ 74521 w 410314"/>
                <a:gd name="connsiteY240" fmla="*/ 316541 h 399459"/>
                <a:gd name="connsiteX241" fmla="*/ 302424 w 410314"/>
                <a:gd name="connsiteY241" fmla="*/ 397656 h 399459"/>
                <a:gd name="connsiteX242" fmla="*/ 302424 w 410314"/>
                <a:gd name="connsiteY242" fmla="*/ 391785 h 399459"/>
                <a:gd name="connsiteX243" fmla="*/ 306371 w 410314"/>
                <a:gd name="connsiteY243" fmla="*/ 387196 h 399459"/>
                <a:gd name="connsiteX244" fmla="*/ 306371 w 410314"/>
                <a:gd name="connsiteY244" fmla="*/ 379499 h 399459"/>
                <a:gd name="connsiteX245" fmla="*/ 298477 w 410314"/>
                <a:gd name="connsiteY245" fmla="*/ 371851 h 399459"/>
                <a:gd name="connsiteX246" fmla="*/ 306371 w 410314"/>
                <a:gd name="connsiteY246" fmla="*/ 356556 h 399459"/>
                <a:gd name="connsiteX247" fmla="*/ 312243 w 410314"/>
                <a:gd name="connsiteY247" fmla="*/ 351967 h 399459"/>
                <a:gd name="connsiteX248" fmla="*/ 314216 w 410314"/>
                <a:gd name="connsiteY248" fmla="*/ 344319 h 399459"/>
                <a:gd name="connsiteX249" fmla="*/ 308295 w 410314"/>
                <a:gd name="connsiteY249" fmla="*/ 338201 h 399459"/>
                <a:gd name="connsiteX250" fmla="*/ 298427 w 410314"/>
                <a:gd name="connsiteY250" fmla="*/ 345849 h 399459"/>
                <a:gd name="connsiteX251" fmla="*/ 294529 w 410314"/>
                <a:gd name="connsiteY251" fmla="*/ 345849 h 399459"/>
                <a:gd name="connsiteX252" fmla="*/ 286635 w 410314"/>
                <a:gd name="connsiteY252" fmla="*/ 341260 h 399459"/>
                <a:gd name="connsiteX253" fmla="*/ 280764 w 410314"/>
                <a:gd name="connsiteY253" fmla="*/ 348908 h 399459"/>
                <a:gd name="connsiteX254" fmla="*/ 263099 w 410314"/>
                <a:gd name="connsiteY254" fmla="*/ 347379 h 399459"/>
                <a:gd name="connsiteX255" fmla="*/ 249334 w 410314"/>
                <a:gd name="connsiteY255" fmla="*/ 350438 h 399459"/>
                <a:gd name="connsiteX256" fmla="*/ 241488 w 410314"/>
                <a:gd name="connsiteY256" fmla="*/ 348908 h 399459"/>
                <a:gd name="connsiteX257" fmla="*/ 231620 w 410314"/>
                <a:gd name="connsiteY257" fmla="*/ 345849 h 399459"/>
                <a:gd name="connsiteX258" fmla="*/ 225749 w 410314"/>
                <a:gd name="connsiteY258" fmla="*/ 345849 h 399459"/>
                <a:gd name="connsiteX259" fmla="*/ 221802 w 410314"/>
                <a:gd name="connsiteY259" fmla="*/ 348908 h 399459"/>
                <a:gd name="connsiteX260" fmla="*/ 217855 w 410314"/>
                <a:gd name="connsiteY260" fmla="*/ 345849 h 399459"/>
                <a:gd name="connsiteX261" fmla="*/ 210009 w 410314"/>
                <a:gd name="connsiteY261" fmla="*/ 350438 h 399459"/>
                <a:gd name="connsiteX262" fmla="*/ 210009 w 410314"/>
                <a:gd name="connsiteY262" fmla="*/ 361144 h 399459"/>
                <a:gd name="connsiteX263" fmla="*/ 215881 w 410314"/>
                <a:gd name="connsiteY263" fmla="*/ 367263 h 399459"/>
                <a:gd name="connsiteX264" fmla="*/ 223775 w 410314"/>
                <a:gd name="connsiteY264" fmla="*/ 365733 h 399459"/>
                <a:gd name="connsiteX265" fmla="*/ 239466 w 410314"/>
                <a:gd name="connsiteY265" fmla="*/ 373381 h 399459"/>
                <a:gd name="connsiteX266" fmla="*/ 245386 w 410314"/>
                <a:gd name="connsiteY266" fmla="*/ 374911 h 399459"/>
                <a:gd name="connsiteX267" fmla="*/ 251258 w 410314"/>
                <a:gd name="connsiteY267" fmla="*/ 381029 h 399459"/>
                <a:gd name="connsiteX268" fmla="*/ 266997 w 410314"/>
                <a:gd name="connsiteY268" fmla="*/ 387196 h 399459"/>
                <a:gd name="connsiteX269" fmla="*/ 272869 w 410314"/>
                <a:gd name="connsiteY269" fmla="*/ 384137 h 399459"/>
                <a:gd name="connsiteX270" fmla="*/ 278790 w 410314"/>
                <a:gd name="connsiteY270" fmla="*/ 388726 h 399459"/>
                <a:gd name="connsiteX271" fmla="*/ 280714 w 410314"/>
                <a:gd name="connsiteY271" fmla="*/ 394844 h 399459"/>
                <a:gd name="connsiteX272" fmla="*/ 296404 w 410314"/>
                <a:gd name="connsiteY272" fmla="*/ 399433 h 39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410314" h="399459">
                  <a:moveTo>
                    <a:pt x="31348" y="128357"/>
                  </a:moveTo>
                  <a:lnTo>
                    <a:pt x="27450" y="122238"/>
                  </a:lnTo>
                  <a:lnTo>
                    <a:pt x="33322" y="111532"/>
                  </a:lnTo>
                  <a:lnTo>
                    <a:pt x="21529" y="111532"/>
                  </a:lnTo>
                  <a:lnTo>
                    <a:pt x="9786" y="105611"/>
                  </a:lnTo>
                  <a:lnTo>
                    <a:pt x="7862" y="88786"/>
                  </a:lnTo>
                  <a:lnTo>
                    <a:pt x="-82" y="80941"/>
                  </a:lnTo>
                  <a:lnTo>
                    <a:pt x="5789" y="76352"/>
                  </a:lnTo>
                  <a:lnTo>
                    <a:pt x="13635" y="74822"/>
                  </a:lnTo>
                  <a:lnTo>
                    <a:pt x="15609" y="64116"/>
                  </a:lnTo>
                  <a:lnTo>
                    <a:pt x="7763" y="57997"/>
                  </a:lnTo>
                  <a:lnTo>
                    <a:pt x="7763" y="51879"/>
                  </a:lnTo>
                  <a:lnTo>
                    <a:pt x="9687" y="48820"/>
                  </a:lnTo>
                  <a:lnTo>
                    <a:pt x="17582" y="50350"/>
                  </a:lnTo>
                  <a:lnTo>
                    <a:pt x="33272" y="42702"/>
                  </a:lnTo>
                  <a:lnTo>
                    <a:pt x="43140" y="45761"/>
                  </a:lnTo>
                  <a:lnTo>
                    <a:pt x="54933" y="26025"/>
                  </a:lnTo>
                  <a:lnTo>
                    <a:pt x="64801" y="30613"/>
                  </a:lnTo>
                  <a:lnTo>
                    <a:pt x="60903" y="36732"/>
                  </a:lnTo>
                  <a:lnTo>
                    <a:pt x="74620" y="42850"/>
                  </a:lnTo>
                  <a:lnTo>
                    <a:pt x="78566" y="48968"/>
                  </a:lnTo>
                  <a:lnTo>
                    <a:pt x="84438" y="36732"/>
                  </a:lnTo>
                  <a:lnTo>
                    <a:pt x="84438" y="29084"/>
                  </a:lnTo>
                  <a:lnTo>
                    <a:pt x="102151" y="32143"/>
                  </a:lnTo>
                  <a:lnTo>
                    <a:pt x="108023" y="32143"/>
                  </a:lnTo>
                  <a:lnTo>
                    <a:pt x="113944" y="36732"/>
                  </a:lnTo>
                  <a:lnTo>
                    <a:pt x="113944" y="26025"/>
                  </a:lnTo>
                  <a:lnTo>
                    <a:pt x="127660" y="22966"/>
                  </a:lnTo>
                  <a:lnTo>
                    <a:pt x="123762" y="12259"/>
                  </a:lnTo>
                  <a:lnTo>
                    <a:pt x="133630" y="4611"/>
                  </a:lnTo>
                  <a:lnTo>
                    <a:pt x="145423" y="9200"/>
                  </a:lnTo>
                  <a:lnTo>
                    <a:pt x="163038" y="-27"/>
                  </a:lnTo>
                  <a:lnTo>
                    <a:pt x="170932" y="1503"/>
                  </a:lnTo>
                  <a:lnTo>
                    <a:pt x="182477" y="1503"/>
                  </a:lnTo>
                  <a:lnTo>
                    <a:pt x="182477" y="7670"/>
                  </a:lnTo>
                  <a:lnTo>
                    <a:pt x="198168" y="16848"/>
                  </a:lnTo>
                  <a:lnTo>
                    <a:pt x="221752" y="19907"/>
                  </a:lnTo>
                  <a:lnTo>
                    <a:pt x="233545" y="19907"/>
                  </a:lnTo>
                  <a:lnTo>
                    <a:pt x="239416" y="22966"/>
                  </a:lnTo>
                  <a:lnTo>
                    <a:pt x="229548" y="33672"/>
                  </a:lnTo>
                  <a:lnTo>
                    <a:pt x="231521" y="38261"/>
                  </a:lnTo>
                  <a:lnTo>
                    <a:pt x="227575" y="45909"/>
                  </a:lnTo>
                  <a:lnTo>
                    <a:pt x="229548" y="55086"/>
                  </a:lnTo>
                  <a:lnTo>
                    <a:pt x="221703" y="53557"/>
                  </a:lnTo>
                  <a:lnTo>
                    <a:pt x="217756" y="55086"/>
                  </a:lnTo>
                  <a:lnTo>
                    <a:pt x="211884" y="59675"/>
                  </a:lnTo>
                  <a:lnTo>
                    <a:pt x="204039" y="59675"/>
                  </a:lnTo>
                  <a:lnTo>
                    <a:pt x="196145" y="67323"/>
                  </a:lnTo>
                  <a:lnTo>
                    <a:pt x="188300" y="67323"/>
                  </a:lnTo>
                  <a:lnTo>
                    <a:pt x="186326" y="71911"/>
                  </a:lnTo>
                  <a:lnTo>
                    <a:pt x="188300" y="78029"/>
                  </a:lnTo>
                  <a:lnTo>
                    <a:pt x="194220" y="82618"/>
                  </a:lnTo>
                  <a:lnTo>
                    <a:pt x="188300" y="90266"/>
                  </a:lnTo>
                  <a:lnTo>
                    <a:pt x="186326" y="91796"/>
                  </a:lnTo>
                  <a:lnTo>
                    <a:pt x="190273" y="100973"/>
                  </a:lnTo>
                  <a:lnTo>
                    <a:pt x="190273" y="110150"/>
                  </a:lnTo>
                  <a:lnTo>
                    <a:pt x="194220" y="113209"/>
                  </a:lnTo>
                  <a:lnTo>
                    <a:pt x="211884" y="122387"/>
                  </a:lnTo>
                  <a:lnTo>
                    <a:pt x="219730" y="125446"/>
                  </a:lnTo>
                  <a:lnTo>
                    <a:pt x="223677" y="131564"/>
                  </a:lnTo>
                  <a:lnTo>
                    <a:pt x="247261" y="151300"/>
                  </a:lnTo>
                  <a:lnTo>
                    <a:pt x="247261" y="157418"/>
                  </a:lnTo>
                  <a:lnTo>
                    <a:pt x="251159" y="157418"/>
                  </a:lnTo>
                  <a:lnTo>
                    <a:pt x="251159" y="163536"/>
                  </a:lnTo>
                  <a:lnTo>
                    <a:pt x="255106" y="169654"/>
                  </a:lnTo>
                  <a:lnTo>
                    <a:pt x="260978" y="177302"/>
                  </a:lnTo>
                  <a:lnTo>
                    <a:pt x="266899" y="183421"/>
                  </a:lnTo>
                  <a:lnTo>
                    <a:pt x="278691" y="189539"/>
                  </a:lnTo>
                  <a:lnTo>
                    <a:pt x="282589" y="194127"/>
                  </a:lnTo>
                  <a:lnTo>
                    <a:pt x="290434" y="195657"/>
                  </a:lnTo>
                  <a:lnTo>
                    <a:pt x="294382" y="197186"/>
                  </a:lnTo>
                  <a:lnTo>
                    <a:pt x="308098" y="197186"/>
                  </a:lnTo>
                  <a:lnTo>
                    <a:pt x="314019" y="200196"/>
                  </a:lnTo>
                  <a:lnTo>
                    <a:pt x="321913" y="197186"/>
                  </a:lnTo>
                  <a:lnTo>
                    <a:pt x="327735" y="201726"/>
                  </a:lnTo>
                  <a:lnTo>
                    <a:pt x="327735" y="206314"/>
                  </a:lnTo>
                  <a:lnTo>
                    <a:pt x="317867" y="210903"/>
                  </a:lnTo>
                  <a:lnTo>
                    <a:pt x="317867" y="214160"/>
                  </a:lnTo>
                  <a:lnTo>
                    <a:pt x="321864" y="218748"/>
                  </a:lnTo>
                  <a:lnTo>
                    <a:pt x="329659" y="218748"/>
                  </a:lnTo>
                  <a:lnTo>
                    <a:pt x="343426" y="221807"/>
                  </a:lnTo>
                  <a:lnTo>
                    <a:pt x="370908" y="235573"/>
                  </a:lnTo>
                  <a:lnTo>
                    <a:pt x="382700" y="241692"/>
                  </a:lnTo>
                  <a:lnTo>
                    <a:pt x="388622" y="247859"/>
                  </a:lnTo>
                  <a:lnTo>
                    <a:pt x="400414" y="250918"/>
                  </a:lnTo>
                  <a:lnTo>
                    <a:pt x="408259" y="255507"/>
                  </a:lnTo>
                  <a:lnTo>
                    <a:pt x="410233" y="258566"/>
                  </a:lnTo>
                  <a:lnTo>
                    <a:pt x="410233" y="266214"/>
                  </a:lnTo>
                  <a:lnTo>
                    <a:pt x="404311" y="270802"/>
                  </a:lnTo>
                  <a:lnTo>
                    <a:pt x="408259" y="275391"/>
                  </a:lnTo>
                  <a:lnTo>
                    <a:pt x="404311" y="276920"/>
                  </a:lnTo>
                  <a:lnTo>
                    <a:pt x="404311" y="279980"/>
                  </a:lnTo>
                  <a:lnTo>
                    <a:pt x="398440" y="275391"/>
                  </a:lnTo>
                  <a:lnTo>
                    <a:pt x="392519" y="270802"/>
                  </a:lnTo>
                  <a:lnTo>
                    <a:pt x="390595" y="266214"/>
                  </a:lnTo>
                  <a:lnTo>
                    <a:pt x="390595" y="261625"/>
                  </a:lnTo>
                  <a:lnTo>
                    <a:pt x="386648" y="258566"/>
                  </a:lnTo>
                  <a:lnTo>
                    <a:pt x="376780" y="258566"/>
                  </a:lnTo>
                  <a:lnTo>
                    <a:pt x="374806" y="257036"/>
                  </a:lnTo>
                  <a:lnTo>
                    <a:pt x="364938" y="253977"/>
                  </a:lnTo>
                  <a:lnTo>
                    <a:pt x="360991" y="253977"/>
                  </a:lnTo>
                  <a:lnTo>
                    <a:pt x="357093" y="255507"/>
                  </a:lnTo>
                  <a:lnTo>
                    <a:pt x="355119" y="263155"/>
                  </a:lnTo>
                  <a:lnTo>
                    <a:pt x="351172" y="266214"/>
                  </a:lnTo>
                  <a:lnTo>
                    <a:pt x="351172" y="273861"/>
                  </a:lnTo>
                  <a:lnTo>
                    <a:pt x="345301" y="276920"/>
                  </a:lnTo>
                  <a:lnTo>
                    <a:pt x="345301" y="283039"/>
                  </a:lnTo>
                  <a:lnTo>
                    <a:pt x="349199" y="286098"/>
                  </a:lnTo>
                  <a:lnTo>
                    <a:pt x="353146" y="287627"/>
                  </a:lnTo>
                  <a:lnTo>
                    <a:pt x="363014" y="295275"/>
                  </a:lnTo>
                  <a:lnTo>
                    <a:pt x="364987" y="298334"/>
                  </a:lnTo>
                  <a:lnTo>
                    <a:pt x="364987" y="309041"/>
                  </a:lnTo>
                  <a:lnTo>
                    <a:pt x="363014" y="313630"/>
                  </a:lnTo>
                  <a:lnTo>
                    <a:pt x="357142" y="315159"/>
                  </a:lnTo>
                  <a:lnTo>
                    <a:pt x="351221" y="319748"/>
                  </a:lnTo>
                  <a:lnTo>
                    <a:pt x="351221" y="335043"/>
                  </a:lnTo>
                  <a:lnTo>
                    <a:pt x="341353" y="341162"/>
                  </a:lnTo>
                  <a:lnTo>
                    <a:pt x="341353" y="348809"/>
                  </a:lnTo>
                  <a:lnTo>
                    <a:pt x="333508" y="353398"/>
                  </a:lnTo>
                  <a:lnTo>
                    <a:pt x="323640" y="354928"/>
                  </a:lnTo>
                  <a:lnTo>
                    <a:pt x="315795" y="348809"/>
                  </a:lnTo>
                  <a:lnTo>
                    <a:pt x="315795" y="344221"/>
                  </a:lnTo>
                  <a:lnTo>
                    <a:pt x="317720" y="341162"/>
                  </a:lnTo>
                  <a:lnTo>
                    <a:pt x="321716" y="339632"/>
                  </a:lnTo>
                  <a:lnTo>
                    <a:pt x="325614" y="335043"/>
                  </a:lnTo>
                  <a:lnTo>
                    <a:pt x="327538" y="328925"/>
                  </a:lnTo>
                  <a:lnTo>
                    <a:pt x="325614" y="322807"/>
                  </a:lnTo>
                  <a:lnTo>
                    <a:pt x="327538" y="321278"/>
                  </a:lnTo>
                  <a:lnTo>
                    <a:pt x="331485" y="321278"/>
                  </a:lnTo>
                  <a:lnTo>
                    <a:pt x="333459" y="318219"/>
                  </a:lnTo>
                  <a:lnTo>
                    <a:pt x="335433" y="312100"/>
                  </a:lnTo>
                  <a:lnTo>
                    <a:pt x="331485" y="307511"/>
                  </a:lnTo>
                  <a:lnTo>
                    <a:pt x="327538" y="295275"/>
                  </a:lnTo>
                  <a:lnTo>
                    <a:pt x="323640" y="292216"/>
                  </a:lnTo>
                  <a:lnTo>
                    <a:pt x="323640" y="283039"/>
                  </a:lnTo>
                  <a:lnTo>
                    <a:pt x="319693" y="272332"/>
                  </a:lnTo>
                  <a:lnTo>
                    <a:pt x="313821" y="269273"/>
                  </a:lnTo>
                  <a:lnTo>
                    <a:pt x="311848" y="270802"/>
                  </a:lnTo>
                  <a:lnTo>
                    <a:pt x="300105" y="269273"/>
                  </a:lnTo>
                  <a:lnTo>
                    <a:pt x="298082" y="264684"/>
                  </a:lnTo>
                  <a:lnTo>
                    <a:pt x="290237" y="264684"/>
                  </a:lnTo>
                  <a:lnTo>
                    <a:pt x="286290" y="261625"/>
                  </a:lnTo>
                  <a:lnTo>
                    <a:pt x="288312" y="258566"/>
                  </a:lnTo>
                  <a:lnTo>
                    <a:pt x="290237" y="250918"/>
                  </a:lnTo>
                  <a:lnTo>
                    <a:pt x="284365" y="246330"/>
                  </a:lnTo>
                  <a:lnTo>
                    <a:pt x="272573" y="246330"/>
                  </a:lnTo>
                  <a:lnTo>
                    <a:pt x="272573" y="241692"/>
                  </a:lnTo>
                  <a:lnTo>
                    <a:pt x="266701" y="240162"/>
                  </a:lnTo>
                  <a:lnTo>
                    <a:pt x="262754" y="241692"/>
                  </a:lnTo>
                  <a:lnTo>
                    <a:pt x="256882" y="240162"/>
                  </a:lnTo>
                  <a:lnTo>
                    <a:pt x="250962" y="227925"/>
                  </a:lnTo>
                  <a:lnTo>
                    <a:pt x="243117" y="227925"/>
                  </a:lnTo>
                  <a:lnTo>
                    <a:pt x="237196" y="223337"/>
                  </a:lnTo>
                  <a:lnTo>
                    <a:pt x="231325" y="227925"/>
                  </a:lnTo>
                  <a:lnTo>
                    <a:pt x="223480" y="227925"/>
                  </a:lnTo>
                  <a:lnTo>
                    <a:pt x="223480" y="221807"/>
                  </a:lnTo>
                  <a:lnTo>
                    <a:pt x="217558" y="218748"/>
                  </a:lnTo>
                  <a:lnTo>
                    <a:pt x="212082" y="218748"/>
                  </a:lnTo>
                  <a:lnTo>
                    <a:pt x="196342" y="209571"/>
                  </a:lnTo>
                  <a:lnTo>
                    <a:pt x="182626" y="192795"/>
                  </a:lnTo>
                  <a:lnTo>
                    <a:pt x="176704" y="191266"/>
                  </a:lnTo>
                  <a:lnTo>
                    <a:pt x="176704" y="186677"/>
                  </a:lnTo>
                  <a:lnTo>
                    <a:pt x="170833" y="179029"/>
                  </a:lnTo>
                  <a:lnTo>
                    <a:pt x="159041" y="179029"/>
                  </a:lnTo>
                  <a:lnTo>
                    <a:pt x="157116" y="174441"/>
                  </a:lnTo>
                  <a:lnTo>
                    <a:pt x="147248" y="165263"/>
                  </a:lnTo>
                  <a:lnTo>
                    <a:pt x="143350" y="159145"/>
                  </a:lnTo>
                  <a:lnTo>
                    <a:pt x="135505" y="156086"/>
                  </a:lnTo>
                  <a:lnTo>
                    <a:pt x="135505" y="148438"/>
                  </a:lnTo>
                  <a:lnTo>
                    <a:pt x="127611" y="143850"/>
                  </a:lnTo>
                  <a:lnTo>
                    <a:pt x="127611" y="137682"/>
                  </a:lnTo>
                  <a:lnTo>
                    <a:pt x="121739" y="130034"/>
                  </a:lnTo>
                  <a:lnTo>
                    <a:pt x="117792" y="125446"/>
                  </a:lnTo>
                  <a:lnTo>
                    <a:pt x="115819" y="122387"/>
                  </a:lnTo>
                  <a:lnTo>
                    <a:pt x="113894" y="116268"/>
                  </a:lnTo>
                  <a:lnTo>
                    <a:pt x="104026" y="113209"/>
                  </a:lnTo>
                  <a:lnTo>
                    <a:pt x="96181" y="110150"/>
                  </a:lnTo>
                  <a:lnTo>
                    <a:pt x="72596" y="104032"/>
                  </a:lnTo>
                  <a:lnTo>
                    <a:pt x="52860" y="113209"/>
                  </a:lnTo>
                  <a:lnTo>
                    <a:pt x="52860" y="117798"/>
                  </a:lnTo>
                  <a:lnTo>
                    <a:pt x="46989" y="125446"/>
                  </a:lnTo>
                  <a:lnTo>
                    <a:pt x="31249" y="128505"/>
                  </a:lnTo>
                  <a:close/>
                  <a:moveTo>
                    <a:pt x="54933" y="232366"/>
                  </a:moveTo>
                  <a:lnTo>
                    <a:pt x="56906" y="232366"/>
                  </a:lnTo>
                  <a:lnTo>
                    <a:pt x="58880" y="229307"/>
                  </a:lnTo>
                  <a:lnTo>
                    <a:pt x="60853" y="227778"/>
                  </a:lnTo>
                  <a:lnTo>
                    <a:pt x="58880" y="223189"/>
                  </a:lnTo>
                  <a:lnTo>
                    <a:pt x="56906" y="227778"/>
                  </a:lnTo>
                  <a:lnTo>
                    <a:pt x="54933" y="229307"/>
                  </a:lnTo>
                  <a:lnTo>
                    <a:pt x="54933" y="232366"/>
                  </a:lnTo>
                  <a:close/>
                  <a:moveTo>
                    <a:pt x="147248" y="181940"/>
                  </a:moveTo>
                  <a:lnTo>
                    <a:pt x="151196" y="183470"/>
                  </a:lnTo>
                  <a:lnTo>
                    <a:pt x="151196" y="180411"/>
                  </a:lnTo>
                  <a:lnTo>
                    <a:pt x="147248" y="181940"/>
                  </a:lnTo>
                  <a:close/>
                  <a:moveTo>
                    <a:pt x="119766" y="163586"/>
                  </a:moveTo>
                  <a:lnTo>
                    <a:pt x="115819" y="166645"/>
                  </a:lnTo>
                  <a:lnTo>
                    <a:pt x="119766" y="168174"/>
                  </a:lnTo>
                  <a:lnTo>
                    <a:pt x="127611" y="165115"/>
                  </a:lnTo>
                  <a:lnTo>
                    <a:pt x="133532" y="166645"/>
                  </a:lnTo>
                  <a:lnTo>
                    <a:pt x="133532" y="162056"/>
                  </a:lnTo>
                  <a:lnTo>
                    <a:pt x="127611" y="158997"/>
                  </a:lnTo>
                  <a:lnTo>
                    <a:pt x="127611" y="162056"/>
                  </a:lnTo>
                  <a:lnTo>
                    <a:pt x="119766" y="163586"/>
                  </a:lnTo>
                  <a:close/>
                  <a:moveTo>
                    <a:pt x="74570" y="316541"/>
                  </a:moveTo>
                  <a:lnTo>
                    <a:pt x="78518" y="315011"/>
                  </a:lnTo>
                  <a:lnTo>
                    <a:pt x="80491" y="316541"/>
                  </a:lnTo>
                  <a:lnTo>
                    <a:pt x="86363" y="315011"/>
                  </a:lnTo>
                  <a:lnTo>
                    <a:pt x="86363" y="307364"/>
                  </a:lnTo>
                  <a:lnTo>
                    <a:pt x="88336" y="302775"/>
                  </a:lnTo>
                  <a:lnTo>
                    <a:pt x="94207" y="302775"/>
                  </a:lnTo>
                  <a:lnTo>
                    <a:pt x="102102" y="307364"/>
                  </a:lnTo>
                  <a:lnTo>
                    <a:pt x="104026" y="307364"/>
                  </a:lnTo>
                  <a:lnTo>
                    <a:pt x="107974" y="302775"/>
                  </a:lnTo>
                  <a:lnTo>
                    <a:pt x="107974" y="275243"/>
                  </a:lnTo>
                  <a:lnTo>
                    <a:pt x="109947" y="264536"/>
                  </a:lnTo>
                  <a:lnTo>
                    <a:pt x="102102" y="258418"/>
                  </a:lnTo>
                  <a:lnTo>
                    <a:pt x="107974" y="253829"/>
                  </a:lnTo>
                  <a:lnTo>
                    <a:pt x="109947" y="247711"/>
                  </a:lnTo>
                  <a:lnTo>
                    <a:pt x="107974" y="240014"/>
                  </a:lnTo>
                  <a:lnTo>
                    <a:pt x="104026" y="236955"/>
                  </a:lnTo>
                  <a:lnTo>
                    <a:pt x="96181" y="229307"/>
                  </a:lnTo>
                  <a:lnTo>
                    <a:pt x="94207" y="230837"/>
                  </a:lnTo>
                  <a:lnTo>
                    <a:pt x="88336" y="224718"/>
                  </a:lnTo>
                  <a:lnTo>
                    <a:pt x="82464" y="227778"/>
                  </a:lnTo>
                  <a:lnTo>
                    <a:pt x="70672" y="240014"/>
                  </a:lnTo>
                  <a:lnTo>
                    <a:pt x="64751" y="240014"/>
                  </a:lnTo>
                  <a:lnTo>
                    <a:pt x="54883" y="236955"/>
                  </a:lnTo>
                  <a:lnTo>
                    <a:pt x="54883" y="246181"/>
                  </a:lnTo>
                  <a:lnTo>
                    <a:pt x="58830" y="253829"/>
                  </a:lnTo>
                  <a:lnTo>
                    <a:pt x="60804" y="256888"/>
                  </a:lnTo>
                  <a:lnTo>
                    <a:pt x="66676" y="261477"/>
                  </a:lnTo>
                  <a:lnTo>
                    <a:pt x="66676" y="267595"/>
                  </a:lnTo>
                  <a:lnTo>
                    <a:pt x="60804" y="272184"/>
                  </a:lnTo>
                  <a:lnTo>
                    <a:pt x="64702" y="275243"/>
                  </a:lnTo>
                  <a:lnTo>
                    <a:pt x="70623" y="276772"/>
                  </a:lnTo>
                  <a:lnTo>
                    <a:pt x="70623" y="279832"/>
                  </a:lnTo>
                  <a:lnTo>
                    <a:pt x="66676" y="284420"/>
                  </a:lnTo>
                  <a:lnTo>
                    <a:pt x="64702" y="295127"/>
                  </a:lnTo>
                  <a:lnTo>
                    <a:pt x="66676" y="298186"/>
                  </a:lnTo>
                  <a:lnTo>
                    <a:pt x="70623" y="311952"/>
                  </a:lnTo>
                  <a:lnTo>
                    <a:pt x="74521" y="316541"/>
                  </a:lnTo>
                  <a:close/>
                  <a:moveTo>
                    <a:pt x="302424" y="397656"/>
                  </a:moveTo>
                  <a:lnTo>
                    <a:pt x="302424" y="391785"/>
                  </a:lnTo>
                  <a:lnTo>
                    <a:pt x="306371" y="387196"/>
                  </a:lnTo>
                  <a:lnTo>
                    <a:pt x="306371" y="379499"/>
                  </a:lnTo>
                  <a:lnTo>
                    <a:pt x="298477" y="371851"/>
                  </a:lnTo>
                  <a:lnTo>
                    <a:pt x="306371" y="356556"/>
                  </a:lnTo>
                  <a:lnTo>
                    <a:pt x="312243" y="351967"/>
                  </a:lnTo>
                  <a:lnTo>
                    <a:pt x="314216" y="344319"/>
                  </a:lnTo>
                  <a:lnTo>
                    <a:pt x="308295" y="338201"/>
                  </a:lnTo>
                  <a:lnTo>
                    <a:pt x="298427" y="345849"/>
                  </a:lnTo>
                  <a:lnTo>
                    <a:pt x="294529" y="345849"/>
                  </a:lnTo>
                  <a:lnTo>
                    <a:pt x="286635" y="341260"/>
                  </a:lnTo>
                  <a:lnTo>
                    <a:pt x="280764" y="348908"/>
                  </a:lnTo>
                  <a:lnTo>
                    <a:pt x="263099" y="347379"/>
                  </a:lnTo>
                  <a:lnTo>
                    <a:pt x="249334" y="350438"/>
                  </a:lnTo>
                  <a:lnTo>
                    <a:pt x="241488" y="348908"/>
                  </a:lnTo>
                  <a:lnTo>
                    <a:pt x="231620" y="345849"/>
                  </a:lnTo>
                  <a:lnTo>
                    <a:pt x="225749" y="345849"/>
                  </a:lnTo>
                  <a:lnTo>
                    <a:pt x="221802" y="348908"/>
                  </a:lnTo>
                  <a:lnTo>
                    <a:pt x="217855" y="345849"/>
                  </a:lnTo>
                  <a:lnTo>
                    <a:pt x="210009" y="350438"/>
                  </a:lnTo>
                  <a:lnTo>
                    <a:pt x="210009" y="361144"/>
                  </a:lnTo>
                  <a:lnTo>
                    <a:pt x="215881" y="367263"/>
                  </a:lnTo>
                  <a:lnTo>
                    <a:pt x="223775" y="365733"/>
                  </a:lnTo>
                  <a:lnTo>
                    <a:pt x="239466" y="373381"/>
                  </a:lnTo>
                  <a:lnTo>
                    <a:pt x="245386" y="374911"/>
                  </a:lnTo>
                  <a:lnTo>
                    <a:pt x="251258" y="381029"/>
                  </a:lnTo>
                  <a:lnTo>
                    <a:pt x="266997" y="387196"/>
                  </a:lnTo>
                  <a:lnTo>
                    <a:pt x="272869" y="384137"/>
                  </a:lnTo>
                  <a:lnTo>
                    <a:pt x="278790" y="388726"/>
                  </a:lnTo>
                  <a:lnTo>
                    <a:pt x="280714" y="394844"/>
                  </a:lnTo>
                  <a:lnTo>
                    <a:pt x="296404" y="39943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Graphic 2">
              <a:extLst>
                <a:ext uri="{FF2B5EF4-FFF2-40B4-BE49-F238E27FC236}">
                  <a16:creationId xmlns:a16="http://schemas.microsoft.com/office/drawing/2014/main" id="{11F2BE49-B790-4849-878D-402D9FF3FD43}"/>
                </a:ext>
              </a:extLst>
            </p:cNvPr>
            <p:cNvSpPr/>
            <p:nvPr/>
          </p:nvSpPr>
          <p:spPr>
            <a:xfrm>
              <a:off x="5132891" y="3319557"/>
              <a:ext cx="407113" cy="262088"/>
            </a:xfrm>
            <a:custGeom>
              <a:avLst/>
              <a:gdLst>
                <a:gd name="connsiteX0" fmla="*/ 253380 w 448108"/>
                <a:gd name="connsiteY0" fmla="*/ 14233 h 288493"/>
                <a:gd name="connsiteX1" fmla="*/ 259645 w 448108"/>
                <a:gd name="connsiteY1" fmla="*/ 17489 h 288493"/>
                <a:gd name="connsiteX2" fmla="*/ 261767 w 448108"/>
                <a:gd name="connsiteY2" fmla="*/ 17489 h 288493"/>
                <a:gd name="connsiteX3" fmla="*/ 265912 w 448108"/>
                <a:gd name="connsiteY3" fmla="*/ 19068 h 288493"/>
                <a:gd name="connsiteX4" fmla="*/ 265912 w 448108"/>
                <a:gd name="connsiteY4" fmla="*/ 30318 h 288493"/>
                <a:gd name="connsiteX5" fmla="*/ 276421 w 448108"/>
                <a:gd name="connsiteY5" fmla="*/ 28689 h 288493"/>
                <a:gd name="connsiteX6" fmla="*/ 291223 w 448108"/>
                <a:gd name="connsiteY6" fmla="*/ 33623 h 288493"/>
                <a:gd name="connsiteX7" fmla="*/ 297489 w 448108"/>
                <a:gd name="connsiteY7" fmla="*/ 40037 h 288493"/>
                <a:gd name="connsiteX8" fmla="*/ 305877 w 448108"/>
                <a:gd name="connsiteY8" fmla="*/ 36830 h 288493"/>
                <a:gd name="connsiteX9" fmla="*/ 314216 w 448108"/>
                <a:gd name="connsiteY9" fmla="*/ 44824 h 288493"/>
                <a:gd name="connsiteX10" fmla="*/ 322604 w 448108"/>
                <a:gd name="connsiteY10" fmla="*/ 44824 h 288493"/>
                <a:gd name="connsiteX11" fmla="*/ 328870 w 448108"/>
                <a:gd name="connsiteY11" fmla="*/ 46452 h 288493"/>
                <a:gd name="connsiteX12" fmla="*/ 335186 w 448108"/>
                <a:gd name="connsiteY12" fmla="*/ 41518 h 288493"/>
                <a:gd name="connsiteX13" fmla="*/ 349988 w 448108"/>
                <a:gd name="connsiteY13" fmla="*/ 39939 h 288493"/>
                <a:gd name="connsiteX14" fmla="*/ 356303 w 448108"/>
                <a:gd name="connsiteY14" fmla="*/ 43146 h 288493"/>
                <a:gd name="connsiteX15" fmla="*/ 366764 w 448108"/>
                <a:gd name="connsiteY15" fmla="*/ 43146 h 288493"/>
                <a:gd name="connsiteX16" fmla="*/ 377174 w 448108"/>
                <a:gd name="connsiteY16" fmla="*/ 48080 h 288493"/>
                <a:gd name="connsiteX17" fmla="*/ 393950 w 448108"/>
                <a:gd name="connsiteY17" fmla="*/ 46452 h 288493"/>
                <a:gd name="connsiteX18" fmla="*/ 406482 w 448108"/>
                <a:gd name="connsiteY18" fmla="*/ 52915 h 288493"/>
                <a:gd name="connsiteX19" fmla="*/ 410725 w 448108"/>
                <a:gd name="connsiteY19" fmla="*/ 52915 h 288493"/>
                <a:gd name="connsiteX20" fmla="*/ 410725 w 448108"/>
                <a:gd name="connsiteY20" fmla="*/ 56122 h 288493"/>
                <a:gd name="connsiteX21" fmla="*/ 406482 w 448108"/>
                <a:gd name="connsiteY21" fmla="*/ 61056 h 288493"/>
                <a:gd name="connsiteX22" fmla="*/ 408604 w 448108"/>
                <a:gd name="connsiteY22" fmla="*/ 70925 h 288493"/>
                <a:gd name="connsiteX23" fmla="*/ 406482 w 448108"/>
                <a:gd name="connsiteY23" fmla="*/ 77339 h 288493"/>
                <a:gd name="connsiteX24" fmla="*/ 402288 w 448108"/>
                <a:gd name="connsiteY24" fmla="*/ 83753 h 288493"/>
                <a:gd name="connsiteX25" fmla="*/ 389756 w 448108"/>
                <a:gd name="connsiteY25" fmla="*/ 90167 h 288493"/>
                <a:gd name="connsiteX26" fmla="*/ 383490 w 448108"/>
                <a:gd name="connsiteY26" fmla="*/ 96582 h 288493"/>
                <a:gd name="connsiteX27" fmla="*/ 370908 w 448108"/>
                <a:gd name="connsiteY27" fmla="*/ 101516 h 288493"/>
                <a:gd name="connsiteX28" fmla="*/ 358375 w 448108"/>
                <a:gd name="connsiteY28" fmla="*/ 101516 h 288493"/>
                <a:gd name="connsiteX29" fmla="*/ 347915 w 448108"/>
                <a:gd name="connsiteY29" fmla="*/ 106450 h 288493"/>
                <a:gd name="connsiteX30" fmla="*/ 341649 w 448108"/>
                <a:gd name="connsiteY30" fmla="*/ 109657 h 288493"/>
                <a:gd name="connsiteX31" fmla="*/ 343721 w 448108"/>
                <a:gd name="connsiteY31" fmla="*/ 112864 h 288493"/>
                <a:gd name="connsiteX32" fmla="*/ 343721 w 448108"/>
                <a:gd name="connsiteY32" fmla="*/ 119278 h 288493"/>
                <a:gd name="connsiteX33" fmla="*/ 337455 w 448108"/>
                <a:gd name="connsiteY33" fmla="*/ 122485 h 288493"/>
                <a:gd name="connsiteX34" fmla="*/ 337455 w 448108"/>
                <a:gd name="connsiteY34" fmla="*/ 122485 h 288493"/>
                <a:gd name="connsiteX35" fmla="*/ 337455 w 448108"/>
                <a:gd name="connsiteY35" fmla="*/ 120906 h 288493"/>
                <a:gd name="connsiteX36" fmla="*/ 335383 w 448108"/>
                <a:gd name="connsiteY36" fmla="*/ 119278 h 288493"/>
                <a:gd name="connsiteX37" fmla="*/ 324923 w 448108"/>
                <a:gd name="connsiteY37" fmla="*/ 135363 h 288493"/>
                <a:gd name="connsiteX38" fmla="*/ 316535 w 448108"/>
                <a:gd name="connsiteY38" fmla="*/ 138570 h 288493"/>
                <a:gd name="connsiteX39" fmla="*/ 301733 w 448108"/>
                <a:gd name="connsiteY39" fmla="*/ 157862 h 288493"/>
                <a:gd name="connsiteX40" fmla="*/ 297539 w 448108"/>
                <a:gd name="connsiteY40" fmla="*/ 162796 h 288493"/>
                <a:gd name="connsiteX41" fmla="*/ 303805 w 448108"/>
                <a:gd name="connsiteY41" fmla="*/ 170839 h 288493"/>
                <a:gd name="connsiteX42" fmla="*/ 305926 w 448108"/>
                <a:gd name="connsiteY42" fmla="*/ 177253 h 288493"/>
                <a:gd name="connsiteX43" fmla="*/ 312193 w 448108"/>
                <a:gd name="connsiteY43" fmla="*/ 180460 h 288493"/>
                <a:gd name="connsiteX44" fmla="*/ 320532 w 448108"/>
                <a:gd name="connsiteY44" fmla="*/ 190082 h 288493"/>
                <a:gd name="connsiteX45" fmla="*/ 312193 w 448108"/>
                <a:gd name="connsiteY45" fmla="*/ 196496 h 288493"/>
                <a:gd name="connsiteX46" fmla="*/ 299661 w 448108"/>
                <a:gd name="connsiteY46" fmla="*/ 199703 h 288493"/>
                <a:gd name="connsiteX47" fmla="*/ 301733 w 448108"/>
                <a:gd name="connsiteY47" fmla="*/ 206117 h 288493"/>
                <a:gd name="connsiteX48" fmla="*/ 289151 w 448108"/>
                <a:gd name="connsiteY48" fmla="*/ 220574 h 288493"/>
                <a:gd name="connsiteX49" fmla="*/ 287079 w 448108"/>
                <a:gd name="connsiteY49" fmla="*/ 228616 h 288493"/>
                <a:gd name="connsiteX50" fmla="*/ 291273 w 448108"/>
                <a:gd name="connsiteY50" fmla="*/ 231823 h 288493"/>
                <a:gd name="connsiteX51" fmla="*/ 287079 w 448108"/>
                <a:gd name="connsiteY51" fmla="*/ 236757 h 288493"/>
                <a:gd name="connsiteX52" fmla="*/ 274546 w 448108"/>
                <a:gd name="connsiteY52" fmla="*/ 236757 h 288493"/>
                <a:gd name="connsiteX53" fmla="*/ 253576 w 448108"/>
                <a:gd name="connsiteY53" fmla="*/ 244849 h 288493"/>
                <a:gd name="connsiteX54" fmla="*/ 253576 w 448108"/>
                <a:gd name="connsiteY54" fmla="*/ 251263 h 288493"/>
                <a:gd name="connsiteX55" fmla="*/ 245238 w 448108"/>
                <a:gd name="connsiteY55" fmla="*/ 264092 h 288493"/>
                <a:gd name="connsiteX56" fmla="*/ 236850 w 448108"/>
                <a:gd name="connsiteY56" fmla="*/ 260885 h 288493"/>
                <a:gd name="connsiteX57" fmla="*/ 230584 w 448108"/>
                <a:gd name="connsiteY57" fmla="*/ 254471 h 288493"/>
                <a:gd name="connsiteX58" fmla="*/ 226390 w 448108"/>
                <a:gd name="connsiteY58" fmla="*/ 260885 h 288493"/>
                <a:gd name="connsiteX59" fmla="*/ 222196 w 448108"/>
                <a:gd name="connsiteY59" fmla="*/ 264092 h 288493"/>
                <a:gd name="connsiteX60" fmla="*/ 215930 w 448108"/>
                <a:gd name="connsiteY60" fmla="*/ 260885 h 288493"/>
                <a:gd name="connsiteX61" fmla="*/ 209615 w 448108"/>
                <a:gd name="connsiteY61" fmla="*/ 260885 h 288493"/>
                <a:gd name="connsiteX62" fmla="*/ 205470 w 448108"/>
                <a:gd name="connsiteY62" fmla="*/ 262464 h 288493"/>
                <a:gd name="connsiteX63" fmla="*/ 196983 w 448108"/>
                <a:gd name="connsiteY63" fmla="*/ 262464 h 288493"/>
                <a:gd name="connsiteX64" fmla="*/ 182181 w 448108"/>
                <a:gd name="connsiteY64" fmla="*/ 259257 h 288493"/>
                <a:gd name="connsiteX65" fmla="*/ 175915 w 448108"/>
                <a:gd name="connsiteY65" fmla="*/ 260885 h 288493"/>
                <a:gd name="connsiteX66" fmla="*/ 163382 w 448108"/>
                <a:gd name="connsiteY66" fmla="*/ 262464 h 288493"/>
                <a:gd name="connsiteX67" fmla="*/ 150801 w 448108"/>
                <a:gd name="connsiteY67" fmla="*/ 272332 h 288493"/>
                <a:gd name="connsiteX68" fmla="*/ 138268 w 448108"/>
                <a:gd name="connsiteY68" fmla="*/ 273911 h 288493"/>
                <a:gd name="connsiteX69" fmla="*/ 132002 w 448108"/>
                <a:gd name="connsiteY69" fmla="*/ 277118 h 288493"/>
                <a:gd name="connsiteX70" fmla="*/ 132002 w 448108"/>
                <a:gd name="connsiteY70" fmla="*/ 283532 h 288493"/>
                <a:gd name="connsiteX71" fmla="*/ 121492 w 448108"/>
                <a:gd name="connsiteY71" fmla="*/ 288466 h 288493"/>
                <a:gd name="connsiteX72" fmla="*/ 111032 w 448108"/>
                <a:gd name="connsiteY72" fmla="*/ 286838 h 288493"/>
                <a:gd name="connsiteX73" fmla="*/ 98451 w 448108"/>
                <a:gd name="connsiteY73" fmla="*/ 275638 h 288493"/>
                <a:gd name="connsiteX74" fmla="*/ 90112 w 448108"/>
                <a:gd name="connsiteY74" fmla="*/ 261181 h 288493"/>
                <a:gd name="connsiteX75" fmla="*/ 92184 w 448108"/>
                <a:gd name="connsiteY75" fmla="*/ 259553 h 288493"/>
                <a:gd name="connsiteX76" fmla="*/ 77382 w 448108"/>
                <a:gd name="connsiteY76" fmla="*/ 248353 h 288493"/>
                <a:gd name="connsiteX77" fmla="*/ 66873 w 448108"/>
                <a:gd name="connsiteY77" fmla="*/ 246724 h 288493"/>
                <a:gd name="connsiteX78" fmla="*/ 60606 w 448108"/>
                <a:gd name="connsiteY78" fmla="*/ 245145 h 288493"/>
                <a:gd name="connsiteX79" fmla="*/ 60606 w 448108"/>
                <a:gd name="connsiteY79" fmla="*/ 238682 h 288493"/>
                <a:gd name="connsiteX80" fmla="*/ 56462 w 448108"/>
                <a:gd name="connsiteY80" fmla="*/ 230639 h 288493"/>
                <a:gd name="connsiteX81" fmla="*/ 64800 w 448108"/>
                <a:gd name="connsiteY81" fmla="*/ 217811 h 288493"/>
                <a:gd name="connsiteX82" fmla="*/ 73188 w 448108"/>
                <a:gd name="connsiteY82" fmla="*/ 211397 h 288493"/>
                <a:gd name="connsiteX83" fmla="*/ 73188 w 448108"/>
                <a:gd name="connsiteY83" fmla="*/ 206463 h 288493"/>
                <a:gd name="connsiteX84" fmla="*/ 66873 w 448108"/>
                <a:gd name="connsiteY84" fmla="*/ 204884 h 288493"/>
                <a:gd name="connsiteX85" fmla="*/ 60606 w 448108"/>
                <a:gd name="connsiteY85" fmla="*/ 196841 h 288493"/>
                <a:gd name="connsiteX86" fmla="*/ 73188 w 448108"/>
                <a:gd name="connsiteY86" fmla="*/ 186973 h 288493"/>
                <a:gd name="connsiteX87" fmla="*/ 71116 w 448108"/>
                <a:gd name="connsiteY87" fmla="*/ 174144 h 288493"/>
                <a:gd name="connsiteX88" fmla="*/ 62728 w 448108"/>
                <a:gd name="connsiteY88" fmla="*/ 169210 h 288493"/>
                <a:gd name="connsiteX89" fmla="*/ 54340 w 448108"/>
                <a:gd name="connsiteY89" fmla="*/ 154803 h 288493"/>
                <a:gd name="connsiteX90" fmla="*/ 62728 w 448108"/>
                <a:gd name="connsiteY90" fmla="*/ 153175 h 288493"/>
                <a:gd name="connsiteX91" fmla="*/ 68995 w 448108"/>
                <a:gd name="connsiteY91" fmla="*/ 153175 h 288493"/>
                <a:gd name="connsiteX92" fmla="*/ 79455 w 448108"/>
                <a:gd name="connsiteY92" fmla="*/ 141925 h 288493"/>
                <a:gd name="connsiteX93" fmla="*/ 73188 w 448108"/>
                <a:gd name="connsiteY93" fmla="*/ 136991 h 288493"/>
                <a:gd name="connsiteX94" fmla="*/ 79455 w 448108"/>
                <a:gd name="connsiteY94" fmla="*/ 130577 h 288493"/>
                <a:gd name="connsiteX95" fmla="*/ 81576 w 448108"/>
                <a:gd name="connsiteY95" fmla="*/ 111334 h 288493"/>
                <a:gd name="connsiteX96" fmla="*/ 79455 w 448108"/>
                <a:gd name="connsiteY96" fmla="*/ 103292 h 288493"/>
                <a:gd name="connsiteX97" fmla="*/ 94257 w 448108"/>
                <a:gd name="connsiteY97" fmla="*/ 92042 h 288493"/>
                <a:gd name="connsiteX98" fmla="*/ 98401 w 448108"/>
                <a:gd name="connsiteY98" fmla="*/ 92042 h 288493"/>
                <a:gd name="connsiteX99" fmla="*/ 100572 w 448108"/>
                <a:gd name="connsiteY99" fmla="*/ 85628 h 288493"/>
                <a:gd name="connsiteX100" fmla="*/ 94257 w 448108"/>
                <a:gd name="connsiteY100" fmla="*/ 76007 h 288493"/>
                <a:gd name="connsiteX101" fmla="*/ 92135 w 448108"/>
                <a:gd name="connsiteY101" fmla="*/ 69592 h 288493"/>
                <a:gd name="connsiteX102" fmla="*/ 75458 w 448108"/>
                <a:gd name="connsiteY102" fmla="*/ 66385 h 288493"/>
                <a:gd name="connsiteX103" fmla="*/ 69142 w 448108"/>
                <a:gd name="connsiteY103" fmla="*/ 72800 h 288493"/>
                <a:gd name="connsiteX104" fmla="*/ 48222 w 448108"/>
                <a:gd name="connsiteY104" fmla="*/ 69592 h 288493"/>
                <a:gd name="connsiteX105" fmla="*/ 35641 w 448108"/>
                <a:gd name="connsiteY105" fmla="*/ 74526 h 288493"/>
                <a:gd name="connsiteX106" fmla="*/ 33568 w 448108"/>
                <a:gd name="connsiteY106" fmla="*/ 69592 h 288493"/>
                <a:gd name="connsiteX107" fmla="*/ 33568 w 448108"/>
                <a:gd name="connsiteY107" fmla="*/ 63178 h 288493"/>
                <a:gd name="connsiteX108" fmla="*/ 27302 w 448108"/>
                <a:gd name="connsiteY108" fmla="*/ 61550 h 288493"/>
                <a:gd name="connsiteX109" fmla="*/ 12500 w 448108"/>
                <a:gd name="connsiteY109" fmla="*/ 64757 h 288493"/>
                <a:gd name="connsiteX110" fmla="*/ 12500 w 448108"/>
                <a:gd name="connsiteY110" fmla="*/ 63178 h 288493"/>
                <a:gd name="connsiteX111" fmla="*/ 20888 w 448108"/>
                <a:gd name="connsiteY111" fmla="*/ 56764 h 288493"/>
                <a:gd name="connsiteX112" fmla="*/ 14621 w 448108"/>
                <a:gd name="connsiteY112" fmla="*/ 55136 h 288493"/>
                <a:gd name="connsiteX113" fmla="*/ 18766 w 448108"/>
                <a:gd name="connsiteY113" fmla="*/ 51929 h 288493"/>
                <a:gd name="connsiteX114" fmla="*/ 14621 w 448108"/>
                <a:gd name="connsiteY114" fmla="*/ 48721 h 288493"/>
                <a:gd name="connsiteX115" fmla="*/ 16693 w 448108"/>
                <a:gd name="connsiteY115" fmla="*/ 42258 h 288493"/>
                <a:gd name="connsiteX116" fmla="*/ 10378 w 448108"/>
                <a:gd name="connsiteY116" fmla="*/ 47192 h 288493"/>
                <a:gd name="connsiteX117" fmla="*/ 8306 w 448108"/>
                <a:gd name="connsiteY117" fmla="*/ 47192 h 288493"/>
                <a:gd name="connsiteX118" fmla="*/ 10378 w 448108"/>
                <a:gd name="connsiteY118" fmla="*/ 37324 h 288493"/>
                <a:gd name="connsiteX119" fmla="*/ 8306 w 448108"/>
                <a:gd name="connsiteY119" fmla="*/ 37324 h 288493"/>
                <a:gd name="connsiteX120" fmla="*/ 8306 w 448108"/>
                <a:gd name="connsiteY120" fmla="*/ 32390 h 288493"/>
                <a:gd name="connsiteX121" fmla="*/ 4112 w 448108"/>
                <a:gd name="connsiteY121" fmla="*/ 34018 h 288493"/>
                <a:gd name="connsiteX122" fmla="*/ -82 w 448108"/>
                <a:gd name="connsiteY122" fmla="*/ 27604 h 288493"/>
                <a:gd name="connsiteX123" fmla="*/ 4112 w 448108"/>
                <a:gd name="connsiteY123" fmla="*/ 21189 h 288493"/>
                <a:gd name="connsiteX124" fmla="*/ 16693 w 448108"/>
                <a:gd name="connsiteY124" fmla="*/ 16255 h 288493"/>
                <a:gd name="connsiteX125" fmla="*/ 22960 w 448108"/>
                <a:gd name="connsiteY125" fmla="*/ 19463 h 288493"/>
                <a:gd name="connsiteX126" fmla="*/ 33420 w 448108"/>
                <a:gd name="connsiteY126" fmla="*/ 17884 h 288493"/>
                <a:gd name="connsiteX127" fmla="*/ 39686 w 448108"/>
                <a:gd name="connsiteY127" fmla="*/ 14627 h 288493"/>
                <a:gd name="connsiteX128" fmla="*/ 35492 w 448108"/>
                <a:gd name="connsiteY128" fmla="*/ 11420 h 288493"/>
                <a:gd name="connsiteX129" fmla="*/ 33420 w 448108"/>
                <a:gd name="connsiteY129" fmla="*/ 6486 h 288493"/>
                <a:gd name="connsiteX130" fmla="*/ 48222 w 448108"/>
                <a:gd name="connsiteY130" fmla="*/ 1552 h 288493"/>
                <a:gd name="connsiteX131" fmla="*/ 48222 w 448108"/>
                <a:gd name="connsiteY131" fmla="*/ 3180 h 288493"/>
                <a:gd name="connsiteX132" fmla="*/ 54488 w 448108"/>
                <a:gd name="connsiteY132" fmla="*/ -27 h 288493"/>
                <a:gd name="connsiteX133" fmla="*/ 62876 w 448108"/>
                <a:gd name="connsiteY133" fmla="*/ 1552 h 288493"/>
                <a:gd name="connsiteX134" fmla="*/ 71264 w 448108"/>
                <a:gd name="connsiteY134" fmla="*/ 9595 h 288493"/>
                <a:gd name="connsiteX135" fmla="*/ 77530 w 448108"/>
                <a:gd name="connsiteY135" fmla="*/ 4660 h 288493"/>
                <a:gd name="connsiteX136" fmla="*/ 85869 w 448108"/>
                <a:gd name="connsiteY136" fmla="*/ 4660 h 288493"/>
                <a:gd name="connsiteX137" fmla="*/ 94257 w 448108"/>
                <a:gd name="connsiteY137" fmla="*/ 7868 h 288493"/>
                <a:gd name="connsiteX138" fmla="*/ 102644 w 448108"/>
                <a:gd name="connsiteY138" fmla="*/ 4660 h 288493"/>
                <a:gd name="connsiteX139" fmla="*/ 115177 w 448108"/>
                <a:gd name="connsiteY139" fmla="*/ 1453 h 288493"/>
                <a:gd name="connsiteX140" fmla="*/ 117249 w 448108"/>
                <a:gd name="connsiteY140" fmla="*/ 4660 h 288493"/>
                <a:gd name="connsiteX141" fmla="*/ 125637 w 448108"/>
                <a:gd name="connsiteY141" fmla="*/ 9595 h 288493"/>
                <a:gd name="connsiteX142" fmla="*/ 152824 w 448108"/>
                <a:gd name="connsiteY142" fmla="*/ 12802 h 288493"/>
                <a:gd name="connsiteX143" fmla="*/ 163333 w 448108"/>
                <a:gd name="connsiteY143" fmla="*/ 14381 h 288493"/>
                <a:gd name="connsiteX144" fmla="*/ 182132 w 448108"/>
                <a:gd name="connsiteY144" fmla="*/ 7966 h 288493"/>
                <a:gd name="connsiteX145" fmla="*/ 194714 w 448108"/>
                <a:gd name="connsiteY145" fmla="*/ 9595 h 288493"/>
                <a:gd name="connsiteX146" fmla="*/ 196786 w 448108"/>
                <a:gd name="connsiteY146" fmla="*/ 14529 h 288493"/>
                <a:gd name="connsiteX147" fmla="*/ 209318 w 448108"/>
                <a:gd name="connsiteY147" fmla="*/ 16157 h 288493"/>
                <a:gd name="connsiteX148" fmla="*/ 215634 w 448108"/>
                <a:gd name="connsiteY148" fmla="*/ 11223 h 288493"/>
                <a:gd name="connsiteX149" fmla="*/ 221900 w 448108"/>
                <a:gd name="connsiteY149" fmla="*/ 11223 h 288493"/>
                <a:gd name="connsiteX150" fmla="*/ 242870 w 448108"/>
                <a:gd name="connsiteY150" fmla="*/ 21091 h 288493"/>
                <a:gd name="connsiteX151" fmla="*/ 244942 w 448108"/>
                <a:gd name="connsiteY151" fmla="*/ 16157 h 288493"/>
                <a:gd name="connsiteX152" fmla="*/ 251258 w 448108"/>
                <a:gd name="connsiteY152" fmla="*/ 16157 h 288493"/>
                <a:gd name="connsiteX153" fmla="*/ 429179 w 448108"/>
                <a:gd name="connsiteY153" fmla="*/ 149129 h 288493"/>
                <a:gd name="connsiteX154" fmla="*/ 441761 w 448108"/>
                <a:gd name="connsiteY154" fmla="*/ 149129 h 288493"/>
                <a:gd name="connsiteX155" fmla="*/ 445905 w 448108"/>
                <a:gd name="connsiteY155" fmla="*/ 152336 h 288493"/>
                <a:gd name="connsiteX156" fmla="*/ 448027 w 448108"/>
                <a:gd name="connsiteY156" fmla="*/ 149129 h 288493"/>
                <a:gd name="connsiteX157" fmla="*/ 441761 w 448108"/>
                <a:gd name="connsiteY157" fmla="*/ 142666 h 288493"/>
                <a:gd name="connsiteX158" fmla="*/ 431251 w 448108"/>
                <a:gd name="connsiteY158" fmla="*/ 144294 h 288493"/>
                <a:gd name="connsiteX159" fmla="*/ 408258 w 448108"/>
                <a:gd name="connsiteY159" fmla="*/ 168372 h 288493"/>
                <a:gd name="connsiteX160" fmla="*/ 410380 w 448108"/>
                <a:gd name="connsiteY160" fmla="*/ 160379 h 288493"/>
                <a:gd name="connsiteX161" fmla="*/ 418718 w 448108"/>
                <a:gd name="connsiteY161" fmla="*/ 155445 h 288493"/>
                <a:gd name="connsiteX162" fmla="*/ 412453 w 448108"/>
                <a:gd name="connsiteY162" fmla="*/ 153866 h 288493"/>
                <a:gd name="connsiteX163" fmla="*/ 404213 w 448108"/>
                <a:gd name="connsiteY163" fmla="*/ 153866 h 288493"/>
                <a:gd name="connsiteX164" fmla="*/ 395825 w 448108"/>
                <a:gd name="connsiteY164" fmla="*/ 157073 h 288493"/>
                <a:gd name="connsiteX165" fmla="*/ 395825 w 448108"/>
                <a:gd name="connsiteY165" fmla="*/ 162007 h 288493"/>
                <a:gd name="connsiteX166" fmla="*/ 402091 w 448108"/>
                <a:gd name="connsiteY166" fmla="*/ 165214 h 288493"/>
                <a:gd name="connsiteX167" fmla="*/ 364297 w 448108"/>
                <a:gd name="connsiteY167" fmla="*/ 189243 h 288493"/>
                <a:gd name="connsiteX168" fmla="*/ 368490 w 448108"/>
                <a:gd name="connsiteY168" fmla="*/ 184309 h 288493"/>
                <a:gd name="connsiteX169" fmla="*/ 372684 w 448108"/>
                <a:gd name="connsiteY169" fmla="*/ 181052 h 288493"/>
                <a:gd name="connsiteX170" fmla="*/ 368490 w 448108"/>
                <a:gd name="connsiteY170" fmla="*/ 177845 h 288493"/>
                <a:gd name="connsiteX171" fmla="*/ 360151 w 448108"/>
                <a:gd name="connsiteY171" fmla="*/ 179473 h 288493"/>
                <a:gd name="connsiteX172" fmla="*/ 358030 w 448108"/>
                <a:gd name="connsiteY172" fmla="*/ 185887 h 28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448108" h="288493">
                  <a:moveTo>
                    <a:pt x="253380" y="14233"/>
                  </a:moveTo>
                  <a:lnTo>
                    <a:pt x="259645" y="17489"/>
                  </a:lnTo>
                  <a:lnTo>
                    <a:pt x="261767" y="17489"/>
                  </a:lnTo>
                  <a:lnTo>
                    <a:pt x="265912" y="19068"/>
                  </a:lnTo>
                  <a:lnTo>
                    <a:pt x="265912" y="30318"/>
                  </a:lnTo>
                  <a:lnTo>
                    <a:pt x="276421" y="28689"/>
                  </a:lnTo>
                  <a:lnTo>
                    <a:pt x="291223" y="33623"/>
                  </a:lnTo>
                  <a:lnTo>
                    <a:pt x="297489" y="40037"/>
                  </a:lnTo>
                  <a:lnTo>
                    <a:pt x="305877" y="36830"/>
                  </a:lnTo>
                  <a:lnTo>
                    <a:pt x="314216" y="44824"/>
                  </a:lnTo>
                  <a:lnTo>
                    <a:pt x="322604" y="44824"/>
                  </a:lnTo>
                  <a:lnTo>
                    <a:pt x="328870" y="46452"/>
                  </a:lnTo>
                  <a:lnTo>
                    <a:pt x="335186" y="41518"/>
                  </a:lnTo>
                  <a:lnTo>
                    <a:pt x="349988" y="39939"/>
                  </a:lnTo>
                  <a:lnTo>
                    <a:pt x="356303" y="43146"/>
                  </a:lnTo>
                  <a:lnTo>
                    <a:pt x="366764" y="43146"/>
                  </a:lnTo>
                  <a:lnTo>
                    <a:pt x="377174" y="48080"/>
                  </a:lnTo>
                  <a:lnTo>
                    <a:pt x="393950" y="46452"/>
                  </a:lnTo>
                  <a:lnTo>
                    <a:pt x="406482" y="52915"/>
                  </a:lnTo>
                  <a:lnTo>
                    <a:pt x="410725" y="52915"/>
                  </a:lnTo>
                  <a:lnTo>
                    <a:pt x="410725" y="56122"/>
                  </a:lnTo>
                  <a:lnTo>
                    <a:pt x="406482" y="61056"/>
                  </a:lnTo>
                  <a:lnTo>
                    <a:pt x="408604" y="70925"/>
                  </a:lnTo>
                  <a:lnTo>
                    <a:pt x="406482" y="77339"/>
                  </a:lnTo>
                  <a:lnTo>
                    <a:pt x="402288" y="83753"/>
                  </a:lnTo>
                  <a:lnTo>
                    <a:pt x="389756" y="90167"/>
                  </a:lnTo>
                  <a:lnTo>
                    <a:pt x="383490" y="96582"/>
                  </a:lnTo>
                  <a:cubicBezTo>
                    <a:pt x="383490" y="98161"/>
                    <a:pt x="370908" y="101516"/>
                    <a:pt x="370908" y="101516"/>
                  </a:cubicBezTo>
                  <a:lnTo>
                    <a:pt x="358375" y="101516"/>
                  </a:lnTo>
                  <a:lnTo>
                    <a:pt x="347915" y="106450"/>
                  </a:lnTo>
                  <a:lnTo>
                    <a:pt x="341649" y="109657"/>
                  </a:lnTo>
                  <a:lnTo>
                    <a:pt x="343721" y="112864"/>
                  </a:lnTo>
                  <a:lnTo>
                    <a:pt x="343721" y="119278"/>
                  </a:lnTo>
                  <a:lnTo>
                    <a:pt x="337455" y="122485"/>
                  </a:lnTo>
                  <a:lnTo>
                    <a:pt x="337455" y="122485"/>
                  </a:lnTo>
                  <a:lnTo>
                    <a:pt x="337455" y="120906"/>
                  </a:lnTo>
                  <a:lnTo>
                    <a:pt x="335383" y="119278"/>
                  </a:lnTo>
                  <a:lnTo>
                    <a:pt x="324923" y="135363"/>
                  </a:lnTo>
                  <a:lnTo>
                    <a:pt x="316535" y="138570"/>
                  </a:lnTo>
                  <a:lnTo>
                    <a:pt x="301733" y="157862"/>
                  </a:lnTo>
                  <a:lnTo>
                    <a:pt x="297539" y="162796"/>
                  </a:lnTo>
                  <a:lnTo>
                    <a:pt x="303805" y="170839"/>
                  </a:lnTo>
                  <a:lnTo>
                    <a:pt x="305926" y="177253"/>
                  </a:lnTo>
                  <a:lnTo>
                    <a:pt x="312193" y="180460"/>
                  </a:lnTo>
                  <a:lnTo>
                    <a:pt x="320532" y="190082"/>
                  </a:lnTo>
                  <a:lnTo>
                    <a:pt x="312193" y="196496"/>
                  </a:lnTo>
                  <a:lnTo>
                    <a:pt x="299661" y="199703"/>
                  </a:lnTo>
                  <a:lnTo>
                    <a:pt x="301733" y="206117"/>
                  </a:lnTo>
                  <a:lnTo>
                    <a:pt x="289151" y="220574"/>
                  </a:lnTo>
                  <a:lnTo>
                    <a:pt x="287079" y="228616"/>
                  </a:lnTo>
                  <a:lnTo>
                    <a:pt x="291273" y="231823"/>
                  </a:lnTo>
                  <a:lnTo>
                    <a:pt x="287079" y="236757"/>
                  </a:lnTo>
                  <a:lnTo>
                    <a:pt x="274546" y="236757"/>
                  </a:lnTo>
                  <a:lnTo>
                    <a:pt x="253576" y="244849"/>
                  </a:lnTo>
                  <a:lnTo>
                    <a:pt x="253576" y="251263"/>
                  </a:lnTo>
                  <a:lnTo>
                    <a:pt x="245238" y="264092"/>
                  </a:lnTo>
                  <a:lnTo>
                    <a:pt x="236850" y="260885"/>
                  </a:lnTo>
                  <a:lnTo>
                    <a:pt x="230584" y="254471"/>
                  </a:lnTo>
                  <a:lnTo>
                    <a:pt x="226390" y="260885"/>
                  </a:lnTo>
                  <a:lnTo>
                    <a:pt x="222196" y="264092"/>
                  </a:lnTo>
                  <a:lnTo>
                    <a:pt x="215930" y="260885"/>
                  </a:lnTo>
                  <a:lnTo>
                    <a:pt x="209615" y="260885"/>
                  </a:lnTo>
                  <a:lnTo>
                    <a:pt x="205470" y="262464"/>
                  </a:lnTo>
                  <a:lnTo>
                    <a:pt x="196983" y="262464"/>
                  </a:lnTo>
                  <a:lnTo>
                    <a:pt x="182181" y="259257"/>
                  </a:lnTo>
                  <a:lnTo>
                    <a:pt x="175915" y="260885"/>
                  </a:lnTo>
                  <a:lnTo>
                    <a:pt x="163382" y="262464"/>
                  </a:lnTo>
                  <a:lnTo>
                    <a:pt x="150801" y="272332"/>
                  </a:lnTo>
                  <a:lnTo>
                    <a:pt x="138268" y="273911"/>
                  </a:lnTo>
                  <a:lnTo>
                    <a:pt x="132002" y="277118"/>
                  </a:lnTo>
                  <a:lnTo>
                    <a:pt x="132002" y="283532"/>
                  </a:lnTo>
                  <a:lnTo>
                    <a:pt x="121492" y="288466"/>
                  </a:lnTo>
                  <a:lnTo>
                    <a:pt x="111032" y="286838"/>
                  </a:lnTo>
                  <a:lnTo>
                    <a:pt x="98451" y="275638"/>
                  </a:lnTo>
                  <a:lnTo>
                    <a:pt x="90112" y="261181"/>
                  </a:lnTo>
                  <a:lnTo>
                    <a:pt x="92184" y="259553"/>
                  </a:lnTo>
                  <a:lnTo>
                    <a:pt x="77382" y="248353"/>
                  </a:lnTo>
                  <a:lnTo>
                    <a:pt x="66873" y="246724"/>
                  </a:lnTo>
                  <a:lnTo>
                    <a:pt x="60606" y="245145"/>
                  </a:lnTo>
                  <a:lnTo>
                    <a:pt x="60606" y="238682"/>
                  </a:lnTo>
                  <a:lnTo>
                    <a:pt x="56462" y="230639"/>
                  </a:lnTo>
                  <a:lnTo>
                    <a:pt x="64800" y="217811"/>
                  </a:lnTo>
                  <a:lnTo>
                    <a:pt x="73188" y="211397"/>
                  </a:lnTo>
                  <a:lnTo>
                    <a:pt x="73188" y="206463"/>
                  </a:lnTo>
                  <a:lnTo>
                    <a:pt x="66873" y="204884"/>
                  </a:lnTo>
                  <a:lnTo>
                    <a:pt x="60606" y="196841"/>
                  </a:lnTo>
                  <a:lnTo>
                    <a:pt x="73188" y="186973"/>
                  </a:lnTo>
                  <a:lnTo>
                    <a:pt x="71116" y="174144"/>
                  </a:lnTo>
                  <a:lnTo>
                    <a:pt x="62728" y="169210"/>
                  </a:lnTo>
                  <a:lnTo>
                    <a:pt x="54340" y="154803"/>
                  </a:lnTo>
                  <a:lnTo>
                    <a:pt x="62728" y="153175"/>
                  </a:lnTo>
                  <a:lnTo>
                    <a:pt x="68995" y="153175"/>
                  </a:lnTo>
                  <a:lnTo>
                    <a:pt x="79455" y="141925"/>
                  </a:lnTo>
                  <a:lnTo>
                    <a:pt x="73188" y="136991"/>
                  </a:lnTo>
                  <a:lnTo>
                    <a:pt x="79455" y="130577"/>
                  </a:lnTo>
                  <a:lnTo>
                    <a:pt x="81576" y="111334"/>
                  </a:lnTo>
                  <a:lnTo>
                    <a:pt x="79455" y="103292"/>
                  </a:lnTo>
                  <a:lnTo>
                    <a:pt x="94257" y="92042"/>
                  </a:lnTo>
                  <a:lnTo>
                    <a:pt x="98401" y="92042"/>
                  </a:lnTo>
                  <a:lnTo>
                    <a:pt x="100572" y="85628"/>
                  </a:lnTo>
                  <a:lnTo>
                    <a:pt x="94257" y="76007"/>
                  </a:lnTo>
                  <a:lnTo>
                    <a:pt x="92135" y="69592"/>
                  </a:lnTo>
                  <a:lnTo>
                    <a:pt x="75458" y="66385"/>
                  </a:lnTo>
                  <a:lnTo>
                    <a:pt x="69142" y="72800"/>
                  </a:lnTo>
                  <a:lnTo>
                    <a:pt x="48222" y="69592"/>
                  </a:lnTo>
                  <a:lnTo>
                    <a:pt x="35641" y="74526"/>
                  </a:lnTo>
                  <a:lnTo>
                    <a:pt x="33568" y="69592"/>
                  </a:lnTo>
                  <a:lnTo>
                    <a:pt x="33568" y="63178"/>
                  </a:lnTo>
                  <a:lnTo>
                    <a:pt x="27302" y="61550"/>
                  </a:lnTo>
                  <a:lnTo>
                    <a:pt x="12500" y="64757"/>
                  </a:lnTo>
                  <a:lnTo>
                    <a:pt x="12500" y="63178"/>
                  </a:lnTo>
                  <a:lnTo>
                    <a:pt x="20888" y="56764"/>
                  </a:lnTo>
                  <a:lnTo>
                    <a:pt x="14621" y="55136"/>
                  </a:lnTo>
                  <a:lnTo>
                    <a:pt x="18766" y="51929"/>
                  </a:lnTo>
                  <a:lnTo>
                    <a:pt x="14621" y="48721"/>
                  </a:lnTo>
                  <a:lnTo>
                    <a:pt x="16693" y="42258"/>
                  </a:lnTo>
                  <a:lnTo>
                    <a:pt x="10378" y="47192"/>
                  </a:lnTo>
                  <a:lnTo>
                    <a:pt x="8306" y="47192"/>
                  </a:lnTo>
                  <a:lnTo>
                    <a:pt x="10378" y="37324"/>
                  </a:lnTo>
                  <a:lnTo>
                    <a:pt x="8306" y="37324"/>
                  </a:lnTo>
                  <a:lnTo>
                    <a:pt x="8306" y="32390"/>
                  </a:lnTo>
                  <a:lnTo>
                    <a:pt x="4112" y="34018"/>
                  </a:lnTo>
                  <a:lnTo>
                    <a:pt x="-82" y="27604"/>
                  </a:lnTo>
                  <a:lnTo>
                    <a:pt x="4112" y="21189"/>
                  </a:lnTo>
                  <a:lnTo>
                    <a:pt x="16693" y="16255"/>
                  </a:lnTo>
                  <a:lnTo>
                    <a:pt x="22960" y="19463"/>
                  </a:lnTo>
                  <a:lnTo>
                    <a:pt x="33420" y="17884"/>
                  </a:lnTo>
                  <a:lnTo>
                    <a:pt x="39686" y="14627"/>
                  </a:lnTo>
                  <a:lnTo>
                    <a:pt x="35492" y="11420"/>
                  </a:lnTo>
                  <a:lnTo>
                    <a:pt x="33420" y="6486"/>
                  </a:lnTo>
                  <a:lnTo>
                    <a:pt x="48222" y="1552"/>
                  </a:lnTo>
                  <a:lnTo>
                    <a:pt x="48222" y="3180"/>
                  </a:lnTo>
                  <a:lnTo>
                    <a:pt x="54488" y="-27"/>
                  </a:lnTo>
                  <a:lnTo>
                    <a:pt x="62876" y="1552"/>
                  </a:lnTo>
                  <a:lnTo>
                    <a:pt x="71264" y="9595"/>
                  </a:lnTo>
                  <a:lnTo>
                    <a:pt x="77530" y="4660"/>
                  </a:lnTo>
                  <a:lnTo>
                    <a:pt x="85869" y="4660"/>
                  </a:lnTo>
                  <a:lnTo>
                    <a:pt x="94257" y="7868"/>
                  </a:lnTo>
                  <a:lnTo>
                    <a:pt x="102644" y="4660"/>
                  </a:lnTo>
                  <a:lnTo>
                    <a:pt x="115177" y="1453"/>
                  </a:lnTo>
                  <a:lnTo>
                    <a:pt x="117249" y="4660"/>
                  </a:lnTo>
                  <a:lnTo>
                    <a:pt x="125637" y="9595"/>
                  </a:lnTo>
                  <a:lnTo>
                    <a:pt x="152824" y="12802"/>
                  </a:lnTo>
                  <a:lnTo>
                    <a:pt x="163333" y="14381"/>
                  </a:lnTo>
                  <a:lnTo>
                    <a:pt x="182132" y="7966"/>
                  </a:lnTo>
                  <a:lnTo>
                    <a:pt x="194714" y="9595"/>
                  </a:lnTo>
                  <a:lnTo>
                    <a:pt x="196786" y="14529"/>
                  </a:lnTo>
                  <a:lnTo>
                    <a:pt x="209318" y="16157"/>
                  </a:lnTo>
                  <a:lnTo>
                    <a:pt x="215634" y="11223"/>
                  </a:lnTo>
                  <a:lnTo>
                    <a:pt x="221900" y="11223"/>
                  </a:lnTo>
                  <a:lnTo>
                    <a:pt x="242870" y="21091"/>
                  </a:lnTo>
                  <a:lnTo>
                    <a:pt x="244942" y="16157"/>
                  </a:lnTo>
                  <a:lnTo>
                    <a:pt x="251258" y="16157"/>
                  </a:lnTo>
                  <a:close/>
                  <a:moveTo>
                    <a:pt x="429179" y="149129"/>
                  </a:moveTo>
                  <a:lnTo>
                    <a:pt x="441761" y="149129"/>
                  </a:lnTo>
                  <a:lnTo>
                    <a:pt x="445905" y="152336"/>
                  </a:lnTo>
                  <a:lnTo>
                    <a:pt x="448027" y="149129"/>
                  </a:lnTo>
                  <a:lnTo>
                    <a:pt x="441761" y="142666"/>
                  </a:lnTo>
                  <a:lnTo>
                    <a:pt x="431251" y="144294"/>
                  </a:lnTo>
                  <a:close/>
                  <a:moveTo>
                    <a:pt x="408258" y="168372"/>
                  </a:moveTo>
                  <a:lnTo>
                    <a:pt x="410380" y="160379"/>
                  </a:lnTo>
                  <a:lnTo>
                    <a:pt x="418718" y="155445"/>
                  </a:lnTo>
                  <a:lnTo>
                    <a:pt x="412453" y="153866"/>
                  </a:lnTo>
                  <a:lnTo>
                    <a:pt x="404213" y="153866"/>
                  </a:lnTo>
                  <a:lnTo>
                    <a:pt x="395825" y="157073"/>
                  </a:lnTo>
                  <a:lnTo>
                    <a:pt x="395825" y="162007"/>
                  </a:lnTo>
                  <a:lnTo>
                    <a:pt x="402091" y="165214"/>
                  </a:lnTo>
                  <a:close/>
                  <a:moveTo>
                    <a:pt x="364297" y="189243"/>
                  </a:moveTo>
                  <a:lnTo>
                    <a:pt x="368490" y="184309"/>
                  </a:lnTo>
                  <a:lnTo>
                    <a:pt x="372684" y="181052"/>
                  </a:lnTo>
                  <a:lnTo>
                    <a:pt x="368490" y="177845"/>
                  </a:lnTo>
                  <a:lnTo>
                    <a:pt x="360151" y="179473"/>
                  </a:lnTo>
                  <a:lnTo>
                    <a:pt x="358030" y="18588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Graphic 2">
              <a:extLst>
                <a:ext uri="{FF2B5EF4-FFF2-40B4-BE49-F238E27FC236}">
                  <a16:creationId xmlns:a16="http://schemas.microsoft.com/office/drawing/2014/main" id="{8A9AAF1B-0F98-44DB-93AB-1351E99790A6}"/>
                </a:ext>
              </a:extLst>
            </p:cNvPr>
            <p:cNvSpPr/>
            <p:nvPr/>
          </p:nvSpPr>
          <p:spPr>
            <a:xfrm>
              <a:off x="5122892" y="3373573"/>
              <a:ext cx="101846" cy="172799"/>
            </a:xfrm>
            <a:custGeom>
              <a:avLst/>
              <a:gdLst>
                <a:gd name="connsiteX0" fmla="*/ 72646 w 112101"/>
                <a:gd name="connsiteY0" fmla="*/ 182681 h 190207"/>
                <a:gd name="connsiteX1" fmla="*/ 72646 w 112101"/>
                <a:gd name="connsiteY1" fmla="*/ 176809 h 190207"/>
                <a:gd name="connsiteX2" fmla="*/ 68748 w 112101"/>
                <a:gd name="connsiteY2" fmla="*/ 169260 h 190207"/>
                <a:gd name="connsiteX3" fmla="*/ 76593 w 112101"/>
                <a:gd name="connsiteY3" fmla="*/ 155642 h 190207"/>
                <a:gd name="connsiteX4" fmla="*/ 86461 w 112101"/>
                <a:gd name="connsiteY4" fmla="*/ 149622 h 190207"/>
                <a:gd name="connsiteX5" fmla="*/ 86461 w 112101"/>
                <a:gd name="connsiteY5" fmla="*/ 145083 h 190207"/>
                <a:gd name="connsiteX6" fmla="*/ 78616 w 112101"/>
                <a:gd name="connsiteY6" fmla="*/ 143554 h 190207"/>
                <a:gd name="connsiteX7" fmla="*/ 72695 w 112101"/>
                <a:gd name="connsiteY7" fmla="*/ 134475 h 190207"/>
                <a:gd name="connsiteX8" fmla="*/ 86461 w 112101"/>
                <a:gd name="connsiteY8" fmla="*/ 125446 h 190207"/>
                <a:gd name="connsiteX9" fmla="*/ 82563 w 112101"/>
                <a:gd name="connsiteY9" fmla="*/ 111828 h 190207"/>
                <a:gd name="connsiteX10" fmla="*/ 74669 w 112101"/>
                <a:gd name="connsiteY10" fmla="*/ 107338 h 190207"/>
                <a:gd name="connsiteX11" fmla="*/ 66824 w 112101"/>
                <a:gd name="connsiteY11" fmla="*/ 93720 h 190207"/>
                <a:gd name="connsiteX12" fmla="*/ 74669 w 112101"/>
                <a:gd name="connsiteY12" fmla="*/ 92190 h 190207"/>
                <a:gd name="connsiteX13" fmla="*/ 80590 w 112101"/>
                <a:gd name="connsiteY13" fmla="*/ 92190 h 190207"/>
                <a:gd name="connsiteX14" fmla="*/ 92382 w 112101"/>
                <a:gd name="connsiteY14" fmla="*/ 80102 h 190207"/>
                <a:gd name="connsiteX15" fmla="*/ 86461 w 112101"/>
                <a:gd name="connsiteY15" fmla="*/ 75612 h 190207"/>
                <a:gd name="connsiteX16" fmla="*/ 92382 w 112101"/>
                <a:gd name="connsiteY16" fmla="*/ 69543 h 190207"/>
                <a:gd name="connsiteX17" fmla="*/ 94306 w 112101"/>
                <a:gd name="connsiteY17" fmla="*/ 49807 h 190207"/>
                <a:gd name="connsiteX18" fmla="*/ 92382 w 112101"/>
                <a:gd name="connsiteY18" fmla="*/ 42258 h 190207"/>
                <a:gd name="connsiteX19" fmla="*/ 106099 w 112101"/>
                <a:gd name="connsiteY19" fmla="*/ 30219 h 190207"/>
                <a:gd name="connsiteX20" fmla="*/ 110046 w 112101"/>
                <a:gd name="connsiteY20" fmla="*/ 30219 h 190207"/>
                <a:gd name="connsiteX21" fmla="*/ 112020 w 112101"/>
                <a:gd name="connsiteY21" fmla="*/ 24150 h 190207"/>
                <a:gd name="connsiteX22" fmla="*/ 106099 w 112101"/>
                <a:gd name="connsiteY22" fmla="*/ 15071 h 190207"/>
                <a:gd name="connsiteX23" fmla="*/ 104125 w 112101"/>
                <a:gd name="connsiteY23" fmla="*/ 7522 h 190207"/>
                <a:gd name="connsiteX24" fmla="*/ 88435 w 112101"/>
                <a:gd name="connsiteY24" fmla="*/ 4463 h 190207"/>
                <a:gd name="connsiteX25" fmla="*/ 80590 w 112101"/>
                <a:gd name="connsiteY25" fmla="*/ 12062 h 190207"/>
                <a:gd name="connsiteX26" fmla="*/ 60854 w 112101"/>
                <a:gd name="connsiteY26" fmla="*/ 7522 h 190207"/>
                <a:gd name="connsiteX27" fmla="*/ 47088 w 112101"/>
                <a:gd name="connsiteY27" fmla="*/ 13542 h 190207"/>
                <a:gd name="connsiteX28" fmla="*/ 45114 w 112101"/>
                <a:gd name="connsiteY28" fmla="*/ 7522 h 190207"/>
                <a:gd name="connsiteX29" fmla="*/ 45114 w 112101"/>
                <a:gd name="connsiteY29" fmla="*/ 1454 h 190207"/>
                <a:gd name="connsiteX30" fmla="*/ 39243 w 112101"/>
                <a:gd name="connsiteY30" fmla="*/ -27 h 190207"/>
                <a:gd name="connsiteX31" fmla="*/ 25477 w 112101"/>
                <a:gd name="connsiteY31" fmla="*/ 2983 h 190207"/>
                <a:gd name="connsiteX32" fmla="*/ 25477 w 112101"/>
                <a:gd name="connsiteY32" fmla="*/ 10532 h 190207"/>
                <a:gd name="connsiteX33" fmla="*/ 31348 w 112101"/>
                <a:gd name="connsiteY33" fmla="*/ 19611 h 190207"/>
                <a:gd name="connsiteX34" fmla="*/ 27450 w 112101"/>
                <a:gd name="connsiteY34" fmla="*/ 39347 h 190207"/>
                <a:gd name="connsiteX35" fmla="*/ 29375 w 112101"/>
                <a:gd name="connsiteY35" fmla="*/ 42357 h 190207"/>
                <a:gd name="connsiteX36" fmla="*/ 27450 w 112101"/>
                <a:gd name="connsiteY36" fmla="*/ 51435 h 190207"/>
                <a:gd name="connsiteX37" fmla="*/ 31348 w 112101"/>
                <a:gd name="connsiteY37" fmla="*/ 55975 h 190207"/>
                <a:gd name="connsiteX38" fmla="*/ 27450 w 112101"/>
                <a:gd name="connsiteY38" fmla="*/ 58984 h 190207"/>
                <a:gd name="connsiteX39" fmla="*/ 23552 w 112101"/>
                <a:gd name="connsiteY39" fmla="*/ 68014 h 190207"/>
                <a:gd name="connsiteX40" fmla="*/ 23552 w 112101"/>
                <a:gd name="connsiteY40" fmla="*/ 78622 h 190207"/>
                <a:gd name="connsiteX41" fmla="*/ 13684 w 112101"/>
                <a:gd name="connsiteY41" fmla="*/ 89181 h 190207"/>
                <a:gd name="connsiteX42" fmla="*/ 13684 w 112101"/>
                <a:gd name="connsiteY42" fmla="*/ 95249 h 190207"/>
                <a:gd name="connsiteX43" fmla="*/ 5839 w 112101"/>
                <a:gd name="connsiteY43" fmla="*/ 105808 h 190207"/>
                <a:gd name="connsiteX44" fmla="*/ -82 w 112101"/>
                <a:gd name="connsiteY44" fmla="*/ 123916 h 190207"/>
                <a:gd name="connsiteX45" fmla="*/ -82 w 112101"/>
                <a:gd name="connsiteY45" fmla="*/ 128456 h 190207"/>
                <a:gd name="connsiteX46" fmla="*/ 7813 w 112101"/>
                <a:gd name="connsiteY46" fmla="*/ 128456 h 190207"/>
                <a:gd name="connsiteX47" fmla="*/ 11760 w 112101"/>
                <a:gd name="connsiteY47" fmla="*/ 123916 h 190207"/>
                <a:gd name="connsiteX48" fmla="*/ 19556 w 112101"/>
                <a:gd name="connsiteY48" fmla="*/ 119426 h 190207"/>
                <a:gd name="connsiteX49" fmla="*/ 19556 w 112101"/>
                <a:gd name="connsiteY49" fmla="*/ 126975 h 190207"/>
                <a:gd name="connsiteX50" fmla="*/ 7813 w 112101"/>
                <a:gd name="connsiteY50" fmla="*/ 131465 h 190207"/>
                <a:gd name="connsiteX51" fmla="*/ 7813 w 112101"/>
                <a:gd name="connsiteY51" fmla="*/ 137337 h 190207"/>
                <a:gd name="connsiteX52" fmla="*/ 11760 w 112101"/>
                <a:gd name="connsiteY52" fmla="*/ 141876 h 190207"/>
                <a:gd name="connsiteX53" fmla="*/ 17632 w 112101"/>
                <a:gd name="connsiteY53" fmla="*/ 135807 h 190207"/>
                <a:gd name="connsiteX54" fmla="*/ 27500 w 112101"/>
                <a:gd name="connsiteY54" fmla="*/ 135807 h 190207"/>
                <a:gd name="connsiteX55" fmla="*/ 23602 w 112101"/>
                <a:gd name="connsiteY55" fmla="*/ 141876 h 190207"/>
                <a:gd name="connsiteX56" fmla="*/ 25526 w 112101"/>
                <a:gd name="connsiteY56" fmla="*/ 149425 h 190207"/>
                <a:gd name="connsiteX57" fmla="*/ 21579 w 112101"/>
                <a:gd name="connsiteY57" fmla="*/ 155445 h 190207"/>
                <a:gd name="connsiteX58" fmla="*/ 23602 w 112101"/>
                <a:gd name="connsiteY58" fmla="*/ 172072 h 190207"/>
                <a:gd name="connsiteX59" fmla="*/ 19605 w 112101"/>
                <a:gd name="connsiteY59" fmla="*/ 184161 h 190207"/>
                <a:gd name="connsiteX60" fmla="*/ 17681 w 112101"/>
                <a:gd name="connsiteY60" fmla="*/ 187170 h 190207"/>
                <a:gd name="connsiteX61" fmla="*/ 19605 w 112101"/>
                <a:gd name="connsiteY61" fmla="*/ 188700 h 190207"/>
                <a:gd name="connsiteX62" fmla="*/ 29473 w 112101"/>
                <a:gd name="connsiteY62" fmla="*/ 182681 h 190207"/>
                <a:gd name="connsiteX63" fmla="*/ 43239 w 112101"/>
                <a:gd name="connsiteY63" fmla="*/ 187170 h 190207"/>
                <a:gd name="connsiteX64" fmla="*/ 53107 w 112101"/>
                <a:gd name="connsiteY64" fmla="*/ 190180 h 190207"/>
                <a:gd name="connsiteX65" fmla="*/ 62975 w 112101"/>
                <a:gd name="connsiteY65" fmla="*/ 185690 h 190207"/>
                <a:gd name="connsiteX66" fmla="*/ 70870 w 112101"/>
                <a:gd name="connsiteY66" fmla="*/ 185690 h 190207"/>
                <a:gd name="connsiteX67" fmla="*/ 72794 w 112101"/>
                <a:gd name="connsiteY67" fmla="*/ 182681 h 19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12101" h="190207">
                  <a:moveTo>
                    <a:pt x="72646" y="182681"/>
                  </a:moveTo>
                  <a:lnTo>
                    <a:pt x="72646" y="176809"/>
                  </a:lnTo>
                  <a:lnTo>
                    <a:pt x="68748" y="169260"/>
                  </a:lnTo>
                  <a:lnTo>
                    <a:pt x="76593" y="155642"/>
                  </a:lnTo>
                  <a:lnTo>
                    <a:pt x="86461" y="149622"/>
                  </a:lnTo>
                  <a:lnTo>
                    <a:pt x="86461" y="145083"/>
                  </a:lnTo>
                  <a:lnTo>
                    <a:pt x="78616" y="143554"/>
                  </a:lnTo>
                  <a:lnTo>
                    <a:pt x="72695" y="134475"/>
                  </a:lnTo>
                  <a:lnTo>
                    <a:pt x="86461" y="125446"/>
                  </a:lnTo>
                  <a:lnTo>
                    <a:pt x="82563" y="111828"/>
                  </a:lnTo>
                  <a:lnTo>
                    <a:pt x="74669" y="107338"/>
                  </a:lnTo>
                  <a:lnTo>
                    <a:pt x="66824" y="93720"/>
                  </a:lnTo>
                  <a:lnTo>
                    <a:pt x="74669" y="92190"/>
                  </a:lnTo>
                  <a:lnTo>
                    <a:pt x="80590" y="92190"/>
                  </a:lnTo>
                  <a:lnTo>
                    <a:pt x="92382" y="80102"/>
                  </a:lnTo>
                  <a:lnTo>
                    <a:pt x="86461" y="75612"/>
                  </a:lnTo>
                  <a:lnTo>
                    <a:pt x="92382" y="69543"/>
                  </a:lnTo>
                  <a:lnTo>
                    <a:pt x="94306" y="49807"/>
                  </a:lnTo>
                  <a:lnTo>
                    <a:pt x="92382" y="42258"/>
                  </a:lnTo>
                  <a:lnTo>
                    <a:pt x="106099" y="30219"/>
                  </a:lnTo>
                  <a:lnTo>
                    <a:pt x="110046" y="30219"/>
                  </a:lnTo>
                  <a:lnTo>
                    <a:pt x="112020" y="24150"/>
                  </a:lnTo>
                  <a:lnTo>
                    <a:pt x="106099" y="15071"/>
                  </a:lnTo>
                  <a:lnTo>
                    <a:pt x="104125" y="7522"/>
                  </a:lnTo>
                  <a:lnTo>
                    <a:pt x="88435" y="4463"/>
                  </a:lnTo>
                  <a:lnTo>
                    <a:pt x="80590" y="12062"/>
                  </a:lnTo>
                  <a:lnTo>
                    <a:pt x="60854" y="7522"/>
                  </a:lnTo>
                  <a:lnTo>
                    <a:pt x="47088" y="13542"/>
                  </a:lnTo>
                  <a:lnTo>
                    <a:pt x="45114" y="7522"/>
                  </a:lnTo>
                  <a:lnTo>
                    <a:pt x="45114" y="1454"/>
                  </a:lnTo>
                  <a:lnTo>
                    <a:pt x="39243" y="-27"/>
                  </a:lnTo>
                  <a:lnTo>
                    <a:pt x="25477" y="2983"/>
                  </a:lnTo>
                  <a:lnTo>
                    <a:pt x="25477" y="10532"/>
                  </a:lnTo>
                  <a:lnTo>
                    <a:pt x="31348" y="19611"/>
                  </a:lnTo>
                  <a:lnTo>
                    <a:pt x="27450" y="39347"/>
                  </a:lnTo>
                  <a:lnTo>
                    <a:pt x="29375" y="42357"/>
                  </a:lnTo>
                  <a:lnTo>
                    <a:pt x="27450" y="51435"/>
                  </a:lnTo>
                  <a:lnTo>
                    <a:pt x="31348" y="55975"/>
                  </a:lnTo>
                  <a:lnTo>
                    <a:pt x="27450" y="58984"/>
                  </a:lnTo>
                  <a:lnTo>
                    <a:pt x="23552" y="68014"/>
                  </a:lnTo>
                  <a:lnTo>
                    <a:pt x="23552" y="78622"/>
                  </a:lnTo>
                  <a:lnTo>
                    <a:pt x="13684" y="89181"/>
                  </a:lnTo>
                  <a:lnTo>
                    <a:pt x="13684" y="95249"/>
                  </a:lnTo>
                  <a:lnTo>
                    <a:pt x="5839" y="105808"/>
                  </a:lnTo>
                  <a:lnTo>
                    <a:pt x="-82" y="123916"/>
                  </a:lnTo>
                  <a:lnTo>
                    <a:pt x="-82" y="128456"/>
                  </a:lnTo>
                  <a:lnTo>
                    <a:pt x="7813" y="128456"/>
                  </a:lnTo>
                  <a:lnTo>
                    <a:pt x="11760" y="123916"/>
                  </a:lnTo>
                  <a:lnTo>
                    <a:pt x="19556" y="119426"/>
                  </a:lnTo>
                  <a:lnTo>
                    <a:pt x="19556" y="126975"/>
                  </a:lnTo>
                  <a:lnTo>
                    <a:pt x="7813" y="131465"/>
                  </a:lnTo>
                  <a:lnTo>
                    <a:pt x="7813" y="137337"/>
                  </a:lnTo>
                  <a:lnTo>
                    <a:pt x="11760" y="141876"/>
                  </a:lnTo>
                  <a:lnTo>
                    <a:pt x="17632" y="135807"/>
                  </a:lnTo>
                  <a:lnTo>
                    <a:pt x="27500" y="135807"/>
                  </a:lnTo>
                  <a:lnTo>
                    <a:pt x="23602" y="141876"/>
                  </a:lnTo>
                  <a:lnTo>
                    <a:pt x="25526" y="149425"/>
                  </a:lnTo>
                  <a:lnTo>
                    <a:pt x="21579" y="155445"/>
                  </a:lnTo>
                  <a:lnTo>
                    <a:pt x="23602" y="172072"/>
                  </a:lnTo>
                  <a:lnTo>
                    <a:pt x="19605" y="184161"/>
                  </a:lnTo>
                  <a:lnTo>
                    <a:pt x="17681" y="187170"/>
                  </a:lnTo>
                  <a:lnTo>
                    <a:pt x="19605" y="188700"/>
                  </a:lnTo>
                  <a:lnTo>
                    <a:pt x="29473" y="182681"/>
                  </a:lnTo>
                  <a:lnTo>
                    <a:pt x="43239" y="187170"/>
                  </a:lnTo>
                  <a:lnTo>
                    <a:pt x="53107" y="190180"/>
                  </a:lnTo>
                  <a:lnTo>
                    <a:pt x="62975" y="185690"/>
                  </a:lnTo>
                  <a:lnTo>
                    <a:pt x="70870" y="185690"/>
                  </a:lnTo>
                  <a:lnTo>
                    <a:pt x="72794" y="18268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Graphic 2">
              <a:extLst>
                <a:ext uri="{FF2B5EF4-FFF2-40B4-BE49-F238E27FC236}">
                  <a16:creationId xmlns:a16="http://schemas.microsoft.com/office/drawing/2014/main" id="{4F7217F7-7DEE-496F-92A4-86D31E62787D}"/>
                </a:ext>
              </a:extLst>
            </p:cNvPr>
            <p:cNvSpPr/>
            <p:nvPr/>
          </p:nvSpPr>
          <p:spPr>
            <a:xfrm>
              <a:off x="6018076" y="3380252"/>
              <a:ext cx="281376" cy="234073"/>
            </a:xfrm>
            <a:custGeom>
              <a:avLst/>
              <a:gdLst>
                <a:gd name="connsiteX0" fmla="*/ 233248 w 309709"/>
                <a:gd name="connsiteY0" fmla="*/ -27 h 257655"/>
                <a:gd name="connsiteX1" fmla="*/ 229203 w 309709"/>
                <a:gd name="connsiteY1" fmla="*/ -27 h 257655"/>
                <a:gd name="connsiteX2" fmla="*/ 218891 w 309709"/>
                <a:gd name="connsiteY2" fmla="*/ 4907 h 257655"/>
                <a:gd name="connsiteX3" fmla="*/ 218891 w 309709"/>
                <a:gd name="connsiteY3" fmla="*/ 12950 h 257655"/>
                <a:gd name="connsiteX4" fmla="*/ 223035 w 309709"/>
                <a:gd name="connsiteY4" fmla="*/ 17884 h 257655"/>
                <a:gd name="connsiteX5" fmla="*/ 216818 w 309709"/>
                <a:gd name="connsiteY5" fmla="*/ 21140 h 257655"/>
                <a:gd name="connsiteX6" fmla="*/ 202362 w 309709"/>
                <a:gd name="connsiteY6" fmla="*/ 21140 h 257655"/>
                <a:gd name="connsiteX7" fmla="*/ 196194 w 309709"/>
                <a:gd name="connsiteY7" fmla="*/ 22719 h 257655"/>
                <a:gd name="connsiteX8" fmla="*/ 189977 w 309709"/>
                <a:gd name="connsiteY8" fmla="*/ 19462 h 257655"/>
                <a:gd name="connsiteX9" fmla="*/ 181688 w 309709"/>
                <a:gd name="connsiteY9" fmla="*/ 19462 h 257655"/>
                <a:gd name="connsiteX10" fmla="*/ 177593 w 309709"/>
                <a:gd name="connsiteY10" fmla="*/ 24396 h 257655"/>
                <a:gd name="connsiteX11" fmla="*/ 171425 w 309709"/>
                <a:gd name="connsiteY11" fmla="*/ 22768 h 257655"/>
                <a:gd name="connsiteX12" fmla="*/ 169303 w 309709"/>
                <a:gd name="connsiteY12" fmla="*/ 17834 h 257655"/>
                <a:gd name="connsiteX13" fmla="*/ 161063 w 309709"/>
                <a:gd name="connsiteY13" fmla="*/ 17834 h 257655"/>
                <a:gd name="connsiteX14" fmla="*/ 150751 w 309709"/>
                <a:gd name="connsiteY14" fmla="*/ 16206 h 257655"/>
                <a:gd name="connsiteX15" fmla="*/ 144534 w 309709"/>
                <a:gd name="connsiteY15" fmla="*/ 22670 h 257655"/>
                <a:gd name="connsiteX16" fmla="*/ 136295 w 309709"/>
                <a:gd name="connsiteY16" fmla="*/ 24298 h 257655"/>
                <a:gd name="connsiteX17" fmla="*/ 123910 w 309709"/>
                <a:gd name="connsiteY17" fmla="*/ 24298 h 257655"/>
                <a:gd name="connsiteX18" fmla="*/ 121838 w 309709"/>
                <a:gd name="connsiteY18" fmla="*/ 22670 h 257655"/>
                <a:gd name="connsiteX19" fmla="*/ 115670 w 309709"/>
                <a:gd name="connsiteY19" fmla="*/ 25877 h 257655"/>
                <a:gd name="connsiteX20" fmla="*/ 109453 w 309709"/>
                <a:gd name="connsiteY20" fmla="*/ 25877 h 257655"/>
                <a:gd name="connsiteX21" fmla="*/ 101165 w 309709"/>
                <a:gd name="connsiteY21" fmla="*/ 30811 h 257655"/>
                <a:gd name="connsiteX22" fmla="*/ 84685 w 309709"/>
                <a:gd name="connsiteY22" fmla="*/ 29183 h 257655"/>
                <a:gd name="connsiteX23" fmla="*/ 76396 w 309709"/>
                <a:gd name="connsiteY23" fmla="*/ 34117 h 257655"/>
                <a:gd name="connsiteX24" fmla="*/ 76396 w 309709"/>
                <a:gd name="connsiteY24" fmla="*/ 35695 h 257655"/>
                <a:gd name="connsiteX25" fmla="*/ 66083 w 309709"/>
                <a:gd name="connsiteY25" fmla="*/ 38902 h 257655"/>
                <a:gd name="connsiteX26" fmla="*/ 51627 w 309709"/>
                <a:gd name="connsiteY26" fmla="*/ 46945 h 257655"/>
                <a:gd name="connsiteX27" fmla="*/ 49554 w 309709"/>
                <a:gd name="connsiteY27" fmla="*/ 54987 h 257655"/>
                <a:gd name="connsiteX28" fmla="*/ 43337 w 309709"/>
                <a:gd name="connsiteY28" fmla="*/ 64855 h 257655"/>
                <a:gd name="connsiteX29" fmla="*/ 30953 w 309709"/>
                <a:gd name="connsiteY29" fmla="*/ 68063 h 257655"/>
                <a:gd name="connsiteX30" fmla="*/ 28930 w 309709"/>
                <a:gd name="connsiteY30" fmla="*/ 76105 h 257655"/>
                <a:gd name="connsiteX31" fmla="*/ 24785 w 309709"/>
                <a:gd name="connsiteY31" fmla="*/ 84148 h 257655"/>
                <a:gd name="connsiteX32" fmla="*/ 20641 w 309709"/>
                <a:gd name="connsiteY32" fmla="*/ 87404 h 257655"/>
                <a:gd name="connsiteX33" fmla="*/ 20641 w 309709"/>
                <a:gd name="connsiteY33" fmla="*/ 87404 h 257655"/>
                <a:gd name="connsiteX34" fmla="*/ 20641 w 309709"/>
                <a:gd name="connsiteY34" fmla="*/ 95397 h 257655"/>
                <a:gd name="connsiteX35" fmla="*/ 35098 w 309709"/>
                <a:gd name="connsiteY35" fmla="*/ 105265 h 257655"/>
                <a:gd name="connsiteX36" fmla="*/ 41315 w 309709"/>
                <a:gd name="connsiteY36" fmla="*/ 113357 h 257655"/>
                <a:gd name="connsiteX37" fmla="*/ 45410 w 309709"/>
                <a:gd name="connsiteY37" fmla="*/ 114936 h 257655"/>
                <a:gd name="connsiteX38" fmla="*/ 45410 w 309709"/>
                <a:gd name="connsiteY38" fmla="*/ 118143 h 257655"/>
                <a:gd name="connsiteX39" fmla="*/ 53699 w 309709"/>
                <a:gd name="connsiteY39" fmla="*/ 129442 h 257655"/>
                <a:gd name="connsiteX40" fmla="*/ 57794 w 309709"/>
                <a:gd name="connsiteY40" fmla="*/ 137485 h 257655"/>
                <a:gd name="connsiteX41" fmla="*/ 61939 w 309709"/>
                <a:gd name="connsiteY41" fmla="*/ 139113 h 257655"/>
                <a:gd name="connsiteX42" fmla="*/ 68156 w 309709"/>
                <a:gd name="connsiteY42" fmla="*/ 132649 h 257655"/>
                <a:gd name="connsiteX43" fmla="*/ 72300 w 309709"/>
                <a:gd name="connsiteY43" fmla="*/ 139113 h 257655"/>
                <a:gd name="connsiteX44" fmla="*/ 80540 w 309709"/>
                <a:gd name="connsiteY44" fmla="*/ 140692 h 257655"/>
                <a:gd name="connsiteX45" fmla="*/ 84685 w 309709"/>
                <a:gd name="connsiteY45" fmla="*/ 135758 h 257655"/>
                <a:gd name="connsiteX46" fmla="*/ 90852 w 309709"/>
                <a:gd name="connsiteY46" fmla="*/ 135758 h 257655"/>
                <a:gd name="connsiteX47" fmla="*/ 101165 w 309709"/>
                <a:gd name="connsiteY47" fmla="*/ 140692 h 257655"/>
                <a:gd name="connsiteX48" fmla="*/ 105309 w 309709"/>
                <a:gd name="connsiteY48" fmla="*/ 139113 h 257655"/>
                <a:gd name="connsiteX49" fmla="*/ 107382 w 309709"/>
                <a:gd name="connsiteY49" fmla="*/ 142320 h 257655"/>
                <a:gd name="connsiteX50" fmla="*/ 111526 w 309709"/>
                <a:gd name="connsiteY50" fmla="*/ 142320 h 257655"/>
                <a:gd name="connsiteX51" fmla="*/ 115670 w 309709"/>
                <a:gd name="connsiteY51" fmla="*/ 145527 h 257655"/>
                <a:gd name="connsiteX52" fmla="*/ 123910 w 309709"/>
                <a:gd name="connsiteY52" fmla="*/ 145527 h 257655"/>
                <a:gd name="connsiteX53" fmla="*/ 117694 w 309709"/>
                <a:gd name="connsiteY53" fmla="*/ 148734 h 257655"/>
                <a:gd name="connsiteX54" fmla="*/ 113549 w 309709"/>
                <a:gd name="connsiteY54" fmla="*/ 153668 h 257655"/>
                <a:gd name="connsiteX55" fmla="*/ 107382 w 309709"/>
                <a:gd name="connsiteY55" fmla="*/ 150461 h 257655"/>
                <a:gd name="connsiteX56" fmla="*/ 101165 w 309709"/>
                <a:gd name="connsiteY56" fmla="*/ 148833 h 257655"/>
                <a:gd name="connsiteX57" fmla="*/ 86609 w 309709"/>
                <a:gd name="connsiteY57" fmla="*/ 139853 h 257655"/>
                <a:gd name="connsiteX58" fmla="*/ 80441 w 309709"/>
                <a:gd name="connsiteY58" fmla="*/ 141481 h 257655"/>
                <a:gd name="connsiteX59" fmla="*/ 74224 w 309709"/>
                <a:gd name="connsiteY59" fmla="*/ 144688 h 257655"/>
                <a:gd name="connsiteX60" fmla="*/ 68057 w 309709"/>
                <a:gd name="connsiteY60" fmla="*/ 141481 h 257655"/>
                <a:gd name="connsiteX61" fmla="*/ 63912 w 309709"/>
                <a:gd name="connsiteY61" fmla="*/ 147895 h 257655"/>
                <a:gd name="connsiteX62" fmla="*/ 59817 w 309709"/>
                <a:gd name="connsiteY62" fmla="*/ 147895 h 257655"/>
                <a:gd name="connsiteX63" fmla="*/ 57696 w 309709"/>
                <a:gd name="connsiteY63" fmla="*/ 154359 h 257655"/>
                <a:gd name="connsiteX64" fmla="*/ 63912 w 309709"/>
                <a:gd name="connsiteY64" fmla="*/ 160773 h 257655"/>
                <a:gd name="connsiteX65" fmla="*/ 72202 w 309709"/>
                <a:gd name="connsiteY65" fmla="*/ 163980 h 257655"/>
                <a:gd name="connsiteX66" fmla="*/ 80441 w 309709"/>
                <a:gd name="connsiteY66" fmla="*/ 170444 h 257655"/>
                <a:gd name="connsiteX67" fmla="*/ 80441 w 309709"/>
                <a:gd name="connsiteY67" fmla="*/ 175378 h 257655"/>
                <a:gd name="connsiteX68" fmla="*/ 78369 w 309709"/>
                <a:gd name="connsiteY68" fmla="*/ 178585 h 257655"/>
                <a:gd name="connsiteX69" fmla="*/ 78369 w 309709"/>
                <a:gd name="connsiteY69" fmla="*/ 183519 h 257655"/>
                <a:gd name="connsiteX70" fmla="*/ 84586 w 309709"/>
                <a:gd name="connsiteY70" fmla="*/ 191561 h 257655"/>
                <a:gd name="connsiteX71" fmla="*/ 88681 w 309709"/>
                <a:gd name="connsiteY71" fmla="*/ 194769 h 257655"/>
                <a:gd name="connsiteX72" fmla="*/ 90753 w 309709"/>
                <a:gd name="connsiteY72" fmla="*/ 191561 h 257655"/>
                <a:gd name="connsiteX73" fmla="*/ 90753 w 309709"/>
                <a:gd name="connsiteY73" fmla="*/ 188355 h 257655"/>
                <a:gd name="connsiteX74" fmla="*/ 92826 w 309709"/>
                <a:gd name="connsiteY74" fmla="*/ 183420 h 257655"/>
                <a:gd name="connsiteX75" fmla="*/ 94898 w 309709"/>
                <a:gd name="connsiteY75" fmla="*/ 189835 h 257655"/>
                <a:gd name="connsiteX76" fmla="*/ 105210 w 309709"/>
                <a:gd name="connsiteY76" fmla="*/ 193042 h 257655"/>
                <a:gd name="connsiteX77" fmla="*/ 107283 w 309709"/>
                <a:gd name="connsiteY77" fmla="*/ 197976 h 257655"/>
                <a:gd name="connsiteX78" fmla="*/ 105210 w 309709"/>
                <a:gd name="connsiteY78" fmla="*/ 202910 h 257655"/>
                <a:gd name="connsiteX79" fmla="*/ 109355 w 309709"/>
                <a:gd name="connsiteY79" fmla="*/ 207844 h 257655"/>
                <a:gd name="connsiteX80" fmla="*/ 109355 w 309709"/>
                <a:gd name="connsiteY80" fmla="*/ 197976 h 257655"/>
                <a:gd name="connsiteX81" fmla="*/ 113450 w 309709"/>
                <a:gd name="connsiteY81" fmla="*/ 191561 h 257655"/>
                <a:gd name="connsiteX82" fmla="*/ 119667 w 309709"/>
                <a:gd name="connsiteY82" fmla="*/ 191561 h 257655"/>
                <a:gd name="connsiteX83" fmla="*/ 121739 w 309709"/>
                <a:gd name="connsiteY83" fmla="*/ 196495 h 257655"/>
                <a:gd name="connsiteX84" fmla="*/ 132052 w 309709"/>
                <a:gd name="connsiteY84" fmla="*/ 202959 h 257655"/>
                <a:gd name="connsiteX85" fmla="*/ 127956 w 309709"/>
                <a:gd name="connsiteY85" fmla="*/ 196495 h 257655"/>
                <a:gd name="connsiteX86" fmla="*/ 127956 w 309709"/>
                <a:gd name="connsiteY86" fmla="*/ 193289 h 257655"/>
                <a:gd name="connsiteX87" fmla="*/ 125835 w 309709"/>
                <a:gd name="connsiteY87" fmla="*/ 186874 h 257655"/>
                <a:gd name="connsiteX88" fmla="*/ 119667 w 309709"/>
                <a:gd name="connsiteY88" fmla="*/ 177006 h 257655"/>
                <a:gd name="connsiteX89" fmla="*/ 115572 w 309709"/>
                <a:gd name="connsiteY89" fmla="*/ 170592 h 257655"/>
                <a:gd name="connsiteX90" fmla="*/ 115572 w 309709"/>
                <a:gd name="connsiteY90" fmla="*/ 168964 h 257655"/>
                <a:gd name="connsiteX91" fmla="*/ 119667 w 309709"/>
                <a:gd name="connsiteY91" fmla="*/ 167385 h 257655"/>
                <a:gd name="connsiteX92" fmla="*/ 127956 w 309709"/>
                <a:gd name="connsiteY92" fmla="*/ 170592 h 257655"/>
                <a:gd name="connsiteX93" fmla="*/ 125835 w 309709"/>
                <a:gd name="connsiteY93" fmla="*/ 173799 h 257655"/>
                <a:gd name="connsiteX94" fmla="*/ 127956 w 309709"/>
                <a:gd name="connsiteY94" fmla="*/ 177006 h 257655"/>
                <a:gd name="connsiteX95" fmla="*/ 132052 w 309709"/>
                <a:gd name="connsiteY95" fmla="*/ 172072 h 257655"/>
                <a:gd name="connsiteX96" fmla="*/ 140341 w 309709"/>
                <a:gd name="connsiteY96" fmla="*/ 175329 h 257655"/>
                <a:gd name="connsiteX97" fmla="*/ 140341 w 309709"/>
                <a:gd name="connsiteY97" fmla="*/ 172072 h 257655"/>
                <a:gd name="connsiteX98" fmla="*/ 138219 w 309709"/>
                <a:gd name="connsiteY98" fmla="*/ 170493 h 257655"/>
                <a:gd name="connsiteX99" fmla="*/ 136196 w 309709"/>
                <a:gd name="connsiteY99" fmla="*/ 167286 h 257655"/>
                <a:gd name="connsiteX100" fmla="*/ 134124 w 309709"/>
                <a:gd name="connsiteY100" fmla="*/ 167286 h 257655"/>
                <a:gd name="connsiteX101" fmla="*/ 127956 w 309709"/>
                <a:gd name="connsiteY101" fmla="*/ 164030 h 257655"/>
                <a:gd name="connsiteX102" fmla="*/ 127956 w 309709"/>
                <a:gd name="connsiteY102" fmla="*/ 160823 h 257655"/>
                <a:gd name="connsiteX103" fmla="*/ 121739 w 309709"/>
                <a:gd name="connsiteY103" fmla="*/ 155888 h 257655"/>
                <a:gd name="connsiteX104" fmla="*/ 127956 w 309709"/>
                <a:gd name="connsiteY104" fmla="*/ 152681 h 257655"/>
                <a:gd name="connsiteX105" fmla="*/ 134124 w 309709"/>
                <a:gd name="connsiteY105" fmla="*/ 154310 h 257655"/>
                <a:gd name="connsiteX106" fmla="*/ 138219 w 309709"/>
                <a:gd name="connsiteY106" fmla="*/ 151103 h 257655"/>
                <a:gd name="connsiteX107" fmla="*/ 148581 w 309709"/>
                <a:gd name="connsiteY107" fmla="*/ 156037 h 257655"/>
                <a:gd name="connsiteX108" fmla="*/ 148581 w 309709"/>
                <a:gd name="connsiteY108" fmla="*/ 159244 h 257655"/>
                <a:gd name="connsiteX109" fmla="*/ 156820 w 309709"/>
                <a:gd name="connsiteY109" fmla="*/ 160872 h 257655"/>
                <a:gd name="connsiteX110" fmla="*/ 156820 w 309709"/>
                <a:gd name="connsiteY110" fmla="*/ 155938 h 257655"/>
                <a:gd name="connsiteX111" fmla="*/ 152725 w 309709"/>
                <a:gd name="connsiteY111" fmla="*/ 149524 h 257655"/>
                <a:gd name="connsiteX112" fmla="*/ 152725 w 309709"/>
                <a:gd name="connsiteY112" fmla="*/ 141481 h 257655"/>
                <a:gd name="connsiteX113" fmla="*/ 150653 w 309709"/>
                <a:gd name="connsiteY113" fmla="*/ 138274 h 257655"/>
                <a:gd name="connsiteX114" fmla="*/ 134124 w 309709"/>
                <a:gd name="connsiteY114" fmla="*/ 128406 h 257655"/>
                <a:gd name="connsiteX115" fmla="*/ 129979 w 309709"/>
                <a:gd name="connsiteY115" fmla="*/ 128406 h 257655"/>
                <a:gd name="connsiteX116" fmla="*/ 125835 w 309709"/>
                <a:gd name="connsiteY116" fmla="*/ 123472 h 257655"/>
                <a:gd name="connsiteX117" fmla="*/ 121739 w 309709"/>
                <a:gd name="connsiteY117" fmla="*/ 125100 h 257655"/>
                <a:gd name="connsiteX118" fmla="*/ 119667 w 309709"/>
                <a:gd name="connsiteY118" fmla="*/ 121844 h 257655"/>
                <a:gd name="connsiteX119" fmla="*/ 111427 w 309709"/>
                <a:gd name="connsiteY119" fmla="*/ 120216 h 257655"/>
                <a:gd name="connsiteX120" fmla="*/ 105210 w 309709"/>
                <a:gd name="connsiteY120" fmla="*/ 115281 h 257655"/>
                <a:gd name="connsiteX121" fmla="*/ 113450 w 309709"/>
                <a:gd name="connsiteY121" fmla="*/ 113653 h 257655"/>
                <a:gd name="connsiteX122" fmla="*/ 117595 w 309709"/>
                <a:gd name="connsiteY122" fmla="*/ 108719 h 257655"/>
                <a:gd name="connsiteX123" fmla="*/ 117595 w 309709"/>
                <a:gd name="connsiteY123" fmla="*/ 105512 h 257655"/>
                <a:gd name="connsiteX124" fmla="*/ 109355 w 309709"/>
                <a:gd name="connsiteY124" fmla="*/ 103884 h 257655"/>
                <a:gd name="connsiteX125" fmla="*/ 113450 w 309709"/>
                <a:gd name="connsiteY125" fmla="*/ 100677 h 257655"/>
                <a:gd name="connsiteX126" fmla="*/ 113450 w 309709"/>
                <a:gd name="connsiteY126" fmla="*/ 97469 h 257655"/>
                <a:gd name="connsiteX127" fmla="*/ 119667 w 309709"/>
                <a:gd name="connsiteY127" fmla="*/ 99098 h 257655"/>
                <a:gd name="connsiteX128" fmla="*/ 123812 w 309709"/>
                <a:gd name="connsiteY128" fmla="*/ 102305 h 257655"/>
                <a:gd name="connsiteX129" fmla="*/ 121739 w 309709"/>
                <a:gd name="connsiteY129" fmla="*/ 105512 h 257655"/>
                <a:gd name="connsiteX130" fmla="*/ 121739 w 309709"/>
                <a:gd name="connsiteY130" fmla="*/ 108719 h 257655"/>
                <a:gd name="connsiteX131" fmla="*/ 125835 w 309709"/>
                <a:gd name="connsiteY131" fmla="*/ 107091 h 257655"/>
                <a:gd name="connsiteX132" fmla="*/ 127956 w 309709"/>
                <a:gd name="connsiteY132" fmla="*/ 100677 h 257655"/>
                <a:gd name="connsiteX133" fmla="*/ 123812 w 309709"/>
                <a:gd name="connsiteY133" fmla="*/ 95743 h 257655"/>
                <a:gd name="connsiteX134" fmla="*/ 113450 w 309709"/>
                <a:gd name="connsiteY134" fmla="*/ 84493 h 257655"/>
                <a:gd name="connsiteX135" fmla="*/ 107283 w 309709"/>
                <a:gd name="connsiteY135" fmla="*/ 81237 h 257655"/>
                <a:gd name="connsiteX136" fmla="*/ 107283 w 309709"/>
                <a:gd name="connsiteY136" fmla="*/ 76302 h 257655"/>
                <a:gd name="connsiteX137" fmla="*/ 99043 w 309709"/>
                <a:gd name="connsiteY137" fmla="*/ 69839 h 257655"/>
                <a:gd name="connsiteX138" fmla="*/ 101066 w 309709"/>
                <a:gd name="connsiteY138" fmla="*/ 66632 h 257655"/>
                <a:gd name="connsiteX139" fmla="*/ 101066 w 309709"/>
                <a:gd name="connsiteY139" fmla="*/ 55382 h 257655"/>
                <a:gd name="connsiteX140" fmla="*/ 105210 w 309709"/>
                <a:gd name="connsiteY140" fmla="*/ 48919 h 257655"/>
                <a:gd name="connsiteX141" fmla="*/ 113450 w 309709"/>
                <a:gd name="connsiteY141" fmla="*/ 47340 h 257655"/>
                <a:gd name="connsiteX142" fmla="*/ 115572 w 309709"/>
                <a:gd name="connsiteY142" fmla="*/ 53754 h 257655"/>
                <a:gd name="connsiteX143" fmla="*/ 111427 w 309709"/>
                <a:gd name="connsiteY143" fmla="*/ 53754 h 257655"/>
                <a:gd name="connsiteX144" fmla="*/ 111427 w 309709"/>
                <a:gd name="connsiteY144" fmla="*/ 56961 h 257655"/>
                <a:gd name="connsiteX145" fmla="*/ 121739 w 309709"/>
                <a:gd name="connsiteY145" fmla="*/ 60217 h 257655"/>
                <a:gd name="connsiteX146" fmla="*/ 123812 w 309709"/>
                <a:gd name="connsiteY146" fmla="*/ 68260 h 257655"/>
                <a:gd name="connsiteX147" fmla="*/ 129979 w 309709"/>
                <a:gd name="connsiteY147" fmla="*/ 73194 h 257655"/>
                <a:gd name="connsiteX148" fmla="*/ 138219 w 309709"/>
                <a:gd name="connsiteY148" fmla="*/ 73194 h 257655"/>
                <a:gd name="connsiteX149" fmla="*/ 132052 w 309709"/>
                <a:gd name="connsiteY149" fmla="*/ 69938 h 257655"/>
                <a:gd name="connsiteX150" fmla="*/ 129979 w 309709"/>
                <a:gd name="connsiteY150" fmla="*/ 65004 h 257655"/>
                <a:gd name="connsiteX151" fmla="*/ 129979 w 309709"/>
                <a:gd name="connsiteY151" fmla="*/ 60070 h 257655"/>
                <a:gd name="connsiteX152" fmla="*/ 138219 w 309709"/>
                <a:gd name="connsiteY152" fmla="*/ 63277 h 257655"/>
                <a:gd name="connsiteX153" fmla="*/ 144436 w 309709"/>
                <a:gd name="connsiteY153" fmla="*/ 69691 h 257655"/>
                <a:gd name="connsiteX154" fmla="*/ 148581 w 309709"/>
                <a:gd name="connsiteY154" fmla="*/ 71319 h 257655"/>
                <a:gd name="connsiteX155" fmla="*/ 150653 w 309709"/>
                <a:gd name="connsiteY155" fmla="*/ 68112 h 257655"/>
                <a:gd name="connsiteX156" fmla="*/ 146508 w 309709"/>
                <a:gd name="connsiteY156" fmla="*/ 63178 h 257655"/>
                <a:gd name="connsiteX157" fmla="*/ 140341 w 309709"/>
                <a:gd name="connsiteY157" fmla="*/ 61550 h 257655"/>
                <a:gd name="connsiteX158" fmla="*/ 142364 w 309709"/>
                <a:gd name="connsiteY158" fmla="*/ 58343 h 257655"/>
                <a:gd name="connsiteX159" fmla="*/ 154798 w 309709"/>
                <a:gd name="connsiteY159" fmla="*/ 58343 h 257655"/>
                <a:gd name="connsiteX160" fmla="*/ 158893 w 309709"/>
                <a:gd name="connsiteY160" fmla="*/ 63277 h 257655"/>
                <a:gd name="connsiteX161" fmla="*/ 160965 w 309709"/>
                <a:gd name="connsiteY161" fmla="*/ 61649 h 257655"/>
                <a:gd name="connsiteX162" fmla="*/ 154798 w 309709"/>
                <a:gd name="connsiteY162" fmla="*/ 55234 h 257655"/>
                <a:gd name="connsiteX163" fmla="*/ 146508 w 309709"/>
                <a:gd name="connsiteY163" fmla="*/ 53606 h 257655"/>
                <a:gd name="connsiteX164" fmla="*/ 140341 w 309709"/>
                <a:gd name="connsiteY164" fmla="*/ 47192 h 257655"/>
                <a:gd name="connsiteX165" fmla="*/ 144436 w 309709"/>
                <a:gd name="connsiteY165" fmla="*/ 43935 h 257655"/>
                <a:gd name="connsiteX166" fmla="*/ 150653 w 309709"/>
                <a:gd name="connsiteY166" fmla="*/ 45564 h 257655"/>
                <a:gd name="connsiteX167" fmla="*/ 156820 w 309709"/>
                <a:gd name="connsiteY167" fmla="*/ 42356 h 257655"/>
                <a:gd name="connsiteX168" fmla="*/ 158893 w 309709"/>
                <a:gd name="connsiteY168" fmla="*/ 34314 h 257655"/>
                <a:gd name="connsiteX169" fmla="*/ 165110 w 309709"/>
                <a:gd name="connsiteY169" fmla="*/ 32735 h 257655"/>
                <a:gd name="connsiteX170" fmla="*/ 171326 w 309709"/>
                <a:gd name="connsiteY170" fmla="*/ 39149 h 257655"/>
                <a:gd name="connsiteX171" fmla="*/ 177494 w 309709"/>
                <a:gd name="connsiteY171" fmla="*/ 39149 h 257655"/>
                <a:gd name="connsiteX172" fmla="*/ 183711 w 309709"/>
                <a:gd name="connsiteY172" fmla="*/ 32735 h 257655"/>
                <a:gd name="connsiteX173" fmla="*/ 185733 w 309709"/>
                <a:gd name="connsiteY173" fmla="*/ 29479 h 257655"/>
                <a:gd name="connsiteX174" fmla="*/ 187806 w 309709"/>
                <a:gd name="connsiteY174" fmla="*/ 29479 h 257655"/>
                <a:gd name="connsiteX175" fmla="*/ 191950 w 309709"/>
                <a:gd name="connsiteY175" fmla="*/ 34413 h 257655"/>
                <a:gd name="connsiteX176" fmla="*/ 206407 w 309709"/>
                <a:gd name="connsiteY176" fmla="*/ 34413 h 257655"/>
                <a:gd name="connsiteX177" fmla="*/ 218792 w 309709"/>
                <a:gd name="connsiteY177" fmla="*/ 37620 h 257655"/>
                <a:gd name="connsiteX178" fmla="*/ 224959 w 309709"/>
                <a:gd name="connsiteY178" fmla="*/ 36041 h 257655"/>
                <a:gd name="connsiteX179" fmla="*/ 229104 w 309709"/>
                <a:gd name="connsiteY179" fmla="*/ 27949 h 257655"/>
                <a:gd name="connsiteX180" fmla="*/ 229104 w 309709"/>
                <a:gd name="connsiteY180" fmla="*/ 21535 h 257655"/>
                <a:gd name="connsiteX181" fmla="*/ 237344 w 309709"/>
                <a:gd name="connsiteY181" fmla="*/ 16601 h 257655"/>
                <a:gd name="connsiteX182" fmla="*/ 237344 w 309709"/>
                <a:gd name="connsiteY182" fmla="*/ 10186 h 257655"/>
                <a:gd name="connsiteX183" fmla="*/ 231176 w 309709"/>
                <a:gd name="connsiteY183" fmla="*/ 6979 h 257655"/>
                <a:gd name="connsiteX184" fmla="*/ 152725 w 309709"/>
                <a:gd name="connsiteY184" fmla="*/ 239816 h 257655"/>
                <a:gd name="connsiteX185" fmla="*/ 150653 w 309709"/>
                <a:gd name="connsiteY185" fmla="*/ 234882 h 257655"/>
                <a:gd name="connsiteX186" fmla="*/ 150653 w 309709"/>
                <a:gd name="connsiteY186" fmla="*/ 239816 h 257655"/>
                <a:gd name="connsiteX187" fmla="*/ 148581 w 309709"/>
                <a:gd name="connsiteY187" fmla="*/ 243023 h 257655"/>
                <a:gd name="connsiteX188" fmla="*/ 148581 w 309709"/>
                <a:gd name="connsiteY188" fmla="*/ 247957 h 257655"/>
                <a:gd name="connsiteX189" fmla="*/ 152725 w 309709"/>
                <a:gd name="connsiteY189" fmla="*/ 249586 h 257655"/>
                <a:gd name="connsiteX190" fmla="*/ 171326 w 309709"/>
                <a:gd name="connsiteY190" fmla="*/ 249586 h 257655"/>
                <a:gd name="connsiteX191" fmla="*/ 175422 w 309709"/>
                <a:gd name="connsiteY191" fmla="*/ 247957 h 257655"/>
                <a:gd name="connsiteX192" fmla="*/ 181589 w 309709"/>
                <a:gd name="connsiteY192" fmla="*/ 251214 h 257655"/>
                <a:gd name="connsiteX193" fmla="*/ 189878 w 309709"/>
                <a:gd name="connsiteY193" fmla="*/ 254421 h 257655"/>
                <a:gd name="connsiteX194" fmla="*/ 191950 w 309709"/>
                <a:gd name="connsiteY194" fmla="*/ 257628 h 257655"/>
                <a:gd name="connsiteX195" fmla="*/ 200190 w 309709"/>
                <a:gd name="connsiteY195" fmla="*/ 257628 h 257655"/>
                <a:gd name="connsiteX196" fmla="*/ 206407 w 309709"/>
                <a:gd name="connsiteY196" fmla="*/ 254421 h 257655"/>
                <a:gd name="connsiteX197" fmla="*/ 237344 w 309709"/>
                <a:gd name="connsiteY197" fmla="*/ 254421 h 257655"/>
                <a:gd name="connsiteX198" fmla="*/ 243561 w 309709"/>
                <a:gd name="connsiteY198" fmla="*/ 251214 h 257655"/>
                <a:gd name="connsiteX199" fmla="*/ 245633 w 309709"/>
                <a:gd name="connsiteY199" fmla="*/ 247957 h 257655"/>
                <a:gd name="connsiteX200" fmla="*/ 243561 w 309709"/>
                <a:gd name="connsiteY200" fmla="*/ 243023 h 257655"/>
                <a:gd name="connsiteX201" fmla="*/ 243561 w 309709"/>
                <a:gd name="connsiteY201" fmla="*/ 239816 h 257655"/>
                <a:gd name="connsiteX202" fmla="*/ 241488 w 309709"/>
                <a:gd name="connsiteY202" fmla="*/ 243023 h 257655"/>
                <a:gd name="connsiteX203" fmla="*/ 241488 w 309709"/>
                <a:gd name="connsiteY203" fmla="*/ 246231 h 257655"/>
                <a:gd name="connsiteX204" fmla="*/ 237344 w 309709"/>
                <a:gd name="connsiteY204" fmla="*/ 249438 h 257655"/>
                <a:gd name="connsiteX205" fmla="*/ 233248 w 309709"/>
                <a:gd name="connsiteY205" fmla="*/ 246231 h 257655"/>
                <a:gd name="connsiteX206" fmla="*/ 231176 w 309709"/>
                <a:gd name="connsiteY206" fmla="*/ 247810 h 257655"/>
                <a:gd name="connsiteX207" fmla="*/ 227081 w 309709"/>
                <a:gd name="connsiteY207" fmla="*/ 247810 h 257655"/>
                <a:gd name="connsiteX208" fmla="*/ 227081 w 309709"/>
                <a:gd name="connsiteY208" fmla="*/ 244602 h 257655"/>
                <a:gd name="connsiteX209" fmla="*/ 224959 w 309709"/>
                <a:gd name="connsiteY209" fmla="*/ 241395 h 257655"/>
                <a:gd name="connsiteX210" fmla="*/ 222936 w 309709"/>
                <a:gd name="connsiteY210" fmla="*/ 241395 h 257655"/>
                <a:gd name="connsiteX211" fmla="*/ 212575 w 309709"/>
                <a:gd name="connsiteY211" fmla="*/ 239816 h 257655"/>
                <a:gd name="connsiteX212" fmla="*/ 204335 w 309709"/>
                <a:gd name="connsiteY212" fmla="*/ 236560 h 257655"/>
                <a:gd name="connsiteX213" fmla="*/ 193974 w 309709"/>
                <a:gd name="connsiteY213" fmla="*/ 236560 h 257655"/>
                <a:gd name="connsiteX214" fmla="*/ 185733 w 309709"/>
                <a:gd name="connsiteY214" fmla="*/ 241494 h 257655"/>
                <a:gd name="connsiteX215" fmla="*/ 179566 w 309709"/>
                <a:gd name="connsiteY215" fmla="*/ 243122 h 257655"/>
                <a:gd name="connsiteX216" fmla="*/ 175422 w 309709"/>
                <a:gd name="connsiteY216" fmla="*/ 241494 h 257655"/>
                <a:gd name="connsiteX217" fmla="*/ 171326 w 309709"/>
                <a:gd name="connsiteY217" fmla="*/ 238238 h 257655"/>
                <a:gd name="connsiteX218" fmla="*/ 167182 w 309709"/>
                <a:gd name="connsiteY218" fmla="*/ 238238 h 257655"/>
                <a:gd name="connsiteX219" fmla="*/ 171326 w 309709"/>
                <a:gd name="connsiteY219" fmla="*/ 236659 h 257655"/>
                <a:gd name="connsiteX220" fmla="*/ 167182 w 309709"/>
                <a:gd name="connsiteY220" fmla="*/ 233451 h 257655"/>
                <a:gd name="connsiteX221" fmla="*/ 163037 w 309709"/>
                <a:gd name="connsiteY221" fmla="*/ 233451 h 257655"/>
                <a:gd name="connsiteX222" fmla="*/ 163037 w 309709"/>
                <a:gd name="connsiteY222" fmla="*/ 235030 h 257655"/>
                <a:gd name="connsiteX223" fmla="*/ 165110 w 309709"/>
                <a:gd name="connsiteY223" fmla="*/ 236659 h 257655"/>
                <a:gd name="connsiteX224" fmla="*/ 163037 w 309709"/>
                <a:gd name="connsiteY224" fmla="*/ 236659 h 257655"/>
                <a:gd name="connsiteX225" fmla="*/ 158893 w 309709"/>
                <a:gd name="connsiteY225" fmla="*/ 238238 h 257655"/>
                <a:gd name="connsiteX226" fmla="*/ 156820 w 309709"/>
                <a:gd name="connsiteY226" fmla="*/ 233303 h 257655"/>
                <a:gd name="connsiteX227" fmla="*/ 154798 w 309709"/>
                <a:gd name="connsiteY227" fmla="*/ 233303 h 257655"/>
                <a:gd name="connsiteX228" fmla="*/ 154798 w 309709"/>
                <a:gd name="connsiteY228" fmla="*/ 238238 h 257655"/>
                <a:gd name="connsiteX229" fmla="*/ 10230 w 309709"/>
                <a:gd name="connsiteY229" fmla="*/ 83654 h 257655"/>
                <a:gd name="connsiteX230" fmla="*/ 10230 w 309709"/>
                <a:gd name="connsiteY230" fmla="*/ 90118 h 257655"/>
                <a:gd name="connsiteX231" fmla="*/ 14325 w 309709"/>
                <a:gd name="connsiteY231" fmla="*/ 93325 h 257655"/>
                <a:gd name="connsiteX232" fmla="*/ 18470 w 309709"/>
                <a:gd name="connsiteY232" fmla="*/ 94904 h 257655"/>
                <a:gd name="connsiteX233" fmla="*/ 18470 w 309709"/>
                <a:gd name="connsiteY233" fmla="*/ 96532 h 257655"/>
                <a:gd name="connsiteX234" fmla="*/ 16447 w 309709"/>
                <a:gd name="connsiteY234" fmla="*/ 98160 h 257655"/>
                <a:gd name="connsiteX235" fmla="*/ 12303 w 309709"/>
                <a:gd name="connsiteY235" fmla="*/ 94904 h 257655"/>
                <a:gd name="connsiteX236" fmla="*/ 4063 w 309709"/>
                <a:gd name="connsiteY236" fmla="*/ 89970 h 257655"/>
                <a:gd name="connsiteX237" fmla="*/ 4063 w 309709"/>
                <a:gd name="connsiteY237" fmla="*/ 88342 h 257655"/>
                <a:gd name="connsiteX238" fmla="*/ -82 w 309709"/>
                <a:gd name="connsiteY238" fmla="*/ 86763 h 257655"/>
                <a:gd name="connsiteX239" fmla="*/ -82 w 309709"/>
                <a:gd name="connsiteY239" fmla="*/ 83506 h 257655"/>
                <a:gd name="connsiteX240" fmla="*/ 6086 w 309709"/>
                <a:gd name="connsiteY240" fmla="*/ 81878 h 257655"/>
                <a:gd name="connsiteX241" fmla="*/ 37072 w 309709"/>
                <a:gd name="connsiteY241" fmla="*/ 127123 h 257655"/>
                <a:gd name="connsiteX242" fmla="*/ 37072 w 309709"/>
                <a:gd name="connsiteY242" fmla="*/ 125544 h 257655"/>
                <a:gd name="connsiteX243" fmla="*/ 39143 w 309709"/>
                <a:gd name="connsiteY243" fmla="*/ 120610 h 257655"/>
                <a:gd name="connsiteX244" fmla="*/ 43239 w 309709"/>
                <a:gd name="connsiteY244" fmla="*/ 119031 h 257655"/>
                <a:gd name="connsiteX245" fmla="*/ 43239 w 309709"/>
                <a:gd name="connsiteY245" fmla="*/ 125495 h 257655"/>
                <a:gd name="connsiteX246" fmla="*/ 41216 w 309709"/>
                <a:gd name="connsiteY246" fmla="*/ 127074 h 257655"/>
                <a:gd name="connsiteX247" fmla="*/ 37072 w 309709"/>
                <a:gd name="connsiteY247" fmla="*/ 127074 h 257655"/>
                <a:gd name="connsiteX248" fmla="*/ 37072 w 309709"/>
                <a:gd name="connsiteY248" fmla="*/ 136991 h 257655"/>
                <a:gd name="connsiteX249" fmla="*/ 37072 w 309709"/>
                <a:gd name="connsiteY249" fmla="*/ 130527 h 257655"/>
                <a:gd name="connsiteX250" fmla="*/ 41216 w 309709"/>
                <a:gd name="connsiteY250" fmla="*/ 132156 h 257655"/>
                <a:gd name="connsiteX251" fmla="*/ 43239 w 309709"/>
                <a:gd name="connsiteY251" fmla="*/ 137090 h 257655"/>
                <a:gd name="connsiteX252" fmla="*/ 43239 w 309709"/>
                <a:gd name="connsiteY252" fmla="*/ 139853 h 257655"/>
                <a:gd name="connsiteX253" fmla="*/ 47384 w 309709"/>
                <a:gd name="connsiteY253" fmla="*/ 143060 h 257655"/>
                <a:gd name="connsiteX254" fmla="*/ 47384 w 309709"/>
                <a:gd name="connsiteY254" fmla="*/ 144787 h 257655"/>
                <a:gd name="connsiteX255" fmla="*/ 49455 w 309709"/>
                <a:gd name="connsiteY255" fmla="*/ 146366 h 257655"/>
                <a:gd name="connsiteX256" fmla="*/ 47384 w 309709"/>
                <a:gd name="connsiteY256" fmla="*/ 149622 h 257655"/>
                <a:gd name="connsiteX257" fmla="*/ 43239 w 309709"/>
                <a:gd name="connsiteY257" fmla="*/ 147994 h 257655"/>
                <a:gd name="connsiteX258" fmla="*/ 37072 w 309709"/>
                <a:gd name="connsiteY258" fmla="*/ 147994 h 257655"/>
                <a:gd name="connsiteX259" fmla="*/ 37072 w 309709"/>
                <a:gd name="connsiteY259" fmla="*/ 143060 h 257655"/>
                <a:gd name="connsiteX260" fmla="*/ 34999 w 309709"/>
                <a:gd name="connsiteY260" fmla="*/ 143060 h 257655"/>
                <a:gd name="connsiteX261" fmla="*/ 34999 w 309709"/>
                <a:gd name="connsiteY261" fmla="*/ 144787 h 257655"/>
                <a:gd name="connsiteX262" fmla="*/ 32927 w 309709"/>
                <a:gd name="connsiteY262" fmla="*/ 146366 h 257655"/>
                <a:gd name="connsiteX263" fmla="*/ 30855 w 309709"/>
                <a:gd name="connsiteY263" fmla="*/ 144787 h 257655"/>
                <a:gd name="connsiteX264" fmla="*/ 30855 w 309709"/>
                <a:gd name="connsiteY264" fmla="*/ 138373 h 257655"/>
                <a:gd name="connsiteX265" fmla="*/ 34999 w 309709"/>
                <a:gd name="connsiteY265" fmla="*/ 136744 h 257655"/>
                <a:gd name="connsiteX266" fmla="*/ 51528 w 309709"/>
                <a:gd name="connsiteY266" fmla="*/ 159490 h 257655"/>
                <a:gd name="connsiteX267" fmla="*/ 53600 w 309709"/>
                <a:gd name="connsiteY267" fmla="*/ 162747 h 257655"/>
                <a:gd name="connsiteX268" fmla="*/ 49455 w 309709"/>
                <a:gd name="connsiteY268" fmla="*/ 161119 h 257655"/>
                <a:gd name="connsiteX269" fmla="*/ 49455 w 309709"/>
                <a:gd name="connsiteY269" fmla="*/ 164326 h 257655"/>
                <a:gd name="connsiteX270" fmla="*/ 45311 w 309709"/>
                <a:gd name="connsiteY270" fmla="*/ 162747 h 257655"/>
                <a:gd name="connsiteX271" fmla="*/ 39143 w 309709"/>
                <a:gd name="connsiteY271" fmla="*/ 157813 h 257655"/>
                <a:gd name="connsiteX272" fmla="*/ 41216 w 309709"/>
                <a:gd name="connsiteY272" fmla="*/ 154606 h 257655"/>
                <a:gd name="connsiteX273" fmla="*/ 43239 w 309709"/>
                <a:gd name="connsiteY273" fmla="*/ 154606 h 257655"/>
                <a:gd name="connsiteX274" fmla="*/ 47384 w 309709"/>
                <a:gd name="connsiteY274" fmla="*/ 156185 h 257655"/>
                <a:gd name="connsiteX275" fmla="*/ 272474 w 309709"/>
                <a:gd name="connsiteY275" fmla="*/ 227136 h 257655"/>
                <a:gd name="connsiteX276" fmla="*/ 272474 w 309709"/>
                <a:gd name="connsiteY276" fmla="*/ 225508 h 257655"/>
                <a:gd name="connsiteX277" fmla="*/ 274546 w 309709"/>
                <a:gd name="connsiteY277" fmla="*/ 222251 h 257655"/>
                <a:gd name="connsiteX278" fmla="*/ 274546 w 309709"/>
                <a:gd name="connsiteY278" fmla="*/ 225508 h 257655"/>
                <a:gd name="connsiteX279" fmla="*/ 272474 w 309709"/>
                <a:gd name="connsiteY279" fmla="*/ 243221 h 257655"/>
                <a:gd name="connsiteX280" fmla="*/ 270451 w 309709"/>
                <a:gd name="connsiteY280" fmla="*/ 236757 h 257655"/>
                <a:gd name="connsiteX281" fmla="*/ 268330 w 309709"/>
                <a:gd name="connsiteY281" fmla="*/ 233550 h 257655"/>
                <a:gd name="connsiteX282" fmla="*/ 272474 w 309709"/>
                <a:gd name="connsiteY282" fmla="*/ 228616 h 257655"/>
                <a:gd name="connsiteX283" fmla="*/ 272474 w 309709"/>
                <a:gd name="connsiteY283" fmla="*/ 231823 h 257655"/>
                <a:gd name="connsiteX284" fmla="*/ 276619 w 309709"/>
                <a:gd name="connsiteY284" fmla="*/ 236757 h 257655"/>
                <a:gd name="connsiteX285" fmla="*/ 274546 w 309709"/>
                <a:gd name="connsiteY285" fmla="*/ 241691 h 257655"/>
                <a:gd name="connsiteX286" fmla="*/ 291076 w 309709"/>
                <a:gd name="connsiteY286" fmla="*/ 223880 h 257655"/>
                <a:gd name="connsiteX287" fmla="*/ 289003 w 309709"/>
                <a:gd name="connsiteY287" fmla="*/ 222251 h 257655"/>
                <a:gd name="connsiteX288" fmla="*/ 291076 w 309709"/>
                <a:gd name="connsiteY288" fmla="*/ 219044 h 257655"/>
                <a:gd name="connsiteX289" fmla="*/ 289003 w 309709"/>
                <a:gd name="connsiteY289" fmla="*/ 217465 h 257655"/>
                <a:gd name="connsiteX290" fmla="*/ 289003 w 309709"/>
                <a:gd name="connsiteY290" fmla="*/ 213863 h 257655"/>
                <a:gd name="connsiteX291" fmla="*/ 297243 w 309709"/>
                <a:gd name="connsiteY291" fmla="*/ 208929 h 257655"/>
                <a:gd name="connsiteX292" fmla="*/ 305483 w 309709"/>
                <a:gd name="connsiteY292" fmla="*/ 205722 h 257655"/>
                <a:gd name="connsiteX293" fmla="*/ 309628 w 309709"/>
                <a:gd name="connsiteY293" fmla="*/ 204143 h 257655"/>
                <a:gd name="connsiteX294" fmla="*/ 309628 w 309709"/>
                <a:gd name="connsiteY294" fmla="*/ 207350 h 257655"/>
                <a:gd name="connsiteX295" fmla="*/ 307605 w 309709"/>
                <a:gd name="connsiteY295" fmla="*/ 208929 h 257655"/>
                <a:gd name="connsiteX296" fmla="*/ 305483 w 309709"/>
                <a:gd name="connsiteY296" fmla="*/ 212137 h 257655"/>
                <a:gd name="connsiteX297" fmla="*/ 303460 w 309709"/>
                <a:gd name="connsiteY297" fmla="*/ 215393 h 257655"/>
                <a:gd name="connsiteX298" fmla="*/ 303460 w 309709"/>
                <a:gd name="connsiteY298" fmla="*/ 217021 h 257655"/>
                <a:gd name="connsiteX299" fmla="*/ 301388 w 309709"/>
                <a:gd name="connsiteY299" fmla="*/ 217021 h 257655"/>
                <a:gd name="connsiteX300" fmla="*/ 297243 w 309709"/>
                <a:gd name="connsiteY300" fmla="*/ 220228 h 257655"/>
                <a:gd name="connsiteX301" fmla="*/ 293098 w 309709"/>
                <a:gd name="connsiteY301" fmla="*/ 223435 h 257655"/>
                <a:gd name="connsiteX302" fmla="*/ 241735 w 309709"/>
                <a:gd name="connsiteY302" fmla="*/ 204587 h 257655"/>
                <a:gd name="connsiteX303" fmla="*/ 239712 w 309709"/>
                <a:gd name="connsiteY303" fmla="*/ 201380 h 257655"/>
                <a:gd name="connsiteX304" fmla="*/ 241735 w 309709"/>
                <a:gd name="connsiteY304" fmla="*/ 199752 h 257655"/>
                <a:gd name="connsiteX305" fmla="*/ 245880 w 309709"/>
                <a:gd name="connsiteY305" fmla="*/ 198124 h 257655"/>
                <a:gd name="connsiteX306" fmla="*/ 249975 w 309709"/>
                <a:gd name="connsiteY306" fmla="*/ 199752 h 257655"/>
                <a:gd name="connsiteX307" fmla="*/ 247952 w 309709"/>
                <a:gd name="connsiteY307" fmla="*/ 202959 h 257655"/>
                <a:gd name="connsiteX308" fmla="*/ 241735 w 309709"/>
                <a:gd name="connsiteY308" fmla="*/ 161119 h 257655"/>
                <a:gd name="connsiteX309" fmla="*/ 247952 w 309709"/>
                <a:gd name="connsiteY309" fmla="*/ 156185 h 257655"/>
                <a:gd name="connsiteX310" fmla="*/ 252097 w 309709"/>
                <a:gd name="connsiteY310" fmla="*/ 156185 h 257655"/>
                <a:gd name="connsiteX311" fmla="*/ 256192 w 309709"/>
                <a:gd name="connsiteY311" fmla="*/ 159392 h 257655"/>
                <a:gd name="connsiteX312" fmla="*/ 258264 w 309709"/>
                <a:gd name="connsiteY312" fmla="*/ 157813 h 257655"/>
                <a:gd name="connsiteX313" fmla="*/ 260337 w 309709"/>
                <a:gd name="connsiteY313" fmla="*/ 159392 h 257655"/>
                <a:gd name="connsiteX314" fmla="*/ 260337 w 309709"/>
                <a:gd name="connsiteY314" fmla="*/ 161020 h 257655"/>
                <a:gd name="connsiteX315" fmla="*/ 256192 w 309709"/>
                <a:gd name="connsiteY315" fmla="*/ 162648 h 257655"/>
                <a:gd name="connsiteX316" fmla="*/ 254120 w 309709"/>
                <a:gd name="connsiteY316" fmla="*/ 164227 h 257655"/>
                <a:gd name="connsiteX317" fmla="*/ 252097 w 309709"/>
                <a:gd name="connsiteY317" fmla="*/ 164227 h 257655"/>
                <a:gd name="connsiteX318" fmla="*/ 247952 w 309709"/>
                <a:gd name="connsiteY318" fmla="*/ 161020 h 257655"/>
                <a:gd name="connsiteX319" fmla="*/ 243807 w 309709"/>
                <a:gd name="connsiteY319" fmla="*/ 161020 h 257655"/>
                <a:gd name="connsiteX320" fmla="*/ 239712 w 309709"/>
                <a:gd name="connsiteY320" fmla="*/ 162648 h 257655"/>
                <a:gd name="connsiteX321" fmla="*/ 229351 w 309709"/>
                <a:gd name="connsiteY321" fmla="*/ 127321 h 257655"/>
                <a:gd name="connsiteX322" fmla="*/ 231423 w 309709"/>
                <a:gd name="connsiteY322" fmla="*/ 135363 h 257655"/>
                <a:gd name="connsiteX323" fmla="*/ 229351 w 309709"/>
                <a:gd name="connsiteY323" fmla="*/ 140297 h 257655"/>
                <a:gd name="connsiteX324" fmla="*/ 225206 w 309709"/>
                <a:gd name="connsiteY324" fmla="*/ 141925 h 257655"/>
                <a:gd name="connsiteX325" fmla="*/ 221111 w 309709"/>
                <a:gd name="connsiteY325" fmla="*/ 140297 h 257655"/>
                <a:gd name="connsiteX326" fmla="*/ 221111 w 309709"/>
                <a:gd name="connsiteY326" fmla="*/ 137090 h 257655"/>
                <a:gd name="connsiteX327" fmla="*/ 225206 w 309709"/>
                <a:gd name="connsiteY327" fmla="*/ 137090 h 257655"/>
                <a:gd name="connsiteX328" fmla="*/ 225206 w 309709"/>
                <a:gd name="connsiteY328" fmla="*/ 132156 h 257655"/>
                <a:gd name="connsiteX329" fmla="*/ 219038 w 309709"/>
                <a:gd name="connsiteY329" fmla="*/ 128949 h 257655"/>
                <a:gd name="connsiteX330" fmla="*/ 219038 w 309709"/>
                <a:gd name="connsiteY330" fmla="*/ 127321 h 257655"/>
                <a:gd name="connsiteX331" fmla="*/ 223183 w 309709"/>
                <a:gd name="connsiteY331" fmla="*/ 124113 h 257655"/>
                <a:gd name="connsiteX332" fmla="*/ 229351 w 309709"/>
                <a:gd name="connsiteY332" fmla="*/ 125742 h 257655"/>
                <a:gd name="connsiteX333" fmla="*/ 221111 w 309709"/>
                <a:gd name="connsiteY333" fmla="*/ 109607 h 257655"/>
                <a:gd name="connsiteX334" fmla="*/ 214894 w 309709"/>
                <a:gd name="connsiteY334" fmla="*/ 106400 h 257655"/>
                <a:gd name="connsiteX335" fmla="*/ 219038 w 309709"/>
                <a:gd name="connsiteY335" fmla="*/ 101466 h 257655"/>
                <a:gd name="connsiteX336" fmla="*/ 227328 w 309709"/>
                <a:gd name="connsiteY336" fmla="*/ 98259 h 257655"/>
                <a:gd name="connsiteX337" fmla="*/ 229351 w 309709"/>
                <a:gd name="connsiteY337" fmla="*/ 96631 h 257655"/>
                <a:gd name="connsiteX338" fmla="*/ 237590 w 309709"/>
                <a:gd name="connsiteY338" fmla="*/ 95002 h 257655"/>
                <a:gd name="connsiteX339" fmla="*/ 239712 w 309709"/>
                <a:gd name="connsiteY339" fmla="*/ 96631 h 257655"/>
                <a:gd name="connsiteX340" fmla="*/ 237590 w 309709"/>
                <a:gd name="connsiteY340" fmla="*/ 101565 h 257655"/>
                <a:gd name="connsiteX341" fmla="*/ 239712 w 309709"/>
                <a:gd name="connsiteY341" fmla="*/ 101565 h 257655"/>
                <a:gd name="connsiteX342" fmla="*/ 239712 w 309709"/>
                <a:gd name="connsiteY342" fmla="*/ 112864 h 257655"/>
                <a:gd name="connsiteX343" fmla="*/ 233495 w 309709"/>
                <a:gd name="connsiteY343" fmla="*/ 112864 h 257655"/>
                <a:gd name="connsiteX344" fmla="*/ 227328 w 309709"/>
                <a:gd name="connsiteY344" fmla="*/ 111236 h 257655"/>
                <a:gd name="connsiteX345" fmla="*/ 229351 w 309709"/>
                <a:gd name="connsiteY345" fmla="*/ 107979 h 257655"/>
                <a:gd name="connsiteX346" fmla="*/ 233495 w 309709"/>
                <a:gd name="connsiteY346" fmla="*/ 106400 h 257655"/>
                <a:gd name="connsiteX347" fmla="*/ 233495 w 309709"/>
                <a:gd name="connsiteY347" fmla="*/ 101466 h 257655"/>
                <a:gd name="connsiteX348" fmla="*/ 229203 w 309709"/>
                <a:gd name="connsiteY348" fmla="*/ 101466 h 257655"/>
                <a:gd name="connsiteX349" fmla="*/ 227179 w 309709"/>
                <a:gd name="connsiteY349" fmla="*/ 106400 h 257655"/>
                <a:gd name="connsiteX350" fmla="*/ 225058 w 309709"/>
                <a:gd name="connsiteY350" fmla="*/ 109607 h 257655"/>
                <a:gd name="connsiteX351" fmla="*/ 220963 w 309709"/>
                <a:gd name="connsiteY351" fmla="*/ 109607 h 257655"/>
                <a:gd name="connsiteX352" fmla="*/ 202509 w 309709"/>
                <a:gd name="connsiteY352" fmla="*/ 53310 h 257655"/>
                <a:gd name="connsiteX353" fmla="*/ 204582 w 309709"/>
                <a:gd name="connsiteY353" fmla="*/ 51682 h 257655"/>
                <a:gd name="connsiteX354" fmla="*/ 212822 w 309709"/>
                <a:gd name="connsiteY354" fmla="*/ 51682 h 257655"/>
                <a:gd name="connsiteX355" fmla="*/ 212822 w 309709"/>
                <a:gd name="connsiteY355" fmla="*/ 54889 h 257655"/>
                <a:gd name="connsiteX356" fmla="*/ 208726 w 309709"/>
                <a:gd name="connsiteY356" fmla="*/ 56517 h 257655"/>
                <a:gd name="connsiteX357" fmla="*/ 185980 w 309709"/>
                <a:gd name="connsiteY357" fmla="*/ 69395 h 257655"/>
                <a:gd name="connsiteX358" fmla="*/ 192197 w 309709"/>
                <a:gd name="connsiteY358" fmla="*/ 69395 h 257655"/>
                <a:gd name="connsiteX359" fmla="*/ 194220 w 309709"/>
                <a:gd name="connsiteY359" fmla="*/ 70974 h 257655"/>
                <a:gd name="connsiteX360" fmla="*/ 198365 w 309709"/>
                <a:gd name="connsiteY360" fmla="*/ 67767 h 257655"/>
                <a:gd name="connsiteX361" fmla="*/ 202509 w 309709"/>
                <a:gd name="connsiteY361" fmla="*/ 69395 h 257655"/>
                <a:gd name="connsiteX362" fmla="*/ 198365 w 309709"/>
                <a:gd name="connsiteY362" fmla="*/ 74329 h 257655"/>
                <a:gd name="connsiteX363" fmla="*/ 196342 w 309709"/>
                <a:gd name="connsiteY363" fmla="*/ 80743 h 257655"/>
                <a:gd name="connsiteX364" fmla="*/ 192197 w 309709"/>
                <a:gd name="connsiteY364" fmla="*/ 79115 h 257655"/>
                <a:gd name="connsiteX365" fmla="*/ 189730 w 309709"/>
                <a:gd name="connsiteY365" fmla="*/ 79115 h 257655"/>
                <a:gd name="connsiteX366" fmla="*/ 185586 w 309709"/>
                <a:gd name="connsiteY366" fmla="*/ 77536 h 257655"/>
                <a:gd name="connsiteX367" fmla="*/ 185586 w 309709"/>
                <a:gd name="connsiteY367" fmla="*/ 69493 h 257655"/>
                <a:gd name="connsiteX368" fmla="*/ 169452 w 309709"/>
                <a:gd name="connsiteY368" fmla="*/ 43639 h 257655"/>
                <a:gd name="connsiteX369" fmla="*/ 171573 w 309709"/>
                <a:gd name="connsiteY369" fmla="*/ 42011 h 257655"/>
                <a:gd name="connsiteX370" fmla="*/ 177740 w 309709"/>
                <a:gd name="connsiteY370" fmla="*/ 43639 h 257655"/>
                <a:gd name="connsiteX371" fmla="*/ 177740 w 309709"/>
                <a:gd name="connsiteY371" fmla="*/ 48573 h 257655"/>
                <a:gd name="connsiteX372" fmla="*/ 173596 w 309709"/>
                <a:gd name="connsiteY372" fmla="*/ 50152 h 257655"/>
                <a:gd name="connsiteX373" fmla="*/ 171573 w 309709"/>
                <a:gd name="connsiteY373" fmla="*/ 48573 h 257655"/>
                <a:gd name="connsiteX374" fmla="*/ 167428 w 309709"/>
                <a:gd name="connsiteY374" fmla="*/ 48573 h 257655"/>
                <a:gd name="connsiteX375" fmla="*/ 136443 w 309709"/>
                <a:gd name="connsiteY375" fmla="*/ 104772 h 257655"/>
                <a:gd name="connsiteX376" fmla="*/ 140588 w 309709"/>
                <a:gd name="connsiteY376" fmla="*/ 104772 h 257655"/>
                <a:gd name="connsiteX377" fmla="*/ 142610 w 309709"/>
                <a:gd name="connsiteY377" fmla="*/ 106400 h 257655"/>
                <a:gd name="connsiteX378" fmla="*/ 144683 w 309709"/>
                <a:gd name="connsiteY378" fmla="*/ 109607 h 257655"/>
                <a:gd name="connsiteX379" fmla="*/ 142610 w 309709"/>
                <a:gd name="connsiteY379" fmla="*/ 111236 h 257655"/>
                <a:gd name="connsiteX380" fmla="*/ 130226 w 309709"/>
                <a:gd name="connsiteY380" fmla="*/ 104772 h 257655"/>
                <a:gd name="connsiteX381" fmla="*/ 134371 w 309709"/>
                <a:gd name="connsiteY381" fmla="*/ 103193 h 257655"/>
                <a:gd name="connsiteX382" fmla="*/ 134371 w 309709"/>
                <a:gd name="connsiteY382" fmla="*/ 104772 h 257655"/>
                <a:gd name="connsiteX383" fmla="*/ 132298 w 309709"/>
                <a:gd name="connsiteY383" fmla="*/ 107979 h 257655"/>
                <a:gd name="connsiteX384" fmla="*/ 171573 w 309709"/>
                <a:gd name="connsiteY384" fmla="*/ 112864 h 257655"/>
                <a:gd name="connsiteX385" fmla="*/ 173596 w 309709"/>
                <a:gd name="connsiteY385" fmla="*/ 111236 h 257655"/>
                <a:gd name="connsiteX386" fmla="*/ 177740 w 309709"/>
                <a:gd name="connsiteY386" fmla="*/ 114442 h 257655"/>
                <a:gd name="connsiteX387" fmla="*/ 179813 w 309709"/>
                <a:gd name="connsiteY387" fmla="*/ 116071 h 257655"/>
                <a:gd name="connsiteX388" fmla="*/ 181836 w 309709"/>
                <a:gd name="connsiteY388" fmla="*/ 121005 h 257655"/>
                <a:gd name="connsiteX389" fmla="*/ 179813 w 309709"/>
                <a:gd name="connsiteY389" fmla="*/ 121005 h 257655"/>
                <a:gd name="connsiteX390" fmla="*/ 177740 w 309709"/>
                <a:gd name="connsiteY390" fmla="*/ 117798 h 257655"/>
                <a:gd name="connsiteX391" fmla="*/ 175668 w 309709"/>
                <a:gd name="connsiteY391" fmla="*/ 117798 h 257655"/>
                <a:gd name="connsiteX392" fmla="*/ 229203 w 309709"/>
                <a:gd name="connsiteY392" fmla="*/ 170592 h 257655"/>
                <a:gd name="connsiteX393" fmla="*/ 227179 w 309709"/>
                <a:gd name="connsiteY393" fmla="*/ 168964 h 257655"/>
                <a:gd name="connsiteX394" fmla="*/ 227179 w 309709"/>
                <a:gd name="connsiteY394" fmla="*/ 165757 h 257655"/>
                <a:gd name="connsiteX395" fmla="*/ 235420 w 309709"/>
                <a:gd name="connsiteY395" fmla="*/ 164128 h 257655"/>
                <a:gd name="connsiteX396" fmla="*/ 235420 w 309709"/>
                <a:gd name="connsiteY396" fmla="*/ 167385 h 257655"/>
                <a:gd name="connsiteX397" fmla="*/ 171425 w 309709"/>
                <a:gd name="connsiteY397" fmla="*/ 202762 h 257655"/>
                <a:gd name="connsiteX398" fmla="*/ 173448 w 309709"/>
                <a:gd name="connsiteY398" fmla="*/ 197828 h 257655"/>
                <a:gd name="connsiteX399" fmla="*/ 177593 w 309709"/>
                <a:gd name="connsiteY399" fmla="*/ 197828 h 257655"/>
                <a:gd name="connsiteX400" fmla="*/ 177593 w 309709"/>
                <a:gd name="connsiteY400" fmla="*/ 201084 h 257655"/>
                <a:gd name="connsiteX401" fmla="*/ 173448 w 309709"/>
                <a:gd name="connsiteY401" fmla="*/ 202663 h 257655"/>
                <a:gd name="connsiteX402" fmla="*/ 173448 w 309709"/>
                <a:gd name="connsiteY402" fmla="*/ 183470 h 257655"/>
                <a:gd name="connsiteX403" fmla="*/ 177593 w 309709"/>
                <a:gd name="connsiteY403" fmla="*/ 180213 h 257655"/>
                <a:gd name="connsiteX404" fmla="*/ 177593 w 309709"/>
                <a:gd name="connsiteY404" fmla="*/ 185147 h 257655"/>
                <a:gd name="connsiteX405" fmla="*/ 171425 w 309709"/>
                <a:gd name="connsiteY405" fmla="*/ 177006 h 257655"/>
                <a:gd name="connsiteX406" fmla="*/ 171425 w 309709"/>
                <a:gd name="connsiteY406" fmla="*/ 172072 h 257655"/>
                <a:gd name="connsiteX407" fmla="*/ 175520 w 309709"/>
                <a:gd name="connsiteY407" fmla="*/ 172072 h 257655"/>
                <a:gd name="connsiteX408" fmla="*/ 175520 w 309709"/>
                <a:gd name="connsiteY408" fmla="*/ 175329 h 257655"/>
                <a:gd name="connsiteX409" fmla="*/ 169303 w 309709"/>
                <a:gd name="connsiteY409" fmla="*/ 170592 h 257655"/>
                <a:gd name="connsiteX410" fmla="*/ 167280 w 309709"/>
                <a:gd name="connsiteY410" fmla="*/ 167385 h 257655"/>
                <a:gd name="connsiteX411" fmla="*/ 169303 w 309709"/>
                <a:gd name="connsiteY411" fmla="*/ 165757 h 257655"/>
                <a:gd name="connsiteX412" fmla="*/ 171425 w 309709"/>
                <a:gd name="connsiteY412" fmla="*/ 168964 h 257655"/>
                <a:gd name="connsiteX413" fmla="*/ 200289 w 309709"/>
                <a:gd name="connsiteY413" fmla="*/ 188305 h 257655"/>
                <a:gd name="connsiteX414" fmla="*/ 198217 w 309709"/>
                <a:gd name="connsiteY414" fmla="*/ 186677 h 257655"/>
                <a:gd name="connsiteX415" fmla="*/ 198217 w 309709"/>
                <a:gd name="connsiteY415" fmla="*/ 181743 h 257655"/>
                <a:gd name="connsiteX416" fmla="*/ 202362 w 309709"/>
                <a:gd name="connsiteY416" fmla="*/ 181743 h 257655"/>
                <a:gd name="connsiteX417" fmla="*/ 204434 w 309709"/>
                <a:gd name="connsiteY417" fmla="*/ 184950 h 257655"/>
                <a:gd name="connsiteX418" fmla="*/ 208578 w 309709"/>
                <a:gd name="connsiteY418" fmla="*/ 186677 h 257655"/>
                <a:gd name="connsiteX419" fmla="*/ 206506 w 309709"/>
                <a:gd name="connsiteY419" fmla="*/ 183470 h 257655"/>
                <a:gd name="connsiteX420" fmla="*/ 212674 w 309709"/>
                <a:gd name="connsiteY420" fmla="*/ 180213 h 257655"/>
                <a:gd name="connsiteX421" fmla="*/ 214746 w 309709"/>
                <a:gd name="connsiteY421" fmla="*/ 180213 h 257655"/>
                <a:gd name="connsiteX422" fmla="*/ 216818 w 309709"/>
                <a:gd name="connsiteY422" fmla="*/ 183470 h 257655"/>
                <a:gd name="connsiteX423" fmla="*/ 212674 w 309709"/>
                <a:gd name="connsiteY423" fmla="*/ 186677 h 257655"/>
                <a:gd name="connsiteX424" fmla="*/ 208578 w 309709"/>
                <a:gd name="connsiteY424" fmla="*/ 173799 h 257655"/>
                <a:gd name="connsiteX425" fmla="*/ 208578 w 309709"/>
                <a:gd name="connsiteY425" fmla="*/ 170592 h 257655"/>
                <a:gd name="connsiteX426" fmla="*/ 210651 w 309709"/>
                <a:gd name="connsiteY426" fmla="*/ 172171 h 257655"/>
                <a:gd name="connsiteX427" fmla="*/ 198217 w 309709"/>
                <a:gd name="connsiteY427" fmla="*/ 165757 h 257655"/>
                <a:gd name="connsiteX428" fmla="*/ 200289 w 309709"/>
                <a:gd name="connsiteY428" fmla="*/ 164128 h 257655"/>
                <a:gd name="connsiteX429" fmla="*/ 204434 w 309709"/>
                <a:gd name="connsiteY429" fmla="*/ 167385 h 257655"/>
                <a:gd name="connsiteX430" fmla="*/ 204434 w 309709"/>
                <a:gd name="connsiteY430" fmla="*/ 170592 h 257655"/>
                <a:gd name="connsiteX431" fmla="*/ 200289 w 309709"/>
                <a:gd name="connsiteY431" fmla="*/ 168964 h 257655"/>
                <a:gd name="connsiteX432" fmla="*/ 181688 w 309709"/>
                <a:gd name="connsiteY432" fmla="*/ 154507 h 257655"/>
                <a:gd name="connsiteX433" fmla="*/ 183810 w 309709"/>
                <a:gd name="connsiteY433" fmla="*/ 152879 h 257655"/>
                <a:gd name="connsiteX434" fmla="*/ 187905 w 309709"/>
                <a:gd name="connsiteY434" fmla="*/ 157813 h 257655"/>
                <a:gd name="connsiteX435" fmla="*/ 194072 w 309709"/>
                <a:gd name="connsiteY435" fmla="*/ 162747 h 257655"/>
                <a:gd name="connsiteX436" fmla="*/ 194072 w 309709"/>
                <a:gd name="connsiteY436" fmla="*/ 165954 h 257655"/>
                <a:gd name="connsiteX437" fmla="*/ 189730 w 309709"/>
                <a:gd name="connsiteY437" fmla="*/ 165954 h 257655"/>
                <a:gd name="connsiteX438" fmla="*/ 183563 w 309709"/>
                <a:gd name="connsiteY438" fmla="*/ 159490 h 257655"/>
                <a:gd name="connsiteX439" fmla="*/ 179418 w 309709"/>
                <a:gd name="connsiteY439" fmla="*/ 156283 h 257655"/>
                <a:gd name="connsiteX440" fmla="*/ 115720 w 309709"/>
                <a:gd name="connsiteY440" fmla="*/ 115874 h 257655"/>
                <a:gd name="connsiteX441" fmla="*/ 119815 w 309709"/>
                <a:gd name="connsiteY441" fmla="*/ 112666 h 257655"/>
                <a:gd name="connsiteX442" fmla="*/ 128104 w 309709"/>
                <a:gd name="connsiteY442" fmla="*/ 111038 h 257655"/>
                <a:gd name="connsiteX443" fmla="*/ 134272 w 309709"/>
                <a:gd name="connsiteY443" fmla="*/ 115972 h 257655"/>
                <a:gd name="connsiteX444" fmla="*/ 140489 w 309709"/>
                <a:gd name="connsiteY444" fmla="*/ 119179 h 257655"/>
                <a:gd name="connsiteX445" fmla="*/ 146656 w 309709"/>
                <a:gd name="connsiteY445" fmla="*/ 120758 h 257655"/>
                <a:gd name="connsiteX446" fmla="*/ 146656 w 309709"/>
                <a:gd name="connsiteY446" fmla="*/ 122386 h 257655"/>
                <a:gd name="connsiteX447" fmla="*/ 152873 w 309709"/>
                <a:gd name="connsiteY447" fmla="*/ 122386 h 257655"/>
                <a:gd name="connsiteX448" fmla="*/ 161113 w 309709"/>
                <a:gd name="connsiteY448" fmla="*/ 128850 h 257655"/>
                <a:gd name="connsiteX449" fmla="*/ 165258 w 309709"/>
                <a:gd name="connsiteY449" fmla="*/ 133784 h 257655"/>
                <a:gd name="connsiteX450" fmla="*/ 165258 w 309709"/>
                <a:gd name="connsiteY450" fmla="*/ 143652 h 257655"/>
                <a:gd name="connsiteX451" fmla="*/ 169353 w 309709"/>
                <a:gd name="connsiteY451" fmla="*/ 148586 h 257655"/>
                <a:gd name="connsiteX452" fmla="*/ 171475 w 309709"/>
                <a:gd name="connsiteY452" fmla="*/ 146958 h 257655"/>
                <a:gd name="connsiteX453" fmla="*/ 177642 w 309709"/>
                <a:gd name="connsiteY453" fmla="*/ 146958 h 257655"/>
                <a:gd name="connsiteX454" fmla="*/ 175570 w 309709"/>
                <a:gd name="connsiteY454" fmla="*/ 153421 h 257655"/>
                <a:gd name="connsiteX455" fmla="*/ 171475 w 309709"/>
                <a:gd name="connsiteY455" fmla="*/ 151843 h 257655"/>
                <a:gd name="connsiteX456" fmla="*/ 169353 w 309709"/>
                <a:gd name="connsiteY456" fmla="*/ 153421 h 257655"/>
                <a:gd name="connsiteX457" fmla="*/ 163185 w 309709"/>
                <a:gd name="connsiteY457" fmla="*/ 150214 h 257655"/>
                <a:gd name="connsiteX458" fmla="*/ 161113 w 309709"/>
                <a:gd name="connsiteY458" fmla="*/ 146958 h 257655"/>
                <a:gd name="connsiteX459" fmla="*/ 163185 w 309709"/>
                <a:gd name="connsiteY459" fmla="*/ 143751 h 257655"/>
                <a:gd name="connsiteX460" fmla="*/ 159041 w 309709"/>
                <a:gd name="connsiteY460" fmla="*/ 142172 h 257655"/>
                <a:gd name="connsiteX461" fmla="*/ 154945 w 309709"/>
                <a:gd name="connsiteY461" fmla="*/ 135708 h 257655"/>
                <a:gd name="connsiteX462" fmla="*/ 152873 w 309709"/>
                <a:gd name="connsiteY462" fmla="*/ 134080 h 257655"/>
                <a:gd name="connsiteX463" fmla="*/ 148728 w 309709"/>
                <a:gd name="connsiteY463" fmla="*/ 134080 h 257655"/>
                <a:gd name="connsiteX464" fmla="*/ 142512 w 309709"/>
                <a:gd name="connsiteY464" fmla="*/ 130873 h 257655"/>
                <a:gd name="connsiteX465" fmla="*/ 138367 w 309709"/>
                <a:gd name="connsiteY465" fmla="*/ 127666 h 257655"/>
                <a:gd name="connsiteX466" fmla="*/ 134272 w 309709"/>
                <a:gd name="connsiteY466" fmla="*/ 126087 h 257655"/>
                <a:gd name="connsiteX467" fmla="*/ 132199 w 309709"/>
                <a:gd name="connsiteY467" fmla="*/ 122830 h 257655"/>
                <a:gd name="connsiteX468" fmla="*/ 128104 w 309709"/>
                <a:gd name="connsiteY468" fmla="*/ 121202 h 257655"/>
                <a:gd name="connsiteX469" fmla="*/ 128104 w 309709"/>
                <a:gd name="connsiteY469" fmla="*/ 119623 h 257655"/>
                <a:gd name="connsiteX470" fmla="*/ 123960 w 309709"/>
                <a:gd name="connsiteY470" fmla="*/ 116416 h 257655"/>
                <a:gd name="connsiteX471" fmla="*/ 117743 w 309709"/>
                <a:gd name="connsiteY471" fmla="*/ 117995 h 257655"/>
                <a:gd name="connsiteX472" fmla="*/ 123960 w 309709"/>
                <a:gd name="connsiteY472" fmla="*/ 207597 h 257655"/>
                <a:gd name="connsiteX473" fmla="*/ 125982 w 309709"/>
                <a:gd name="connsiteY473" fmla="*/ 205969 h 257655"/>
                <a:gd name="connsiteX474" fmla="*/ 128104 w 309709"/>
                <a:gd name="connsiteY474" fmla="*/ 210903 h 257655"/>
                <a:gd name="connsiteX475" fmla="*/ 130127 w 309709"/>
                <a:gd name="connsiteY475" fmla="*/ 214159 h 257655"/>
                <a:gd name="connsiteX476" fmla="*/ 128104 w 309709"/>
                <a:gd name="connsiteY476" fmla="*/ 219093 h 257655"/>
                <a:gd name="connsiteX477" fmla="*/ 123960 w 309709"/>
                <a:gd name="connsiteY477" fmla="*/ 217515 h 257655"/>
                <a:gd name="connsiteX478" fmla="*/ 125982 w 309709"/>
                <a:gd name="connsiteY478" fmla="*/ 214308 h 257655"/>
                <a:gd name="connsiteX479" fmla="*/ 123960 w 309709"/>
                <a:gd name="connsiteY479" fmla="*/ 211051 h 257655"/>
                <a:gd name="connsiteX480" fmla="*/ 123960 w 309709"/>
                <a:gd name="connsiteY480" fmla="*/ 201183 h 257655"/>
                <a:gd name="connsiteX481" fmla="*/ 125982 w 309709"/>
                <a:gd name="connsiteY481" fmla="*/ 204390 h 257655"/>
                <a:gd name="connsiteX482" fmla="*/ 123960 w 309709"/>
                <a:gd name="connsiteY482" fmla="*/ 204390 h 257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</a:cxnLst>
              <a:rect l="l" t="t" r="r" b="b"/>
              <a:pathLst>
                <a:path w="309709" h="257655">
                  <a:moveTo>
                    <a:pt x="233248" y="-27"/>
                  </a:moveTo>
                  <a:lnTo>
                    <a:pt x="229203" y="-27"/>
                  </a:lnTo>
                  <a:lnTo>
                    <a:pt x="218891" y="4907"/>
                  </a:lnTo>
                  <a:lnTo>
                    <a:pt x="218891" y="12950"/>
                  </a:lnTo>
                  <a:lnTo>
                    <a:pt x="223035" y="17884"/>
                  </a:lnTo>
                  <a:lnTo>
                    <a:pt x="216818" y="21140"/>
                  </a:lnTo>
                  <a:lnTo>
                    <a:pt x="202362" y="21140"/>
                  </a:lnTo>
                  <a:lnTo>
                    <a:pt x="196194" y="22719"/>
                  </a:lnTo>
                  <a:lnTo>
                    <a:pt x="189977" y="19462"/>
                  </a:lnTo>
                  <a:lnTo>
                    <a:pt x="181688" y="19462"/>
                  </a:lnTo>
                  <a:lnTo>
                    <a:pt x="177593" y="24396"/>
                  </a:lnTo>
                  <a:lnTo>
                    <a:pt x="171425" y="22768"/>
                  </a:lnTo>
                  <a:lnTo>
                    <a:pt x="169303" y="17834"/>
                  </a:lnTo>
                  <a:lnTo>
                    <a:pt x="161063" y="17834"/>
                  </a:lnTo>
                  <a:lnTo>
                    <a:pt x="150751" y="16206"/>
                  </a:lnTo>
                  <a:lnTo>
                    <a:pt x="144534" y="22670"/>
                  </a:lnTo>
                  <a:lnTo>
                    <a:pt x="136295" y="24298"/>
                  </a:lnTo>
                  <a:lnTo>
                    <a:pt x="123910" y="24298"/>
                  </a:lnTo>
                  <a:lnTo>
                    <a:pt x="121838" y="22670"/>
                  </a:lnTo>
                  <a:lnTo>
                    <a:pt x="115670" y="25877"/>
                  </a:lnTo>
                  <a:lnTo>
                    <a:pt x="109453" y="25877"/>
                  </a:lnTo>
                  <a:lnTo>
                    <a:pt x="101165" y="30811"/>
                  </a:lnTo>
                  <a:lnTo>
                    <a:pt x="84685" y="29183"/>
                  </a:lnTo>
                  <a:lnTo>
                    <a:pt x="76396" y="34117"/>
                  </a:lnTo>
                  <a:lnTo>
                    <a:pt x="76396" y="35695"/>
                  </a:lnTo>
                  <a:lnTo>
                    <a:pt x="66083" y="38902"/>
                  </a:lnTo>
                  <a:lnTo>
                    <a:pt x="51627" y="46945"/>
                  </a:lnTo>
                  <a:lnTo>
                    <a:pt x="49554" y="54987"/>
                  </a:lnTo>
                  <a:lnTo>
                    <a:pt x="43337" y="64855"/>
                  </a:lnTo>
                  <a:lnTo>
                    <a:pt x="30953" y="68063"/>
                  </a:lnTo>
                  <a:lnTo>
                    <a:pt x="28930" y="76105"/>
                  </a:lnTo>
                  <a:lnTo>
                    <a:pt x="24785" y="84148"/>
                  </a:lnTo>
                  <a:lnTo>
                    <a:pt x="20641" y="87404"/>
                  </a:lnTo>
                  <a:lnTo>
                    <a:pt x="20641" y="87404"/>
                  </a:lnTo>
                  <a:lnTo>
                    <a:pt x="20641" y="95397"/>
                  </a:lnTo>
                  <a:lnTo>
                    <a:pt x="35098" y="105265"/>
                  </a:lnTo>
                  <a:lnTo>
                    <a:pt x="41315" y="113357"/>
                  </a:lnTo>
                  <a:lnTo>
                    <a:pt x="45410" y="114936"/>
                  </a:lnTo>
                  <a:lnTo>
                    <a:pt x="45410" y="118143"/>
                  </a:lnTo>
                  <a:lnTo>
                    <a:pt x="53699" y="129442"/>
                  </a:lnTo>
                  <a:lnTo>
                    <a:pt x="57794" y="137485"/>
                  </a:lnTo>
                  <a:lnTo>
                    <a:pt x="61939" y="139113"/>
                  </a:lnTo>
                  <a:lnTo>
                    <a:pt x="68156" y="132649"/>
                  </a:lnTo>
                  <a:lnTo>
                    <a:pt x="72300" y="139113"/>
                  </a:lnTo>
                  <a:lnTo>
                    <a:pt x="80540" y="140692"/>
                  </a:lnTo>
                  <a:lnTo>
                    <a:pt x="84685" y="135758"/>
                  </a:lnTo>
                  <a:lnTo>
                    <a:pt x="90852" y="135758"/>
                  </a:lnTo>
                  <a:lnTo>
                    <a:pt x="101165" y="140692"/>
                  </a:lnTo>
                  <a:lnTo>
                    <a:pt x="105309" y="139113"/>
                  </a:lnTo>
                  <a:lnTo>
                    <a:pt x="107382" y="142320"/>
                  </a:lnTo>
                  <a:lnTo>
                    <a:pt x="111526" y="142320"/>
                  </a:lnTo>
                  <a:lnTo>
                    <a:pt x="115670" y="145527"/>
                  </a:lnTo>
                  <a:lnTo>
                    <a:pt x="123910" y="145527"/>
                  </a:lnTo>
                  <a:lnTo>
                    <a:pt x="117694" y="148734"/>
                  </a:lnTo>
                  <a:lnTo>
                    <a:pt x="113549" y="153668"/>
                  </a:lnTo>
                  <a:lnTo>
                    <a:pt x="107382" y="150461"/>
                  </a:lnTo>
                  <a:lnTo>
                    <a:pt x="101165" y="148833"/>
                  </a:lnTo>
                  <a:lnTo>
                    <a:pt x="86609" y="139853"/>
                  </a:lnTo>
                  <a:lnTo>
                    <a:pt x="80441" y="141481"/>
                  </a:lnTo>
                  <a:lnTo>
                    <a:pt x="74224" y="144688"/>
                  </a:lnTo>
                  <a:lnTo>
                    <a:pt x="68057" y="141481"/>
                  </a:lnTo>
                  <a:lnTo>
                    <a:pt x="63912" y="147895"/>
                  </a:lnTo>
                  <a:lnTo>
                    <a:pt x="59817" y="147895"/>
                  </a:lnTo>
                  <a:lnTo>
                    <a:pt x="57696" y="154359"/>
                  </a:lnTo>
                  <a:lnTo>
                    <a:pt x="63912" y="160773"/>
                  </a:lnTo>
                  <a:lnTo>
                    <a:pt x="72202" y="163980"/>
                  </a:lnTo>
                  <a:lnTo>
                    <a:pt x="80441" y="170444"/>
                  </a:lnTo>
                  <a:lnTo>
                    <a:pt x="80441" y="175378"/>
                  </a:lnTo>
                  <a:lnTo>
                    <a:pt x="78369" y="178585"/>
                  </a:lnTo>
                  <a:lnTo>
                    <a:pt x="78369" y="183519"/>
                  </a:lnTo>
                  <a:lnTo>
                    <a:pt x="84586" y="191561"/>
                  </a:lnTo>
                  <a:lnTo>
                    <a:pt x="88681" y="194769"/>
                  </a:lnTo>
                  <a:lnTo>
                    <a:pt x="90753" y="191561"/>
                  </a:lnTo>
                  <a:lnTo>
                    <a:pt x="90753" y="188355"/>
                  </a:lnTo>
                  <a:lnTo>
                    <a:pt x="92826" y="183420"/>
                  </a:lnTo>
                  <a:lnTo>
                    <a:pt x="94898" y="189835"/>
                  </a:lnTo>
                  <a:lnTo>
                    <a:pt x="105210" y="193042"/>
                  </a:lnTo>
                  <a:lnTo>
                    <a:pt x="107283" y="197976"/>
                  </a:lnTo>
                  <a:lnTo>
                    <a:pt x="105210" y="202910"/>
                  </a:lnTo>
                  <a:lnTo>
                    <a:pt x="109355" y="207844"/>
                  </a:lnTo>
                  <a:lnTo>
                    <a:pt x="109355" y="197976"/>
                  </a:lnTo>
                  <a:lnTo>
                    <a:pt x="113450" y="191561"/>
                  </a:lnTo>
                  <a:lnTo>
                    <a:pt x="119667" y="191561"/>
                  </a:lnTo>
                  <a:lnTo>
                    <a:pt x="121739" y="196495"/>
                  </a:lnTo>
                  <a:lnTo>
                    <a:pt x="132052" y="202959"/>
                  </a:lnTo>
                  <a:lnTo>
                    <a:pt x="127956" y="196495"/>
                  </a:lnTo>
                  <a:lnTo>
                    <a:pt x="127956" y="193289"/>
                  </a:lnTo>
                  <a:lnTo>
                    <a:pt x="125835" y="186874"/>
                  </a:lnTo>
                  <a:lnTo>
                    <a:pt x="119667" y="177006"/>
                  </a:lnTo>
                  <a:lnTo>
                    <a:pt x="115572" y="170592"/>
                  </a:lnTo>
                  <a:lnTo>
                    <a:pt x="115572" y="168964"/>
                  </a:lnTo>
                  <a:lnTo>
                    <a:pt x="119667" y="167385"/>
                  </a:lnTo>
                  <a:lnTo>
                    <a:pt x="127956" y="170592"/>
                  </a:lnTo>
                  <a:lnTo>
                    <a:pt x="125835" y="173799"/>
                  </a:lnTo>
                  <a:lnTo>
                    <a:pt x="127956" y="177006"/>
                  </a:lnTo>
                  <a:lnTo>
                    <a:pt x="132052" y="172072"/>
                  </a:lnTo>
                  <a:lnTo>
                    <a:pt x="140341" y="175329"/>
                  </a:lnTo>
                  <a:lnTo>
                    <a:pt x="140341" y="172072"/>
                  </a:lnTo>
                  <a:lnTo>
                    <a:pt x="138219" y="170493"/>
                  </a:lnTo>
                  <a:lnTo>
                    <a:pt x="136196" y="167286"/>
                  </a:lnTo>
                  <a:lnTo>
                    <a:pt x="134124" y="167286"/>
                  </a:lnTo>
                  <a:lnTo>
                    <a:pt x="127956" y="164030"/>
                  </a:lnTo>
                  <a:lnTo>
                    <a:pt x="127956" y="160823"/>
                  </a:lnTo>
                  <a:lnTo>
                    <a:pt x="121739" y="155888"/>
                  </a:lnTo>
                  <a:lnTo>
                    <a:pt x="127956" y="152681"/>
                  </a:lnTo>
                  <a:lnTo>
                    <a:pt x="134124" y="154310"/>
                  </a:lnTo>
                  <a:lnTo>
                    <a:pt x="138219" y="151103"/>
                  </a:lnTo>
                  <a:lnTo>
                    <a:pt x="148581" y="156037"/>
                  </a:lnTo>
                  <a:lnTo>
                    <a:pt x="148581" y="159244"/>
                  </a:lnTo>
                  <a:lnTo>
                    <a:pt x="156820" y="160872"/>
                  </a:lnTo>
                  <a:lnTo>
                    <a:pt x="156820" y="155938"/>
                  </a:lnTo>
                  <a:lnTo>
                    <a:pt x="152725" y="149524"/>
                  </a:lnTo>
                  <a:lnTo>
                    <a:pt x="152725" y="141481"/>
                  </a:lnTo>
                  <a:lnTo>
                    <a:pt x="150653" y="138274"/>
                  </a:lnTo>
                  <a:lnTo>
                    <a:pt x="134124" y="128406"/>
                  </a:lnTo>
                  <a:lnTo>
                    <a:pt x="129979" y="128406"/>
                  </a:lnTo>
                  <a:lnTo>
                    <a:pt x="125835" y="123472"/>
                  </a:lnTo>
                  <a:lnTo>
                    <a:pt x="121739" y="125100"/>
                  </a:lnTo>
                  <a:lnTo>
                    <a:pt x="119667" y="121844"/>
                  </a:lnTo>
                  <a:lnTo>
                    <a:pt x="111427" y="120216"/>
                  </a:lnTo>
                  <a:lnTo>
                    <a:pt x="105210" y="115281"/>
                  </a:lnTo>
                  <a:lnTo>
                    <a:pt x="113450" y="113653"/>
                  </a:lnTo>
                  <a:lnTo>
                    <a:pt x="117595" y="108719"/>
                  </a:lnTo>
                  <a:lnTo>
                    <a:pt x="117595" y="105512"/>
                  </a:lnTo>
                  <a:lnTo>
                    <a:pt x="109355" y="103884"/>
                  </a:lnTo>
                  <a:lnTo>
                    <a:pt x="113450" y="100677"/>
                  </a:lnTo>
                  <a:lnTo>
                    <a:pt x="113450" y="97469"/>
                  </a:lnTo>
                  <a:lnTo>
                    <a:pt x="119667" y="99098"/>
                  </a:lnTo>
                  <a:lnTo>
                    <a:pt x="123812" y="102305"/>
                  </a:lnTo>
                  <a:lnTo>
                    <a:pt x="121739" y="105512"/>
                  </a:lnTo>
                  <a:lnTo>
                    <a:pt x="121739" y="108719"/>
                  </a:lnTo>
                  <a:lnTo>
                    <a:pt x="125835" y="107091"/>
                  </a:lnTo>
                  <a:lnTo>
                    <a:pt x="127956" y="100677"/>
                  </a:lnTo>
                  <a:lnTo>
                    <a:pt x="123812" y="95743"/>
                  </a:lnTo>
                  <a:lnTo>
                    <a:pt x="113450" y="84493"/>
                  </a:lnTo>
                  <a:lnTo>
                    <a:pt x="107283" y="81237"/>
                  </a:lnTo>
                  <a:lnTo>
                    <a:pt x="107283" y="76302"/>
                  </a:lnTo>
                  <a:lnTo>
                    <a:pt x="99043" y="69839"/>
                  </a:lnTo>
                  <a:lnTo>
                    <a:pt x="101066" y="66632"/>
                  </a:lnTo>
                  <a:lnTo>
                    <a:pt x="101066" y="55382"/>
                  </a:lnTo>
                  <a:lnTo>
                    <a:pt x="105210" y="48919"/>
                  </a:lnTo>
                  <a:lnTo>
                    <a:pt x="113450" y="47340"/>
                  </a:lnTo>
                  <a:lnTo>
                    <a:pt x="115572" y="53754"/>
                  </a:lnTo>
                  <a:lnTo>
                    <a:pt x="111427" y="53754"/>
                  </a:lnTo>
                  <a:lnTo>
                    <a:pt x="111427" y="56961"/>
                  </a:lnTo>
                  <a:lnTo>
                    <a:pt x="121739" y="60217"/>
                  </a:lnTo>
                  <a:lnTo>
                    <a:pt x="123812" y="68260"/>
                  </a:lnTo>
                  <a:lnTo>
                    <a:pt x="129979" y="73194"/>
                  </a:lnTo>
                  <a:lnTo>
                    <a:pt x="138219" y="73194"/>
                  </a:lnTo>
                  <a:lnTo>
                    <a:pt x="132052" y="69938"/>
                  </a:lnTo>
                  <a:lnTo>
                    <a:pt x="129979" y="65004"/>
                  </a:lnTo>
                  <a:lnTo>
                    <a:pt x="129979" y="60070"/>
                  </a:lnTo>
                  <a:lnTo>
                    <a:pt x="138219" y="63277"/>
                  </a:lnTo>
                  <a:lnTo>
                    <a:pt x="144436" y="69691"/>
                  </a:lnTo>
                  <a:lnTo>
                    <a:pt x="148581" y="71319"/>
                  </a:lnTo>
                  <a:lnTo>
                    <a:pt x="150653" y="68112"/>
                  </a:lnTo>
                  <a:lnTo>
                    <a:pt x="146508" y="63178"/>
                  </a:lnTo>
                  <a:lnTo>
                    <a:pt x="140341" y="61550"/>
                  </a:lnTo>
                  <a:lnTo>
                    <a:pt x="142364" y="58343"/>
                  </a:lnTo>
                  <a:lnTo>
                    <a:pt x="154798" y="58343"/>
                  </a:lnTo>
                  <a:lnTo>
                    <a:pt x="158893" y="63277"/>
                  </a:lnTo>
                  <a:lnTo>
                    <a:pt x="160965" y="61649"/>
                  </a:lnTo>
                  <a:lnTo>
                    <a:pt x="154798" y="55234"/>
                  </a:lnTo>
                  <a:lnTo>
                    <a:pt x="146508" y="53606"/>
                  </a:lnTo>
                  <a:lnTo>
                    <a:pt x="140341" y="47192"/>
                  </a:lnTo>
                  <a:lnTo>
                    <a:pt x="144436" y="43935"/>
                  </a:lnTo>
                  <a:lnTo>
                    <a:pt x="150653" y="45564"/>
                  </a:lnTo>
                  <a:lnTo>
                    <a:pt x="156820" y="42356"/>
                  </a:lnTo>
                  <a:lnTo>
                    <a:pt x="158893" y="34314"/>
                  </a:lnTo>
                  <a:lnTo>
                    <a:pt x="165110" y="32735"/>
                  </a:lnTo>
                  <a:lnTo>
                    <a:pt x="171326" y="39149"/>
                  </a:lnTo>
                  <a:lnTo>
                    <a:pt x="177494" y="39149"/>
                  </a:lnTo>
                  <a:lnTo>
                    <a:pt x="183711" y="32735"/>
                  </a:lnTo>
                  <a:lnTo>
                    <a:pt x="185733" y="29479"/>
                  </a:lnTo>
                  <a:lnTo>
                    <a:pt x="187806" y="29479"/>
                  </a:lnTo>
                  <a:lnTo>
                    <a:pt x="191950" y="34413"/>
                  </a:lnTo>
                  <a:lnTo>
                    <a:pt x="206407" y="34413"/>
                  </a:lnTo>
                  <a:lnTo>
                    <a:pt x="218792" y="37620"/>
                  </a:lnTo>
                  <a:lnTo>
                    <a:pt x="224959" y="36041"/>
                  </a:lnTo>
                  <a:lnTo>
                    <a:pt x="229104" y="27949"/>
                  </a:lnTo>
                  <a:lnTo>
                    <a:pt x="229104" y="21535"/>
                  </a:lnTo>
                  <a:lnTo>
                    <a:pt x="237344" y="16601"/>
                  </a:lnTo>
                  <a:lnTo>
                    <a:pt x="237344" y="10186"/>
                  </a:lnTo>
                  <a:lnTo>
                    <a:pt x="231176" y="6979"/>
                  </a:lnTo>
                  <a:close/>
                  <a:moveTo>
                    <a:pt x="152725" y="239816"/>
                  </a:moveTo>
                  <a:lnTo>
                    <a:pt x="150653" y="234882"/>
                  </a:lnTo>
                  <a:lnTo>
                    <a:pt x="150653" y="239816"/>
                  </a:lnTo>
                  <a:lnTo>
                    <a:pt x="148581" y="243023"/>
                  </a:lnTo>
                  <a:lnTo>
                    <a:pt x="148581" y="247957"/>
                  </a:lnTo>
                  <a:lnTo>
                    <a:pt x="152725" y="249586"/>
                  </a:lnTo>
                  <a:lnTo>
                    <a:pt x="171326" y="249586"/>
                  </a:lnTo>
                  <a:lnTo>
                    <a:pt x="175422" y="247957"/>
                  </a:lnTo>
                  <a:lnTo>
                    <a:pt x="181589" y="251214"/>
                  </a:lnTo>
                  <a:lnTo>
                    <a:pt x="189878" y="254421"/>
                  </a:lnTo>
                  <a:lnTo>
                    <a:pt x="191950" y="257628"/>
                  </a:lnTo>
                  <a:lnTo>
                    <a:pt x="200190" y="257628"/>
                  </a:lnTo>
                  <a:lnTo>
                    <a:pt x="206407" y="254421"/>
                  </a:lnTo>
                  <a:lnTo>
                    <a:pt x="237344" y="254421"/>
                  </a:lnTo>
                  <a:lnTo>
                    <a:pt x="243561" y="251214"/>
                  </a:lnTo>
                  <a:lnTo>
                    <a:pt x="245633" y="247957"/>
                  </a:lnTo>
                  <a:lnTo>
                    <a:pt x="243561" y="243023"/>
                  </a:lnTo>
                  <a:lnTo>
                    <a:pt x="243561" y="239816"/>
                  </a:lnTo>
                  <a:lnTo>
                    <a:pt x="241488" y="243023"/>
                  </a:lnTo>
                  <a:lnTo>
                    <a:pt x="241488" y="246231"/>
                  </a:lnTo>
                  <a:lnTo>
                    <a:pt x="237344" y="249438"/>
                  </a:lnTo>
                  <a:lnTo>
                    <a:pt x="233248" y="246231"/>
                  </a:lnTo>
                  <a:lnTo>
                    <a:pt x="231176" y="247810"/>
                  </a:lnTo>
                  <a:lnTo>
                    <a:pt x="227081" y="247810"/>
                  </a:lnTo>
                  <a:lnTo>
                    <a:pt x="227081" y="244602"/>
                  </a:lnTo>
                  <a:lnTo>
                    <a:pt x="224959" y="241395"/>
                  </a:lnTo>
                  <a:lnTo>
                    <a:pt x="222936" y="241395"/>
                  </a:lnTo>
                  <a:lnTo>
                    <a:pt x="212575" y="239816"/>
                  </a:lnTo>
                  <a:lnTo>
                    <a:pt x="204335" y="236560"/>
                  </a:lnTo>
                  <a:lnTo>
                    <a:pt x="193974" y="236560"/>
                  </a:lnTo>
                  <a:lnTo>
                    <a:pt x="185733" y="241494"/>
                  </a:lnTo>
                  <a:lnTo>
                    <a:pt x="179566" y="243122"/>
                  </a:lnTo>
                  <a:lnTo>
                    <a:pt x="175422" y="241494"/>
                  </a:lnTo>
                  <a:lnTo>
                    <a:pt x="171326" y="238238"/>
                  </a:lnTo>
                  <a:lnTo>
                    <a:pt x="167182" y="238238"/>
                  </a:lnTo>
                  <a:lnTo>
                    <a:pt x="171326" y="236659"/>
                  </a:lnTo>
                  <a:lnTo>
                    <a:pt x="167182" y="233451"/>
                  </a:lnTo>
                  <a:lnTo>
                    <a:pt x="163037" y="233451"/>
                  </a:lnTo>
                  <a:lnTo>
                    <a:pt x="163037" y="235030"/>
                  </a:lnTo>
                  <a:lnTo>
                    <a:pt x="165110" y="236659"/>
                  </a:lnTo>
                  <a:lnTo>
                    <a:pt x="163037" y="236659"/>
                  </a:lnTo>
                  <a:lnTo>
                    <a:pt x="158893" y="238238"/>
                  </a:lnTo>
                  <a:lnTo>
                    <a:pt x="156820" y="233303"/>
                  </a:lnTo>
                  <a:lnTo>
                    <a:pt x="154798" y="233303"/>
                  </a:lnTo>
                  <a:lnTo>
                    <a:pt x="154798" y="238238"/>
                  </a:lnTo>
                  <a:close/>
                  <a:moveTo>
                    <a:pt x="10230" y="83654"/>
                  </a:moveTo>
                  <a:lnTo>
                    <a:pt x="10230" y="90118"/>
                  </a:lnTo>
                  <a:lnTo>
                    <a:pt x="14325" y="93325"/>
                  </a:lnTo>
                  <a:lnTo>
                    <a:pt x="18470" y="94904"/>
                  </a:lnTo>
                  <a:lnTo>
                    <a:pt x="18470" y="96532"/>
                  </a:lnTo>
                  <a:lnTo>
                    <a:pt x="16447" y="98160"/>
                  </a:lnTo>
                  <a:lnTo>
                    <a:pt x="12303" y="94904"/>
                  </a:lnTo>
                  <a:lnTo>
                    <a:pt x="4063" y="89970"/>
                  </a:lnTo>
                  <a:lnTo>
                    <a:pt x="4063" y="88342"/>
                  </a:lnTo>
                  <a:lnTo>
                    <a:pt x="-82" y="86763"/>
                  </a:lnTo>
                  <a:lnTo>
                    <a:pt x="-82" y="83506"/>
                  </a:lnTo>
                  <a:lnTo>
                    <a:pt x="6086" y="81878"/>
                  </a:lnTo>
                  <a:close/>
                  <a:moveTo>
                    <a:pt x="37072" y="127123"/>
                  </a:moveTo>
                  <a:lnTo>
                    <a:pt x="37072" y="125544"/>
                  </a:lnTo>
                  <a:lnTo>
                    <a:pt x="39143" y="120610"/>
                  </a:lnTo>
                  <a:lnTo>
                    <a:pt x="43239" y="119031"/>
                  </a:lnTo>
                  <a:lnTo>
                    <a:pt x="43239" y="125495"/>
                  </a:lnTo>
                  <a:lnTo>
                    <a:pt x="41216" y="127074"/>
                  </a:lnTo>
                  <a:lnTo>
                    <a:pt x="37072" y="127074"/>
                  </a:lnTo>
                  <a:close/>
                  <a:moveTo>
                    <a:pt x="37072" y="136991"/>
                  </a:moveTo>
                  <a:lnTo>
                    <a:pt x="37072" y="130527"/>
                  </a:lnTo>
                  <a:lnTo>
                    <a:pt x="41216" y="132156"/>
                  </a:lnTo>
                  <a:lnTo>
                    <a:pt x="43239" y="137090"/>
                  </a:lnTo>
                  <a:lnTo>
                    <a:pt x="43239" y="139853"/>
                  </a:lnTo>
                  <a:lnTo>
                    <a:pt x="47384" y="143060"/>
                  </a:lnTo>
                  <a:lnTo>
                    <a:pt x="47384" y="144787"/>
                  </a:lnTo>
                  <a:lnTo>
                    <a:pt x="49455" y="146366"/>
                  </a:lnTo>
                  <a:lnTo>
                    <a:pt x="47384" y="149622"/>
                  </a:lnTo>
                  <a:lnTo>
                    <a:pt x="43239" y="147994"/>
                  </a:lnTo>
                  <a:lnTo>
                    <a:pt x="37072" y="147994"/>
                  </a:lnTo>
                  <a:lnTo>
                    <a:pt x="37072" y="143060"/>
                  </a:lnTo>
                  <a:lnTo>
                    <a:pt x="34999" y="143060"/>
                  </a:lnTo>
                  <a:lnTo>
                    <a:pt x="34999" y="144787"/>
                  </a:lnTo>
                  <a:lnTo>
                    <a:pt x="32927" y="146366"/>
                  </a:lnTo>
                  <a:lnTo>
                    <a:pt x="30855" y="144787"/>
                  </a:lnTo>
                  <a:lnTo>
                    <a:pt x="30855" y="138373"/>
                  </a:lnTo>
                  <a:lnTo>
                    <a:pt x="34999" y="136744"/>
                  </a:lnTo>
                  <a:close/>
                  <a:moveTo>
                    <a:pt x="51528" y="159490"/>
                  </a:moveTo>
                  <a:lnTo>
                    <a:pt x="53600" y="162747"/>
                  </a:lnTo>
                  <a:lnTo>
                    <a:pt x="49455" y="161119"/>
                  </a:lnTo>
                  <a:lnTo>
                    <a:pt x="49455" y="164326"/>
                  </a:lnTo>
                  <a:lnTo>
                    <a:pt x="45311" y="162747"/>
                  </a:lnTo>
                  <a:lnTo>
                    <a:pt x="39143" y="157813"/>
                  </a:lnTo>
                  <a:lnTo>
                    <a:pt x="41216" y="154606"/>
                  </a:lnTo>
                  <a:lnTo>
                    <a:pt x="43239" y="154606"/>
                  </a:lnTo>
                  <a:lnTo>
                    <a:pt x="47384" y="156185"/>
                  </a:lnTo>
                  <a:close/>
                  <a:moveTo>
                    <a:pt x="272474" y="227136"/>
                  </a:moveTo>
                  <a:lnTo>
                    <a:pt x="272474" y="225508"/>
                  </a:lnTo>
                  <a:lnTo>
                    <a:pt x="274546" y="222251"/>
                  </a:lnTo>
                  <a:lnTo>
                    <a:pt x="274546" y="225508"/>
                  </a:lnTo>
                  <a:close/>
                  <a:moveTo>
                    <a:pt x="272474" y="243221"/>
                  </a:moveTo>
                  <a:lnTo>
                    <a:pt x="270451" y="236757"/>
                  </a:lnTo>
                  <a:lnTo>
                    <a:pt x="268330" y="233550"/>
                  </a:lnTo>
                  <a:lnTo>
                    <a:pt x="272474" y="228616"/>
                  </a:lnTo>
                  <a:lnTo>
                    <a:pt x="272474" y="231823"/>
                  </a:lnTo>
                  <a:lnTo>
                    <a:pt x="276619" y="236757"/>
                  </a:lnTo>
                  <a:lnTo>
                    <a:pt x="274546" y="241691"/>
                  </a:lnTo>
                  <a:close/>
                  <a:moveTo>
                    <a:pt x="291076" y="223880"/>
                  </a:moveTo>
                  <a:lnTo>
                    <a:pt x="289003" y="222251"/>
                  </a:lnTo>
                  <a:lnTo>
                    <a:pt x="291076" y="219044"/>
                  </a:lnTo>
                  <a:lnTo>
                    <a:pt x="289003" y="217465"/>
                  </a:lnTo>
                  <a:lnTo>
                    <a:pt x="289003" y="213863"/>
                  </a:lnTo>
                  <a:lnTo>
                    <a:pt x="297243" y="208929"/>
                  </a:lnTo>
                  <a:lnTo>
                    <a:pt x="305483" y="205722"/>
                  </a:lnTo>
                  <a:lnTo>
                    <a:pt x="309628" y="204143"/>
                  </a:lnTo>
                  <a:lnTo>
                    <a:pt x="309628" y="207350"/>
                  </a:lnTo>
                  <a:lnTo>
                    <a:pt x="307605" y="208929"/>
                  </a:lnTo>
                  <a:lnTo>
                    <a:pt x="305483" y="212137"/>
                  </a:lnTo>
                  <a:lnTo>
                    <a:pt x="303460" y="215393"/>
                  </a:lnTo>
                  <a:lnTo>
                    <a:pt x="303460" y="217021"/>
                  </a:lnTo>
                  <a:lnTo>
                    <a:pt x="301388" y="217021"/>
                  </a:lnTo>
                  <a:lnTo>
                    <a:pt x="297243" y="220228"/>
                  </a:lnTo>
                  <a:lnTo>
                    <a:pt x="293098" y="223435"/>
                  </a:lnTo>
                  <a:close/>
                  <a:moveTo>
                    <a:pt x="241735" y="204587"/>
                  </a:moveTo>
                  <a:lnTo>
                    <a:pt x="239712" y="201380"/>
                  </a:lnTo>
                  <a:lnTo>
                    <a:pt x="241735" y="199752"/>
                  </a:lnTo>
                  <a:lnTo>
                    <a:pt x="245880" y="198124"/>
                  </a:lnTo>
                  <a:lnTo>
                    <a:pt x="249975" y="199752"/>
                  </a:lnTo>
                  <a:lnTo>
                    <a:pt x="247952" y="202959"/>
                  </a:lnTo>
                  <a:close/>
                  <a:moveTo>
                    <a:pt x="241735" y="161119"/>
                  </a:moveTo>
                  <a:lnTo>
                    <a:pt x="247952" y="156185"/>
                  </a:lnTo>
                  <a:lnTo>
                    <a:pt x="252097" y="156185"/>
                  </a:lnTo>
                  <a:lnTo>
                    <a:pt x="256192" y="159392"/>
                  </a:lnTo>
                  <a:lnTo>
                    <a:pt x="258264" y="157813"/>
                  </a:lnTo>
                  <a:lnTo>
                    <a:pt x="260337" y="159392"/>
                  </a:lnTo>
                  <a:lnTo>
                    <a:pt x="260337" y="161020"/>
                  </a:lnTo>
                  <a:lnTo>
                    <a:pt x="256192" y="162648"/>
                  </a:lnTo>
                  <a:lnTo>
                    <a:pt x="254120" y="164227"/>
                  </a:lnTo>
                  <a:lnTo>
                    <a:pt x="252097" y="164227"/>
                  </a:lnTo>
                  <a:lnTo>
                    <a:pt x="247952" y="161020"/>
                  </a:lnTo>
                  <a:lnTo>
                    <a:pt x="243807" y="161020"/>
                  </a:lnTo>
                  <a:lnTo>
                    <a:pt x="239712" y="162648"/>
                  </a:lnTo>
                  <a:close/>
                  <a:moveTo>
                    <a:pt x="229351" y="127321"/>
                  </a:moveTo>
                  <a:lnTo>
                    <a:pt x="231423" y="135363"/>
                  </a:lnTo>
                  <a:lnTo>
                    <a:pt x="229351" y="140297"/>
                  </a:lnTo>
                  <a:lnTo>
                    <a:pt x="225206" y="141925"/>
                  </a:lnTo>
                  <a:lnTo>
                    <a:pt x="221111" y="140297"/>
                  </a:lnTo>
                  <a:lnTo>
                    <a:pt x="221111" y="137090"/>
                  </a:lnTo>
                  <a:lnTo>
                    <a:pt x="225206" y="137090"/>
                  </a:lnTo>
                  <a:lnTo>
                    <a:pt x="225206" y="132156"/>
                  </a:lnTo>
                  <a:lnTo>
                    <a:pt x="219038" y="128949"/>
                  </a:lnTo>
                  <a:lnTo>
                    <a:pt x="219038" y="127321"/>
                  </a:lnTo>
                  <a:lnTo>
                    <a:pt x="223183" y="124113"/>
                  </a:lnTo>
                  <a:lnTo>
                    <a:pt x="229351" y="125742"/>
                  </a:lnTo>
                  <a:close/>
                  <a:moveTo>
                    <a:pt x="221111" y="109607"/>
                  </a:moveTo>
                  <a:lnTo>
                    <a:pt x="214894" y="106400"/>
                  </a:lnTo>
                  <a:lnTo>
                    <a:pt x="219038" y="101466"/>
                  </a:lnTo>
                  <a:lnTo>
                    <a:pt x="227328" y="98259"/>
                  </a:lnTo>
                  <a:lnTo>
                    <a:pt x="229351" y="96631"/>
                  </a:lnTo>
                  <a:lnTo>
                    <a:pt x="237590" y="95002"/>
                  </a:lnTo>
                  <a:lnTo>
                    <a:pt x="239712" y="96631"/>
                  </a:lnTo>
                  <a:lnTo>
                    <a:pt x="237590" y="101565"/>
                  </a:lnTo>
                  <a:lnTo>
                    <a:pt x="239712" y="101565"/>
                  </a:lnTo>
                  <a:lnTo>
                    <a:pt x="239712" y="112864"/>
                  </a:lnTo>
                  <a:lnTo>
                    <a:pt x="233495" y="112864"/>
                  </a:lnTo>
                  <a:lnTo>
                    <a:pt x="227328" y="111236"/>
                  </a:lnTo>
                  <a:lnTo>
                    <a:pt x="229351" y="107979"/>
                  </a:lnTo>
                  <a:lnTo>
                    <a:pt x="233495" y="106400"/>
                  </a:lnTo>
                  <a:lnTo>
                    <a:pt x="233495" y="101466"/>
                  </a:lnTo>
                  <a:lnTo>
                    <a:pt x="229203" y="101466"/>
                  </a:lnTo>
                  <a:lnTo>
                    <a:pt x="227179" y="106400"/>
                  </a:lnTo>
                  <a:lnTo>
                    <a:pt x="225058" y="109607"/>
                  </a:lnTo>
                  <a:lnTo>
                    <a:pt x="220963" y="109607"/>
                  </a:lnTo>
                  <a:close/>
                  <a:moveTo>
                    <a:pt x="202509" y="53310"/>
                  </a:moveTo>
                  <a:lnTo>
                    <a:pt x="204582" y="51682"/>
                  </a:lnTo>
                  <a:lnTo>
                    <a:pt x="212822" y="51682"/>
                  </a:lnTo>
                  <a:lnTo>
                    <a:pt x="212822" y="54889"/>
                  </a:lnTo>
                  <a:lnTo>
                    <a:pt x="208726" y="56517"/>
                  </a:lnTo>
                  <a:close/>
                  <a:moveTo>
                    <a:pt x="185980" y="69395"/>
                  </a:moveTo>
                  <a:lnTo>
                    <a:pt x="192197" y="69395"/>
                  </a:lnTo>
                  <a:lnTo>
                    <a:pt x="194220" y="70974"/>
                  </a:lnTo>
                  <a:lnTo>
                    <a:pt x="198365" y="67767"/>
                  </a:lnTo>
                  <a:lnTo>
                    <a:pt x="202509" y="69395"/>
                  </a:lnTo>
                  <a:lnTo>
                    <a:pt x="198365" y="74329"/>
                  </a:lnTo>
                  <a:lnTo>
                    <a:pt x="196342" y="80743"/>
                  </a:lnTo>
                  <a:lnTo>
                    <a:pt x="192197" y="79115"/>
                  </a:lnTo>
                  <a:lnTo>
                    <a:pt x="189730" y="79115"/>
                  </a:lnTo>
                  <a:lnTo>
                    <a:pt x="185586" y="77536"/>
                  </a:lnTo>
                  <a:lnTo>
                    <a:pt x="185586" y="69493"/>
                  </a:lnTo>
                  <a:close/>
                  <a:moveTo>
                    <a:pt x="169452" y="43639"/>
                  </a:moveTo>
                  <a:lnTo>
                    <a:pt x="171573" y="42011"/>
                  </a:lnTo>
                  <a:lnTo>
                    <a:pt x="177740" y="43639"/>
                  </a:lnTo>
                  <a:lnTo>
                    <a:pt x="177740" y="48573"/>
                  </a:lnTo>
                  <a:lnTo>
                    <a:pt x="173596" y="50152"/>
                  </a:lnTo>
                  <a:lnTo>
                    <a:pt x="171573" y="48573"/>
                  </a:lnTo>
                  <a:lnTo>
                    <a:pt x="167428" y="48573"/>
                  </a:lnTo>
                  <a:close/>
                  <a:moveTo>
                    <a:pt x="136443" y="104772"/>
                  </a:moveTo>
                  <a:lnTo>
                    <a:pt x="140588" y="104772"/>
                  </a:lnTo>
                  <a:lnTo>
                    <a:pt x="142610" y="106400"/>
                  </a:lnTo>
                  <a:lnTo>
                    <a:pt x="144683" y="109607"/>
                  </a:lnTo>
                  <a:lnTo>
                    <a:pt x="142610" y="111236"/>
                  </a:lnTo>
                  <a:close/>
                  <a:moveTo>
                    <a:pt x="130226" y="104772"/>
                  </a:moveTo>
                  <a:lnTo>
                    <a:pt x="134371" y="103193"/>
                  </a:lnTo>
                  <a:lnTo>
                    <a:pt x="134371" y="104772"/>
                  </a:lnTo>
                  <a:lnTo>
                    <a:pt x="132298" y="107979"/>
                  </a:lnTo>
                  <a:close/>
                  <a:moveTo>
                    <a:pt x="171573" y="112864"/>
                  </a:moveTo>
                  <a:lnTo>
                    <a:pt x="173596" y="111236"/>
                  </a:lnTo>
                  <a:lnTo>
                    <a:pt x="177740" y="114442"/>
                  </a:lnTo>
                  <a:lnTo>
                    <a:pt x="179813" y="116071"/>
                  </a:lnTo>
                  <a:lnTo>
                    <a:pt x="181836" y="121005"/>
                  </a:lnTo>
                  <a:lnTo>
                    <a:pt x="179813" y="121005"/>
                  </a:lnTo>
                  <a:lnTo>
                    <a:pt x="177740" y="117798"/>
                  </a:lnTo>
                  <a:lnTo>
                    <a:pt x="175668" y="117798"/>
                  </a:lnTo>
                  <a:close/>
                  <a:moveTo>
                    <a:pt x="229203" y="170592"/>
                  </a:moveTo>
                  <a:lnTo>
                    <a:pt x="227179" y="168964"/>
                  </a:lnTo>
                  <a:lnTo>
                    <a:pt x="227179" y="165757"/>
                  </a:lnTo>
                  <a:lnTo>
                    <a:pt x="235420" y="164128"/>
                  </a:lnTo>
                  <a:lnTo>
                    <a:pt x="235420" y="167385"/>
                  </a:lnTo>
                  <a:close/>
                  <a:moveTo>
                    <a:pt x="171425" y="202762"/>
                  </a:moveTo>
                  <a:lnTo>
                    <a:pt x="173448" y="197828"/>
                  </a:lnTo>
                  <a:lnTo>
                    <a:pt x="177593" y="197828"/>
                  </a:lnTo>
                  <a:lnTo>
                    <a:pt x="177593" y="201084"/>
                  </a:lnTo>
                  <a:lnTo>
                    <a:pt x="173448" y="202663"/>
                  </a:lnTo>
                  <a:close/>
                  <a:moveTo>
                    <a:pt x="173448" y="183470"/>
                  </a:moveTo>
                  <a:lnTo>
                    <a:pt x="177593" y="180213"/>
                  </a:lnTo>
                  <a:lnTo>
                    <a:pt x="177593" y="185147"/>
                  </a:lnTo>
                  <a:close/>
                  <a:moveTo>
                    <a:pt x="171425" y="177006"/>
                  </a:moveTo>
                  <a:lnTo>
                    <a:pt x="171425" y="172072"/>
                  </a:lnTo>
                  <a:lnTo>
                    <a:pt x="175520" y="172072"/>
                  </a:lnTo>
                  <a:lnTo>
                    <a:pt x="175520" y="175329"/>
                  </a:lnTo>
                  <a:close/>
                  <a:moveTo>
                    <a:pt x="169303" y="170592"/>
                  </a:moveTo>
                  <a:lnTo>
                    <a:pt x="167280" y="167385"/>
                  </a:lnTo>
                  <a:lnTo>
                    <a:pt x="169303" y="165757"/>
                  </a:lnTo>
                  <a:lnTo>
                    <a:pt x="171425" y="168964"/>
                  </a:lnTo>
                  <a:close/>
                  <a:moveTo>
                    <a:pt x="200289" y="188305"/>
                  </a:moveTo>
                  <a:lnTo>
                    <a:pt x="198217" y="186677"/>
                  </a:lnTo>
                  <a:lnTo>
                    <a:pt x="198217" y="181743"/>
                  </a:lnTo>
                  <a:lnTo>
                    <a:pt x="202362" y="181743"/>
                  </a:lnTo>
                  <a:lnTo>
                    <a:pt x="204434" y="184950"/>
                  </a:lnTo>
                  <a:close/>
                  <a:moveTo>
                    <a:pt x="208578" y="186677"/>
                  </a:moveTo>
                  <a:lnTo>
                    <a:pt x="206506" y="183470"/>
                  </a:lnTo>
                  <a:lnTo>
                    <a:pt x="212674" y="180213"/>
                  </a:lnTo>
                  <a:lnTo>
                    <a:pt x="214746" y="180213"/>
                  </a:lnTo>
                  <a:lnTo>
                    <a:pt x="216818" y="183470"/>
                  </a:lnTo>
                  <a:lnTo>
                    <a:pt x="212674" y="186677"/>
                  </a:lnTo>
                  <a:close/>
                  <a:moveTo>
                    <a:pt x="208578" y="173799"/>
                  </a:moveTo>
                  <a:lnTo>
                    <a:pt x="208578" y="170592"/>
                  </a:lnTo>
                  <a:lnTo>
                    <a:pt x="210651" y="172171"/>
                  </a:lnTo>
                  <a:close/>
                  <a:moveTo>
                    <a:pt x="198217" y="165757"/>
                  </a:moveTo>
                  <a:lnTo>
                    <a:pt x="200289" y="164128"/>
                  </a:lnTo>
                  <a:lnTo>
                    <a:pt x="204434" y="167385"/>
                  </a:lnTo>
                  <a:lnTo>
                    <a:pt x="204434" y="170592"/>
                  </a:lnTo>
                  <a:lnTo>
                    <a:pt x="200289" y="168964"/>
                  </a:lnTo>
                  <a:close/>
                  <a:moveTo>
                    <a:pt x="181688" y="154507"/>
                  </a:moveTo>
                  <a:lnTo>
                    <a:pt x="183810" y="152879"/>
                  </a:lnTo>
                  <a:lnTo>
                    <a:pt x="187905" y="157813"/>
                  </a:lnTo>
                  <a:lnTo>
                    <a:pt x="194072" y="162747"/>
                  </a:lnTo>
                  <a:lnTo>
                    <a:pt x="194072" y="165954"/>
                  </a:lnTo>
                  <a:lnTo>
                    <a:pt x="189730" y="165954"/>
                  </a:lnTo>
                  <a:lnTo>
                    <a:pt x="183563" y="159490"/>
                  </a:lnTo>
                  <a:lnTo>
                    <a:pt x="179418" y="156283"/>
                  </a:lnTo>
                  <a:close/>
                  <a:moveTo>
                    <a:pt x="115720" y="115874"/>
                  </a:moveTo>
                  <a:lnTo>
                    <a:pt x="119815" y="112666"/>
                  </a:lnTo>
                  <a:lnTo>
                    <a:pt x="128104" y="111038"/>
                  </a:lnTo>
                  <a:lnTo>
                    <a:pt x="134272" y="115972"/>
                  </a:lnTo>
                  <a:lnTo>
                    <a:pt x="140489" y="119179"/>
                  </a:lnTo>
                  <a:lnTo>
                    <a:pt x="146656" y="120758"/>
                  </a:lnTo>
                  <a:lnTo>
                    <a:pt x="146656" y="122386"/>
                  </a:lnTo>
                  <a:lnTo>
                    <a:pt x="152873" y="122386"/>
                  </a:lnTo>
                  <a:lnTo>
                    <a:pt x="161113" y="128850"/>
                  </a:lnTo>
                  <a:lnTo>
                    <a:pt x="165258" y="133784"/>
                  </a:lnTo>
                  <a:lnTo>
                    <a:pt x="165258" y="143652"/>
                  </a:lnTo>
                  <a:lnTo>
                    <a:pt x="169353" y="148586"/>
                  </a:lnTo>
                  <a:lnTo>
                    <a:pt x="171475" y="146958"/>
                  </a:lnTo>
                  <a:lnTo>
                    <a:pt x="177642" y="146958"/>
                  </a:lnTo>
                  <a:lnTo>
                    <a:pt x="175570" y="153421"/>
                  </a:lnTo>
                  <a:lnTo>
                    <a:pt x="171475" y="151843"/>
                  </a:lnTo>
                  <a:lnTo>
                    <a:pt x="169353" y="153421"/>
                  </a:lnTo>
                  <a:lnTo>
                    <a:pt x="163185" y="150214"/>
                  </a:lnTo>
                  <a:lnTo>
                    <a:pt x="161113" y="146958"/>
                  </a:lnTo>
                  <a:lnTo>
                    <a:pt x="163185" y="143751"/>
                  </a:lnTo>
                  <a:lnTo>
                    <a:pt x="159041" y="142172"/>
                  </a:lnTo>
                  <a:lnTo>
                    <a:pt x="154945" y="135708"/>
                  </a:lnTo>
                  <a:lnTo>
                    <a:pt x="152873" y="134080"/>
                  </a:lnTo>
                  <a:lnTo>
                    <a:pt x="148728" y="134080"/>
                  </a:lnTo>
                  <a:lnTo>
                    <a:pt x="142512" y="130873"/>
                  </a:lnTo>
                  <a:lnTo>
                    <a:pt x="138367" y="127666"/>
                  </a:lnTo>
                  <a:lnTo>
                    <a:pt x="134272" y="126087"/>
                  </a:lnTo>
                  <a:lnTo>
                    <a:pt x="132199" y="122830"/>
                  </a:lnTo>
                  <a:lnTo>
                    <a:pt x="128104" y="121202"/>
                  </a:lnTo>
                  <a:lnTo>
                    <a:pt x="128104" y="119623"/>
                  </a:lnTo>
                  <a:lnTo>
                    <a:pt x="123960" y="116416"/>
                  </a:lnTo>
                  <a:lnTo>
                    <a:pt x="117743" y="117995"/>
                  </a:lnTo>
                  <a:close/>
                  <a:moveTo>
                    <a:pt x="123960" y="207597"/>
                  </a:moveTo>
                  <a:lnTo>
                    <a:pt x="125982" y="205969"/>
                  </a:lnTo>
                  <a:lnTo>
                    <a:pt x="128104" y="210903"/>
                  </a:lnTo>
                  <a:lnTo>
                    <a:pt x="130127" y="214159"/>
                  </a:lnTo>
                  <a:lnTo>
                    <a:pt x="128104" y="219093"/>
                  </a:lnTo>
                  <a:lnTo>
                    <a:pt x="123960" y="217515"/>
                  </a:lnTo>
                  <a:lnTo>
                    <a:pt x="125982" y="214308"/>
                  </a:lnTo>
                  <a:lnTo>
                    <a:pt x="123960" y="211051"/>
                  </a:lnTo>
                  <a:close/>
                  <a:moveTo>
                    <a:pt x="123960" y="201183"/>
                  </a:moveTo>
                  <a:lnTo>
                    <a:pt x="125982" y="204390"/>
                  </a:lnTo>
                  <a:lnTo>
                    <a:pt x="123960" y="20439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Graphic 2">
              <a:extLst>
                <a:ext uri="{FF2B5EF4-FFF2-40B4-BE49-F238E27FC236}">
                  <a16:creationId xmlns:a16="http://schemas.microsoft.com/office/drawing/2014/main" id="{233D19FE-C4C1-4EF0-B2CC-3861630211DA}"/>
                </a:ext>
              </a:extLst>
            </p:cNvPr>
            <p:cNvSpPr/>
            <p:nvPr/>
          </p:nvSpPr>
          <p:spPr>
            <a:xfrm>
              <a:off x="6797786" y="3366713"/>
              <a:ext cx="180112" cy="125374"/>
            </a:xfrm>
            <a:custGeom>
              <a:avLst/>
              <a:gdLst>
                <a:gd name="connsiteX0" fmla="*/ 1941 w 198249"/>
                <a:gd name="connsiteY0" fmla="*/ 28492 h 138004"/>
                <a:gd name="connsiteX1" fmla="*/ 1941 w 198249"/>
                <a:gd name="connsiteY1" fmla="*/ 23952 h 138004"/>
                <a:gd name="connsiteX2" fmla="*/ 15707 w 198249"/>
                <a:gd name="connsiteY2" fmla="*/ 19463 h 138004"/>
                <a:gd name="connsiteX3" fmla="*/ 35444 w 198249"/>
                <a:gd name="connsiteY3" fmla="*/ 28492 h 138004"/>
                <a:gd name="connsiteX4" fmla="*/ 49110 w 198249"/>
                <a:gd name="connsiteY4" fmla="*/ 28492 h 138004"/>
                <a:gd name="connsiteX5" fmla="*/ 62827 w 198249"/>
                <a:gd name="connsiteY5" fmla="*/ 34462 h 138004"/>
                <a:gd name="connsiteX6" fmla="*/ 64801 w 198249"/>
                <a:gd name="connsiteY6" fmla="*/ 23952 h 138004"/>
                <a:gd name="connsiteX7" fmla="*/ 60903 w 198249"/>
                <a:gd name="connsiteY7" fmla="*/ 17982 h 138004"/>
                <a:gd name="connsiteX8" fmla="*/ 49110 w 198249"/>
                <a:gd name="connsiteY8" fmla="*/ 11963 h 138004"/>
                <a:gd name="connsiteX9" fmla="*/ 53058 w 198249"/>
                <a:gd name="connsiteY9" fmla="*/ 1453 h 138004"/>
                <a:gd name="connsiteX10" fmla="*/ 64801 w 198249"/>
                <a:gd name="connsiteY10" fmla="*/ 2933 h 138004"/>
                <a:gd name="connsiteX11" fmla="*/ 80491 w 198249"/>
                <a:gd name="connsiteY11" fmla="*/ 13443 h 138004"/>
                <a:gd name="connsiteX12" fmla="*/ 84339 w 198249"/>
                <a:gd name="connsiteY12" fmla="*/ 22472 h 138004"/>
                <a:gd name="connsiteX13" fmla="*/ 102004 w 198249"/>
                <a:gd name="connsiteY13" fmla="*/ 22472 h 138004"/>
                <a:gd name="connsiteX14" fmla="*/ 105951 w 198249"/>
                <a:gd name="connsiteY14" fmla="*/ 17982 h 138004"/>
                <a:gd name="connsiteX15" fmla="*/ 115819 w 198249"/>
                <a:gd name="connsiteY15" fmla="*/ 11963 h 138004"/>
                <a:gd name="connsiteX16" fmla="*/ 129486 w 198249"/>
                <a:gd name="connsiteY16" fmla="*/ -27 h 138004"/>
                <a:gd name="connsiteX17" fmla="*/ 135407 w 198249"/>
                <a:gd name="connsiteY17" fmla="*/ 4463 h 138004"/>
                <a:gd name="connsiteX18" fmla="*/ 147150 w 198249"/>
                <a:gd name="connsiteY18" fmla="*/ 17982 h 138004"/>
                <a:gd name="connsiteX19" fmla="*/ 147150 w 198249"/>
                <a:gd name="connsiteY19" fmla="*/ 22472 h 138004"/>
                <a:gd name="connsiteX20" fmla="*/ 151097 w 198249"/>
                <a:gd name="connsiteY20" fmla="*/ 31502 h 138004"/>
                <a:gd name="connsiteX21" fmla="*/ 164764 w 198249"/>
                <a:gd name="connsiteY21" fmla="*/ 37472 h 138004"/>
                <a:gd name="connsiteX22" fmla="*/ 166689 w 198249"/>
                <a:gd name="connsiteY22" fmla="*/ 41962 h 138004"/>
                <a:gd name="connsiteX23" fmla="*/ 172609 w 198249"/>
                <a:gd name="connsiteY23" fmla="*/ 47981 h 138004"/>
                <a:gd name="connsiteX24" fmla="*/ 182477 w 198249"/>
                <a:gd name="connsiteY24" fmla="*/ 47981 h 138004"/>
                <a:gd name="connsiteX25" fmla="*/ 194220 w 198249"/>
                <a:gd name="connsiteY25" fmla="*/ 50991 h 138004"/>
                <a:gd name="connsiteX26" fmla="*/ 198168 w 198249"/>
                <a:gd name="connsiteY26" fmla="*/ 56961 h 138004"/>
                <a:gd name="connsiteX27" fmla="*/ 190027 w 198249"/>
                <a:gd name="connsiteY27" fmla="*/ 56961 h 138004"/>
                <a:gd name="connsiteX28" fmla="*/ 186129 w 198249"/>
                <a:gd name="connsiteY28" fmla="*/ 60020 h 138004"/>
                <a:gd name="connsiteX29" fmla="*/ 176261 w 198249"/>
                <a:gd name="connsiteY29" fmla="*/ 60020 h 138004"/>
                <a:gd name="connsiteX30" fmla="*/ 166392 w 198249"/>
                <a:gd name="connsiteY30" fmla="*/ 67520 h 138004"/>
                <a:gd name="connsiteX31" fmla="*/ 168416 w 198249"/>
                <a:gd name="connsiteY31" fmla="*/ 76500 h 138004"/>
                <a:gd name="connsiteX32" fmla="*/ 168416 w 198249"/>
                <a:gd name="connsiteY32" fmla="*/ 82519 h 138004"/>
                <a:gd name="connsiteX33" fmla="*/ 166392 w 198249"/>
                <a:gd name="connsiteY33" fmla="*/ 85480 h 138004"/>
                <a:gd name="connsiteX34" fmla="*/ 164468 w 198249"/>
                <a:gd name="connsiteY34" fmla="*/ 91499 h 138004"/>
                <a:gd name="connsiteX35" fmla="*/ 166392 w 198249"/>
                <a:gd name="connsiteY35" fmla="*/ 96039 h 138004"/>
                <a:gd name="connsiteX36" fmla="*/ 166392 w 198249"/>
                <a:gd name="connsiteY36" fmla="*/ 100479 h 138004"/>
                <a:gd name="connsiteX37" fmla="*/ 164468 w 198249"/>
                <a:gd name="connsiteY37" fmla="*/ 101960 h 138004"/>
                <a:gd name="connsiteX38" fmla="*/ 164468 w 198249"/>
                <a:gd name="connsiteY38" fmla="*/ 112469 h 138004"/>
                <a:gd name="connsiteX39" fmla="*/ 162495 w 198249"/>
                <a:gd name="connsiteY39" fmla="*/ 115479 h 138004"/>
                <a:gd name="connsiteX40" fmla="*/ 160571 w 198249"/>
                <a:gd name="connsiteY40" fmla="*/ 112469 h 138004"/>
                <a:gd name="connsiteX41" fmla="*/ 162495 w 198249"/>
                <a:gd name="connsiteY41" fmla="*/ 106450 h 138004"/>
                <a:gd name="connsiteX42" fmla="*/ 154699 w 198249"/>
                <a:gd name="connsiteY42" fmla="*/ 101960 h 138004"/>
                <a:gd name="connsiteX43" fmla="*/ 152725 w 198249"/>
                <a:gd name="connsiteY43" fmla="*/ 104969 h 138004"/>
                <a:gd name="connsiteX44" fmla="*/ 150801 w 198249"/>
                <a:gd name="connsiteY44" fmla="*/ 109459 h 138004"/>
                <a:gd name="connsiteX45" fmla="*/ 152725 w 198249"/>
                <a:gd name="connsiteY45" fmla="*/ 116959 h 138004"/>
                <a:gd name="connsiteX46" fmla="*/ 152725 w 198249"/>
                <a:gd name="connsiteY46" fmla="*/ 122979 h 138004"/>
                <a:gd name="connsiteX47" fmla="*/ 154699 w 198249"/>
                <a:gd name="connsiteY47" fmla="*/ 124459 h 138004"/>
                <a:gd name="connsiteX48" fmla="*/ 154699 w 198249"/>
                <a:gd name="connsiteY48" fmla="*/ 136498 h 138004"/>
                <a:gd name="connsiteX49" fmla="*/ 150801 w 198249"/>
                <a:gd name="connsiteY49" fmla="*/ 137978 h 138004"/>
                <a:gd name="connsiteX50" fmla="*/ 144880 w 198249"/>
                <a:gd name="connsiteY50" fmla="*/ 136498 h 138004"/>
                <a:gd name="connsiteX51" fmla="*/ 142956 w 198249"/>
                <a:gd name="connsiteY51" fmla="*/ 133488 h 138004"/>
                <a:gd name="connsiteX52" fmla="*/ 137035 w 198249"/>
                <a:gd name="connsiteY52" fmla="*/ 130478 h 138004"/>
                <a:gd name="connsiteX53" fmla="*/ 127167 w 198249"/>
                <a:gd name="connsiteY53" fmla="*/ 118489 h 138004"/>
                <a:gd name="connsiteX54" fmla="*/ 137035 w 198249"/>
                <a:gd name="connsiteY54" fmla="*/ 112469 h 138004"/>
                <a:gd name="connsiteX55" fmla="*/ 129190 w 198249"/>
                <a:gd name="connsiteY55" fmla="*/ 107979 h 138004"/>
                <a:gd name="connsiteX56" fmla="*/ 127266 w 198249"/>
                <a:gd name="connsiteY56" fmla="*/ 104969 h 138004"/>
                <a:gd name="connsiteX57" fmla="*/ 131163 w 198249"/>
                <a:gd name="connsiteY57" fmla="*/ 101960 h 138004"/>
                <a:gd name="connsiteX58" fmla="*/ 127266 w 198249"/>
                <a:gd name="connsiteY58" fmla="*/ 98950 h 138004"/>
                <a:gd name="connsiteX59" fmla="*/ 125292 w 198249"/>
                <a:gd name="connsiteY59" fmla="*/ 92930 h 138004"/>
                <a:gd name="connsiteX60" fmla="*/ 119420 w 198249"/>
                <a:gd name="connsiteY60" fmla="*/ 92930 h 138004"/>
                <a:gd name="connsiteX61" fmla="*/ 119420 w 198249"/>
                <a:gd name="connsiteY61" fmla="*/ 89970 h 138004"/>
                <a:gd name="connsiteX62" fmla="*/ 115523 w 198249"/>
                <a:gd name="connsiteY62" fmla="*/ 89970 h 138004"/>
                <a:gd name="connsiteX63" fmla="*/ 109651 w 198249"/>
                <a:gd name="connsiteY63" fmla="*/ 95990 h 138004"/>
                <a:gd name="connsiteX64" fmla="*/ 103780 w 198249"/>
                <a:gd name="connsiteY64" fmla="*/ 97470 h 138004"/>
                <a:gd name="connsiteX65" fmla="*/ 99832 w 198249"/>
                <a:gd name="connsiteY65" fmla="*/ 101960 h 138004"/>
                <a:gd name="connsiteX66" fmla="*/ 95935 w 198249"/>
                <a:gd name="connsiteY66" fmla="*/ 103489 h 138004"/>
                <a:gd name="connsiteX67" fmla="*/ 90063 w 198249"/>
                <a:gd name="connsiteY67" fmla="*/ 109459 h 138004"/>
                <a:gd name="connsiteX68" fmla="*/ 84142 w 198249"/>
                <a:gd name="connsiteY68" fmla="*/ 110989 h 138004"/>
                <a:gd name="connsiteX69" fmla="*/ 82218 w 198249"/>
                <a:gd name="connsiteY69" fmla="*/ 112469 h 138004"/>
                <a:gd name="connsiteX70" fmla="*/ 80294 w 198249"/>
                <a:gd name="connsiteY70" fmla="*/ 116959 h 138004"/>
                <a:gd name="connsiteX71" fmla="*/ 74373 w 198249"/>
                <a:gd name="connsiteY71" fmla="*/ 118489 h 138004"/>
                <a:gd name="connsiteX72" fmla="*/ 70475 w 198249"/>
                <a:gd name="connsiteY72" fmla="*/ 116959 h 138004"/>
                <a:gd name="connsiteX73" fmla="*/ 70475 w 198249"/>
                <a:gd name="connsiteY73" fmla="*/ 116959 h 138004"/>
                <a:gd name="connsiteX74" fmla="*/ 70475 w 198249"/>
                <a:gd name="connsiteY74" fmla="*/ 110989 h 138004"/>
                <a:gd name="connsiteX75" fmla="*/ 72449 w 198249"/>
                <a:gd name="connsiteY75" fmla="*/ 107979 h 138004"/>
                <a:gd name="connsiteX76" fmla="*/ 68551 w 198249"/>
                <a:gd name="connsiteY76" fmla="*/ 100479 h 138004"/>
                <a:gd name="connsiteX77" fmla="*/ 76346 w 198249"/>
                <a:gd name="connsiteY77" fmla="*/ 98950 h 138004"/>
                <a:gd name="connsiteX78" fmla="*/ 68551 w 198249"/>
                <a:gd name="connsiteY78" fmla="*/ 91450 h 138004"/>
                <a:gd name="connsiteX79" fmla="*/ 58683 w 198249"/>
                <a:gd name="connsiteY79" fmla="*/ 91450 h 138004"/>
                <a:gd name="connsiteX80" fmla="*/ 41068 w 198249"/>
                <a:gd name="connsiteY80" fmla="*/ 83950 h 138004"/>
                <a:gd name="connsiteX81" fmla="*/ 37121 w 198249"/>
                <a:gd name="connsiteY81" fmla="*/ 74970 h 138004"/>
                <a:gd name="connsiteX82" fmla="*/ 41068 w 198249"/>
                <a:gd name="connsiteY82" fmla="*/ 71911 h 138004"/>
                <a:gd name="connsiteX83" fmla="*/ 41068 w 198249"/>
                <a:gd name="connsiteY83" fmla="*/ 64461 h 138004"/>
                <a:gd name="connsiteX84" fmla="*/ 27352 w 198249"/>
                <a:gd name="connsiteY84" fmla="*/ 54001 h 138004"/>
                <a:gd name="connsiteX85" fmla="*/ 27352 w 198249"/>
                <a:gd name="connsiteY85" fmla="*/ 47981 h 138004"/>
                <a:gd name="connsiteX86" fmla="*/ 29276 w 198249"/>
                <a:gd name="connsiteY86" fmla="*/ 40482 h 138004"/>
                <a:gd name="connsiteX87" fmla="*/ 21430 w 198249"/>
                <a:gd name="connsiteY87" fmla="*/ 34462 h 138004"/>
                <a:gd name="connsiteX88" fmla="*/ 7764 w 198249"/>
                <a:gd name="connsiteY88" fmla="*/ 32982 h 138004"/>
                <a:gd name="connsiteX89" fmla="*/ 1842 w 198249"/>
                <a:gd name="connsiteY89" fmla="*/ 28492 h 138004"/>
                <a:gd name="connsiteX90" fmla="*/ 62679 w 198249"/>
                <a:gd name="connsiteY90" fmla="*/ 118538 h 138004"/>
                <a:gd name="connsiteX91" fmla="*/ 45065 w 198249"/>
                <a:gd name="connsiteY91" fmla="*/ 98802 h 138004"/>
                <a:gd name="connsiteX92" fmla="*/ 37220 w 198249"/>
                <a:gd name="connsiteY92" fmla="*/ 97322 h 138004"/>
                <a:gd name="connsiteX93" fmla="*/ 31348 w 198249"/>
                <a:gd name="connsiteY93" fmla="*/ 86812 h 138004"/>
                <a:gd name="connsiteX94" fmla="*/ 25477 w 198249"/>
                <a:gd name="connsiteY94" fmla="*/ 86812 h 138004"/>
                <a:gd name="connsiteX95" fmla="*/ 21529 w 198249"/>
                <a:gd name="connsiteY95" fmla="*/ 88342 h 138004"/>
                <a:gd name="connsiteX96" fmla="*/ 11661 w 198249"/>
                <a:gd name="connsiteY96" fmla="*/ 82322 h 138004"/>
                <a:gd name="connsiteX97" fmla="*/ 5790 w 198249"/>
                <a:gd name="connsiteY97" fmla="*/ 83802 h 138004"/>
                <a:gd name="connsiteX98" fmla="*/ -82 w 198249"/>
                <a:gd name="connsiteY98" fmla="*/ 85282 h 138004"/>
                <a:gd name="connsiteX99" fmla="*/ 1842 w 198249"/>
                <a:gd name="connsiteY99" fmla="*/ 86812 h 138004"/>
                <a:gd name="connsiteX100" fmla="*/ 1842 w 198249"/>
                <a:gd name="connsiteY100" fmla="*/ 86812 h 138004"/>
                <a:gd name="connsiteX101" fmla="*/ 7764 w 198249"/>
                <a:gd name="connsiteY101" fmla="*/ 91302 h 138004"/>
                <a:gd name="connsiteX102" fmla="*/ 11661 w 198249"/>
                <a:gd name="connsiteY102" fmla="*/ 91302 h 138004"/>
                <a:gd name="connsiteX103" fmla="*/ 13635 w 198249"/>
                <a:gd name="connsiteY103" fmla="*/ 97322 h 138004"/>
                <a:gd name="connsiteX104" fmla="*/ 13635 w 198249"/>
                <a:gd name="connsiteY104" fmla="*/ 101812 h 138004"/>
                <a:gd name="connsiteX105" fmla="*/ 29276 w 198249"/>
                <a:gd name="connsiteY105" fmla="*/ 109311 h 138004"/>
                <a:gd name="connsiteX106" fmla="*/ 31249 w 198249"/>
                <a:gd name="connsiteY106" fmla="*/ 113851 h 138004"/>
                <a:gd name="connsiteX107" fmla="*/ 41117 w 198249"/>
                <a:gd name="connsiteY107" fmla="*/ 118341 h 138004"/>
                <a:gd name="connsiteX108" fmla="*/ 48913 w 198249"/>
                <a:gd name="connsiteY108" fmla="*/ 118341 h 138004"/>
                <a:gd name="connsiteX109" fmla="*/ 60706 w 198249"/>
                <a:gd name="connsiteY109" fmla="*/ 124311 h 1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198249" h="138004">
                  <a:moveTo>
                    <a:pt x="1941" y="28492"/>
                  </a:moveTo>
                  <a:lnTo>
                    <a:pt x="1941" y="23952"/>
                  </a:lnTo>
                  <a:lnTo>
                    <a:pt x="15707" y="19463"/>
                  </a:lnTo>
                  <a:lnTo>
                    <a:pt x="35444" y="28492"/>
                  </a:lnTo>
                  <a:lnTo>
                    <a:pt x="49110" y="28492"/>
                  </a:lnTo>
                  <a:lnTo>
                    <a:pt x="62827" y="34462"/>
                  </a:lnTo>
                  <a:lnTo>
                    <a:pt x="64801" y="23952"/>
                  </a:lnTo>
                  <a:lnTo>
                    <a:pt x="60903" y="17982"/>
                  </a:lnTo>
                  <a:lnTo>
                    <a:pt x="49110" y="11963"/>
                  </a:lnTo>
                  <a:lnTo>
                    <a:pt x="53058" y="1453"/>
                  </a:lnTo>
                  <a:lnTo>
                    <a:pt x="64801" y="2933"/>
                  </a:lnTo>
                  <a:lnTo>
                    <a:pt x="80491" y="13443"/>
                  </a:lnTo>
                  <a:lnTo>
                    <a:pt x="84339" y="22472"/>
                  </a:lnTo>
                  <a:lnTo>
                    <a:pt x="102004" y="22472"/>
                  </a:lnTo>
                  <a:lnTo>
                    <a:pt x="105951" y="17982"/>
                  </a:lnTo>
                  <a:lnTo>
                    <a:pt x="115819" y="11963"/>
                  </a:lnTo>
                  <a:lnTo>
                    <a:pt x="129486" y="-27"/>
                  </a:lnTo>
                  <a:lnTo>
                    <a:pt x="135407" y="4463"/>
                  </a:lnTo>
                  <a:lnTo>
                    <a:pt x="147150" y="17982"/>
                  </a:lnTo>
                  <a:lnTo>
                    <a:pt x="147150" y="22472"/>
                  </a:lnTo>
                  <a:lnTo>
                    <a:pt x="151097" y="31502"/>
                  </a:lnTo>
                  <a:lnTo>
                    <a:pt x="164764" y="37472"/>
                  </a:lnTo>
                  <a:lnTo>
                    <a:pt x="166689" y="41962"/>
                  </a:lnTo>
                  <a:lnTo>
                    <a:pt x="172609" y="47981"/>
                  </a:lnTo>
                  <a:lnTo>
                    <a:pt x="182477" y="47981"/>
                  </a:lnTo>
                  <a:lnTo>
                    <a:pt x="194220" y="50991"/>
                  </a:lnTo>
                  <a:lnTo>
                    <a:pt x="198168" y="56961"/>
                  </a:lnTo>
                  <a:lnTo>
                    <a:pt x="190027" y="56961"/>
                  </a:lnTo>
                  <a:lnTo>
                    <a:pt x="186129" y="60020"/>
                  </a:lnTo>
                  <a:lnTo>
                    <a:pt x="176261" y="60020"/>
                  </a:lnTo>
                  <a:lnTo>
                    <a:pt x="166392" y="67520"/>
                  </a:lnTo>
                  <a:lnTo>
                    <a:pt x="168416" y="76500"/>
                  </a:lnTo>
                  <a:lnTo>
                    <a:pt x="168416" y="82519"/>
                  </a:lnTo>
                  <a:lnTo>
                    <a:pt x="166392" y="85480"/>
                  </a:lnTo>
                  <a:lnTo>
                    <a:pt x="164468" y="91499"/>
                  </a:lnTo>
                  <a:lnTo>
                    <a:pt x="166392" y="96039"/>
                  </a:lnTo>
                  <a:lnTo>
                    <a:pt x="166392" y="100479"/>
                  </a:lnTo>
                  <a:lnTo>
                    <a:pt x="164468" y="101960"/>
                  </a:lnTo>
                  <a:lnTo>
                    <a:pt x="164468" y="112469"/>
                  </a:lnTo>
                  <a:lnTo>
                    <a:pt x="162495" y="115479"/>
                  </a:lnTo>
                  <a:lnTo>
                    <a:pt x="160571" y="112469"/>
                  </a:lnTo>
                  <a:lnTo>
                    <a:pt x="162495" y="106450"/>
                  </a:lnTo>
                  <a:lnTo>
                    <a:pt x="154699" y="101960"/>
                  </a:lnTo>
                  <a:lnTo>
                    <a:pt x="152725" y="104969"/>
                  </a:lnTo>
                  <a:lnTo>
                    <a:pt x="150801" y="109459"/>
                  </a:lnTo>
                  <a:lnTo>
                    <a:pt x="152725" y="116959"/>
                  </a:lnTo>
                  <a:lnTo>
                    <a:pt x="152725" y="122979"/>
                  </a:lnTo>
                  <a:lnTo>
                    <a:pt x="154699" y="124459"/>
                  </a:lnTo>
                  <a:lnTo>
                    <a:pt x="154699" y="136498"/>
                  </a:lnTo>
                  <a:lnTo>
                    <a:pt x="150801" y="137978"/>
                  </a:lnTo>
                  <a:lnTo>
                    <a:pt x="144880" y="136498"/>
                  </a:lnTo>
                  <a:lnTo>
                    <a:pt x="142956" y="133488"/>
                  </a:lnTo>
                  <a:lnTo>
                    <a:pt x="137035" y="130478"/>
                  </a:lnTo>
                  <a:lnTo>
                    <a:pt x="127167" y="118489"/>
                  </a:lnTo>
                  <a:lnTo>
                    <a:pt x="137035" y="112469"/>
                  </a:lnTo>
                  <a:lnTo>
                    <a:pt x="129190" y="107979"/>
                  </a:lnTo>
                  <a:lnTo>
                    <a:pt x="127266" y="104969"/>
                  </a:lnTo>
                  <a:lnTo>
                    <a:pt x="131163" y="101960"/>
                  </a:lnTo>
                  <a:lnTo>
                    <a:pt x="127266" y="98950"/>
                  </a:lnTo>
                  <a:lnTo>
                    <a:pt x="125292" y="92930"/>
                  </a:lnTo>
                  <a:lnTo>
                    <a:pt x="119420" y="92930"/>
                  </a:lnTo>
                  <a:lnTo>
                    <a:pt x="119420" y="89970"/>
                  </a:lnTo>
                  <a:lnTo>
                    <a:pt x="115523" y="89970"/>
                  </a:lnTo>
                  <a:lnTo>
                    <a:pt x="109651" y="95990"/>
                  </a:lnTo>
                  <a:lnTo>
                    <a:pt x="103780" y="97470"/>
                  </a:lnTo>
                  <a:lnTo>
                    <a:pt x="99832" y="101960"/>
                  </a:lnTo>
                  <a:lnTo>
                    <a:pt x="95935" y="103489"/>
                  </a:lnTo>
                  <a:lnTo>
                    <a:pt x="90063" y="109459"/>
                  </a:lnTo>
                  <a:lnTo>
                    <a:pt x="84142" y="110989"/>
                  </a:lnTo>
                  <a:lnTo>
                    <a:pt x="82218" y="112469"/>
                  </a:lnTo>
                  <a:lnTo>
                    <a:pt x="80294" y="116959"/>
                  </a:lnTo>
                  <a:lnTo>
                    <a:pt x="74373" y="118489"/>
                  </a:lnTo>
                  <a:lnTo>
                    <a:pt x="70475" y="116959"/>
                  </a:lnTo>
                  <a:lnTo>
                    <a:pt x="70475" y="116959"/>
                  </a:lnTo>
                  <a:lnTo>
                    <a:pt x="70475" y="110989"/>
                  </a:lnTo>
                  <a:lnTo>
                    <a:pt x="72449" y="107979"/>
                  </a:lnTo>
                  <a:lnTo>
                    <a:pt x="68551" y="100479"/>
                  </a:lnTo>
                  <a:lnTo>
                    <a:pt x="76346" y="98950"/>
                  </a:lnTo>
                  <a:lnTo>
                    <a:pt x="68551" y="91450"/>
                  </a:lnTo>
                  <a:lnTo>
                    <a:pt x="58683" y="91450"/>
                  </a:lnTo>
                  <a:lnTo>
                    <a:pt x="41068" y="83950"/>
                  </a:lnTo>
                  <a:lnTo>
                    <a:pt x="37121" y="74970"/>
                  </a:lnTo>
                  <a:lnTo>
                    <a:pt x="41068" y="71911"/>
                  </a:lnTo>
                  <a:lnTo>
                    <a:pt x="41068" y="64461"/>
                  </a:lnTo>
                  <a:lnTo>
                    <a:pt x="27352" y="54001"/>
                  </a:lnTo>
                  <a:lnTo>
                    <a:pt x="27352" y="47981"/>
                  </a:lnTo>
                  <a:lnTo>
                    <a:pt x="29276" y="40482"/>
                  </a:lnTo>
                  <a:lnTo>
                    <a:pt x="21430" y="34462"/>
                  </a:lnTo>
                  <a:lnTo>
                    <a:pt x="7764" y="32982"/>
                  </a:lnTo>
                  <a:lnTo>
                    <a:pt x="1842" y="28492"/>
                  </a:lnTo>
                  <a:close/>
                  <a:moveTo>
                    <a:pt x="62679" y="118538"/>
                  </a:moveTo>
                  <a:lnTo>
                    <a:pt x="45065" y="98802"/>
                  </a:lnTo>
                  <a:lnTo>
                    <a:pt x="37220" y="97322"/>
                  </a:lnTo>
                  <a:lnTo>
                    <a:pt x="31348" y="86812"/>
                  </a:lnTo>
                  <a:lnTo>
                    <a:pt x="25477" y="86812"/>
                  </a:lnTo>
                  <a:lnTo>
                    <a:pt x="21529" y="88342"/>
                  </a:lnTo>
                  <a:lnTo>
                    <a:pt x="11661" y="82322"/>
                  </a:lnTo>
                  <a:lnTo>
                    <a:pt x="5790" y="83802"/>
                  </a:lnTo>
                  <a:lnTo>
                    <a:pt x="-82" y="85282"/>
                  </a:lnTo>
                  <a:lnTo>
                    <a:pt x="1842" y="86812"/>
                  </a:lnTo>
                  <a:lnTo>
                    <a:pt x="1842" y="86812"/>
                  </a:lnTo>
                  <a:lnTo>
                    <a:pt x="7764" y="91302"/>
                  </a:lnTo>
                  <a:lnTo>
                    <a:pt x="11661" y="91302"/>
                  </a:lnTo>
                  <a:lnTo>
                    <a:pt x="13635" y="97322"/>
                  </a:lnTo>
                  <a:lnTo>
                    <a:pt x="13635" y="101812"/>
                  </a:lnTo>
                  <a:lnTo>
                    <a:pt x="29276" y="109311"/>
                  </a:lnTo>
                  <a:lnTo>
                    <a:pt x="31249" y="113851"/>
                  </a:lnTo>
                  <a:lnTo>
                    <a:pt x="41117" y="118341"/>
                  </a:lnTo>
                  <a:lnTo>
                    <a:pt x="48913" y="118341"/>
                  </a:lnTo>
                  <a:lnTo>
                    <a:pt x="60706" y="12431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Graphic 2">
              <a:extLst>
                <a:ext uri="{FF2B5EF4-FFF2-40B4-BE49-F238E27FC236}">
                  <a16:creationId xmlns:a16="http://schemas.microsoft.com/office/drawing/2014/main" id="{B0D3E856-C71E-45A5-9026-D342A3C0C708}"/>
                </a:ext>
              </a:extLst>
            </p:cNvPr>
            <p:cNvSpPr/>
            <p:nvPr/>
          </p:nvSpPr>
          <p:spPr>
            <a:xfrm>
              <a:off x="6790388" y="3424269"/>
              <a:ext cx="671857" cy="464429"/>
            </a:xfrm>
            <a:custGeom>
              <a:avLst/>
              <a:gdLst>
                <a:gd name="connsiteX0" fmla="*/ 19605 w 739513"/>
                <a:gd name="connsiteY0" fmla="*/ -27 h 511215"/>
                <a:gd name="connsiteX1" fmla="*/ 19605 w 739513"/>
                <a:gd name="connsiteY1" fmla="*/ -27 h 511215"/>
                <a:gd name="connsiteX2" fmla="*/ 25477 w 739513"/>
                <a:gd name="connsiteY2" fmla="*/ 4512 h 511215"/>
                <a:gd name="connsiteX3" fmla="*/ 29424 w 739513"/>
                <a:gd name="connsiteY3" fmla="*/ 4512 h 511215"/>
                <a:gd name="connsiteX4" fmla="*/ 31348 w 739513"/>
                <a:gd name="connsiteY4" fmla="*/ 10630 h 511215"/>
                <a:gd name="connsiteX5" fmla="*/ 31348 w 739513"/>
                <a:gd name="connsiteY5" fmla="*/ 15219 h 511215"/>
                <a:gd name="connsiteX6" fmla="*/ 47038 w 739513"/>
                <a:gd name="connsiteY6" fmla="*/ 22817 h 511215"/>
                <a:gd name="connsiteX7" fmla="*/ 49012 w 739513"/>
                <a:gd name="connsiteY7" fmla="*/ 27357 h 511215"/>
                <a:gd name="connsiteX8" fmla="*/ 58880 w 739513"/>
                <a:gd name="connsiteY8" fmla="*/ 31896 h 511215"/>
                <a:gd name="connsiteX9" fmla="*/ 66775 w 739513"/>
                <a:gd name="connsiteY9" fmla="*/ 31896 h 511215"/>
                <a:gd name="connsiteX10" fmla="*/ 78567 w 739513"/>
                <a:gd name="connsiteY10" fmla="*/ 38014 h 511215"/>
                <a:gd name="connsiteX11" fmla="*/ 80491 w 739513"/>
                <a:gd name="connsiteY11" fmla="*/ 31896 h 511215"/>
                <a:gd name="connsiteX12" fmla="*/ 80491 w 739513"/>
                <a:gd name="connsiteY12" fmla="*/ 31896 h 511215"/>
                <a:gd name="connsiteX13" fmla="*/ 88336 w 739513"/>
                <a:gd name="connsiteY13" fmla="*/ 30367 h 511215"/>
                <a:gd name="connsiteX14" fmla="*/ 92234 w 739513"/>
                <a:gd name="connsiteY14" fmla="*/ 31896 h 511215"/>
                <a:gd name="connsiteX15" fmla="*/ 98155 w 739513"/>
                <a:gd name="connsiteY15" fmla="*/ 30367 h 511215"/>
                <a:gd name="connsiteX16" fmla="*/ 100129 w 739513"/>
                <a:gd name="connsiteY16" fmla="*/ 25827 h 511215"/>
                <a:gd name="connsiteX17" fmla="*/ 102053 w 739513"/>
                <a:gd name="connsiteY17" fmla="*/ 24298 h 511215"/>
                <a:gd name="connsiteX18" fmla="*/ 107974 w 739513"/>
                <a:gd name="connsiteY18" fmla="*/ 22817 h 511215"/>
                <a:gd name="connsiteX19" fmla="*/ 113796 w 739513"/>
                <a:gd name="connsiteY19" fmla="*/ 16699 h 511215"/>
                <a:gd name="connsiteX20" fmla="*/ 117743 w 739513"/>
                <a:gd name="connsiteY20" fmla="*/ 15219 h 511215"/>
                <a:gd name="connsiteX21" fmla="*/ 121641 w 739513"/>
                <a:gd name="connsiteY21" fmla="*/ 10630 h 511215"/>
                <a:gd name="connsiteX22" fmla="*/ 127562 w 739513"/>
                <a:gd name="connsiteY22" fmla="*/ 9101 h 511215"/>
                <a:gd name="connsiteX23" fmla="*/ 133384 w 739513"/>
                <a:gd name="connsiteY23" fmla="*/ 3032 h 511215"/>
                <a:gd name="connsiteX24" fmla="*/ 137332 w 739513"/>
                <a:gd name="connsiteY24" fmla="*/ 3032 h 511215"/>
                <a:gd name="connsiteX25" fmla="*/ 137332 w 739513"/>
                <a:gd name="connsiteY25" fmla="*/ 5992 h 511215"/>
                <a:gd name="connsiteX26" fmla="*/ 143203 w 739513"/>
                <a:gd name="connsiteY26" fmla="*/ 5992 h 511215"/>
                <a:gd name="connsiteX27" fmla="*/ 145176 w 739513"/>
                <a:gd name="connsiteY27" fmla="*/ 12111 h 511215"/>
                <a:gd name="connsiteX28" fmla="*/ 149123 w 739513"/>
                <a:gd name="connsiteY28" fmla="*/ 15170 h 511215"/>
                <a:gd name="connsiteX29" fmla="*/ 145176 w 739513"/>
                <a:gd name="connsiteY29" fmla="*/ 18179 h 511215"/>
                <a:gd name="connsiteX30" fmla="*/ 147150 w 739513"/>
                <a:gd name="connsiteY30" fmla="*/ 21239 h 511215"/>
                <a:gd name="connsiteX31" fmla="*/ 154995 w 739513"/>
                <a:gd name="connsiteY31" fmla="*/ 25778 h 511215"/>
                <a:gd name="connsiteX32" fmla="*/ 145127 w 739513"/>
                <a:gd name="connsiteY32" fmla="*/ 31847 h 511215"/>
                <a:gd name="connsiteX33" fmla="*/ 154995 w 739513"/>
                <a:gd name="connsiteY33" fmla="*/ 44034 h 511215"/>
                <a:gd name="connsiteX34" fmla="*/ 160866 w 739513"/>
                <a:gd name="connsiteY34" fmla="*/ 47093 h 511215"/>
                <a:gd name="connsiteX35" fmla="*/ 162840 w 739513"/>
                <a:gd name="connsiteY35" fmla="*/ 50152 h 511215"/>
                <a:gd name="connsiteX36" fmla="*/ 168712 w 739513"/>
                <a:gd name="connsiteY36" fmla="*/ 51632 h 511215"/>
                <a:gd name="connsiteX37" fmla="*/ 172609 w 739513"/>
                <a:gd name="connsiteY37" fmla="*/ 50152 h 511215"/>
                <a:gd name="connsiteX38" fmla="*/ 172609 w 739513"/>
                <a:gd name="connsiteY38" fmla="*/ 51632 h 511215"/>
                <a:gd name="connsiteX39" fmla="*/ 178481 w 739513"/>
                <a:gd name="connsiteY39" fmla="*/ 57750 h 511215"/>
                <a:gd name="connsiteX40" fmla="*/ 180455 w 739513"/>
                <a:gd name="connsiteY40" fmla="*/ 65349 h 511215"/>
                <a:gd name="connsiteX41" fmla="*/ 178481 w 739513"/>
                <a:gd name="connsiteY41" fmla="*/ 72947 h 511215"/>
                <a:gd name="connsiteX42" fmla="*/ 180455 w 739513"/>
                <a:gd name="connsiteY42" fmla="*/ 76006 h 511215"/>
                <a:gd name="connsiteX43" fmla="*/ 186326 w 739513"/>
                <a:gd name="connsiteY43" fmla="*/ 76006 h 511215"/>
                <a:gd name="connsiteX44" fmla="*/ 192247 w 739513"/>
                <a:gd name="connsiteY44" fmla="*/ 82075 h 511215"/>
                <a:gd name="connsiteX45" fmla="*/ 199994 w 739513"/>
                <a:gd name="connsiteY45" fmla="*/ 82075 h 511215"/>
                <a:gd name="connsiteX46" fmla="*/ 205914 w 739513"/>
                <a:gd name="connsiteY46" fmla="*/ 83654 h 511215"/>
                <a:gd name="connsiteX47" fmla="*/ 215782 w 739513"/>
                <a:gd name="connsiteY47" fmla="*/ 80546 h 511215"/>
                <a:gd name="connsiteX48" fmla="*/ 223628 w 739513"/>
                <a:gd name="connsiteY48" fmla="*/ 85134 h 511215"/>
                <a:gd name="connsiteX49" fmla="*/ 229499 w 739513"/>
                <a:gd name="connsiteY49" fmla="*/ 88193 h 511215"/>
                <a:gd name="connsiteX50" fmla="*/ 231473 w 739513"/>
                <a:gd name="connsiteY50" fmla="*/ 94262 h 511215"/>
                <a:gd name="connsiteX51" fmla="*/ 235371 w 739513"/>
                <a:gd name="connsiteY51" fmla="*/ 98802 h 511215"/>
                <a:gd name="connsiteX52" fmla="*/ 255107 w 739513"/>
                <a:gd name="connsiteY52" fmla="*/ 104920 h 511215"/>
                <a:gd name="connsiteX53" fmla="*/ 262952 w 739513"/>
                <a:gd name="connsiteY53" fmla="*/ 106449 h 511215"/>
                <a:gd name="connsiteX54" fmla="*/ 284464 w 739513"/>
                <a:gd name="connsiteY54" fmla="*/ 110989 h 511215"/>
                <a:gd name="connsiteX55" fmla="*/ 296207 w 739513"/>
                <a:gd name="connsiteY55" fmla="*/ 110989 h 511215"/>
                <a:gd name="connsiteX56" fmla="*/ 319792 w 739513"/>
                <a:gd name="connsiteY56" fmla="*/ 104920 h 511215"/>
                <a:gd name="connsiteX57" fmla="*/ 337406 w 739513"/>
                <a:gd name="connsiteY57" fmla="*/ 103390 h 511215"/>
                <a:gd name="connsiteX58" fmla="*/ 358968 w 739513"/>
                <a:gd name="connsiteY58" fmla="*/ 104920 h 511215"/>
                <a:gd name="connsiteX59" fmla="*/ 364840 w 739513"/>
                <a:gd name="connsiteY59" fmla="*/ 106449 h 511215"/>
                <a:gd name="connsiteX60" fmla="*/ 368787 w 739513"/>
                <a:gd name="connsiteY60" fmla="*/ 98802 h 511215"/>
                <a:gd name="connsiteX61" fmla="*/ 362866 w 739513"/>
                <a:gd name="connsiteY61" fmla="*/ 92733 h 511215"/>
                <a:gd name="connsiteX62" fmla="*/ 358968 w 739513"/>
                <a:gd name="connsiteY62" fmla="*/ 83654 h 511215"/>
                <a:gd name="connsiteX63" fmla="*/ 366814 w 739513"/>
                <a:gd name="connsiteY63" fmla="*/ 79016 h 511215"/>
                <a:gd name="connsiteX64" fmla="*/ 384477 w 739513"/>
                <a:gd name="connsiteY64" fmla="*/ 79016 h 511215"/>
                <a:gd name="connsiteX65" fmla="*/ 388375 w 739513"/>
                <a:gd name="connsiteY65" fmla="*/ 71418 h 511215"/>
                <a:gd name="connsiteX66" fmla="*/ 392273 w 739513"/>
                <a:gd name="connsiteY66" fmla="*/ 65349 h 511215"/>
                <a:gd name="connsiteX67" fmla="*/ 398194 w 739513"/>
                <a:gd name="connsiteY67" fmla="*/ 65349 h 511215"/>
                <a:gd name="connsiteX68" fmla="*/ 411861 w 739513"/>
                <a:gd name="connsiteY68" fmla="*/ 53162 h 511215"/>
                <a:gd name="connsiteX69" fmla="*/ 429525 w 739513"/>
                <a:gd name="connsiteY69" fmla="*/ 51632 h 511215"/>
                <a:gd name="connsiteX70" fmla="*/ 441268 w 739513"/>
                <a:gd name="connsiteY70" fmla="*/ 53162 h 511215"/>
                <a:gd name="connsiteX71" fmla="*/ 443291 w 739513"/>
                <a:gd name="connsiteY71" fmla="*/ 47093 h 511215"/>
                <a:gd name="connsiteX72" fmla="*/ 453159 w 739513"/>
                <a:gd name="connsiteY72" fmla="*/ 45564 h 511215"/>
                <a:gd name="connsiteX73" fmla="*/ 459030 w 739513"/>
                <a:gd name="connsiteY73" fmla="*/ 47093 h 511215"/>
                <a:gd name="connsiteX74" fmla="*/ 466431 w 739513"/>
                <a:gd name="connsiteY74" fmla="*/ 47093 h 511215"/>
                <a:gd name="connsiteX75" fmla="*/ 478174 w 739513"/>
                <a:gd name="connsiteY75" fmla="*/ 56221 h 511215"/>
                <a:gd name="connsiteX76" fmla="*/ 491891 w 739513"/>
                <a:gd name="connsiteY76" fmla="*/ 57750 h 511215"/>
                <a:gd name="connsiteX77" fmla="*/ 511627 w 739513"/>
                <a:gd name="connsiteY77" fmla="*/ 69938 h 511215"/>
                <a:gd name="connsiteX78" fmla="*/ 519472 w 739513"/>
                <a:gd name="connsiteY78" fmla="*/ 69938 h 511215"/>
                <a:gd name="connsiteX79" fmla="*/ 523370 w 739513"/>
                <a:gd name="connsiteY79" fmla="*/ 66879 h 511215"/>
                <a:gd name="connsiteX80" fmla="*/ 537087 w 739513"/>
                <a:gd name="connsiteY80" fmla="*/ 71418 h 511215"/>
                <a:gd name="connsiteX81" fmla="*/ 544932 w 739513"/>
                <a:gd name="connsiteY81" fmla="*/ 72947 h 511215"/>
                <a:gd name="connsiteX82" fmla="*/ 546906 w 739513"/>
                <a:gd name="connsiteY82" fmla="*/ 82075 h 511215"/>
                <a:gd name="connsiteX83" fmla="*/ 552777 w 739513"/>
                <a:gd name="connsiteY83" fmla="*/ 83654 h 511215"/>
                <a:gd name="connsiteX84" fmla="*/ 558648 w 739513"/>
                <a:gd name="connsiteY84" fmla="*/ 82075 h 511215"/>
                <a:gd name="connsiteX85" fmla="*/ 572365 w 739513"/>
                <a:gd name="connsiteY85" fmla="*/ 85134 h 511215"/>
                <a:gd name="connsiteX86" fmla="*/ 588055 w 739513"/>
                <a:gd name="connsiteY86" fmla="*/ 103390 h 511215"/>
                <a:gd name="connsiteX87" fmla="*/ 601772 w 739513"/>
                <a:gd name="connsiteY87" fmla="*/ 103390 h 511215"/>
                <a:gd name="connsiteX88" fmla="*/ 611640 w 739513"/>
                <a:gd name="connsiteY88" fmla="*/ 106449 h 511215"/>
                <a:gd name="connsiteX89" fmla="*/ 615587 w 739513"/>
                <a:gd name="connsiteY89" fmla="*/ 117107 h 511215"/>
                <a:gd name="connsiteX90" fmla="*/ 613613 w 739513"/>
                <a:gd name="connsiteY90" fmla="*/ 121646 h 511215"/>
                <a:gd name="connsiteX91" fmla="*/ 617561 w 739513"/>
                <a:gd name="connsiteY91" fmla="*/ 127764 h 511215"/>
                <a:gd name="connsiteX92" fmla="*/ 617561 w 739513"/>
                <a:gd name="connsiteY92" fmla="*/ 132304 h 511215"/>
                <a:gd name="connsiteX93" fmla="*/ 621459 w 739513"/>
                <a:gd name="connsiteY93" fmla="*/ 138373 h 511215"/>
                <a:gd name="connsiteX94" fmla="*/ 621459 w 739513"/>
                <a:gd name="connsiteY94" fmla="*/ 152089 h 511215"/>
                <a:gd name="connsiteX95" fmla="*/ 617561 w 739513"/>
                <a:gd name="connsiteY95" fmla="*/ 156678 h 511215"/>
                <a:gd name="connsiteX96" fmla="*/ 623432 w 739513"/>
                <a:gd name="connsiteY96" fmla="*/ 161217 h 511215"/>
                <a:gd name="connsiteX97" fmla="*/ 621459 w 739513"/>
                <a:gd name="connsiteY97" fmla="*/ 162747 h 511215"/>
                <a:gd name="connsiteX98" fmla="*/ 623432 w 739513"/>
                <a:gd name="connsiteY98" fmla="*/ 167286 h 511215"/>
                <a:gd name="connsiteX99" fmla="*/ 611640 w 739513"/>
                <a:gd name="connsiteY99" fmla="*/ 173404 h 511215"/>
                <a:gd name="connsiteX100" fmla="*/ 603795 w 739513"/>
                <a:gd name="connsiteY100" fmla="*/ 174934 h 511215"/>
                <a:gd name="connsiteX101" fmla="*/ 607742 w 739513"/>
                <a:gd name="connsiteY101" fmla="*/ 177993 h 511215"/>
                <a:gd name="connsiteX102" fmla="*/ 613613 w 739513"/>
                <a:gd name="connsiteY102" fmla="*/ 182532 h 511215"/>
                <a:gd name="connsiteX103" fmla="*/ 607742 w 739513"/>
                <a:gd name="connsiteY103" fmla="*/ 190131 h 511215"/>
                <a:gd name="connsiteX104" fmla="*/ 607742 w 739513"/>
                <a:gd name="connsiteY104" fmla="*/ 191660 h 511215"/>
                <a:gd name="connsiteX105" fmla="*/ 611640 w 739513"/>
                <a:gd name="connsiteY105" fmla="*/ 203847 h 511215"/>
                <a:gd name="connsiteX106" fmla="*/ 611640 w 739513"/>
                <a:gd name="connsiteY106" fmla="*/ 209916 h 511215"/>
                <a:gd name="connsiteX107" fmla="*/ 623432 w 739513"/>
                <a:gd name="connsiteY107" fmla="*/ 211446 h 511215"/>
                <a:gd name="connsiteX108" fmla="*/ 627330 w 739513"/>
                <a:gd name="connsiteY108" fmla="*/ 211446 h 511215"/>
                <a:gd name="connsiteX109" fmla="*/ 615587 w 739513"/>
                <a:gd name="connsiteY109" fmla="*/ 223633 h 511215"/>
                <a:gd name="connsiteX110" fmla="*/ 613613 w 739513"/>
                <a:gd name="connsiteY110" fmla="*/ 231231 h 511215"/>
                <a:gd name="connsiteX111" fmla="*/ 623482 w 739513"/>
                <a:gd name="connsiteY111" fmla="*/ 247957 h 511215"/>
                <a:gd name="connsiteX112" fmla="*/ 629353 w 739513"/>
                <a:gd name="connsiteY112" fmla="*/ 261625 h 511215"/>
                <a:gd name="connsiteX113" fmla="*/ 627380 w 739513"/>
                <a:gd name="connsiteY113" fmla="*/ 266213 h 511215"/>
                <a:gd name="connsiteX114" fmla="*/ 629353 w 739513"/>
                <a:gd name="connsiteY114" fmla="*/ 270802 h 511215"/>
                <a:gd name="connsiteX115" fmla="*/ 631278 w 739513"/>
                <a:gd name="connsiteY115" fmla="*/ 282940 h 511215"/>
                <a:gd name="connsiteX116" fmla="*/ 662707 w 739513"/>
                <a:gd name="connsiteY116" fmla="*/ 284469 h 511215"/>
                <a:gd name="connsiteX117" fmla="*/ 668529 w 739513"/>
                <a:gd name="connsiteY117" fmla="*/ 293597 h 511215"/>
                <a:gd name="connsiteX118" fmla="*/ 666605 w 739513"/>
                <a:gd name="connsiteY118" fmla="*/ 304255 h 511215"/>
                <a:gd name="connsiteX119" fmla="*/ 670503 w 739513"/>
                <a:gd name="connsiteY119" fmla="*/ 314912 h 511215"/>
                <a:gd name="connsiteX120" fmla="*/ 668529 w 739513"/>
                <a:gd name="connsiteY120" fmla="*/ 317971 h 511215"/>
                <a:gd name="connsiteX121" fmla="*/ 641096 w 739513"/>
                <a:gd name="connsiteY121" fmla="*/ 349895 h 511215"/>
                <a:gd name="connsiteX122" fmla="*/ 660833 w 739513"/>
                <a:gd name="connsiteY122" fmla="*/ 371210 h 511215"/>
                <a:gd name="connsiteX123" fmla="*/ 664779 w 739513"/>
                <a:gd name="connsiteY123" fmla="*/ 380338 h 511215"/>
                <a:gd name="connsiteX124" fmla="*/ 672625 w 739513"/>
                <a:gd name="connsiteY124" fmla="*/ 387936 h 511215"/>
                <a:gd name="connsiteX125" fmla="*/ 680470 w 739513"/>
                <a:gd name="connsiteY125" fmla="*/ 392525 h 511215"/>
                <a:gd name="connsiteX126" fmla="*/ 684368 w 739513"/>
                <a:gd name="connsiteY126" fmla="*/ 395535 h 511215"/>
                <a:gd name="connsiteX127" fmla="*/ 698084 w 739513"/>
                <a:gd name="connsiteY127" fmla="*/ 395535 h 511215"/>
                <a:gd name="connsiteX128" fmla="*/ 704005 w 739513"/>
                <a:gd name="connsiteY128" fmla="*/ 398594 h 511215"/>
                <a:gd name="connsiteX129" fmla="*/ 704005 w 739513"/>
                <a:gd name="connsiteY129" fmla="*/ 401653 h 511215"/>
                <a:gd name="connsiteX130" fmla="*/ 713873 w 739513"/>
                <a:gd name="connsiteY130" fmla="*/ 401653 h 511215"/>
                <a:gd name="connsiteX131" fmla="*/ 713873 w 739513"/>
                <a:gd name="connsiteY131" fmla="*/ 413791 h 511215"/>
                <a:gd name="connsiteX132" fmla="*/ 717771 w 739513"/>
                <a:gd name="connsiteY132" fmla="*/ 419909 h 511215"/>
                <a:gd name="connsiteX133" fmla="*/ 717771 w 739513"/>
                <a:gd name="connsiteY133" fmla="*/ 427507 h 511215"/>
                <a:gd name="connsiteX134" fmla="*/ 719745 w 739513"/>
                <a:gd name="connsiteY134" fmla="*/ 435105 h 511215"/>
                <a:gd name="connsiteX135" fmla="*/ 729613 w 739513"/>
                <a:gd name="connsiteY135" fmla="*/ 433625 h 511215"/>
                <a:gd name="connsiteX136" fmla="*/ 737409 w 739513"/>
                <a:gd name="connsiteY136" fmla="*/ 439694 h 511215"/>
                <a:gd name="connsiteX137" fmla="*/ 739431 w 739513"/>
                <a:gd name="connsiteY137" fmla="*/ 450352 h 511215"/>
                <a:gd name="connsiteX138" fmla="*/ 733511 w 739513"/>
                <a:gd name="connsiteY138" fmla="*/ 454891 h 511215"/>
                <a:gd name="connsiteX139" fmla="*/ 725666 w 739513"/>
                <a:gd name="connsiteY139" fmla="*/ 451881 h 511215"/>
                <a:gd name="connsiteX140" fmla="*/ 708051 w 739513"/>
                <a:gd name="connsiteY140" fmla="*/ 456420 h 511215"/>
                <a:gd name="connsiteX141" fmla="*/ 704153 w 739513"/>
                <a:gd name="connsiteY141" fmla="*/ 460960 h 511215"/>
                <a:gd name="connsiteX142" fmla="*/ 694285 w 739513"/>
                <a:gd name="connsiteY142" fmla="*/ 464019 h 511215"/>
                <a:gd name="connsiteX143" fmla="*/ 690338 w 739513"/>
                <a:gd name="connsiteY143" fmla="*/ 470088 h 511215"/>
                <a:gd name="connsiteX144" fmla="*/ 692361 w 739513"/>
                <a:gd name="connsiteY144" fmla="*/ 474676 h 511215"/>
                <a:gd name="connsiteX145" fmla="*/ 684466 w 739513"/>
                <a:gd name="connsiteY145" fmla="*/ 480795 h 511215"/>
                <a:gd name="connsiteX146" fmla="*/ 690338 w 739513"/>
                <a:gd name="connsiteY146" fmla="*/ 489873 h 511215"/>
                <a:gd name="connsiteX147" fmla="*/ 686440 w 739513"/>
                <a:gd name="connsiteY147" fmla="*/ 500580 h 511215"/>
                <a:gd name="connsiteX148" fmla="*/ 686440 w 739513"/>
                <a:gd name="connsiteY148" fmla="*/ 505119 h 511215"/>
                <a:gd name="connsiteX149" fmla="*/ 684466 w 739513"/>
                <a:gd name="connsiteY149" fmla="*/ 505119 h 511215"/>
                <a:gd name="connsiteX150" fmla="*/ 682542 w 739513"/>
                <a:gd name="connsiteY150" fmla="*/ 506649 h 511215"/>
                <a:gd name="connsiteX151" fmla="*/ 678595 w 739513"/>
                <a:gd name="connsiteY151" fmla="*/ 511188 h 511215"/>
                <a:gd name="connsiteX152" fmla="*/ 666852 w 739513"/>
                <a:gd name="connsiteY152" fmla="*/ 506649 h 511215"/>
                <a:gd name="connsiteX153" fmla="*/ 659007 w 739513"/>
                <a:gd name="connsiteY153" fmla="*/ 503590 h 511215"/>
                <a:gd name="connsiteX154" fmla="*/ 655109 w 739513"/>
                <a:gd name="connsiteY154" fmla="*/ 499051 h 511215"/>
                <a:gd name="connsiteX155" fmla="*/ 648991 w 739513"/>
                <a:gd name="connsiteY155" fmla="*/ 499051 h 511215"/>
                <a:gd name="connsiteX156" fmla="*/ 647066 w 739513"/>
                <a:gd name="connsiteY156" fmla="*/ 503590 h 511215"/>
                <a:gd name="connsiteX157" fmla="*/ 645093 w 739513"/>
                <a:gd name="connsiteY157" fmla="*/ 503590 h 511215"/>
                <a:gd name="connsiteX158" fmla="*/ 639172 w 739513"/>
                <a:gd name="connsiteY158" fmla="*/ 500580 h 511215"/>
                <a:gd name="connsiteX159" fmla="*/ 637248 w 739513"/>
                <a:gd name="connsiteY159" fmla="*/ 502060 h 511215"/>
                <a:gd name="connsiteX160" fmla="*/ 631327 w 739513"/>
                <a:gd name="connsiteY160" fmla="*/ 500580 h 511215"/>
                <a:gd name="connsiteX161" fmla="*/ 613712 w 739513"/>
                <a:gd name="connsiteY161" fmla="*/ 499051 h 511215"/>
                <a:gd name="connsiteX162" fmla="*/ 603844 w 739513"/>
                <a:gd name="connsiteY162" fmla="*/ 495991 h 511215"/>
                <a:gd name="connsiteX163" fmla="*/ 582282 w 739513"/>
                <a:gd name="connsiteY163" fmla="*/ 495991 h 511215"/>
                <a:gd name="connsiteX164" fmla="*/ 574438 w 739513"/>
                <a:gd name="connsiteY164" fmla="*/ 489873 h 511215"/>
                <a:gd name="connsiteX165" fmla="*/ 570539 w 739513"/>
                <a:gd name="connsiteY165" fmla="*/ 488344 h 511215"/>
                <a:gd name="connsiteX166" fmla="*/ 562694 w 739513"/>
                <a:gd name="connsiteY166" fmla="*/ 494462 h 511215"/>
                <a:gd name="connsiteX167" fmla="*/ 556823 w 739513"/>
                <a:gd name="connsiteY167" fmla="*/ 489873 h 511215"/>
                <a:gd name="connsiteX168" fmla="*/ 546955 w 739513"/>
                <a:gd name="connsiteY168" fmla="*/ 491403 h 511215"/>
                <a:gd name="connsiteX169" fmla="*/ 529291 w 739513"/>
                <a:gd name="connsiteY169" fmla="*/ 491403 h 511215"/>
                <a:gd name="connsiteX170" fmla="*/ 527317 w 739513"/>
                <a:gd name="connsiteY170" fmla="*/ 488344 h 511215"/>
                <a:gd name="connsiteX171" fmla="*/ 523420 w 739513"/>
                <a:gd name="connsiteY171" fmla="*/ 485334 h 511215"/>
                <a:gd name="connsiteX172" fmla="*/ 523420 w 739513"/>
                <a:gd name="connsiteY172" fmla="*/ 476206 h 511215"/>
                <a:gd name="connsiteX173" fmla="*/ 515574 w 739513"/>
                <a:gd name="connsiteY173" fmla="*/ 465549 h 511215"/>
                <a:gd name="connsiteX174" fmla="*/ 511677 w 739513"/>
                <a:gd name="connsiteY174" fmla="*/ 453411 h 511215"/>
                <a:gd name="connsiteX175" fmla="*/ 505756 w 739513"/>
                <a:gd name="connsiteY175" fmla="*/ 445763 h 511215"/>
                <a:gd name="connsiteX176" fmla="*/ 503831 w 739513"/>
                <a:gd name="connsiteY176" fmla="*/ 442704 h 511215"/>
                <a:gd name="connsiteX177" fmla="*/ 501858 w 739513"/>
                <a:gd name="connsiteY177" fmla="*/ 442704 h 511215"/>
                <a:gd name="connsiteX178" fmla="*/ 501858 w 739513"/>
                <a:gd name="connsiteY178" fmla="*/ 441174 h 511215"/>
                <a:gd name="connsiteX179" fmla="*/ 490115 w 739513"/>
                <a:gd name="connsiteY179" fmla="*/ 439694 h 511215"/>
                <a:gd name="connsiteX180" fmla="*/ 480247 w 739513"/>
                <a:gd name="connsiteY180" fmla="*/ 441174 h 511215"/>
                <a:gd name="connsiteX181" fmla="*/ 472401 w 739513"/>
                <a:gd name="connsiteY181" fmla="*/ 447293 h 511215"/>
                <a:gd name="connsiteX182" fmla="*/ 464556 w 739513"/>
                <a:gd name="connsiteY182" fmla="*/ 447293 h 511215"/>
                <a:gd name="connsiteX183" fmla="*/ 464556 w 739513"/>
                <a:gd name="connsiteY183" fmla="*/ 448822 h 511215"/>
                <a:gd name="connsiteX184" fmla="*/ 446695 w 739513"/>
                <a:gd name="connsiteY184" fmla="*/ 454990 h 511215"/>
                <a:gd name="connsiteX185" fmla="*/ 434903 w 739513"/>
                <a:gd name="connsiteY185" fmla="*/ 465647 h 511215"/>
                <a:gd name="connsiteX186" fmla="*/ 423160 w 739513"/>
                <a:gd name="connsiteY186" fmla="*/ 456519 h 511215"/>
                <a:gd name="connsiteX187" fmla="*/ 409443 w 739513"/>
                <a:gd name="connsiteY187" fmla="*/ 453509 h 511215"/>
                <a:gd name="connsiteX188" fmla="*/ 401598 w 739513"/>
                <a:gd name="connsiteY188" fmla="*/ 454990 h 511215"/>
                <a:gd name="connsiteX189" fmla="*/ 397700 w 739513"/>
                <a:gd name="connsiteY189" fmla="*/ 456519 h 511215"/>
                <a:gd name="connsiteX190" fmla="*/ 385908 w 739513"/>
                <a:gd name="connsiteY190" fmla="*/ 447391 h 511215"/>
                <a:gd name="connsiteX191" fmla="*/ 378063 w 739513"/>
                <a:gd name="connsiteY191" fmla="*/ 447391 h 511215"/>
                <a:gd name="connsiteX192" fmla="*/ 372191 w 739513"/>
                <a:gd name="connsiteY192" fmla="*/ 444332 h 511215"/>
                <a:gd name="connsiteX193" fmla="*/ 364347 w 739513"/>
                <a:gd name="connsiteY193" fmla="*/ 442803 h 511215"/>
                <a:gd name="connsiteX194" fmla="*/ 354478 w 739513"/>
                <a:gd name="connsiteY194" fmla="*/ 433724 h 511215"/>
                <a:gd name="connsiteX195" fmla="*/ 358376 w 739513"/>
                <a:gd name="connsiteY195" fmla="*/ 429135 h 511215"/>
                <a:gd name="connsiteX196" fmla="*/ 358376 w 739513"/>
                <a:gd name="connsiteY196" fmla="*/ 426076 h 511215"/>
                <a:gd name="connsiteX197" fmla="*/ 350531 w 739513"/>
                <a:gd name="connsiteY197" fmla="*/ 426076 h 511215"/>
                <a:gd name="connsiteX198" fmla="*/ 350531 w 739513"/>
                <a:gd name="connsiteY198" fmla="*/ 423017 h 511215"/>
                <a:gd name="connsiteX199" fmla="*/ 336814 w 739513"/>
                <a:gd name="connsiteY199" fmla="*/ 423017 h 511215"/>
                <a:gd name="connsiteX200" fmla="*/ 332867 w 739513"/>
                <a:gd name="connsiteY200" fmla="*/ 420007 h 511215"/>
                <a:gd name="connsiteX201" fmla="*/ 325071 w 739513"/>
                <a:gd name="connsiteY201" fmla="*/ 416948 h 511215"/>
                <a:gd name="connsiteX202" fmla="*/ 309381 w 739513"/>
                <a:gd name="connsiteY202" fmla="*/ 418478 h 511215"/>
                <a:gd name="connsiteX203" fmla="*/ 303608 w 739513"/>
                <a:gd name="connsiteY203" fmla="*/ 415517 h 511215"/>
                <a:gd name="connsiteX204" fmla="*/ 293740 w 739513"/>
                <a:gd name="connsiteY204" fmla="*/ 394202 h 511215"/>
                <a:gd name="connsiteX205" fmla="*/ 291766 w 739513"/>
                <a:gd name="connsiteY205" fmla="*/ 389663 h 511215"/>
                <a:gd name="connsiteX206" fmla="*/ 287869 w 739513"/>
                <a:gd name="connsiteY206" fmla="*/ 389663 h 511215"/>
                <a:gd name="connsiteX207" fmla="*/ 281997 w 739513"/>
                <a:gd name="connsiteY207" fmla="*/ 385124 h 511215"/>
                <a:gd name="connsiteX208" fmla="*/ 283921 w 739513"/>
                <a:gd name="connsiteY208" fmla="*/ 383594 h 511215"/>
                <a:gd name="connsiteX209" fmla="*/ 285895 w 739513"/>
                <a:gd name="connsiteY209" fmla="*/ 385124 h 511215"/>
                <a:gd name="connsiteX210" fmla="*/ 289842 w 739513"/>
                <a:gd name="connsiteY210" fmla="*/ 385124 h 511215"/>
                <a:gd name="connsiteX211" fmla="*/ 285895 w 739513"/>
                <a:gd name="connsiteY211" fmla="*/ 380535 h 511215"/>
                <a:gd name="connsiteX212" fmla="*/ 280023 w 739513"/>
                <a:gd name="connsiteY212" fmla="*/ 380535 h 511215"/>
                <a:gd name="connsiteX213" fmla="*/ 274152 w 739513"/>
                <a:gd name="connsiteY213" fmla="*/ 379005 h 511215"/>
                <a:gd name="connsiteX214" fmla="*/ 274152 w 739513"/>
                <a:gd name="connsiteY214" fmla="*/ 368348 h 511215"/>
                <a:gd name="connsiteX215" fmla="*/ 260435 w 739513"/>
                <a:gd name="connsiteY215" fmla="*/ 356161 h 511215"/>
                <a:gd name="connsiteX216" fmla="*/ 260435 w 739513"/>
                <a:gd name="connsiteY216" fmla="*/ 348415 h 511215"/>
                <a:gd name="connsiteX217" fmla="*/ 252590 w 739513"/>
                <a:gd name="connsiteY217" fmla="*/ 340816 h 511215"/>
                <a:gd name="connsiteX218" fmla="*/ 250666 w 739513"/>
                <a:gd name="connsiteY218" fmla="*/ 339336 h 511215"/>
                <a:gd name="connsiteX219" fmla="*/ 236900 w 739513"/>
                <a:gd name="connsiteY219" fmla="*/ 345405 h 511215"/>
                <a:gd name="connsiteX220" fmla="*/ 234926 w 739513"/>
                <a:gd name="connsiteY220" fmla="*/ 345405 h 511215"/>
                <a:gd name="connsiteX221" fmla="*/ 231029 w 739513"/>
                <a:gd name="connsiteY221" fmla="*/ 340816 h 511215"/>
                <a:gd name="connsiteX222" fmla="*/ 227081 w 739513"/>
                <a:gd name="connsiteY222" fmla="*/ 342346 h 511215"/>
                <a:gd name="connsiteX223" fmla="*/ 219236 w 739513"/>
                <a:gd name="connsiteY223" fmla="*/ 339336 h 511215"/>
                <a:gd name="connsiteX224" fmla="*/ 221259 w 739513"/>
                <a:gd name="connsiteY224" fmla="*/ 334747 h 511215"/>
                <a:gd name="connsiteX225" fmla="*/ 221259 w 739513"/>
                <a:gd name="connsiteY225" fmla="*/ 333218 h 511215"/>
                <a:gd name="connsiteX226" fmla="*/ 211391 w 739513"/>
                <a:gd name="connsiteY226" fmla="*/ 333218 h 511215"/>
                <a:gd name="connsiteX227" fmla="*/ 217263 w 739513"/>
                <a:gd name="connsiteY227" fmla="*/ 336277 h 511215"/>
                <a:gd name="connsiteX228" fmla="*/ 217263 w 739513"/>
                <a:gd name="connsiteY228" fmla="*/ 342346 h 511215"/>
                <a:gd name="connsiteX229" fmla="*/ 213365 w 739513"/>
                <a:gd name="connsiteY229" fmla="*/ 345405 h 511215"/>
                <a:gd name="connsiteX230" fmla="*/ 207444 w 739513"/>
                <a:gd name="connsiteY230" fmla="*/ 345405 h 511215"/>
                <a:gd name="connsiteX231" fmla="*/ 201572 w 739513"/>
                <a:gd name="connsiteY231" fmla="*/ 339336 h 511215"/>
                <a:gd name="connsiteX232" fmla="*/ 201572 w 739513"/>
                <a:gd name="connsiteY232" fmla="*/ 337806 h 511215"/>
                <a:gd name="connsiteX233" fmla="*/ 197675 w 739513"/>
                <a:gd name="connsiteY233" fmla="*/ 339336 h 511215"/>
                <a:gd name="connsiteX234" fmla="*/ 195701 w 739513"/>
                <a:gd name="connsiteY234" fmla="*/ 337806 h 511215"/>
                <a:gd name="connsiteX235" fmla="*/ 187856 w 739513"/>
                <a:gd name="connsiteY235" fmla="*/ 334747 h 511215"/>
                <a:gd name="connsiteX236" fmla="*/ 181984 w 739513"/>
                <a:gd name="connsiteY236" fmla="*/ 331688 h 511215"/>
                <a:gd name="connsiteX237" fmla="*/ 180010 w 739513"/>
                <a:gd name="connsiteY237" fmla="*/ 311952 h 511215"/>
                <a:gd name="connsiteX238" fmla="*/ 168267 w 739513"/>
                <a:gd name="connsiteY238" fmla="*/ 311952 h 511215"/>
                <a:gd name="connsiteX239" fmla="*/ 166294 w 739513"/>
                <a:gd name="connsiteY239" fmla="*/ 304353 h 511215"/>
                <a:gd name="connsiteX240" fmla="*/ 166294 w 739513"/>
                <a:gd name="connsiteY240" fmla="*/ 293647 h 511215"/>
                <a:gd name="connsiteX241" fmla="*/ 172165 w 739513"/>
                <a:gd name="connsiteY241" fmla="*/ 289107 h 511215"/>
                <a:gd name="connsiteX242" fmla="*/ 166294 w 739513"/>
                <a:gd name="connsiteY242" fmla="*/ 275391 h 511215"/>
                <a:gd name="connsiteX243" fmla="*/ 160422 w 739513"/>
                <a:gd name="connsiteY243" fmla="*/ 270851 h 511215"/>
                <a:gd name="connsiteX244" fmla="*/ 152578 w 739513"/>
                <a:gd name="connsiteY244" fmla="*/ 260145 h 511215"/>
                <a:gd name="connsiteX245" fmla="*/ 148679 w 739513"/>
                <a:gd name="connsiteY245" fmla="*/ 258665 h 511215"/>
                <a:gd name="connsiteX246" fmla="*/ 144733 w 739513"/>
                <a:gd name="connsiteY246" fmla="*/ 258665 h 511215"/>
                <a:gd name="connsiteX247" fmla="*/ 117299 w 739513"/>
                <a:gd name="connsiteY247" fmla="*/ 243468 h 511215"/>
                <a:gd name="connsiteX248" fmla="*/ 111428 w 739513"/>
                <a:gd name="connsiteY248" fmla="*/ 243468 h 511215"/>
                <a:gd name="connsiteX249" fmla="*/ 109454 w 739513"/>
                <a:gd name="connsiteY249" fmla="*/ 248007 h 511215"/>
                <a:gd name="connsiteX250" fmla="*/ 99586 w 739513"/>
                <a:gd name="connsiteY250" fmla="*/ 241889 h 511215"/>
                <a:gd name="connsiteX251" fmla="*/ 101510 w 739513"/>
                <a:gd name="connsiteY251" fmla="*/ 237349 h 511215"/>
                <a:gd name="connsiteX252" fmla="*/ 99586 w 739513"/>
                <a:gd name="connsiteY252" fmla="*/ 235820 h 511215"/>
                <a:gd name="connsiteX253" fmla="*/ 101510 w 739513"/>
                <a:gd name="connsiteY253" fmla="*/ 229751 h 511215"/>
                <a:gd name="connsiteX254" fmla="*/ 93665 w 739513"/>
                <a:gd name="connsiteY254" fmla="*/ 223682 h 511215"/>
                <a:gd name="connsiteX255" fmla="*/ 93665 w 739513"/>
                <a:gd name="connsiteY255" fmla="*/ 220623 h 511215"/>
                <a:gd name="connsiteX256" fmla="*/ 85820 w 739513"/>
                <a:gd name="connsiteY256" fmla="*/ 217564 h 511215"/>
                <a:gd name="connsiteX257" fmla="*/ 81922 w 739513"/>
                <a:gd name="connsiteY257" fmla="*/ 212975 h 511215"/>
                <a:gd name="connsiteX258" fmla="*/ 78024 w 739513"/>
                <a:gd name="connsiteY258" fmla="*/ 212975 h 511215"/>
                <a:gd name="connsiteX259" fmla="*/ 78024 w 739513"/>
                <a:gd name="connsiteY259" fmla="*/ 208288 h 511215"/>
                <a:gd name="connsiteX260" fmla="*/ 79949 w 739513"/>
                <a:gd name="connsiteY260" fmla="*/ 205229 h 511215"/>
                <a:gd name="connsiteX261" fmla="*/ 78024 w 739513"/>
                <a:gd name="connsiteY261" fmla="*/ 202219 h 511215"/>
                <a:gd name="connsiteX262" fmla="*/ 79949 w 739513"/>
                <a:gd name="connsiteY262" fmla="*/ 199160 h 511215"/>
                <a:gd name="connsiteX263" fmla="*/ 79949 w 739513"/>
                <a:gd name="connsiteY263" fmla="*/ 186973 h 511215"/>
                <a:gd name="connsiteX264" fmla="*/ 83846 w 739513"/>
                <a:gd name="connsiteY264" fmla="*/ 183963 h 511215"/>
                <a:gd name="connsiteX265" fmla="*/ 85820 w 739513"/>
                <a:gd name="connsiteY265" fmla="*/ 174835 h 511215"/>
                <a:gd name="connsiteX266" fmla="*/ 89767 w 739513"/>
                <a:gd name="connsiteY266" fmla="*/ 174835 h 511215"/>
                <a:gd name="connsiteX267" fmla="*/ 93665 w 739513"/>
                <a:gd name="connsiteY267" fmla="*/ 173305 h 511215"/>
                <a:gd name="connsiteX268" fmla="*/ 93665 w 739513"/>
                <a:gd name="connsiteY268" fmla="*/ 161119 h 511215"/>
                <a:gd name="connsiteX269" fmla="*/ 91692 w 739513"/>
                <a:gd name="connsiteY269" fmla="*/ 159589 h 511215"/>
                <a:gd name="connsiteX270" fmla="*/ 89767 w 739513"/>
                <a:gd name="connsiteY270" fmla="*/ 151991 h 511215"/>
                <a:gd name="connsiteX271" fmla="*/ 93665 w 739513"/>
                <a:gd name="connsiteY271" fmla="*/ 151991 h 511215"/>
                <a:gd name="connsiteX272" fmla="*/ 101510 w 739513"/>
                <a:gd name="connsiteY272" fmla="*/ 148931 h 511215"/>
                <a:gd name="connsiteX273" fmla="*/ 103483 w 739513"/>
                <a:gd name="connsiteY273" fmla="*/ 148931 h 511215"/>
                <a:gd name="connsiteX274" fmla="*/ 99586 w 739513"/>
                <a:gd name="connsiteY274" fmla="*/ 147402 h 511215"/>
                <a:gd name="connsiteX275" fmla="*/ 95639 w 739513"/>
                <a:gd name="connsiteY275" fmla="*/ 144343 h 511215"/>
                <a:gd name="connsiteX276" fmla="*/ 87794 w 739513"/>
                <a:gd name="connsiteY276" fmla="*/ 145872 h 511215"/>
                <a:gd name="connsiteX277" fmla="*/ 81922 w 739513"/>
                <a:gd name="connsiteY277" fmla="*/ 144343 h 511215"/>
                <a:gd name="connsiteX278" fmla="*/ 70179 w 739513"/>
                <a:gd name="connsiteY278" fmla="*/ 136794 h 511215"/>
                <a:gd name="connsiteX279" fmla="*/ 64258 w 739513"/>
                <a:gd name="connsiteY279" fmla="*/ 136794 h 511215"/>
                <a:gd name="connsiteX280" fmla="*/ 58436 w 739513"/>
                <a:gd name="connsiteY280" fmla="*/ 133735 h 511215"/>
                <a:gd name="connsiteX281" fmla="*/ 54489 w 739513"/>
                <a:gd name="connsiteY281" fmla="*/ 126136 h 511215"/>
                <a:gd name="connsiteX282" fmla="*/ 52515 w 739513"/>
                <a:gd name="connsiteY282" fmla="*/ 121547 h 511215"/>
                <a:gd name="connsiteX283" fmla="*/ 47038 w 739513"/>
                <a:gd name="connsiteY283" fmla="*/ 121547 h 511215"/>
                <a:gd name="connsiteX284" fmla="*/ 43091 w 739513"/>
                <a:gd name="connsiteY284" fmla="*/ 115479 h 511215"/>
                <a:gd name="connsiteX285" fmla="*/ 43091 w 739513"/>
                <a:gd name="connsiteY285" fmla="*/ 107880 h 511215"/>
                <a:gd name="connsiteX286" fmla="*/ 41167 w 739513"/>
                <a:gd name="connsiteY286" fmla="*/ 101762 h 511215"/>
                <a:gd name="connsiteX287" fmla="*/ 33322 w 739513"/>
                <a:gd name="connsiteY287" fmla="*/ 100232 h 511215"/>
                <a:gd name="connsiteX288" fmla="*/ 31348 w 739513"/>
                <a:gd name="connsiteY288" fmla="*/ 100232 h 511215"/>
                <a:gd name="connsiteX289" fmla="*/ 33322 w 739513"/>
                <a:gd name="connsiteY289" fmla="*/ 95693 h 511215"/>
                <a:gd name="connsiteX290" fmla="*/ 29424 w 739513"/>
                <a:gd name="connsiteY290" fmla="*/ 89624 h 511215"/>
                <a:gd name="connsiteX291" fmla="*/ 23503 w 739513"/>
                <a:gd name="connsiteY291" fmla="*/ 75908 h 511215"/>
                <a:gd name="connsiteX292" fmla="*/ 13635 w 739513"/>
                <a:gd name="connsiteY292" fmla="*/ 72849 h 511215"/>
                <a:gd name="connsiteX293" fmla="*/ 15559 w 739513"/>
                <a:gd name="connsiteY293" fmla="*/ 69839 h 511215"/>
                <a:gd name="connsiteX294" fmla="*/ 13635 w 739513"/>
                <a:gd name="connsiteY294" fmla="*/ 62241 h 511215"/>
                <a:gd name="connsiteX295" fmla="*/ 19507 w 739513"/>
                <a:gd name="connsiteY295" fmla="*/ 51534 h 511215"/>
                <a:gd name="connsiteX296" fmla="*/ 15559 w 739513"/>
                <a:gd name="connsiteY296" fmla="*/ 46994 h 511215"/>
                <a:gd name="connsiteX297" fmla="*/ 7714 w 739513"/>
                <a:gd name="connsiteY297" fmla="*/ 46994 h 511215"/>
                <a:gd name="connsiteX298" fmla="*/ 7714 w 739513"/>
                <a:gd name="connsiteY298" fmla="*/ 39544 h 511215"/>
                <a:gd name="connsiteX299" fmla="*/ 9688 w 739513"/>
                <a:gd name="connsiteY299" fmla="*/ 31896 h 511215"/>
                <a:gd name="connsiteX300" fmla="*/ 5790 w 739513"/>
                <a:gd name="connsiteY300" fmla="*/ 21288 h 511215"/>
                <a:gd name="connsiteX301" fmla="*/ -82 w 739513"/>
                <a:gd name="connsiteY301" fmla="*/ 15219 h 511215"/>
                <a:gd name="connsiteX302" fmla="*/ -82 w 739513"/>
                <a:gd name="connsiteY302" fmla="*/ 12160 h 511215"/>
                <a:gd name="connsiteX303" fmla="*/ 11661 w 739513"/>
                <a:gd name="connsiteY303" fmla="*/ 12160 h 511215"/>
                <a:gd name="connsiteX304" fmla="*/ 15559 w 739513"/>
                <a:gd name="connsiteY304" fmla="*/ 3032 h 511215"/>
                <a:gd name="connsiteX305" fmla="*/ 19507 w 739513"/>
                <a:gd name="connsiteY305" fmla="*/ -27 h 51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</a:cxnLst>
              <a:rect l="l" t="t" r="r" b="b"/>
              <a:pathLst>
                <a:path w="739513" h="511215">
                  <a:moveTo>
                    <a:pt x="19605" y="-27"/>
                  </a:moveTo>
                  <a:lnTo>
                    <a:pt x="19605" y="-27"/>
                  </a:lnTo>
                  <a:lnTo>
                    <a:pt x="25477" y="4512"/>
                  </a:lnTo>
                  <a:lnTo>
                    <a:pt x="29424" y="4512"/>
                  </a:lnTo>
                  <a:lnTo>
                    <a:pt x="31348" y="10630"/>
                  </a:lnTo>
                  <a:lnTo>
                    <a:pt x="31348" y="15219"/>
                  </a:lnTo>
                  <a:lnTo>
                    <a:pt x="47038" y="22817"/>
                  </a:lnTo>
                  <a:lnTo>
                    <a:pt x="49012" y="27357"/>
                  </a:lnTo>
                  <a:lnTo>
                    <a:pt x="58880" y="31896"/>
                  </a:lnTo>
                  <a:lnTo>
                    <a:pt x="66775" y="31896"/>
                  </a:lnTo>
                  <a:lnTo>
                    <a:pt x="78567" y="38014"/>
                  </a:lnTo>
                  <a:lnTo>
                    <a:pt x="80491" y="31896"/>
                  </a:lnTo>
                  <a:lnTo>
                    <a:pt x="80491" y="31896"/>
                  </a:lnTo>
                  <a:lnTo>
                    <a:pt x="88336" y="30367"/>
                  </a:lnTo>
                  <a:lnTo>
                    <a:pt x="92234" y="31896"/>
                  </a:lnTo>
                  <a:lnTo>
                    <a:pt x="98155" y="30367"/>
                  </a:lnTo>
                  <a:lnTo>
                    <a:pt x="100129" y="25827"/>
                  </a:lnTo>
                  <a:lnTo>
                    <a:pt x="102053" y="24298"/>
                  </a:lnTo>
                  <a:lnTo>
                    <a:pt x="107974" y="22817"/>
                  </a:lnTo>
                  <a:lnTo>
                    <a:pt x="113796" y="16699"/>
                  </a:lnTo>
                  <a:lnTo>
                    <a:pt x="117743" y="15219"/>
                  </a:lnTo>
                  <a:lnTo>
                    <a:pt x="121641" y="10630"/>
                  </a:lnTo>
                  <a:lnTo>
                    <a:pt x="127562" y="9101"/>
                  </a:lnTo>
                  <a:lnTo>
                    <a:pt x="133384" y="3032"/>
                  </a:lnTo>
                  <a:lnTo>
                    <a:pt x="137332" y="3032"/>
                  </a:lnTo>
                  <a:lnTo>
                    <a:pt x="137332" y="5992"/>
                  </a:lnTo>
                  <a:lnTo>
                    <a:pt x="143203" y="5992"/>
                  </a:lnTo>
                  <a:lnTo>
                    <a:pt x="145176" y="12111"/>
                  </a:lnTo>
                  <a:lnTo>
                    <a:pt x="149123" y="15170"/>
                  </a:lnTo>
                  <a:lnTo>
                    <a:pt x="145176" y="18179"/>
                  </a:lnTo>
                  <a:lnTo>
                    <a:pt x="147150" y="21239"/>
                  </a:lnTo>
                  <a:lnTo>
                    <a:pt x="154995" y="25778"/>
                  </a:lnTo>
                  <a:lnTo>
                    <a:pt x="145127" y="31847"/>
                  </a:lnTo>
                  <a:lnTo>
                    <a:pt x="154995" y="44034"/>
                  </a:lnTo>
                  <a:lnTo>
                    <a:pt x="160866" y="47093"/>
                  </a:lnTo>
                  <a:lnTo>
                    <a:pt x="162840" y="50152"/>
                  </a:lnTo>
                  <a:lnTo>
                    <a:pt x="168712" y="51632"/>
                  </a:lnTo>
                  <a:lnTo>
                    <a:pt x="172609" y="50152"/>
                  </a:lnTo>
                  <a:lnTo>
                    <a:pt x="172609" y="51632"/>
                  </a:lnTo>
                  <a:lnTo>
                    <a:pt x="178481" y="57750"/>
                  </a:lnTo>
                  <a:lnTo>
                    <a:pt x="180455" y="65349"/>
                  </a:lnTo>
                  <a:lnTo>
                    <a:pt x="178481" y="72947"/>
                  </a:lnTo>
                  <a:lnTo>
                    <a:pt x="180455" y="76006"/>
                  </a:lnTo>
                  <a:lnTo>
                    <a:pt x="186326" y="76006"/>
                  </a:lnTo>
                  <a:lnTo>
                    <a:pt x="192247" y="82075"/>
                  </a:lnTo>
                  <a:lnTo>
                    <a:pt x="199994" y="82075"/>
                  </a:lnTo>
                  <a:lnTo>
                    <a:pt x="205914" y="83654"/>
                  </a:lnTo>
                  <a:lnTo>
                    <a:pt x="215782" y="80546"/>
                  </a:lnTo>
                  <a:lnTo>
                    <a:pt x="223628" y="85134"/>
                  </a:lnTo>
                  <a:lnTo>
                    <a:pt x="229499" y="88193"/>
                  </a:lnTo>
                  <a:lnTo>
                    <a:pt x="231473" y="94262"/>
                  </a:lnTo>
                  <a:lnTo>
                    <a:pt x="235371" y="98802"/>
                  </a:lnTo>
                  <a:lnTo>
                    <a:pt x="255107" y="104920"/>
                  </a:lnTo>
                  <a:lnTo>
                    <a:pt x="262952" y="106449"/>
                  </a:lnTo>
                  <a:lnTo>
                    <a:pt x="284464" y="110989"/>
                  </a:lnTo>
                  <a:lnTo>
                    <a:pt x="296207" y="110989"/>
                  </a:lnTo>
                  <a:lnTo>
                    <a:pt x="319792" y="104920"/>
                  </a:lnTo>
                  <a:lnTo>
                    <a:pt x="337406" y="103390"/>
                  </a:lnTo>
                  <a:lnTo>
                    <a:pt x="358968" y="104920"/>
                  </a:lnTo>
                  <a:lnTo>
                    <a:pt x="364840" y="106449"/>
                  </a:lnTo>
                  <a:lnTo>
                    <a:pt x="368787" y="98802"/>
                  </a:lnTo>
                  <a:lnTo>
                    <a:pt x="362866" y="92733"/>
                  </a:lnTo>
                  <a:lnTo>
                    <a:pt x="358968" y="83654"/>
                  </a:lnTo>
                  <a:lnTo>
                    <a:pt x="366814" y="79016"/>
                  </a:lnTo>
                  <a:lnTo>
                    <a:pt x="384477" y="79016"/>
                  </a:lnTo>
                  <a:lnTo>
                    <a:pt x="388375" y="71418"/>
                  </a:lnTo>
                  <a:lnTo>
                    <a:pt x="392273" y="65349"/>
                  </a:lnTo>
                  <a:lnTo>
                    <a:pt x="398194" y="65349"/>
                  </a:lnTo>
                  <a:lnTo>
                    <a:pt x="411861" y="53162"/>
                  </a:lnTo>
                  <a:lnTo>
                    <a:pt x="429525" y="51632"/>
                  </a:lnTo>
                  <a:lnTo>
                    <a:pt x="441268" y="53162"/>
                  </a:lnTo>
                  <a:lnTo>
                    <a:pt x="443291" y="47093"/>
                  </a:lnTo>
                  <a:lnTo>
                    <a:pt x="453159" y="45564"/>
                  </a:lnTo>
                  <a:lnTo>
                    <a:pt x="459030" y="47093"/>
                  </a:lnTo>
                  <a:lnTo>
                    <a:pt x="466431" y="47093"/>
                  </a:lnTo>
                  <a:lnTo>
                    <a:pt x="478174" y="56221"/>
                  </a:lnTo>
                  <a:lnTo>
                    <a:pt x="491891" y="57750"/>
                  </a:lnTo>
                  <a:lnTo>
                    <a:pt x="511627" y="69938"/>
                  </a:lnTo>
                  <a:lnTo>
                    <a:pt x="519472" y="69938"/>
                  </a:lnTo>
                  <a:lnTo>
                    <a:pt x="523370" y="66879"/>
                  </a:lnTo>
                  <a:lnTo>
                    <a:pt x="537087" y="71418"/>
                  </a:lnTo>
                  <a:lnTo>
                    <a:pt x="544932" y="72947"/>
                  </a:lnTo>
                  <a:lnTo>
                    <a:pt x="546906" y="82075"/>
                  </a:lnTo>
                  <a:lnTo>
                    <a:pt x="552777" y="83654"/>
                  </a:lnTo>
                  <a:lnTo>
                    <a:pt x="558648" y="82075"/>
                  </a:lnTo>
                  <a:lnTo>
                    <a:pt x="572365" y="85134"/>
                  </a:lnTo>
                  <a:lnTo>
                    <a:pt x="588055" y="103390"/>
                  </a:lnTo>
                  <a:lnTo>
                    <a:pt x="601772" y="103390"/>
                  </a:lnTo>
                  <a:lnTo>
                    <a:pt x="611640" y="106449"/>
                  </a:lnTo>
                  <a:lnTo>
                    <a:pt x="615587" y="117107"/>
                  </a:lnTo>
                  <a:lnTo>
                    <a:pt x="613613" y="121646"/>
                  </a:lnTo>
                  <a:lnTo>
                    <a:pt x="617561" y="127764"/>
                  </a:lnTo>
                  <a:lnTo>
                    <a:pt x="617561" y="132304"/>
                  </a:lnTo>
                  <a:lnTo>
                    <a:pt x="621459" y="138373"/>
                  </a:lnTo>
                  <a:lnTo>
                    <a:pt x="621459" y="152089"/>
                  </a:lnTo>
                  <a:lnTo>
                    <a:pt x="617561" y="156678"/>
                  </a:lnTo>
                  <a:lnTo>
                    <a:pt x="623432" y="161217"/>
                  </a:lnTo>
                  <a:lnTo>
                    <a:pt x="621459" y="162747"/>
                  </a:lnTo>
                  <a:lnTo>
                    <a:pt x="623432" y="167286"/>
                  </a:lnTo>
                  <a:lnTo>
                    <a:pt x="611640" y="173404"/>
                  </a:lnTo>
                  <a:lnTo>
                    <a:pt x="603795" y="174934"/>
                  </a:lnTo>
                  <a:lnTo>
                    <a:pt x="607742" y="177993"/>
                  </a:lnTo>
                  <a:lnTo>
                    <a:pt x="613613" y="182532"/>
                  </a:lnTo>
                  <a:lnTo>
                    <a:pt x="607742" y="190131"/>
                  </a:lnTo>
                  <a:lnTo>
                    <a:pt x="607742" y="191660"/>
                  </a:lnTo>
                  <a:lnTo>
                    <a:pt x="611640" y="203847"/>
                  </a:lnTo>
                  <a:lnTo>
                    <a:pt x="611640" y="209916"/>
                  </a:lnTo>
                  <a:lnTo>
                    <a:pt x="623432" y="211446"/>
                  </a:lnTo>
                  <a:lnTo>
                    <a:pt x="627330" y="211446"/>
                  </a:lnTo>
                  <a:lnTo>
                    <a:pt x="615587" y="223633"/>
                  </a:lnTo>
                  <a:lnTo>
                    <a:pt x="613613" y="231231"/>
                  </a:lnTo>
                  <a:lnTo>
                    <a:pt x="623482" y="247957"/>
                  </a:lnTo>
                  <a:lnTo>
                    <a:pt x="629353" y="261625"/>
                  </a:lnTo>
                  <a:lnTo>
                    <a:pt x="627380" y="266213"/>
                  </a:lnTo>
                  <a:lnTo>
                    <a:pt x="629353" y="270802"/>
                  </a:lnTo>
                  <a:lnTo>
                    <a:pt x="631278" y="282940"/>
                  </a:lnTo>
                  <a:lnTo>
                    <a:pt x="662707" y="284469"/>
                  </a:lnTo>
                  <a:lnTo>
                    <a:pt x="668529" y="293597"/>
                  </a:lnTo>
                  <a:lnTo>
                    <a:pt x="666605" y="304255"/>
                  </a:lnTo>
                  <a:lnTo>
                    <a:pt x="670503" y="314912"/>
                  </a:lnTo>
                  <a:lnTo>
                    <a:pt x="668529" y="317971"/>
                  </a:lnTo>
                  <a:lnTo>
                    <a:pt x="641096" y="349895"/>
                  </a:lnTo>
                  <a:lnTo>
                    <a:pt x="660833" y="371210"/>
                  </a:lnTo>
                  <a:lnTo>
                    <a:pt x="664779" y="380338"/>
                  </a:lnTo>
                  <a:lnTo>
                    <a:pt x="672625" y="387936"/>
                  </a:lnTo>
                  <a:lnTo>
                    <a:pt x="680470" y="392525"/>
                  </a:lnTo>
                  <a:lnTo>
                    <a:pt x="684368" y="395535"/>
                  </a:lnTo>
                  <a:lnTo>
                    <a:pt x="698084" y="395535"/>
                  </a:lnTo>
                  <a:lnTo>
                    <a:pt x="704005" y="398594"/>
                  </a:lnTo>
                  <a:lnTo>
                    <a:pt x="704005" y="401653"/>
                  </a:lnTo>
                  <a:lnTo>
                    <a:pt x="713873" y="401653"/>
                  </a:lnTo>
                  <a:lnTo>
                    <a:pt x="713873" y="413791"/>
                  </a:lnTo>
                  <a:lnTo>
                    <a:pt x="717771" y="419909"/>
                  </a:lnTo>
                  <a:lnTo>
                    <a:pt x="717771" y="427507"/>
                  </a:lnTo>
                  <a:lnTo>
                    <a:pt x="719745" y="435105"/>
                  </a:lnTo>
                  <a:lnTo>
                    <a:pt x="729613" y="433625"/>
                  </a:lnTo>
                  <a:lnTo>
                    <a:pt x="737409" y="439694"/>
                  </a:lnTo>
                  <a:lnTo>
                    <a:pt x="739431" y="450352"/>
                  </a:lnTo>
                  <a:lnTo>
                    <a:pt x="733511" y="454891"/>
                  </a:lnTo>
                  <a:lnTo>
                    <a:pt x="725666" y="451881"/>
                  </a:lnTo>
                  <a:lnTo>
                    <a:pt x="708051" y="456420"/>
                  </a:lnTo>
                  <a:lnTo>
                    <a:pt x="704153" y="460960"/>
                  </a:lnTo>
                  <a:lnTo>
                    <a:pt x="694285" y="464019"/>
                  </a:lnTo>
                  <a:lnTo>
                    <a:pt x="690338" y="470088"/>
                  </a:lnTo>
                  <a:lnTo>
                    <a:pt x="692361" y="474676"/>
                  </a:lnTo>
                  <a:lnTo>
                    <a:pt x="684466" y="480795"/>
                  </a:lnTo>
                  <a:lnTo>
                    <a:pt x="690338" y="489873"/>
                  </a:lnTo>
                  <a:lnTo>
                    <a:pt x="686440" y="500580"/>
                  </a:lnTo>
                  <a:lnTo>
                    <a:pt x="686440" y="505119"/>
                  </a:lnTo>
                  <a:lnTo>
                    <a:pt x="684466" y="505119"/>
                  </a:lnTo>
                  <a:lnTo>
                    <a:pt x="682542" y="506649"/>
                  </a:lnTo>
                  <a:lnTo>
                    <a:pt x="678595" y="511188"/>
                  </a:lnTo>
                  <a:lnTo>
                    <a:pt x="666852" y="506649"/>
                  </a:lnTo>
                  <a:lnTo>
                    <a:pt x="659007" y="503590"/>
                  </a:lnTo>
                  <a:lnTo>
                    <a:pt x="655109" y="499051"/>
                  </a:lnTo>
                  <a:lnTo>
                    <a:pt x="648991" y="499051"/>
                  </a:lnTo>
                  <a:lnTo>
                    <a:pt x="647066" y="503590"/>
                  </a:lnTo>
                  <a:lnTo>
                    <a:pt x="645093" y="503590"/>
                  </a:lnTo>
                  <a:lnTo>
                    <a:pt x="639172" y="500580"/>
                  </a:lnTo>
                  <a:lnTo>
                    <a:pt x="637248" y="502060"/>
                  </a:lnTo>
                  <a:lnTo>
                    <a:pt x="631327" y="500580"/>
                  </a:lnTo>
                  <a:lnTo>
                    <a:pt x="613712" y="499051"/>
                  </a:lnTo>
                  <a:lnTo>
                    <a:pt x="603844" y="495991"/>
                  </a:lnTo>
                  <a:lnTo>
                    <a:pt x="582282" y="495991"/>
                  </a:lnTo>
                  <a:lnTo>
                    <a:pt x="574438" y="489873"/>
                  </a:lnTo>
                  <a:lnTo>
                    <a:pt x="570539" y="488344"/>
                  </a:lnTo>
                  <a:lnTo>
                    <a:pt x="562694" y="494462"/>
                  </a:lnTo>
                  <a:lnTo>
                    <a:pt x="556823" y="489873"/>
                  </a:lnTo>
                  <a:lnTo>
                    <a:pt x="546955" y="491403"/>
                  </a:lnTo>
                  <a:lnTo>
                    <a:pt x="529291" y="491403"/>
                  </a:lnTo>
                  <a:lnTo>
                    <a:pt x="527317" y="488344"/>
                  </a:lnTo>
                  <a:lnTo>
                    <a:pt x="523420" y="485334"/>
                  </a:lnTo>
                  <a:lnTo>
                    <a:pt x="523420" y="476206"/>
                  </a:lnTo>
                  <a:lnTo>
                    <a:pt x="515574" y="465549"/>
                  </a:lnTo>
                  <a:lnTo>
                    <a:pt x="511677" y="453411"/>
                  </a:lnTo>
                  <a:lnTo>
                    <a:pt x="505756" y="445763"/>
                  </a:lnTo>
                  <a:lnTo>
                    <a:pt x="503831" y="442704"/>
                  </a:lnTo>
                  <a:lnTo>
                    <a:pt x="501858" y="442704"/>
                  </a:lnTo>
                  <a:lnTo>
                    <a:pt x="501858" y="441174"/>
                  </a:lnTo>
                  <a:lnTo>
                    <a:pt x="490115" y="439694"/>
                  </a:lnTo>
                  <a:lnTo>
                    <a:pt x="480247" y="441174"/>
                  </a:lnTo>
                  <a:lnTo>
                    <a:pt x="472401" y="447293"/>
                  </a:lnTo>
                  <a:lnTo>
                    <a:pt x="464556" y="447293"/>
                  </a:lnTo>
                  <a:lnTo>
                    <a:pt x="464556" y="448822"/>
                  </a:lnTo>
                  <a:lnTo>
                    <a:pt x="446695" y="454990"/>
                  </a:lnTo>
                  <a:lnTo>
                    <a:pt x="434903" y="465647"/>
                  </a:lnTo>
                  <a:lnTo>
                    <a:pt x="423160" y="456519"/>
                  </a:lnTo>
                  <a:lnTo>
                    <a:pt x="409443" y="453509"/>
                  </a:lnTo>
                  <a:lnTo>
                    <a:pt x="401598" y="454990"/>
                  </a:lnTo>
                  <a:lnTo>
                    <a:pt x="397700" y="456519"/>
                  </a:lnTo>
                  <a:lnTo>
                    <a:pt x="385908" y="447391"/>
                  </a:lnTo>
                  <a:lnTo>
                    <a:pt x="378063" y="447391"/>
                  </a:lnTo>
                  <a:lnTo>
                    <a:pt x="372191" y="444332"/>
                  </a:lnTo>
                  <a:lnTo>
                    <a:pt x="364347" y="442803"/>
                  </a:lnTo>
                  <a:lnTo>
                    <a:pt x="354478" y="433724"/>
                  </a:lnTo>
                  <a:lnTo>
                    <a:pt x="358376" y="429135"/>
                  </a:lnTo>
                  <a:lnTo>
                    <a:pt x="358376" y="426076"/>
                  </a:lnTo>
                  <a:lnTo>
                    <a:pt x="350531" y="426076"/>
                  </a:lnTo>
                  <a:lnTo>
                    <a:pt x="350531" y="423017"/>
                  </a:lnTo>
                  <a:lnTo>
                    <a:pt x="336814" y="423017"/>
                  </a:lnTo>
                  <a:lnTo>
                    <a:pt x="332867" y="420007"/>
                  </a:lnTo>
                  <a:lnTo>
                    <a:pt x="325071" y="416948"/>
                  </a:lnTo>
                  <a:lnTo>
                    <a:pt x="309381" y="418478"/>
                  </a:lnTo>
                  <a:lnTo>
                    <a:pt x="303608" y="415517"/>
                  </a:lnTo>
                  <a:lnTo>
                    <a:pt x="293740" y="394202"/>
                  </a:lnTo>
                  <a:lnTo>
                    <a:pt x="291766" y="389663"/>
                  </a:lnTo>
                  <a:lnTo>
                    <a:pt x="287869" y="389663"/>
                  </a:lnTo>
                  <a:lnTo>
                    <a:pt x="281997" y="385124"/>
                  </a:lnTo>
                  <a:lnTo>
                    <a:pt x="283921" y="383594"/>
                  </a:lnTo>
                  <a:lnTo>
                    <a:pt x="285895" y="385124"/>
                  </a:lnTo>
                  <a:lnTo>
                    <a:pt x="289842" y="385124"/>
                  </a:lnTo>
                  <a:lnTo>
                    <a:pt x="285895" y="380535"/>
                  </a:lnTo>
                  <a:lnTo>
                    <a:pt x="280023" y="380535"/>
                  </a:lnTo>
                  <a:lnTo>
                    <a:pt x="274152" y="379005"/>
                  </a:lnTo>
                  <a:lnTo>
                    <a:pt x="274152" y="368348"/>
                  </a:lnTo>
                  <a:lnTo>
                    <a:pt x="260435" y="356161"/>
                  </a:lnTo>
                  <a:lnTo>
                    <a:pt x="260435" y="348415"/>
                  </a:lnTo>
                  <a:lnTo>
                    <a:pt x="252590" y="340816"/>
                  </a:lnTo>
                  <a:lnTo>
                    <a:pt x="250666" y="339336"/>
                  </a:lnTo>
                  <a:lnTo>
                    <a:pt x="236900" y="345405"/>
                  </a:lnTo>
                  <a:lnTo>
                    <a:pt x="234926" y="345405"/>
                  </a:lnTo>
                  <a:lnTo>
                    <a:pt x="231029" y="340816"/>
                  </a:lnTo>
                  <a:lnTo>
                    <a:pt x="227081" y="342346"/>
                  </a:lnTo>
                  <a:lnTo>
                    <a:pt x="219236" y="339336"/>
                  </a:lnTo>
                  <a:lnTo>
                    <a:pt x="221259" y="334747"/>
                  </a:lnTo>
                  <a:lnTo>
                    <a:pt x="221259" y="333218"/>
                  </a:lnTo>
                  <a:lnTo>
                    <a:pt x="211391" y="333218"/>
                  </a:lnTo>
                  <a:lnTo>
                    <a:pt x="217263" y="336277"/>
                  </a:lnTo>
                  <a:lnTo>
                    <a:pt x="217263" y="342346"/>
                  </a:lnTo>
                  <a:lnTo>
                    <a:pt x="213365" y="345405"/>
                  </a:lnTo>
                  <a:lnTo>
                    <a:pt x="207444" y="345405"/>
                  </a:lnTo>
                  <a:lnTo>
                    <a:pt x="201572" y="339336"/>
                  </a:lnTo>
                  <a:lnTo>
                    <a:pt x="201572" y="337806"/>
                  </a:lnTo>
                  <a:lnTo>
                    <a:pt x="197675" y="339336"/>
                  </a:lnTo>
                  <a:lnTo>
                    <a:pt x="195701" y="337806"/>
                  </a:lnTo>
                  <a:lnTo>
                    <a:pt x="187856" y="334747"/>
                  </a:lnTo>
                  <a:lnTo>
                    <a:pt x="181984" y="331688"/>
                  </a:lnTo>
                  <a:lnTo>
                    <a:pt x="180010" y="311952"/>
                  </a:lnTo>
                  <a:lnTo>
                    <a:pt x="168267" y="311952"/>
                  </a:lnTo>
                  <a:lnTo>
                    <a:pt x="166294" y="304353"/>
                  </a:lnTo>
                  <a:lnTo>
                    <a:pt x="166294" y="293647"/>
                  </a:lnTo>
                  <a:lnTo>
                    <a:pt x="172165" y="289107"/>
                  </a:lnTo>
                  <a:lnTo>
                    <a:pt x="166294" y="275391"/>
                  </a:lnTo>
                  <a:lnTo>
                    <a:pt x="160422" y="270851"/>
                  </a:lnTo>
                  <a:lnTo>
                    <a:pt x="152578" y="260145"/>
                  </a:lnTo>
                  <a:lnTo>
                    <a:pt x="148679" y="258665"/>
                  </a:lnTo>
                  <a:lnTo>
                    <a:pt x="144733" y="258665"/>
                  </a:lnTo>
                  <a:lnTo>
                    <a:pt x="117299" y="243468"/>
                  </a:lnTo>
                  <a:lnTo>
                    <a:pt x="111428" y="243468"/>
                  </a:lnTo>
                  <a:lnTo>
                    <a:pt x="109454" y="248007"/>
                  </a:lnTo>
                  <a:lnTo>
                    <a:pt x="99586" y="241889"/>
                  </a:lnTo>
                  <a:lnTo>
                    <a:pt x="101510" y="237349"/>
                  </a:lnTo>
                  <a:lnTo>
                    <a:pt x="99586" y="235820"/>
                  </a:lnTo>
                  <a:lnTo>
                    <a:pt x="101510" y="229751"/>
                  </a:lnTo>
                  <a:lnTo>
                    <a:pt x="93665" y="223682"/>
                  </a:lnTo>
                  <a:lnTo>
                    <a:pt x="93665" y="220623"/>
                  </a:lnTo>
                  <a:lnTo>
                    <a:pt x="85820" y="217564"/>
                  </a:lnTo>
                  <a:lnTo>
                    <a:pt x="81922" y="212975"/>
                  </a:lnTo>
                  <a:lnTo>
                    <a:pt x="78024" y="212975"/>
                  </a:lnTo>
                  <a:lnTo>
                    <a:pt x="78024" y="208288"/>
                  </a:lnTo>
                  <a:lnTo>
                    <a:pt x="79949" y="205229"/>
                  </a:lnTo>
                  <a:lnTo>
                    <a:pt x="78024" y="202219"/>
                  </a:lnTo>
                  <a:lnTo>
                    <a:pt x="79949" y="199160"/>
                  </a:lnTo>
                  <a:lnTo>
                    <a:pt x="79949" y="186973"/>
                  </a:lnTo>
                  <a:lnTo>
                    <a:pt x="83846" y="183963"/>
                  </a:lnTo>
                  <a:lnTo>
                    <a:pt x="85820" y="174835"/>
                  </a:lnTo>
                  <a:lnTo>
                    <a:pt x="89767" y="174835"/>
                  </a:lnTo>
                  <a:lnTo>
                    <a:pt x="93665" y="173305"/>
                  </a:lnTo>
                  <a:lnTo>
                    <a:pt x="93665" y="161119"/>
                  </a:lnTo>
                  <a:lnTo>
                    <a:pt x="91692" y="159589"/>
                  </a:lnTo>
                  <a:lnTo>
                    <a:pt x="89767" y="151991"/>
                  </a:lnTo>
                  <a:lnTo>
                    <a:pt x="93665" y="151991"/>
                  </a:lnTo>
                  <a:lnTo>
                    <a:pt x="101510" y="148931"/>
                  </a:lnTo>
                  <a:lnTo>
                    <a:pt x="103483" y="148931"/>
                  </a:lnTo>
                  <a:lnTo>
                    <a:pt x="99586" y="147402"/>
                  </a:lnTo>
                  <a:lnTo>
                    <a:pt x="95639" y="144343"/>
                  </a:lnTo>
                  <a:lnTo>
                    <a:pt x="87794" y="145872"/>
                  </a:lnTo>
                  <a:lnTo>
                    <a:pt x="81922" y="144343"/>
                  </a:lnTo>
                  <a:lnTo>
                    <a:pt x="70179" y="136794"/>
                  </a:lnTo>
                  <a:lnTo>
                    <a:pt x="64258" y="136794"/>
                  </a:lnTo>
                  <a:lnTo>
                    <a:pt x="58436" y="133735"/>
                  </a:lnTo>
                  <a:lnTo>
                    <a:pt x="54489" y="126136"/>
                  </a:lnTo>
                  <a:lnTo>
                    <a:pt x="52515" y="121547"/>
                  </a:lnTo>
                  <a:lnTo>
                    <a:pt x="47038" y="121547"/>
                  </a:lnTo>
                  <a:lnTo>
                    <a:pt x="43091" y="115479"/>
                  </a:lnTo>
                  <a:lnTo>
                    <a:pt x="43091" y="107880"/>
                  </a:lnTo>
                  <a:lnTo>
                    <a:pt x="41167" y="101762"/>
                  </a:lnTo>
                  <a:lnTo>
                    <a:pt x="33322" y="100232"/>
                  </a:lnTo>
                  <a:lnTo>
                    <a:pt x="31348" y="100232"/>
                  </a:lnTo>
                  <a:lnTo>
                    <a:pt x="33322" y="95693"/>
                  </a:lnTo>
                  <a:lnTo>
                    <a:pt x="29424" y="89624"/>
                  </a:lnTo>
                  <a:lnTo>
                    <a:pt x="23503" y="75908"/>
                  </a:lnTo>
                  <a:lnTo>
                    <a:pt x="13635" y="72849"/>
                  </a:lnTo>
                  <a:lnTo>
                    <a:pt x="15559" y="69839"/>
                  </a:lnTo>
                  <a:lnTo>
                    <a:pt x="13635" y="62241"/>
                  </a:lnTo>
                  <a:lnTo>
                    <a:pt x="19507" y="51534"/>
                  </a:lnTo>
                  <a:lnTo>
                    <a:pt x="15559" y="46994"/>
                  </a:lnTo>
                  <a:lnTo>
                    <a:pt x="7714" y="46994"/>
                  </a:lnTo>
                  <a:lnTo>
                    <a:pt x="7714" y="39544"/>
                  </a:lnTo>
                  <a:lnTo>
                    <a:pt x="9688" y="31896"/>
                  </a:lnTo>
                  <a:lnTo>
                    <a:pt x="5790" y="21288"/>
                  </a:lnTo>
                  <a:lnTo>
                    <a:pt x="-82" y="15219"/>
                  </a:lnTo>
                  <a:lnTo>
                    <a:pt x="-82" y="12160"/>
                  </a:lnTo>
                  <a:lnTo>
                    <a:pt x="11661" y="12160"/>
                  </a:lnTo>
                  <a:lnTo>
                    <a:pt x="15559" y="3032"/>
                  </a:lnTo>
                  <a:lnTo>
                    <a:pt x="19507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Graphic 2">
              <a:extLst>
                <a:ext uri="{FF2B5EF4-FFF2-40B4-BE49-F238E27FC236}">
                  <a16:creationId xmlns:a16="http://schemas.microsoft.com/office/drawing/2014/main" id="{131A80B0-EBC5-47C5-8BE1-00937D409D95}"/>
                </a:ext>
              </a:extLst>
            </p:cNvPr>
            <p:cNvSpPr/>
            <p:nvPr/>
          </p:nvSpPr>
          <p:spPr>
            <a:xfrm>
              <a:off x="6750404" y="3390425"/>
              <a:ext cx="118655" cy="84762"/>
            </a:xfrm>
            <a:custGeom>
              <a:avLst/>
              <a:gdLst>
                <a:gd name="connsiteX0" fmla="*/ -82 w 130603"/>
                <a:gd name="connsiteY0" fmla="*/ 6091 h 93302"/>
                <a:gd name="connsiteX1" fmla="*/ 11809 w 130603"/>
                <a:gd name="connsiteY1" fmla="*/ 3032 h 93302"/>
                <a:gd name="connsiteX2" fmla="*/ 27598 w 130603"/>
                <a:gd name="connsiteY2" fmla="*/ -27 h 93302"/>
                <a:gd name="connsiteX3" fmla="*/ 53354 w 130603"/>
                <a:gd name="connsiteY3" fmla="*/ -27 h 93302"/>
                <a:gd name="connsiteX4" fmla="*/ 61297 w 130603"/>
                <a:gd name="connsiteY4" fmla="*/ 6091 h 93302"/>
                <a:gd name="connsiteX5" fmla="*/ 75113 w 130603"/>
                <a:gd name="connsiteY5" fmla="*/ 7621 h 93302"/>
                <a:gd name="connsiteX6" fmla="*/ 83057 w 130603"/>
                <a:gd name="connsiteY6" fmla="*/ 13739 h 93302"/>
                <a:gd name="connsiteX7" fmla="*/ 81033 w 130603"/>
                <a:gd name="connsiteY7" fmla="*/ 21387 h 93302"/>
                <a:gd name="connsiteX8" fmla="*/ 81033 w 130603"/>
                <a:gd name="connsiteY8" fmla="*/ 27505 h 93302"/>
                <a:gd name="connsiteX9" fmla="*/ 94898 w 130603"/>
                <a:gd name="connsiteY9" fmla="*/ 38212 h 93302"/>
                <a:gd name="connsiteX10" fmla="*/ 94898 w 130603"/>
                <a:gd name="connsiteY10" fmla="*/ 45860 h 93302"/>
                <a:gd name="connsiteX11" fmla="*/ 90951 w 130603"/>
                <a:gd name="connsiteY11" fmla="*/ 48919 h 93302"/>
                <a:gd name="connsiteX12" fmla="*/ 94898 w 130603"/>
                <a:gd name="connsiteY12" fmla="*/ 58096 h 93302"/>
                <a:gd name="connsiteX13" fmla="*/ 112760 w 130603"/>
                <a:gd name="connsiteY13" fmla="*/ 65744 h 93302"/>
                <a:gd name="connsiteX14" fmla="*/ 122628 w 130603"/>
                <a:gd name="connsiteY14" fmla="*/ 65744 h 93302"/>
                <a:gd name="connsiteX15" fmla="*/ 130522 w 130603"/>
                <a:gd name="connsiteY15" fmla="*/ 73392 h 93302"/>
                <a:gd name="connsiteX16" fmla="*/ 122628 w 130603"/>
                <a:gd name="connsiteY16" fmla="*/ 74921 h 93302"/>
                <a:gd name="connsiteX17" fmla="*/ 126574 w 130603"/>
                <a:gd name="connsiteY17" fmla="*/ 82569 h 93302"/>
                <a:gd name="connsiteX18" fmla="*/ 124601 w 130603"/>
                <a:gd name="connsiteY18" fmla="*/ 85628 h 93302"/>
                <a:gd name="connsiteX19" fmla="*/ 124601 w 130603"/>
                <a:gd name="connsiteY19" fmla="*/ 91746 h 93302"/>
                <a:gd name="connsiteX20" fmla="*/ 116706 w 130603"/>
                <a:gd name="connsiteY20" fmla="*/ 93276 h 93302"/>
                <a:gd name="connsiteX21" fmla="*/ 98895 w 130603"/>
                <a:gd name="connsiteY21" fmla="*/ 73540 h 93302"/>
                <a:gd name="connsiteX22" fmla="*/ 90951 w 130603"/>
                <a:gd name="connsiteY22" fmla="*/ 72010 h 93302"/>
                <a:gd name="connsiteX23" fmla="*/ 85030 w 130603"/>
                <a:gd name="connsiteY23" fmla="*/ 61303 h 93302"/>
                <a:gd name="connsiteX24" fmla="*/ 79060 w 130603"/>
                <a:gd name="connsiteY24" fmla="*/ 61303 h 93302"/>
                <a:gd name="connsiteX25" fmla="*/ 75113 w 130603"/>
                <a:gd name="connsiteY25" fmla="*/ 62833 h 93302"/>
                <a:gd name="connsiteX26" fmla="*/ 65245 w 130603"/>
                <a:gd name="connsiteY26" fmla="*/ 56715 h 93302"/>
                <a:gd name="connsiteX27" fmla="*/ 59324 w 130603"/>
                <a:gd name="connsiteY27" fmla="*/ 58244 h 93302"/>
                <a:gd name="connsiteX28" fmla="*/ 53354 w 130603"/>
                <a:gd name="connsiteY28" fmla="*/ 59774 h 93302"/>
                <a:gd name="connsiteX29" fmla="*/ 51380 w 130603"/>
                <a:gd name="connsiteY29" fmla="*/ 55185 h 93302"/>
                <a:gd name="connsiteX30" fmla="*/ 45459 w 130603"/>
                <a:gd name="connsiteY30" fmla="*/ 50596 h 93302"/>
                <a:gd name="connsiteX31" fmla="*/ 25723 w 130603"/>
                <a:gd name="connsiteY31" fmla="*/ 50596 h 93302"/>
                <a:gd name="connsiteX32" fmla="*/ 15855 w 130603"/>
                <a:gd name="connsiteY32" fmla="*/ 46008 h 93302"/>
                <a:gd name="connsiteX33" fmla="*/ 15855 w 130603"/>
                <a:gd name="connsiteY33" fmla="*/ 32242 h 93302"/>
                <a:gd name="connsiteX34" fmla="*/ 17829 w 130603"/>
                <a:gd name="connsiteY34" fmla="*/ 23064 h 93302"/>
                <a:gd name="connsiteX35" fmla="*/ 13881 w 130603"/>
                <a:gd name="connsiteY35" fmla="*/ 15417 h 93302"/>
                <a:gd name="connsiteX36" fmla="*/ 7911 w 130603"/>
                <a:gd name="connsiteY36" fmla="*/ 13887 h 93302"/>
                <a:gd name="connsiteX37" fmla="*/ 7911 w 130603"/>
                <a:gd name="connsiteY37" fmla="*/ 10828 h 93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0603" h="93302">
                  <a:moveTo>
                    <a:pt x="-82" y="6091"/>
                  </a:moveTo>
                  <a:lnTo>
                    <a:pt x="11809" y="3032"/>
                  </a:lnTo>
                  <a:lnTo>
                    <a:pt x="27598" y="-27"/>
                  </a:lnTo>
                  <a:lnTo>
                    <a:pt x="53354" y="-27"/>
                  </a:lnTo>
                  <a:lnTo>
                    <a:pt x="61297" y="6091"/>
                  </a:lnTo>
                  <a:lnTo>
                    <a:pt x="75113" y="7621"/>
                  </a:lnTo>
                  <a:lnTo>
                    <a:pt x="83057" y="13739"/>
                  </a:lnTo>
                  <a:lnTo>
                    <a:pt x="81033" y="21387"/>
                  </a:lnTo>
                  <a:lnTo>
                    <a:pt x="81033" y="27505"/>
                  </a:lnTo>
                  <a:lnTo>
                    <a:pt x="94898" y="38212"/>
                  </a:lnTo>
                  <a:lnTo>
                    <a:pt x="94898" y="45860"/>
                  </a:lnTo>
                  <a:lnTo>
                    <a:pt x="90951" y="48919"/>
                  </a:lnTo>
                  <a:lnTo>
                    <a:pt x="94898" y="58096"/>
                  </a:lnTo>
                  <a:lnTo>
                    <a:pt x="112760" y="65744"/>
                  </a:lnTo>
                  <a:lnTo>
                    <a:pt x="122628" y="65744"/>
                  </a:lnTo>
                  <a:lnTo>
                    <a:pt x="130522" y="73392"/>
                  </a:lnTo>
                  <a:lnTo>
                    <a:pt x="122628" y="74921"/>
                  </a:lnTo>
                  <a:lnTo>
                    <a:pt x="126574" y="82569"/>
                  </a:lnTo>
                  <a:lnTo>
                    <a:pt x="124601" y="85628"/>
                  </a:lnTo>
                  <a:lnTo>
                    <a:pt x="124601" y="91746"/>
                  </a:lnTo>
                  <a:lnTo>
                    <a:pt x="116706" y="93276"/>
                  </a:lnTo>
                  <a:lnTo>
                    <a:pt x="98895" y="73540"/>
                  </a:lnTo>
                  <a:lnTo>
                    <a:pt x="90951" y="72010"/>
                  </a:lnTo>
                  <a:lnTo>
                    <a:pt x="85030" y="61303"/>
                  </a:lnTo>
                  <a:lnTo>
                    <a:pt x="79060" y="61303"/>
                  </a:lnTo>
                  <a:lnTo>
                    <a:pt x="75113" y="62833"/>
                  </a:lnTo>
                  <a:lnTo>
                    <a:pt x="65245" y="56715"/>
                  </a:lnTo>
                  <a:lnTo>
                    <a:pt x="59324" y="58244"/>
                  </a:lnTo>
                  <a:lnTo>
                    <a:pt x="53354" y="59774"/>
                  </a:lnTo>
                  <a:lnTo>
                    <a:pt x="51380" y="55185"/>
                  </a:lnTo>
                  <a:lnTo>
                    <a:pt x="45459" y="50596"/>
                  </a:lnTo>
                  <a:lnTo>
                    <a:pt x="25723" y="50596"/>
                  </a:lnTo>
                  <a:lnTo>
                    <a:pt x="15855" y="46008"/>
                  </a:lnTo>
                  <a:lnTo>
                    <a:pt x="15855" y="32242"/>
                  </a:lnTo>
                  <a:lnTo>
                    <a:pt x="17829" y="23064"/>
                  </a:lnTo>
                  <a:lnTo>
                    <a:pt x="13881" y="15417"/>
                  </a:lnTo>
                  <a:lnTo>
                    <a:pt x="7911" y="13887"/>
                  </a:lnTo>
                  <a:lnTo>
                    <a:pt x="7911" y="1082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Graphic 2">
              <a:extLst>
                <a:ext uri="{FF2B5EF4-FFF2-40B4-BE49-F238E27FC236}">
                  <a16:creationId xmlns:a16="http://schemas.microsoft.com/office/drawing/2014/main" id="{EDBD6E2A-C626-420B-A457-B8C2BA52D9BF}"/>
                </a:ext>
              </a:extLst>
            </p:cNvPr>
            <p:cNvSpPr/>
            <p:nvPr/>
          </p:nvSpPr>
          <p:spPr>
            <a:xfrm>
              <a:off x="6207916" y="3369896"/>
              <a:ext cx="604349" cy="210228"/>
            </a:xfrm>
            <a:custGeom>
              <a:avLst/>
              <a:gdLst>
                <a:gd name="connsiteX0" fmla="*/ 9687 w 665206"/>
                <a:gd name="connsiteY0" fmla="*/ 50744 h 231406"/>
                <a:gd name="connsiteX1" fmla="*/ 15559 w 665206"/>
                <a:gd name="connsiteY1" fmla="*/ 49215 h 231406"/>
                <a:gd name="connsiteX2" fmla="*/ 19506 w 665206"/>
                <a:gd name="connsiteY2" fmla="*/ 41567 h 231406"/>
                <a:gd name="connsiteX3" fmla="*/ 19506 w 665206"/>
                <a:gd name="connsiteY3" fmla="*/ 33870 h 231406"/>
                <a:gd name="connsiteX4" fmla="*/ 29374 w 665206"/>
                <a:gd name="connsiteY4" fmla="*/ 29281 h 231406"/>
                <a:gd name="connsiteX5" fmla="*/ 29374 w 665206"/>
                <a:gd name="connsiteY5" fmla="*/ 22966 h 231406"/>
                <a:gd name="connsiteX6" fmla="*/ 23503 w 665206"/>
                <a:gd name="connsiteY6" fmla="*/ 19906 h 231406"/>
                <a:gd name="connsiteX7" fmla="*/ 25477 w 665206"/>
                <a:gd name="connsiteY7" fmla="*/ 10680 h 231406"/>
                <a:gd name="connsiteX8" fmla="*/ 29374 w 665206"/>
                <a:gd name="connsiteY8" fmla="*/ 4562 h 231406"/>
                <a:gd name="connsiteX9" fmla="*/ 35048 w 665206"/>
                <a:gd name="connsiteY9" fmla="*/ 4562 h 231406"/>
                <a:gd name="connsiteX10" fmla="*/ 38947 w 665206"/>
                <a:gd name="connsiteY10" fmla="*/ 1503 h 231406"/>
                <a:gd name="connsiteX11" fmla="*/ 48815 w 665206"/>
                <a:gd name="connsiteY11" fmla="*/ 1503 h 231406"/>
                <a:gd name="connsiteX12" fmla="*/ 60558 w 665206"/>
                <a:gd name="connsiteY12" fmla="*/ 7621 h 231406"/>
                <a:gd name="connsiteX13" fmla="*/ 64455 w 665206"/>
                <a:gd name="connsiteY13" fmla="*/ 4562 h 231406"/>
                <a:gd name="connsiteX14" fmla="*/ 72251 w 665206"/>
                <a:gd name="connsiteY14" fmla="*/ 6091 h 231406"/>
                <a:gd name="connsiteX15" fmla="*/ 74224 w 665206"/>
                <a:gd name="connsiteY15" fmla="*/ 16847 h 231406"/>
                <a:gd name="connsiteX16" fmla="*/ 84092 w 665206"/>
                <a:gd name="connsiteY16" fmla="*/ 24495 h 231406"/>
                <a:gd name="connsiteX17" fmla="*/ 93961 w 665206"/>
                <a:gd name="connsiteY17" fmla="*/ 26025 h 231406"/>
                <a:gd name="connsiteX18" fmla="*/ 101757 w 665206"/>
                <a:gd name="connsiteY18" fmla="*/ 33672 h 231406"/>
                <a:gd name="connsiteX19" fmla="*/ 107628 w 665206"/>
                <a:gd name="connsiteY19" fmla="*/ 36731 h 231406"/>
                <a:gd name="connsiteX20" fmla="*/ 107628 w 665206"/>
                <a:gd name="connsiteY20" fmla="*/ 41369 h 231406"/>
                <a:gd name="connsiteX21" fmla="*/ 101757 w 665206"/>
                <a:gd name="connsiteY21" fmla="*/ 47488 h 231406"/>
                <a:gd name="connsiteX22" fmla="*/ 93961 w 665206"/>
                <a:gd name="connsiteY22" fmla="*/ 45958 h 231406"/>
                <a:gd name="connsiteX23" fmla="*/ 88089 w 665206"/>
                <a:gd name="connsiteY23" fmla="*/ 44429 h 231406"/>
                <a:gd name="connsiteX24" fmla="*/ 80244 w 665206"/>
                <a:gd name="connsiteY24" fmla="*/ 44429 h 231406"/>
                <a:gd name="connsiteX25" fmla="*/ 76396 w 665206"/>
                <a:gd name="connsiteY25" fmla="*/ 45958 h 231406"/>
                <a:gd name="connsiteX26" fmla="*/ 64653 w 665206"/>
                <a:gd name="connsiteY26" fmla="*/ 45958 h 231406"/>
                <a:gd name="connsiteX27" fmla="*/ 58830 w 665206"/>
                <a:gd name="connsiteY27" fmla="*/ 49017 h 231406"/>
                <a:gd name="connsiteX28" fmla="*/ 52959 w 665206"/>
                <a:gd name="connsiteY28" fmla="*/ 56665 h 231406"/>
                <a:gd name="connsiteX29" fmla="*/ 35345 w 665206"/>
                <a:gd name="connsiteY29" fmla="*/ 64362 h 231406"/>
                <a:gd name="connsiteX30" fmla="*/ 19753 w 665206"/>
                <a:gd name="connsiteY30" fmla="*/ 76599 h 231406"/>
                <a:gd name="connsiteX31" fmla="*/ 17779 w 665206"/>
                <a:gd name="connsiteY31" fmla="*/ 72010 h 231406"/>
                <a:gd name="connsiteX32" fmla="*/ 23602 w 665206"/>
                <a:gd name="connsiteY32" fmla="*/ 62783 h 231406"/>
                <a:gd name="connsiteX33" fmla="*/ 27549 w 665206"/>
                <a:gd name="connsiteY33" fmla="*/ 61254 h 231406"/>
                <a:gd name="connsiteX34" fmla="*/ 33371 w 665206"/>
                <a:gd name="connsiteY34" fmla="*/ 58195 h 231406"/>
                <a:gd name="connsiteX35" fmla="*/ 17779 w 665206"/>
                <a:gd name="connsiteY35" fmla="*/ 58195 h 231406"/>
                <a:gd name="connsiteX36" fmla="*/ 11908 w 665206"/>
                <a:gd name="connsiteY36" fmla="*/ 55136 h 231406"/>
                <a:gd name="connsiteX37" fmla="*/ 9934 w 665206"/>
                <a:gd name="connsiteY37" fmla="*/ 50547 h 231406"/>
                <a:gd name="connsiteX38" fmla="*/ 537235 w 665206"/>
                <a:gd name="connsiteY38" fmla="*/ 13986 h 231406"/>
                <a:gd name="connsiteX39" fmla="*/ 535261 w 665206"/>
                <a:gd name="connsiteY39" fmla="*/ 15515 h 231406"/>
                <a:gd name="connsiteX40" fmla="*/ 529439 w 665206"/>
                <a:gd name="connsiteY40" fmla="*/ 22966 h 231406"/>
                <a:gd name="connsiteX41" fmla="*/ 519570 w 665206"/>
                <a:gd name="connsiteY41" fmla="*/ 27554 h 231406"/>
                <a:gd name="connsiteX42" fmla="*/ 509702 w 665206"/>
                <a:gd name="connsiteY42" fmla="*/ 32143 h 231406"/>
                <a:gd name="connsiteX43" fmla="*/ 507779 w 665206"/>
                <a:gd name="connsiteY43" fmla="*/ 36731 h 231406"/>
                <a:gd name="connsiteX44" fmla="*/ 494062 w 665206"/>
                <a:gd name="connsiteY44" fmla="*/ 36731 h 231406"/>
                <a:gd name="connsiteX45" fmla="*/ 490213 w 665206"/>
                <a:gd name="connsiteY45" fmla="*/ 41369 h 231406"/>
                <a:gd name="connsiteX46" fmla="*/ 476496 w 665206"/>
                <a:gd name="connsiteY46" fmla="*/ 36731 h 231406"/>
                <a:gd name="connsiteX47" fmla="*/ 472599 w 665206"/>
                <a:gd name="connsiteY47" fmla="*/ 35202 h 231406"/>
                <a:gd name="connsiteX48" fmla="*/ 468701 w 665206"/>
                <a:gd name="connsiteY48" fmla="*/ 35202 h 231406"/>
                <a:gd name="connsiteX49" fmla="*/ 462829 w 665206"/>
                <a:gd name="connsiteY49" fmla="*/ 33672 h 231406"/>
                <a:gd name="connsiteX50" fmla="*/ 457007 w 665206"/>
                <a:gd name="connsiteY50" fmla="*/ 35202 h 231406"/>
                <a:gd name="connsiteX51" fmla="*/ 445215 w 665206"/>
                <a:gd name="connsiteY51" fmla="*/ 36731 h 231406"/>
                <a:gd name="connsiteX52" fmla="*/ 427649 w 665206"/>
                <a:gd name="connsiteY52" fmla="*/ 42899 h 231406"/>
                <a:gd name="connsiteX53" fmla="*/ 417781 w 665206"/>
                <a:gd name="connsiteY53" fmla="*/ 41369 h 231406"/>
                <a:gd name="connsiteX54" fmla="*/ 409936 w 665206"/>
                <a:gd name="connsiteY54" fmla="*/ 35202 h 231406"/>
                <a:gd name="connsiteX55" fmla="*/ 405989 w 665206"/>
                <a:gd name="connsiteY55" fmla="*/ 36731 h 231406"/>
                <a:gd name="connsiteX56" fmla="*/ 390398 w 665206"/>
                <a:gd name="connsiteY56" fmla="*/ 32143 h 231406"/>
                <a:gd name="connsiteX57" fmla="*/ 382553 w 665206"/>
                <a:gd name="connsiteY57" fmla="*/ 30613 h 231406"/>
                <a:gd name="connsiteX58" fmla="*/ 370859 w 665206"/>
                <a:gd name="connsiteY58" fmla="*/ 24495 h 231406"/>
                <a:gd name="connsiteX59" fmla="*/ 368935 w 665206"/>
                <a:gd name="connsiteY59" fmla="*/ 24495 h 231406"/>
                <a:gd name="connsiteX60" fmla="*/ 364987 w 665206"/>
                <a:gd name="connsiteY60" fmla="*/ 27554 h 231406"/>
                <a:gd name="connsiteX61" fmla="*/ 357192 w 665206"/>
                <a:gd name="connsiteY61" fmla="*/ 26025 h 231406"/>
                <a:gd name="connsiteX62" fmla="*/ 351320 w 665206"/>
                <a:gd name="connsiteY62" fmla="*/ 19906 h 231406"/>
                <a:gd name="connsiteX63" fmla="*/ 349346 w 665206"/>
                <a:gd name="connsiteY63" fmla="*/ 10680 h 231406"/>
                <a:gd name="connsiteX64" fmla="*/ 345449 w 665206"/>
                <a:gd name="connsiteY64" fmla="*/ 7621 h 231406"/>
                <a:gd name="connsiteX65" fmla="*/ 341551 w 665206"/>
                <a:gd name="connsiteY65" fmla="*/ 7621 h 231406"/>
                <a:gd name="connsiteX66" fmla="*/ 331683 w 665206"/>
                <a:gd name="connsiteY66" fmla="*/ 16847 h 231406"/>
                <a:gd name="connsiteX67" fmla="*/ 329758 w 665206"/>
                <a:gd name="connsiteY67" fmla="*/ 15318 h 231406"/>
                <a:gd name="connsiteX68" fmla="*/ 323887 w 665206"/>
                <a:gd name="connsiteY68" fmla="*/ 16847 h 231406"/>
                <a:gd name="connsiteX69" fmla="*/ 312144 w 665206"/>
                <a:gd name="connsiteY69" fmla="*/ 6091 h 231406"/>
                <a:gd name="connsiteX70" fmla="*/ 312144 w 665206"/>
                <a:gd name="connsiteY70" fmla="*/ -27 h 231406"/>
                <a:gd name="connsiteX71" fmla="*/ 310170 w 665206"/>
                <a:gd name="connsiteY71" fmla="*/ -27 h 231406"/>
                <a:gd name="connsiteX72" fmla="*/ 300302 w 665206"/>
                <a:gd name="connsiteY72" fmla="*/ 3032 h 231406"/>
                <a:gd name="connsiteX73" fmla="*/ 288609 w 665206"/>
                <a:gd name="connsiteY73" fmla="*/ 3032 h 231406"/>
                <a:gd name="connsiteX74" fmla="*/ 282737 w 665206"/>
                <a:gd name="connsiteY74" fmla="*/ 1503 h 231406"/>
                <a:gd name="connsiteX75" fmla="*/ 276866 w 665206"/>
                <a:gd name="connsiteY75" fmla="*/ 3032 h 231406"/>
                <a:gd name="connsiteX76" fmla="*/ 257376 w 665206"/>
                <a:gd name="connsiteY76" fmla="*/ 1503 h 231406"/>
                <a:gd name="connsiteX77" fmla="*/ 249531 w 665206"/>
                <a:gd name="connsiteY77" fmla="*/ 3032 h 231406"/>
                <a:gd name="connsiteX78" fmla="*/ 233890 w 665206"/>
                <a:gd name="connsiteY78" fmla="*/ 9150 h 231406"/>
                <a:gd name="connsiteX79" fmla="*/ 226094 w 665206"/>
                <a:gd name="connsiteY79" fmla="*/ 10680 h 231406"/>
                <a:gd name="connsiteX80" fmla="*/ 212377 w 665206"/>
                <a:gd name="connsiteY80" fmla="*/ 13788 h 231406"/>
                <a:gd name="connsiteX81" fmla="*/ 208480 w 665206"/>
                <a:gd name="connsiteY81" fmla="*/ 18377 h 231406"/>
                <a:gd name="connsiteX82" fmla="*/ 202657 w 665206"/>
                <a:gd name="connsiteY82" fmla="*/ 19906 h 231406"/>
                <a:gd name="connsiteX83" fmla="*/ 196786 w 665206"/>
                <a:gd name="connsiteY83" fmla="*/ 24495 h 231406"/>
                <a:gd name="connsiteX84" fmla="*/ 194813 w 665206"/>
                <a:gd name="connsiteY84" fmla="*/ 26025 h 231406"/>
                <a:gd name="connsiteX85" fmla="*/ 188941 w 665206"/>
                <a:gd name="connsiteY85" fmla="*/ 33672 h 231406"/>
                <a:gd name="connsiteX86" fmla="*/ 185043 w 665206"/>
                <a:gd name="connsiteY86" fmla="*/ 35202 h 231406"/>
                <a:gd name="connsiteX87" fmla="*/ 187017 w 665206"/>
                <a:gd name="connsiteY87" fmla="*/ 38310 h 231406"/>
                <a:gd name="connsiteX88" fmla="*/ 175274 w 665206"/>
                <a:gd name="connsiteY88" fmla="*/ 38310 h 231406"/>
                <a:gd name="connsiteX89" fmla="*/ 153810 w 665206"/>
                <a:gd name="connsiteY89" fmla="*/ 33672 h 231406"/>
                <a:gd name="connsiteX90" fmla="*/ 149864 w 665206"/>
                <a:gd name="connsiteY90" fmla="*/ 33672 h 231406"/>
                <a:gd name="connsiteX91" fmla="*/ 143992 w 665206"/>
                <a:gd name="connsiteY91" fmla="*/ 35202 h 231406"/>
                <a:gd name="connsiteX92" fmla="*/ 138170 w 665206"/>
                <a:gd name="connsiteY92" fmla="*/ 33672 h 231406"/>
                <a:gd name="connsiteX93" fmla="*/ 126427 w 665206"/>
                <a:gd name="connsiteY93" fmla="*/ 36731 h 231406"/>
                <a:gd name="connsiteX94" fmla="*/ 120555 w 665206"/>
                <a:gd name="connsiteY94" fmla="*/ 35202 h 231406"/>
                <a:gd name="connsiteX95" fmla="*/ 110687 w 665206"/>
                <a:gd name="connsiteY95" fmla="*/ 36731 h 231406"/>
                <a:gd name="connsiteX96" fmla="*/ 110687 w 665206"/>
                <a:gd name="connsiteY96" fmla="*/ 42899 h 231406"/>
                <a:gd name="connsiteX97" fmla="*/ 116559 w 665206"/>
                <a:gd name="connsiteY97" fmla="*/ 52076 h 231406"/>
                <a:gd name="connsiteX98" fmla="*/ 136295 w 665206"/>
                <a:gd name="connsiteY98" fmla="*/ 52076 h 231406"/>
                <a:gd name="connsiteX99" fmla="*/ 134321 w 665206"/>
                <a:gd name="connsiteY99" fmla="*/ 55136 h 231406"/>
                <a:gd name="connsiteX100" fmla="*/ 118729 w 665206"/>
                <a:gd name="connsiteY100" fmla="*/ 56665 h 231406"/>
                <a:gd name="connsiteX101" fmla="*/ 106986 w 665206"/>
                <a:gd name="connsiteY101" fmla="*/ 59724 h 231406"/>
                <a:gd name="connsiteX102" fmla="*/ 103089 w 665206"/>
                <a:gd name="connsiteY102" fmla="*/ 64362 h 231406"/>
                <a:gd name="connsiteX103" fmla="*/ 105062 w 665206"/>
                <a:gd name="connsiteY103" fmla="*/ 68951 h 231406"/>
                <a:gd name="connsiteX104" fmla="*/ 110885 w 665206"/>
                <a:gd name="connsiteY104" fmla="*/ 67421 h 231406"/>
                <a:gd name="connsiteX105" fmla="*/ 112858 w 665206"/>
                <a:gd name="connsiteY105" fmla="*/ 70480 h 231406"/>
                <a:gd name="connsiteX106" fmla="*/ 108960 w 665206"/>
                <a:gd name="connsiteY106" fmla="*/ 72010 h 231406"/>
                <a:gd name="connsiteX107" fmla="*/ 93320 w 665206"/>
                <a:gd name="connsiteY107" fmla="*/ 72010 h 231406"/>
                <a:gd name="connsiteX108" fmla="*/ 83452 w 665206"/>
                <a:gd name="connsiteY108" fmla="*/ 68951 h 231406"/>
                <a:gd name="connsiteX109" fmla="*/ 75655 w 665206"/>
                <a:gd name="connsiteY109" fmla="*/ 72010 h 231406"/>
                <a:gd name="connsiteX110" fmla="*/ 71709 w 665206"/>
                <a:gd name="connsiteY110" fmla="*/ 67421 h 231406"/>
                <a:gd name="connsiteX111" fmla="*/ 67811 w 665206"/>
                <a:gd name="connsiteY111" fmla="*/ 67421 h 231406"/>
                <a:gd name="connsiteX112" fmla="*/ 61939 w 665206"/>
                <a:gd name="connsiteY112" fmla="*/ 73539 h 231406"/>
                <a:gd name="connsiteX113" fmla="*/ 56067 w 665206"/>
                <a:gd name="connsiteY113" fmla="*/ 72010 h 231406"/>
                <a:gd name="connsiteX114" fmla="*/ 46199 w 665206"/>
                <a:gd name="connsiteY114" fmla="*/ 67421 h 231406"/>
                <a:gd name="connsiteX115" fmla="*/ 38404 w 665206"/>
                <a:gd name="connsiteY115" fmla="*/ 67421 h 231406"/>
                <a:gd name="connsiteX116" fmla="*/ 22763 w 665206"/>
                <a:gd name="connsiteY116" fmla="*/ 78128 h 231406"/>
                <a:gd name="connsiteX117" fmla="*/ 18914 w 665206"/>
                <a:gd name="connsiteY117" fmla="*/ 82717 h 231406"/>
                <a:gd name="connsiteX118" fmla="*/ 16940 w 665206"/>
                <a:gd name="connsiteY118" fmla="*/ 87305 h 231406"/>
                <a:gd name="connsiteX119" fmla="*/ 18914 w 665206"/>
                <a:gd name="connsiteY119" fmla="*/ 93473 h 231406"/>
                <a:gd name="connsiteX120" fmla="*/ 18914 w 665206"/>
                <a:gd name="connsiteY120" fmla="*/ 99591 h 231406"/>
                <a:gd name="connsiteX121" fmla="*/ 16940 w 665206"/>
                <a:gd name="connsiteY121" fmla="*/ 101121 h 231406"/>
                <a:gd name="connsiteX122" fmla="*/ 18914 w 665206"/>
                <a:gd name="connsiteY122" fmla="*/ 105709 h 231406"/>
                <a:gd name="connsiteX123" fmla="*/ 28782 w 665206"/>
                <a:gd name="connsiteY123" fmla="*/ 102650 h 231406"/>
                <a:gd name="connsiteX124" fmla="*/ 46348 w 665206"/>
                <a:gd name="connsiteY124" fmla="*/ 102650 h 231406"/>
                <a:gd name="connsiteX125" fmla="*/ 38551 w 665206"/>
                <a:gd name="connsiteY125" fmla="*/ 108769 h 231406"/>
                <a:gd name="connsiteX126" fmla="*/ 40525 w 665206"/>
                <a:gd name="connsiteY126" fmla="*/ 113357 h 231406"/>
                <a:gd name="connsiteX127" fmla="*/ 42499 w 665206"/>
                <a:gd name="connsiteY127" fmla="*/ 117995 h 231406"/>
                <a:gd name="connsiteX128" fmla="*/ 42499 w 665206"/>
                <a:gd name="connsiteY128" fmla="*/ 125643 h 231406"/>
                <a:gd name="connsiteX129" fmla="*/ 44423 w 665206"/>
                <a:gd name="connsiteY129" fmla="*/ 127172 h 231406"/>
                <a:gd name="connsiteX130" fmla="*/ 50294 w 665206"/>
                <a:gd name="connsiteY130" fmla="*/ 122584 h 231406"/>
                <a:gd name="connsiteX131" fmla="*/ 50294 w 665206"/>
                <a:gd name="connsiteY131" fmla="*/ 125643 h 231406"/>
                <a:gd name="connsiteX132" fmla="*/ 46348 w 665206"/>
                <a:gd name="connsiteY132" fmla="*/ 130231 h 231406"/>
                <a:gd name="connsiteX133" fmla="*/ 38551 w 665206"/>
                <a:gd name="connsiteY133" fmla="*/ 134820 h 231406"/>
                <a:gd name="connsiteX134" fmla="*/ 42499 w 665206"/>
                <a:gd name="connsiteY134" fmla="*/ 136350 h 231406"/>
                <a:gd name="connsiteX135" fmla="*/ 46348 w 665206"/>
                <a:gd name="connsiteY135" fmla="*/ 136350 h 231406"/>
                <a:gd name="connsiteX136" fmla="*/ 42499 w 665206"/>
                <a:gd name="connsiteY136" fmla="*/ 139409 h 231406"/>
                <a:gd name="connsiteX137" fmla="*/ 38551 w 665206"/>
                <a:gd name="connsiteY137" fmla="*/ 144047 h 231406"/>
                <a:gd name="connsiteX138" fmla="*/ 35048 w 665206"/>
                <a:gd name="connsiteY138" fmla="*/ 144047 h 231406"/>
                <a:gd name="connsiteX139" fmla="*/ 31150 w 665206"/>
                <a:gd name="connsiteY139" fmla="*/ 136350 h 231406"/>
                <a:gd name="connsiteX140" fmla="*/ 29177 w 665206"/>
                <a:gd name="connsiteY140" fmla="*/ 136350 h 231406"/>
                <a:gd name="connsiteX141" fmla="*/ 27253 w 665206"/>
                <a:gd name="connsiteY141" fmla="*/ 140938 h 231406"/>
                <a:gd name="connsiteX142" fmla="*/ 31150 w 665206"/>
                <a:gd name="connsiteY142" fmla="*/ 147106 h 231406"/>
                <a:gd name="connsiteX143" fmla="*/ 27253 w 665206"/>
                <a:gd name="connsiteY143" fmla="*/ 150165 h 231406"/>
                <a:gd name="connsiteX144" fmla="*/ 29177 w 665206"/>
                <a:gd name="connsiteY144" fmla="*/ 154754 h 231406"/>
                <a:gd name="connsiteX145" fmla="*/ 35048 w 665206"/>
                <a:gd name="connsiteY145" fmla="*/ 157813 h 231406"/>
                <a:gd name="connsiteX146" fmla="*/ 35048 w 665206"/>
                <a:gd name="connsiteY146" fmla="*/ 154754 h 231406"/>
                <a:gd name="connsiteX147" fmla="*/ 42893 w 665206"/>
                <a:gd name="connsiteY147" fmla="*/ 160872 h 231406"/>
                <a:gd name="connsiteX148" fmla="*/ 46742 w 665206"/>
                <a:gd name="connsiteY148" fmla="*/ 159342 h 231406"/>
                <a:gd name="connsiteX149" fmla="*/ 56610 w 665206"/>
                <a:gd name="connsiteY149" fmla="*/ 163931 h 231406"/>
                <a:gd name="connsiteX150" fmla="*/ 58633 w 665206"/>
                <a:gd name="connsiteY150" fmla="*/ 170099 h 231406"/>
                <a:gd name="connsiteX151" fmla="*/ 50788 w 665206"/>
                <a:gd name="connsiteY151" fmla="*/ 176217 h 231406"/>
                <a:gd name="connsiteX152" fmla="*/ 58633 w 665206"/>
                <a:gd name="connsiteY152" fmla="*/ 179276 h 231406"/>
                <a:gd name="connsiteX153" fmla="*/ 58633 w 665206"/>
                <a:gd name="connsiteY153" fmla="*/ 183864 h 231406"/>
                <a:gd name="connsiteX154" fmla="*/ 62482 w 665206"/>
                <a:gd name="connsiteY154" fmla="*/ 183864 h 231406"/>
                <a:gd name="connsiteX155" fmla="*/ 70327 w 665206"/>
                <a:gd name="connsiteY155" fmla="*/ 191512 h 231406"/>
                <a:gd name="connsiteX156" fmla="*/ 68353 w 665206"/>
                <a:gd name="connsiteY156" fmla="*/ 196150 h 231406"/>
                <a:gd name="connsiteX157" fmla="*/ 62482 w 665206"/>
                <a:gd name="connsiteY157" fmla="*/ 194621 h 231406"/>
                <a:gd name="connsiteX158" fmla="*/ 60558 w 665206"/>
                <a:gd name="connsiteY158" fmla="*/ 197680 h 231406"/>
                <a:gd name="connsiteX159" fmla="*/ 66429 w 665206"/>
                <a:gd name="connsiteY159" fmla="*/ 200739 h 231406"/>
                <a:gd name="connsiteX160" fmla="*/ 76297 w 665206"/>
                <a:gd name="connsiteY160" fmla="*/ 196150 h 231406"/>
                <a:gd name="connsiteX161" fmla="*/ 91938 w 665206"/>
                <a:gd name="connsiteY161" fmla="*/ 196150 h 231406"/>
                <a:gd name="connsiteX162" fmla="*/ 91938 w 665206"/>
                <a:gd name="connsiteY162" fmla="*/ 200739 h 231406"/>
                <a:gd name="connsiteX163" fmla="*/ 86066 w 665206"/>
                <a:gd name="connsiteY163" fmla="*/ 203798 h 231406"/>
                <a:gd name="connsiteX164" fmla="*/ 78221 w 665206"/>
                <a:gd name="connsiteY164" fmla="*/ 206857 h 231406"/>
                <a:gd name="connsiteX165" fmla="*/ 68353 w 665206"/>
                <a:gd name="connsiteY165" fmla="*/ 206857 h 231406"/>
                <a:gd name="connsiteX166" fmla="*/ 64455 w 665206"/>
                <a:gd name="connsiteY166" fmla="*/ 209916 h 231406"/>
                <a:gd name="connsiteX167" fmla="*/ 68353 w 665206"/>
                <a:gd name="connsiteY167" fmla="*/ 209916 h 231406"/>
                <a:gd name="connsiteX168" fmla="*/ 74224 w 665206"/>
                <a:gd name="connsiteY168" fmla="*/ 208387 h 231406"/>
                <a:gd name="connsiteX169" fmla="*/ 82070 w 665206"/>
                <a:gd name="connsiteY169" fmla="*/ 208387 h 231406"/>
                <a:gd name="connsiteX170" fmla="*/ 85967 w 665206"/>
                <a:gd name="connsiteY170" fmla="*/ 206857 h 231406"/>
                <a:gd name="connsiteX171" fmla="*/ 85967 w 665206"/>
                <a:gd name="connsiteY171" fmla="*/ 211446 h 231406"/>
                <a:gd name="connsiteX172" fmla="*/ 87892 w 665206"/>
                <a:gd name="connsiteY172" fmla="*/ 212975 h 231406"/>
                <a:gd name="connsiteX173" fmla="*/ 93764 w 665206"/>
                <a:gd name="connsiteY173" fmla="*/ 208387 h 231406"/>
                <a:gd name="connsiteX174" fmla="*/ 97661 w 665206"/>
                <a:gd name="connsiteY174" fmla="*/ 203798 h 231406"/>
                <a:gd name="connsiteX175" fmla="*/ 103533 w 665206"/>
                <a:gd name="connsiteY175" fmla="*/ 203798 h 231406"/>
                <a:gd name="connsiteX176" fmla="*/ 107431 w 665206"/>
                <a:gd name="connsiteY176" fmla="*/ 206857 h 231406"/>
                <a:gd name="connsiteX177" fmla="*/ 111328 w 665206"/>
                <a:gd name="connsiteY177" fmla="*/ 206857 h 231406"/>
                <a:gd name="connsiteX178" fmla="*/ 117200 w 665206"/>
                <a:gd name="connsiteY178" fmla="*/ 209916 h 231406"/>
                <a:gd name="connsiteX179" fmla="*/ 121098 w 665206"/>
                <a:gd name="connsiteY179" fmla="*/ 206857 h 231406"/>
                <a:gd name="connsiteX180" fmla="*/ 126970 w 665206"/>
                <a:gd name="connsiteY180" fmla="*/ 206857 h 231406"/>
                <a:gd name="connsiteX181" fmla="*/ 126970 w 665206"/>
                <a:gd name="connsiteY181" fmla="*/ 209916 h 231406"/>
                <a:gd name="connsiteX182" fmla="*/ 125045 w 665206"/>
                <a:gd name="connsiteY182" fmla="*/ 211446 h 231406"/>
                <a:gd name="connsiteX183" fmla="*/ 126970 w 665206"/>
                <a:gd name="connsiteY183" fmla="*/ 216034 h 231406"/>
                <a:gd name="connsiteX184" fmla="*/ 126970 w 665206"/>
                <a:gd name="connsiteY184" fmla="*/ 219143 h 231406"/>
                <a:gd name="connsiteX185" fmla="*/ 134765 w 665206"/>
                <a:gd name="connsiteY185" fmla="*/ 226791 h 231406"/>
                <a:gd name="connsiteX186" fmla="*/ 136739 w 665206"/>
                <a:gd name="connsiteY186" fmla="*/ 223731 h 231406"/>
                <a:gd name="connsiteX187" fmla="*/ 144534 w 665206"/>
                <a:gd name="connsiteY187" fmla="*/ 228320 h 231406"/>
                <a:gd name="connsiteX188" fmla="*/ 154402 w 665206"/>
                <a:gd name="connsiteY188" fmla="*/ 226791 h 231406"/>
                <a:gd name="connsiteX189" fmla="*/ 160225 w 665206"/>
                <a:gd name="connsiteY189" fmla="*/ 222202 h 231406"/>
                <a:gd name="connsiteX190" fmla="*/ 166097 w 665206"/>
                <a:gd name="connsiteY190" fmla="*/ 222202 h 231406"/>
                <a:gd name="connsiteX191" fmla="*/ 170044 w 665206"/>
                <a:gd name="connsiteY191" fmla="*/ 219143 h 231406"/>
                <a:gd name="connsiteX192" fmla="*/ 175866 w 665206"/>
                <a:gd name="connsiteY192" fmla="*/ 222202 h 231406"/>
                <a:gd name="connsiteX193" fmla="*/ 179763 w 665206"/>
                <a:gd name="connsiteY193" fmla="*/ 220672 h 231406"/>
                <a:gd name="connsiteX194" fmla="*/ 179763 w 665206"/>
                <a:gd name="connsiteY194" fmla="*/ 203798 h 231406"/>
                <a:gd name="connsiteX195" fmla="*/ 195405 w 665206"/>
                <a:gd name="connsiteY195" fmla="*/ 202269 h 231406"/>
                <a:gd name="connsiteX196" fmla="*/ 207098 w 665206"/>
                <a:gd name="connsiteY196" fmla="*/ 203798 h 231406"/>
                <a:gd name="connsiteX197" fmla="*/ 226834 w 665206"/>
                <a:gd name="connsiteY197" fmla="*/ 209916 h 231406"/>
                <a:gd name="connsiteX198" fmla="*/ 232410 w 665206"/>
                <a:gd name="connsiteY198" fmla="*/ 209916 h 231406"/>
                <a:gd name="connsiteX199" fmla="*/ 242278 w 665206"/>
                <a:gd name="connsiteY199" fmla="*/ 223731 h 231406"/>
                <a:gd name="connsiteX200" fmla="*/ 252146 w 665206"/>
                <a:gd name="connsiteY200" fmla="*/ 229850 h 231406"/>
                <a:gd name="connsiteX201" fmla="*/ 285352 w 665206"/>
                <a:gd name="connsiteY201" fmla="*/ 226791 h 231406"/>
                <a:gd name="connsiteX202" fmla="*/ 295220 w 665206"/>
                <a:gd name="connsiteY202" fmla="*/ 222202 h 231406"/>
                <a:gd name="connsiteX203" fmla="*/ 301092 w 665206"/>
                <a:gd name="connsiteY203" fmla="*/ 222202 h 231406"/>
                <a:gd name="connsiteX204" fmla="*/ 305039 w 665206"/>
                <a:gd name="connsiteY204" fmla="*/ 220672 h 231406"/>
                <a:gd name="connsiteX205" fmla="*/ 306963 w 665206"/>
                <a:gd name="connsiteY205" fmla="*/ 214505 h 231406"/>
                <a:gd name="connsiteX206" fmla="*/ 320630 w 665206"/>
                <a:gd name="connsiteY206" fmla="*/ 200739 h 231406"/>
                <a:gd name="connsiteX207" fmla="*/ 324578 w 665206"/>
                <a:gd name="connsiteY207" fmla="*/ 200739 h 231406"/>
                <a:gd name="connsiteX208" fmla="*/ 340169 w 665206"/>
                <a:gd name="connsiteY208" fmla="*/ 203798 h 231406"/>
                <a:gd name="connsiteX209" fmla="*/ 348015 w 665206"/>
                <a:gd name="connsiteY209" fmla="*/ 208387 h 231406"/>
                <a:gd name="connsiteX210" fmla="*/ 359708 w 665206"/>
                <a:gd name="connsiteY210" fmla="*/ 205328 h 231406"/>
                <a:gd name="connsiteX211" fmla="*/ 359708 w 665206"/>
                <a:gd name="connsiteY211" fmla="*/ 203798 h 231406"/>
                <a:gd name="connsiteX212" fmla="*/ 369576 w 665206"/>
                <a:gd name="connsiteY212" fmla="*/ 197680 h 231406"/>
                <a:gd name="connsiteX213" fmla="*/ 375398 w 665206"/>
                <a:gd name="connsiteY213" fmla="*/ 200739 h 231406"/>
                <a:gd name="connsiteX214" fmla="*/ 375398 w 665206"/>
                <a:gd name="connsiteY214" fmla="*/ 203798 h 231406"/>
                <a:gd name="connsiteX215" fmla="*/ 371500 w 665206"/>
                <a:gd name="connsiteY215" fmla="*/ 211446 h 231406"/>
                <a:gd name="connsiteX216" fmla="*/ 363704 w 665206"/>
                <a:gd name="connsiteY216" fmla="*/ 216034 h 231406"/>
                <a:gd name="connsiteX217" fmla="*/ 363704 w 665206"/>
                <a:gd name="connsiteY217" fmla="*/ 219143 h 231406"/>
                <a:gd name="connsiteX218" fmla="*/ 369576 w 665206"/>
                <a:gd name="connsiteY218" fmla="*/ 226791 h 231406"/>
                <a:gd name="connsiteX219" fmla="*/ 369576 w 665206"/>
                <a:gd name="connsiteY219" fmla="*/ 231379 h 231406"/>
                <a:gd name="connsiteX220" fmla="*/ 383194 w 665206"/>
                <a:gd name="connsiteY220" fmla="*/ 231379 h 231406"/>
                <a:gd name="connsiteX221" fmla="*/ 389065 w 665206"/>
                <a:gd name="connsiteY221" fmla="*/ 228320 h 231406"/>
                <a:gd name="connsiteX222" fmla="*/ 389065 w 665206"/>
                <a:gd name="connsiteY222" fmla="*/ 220672 h 231406"/>
                <a:gd name="connsiteX223" fmla="*/ 393013 w 665206"/>
                <a:gd name="connsiteY223" fmla="*/ 219143 h 231406"/>
                <a:gd name="connsiteX224" fmla="*/ 393013 w 665206"/>
                <a:gd name="connsiteY224" fmla="*/ 206857 h 231406"/>
                <a:gd name="connsiteX225" fmla="*/ 394937 w 665206"/>
                <a:gd name="connsiteY225" fmla="*/ 202269 h 231406"/>
                <a:gd name="connsiteX226" fmla="*/ 406631 w 665206"/>
                <a:gd name="connsiteY226" fmla="*/ 205328 h 231406"/>
                <a:gd name="connsiteX227" fmla="*/ 412502 w 665206"/>
                <a:gd name="connsiteY227" fmla="*/ 206857 h 231406"/>
                <a:gd name="connsiteX228" fmla="*/ 432238 w 665206"/>
                <a:gd name="connsiteY228" fmla="*/ 200739 h 231406"/>
                <a:gd name="connsiteX229" fmla="*/ 436186 w 665206"/>
                <a:gd name="connsiteY229" fmla="*/ 200739 h 231406"/>
                <a:gd name="connsiteX230" fmla="*/ 440083 w 665206"/>
                <a:gd name="connsiteY230" fmla="*/ 196150 h 231406"/>
                <a:gd name="connsiteX231" fmla="*/ 457698 w 665206"/>
                <a:gd name="connsiteY231" fmla="*/ 194621 h 231406"/>
                <a:gd name="connsiteX232" fmla="*/ 463520 w 665206"/>
                <a:gd name="connsiteY232" fmla="*/ 196150 h 231406"/>
                <a:gd name="connsiteX233" fmla="*/ 469392 w 665206"/>
                <a:gd name="connsiteY233" fmla="*/ 200739 h 231406"/>
                <a:gd name="connsiteX234" fmla="*/ 481135 w 665206"/>
                <a:gd name="connsiteY234" fmla="*/ 202269 h 231406"/>
                <a:gd name="connsiteX235" fmla="*/ 494753 w 665206"/>
                <a:gd name="connsiteY235" fmla="*/ 202269 h 231406"/>
                <a:gd name="connsiteX236" fmla="*/ 496726 w 665206"/>
                <a:gd name="connsiteY236" fmla="*/ 200739 h 231406"/>
                <a:gd name="connsiteX237" fmla="*/ 508469 w 665206"/>
                <a:gd name="connsiteY237" fmla="*/ 196150 h 231406"/>
                <a:gd name="connsiteX238" fmla="*/ 512367 w 665206"/>
                <a:gd name="connsiteY238" fmla="*/ 191512 h 231406"/>
                <a:gd name="connsiteX239" fmla="*/ 524110 w 665206"/>
                <a:gd name="connsiteY239" fmla="*/ 188453 h 231406"/>
                <a:gd name="connsiteX240" fmla="*/ 535804 w 665206"/>
                <a:gd name="connsiteY240" fmla="*/ 188453 h 231406"/>
                <a:gd name="connsiteX241" fmla="*/ 541675 w 665206"/>
                <a:gd name="connsiteY241" fmla="*/ 186923 h 231406"/>
                <a:gd name="connsiteX242" fmla="*/ 559240 w 665206"/>
                <a:gd name="connsiteY242" fmla="*/ 188453 h 231406"/>
                <a:gd name="connsiteX243" fmla="*/ 574881 w 665206"/>
                <a:gd name="connsiteY243" fmla="*/ 183864 h 231406"/>
                <a:gd name="connsiteX244" fmla="*/ 584749 w 665206"/>
                <a:gd name="connsiteY244" fmla="*/ 183864 h 231406"/>
                <a:gd name="connsiteX245" fmla="*/ 586723 w 665206"/>
                <a:gd name="connsiteY245" fmla="*/ 185394 h 231406"/>
                <a:gd name="connsiteX246" fmla="*/ 596591 w 665206"/>
                <a:gd name="connsiteY246" fmla="*/ 179276 h 231406"/>
                <a:gd name="connsiteX247" fmla="*/ 606459 w 665206"/>
                <a:gd name="connsiteY247" fmla="*/ 179276 h 231406"/>
                <a:gd name="connsiteX248" fmla="*/ 610406 w 665206"/>
                <a:gd name="connsiteY248" fmla="*/ 176217 h 231406"/>
                <a:gd name="connsiteX249" fmla="*/ 624074 w 665206"/>
                <a:gd name="connsiteY249" fmla="*/ 176217 h 231406"/>
                <a:gd name="connsiteX250" fmla="*/ 637741 w 665206"/>
                <a:gd name="connsiteY250" fmla="*/ 179276 h 231406"/>
                <a:gd name="connsiteX251" fmla="*/ 645537 w 665206"/>
                <a:gd name="connsiteY251" fmla="*/ 177746 h 231406"/>
                <a:gd name="connsiteX252" fmla="*/ 651458 w 665206"/>
                <a:gd name="connsiteY252" fmla="*/ 179276 h 231406"/>
                <a:gd name="connsiteX253" fmla="*/ 649484 w 665206"/>
                <a:gd name="connsiteY253" fmla="*/ 185394 h 231406"/>
                <a:gd name="connsiteX254" fmla="*/ 655306 w 665206"/>
                <a:gd name="connsiteY254" fmla="*/ 188453 h 231406"/>
                <a:gd name="connsiteX255" fmla="*/ 663151 w 665206"/>
                <a:gd name="connsiteY255" fmla="*/ 185394 h 231406"/>
                <a:gd name="connsiteX256" fmla="*/ 665124 w 665206"/>
                <a:gd name="connsiteY256" fmla="*/ 180805 h 231406"/>
                <a:gd name="connsiteX257" fmla="*/ 661178 w 665206"/>
                <a:gd name="connsiteY257" fmla="*/ 174687 h 231406"/>
                <a:gd name="connsiteX258" fmla="*/ 655306 w 665206"/>
                <a:gd name="connsiteY258" fmla="*/ 160872 h 231406"/>
                <a:gd name="connsiteX259" fmla="*/ 645438 w 665206"/>
                <a:gd name="connsiteY259" fmla="*/ 157813 h 231406"/>
                <a:gd name="connsiteX260" fmla="*/ 647411 w 665206"/>
                <a:gd name="connsiteY260" fmla="*/ 154754 h 231406"/>
                <a:gd name="connsiteX261" fmla="*/ 645438 w 665206"/>
                <a:gd name="connsiteY261" fmla="*/ 147106 h 231406"/>
                <a:gd name="connsiteX262" fmla="*/ 651359 w 665206"/>
                <a:gd name="connsiteY262" fmla="*/ 136350 h 231406"/>
                <a:gd name="connsiteX263" fmla="*/ 647411 w 665206"/>
                <a:gd name="connsiteY263" fmla="*/ 131761 h 231406"/>
                <a:gd name="connsiteX264" fmla="*/ 639616 w 665206"/>
                <a:gd name="connsiteY264" fmla="*/ 131761 h 231406"/>
                <a:gd name="connsiteX265" fmla="*/ 639616 w 665206"/>
                <a:gd name="connsiteY265" fmla="*/ 124113 h 231406"/>
                <a:gd name="connsiteX266" fmla="*/ 641590 w 665206"/>
                <a:gd name="connsiteY266" fmla="*/ 116466 h 231406"/>
                <a:gd name="connsiteX267" fmla="*/ 637642 w 665206"/>
                <a:gd name="connsiteY267" fmla="*/ 105709 h 231406"/>
                <a:gd name="connsiteX268" fmla="*/ 631770 w 665206"/>
                <a:gd name="connsiteY268" fmla="*/ 99591 h 231406"/>
                <a:gd name="connsiteX269" fmla="*/ 631770 w 665206"/>
                <a:gd name="connsiteY269" fmla="*/ 96976 h 231406"/>
                <a:gd name="connsiteX270" fmla="*/ 643513 w 665206"/>
                <a:gd name="connsiteY270" fmla="*/ 96976 h 231406"/>
                <a:gd name="connsiteX271" fmla="*/ 647411 w 665206"/>
                <a:gd name="connsiteY271" fmla="*/ 87749 h 231406"/>
                <a:gd name="connsiteX272" fmla="*/ 651359 w 665206"/>
                <a:gd name="connsiteY272" fmla="*/ 84690 h 231406"/>
                <a:gd name="connsiteX273" fmla="*/ 647411 w 665206"/>
                <a:gd name="connsiteY273" fmla="*/ 78572 h 231406"/>
                <a:gd name="connsiteX274" fmla="*/ 641590 w 665206"/>
                <a:gd name="connsiteY274" fmla="*/ 73984 h 231406"/>
                <a:gd name="connsiteX275" fmla="*/ 621854 w 665206"/>
                <a:gd name="connsiteY275" fmla="*/ 73984 h 231406"/>
                <a:gd name="connsiteX276" fmla="*/ 611985 w 665206"/>
                <a:gd name="connsiteY276" fmla="*/ 69395 h 231406"/>
                <a:gd name="connsiteX277" fmla="*/ 611985 w 665206"/>
                <a:gd name="connsiteY277" fmla="*/ 55579 h 231406"/>
                <a:gd name="connsiteX278" fmla="*/ 613959 w 665206"/>
                <a:gd name="connsiteY278" fmla="*/ 46402 h 231406"/>
                <a:gd name="connsiteX279" fmla="*/ 610061 w 665206"/>
                <a:gd name="connsiteY279" fmla="*/ 38755 h 231406"/>
                <a:gd name="connsiteX280" fmla="*/ 604189 w 665206"/>
                <a:gd name="connsiteY280" fmla="*/ 37176 h 231406"/>
                <a:gd name="connsiteX281" fmla="*/ 604189 w 665206"/>
                <a:gd name="connsiteY281" fmla="*/ 34117 h 231406"/>
                <a:gd name="connsiteX282" fmla="*/ 596394 w 665206"/>
                <a:gd name="connsiteY282" fmla="*/ 27998 h 231406"/>
                <a:gd name="connsiteX283" fmla="*/ 588549 w 665206"/>
                <a:gd name="connsiteY283" fmla="*/ 26469 h 231406"/>
                <a:gd name="connsiteX284" fmla="*/ 574881 w 665206"/>
                <a:gd name="connsiteY284" fmla="*/ 17291 h 231406"/>
                <a:gd name="connsiteX285" fmla="*/ 569059 w 665206"/>
                <a:gd name="connsiteY285" fmla="*/ 15762 h 231406"/>
                <a:gd name="connsiteX286" fmla="*/ 563188 w 665206"/>
                <a:gd name="connsiteY286" fmla="*/ 18821 h 231406"/>
                <a:gd name="connsiteX287" fmla="*/ 559240 w 665206"/>
                <a:gd name="connsiteY287" fmla="*/ 20350 h 231406"/>
                <a:gd name="connsiteX288" fmla="*/ 549372 w 665206"/>
                <a:gd name="connsiteY288" fmla="*/ 17291 h 231406"/>
                <a:gd name="connsiteX289" fmla="*/ 547448 w 665206"/>
                <a:gd name="connsiteY289" fmla="*/ 20350 h 231406"/>
                <a:gd name="connsiteX290" fmla="*/ 543501 w 665206"/>
                <a:gd name="connsiteY290" fmla="*/ 18821 h 231406"/>
                <a:gd name="connsiteX291" fmla="*/ 541577 w 665206"/>
                <a:gd name="connsiteY291" fmla="*/ 14232 h 231406"/>
                <a:gd name="connsiteX292" fmla="*/ 78073 w 665206"/>
                <a:gd name="connsiteY292" fmla="*/ 214702 h 231406"/>
                <a:gd name="connsiteX293" fmla="*/ 79997 w 665206"/>
                <a:gd name="connsiteY293" fmla="*/ 211643 h 231406"/>
                <a:gd name="connsiteX294" fmla="*/ 82021 w 665206"/>
                <a:gd name="connsiteY294" fmla="*/ 211643 h 231406"/>
                <a:gd name="connsiteX295" fmla="*/ 83945 w 665206"/>
                <a:gd name="connsiteY295" fmla="*/ 214702 h 231406"/>
                <a:gd name="connsiteX296" fmla="*/ 78073 w 665206"/>
                <a:gd name="connsiteY296" fmla="*/ 214702 h 231406"/>
                <a:gd name="connsiteX297" fmla="*/ -82 w 665206"/>
                <a:gd name="connsiteY297" fmla="*/ 75266 h 231406"/>
                <a:gd name="connsiteX298" fmla="*/ 3866 w 665206"/>
                <a:gd name="connsiteY298" fmla="*/ 76796 h 231406"/>
                <a:gd name="connsiteX299" fmla="*/ 11661 w 665206"/>
                <a:gd name="connsiteY299" fmla="*/ 75266 h 231406"/>
                <a:gd name="connsiteX300" fmla="*/ 11661 w 665206"/>
                <a:gd name="connsiteY300" fmla="*/ 72306 h 231406"/>
                <a:gd name="connsiteX301" fmla="*/ 9687 w 665206"/>
                <a:gd name="connsiteY301" fmla="*/ 70776 h 231406"/>
                <a:gd name="connsiteX302" fmla="*/ 5789 w 665206"/>
                <a:gd name="connsiteY302" fmla="*/ 73835 h 231406"/>
                <a:gd name="connsiteX303" fmla="*/ -82 w 665206"/>
                <a:gd name="connsiteY303" fmla="*/ 73835 h 231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</a:cxnLst>
              <a:rect l="l" t="t" r="r" b="b"/>
              <a:pathLst>
                <a:path w="665206" h="231406">
                  <a:moveTo>
                    <a:pt x="9687" y="50744"/>
                  </a:moveTo>
                  <a:lnTo>
                    <a:pt x="15559" y="49215"/>
                  </a:lnTo>
                  <a:lnTo>
                    <a:pt x="19506" y="41567"/>
                  </a:lnTo>
                  <a:lnTo>
                    <a:pt x="19506" y="33870"/>
                  </a:lnTo>
                  <a:lnTo>
                    <a:pt x="29374" y="29281"/>
                  </a:lnTo>
                  <a:lnTo>
                    <a:pt x="29374" y="22966"/>
                  </a:lnTo>
                  <a:lnTo>
                    <a:pt x="23503" y="19906"/>
                  </a:lnTo>
                  <a:lnTo>
                    <a:pt x="25477" y="10680"/>
                  </a:lnTo>
                  <a:lnTo>
                    <a:pt x="29374" y="4562"/>
                  </a:lnTo>
                  <a:lnTo>
                    <a:pt x="35048" y="4562"/>
                  </a:lnTo>
                  <a:lnTo>
                    <a:pt x="38947" y="1503"/>
                  </a:lnTo>
                  <a:lnTo>
                    <a:pt x="48815" y="1503"/>
                  </a:lnTo>
                  <a:lnTo>
                    <a:pt x="60558" y="7621"/>
                  </a:lnTo>
                  <a:lnTo>
                    <a:pt x="64455" y="4562"/>
                  </a:lnTo>
                  <a:lnTo>
                    <a:pt x="72251" y="6091"/>
                  </a:lnTo>
                  <a:lnTo>
                    <a:pt x="74224" y="16847"/>
                  </a:lnTo>
                  <a:lnTo>
                    <a:pt x="84092" y="24495"/>
                  </a:lnTo>
                  <a:lnTo>
                    <a:pt x="93961" y="26025"/>
                  </a:lnTo>
                  <a:lnTo>
                    <a:pt x="101757" y="33672"/>
                  </a:lnTo>
                  <a:lnTo>
                    <a:pt x="107628" y="36731"/>
                  </a:lnTo>
                  <a:lnTo>
                    <a:pt x="107628" y="41369"/>
                  </a:lnTo>
                  <a:lnTo>
                    <a:pt x="101757" y="47488"/>
                  </a:lnTo>
                  <a:lnTo>
                    <a:pt x="93961" y="45958"/>
                  </a:lnTo>
                  <a:lnTo>
                    <a:pt x="88089" y="44429"/>
                  </a:lnTo>
                  <a:lnTo>
                    <a:pt x="80244" y="44429"/>
                  </a:lnTo>
                  <a:lnTo>
                    <a:pt x="76396" y="45958"/>
                  </a:lnTo>
                  <a:lnTo>
                    <a:pt x="64653" y="45958"/>
                  </a:lnTo>
                  <a:lnTo>
                    <a:pt x="58830" y="49017"/>
                  </a:lnTo>
                  <a:lnTo>
                    <a:pt x="52959" y="56665"/>
                  </a:lnTo>
                  <a:lnTo>
                    <a:pt x="35345" y="64362"/>
                  </a:lnTo>
                  <a:lnTo>
                    <a:pt x="19753" y="76599"/>
                  </a:lnTo>
                  <a:lnTo>
                    <a:pt x="17779" y="72010"/>
                  </a:lnTo>
                  <a:lnTo>
                    <a:pt x="23602" y="62783"/>
                  </a:lnTo>
                  <a:lnTo>
                    <a:pt x="27549" y="61254"/>
                  </a:lnTo>
                  <a:lnTo>
                    <a:pt x="33371" y="58195"/>
                  </a:lnTo>
                  <a:lnTo>
                    <a:pt x="17779" y="58195"/>
                  </a:lnTo>
                  <a:lnTo>
                    <a:pt x="11908" y="55136"/>
                  </a:lnTo>
                  <a:lnTo>
                    <a:pt x="9934" y="50547"/>
                  </a:lnTo>
                  <a:close/>
                  <a:moveTo>
                    <a:pt x="537235" y="13986"/>
                  </a:moveTo>
                  <a:lnTo>
                    <a:pt x="535261" y="15515"/>
                  </a:lnTo>
                  <a:lnTo>
                    <a:pt x="529439" y="22966"/>
                  </a:lnTo>
                  <a:lnTo>
                    <a:pt x="519570" y="27554"/>
                  </a:lnTo>
                  <a:lnTo>
                    <a:pt x="509702" y="32143"/>
                  </a:lnTo>
                  <a:lnTo>
                    <a:pt x="507779" y="36731"/>
                  </a:lnTo>
                  <a:lnTo>
                    <a:pt x="494062" y="36731"/>
                  </a:lnTo>
                  <a:lnTo>
                    <a:pt x="490213" y="41369"/>
                  </a:lnTo>
                  <a:lnTo>
                    <a:pt x="476496" y="36731"/>
                  </a:lnTo>
                  <a:lnTo>
                    <a:pt x="472599" y="35202"/>
                  </a:lnTo>
                  <a:lnTo>
                    <a:pt x="468701" y="35202"/>
                  </a:lnTo>
                  <a:lnTo>
                    <a:pt x="462829" y="33672"/>
                  </a:lnTo>
                  <a:lnTo>
                    <a:pt x="457007" y="35202"/>
                  </a:lnTo>
                  <a:lnTo>
                    <a:pt x="445215" y="36731"/>
                  </a:lnTo>
                  <a:lnTo>
                    <a:pt x="427649" y="42899"/>
                  </a:lnTo>
                  <a:lnTo>
                    <a:pt x="417781" y="41369"/>
                  </a:lnTo>
                  <a:lnTo>
                    <a:pt x="409936" y="35202"/>
                  </a:lnTo>
                  <a:lnTo>
                    <a:pt x="405989" y="36731"/>
                  </a:lnTo>
                  <a:lnTo>
                    <a:pt x="390398" y="32143"/>
                  </a:lnTo>
                  <a:lnTo>
                    <a:pt x="382553" y="30613"/>
                  </a:lnTo>
                  <a:lnTo>
                    <a:pt x="370859" y="24495"/>
                  </a:lnTo>
                  <a:lnTo>
                    <a:pt x="368935" y="24495"/>
                  </a:lnTo>
                  <a:lnTo>
                    <a:pt x="364987" y="27554"/>
                  </a:lnTo>
                  <a:lnTo>
                    <a:pt x="357192" y="26025"/>
                  </a:lnTo>
                  <a:lnTo>
                    <a:pt x="351320" y="19906"/>
                  </a:lnTo>
                  <a:lnTo>
                    <a:pt x="349346" y="10680"/>
                  </a:lnTo>
                  <a:lnTo>
                    <a:pt x="345449" y="7621"/>
                  </a:lnTo>
                  <a:lnTo>
                    <a:pt x="341551" y="7621"/>
                  </a:lnTo>
                  <a:lnTo>
                    <a:pt x="331683" y="16847"/>
                  </a:lnTo>
                  <a:lnTo>
                    <a:pt x="329758" y="15318"/>
                  </a:lnTo>
                  <a:lnTo>
                    <a:pt x="323887" y="16847"/>
                  </a:lnTo>
                  <a:lnTo>
                    <a:pt x="312144" y="6091"/>
                  </a:lnTo>
                  <a:lnTo>
                    <a:pt x="312144" y="-27"/>
                  </a:lnTo>
                  <a:lnTo>
                    <a:pt x="310170" y="-27"/>
                  </a:lnTo>
                  <a:lnTo>
                    <a:pt x="300302" y="3032"/>
                  </a:lnTo>
                  <a:lnTo>
                    <a:pt x="288609" y="3032"/>
                  </a:lnTo>
                  <a:lnTo>
                    <a:pt x="282737" y="1503"/>
                  </a:lnTo>
                  <a:lnTo>
                    <a:pt x="276866" y="3032"/>
                  </a:lnTo>
                  <a:lnTo>
                    <a:pt x="257376" y="1503"/>
                  </a:lnTo>
                  <a:lnTo>
                    <a:pt x="249531" y="3032"/>
                  </a:lnTo>
                  <a:lnTo>
                    <a:pt x="233890" y="9150"/>
                  </a:lnTo>
                  <a:lnTo>
                    <a:pt x="226094" y="10680"/>
                  </a:lnTo>
                  <a:lnTo>
                    <a:pt x="212377" y="13788"/>
                  </a:lnTo>
                  <a:lnTo>
                    <a:pt x="208480" y="18377"/>
                  </a:lnTo>
                  <a:lnTo>
                    <a:pt x="202657" y="19906"/>
                  </a:lnTo>
                  <a:lnTo>
                    <a:pt x="196786" y="24495"/>
                  </a:lnTo>
                  <a:lnTo>
                    <a:pt x="194813" y="26025"/>
                  </a:lnTo>
                  <a:lnTo>
                    <a:pt x="188941" y="33672"/>
                  </a:lnTo>
                  <a:lnTo>
                    <a:pt x="185043" y="35202"/>
                  </a:lnTo>
                  <a:lnTo>
                    <a:pt x="187017" y="38310"/>
                  </a:lnTo>
                  <a:lnTo>
                    <a:pt x="175274" y="38310"/>
                  </a:lnTo>
                  <a:lnTo>
                    <a:pt x="153810" y="33672"/>
                  </a:lnTo>
                  <a:lnTo>
                    <a:pt x="149864" y="33672"/>
                  </a:lnTo>
                  <a:lnTo>
                    <a:pt x="143992" y="35202"/>
                  </a:lnTo>
                  <a:lnTo>
                    <a:pt x="138170" y="33672"/>
                  </a:lnTo>
                  <a:lnTo>
                    <a:pt x="126427" y="36731"/>
                  </a:lnTo>
                  <a:lnTo>
                    <a:pt x="120555" y="35202"/>
                  </a:lnTo>
                  <a:lnTo>
                    <a:pt x="110687" y="36731"/>
                  </a:lnTo>
                  <a:lnTo>
                    <a:pt x="110687" y="42899"/>
                  </a:lnTo>
                  <a:lnTo>
                    <a:pt x="116559" y="52076"/>
                  </a:lnTo>
                  <a:lnTo>
                    <a:pt x="136295" y="52076"/>
                  </a:lnTo>
                  <a:lnTo>
                    <a:pt x="134321" y="55136"/>
                  </a:lnTo>
                  <a:lnTo>
                    <a:pt x="118729" y="56665"/>
                  </a:lnTo>
                  <a:lnTo>
                    <a:pt x="106986" y="59724"/>
                  </a:lnTo>
                  <a:lnTo>
                    <a:pt x="103089" y="64362"/>
                  </a:lnTo>
                  <a:lnTo>
                    <a:pt x="105062" y="68951"/>
                  </a:lnTo>
                  <a:lnTo>
                    <a:pt x="110885" y="67421"/>
                  </a:lnTo>
                  <a:lnTo>
                    <a:pt x="112858" y="70480"/>
                  </a:lnTo>
                  <a:lnTo>
                    <a:pt x="108960" y="72010"/>
                  </a:lnTo>
                  <a:lnTo>
                    <a:pt x="93320" y="72010"/>
                  </a:lnTo>
                  <a:lnTo>
                    <a:pt x="83452" y="68951"/>
                  </a:lnTo>
                  <a:lnTo>
                    <a:pt x="75655" y="72010"/>
                  </a:lnTo>
                  <a:lnTo>
                    <a:pt x="71709" y="67421"/>
                  </a:lnTo>
                  <a:lnTo>
                    <a:pt x="67811" y="67421"/>
                  </a:lnTo>
                  <a:lnTo>
                    <a:pt x="61939" y="73539"/>
                  </a:lnTo>
                  <a:lnTo>
                    <a:pt x="56067" y="72010"/>
                  </a:lnTo>
                  <a:lnTo>
                    <a:pt x="46199" y="67421"/>
                  </a:lnTo>
                  <a:lnTo>
                    <a:pt x="38404" y="67421"/>
                  </a:lnTo>
                  <a:lnTo>
                    <a:pt x="22763" y="78128"/>
                  </a:lnTo>
                  <a:lnTo>
                    <a:pt x="18914" y="82717"/>
                  </a:lnTo>
                  <a:lnTo>
                    <a:pt x="16940" y="87305"/>
                  </a:lnTo>
                  <a:lnTo>
                    <a:pt x="18914" y="93473"/>
                  </a:lnTo>
                  <a:lnTo>
                    <a:pt x="18914" y="99591"/>
                  </a:lnTo>
                  <a:lnTo>
                    <a:pt x="16940" y="101121"/>
                  </a:lnTo>
                  <a:lnTo>
                    <a:pt x="18914" y="105709"/>
                  </a:lnTo>
                  <a:lnTo>
                    <a:pt x="28782" y="102650"/>
                  </a:lnTo>
                  <a:lnTo>
                    <a:pt x="46348" y="102650"/>
                  </a:lnTo>
                  <a:lnTo>
                    <a:pt x="38551" y="108769"/>
                  </a:lnTo>
                  <a:lnTo>
                    <a:pt x="40525" y="113357"/>
                  </a:lnTo>
                  <a:lnTo>
                    <a:pt x="42499" y="117995"/>
                  </a:lnTo>
                  <a:lnTo>
                    <a:pt x="42499" y="125643"/>
                  </a:lnTo>
                  <a:lnTo>
                    <a:pt x="44423" y="127172"/>
                  </a:lnTo>
                  <a:lnTo>
                    <a:pt x="50294" y="122584"/>
                  </a:lnTo>
                  <a:lnTo>
                    <a:pt x="50294" y="125643"/>
                  </a:lnTo>
                  <a:lnTo>
                    <a:pt x="46348" y="130231"/>
                  </a:lnTo>
                  <a:lnTo>
                    <a:pt x="38551" y="134820"/>
                  </a:lnTo>
                  <a:lnTo>
                    <a:pt x="42499" y="136350"/>
                  </a:lnTo>
                  <a:lnTo>
                    <a:pt x="46348" y="136350"/>
                  </a:lnTo>
                  <a:lnTo>
                    <a:pt x="42499" y="139409"/>
                  </a:lnTo>
                  <a:lnTo>
                    <a:pt x="38551" y="144047"/>
                  </a:lnTo>
                  <a:lnTo>
                    <a:pt x="35048" y="144047"/>
                  </a:lnTo>
                  <a:lnTo>
                    <a:pt x="31150" y="136350"/>
                  </a:lnTo>
                  <a:lnTo>
                    <a:pt x="29177" y="136350"/>
                  </a:lnTo>
                  <a:lnTo>
                    <a:pt x="27253" y="140938"/>
                  </a:lnTo>
                  <a:lnTo>
                    <a:pt x="31150" y="147106"/>
                  </a:lnTo>
                  <a:lnTo>
                    <a:pt x="27253" y="150165"/>
                  </a:lnTo>
                  <a:lnTo>
                    <a:pt x="29177" y="154754"/>
                  </a:lnTo>
                  <a:lnTo>
                    <a:pt x="35048" y="157813"/>
                  </a:lnTo>
                  <a:lnTo>
                    <a:pt x="35048" y="154754"/>
                  </a:lnTo>
                  <a:lnTo>
                    <a:pt x="42893" y="160872"/>
                  </a:lnTo>
                  <a:lnTo>
                    <a:pt x="46742" y="159342"/>
                  </a:lnTo>
                  <a:lnTo>
                    <a:pt x="56610" y="163931"/>
                  </a:lnTo>
                  <a:lnTo>
                    <a:pt x="58633" y="170099"/>
                  </a:lnTo>
                  <a:lnTo>
                    <a:pt x="50788" y="176217"/>
                  </a:lnTo>
                  <a:lnTo>
                    <a:pt x="58633" y="179276"/>
                  </a:lnTo>
                  <a:lnTo>
                    <a:pt x="58633" y="183864"/>
                  </a:lnTo>
                  <a:lnTo>
                    <a:pt x="62482" y="183864"/>
                  </a:lnTo>
                  <a:lnTo>
                    <a:pt x="70327" y="191512"/>
                  </a:lnTo>
                  <a:lnTo>
                    <a:pt x="68353" y="196150"/>
                  </a:lnTo>
                  <a:lnTo>
                    <a:pt x="62482" y="194621"/>
                  </a:lnTo>
                  <a:lnTo>
                    <a:pt x="60558" y="197680"/>
                  </a:lnTo>
                  <a:lnTo>
                    <a:pt x="66429" y="200739"/>
                  </a:lnTo>
                  <a:lnTo>
                    <a:pt x="76297" y="196150"/>
                  </a:lnTo>
                  <a:lnTo>
                    <a:pt x="91938" y="196150"/>
                  </a:lnTo>
                  <a:lnTo>
                    <a:pt x="91938" y="200739"/>
                  </a:lnTo>
                  <a:lnTo>
                    <a:pt x="86066" y="203798"/>
                  </a:lnTo>
                  <a:lnTo>
                    <a:pt x="78221" y="206857"/>
                  </a:lnTo>
                  <a:lnTo>
                    <a:pt x="68353" y="206857"/>
                  </a:lnTo>
                  <a:lnTo>
                    <a:pt x="64455" y="209916"/>
                  </a:lnTo>
                  <a:lnTo>
                    <a:pt x="68353" y="209916"/>
                  </a:lnTo>
                  <a:lnTo>
                    <a:pt x="74224" y="208387"/>
                  </a:lnTo>
                  <a:lnTo>
                    <a:pt x="82070" y="208387"/>
                  </a:lnTo>
                  <a:lnTo>
                    <a:pt x="85967" y="206857"/>
                  </a:lnTo>
                  <a:lnTo>
                    <a:pt x="85967" y="211446"/>
                  </a:lnTo>
                  <a:lnTo>
                    <a:pt x="87892" y="212975"/>
                  </a:lnTo>
                  <a:lnTo>
                    <a:pt x="93764" y="208387"/>
                  </a:lnTo>
                  <a:lnTo>
                    <a:pt x="97661" y="203798"/>
                  </a:lnTo>
                  <a:lnTo>
                    <a:pt x="103533" y="203798"/>
                  </a:lnTo>
                  <a:lnTo>
                    <a:pt x="107431" y="206857"/>
                  </a:lnTo>
                  <a:lnTo>
                    <a:pt x="111328" y="206857"/>
                  </a:lnTo>
                  <a:lnTo>
                    <a:pt x="117200" y="209916"/>
                  </a:lnTo>
                  <a:lnTo>
                    <a:pt x="121098" y="206857"/>
                  </a:lnTo>
                  <a:lnTo>
                    <a:pt x="126970" y="206857"/>
                  </a:lnTo>
                  <a:lnTo>
                    <a:pt x="126970" y="209916"/>
                  </a:lnTo>
                  <a:lnTo>
                    <a:pt x="125045" y="211446"/>
                  </a:lnTo>
                  <a:lnTo>
                    <a:pt x="126970" y="216034"/>
                  </a:lnTo>
                  <a:lnTo>
                    <a:pt x="126970" y="219143"/>
                  </a:lnTo>
                  <a:lnTo>
                    <a:pt x="134765" y="226791"/>
                  </a:lnTo>
                  <a:lnTo>
                    <a:pt x="136739" y="223731"/>
                  </a:lnTo>
                  <a:lnTo>
                    <a:pt x="144534" y="228320"/>
                  </a:lnTo>
                  <a:lnTo>
                    <a:pt x="154402" y="226791"/>
                  </a:lnTo>
                  <a:lnTo>
                    <a:pt x="160225" y="222202"/>
                  </a:lnTo>
                  <a:lnTo>
                    <a:pt x="166097" y="222202"/>
                  </a:lnTo>
                  <a:lnTo>
                    <a:pt x="170044" y="219143"/>
                  </a:lnTo>
                  <a:lnTo>
                    <a:pt x="175866" y="222202"/>
                  </a:lnTo>
                  <a:lnTo>
                    <a:pt x="179763" y="220672"/>
                  </a:lnTo>
                  <a:lnTo>
                    <a:pt x="179763" y="203798"/>
                  </a:lnTo>
                  <a:lnTo>
                    <a:pt x="195405" y="202269"/>
                  </a:lnTo>
                  <a:lnTo>
                    <a:pt x="207098" y="203798"/>
                  </a:lnTo>
                  <a:lnTo>
                    <a:pt x="226834" y="209916"/>
                  </a:lnTo>
                  <a:lnTo>
                    <a:pt x="232410" y="209916"/>
                  </a:lnTo>
                  <a:lnTo>
                    <a:pt x="242278" y="223731"/>
                  </a:lnTo>
                  <a:lnTo>
                    <a:pt x="252146" y="229850"/>
                  </a:lnTo>
                  <a:lnTo>
                    <a:pt x="285352" y="226791"/>
                  </a:lnTo>
                  <a:lnTo>
                    <a:pt x="295220" y="222202"/>
                  </a:lnTo>
                  <a:lnTo>
                    <a:pt x="301092" y="222202"/>
                  </a:lnTo>
                  <a:lnTo>
                    <a:pt x="305039" y="220672"/>
                  </a:lnTo>
                  <a:lnTo>
                    <a:pt x="306963" y="214505"/>
                  </a:lnTo>
                  <a:lnTo>
                    <a:pt x="320630" y="200739"/>
                  </a:lnTo>
                  <a:lnTo>
                    <a:pt x="324578" y="200739"/>
                  </a:lnTo>
                  <a:lnTo>
                    <a:pt x="340169" y="203798"/>
                  </a:lnTo>
                  <a:lnTo>
                    <a:pt x="348015" y="208387"/>
                  </a:lnTo>
                  <a:lnTo>
                    <a:pt x="359708" y="205328"/>
                  </a:lnTo>
                  <a:lnTo>
                    <a:pt x="359708" y="203798"/>
                  </a:lnTo>
                  <a:lnTo>
                    <a:pt x="369576" y="197680"/>
                  </a:lnTo>
                  <a:lnTo>
                    <a:pt x="375398" y="200739"/>
                  </a:lnTo>
                  <a:lnTo>
                    <a:pt x="375398" y="203798"/>
                  </a:lnTo>
                  <a:lnTo>
                    <a:pt x="371500" y="211446"/>
                  </a:lnTo>
                  <a:lnTo>
                    <a:pt x="363704" y="216034"/>
                  </a:lnTo>
                  <a:lnTo>
                    <a:pt x="363704" y="219143"/>
                  </a:lnTo>
                  <a:lnTo>
                    <a:pt x="369576" y="226791"/>
                  </a:lnTo>
                  <a:lnTo>
                    <a:pt x="369576" y="231379"/>
                  </a:lnTo>
                  <a:lnTo>
                    <a:pt x="383194" y="231379"/>
                  </a:lnTo>
                  <a:lnTo>
                    <a:pt x="389065" y="228320"/>
                  </a:lnTo>
                  <a:lnTo>
                    <a:pt x="389065" y="220672"/>
                  </a:lnTo>
                  <a:lnTo>
                    <a:pt x="393013" y="219143"/>
                  </a:lnTo>
                  <a:lnTo>
                    <a:pt x="393013" y="206857"/>
                  </a:lnTo>
                  <a:lnTo>
                    <a:pt x="394937" y="202269"/>
                  </a:lnTo>
                  <a:lnTo>
                    <a:pt x="406631" y="205328"/>
                  </a:lnTo>
                  <a:lnTo>
                    <a:pt x="412502" y="206857"/>
                  </a:lnTo>
                  <a:lnTo>
                    <a:pt x="432238" y="200739"/>
                  </a:lnTo>
                  <a:lnTo>
                    <a:pt x="436186" y="200739"/>
                  </a:lnTo>
                  <a:lnTo>
                    <a:pt x="440083" y="196150"/>
                  </a:lnTo>
                  <a:lnTo>
                    <a:pt x="457698" y="194621"/>
                  </a:lnTo>
                  <a:lnTo>
                    <a:pt x="463520" y="196150"/>
                  </a:lnTo>
                  <a:lnTo>
                    <a:pt x="469392" y="200739"/>
                  </a:lnTo>
                  <a:lnTo>
                    <a:pt x="481135" y="202269"/>
                  </a:lnTo>
                  <a:lnTo>
                    <a:pt x="494753" y="202269"/>
                  </a:lnTo>
                  <a:lnTo>
                    <a:pt x="496726" y="200739"/>
                  </a:lnTo>
                  <a:lnTo>
                    <a:pt x="508469" y="196150"/>
                  </a:lnTo>
                  <a:lnTo>
                    <a:pt x="512367" y="191512"/>
                  </a:lnTo>
                  <a:lnTo>
                    <a:pt x="524110" y="188453"/>
                  </a:lnTo>
                  <a:lnTo>
                    <a:pt x="535804" y="188453"/>
                  </a:lnTo>
                  <a:lnTo>
                    <a:pt x="541675" y="186923"/>
                  </a:lnTo>
                  <a:lnTo>
                    <a:pt x="559240" y="188453"/>
                  </a:lnTo>
                  <a:lnTo>
                    <a:pt x="574881" y="183864"/>
                  </a:lnTo>
                  <a:lnTo>
                    <a:pt x="584749" y="183864"/>
                  </a:lnTo>
                  <a:lnTo>
                    <a:pt x="586723" y="185394"/>
                  </a:lnTo>
                  <a:lnTo>
                    <a:pt x="596591" y="179276"/>
                  </a:lnTo>
                  <a:lnTo>
                    <a:pt x="606459" y="179276"/>
                  </a:lnTo>
                  <a:lnTo>
                    <a:pt x="610406" y="176217"/>
                  </a:lnTo>
                  <a:lnTo>
                    <a:pt x="624074" y="176217"/>
                  </a:lnTo>
                  <a:lnTo>
                    <a:pt x="637741" y="179276"/>
                  </a:lnTo>
                  <a:lnTo>
                    <a:pt x="645537" y="177746"/>
                  </a:lnTo>
                  <a:lnTo>
                    <a:pt x="651458" y="179276"/>
                  </a:lnTo>
                  <a:lnTo>
                    <a:pt x="649484" y="185394"/>
                  </a:lnTo>
                  <a:lnTo>
                    <a:pt x="655306" y="188453"/>
                  </a:lnTo>
                  <a:lnTo>
                    <a:pt x="663151" y="185394"/>
                  </a:lnTo>
                  <a:lnTo>
                    <a:pt x="665124" y="180805"/>
                  </a:lnTo>
                  <a:lnTo>
                    <a:pt x="661178" y="174687"/>
                  </a:lnTo>
                  <a:lnTo>
                    <a:pt x="655306" y="160872"/>
                  </a:lnTo>
                  <a:lnTo>
                    <a:pt x="645438" y="157813"/>
                  </a:lnTo>
                  <a:lnTo>
                    <a:pt x="647411" y="154754"/>
                  </a:lnTo>
                  <a:lnTo>
                    <a:pt x="645438" y="147106"/>
                  </a:lnTo>
                  <a:lnTo>
                    <a:pt x="651359" y="136350"/>
                  </a:lnTo>
                  <a:lnTo>
                    <a:pt x="647411" y="131761"/>
                  </a:lnTo>
                  <a:lnTo>
                    <a:pt x="639616" y="131761"/>
                  </a:lnTo>
                  <a:lnTo>
                    <a:pt x="639616" y="124113"/>
                  </a:lnTo>
                  <a:lnTo>
                    <a:pt x="641590" y="116466"/>
                  </a:lnTo>
                  <a:lnTo>
                    <a:pt x="637642" y="105709"/>
                  </a:lnTo>
                  <a:lnTo>
                    <a:pt x="631770" y="99591"/>
                  </a:lnTo>
                  <a:lnTo>
                    <a:pt x="631770" y="96976"/>
                  </a:lnTo>
                  <a:lnTo>
                    <a:pt x="643513" y="96976"/>
                  </a:lnTo>
                  <a:lnTo>
                    <a:pt x="647411" y="87749"/>
                  </a:lnTo>
                  <a:lnTo>
                    <a:pt x="651359" y="84690"/>
                  </a:lnTo>
                  <a:lnTo>
                    <a:pt x="647411" y="78572"/>
                  </a:lnTo>
                  <a:lnTo>
                    <a:pt x="641590" y="73984"/>
                  </a:lnTo>
                  <a:lnTo>
                    <a:pt x="621854" y="73984"/>
                  </a:lnTo>
                  <a:lnTo>
                    <a:pt x="611985" y="69395"/>
                  </a:lnTo>
                  <a:lnTo>
                    <a:pt x="611985" y="55579"/>
                  </a:lnTo>
                  <a:lnTo>
                    <a:pt x="613959" y="46402"/>
                  </a:lnTo>
                  <a:lnTo>
                    <a:pt x="610061" y="38755"/>
                  </a:lnTo>
                  <a:lnTo>
                    <a:pt x="604189" y="37176"/>
                  </a:lnTo>
                  <a:lnTo>
                    <a:pt x="604189" y="34117"/>
                  </a:lnTo>
                  <a:lnTo>
                    <a:pt x="596394" y="27998"/>
                  </a:lnTo>
                  <a:lnTo>
                    <a:pt x="588549" y="26469"/>
                  </a:lnTo>
                  <a:lnTo>
                    <a:pt x="574881" y="17291"/>
                  </a:lnTo>
                  <a:lnTo>
                    <a:pt x="569059" y="15762"/>
                  </a:lnTo>
                  <a:lnTo>
                    <a:pt x="563188" y="18821"/>
                  </a:lnTo>
                  <a:lnTo>
                    <a:pt x="559240" y="20350"/>
                  </a:lnTo>
                  <a:lnTo>
                    <a:pt x="549372" y="17291"/>
                  </a:lnTo>
                  <a:lnTo>
                    <a:pt x="547448" y="20350"/>
                  </a:lnTo>
                  <a:lnTo>
                    <a:pt x="543501" y="18821"/>
                  </a:lnTo>
                  <a:lnTo>
                    <a:pt x="541577" y="14232"/>
                  </a:lnTo>
                  <a:close/>
                  <a:moveTo>
                    <a:pt x="78073" y="214702"/>
                  </a:moveTo>
                  <a:lnTo>
                    <a:pt x="79997" y="211643"/>
                  </a:lnTo>
                  <a:lnTo>
                    <a:pt x="82021" y="211643"/>
                  </a:lnTo>
                  <a:lnTo>
                    <a:pt x="83945" y="214702"/>
                  </a:lnTo>
                  <a:lnTo>
                    <a:pt x="78073" y="214702"/>
                  </a:lnTo>
                  <a:close/>
                  <a:moveTo>
                    <a:pt x="-82" y="75266"/>
                  </a:moveTo>
                  <a:lnTo>
                    <a:pt x="3866" y="76796"/>
                  </a:lnTo>
                  <a:lnTo>
                    <a:pt x="11661" y="75266"/>
                  </a:lnTo>
                  <a:lnTo>
                    <a:pt x="11661" y="72306"/>
                  </a:lnTo>
                  <a:lnTo>
                    <a:pt x="9687" y="70776"/>
                  </a:lnTo>
                  <a:lnTo>
                    <a:pt x="5789" y="73835"/>
                  </a:lnTo>
                  <a:lnTo>
                    <a:pt x="-82" y="7383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Graphic 2">
              <a:extLst>
                <a:ext uri="{FF2B5EF4-FFF2-40B4-BE49-F238E27FC236}">
                  <a16:creationId xmlns:a16="http://schemas.microsoft.com/office/drawing/2014/main" id="{6F877004-7374-4D76-9782-2AD2F1EF5F97}"/>
                </a:ext>
              </a:extLst>
            </p:cNvPr>
            <p:cNvSpPr/>
            <p:nvPr/>
          </p:nvSpPr>
          <p:spPr>
            <a:xfrm>
              <a:off x="6645377" y="3529291"/>
              <a:ext cx="318626" cy="261237"/>
            </a:xfrm>
            <a:custGeom>
              <a:avLst/>
              <a:gdLst>
                <a:gd name="connsiteX0" fmla="*/ 350630 w 350711"/>
                <a:gd name="connsiteY0" fmla="*/ 246675 h 287555"/>
                <a:gd name="connsiteX1" fmla="*/ 348656 w 350711"/>
                <a:gd name="connsiteY1" fmla="*/ 245145 h 287555"/>
                <a:gd name="connsiteX2" fmla="*/ 340811 w 350711"/>
                <a:gd name="connsiteY2" fmla="*/ 242135 h 287555"/>
                <a:gd name="connsiteX3" fmla="*/ 334890 w 350711"/>
                <a:gd name="connsiteY3" fmla="*/ 239076 h 287555"/>
                <a:gd name="connsiteX4" fmla="*/ 332916 w 350711"/>
                <a:gd name="connsiteY4" fmla="*/ 219340 h 287555"/>
                <a:gd name="connsiteX5" fmla="*/ 321075 w 350711"/>
                <a:gd name="connsiteY5" fmla="*/ 219340 h 287555"/>
                <a:gd name="connsiteX6" fmla="*/ 319101 w 350711"/>
                <a:gd name="connsiteY6" fmla="*/ 211791 h 287555"/>
                <a:gd name="connsiteX7" fmla="*/ 319101 w 350711"/>
                <a:gd name="connsiteY7" fmla="*/ 201282 h 287555"/>
                <a:gd name="connsiteX8" fmla="*/ 325022 w 350711"/>
                <a:gd name="connsiteY8" fmla="*/ 196742 h 287555"/>
                <a:gd name="connsiteX9" fmla="*/ 319101 w 350711"/>
                <a:gd name="connsiteY9" fmla="*/ 183124 h 287555"/>
                <a:gd name="connsiteX10" fmla="*/ 313229 w 350711"/>
                <a:gd name="connsiteY10" fmla="*/ 178585 h 287555"/>
                <a:gd name="connsiteX11" fmla="*/ 305286 w 350711"/>
                <a:gd name="connsiteY11" fmla="*/ 167977 h 287555"/>
                <a:gd name="connsiteX12" fmla="*/ 301388 w 350711"/>
                <a:gd name="connsiteY12" fmla="*/ 166497 h 287555"/>
                <a:gd name="connsiteX13" fmla="*/ 297441 w 350711"/>
                <a:gd name="connsiteY13" fmla="*/ 166497 h 287555"/>
                <a:gd name="connsiteX14" fmla="*/ 269860 w 350711"/>
                <a:gd name="connsiteY14" fmla="*/ 151399 h 287555"/>
                <a:gd name="connsiteX15" fmla="*/ 264037 w 350711"/>
                <a:gd name="connsiteY15" fmla="*/ 151399 h 287555"/>
                <a:gd name="connsiteX16" fmla="*/ 262113 w 350711"/>
                <a:gd name="connsiteY16" fmla="*/ 155888 h 287555"/>
                <a:gd name="connsiteX17" fmla="*/ 252245 w 350711"/>
                <a:gd name="connsiteY17" fmla="*/ 149869 h 287555"/>
                <a:gd name="connsiteX18" fmla="*/ 254219 w 350711"/>
                <a:gd name="connsiteY18" fmla="*/ 145330 h 287555"/>
                <a:gd name="connsiteX19" fmla="*/ 252245 w 350711"/>
                <a:gd name="connsiteY19" fmla="*/ 143800 h 287555"/>
                <a:gd name="connsiteX20" fmla="*/ 254219 w 350711"/>
                <a:gd name="connsiteY20" fmla="*/ 137781 h 287555"/>
                <a:gd name="connsiteX21" fmla="*/ 246324 w 350711"/>
                <a:gd name="connsiteY21" fmla="*/ 131712 h 287555"/>
                <a:gd name="connsiteX22" fmla="*/ 246324 w 350711"/>
                <a:gd name="connsiteY22" fmla="*/ 128751 h 287555"/>
                <a:gd name="connsiteX23" fmla="*/ 238479 w 350711"/>
                <a:gd name="connsiteY23" fmla="*/ 125742 h 287555"/>
                <a:gd name="connsiteX24" fmla="*/ 234482 w 350711"/>
                <a:gd name="connsiteY24" fmla="*/ 121153 h 287555"/>
                <a:gd name="connsiteX25" fmla="*/ 230584 w 350711"/>
                <a:gd name="connsiteY25" fmla="*/ 121153 h 287555"/>
                <a:gd name="connsiteX26" fmla="*/ 230584 w 350711"/>
                <a:gd name="connsiteY26" fmla="*/ 116663 h 287555"/>
                <a:gd name="connsiteX27" fmla="*/ 232509 w 350711"/>
                <a:gd name="connsiteY27" fmla="*/ 113604 h 287555"/>
                <a:gd name="connsiteX28" fmla="*/ 230584 w 350711"/>
                <a:gd name="connsiteY28" fmla="*/ 110594 h 287555"/>
                <a:gd name="connsiteX29" fmla="*/ 232509 w 350711"/>
                <a:gd name="connsiteY29" fmla="*/ 107535 h 287555"/>
                <a:gd name="connsiteX30" fmla="*/ 232509 w 350711"/>
                <a:gd name="connsiteY30" fmla="*/ 95447 h 287555"/>
                <a:gd name="connsiteX31" fmla="*/ 236505 w 350711"/>
                <a:gd name="connsiteY31" fmla="*/ 92437 h 287555"/>
                <a:gd name="connsiteX32" fmla="*/ 238479 w 350711"/>
                <a:gd name="connsiteY32" fmla="*/ 83358 h 287555"/>
                <a:gd name="connsiteX33" fmla="*/ 242377 w 350711"/>
                <a:gd name="connsiteY33" fmla="*/ 83358 h 287555"/>
                <a:gd name="connsiteX34" fmla="*/ 246324 w 350711"/>
                <a:gd name="connsiteY34" fmla="*/ 81829 h 287555"/>
                <a:gd name="connsiteX35" fmla="*/ 246324 w 350711"/>
                <a:gd name="connsiteY35" fmla="*/ 69543 h 287555"/>
                <a:gd name="connsiteX36" fmla="*/ 244350 w 350711"/>
                <a:gd name="connsiteY36" fmla="*/ 68063 h 287555"/>
                <a:gd name="connsiteX37" fmla="*/ 242377 w 350711"/>
                <a:gd name="connsiteY37" fmla="*/ 60464 h 287555"/>
                <a:gd name="connsiteX38" fmla="*/ 246324 w 350711"/>
                <a:gd name="connsiteY38" fmla="*/ 60464 h 287555"/>
                <a:gd name="connsiteX39" fmla="*/ 254219 w 350711"/>
                <a:gd name="connsiteY39" fmla="*/ 57454 h 287555"/>
                <a:gd name="connsiteX40" fmla="*/ 256192 w 350711"/>
                <a:gd name="connsiteY40" fmla="*/ 57454 h 287555"/>
                <a:gd name="connsiteX41" fmla="*/ 252245 w 350711"/>
                <a:gd name="connsiteY41" fmla="*/ 55925 h 287555"/>
                <a:gd name="connsiteX42" fmla="*/ 248298 w 350711"/>
                <a:gd name="connsiteY42" fmla="*/ 52915 h 287555"/>
                <a:gd name="connsiteX43" fmla="*/ 240452 w 350711"/>
                <a:gd name="connsiteY43" fmla="*/ 54445 h 287555"/>
                <a:gd name="connsiteX44" fmla="*/ 234482 w 350711"/>
                <a:gd name="connsiteY44" fmla="*/ 52915 h 287555"/>
                <a:gd name="connsiteX45" fmla="*/ 222690 w 350711"/>
                <a:gd name="connsiteY45" fmla="*/ 45366 h 287555"/>
                <a:gd name="connsiteX46" fmla="*/ 216769 w 350711"/>
                <a:gd name="connsiteY46" fmla="*/ 45366 h 287555"/>
                <a:gd name="connsiteX47" fmla="*/ 210898 w 350711"/>
                <a:gd name="connsiteY47" fmla="*/ 42356 h 287555"/>
                <a:gd name="connsiteX48" fmla="*/ 206901 w 350711"/>
                <a:gd name="connsiteY48" fmla="*/ 34758 h 287555"/>
                <a:gd name="connsiteX49" fmla="*/ 204928 w 350711"/>
                <a:gd name="connsiteY49" fmla="*/ 30268 h 287555"/>
                <a:gd name="connsiteX50" fmla="*/ 199056 w 350711"/>
                <a:gd name="connsiteY50" fmla="*/ 30268 h 287555"/>
                <a:gd name="connsiteX51" fmla="*/ 195109 w 350711"/>
                <a:gd name="connsiteY51" fmla="*/ 24150 h 287555"/>
                <a:gd name="connsiteX52" fmla="*/ 195109 w 350711"/>
                <a:gd name="connsiteY52" fmla="*/ 16650 h 287555"/>
                <a:gd name="connsiteX53" fmla="*/ 193135 w 350711"/>
                <a:gd name="connsiteY53" fmla="*/ 10581 h 287555"/>
                <a:gd name="connsiteX54" fmla="*/ 185241 w 350711"/>
                <a:gd name="connsiteY54" fmla="*/ 9052 h 287555"/>
                <a:gd name="connsiteX55" fmla="*/ 175373 w 350711"/>
                <a:gd name="connsiteY55" fmla="*/ 12061 h 287555"/>
                <a:gd name="connsiteX56" fmla="*/ 169501 w 350711"/>
                <a:gd name="connsiteY56" fmla="*/ 9052 h 287555"/>
                <a:gd name="connsiteX57" fmla="*/ 171425 w 350711"/>
                <a:gd name="connsiteY57" fmla="*/ 3032 h 287555"/>
                <a:gd name="connsiteX58" fmla="*/ 165554 w 350711"/>
                <a:gd name="connsiteY58" fmla="*/ 1503 h 287555"/>
                <a:gd name="connsiteX59" fmla="*/ 157659 w 350711"/>
                <a:gd name="connsiteY59" fmla="*/ 3032 h 287555"/>
                <a:gd name="connsiteX60" fmla="*/ 143844 w 350711"/>
                <a:gd name="connsiteY60" fmla="*/ -27 h 287555"/>
                <a:gd name="connsiteX61" fmla="*/ 130029 w 350711"/>
                <a:gd name="connsiteY61" fmla="*/ -27 h 287555"/>
                <a:gd name="connsiteX62" fmla="*/ 126131 w 350711"/>
                <a:gd name="connsiteY62" fmla="*/ 3032 h 287555"/>
                <a:gd name="connsiteX63" fmla="*/ 116263 w 350711"/>
                <a:gd name="connsiteY63" fmla="*/ 3032 h 287555"/>
                <a:gd name="connsiteX64" fmla="*/ 106395 w 350711"/>
                <a:gd name="connsiteY64" fmla="*/ 9052 h 287555"/>
                <a:gd name="connsiteX65" fmla="*/ 108319 w 350711"/>
                <a:gd name="connsiteY65" fmla="*/ 10581 h 287555"/>
                <a:gd name="connsiteX66" fmla="*/ 104372 w 350711"/>
                <a:gd name="connsiteY66" fmla="*/ 16650 h 287555"/>
                <a:gd name="connsiteX67" fmla="*/ 100424 w 350711"/>
                <a:gd name="connsiteY67" fmla="*/ 16650 h 287555"/>
                <a:gd name="connsiteX68" fmla="*/ 92579 w 350711"/>
                <a:gd name="connsiteY68" fmla="*/ 24150 h 287555"/>
                <a:gd name="connsiteX69" fmla="*/ 78764 w 350711"/>
                <a:gd name="connsiteY69" fmla="*/ 25679 h 287555"/>
                <a:gd name="connsiteX70" fmla="*/ 70870 w 350711"/>
                <a:gd name="connsiteY70" fmla="*/ 34758 h 287555"/>
                <a:gd name="connsiteX71" fmla="*/ 70870 w 350711"/>
                <a:gd name="connsiteY71" fmla="*/ 45366 h 287555"/>
                <a:gd name="connsiteX72" fmla="*/ 76840 w 350711"/>
                <a:gd name="connsiteY72" fmla="*/ 57454 h 287555"/>
                <a:gd name="connsiteX73" fmla="*/ 76840 w 350711"/>
                <a:gd name="connsiteY73" fmla="*/ 66533 h 287555"/>
                <a:gd name="connsiteX74" fmla="*/ 70870 w 350711"/>
                <a:gd name="connsiteY74" fmla="*/ 78622 h 287555"/>
                <a:gd name="connsiteX75" fmla="*/ 72843 w 350711"/>
                <a:gd name="connsiteY75" fmla="*/ 83161 h 287555"/>
                <a:gd name="connsiteX76" fmla="*/ 72843 w 350711"/>
                <a:gd name="connsiteY76" fmla="*/ 90759 h 287555"/>
                <a:gd name="connsiteX77" fmla="*/ 66972 w 350711"/>
                <a:gd name="connsiteY77" fmla="*/ 96779 h 287555"/>
                <a:gd name="connsiteX78" fmla="*/ 64998 w 350711"/>
                <a:gd name="connsiteY78" fmla="*/ 102848 h 287555"/>
                <a:gd name="connsiteX79" fmla="*/ -82 w 350711"/>
                <a:gd name="connsiteY79" fmla="*/ 142320 h 287555"/>
                <a:gd name="connsiteX80" fmla="*/ -82 w 350711"/>
                <a:gd name="connsiteY80" fmla="*/ 142320 h 287555"/>
                <a:gd name="connsiteX81" fmla="*/ 19654 w 350711"/>
                <a:gd name="connsiteY81" fmla="*/ 183174 h 287555"/>
                <a:gd name="connsiteX82" fmla="*/ 49258 w 350711"/>
                <a:gd name="connsiteY82" fmla="*/ 186233 h 287555"/>
                <a:gd name="connsiteX83" fmla="*/ 218742 w 350711"/>
                <a:gd name="connsiteY83" fmla="*/ 285999 h 287555"/>
                <a:gd name="connsiteX84" fmla="*/ 287819 w 350711"/>
                <a:gd name="connsiteY84" fmla="*/ 287529 h 287555"/>
                <a:gd name="connsiteX85" fmla="*/ 297687 w 350711"/>
                <a:gd name="connsiteY85" fmla="*/ 273911 h 287555"/>
                <a:gd name="connsiteX86" fmla="*/ 303509 w 350711"/>
                <a:gd name="connsiteY86" fmla="*/ 257036 h 287555"/>
                <a:gd name="connsiteX87" fmla="*/ 319249 w 350711"/>
                <a:gd name="connsiteY87" fmla="*/ 250967 h 287555"/>
                <a:gd name="connsiteX88" fmla="*/ 333064 w 350711"/>
                <a:gd name="connsiteY88" fmla="*/ 255556 h 287555"/>
                <a:gd name="connsiteX89" fmla="*/ 340959 w 350711"/>
                <a:gd name="connsiteY89" fmla="*/ 252497 h 287555"/>
                <a:gd name="connsiteX90" fmla="*/ 344906 w 350711"/>
                <a:gd name="connsiteY90" fmla="*/ 254027 h 287555"/>
                <a:gd name="connsiteX91" fmla="*/ 348804 w 350711"/>
                <a:gd name="connsiteY91" fmla="*/ 247957 h 28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50711" h="287555">
                  <a:moveTo>
                    <a:pt x="350630" y="246675"/>
                  </a:moveTo>
                  <a:lnTo>
                    <a:pt x="348656" y="245145"/>
                  </a:lnTo>
                  <a:lnTo>
                    <a:pt x="340811" y="242135"/>
                  </a:lnTo>
                  <a:lnTo>
                    <a:pt x="334890" y="239076"/>
                  </a:lnTo>
                  <a:lnTo>
                    <a:pt x="332916" y="219340"/>
                  </a:lnTo>
                  <a:lnTo>
                    <a:pt x="321075" y="219340"/>
                  </a:lnTo>
                  <a:lnTo>
                    <a:pt x="319101" y="211791"/>
                  </a:lnTo>
                  <a:lnTo>
                    <a:pt x="319101" y="201282"/>
                  </a:lnTo>
                  <a:lnTo>
                    <a:pt x="325022" y="196742"/>
                  </a:lnTo>
                  <a:lnTo>
                    <a:pt x="319101" y="183124"/>
                  </a:lnTo>
                  <a:lnTo>
                    <a:pt x="313229" y="178585"/>
                  </a:lnTo>
                  <a:lnTo>
                    <a:pt x="305286" y="167977"/>
                  </a:lnTo>
                  <a:lnTo>
                    <a:pt x="301388" y="166497"/>
                  </a:lnTo>
                  <a:lnTo>
                    <a:pt x="297441" y="166497"/>
                  </a:lnTo>
                  <a:lnTo>
                    <a:pt x="269860" y="151399"/>
                  </a:lnTo>
                  <a:lnTo>
                    <a:pt x="264037" y="151399"/>
                  </a:lnTo>
                  <a:lnTo>
                    <a:pt x="262113" y="155888"/>
                  </a:lnTo>
                  <a:lnTo>
                    <a:pt x="252245" y="149869"/>
                  </a:lnTo>
                  <a:lnTo>
                    <a:pt x="254219" y="145330"/>
                  </a:lnTo>
                  <a:lnTo>
                    <a:pt x="252245" y="143800"/>
                  </a:lnTo>
                  <a:lnTo>
                    <a:pt x="254219" y="137781"/>
                  </a:lnTo>
                  <a:lnTo>
                    <a:pt x="246324" y="131712"/>
                  </a:lnTo>
                  <a:lnTo>
                    <a:pt x="246324" y="128751"/>
                  </a:lnTo>
                  <a:lnTo>
                    <a:pt x="238479" y="125742"/>
                  </a:lnTo>
                  <a:lnTo>
                    <a:pt x="234482" y="121153"/>
                  </a:lnTo>
                  <a:lnTo>
                    <a:pt x="230584" y="121153"/>
                  </a:lnTo>
                  <a:lnTo>
                    <a:pt x="230584" y="116663"/>
                  </a:lnTo>
                  <a:lnTo>
                    <a:pt x="232509" y="113604"/>
                  </a:lnTo>
                  <a:lnTo>
                    <a:pt x="230584" y="110594"/>
                  </a:lnTo>
                  <a:lnTo>
                    <a:pt x="232509" y="107535"/>
                  </a:lnTo>
                  <a:lnTo>
                    <a:pt x="232509" y="95447"/>
                  </a:lnTo>
                  <a:lnTo>
                    <a:pt x="236505" y="92437"/>
                  </a:lnTo>
                  <a:lnTo>
                    <a:pt x="238479" y="83358"/>
                  </a:lnTo>
                  <a:lnTo>
                    <a:pt x="242377" y="83358"/>
                  </a:lnTo>
                  <a:lnTo>
                    <a:pt x="246324" y="81829"/>
                  </a:lnTo>
                  <a:lnTo>
                    <a:pt x="246324" y="69543"/>
                  </a:lnTo>
                  <a:lnTo>
                    <a:pt x="244350" y="68063"/>
                  </a:lnTo>
                  <a:lnTo>
                    <a:pt x="242377" y="60464"/>
                  </a:lnTo>
                  <a:lnTo>
                    <a:pt x="246324" y="60464"/>
                  </a:lnTo>
                  <a:lnTo>
                    <a:pt x="254219" y="57454"/>
                  </a:lnTo>
                  <a:lnTo>
                    <a:pt x="256192" y="57454"/>
                  </a:lnTo>
                  <a:lnTo>
                    <a:pt x="252245" y="55925"/>
                  </a:lnTo>
                  <a:lnTo>
                    <a:pt x="248298" y="52915"/>
                  </a:lnTo>
                  <a:lnTo>
                    <a:pt x="240452" y="54445"/>
                  </a:lnTo>
                  <a:lnTo>
                    <a:pt x="234482" y="52915"/>
                  </a:lnTo>
                  <a:lnTo>
                    <a:pt x="222690" y="45366"/>
                  </a:lnTo>
                  <a:lnTo>
                    <a:pt x="216769" y="45366"/>
                  </a:lnTo>
                  <a:lnTo>
                    <a:pt x="210898" y="42356"/>
                  </a:lnTo>
                  <a:lnTo>
                    <a:pt x="206901" y="34758"/>
                  </a:lnTo>
                  <a:lnTo>
                    <a:pt x="204928" y="30268"/>
                  </a:lnTo>
                  <a:lnTo>
                    <a:pt x="199056" y="30268"/>
                  </a:lnTo>
                  <a:lnTo>
                    <a:pt x="195109" y="24150"/>
                  </a:lnTo>
                  <a:lnTo>
                    <a:pt x="195109" y="16650"/>
                  </a:lnTo>
                  <a:lnTo>
                    <a:pt x="193135" y="10581"/>
                  </a:lnTo>
                  <a:lnTo>
                    <a:pt x="185241" y="9052"/>
                  </a:lnTo>
                  <a:lnTo>
                    <a:pt x="175373" y="12061"/>
                  </a:lnTo>
                  <a:lnTo>
                    <a:pt x="169501" y="9052"/>
                  </a:lnTo>
                  <a:lnTo>
                    <a:pt x="171425" y="3032"/>
                  </a:lnTo>
                  <a:lnTo>
                    <a:pt x="165554" y="1503"/>
                  </a:lnTo>
                  <a:lnTo>
                    <a:pt x="157659" y="3032"/>
                  </a:lnTo>
                  <a:lnTo>
                    <a:pt x="143844" y="-27"/>
                  </a:lnTo>
                  <a:lnTo>
                    <a:pt x="130029" y="-27"/>
                  </a:lnTo>
                  <a:lnTo>
                    <a:pt x="126131" y="3032"/>
                  </a:lnTo>
                  <a:lnTo>
                    <a:pt x="116263" y="3032"/>
                  </a:lnTo>
                  <a:lnTo>
                    <a:pt x="106395" y="9052"/>
                  </a:lnTo>
                  <a:lnTo>
                    <a:pt x="108319" y="10581"/>
                  </a:lnTo>
                  <a:lnTo>
                    <a:pt x="104372" y="16650"/>
                  </a:lnTo>
                  <a:lnTo>
                    <a:pt x="100424" y="16650"/>
                  </a:lnTo>
                  <a:lnTo>
                    <a:pt x="92579" y="24150"/>
                  </a:lnTo>
                  <a:lnTo>
                    <a:pt x="78764" y="25679"/>
                  </a:lnTo>
                  <a:lnTo>
                    <a:pt x="70870" y="34758"/>
                  </a:lnTo>
                  <a:lnTo>
                    <a:pt x="70870" y="45366"/>
                  </a:lnTo>
                  <a:lnTo>
                    <a:pt x="76840" y="57454"/>
                  </a:lnTo>
                  <a:lnTo>
                    <a:pt x="76840" y="66533"/>
                  </a:lnTo>
                  <a:lnTo>
                    <a:pt x="70870" y="78622"/>
                  </a:lnTo>
                  <a:lnTo>
                    <a:pt x="72843" y="83161"/>
                  </a:lnTo>
                  <a:lnTo>
                    <a:pt x="72843" y="90759"/>
                  </a:lnTo>
                  <a:lnTo>
                    <a:pt x="66972" y="96779"/>
                  </a:lnTo>
                  <a:lnTo>
                    <a:pt x="64998" y="102848"/>
                  </a:lnTo>
                  <a:lnTo>
                    <a:pt x="-82" y="142320"/>
                  </a:lnTo>
                  <a:lnTo>
                    <a:pt x="-82" y="142320"/>
                  </a:lnTo>
                  <a:lnTo>
                    <a:pt x="19654" y="183174"/>
                  </a:lnTo>
                  <a:lnTo>
                    <a:pt x="49258" y="186233"/>
                  </a:lnTo>
                  <a:lnTo>
                    <a:pt x="218742" y="285999"/>
                  </a:lnTo>
                  <a:lnTo>
                    <a:pt x="287819" y="287529"/>
                  </a:lnTo>
                  <a:lnTo>
                    <a:pt x="297687" y="273911"/>
                  </a:lnTo>
                  <a:lnTo>
                    <a:pt x="303509" y="257036"/>
                  </a:lnTo>
                  <a:lnTo>
                    <a:pt x="319249" y="250967"/>
                  </a:lnTo>
                  <a:lnTo>
                    <a:pt x="333064" y="255556"/>
                  </a:lnTo>
                  <a:lnTo>
                    <a:pt x="340959" y="252497"/>
                  </a:lnTo>
                  <a:lnTo>
                    <a:pt x="344906" y="254027"/>
                  </a:lnTo>
                  <a:lnTo>
                    <a:pt x="348804" y="24795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Graphic 2">
              <a:extLst>
                <a:ext uri="{FF2B5EF4-FFF2-40B4-BE49-F238E27FC236}">
                  <a16:creationId xmlns:a16="http://schemas.microsoft.com/office/drawing/2014/main" id="{782E5DA3-E7CC-44DB-827B-414F832D685E}"/>
                </a:ext>
              </a:extLst>
            </p:cNvPr>
            <p:cNvSpPr/>
            <p:nvPr/>
          </p:nvSpPr>
          <p:spPr>
            <a:xfrm>
              <a:off x="6906356" y="3760004"/>
              <a:ext cx="57559" cy="47425"/>
            </a:xfrm>
            <a:custGeom>
              <a:avLst/>
              <a:gdLst>
                <a:gd name="connsiteX0" fmla="*/ -82 w 63353"/>
                <a:gd name="connsiteY0" fmla="*/ 34758 h 52202"/>
                <a:gd name="connsiteX1" fmla="*/ 9786 w 63353"/>
                <a:gd name="connsiteY1" fmla="*/ 21732 h 52202"/>
                <a:gd name="connsiteX2" fmla="*/ 15707 w 63353"/>
                <a:gd name="connsiteY2" fmla="*/ 5795 h 52202"/>
                <a:gd name="connsiteX3" fmla="*/ 31545 w 63353"/>
                <a:gd name="connsiteY3" fmla="*/ -27 h 52202"/>
                <a:gd name="connsiteX4" fmla="*/ 45460 w 63353"/>
                <a:gd name="connsiteY4" fmla="*/ 4315 h 52202"/>
                <a:gd name="connsiteX5" fmla="*/ 53354 w 63353"/>
                <a:gd name="connsiteY5" fmla="*/ 1404 h 52202"/>
                <a:gd name="connsiteX6" fmla="*/ 57350 w 63353"/>
                <a:gd name="connsiteY6" fmla="*/ 2884 h 52202"/>
                <a:gd name="connsiteX7" fmla="*/ 55328 w 63353"/>
                <a:gd name="connsiteY7" fmla="*/ 4315 h 52202"/>
                <a:gd name="connsiteX8" fmla="*/ 59324 w 63353"/>
                <a:gd name="connsiteY8" fmla="*/ 18821 h 52202"/>
                <a:gd name="connsiteX9" fmla="*/ 37516 w 63353"/>
                <a:gd name="connsiteY9" fmla="*/ 21732 h 52202"/>
                <a:gd name="connsiteX10" fmla="*/ 53354 w 63353"/>
                <a:gd name="connsiteY10" fmla="*/ 28985 h 52202"/>
                <a:gd name="connsiteX11" fmla="*/ 55328 w 63353"/>
                <a:gd name="connsiteY11" fmla="*/ 26074 h 52202"/>
                <a:gd name="connsiteX12" fmla="*/ 57350 w 63353"/>
                <a:gd name="connsiteY12" fmla="*/ 30465 h 52202"/>
                <a:gd name="connsiteX13" fmla="*/ 57350 w 63353"/>
                <a:gd name="connsiteY13" fmla="*/ 36238 h 52202"/>
                <a:gd name="connsiteX14" fmla="*/ 61298 w 63353"/>
                <a:gd name="connsiteY14" fmla="*/ 40580 h 52202"/>
                <a:gd name="connsiteX15" fmla="*/ 59324 w 63353"/>
                <a:gd name="connsiteY15" fmla="*/ 40580 h 52202"/>
                <a:gd name="connsiteX16" fmla="*/ 63272 w 63353"/>
                <a:gd name="connsiteY16" fmla="*/ 44971 h 52202"/>
                <a:gd name="connsiteX17" fmla="*/ 41512 w 63353"/>
                <a:gd name="connsiteY17" fmla="*/ 52175 h 52202"/>
                <a:gd name="connsiteX18" fmla="*/ 37516 w 63353"/>
                <a:gd name="connsiteY18" fmla="*/ 42061 h 52202"/>
                <a:gd name="connsiteX19" fmla="*/ 3816 w 63353"/>
                <a:gd name="connsiteY19" fmla="*/ 34758 h 52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3353" h="52202">
                  <a:moveTo>
                    <a:pt x="-82" y="34758"/>
                  </a:moveTo>
                  <a:lnTo>
                    <a:pt x="9786" y="21732"/>
                  </a:lnTo>
                  <a:lnTo>
                    <a:pt x="15707" y="5795"/>
                  </a:lnTo>
                  <a:lnTo>
                    <a:pt x="31545" y="-27"/>
                  </a:lnTo>
                  <a:lnTo>
                    <a:pt x="45460" y="4315"/>
                  </a:lnTo>
                  <a:lnTo>
                    <a:pt x="53354" y="1404"/>
                  </a:lnTo>
                  <a:lnTo>
                    <a:pt x="57350" y="2884"/>
                  </a:lnTo>
                  <a:lnTo>
                    <a:pt x="55328" y="4315"/>
                  </a:lnTo>
                  <a:lnTo>
                    <a:pt x="59324" y="18821"/>
                  </a:lnTo>
                  <a:lnTo>
                    <a:pt x="37516" y="21732"/>
                  </a:lnTo>
                  <a:lnTo>
                    <a:pt x="53354" y="28985"/>
                  </a:lnTo>
                  <a:lnTo>
                    <a:pt x="55328" y="26074"/>
                  </a:lnTo>
                  <a:lnTo>
                    <a:pt x="57350" y="30465"/>
                  </a:lnTo>
                  <a:lnTo>
                    <a:pt x="57350" y="36238"/>
                  </a:lnTo>
                  <a:lnTo>
                    <a:pt x="61298" y="40580"/>
                  </a:lnTo>
                  <a:lnTo>
                    <a:pt x="59324" y="40580"/>
                  </a:lnTo>
                  <a:lnTo>
                    <a:pt x="63272" y="44971"/>
                  </a:lnTo>
                  <a:lnTo>
                    <a:pt x="41512" y="52175"/>
                  </a:lnTo>
                  <a:lnTo>
                    <a:pt x="37516" y="42061"/>
                  </a:lnTo>
                  <a:lnTo>
                    <a:pt x="3816" y="3475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Graphic 2">
              <a:extLst>
                <a:ext uri="{FF2B5EF4-FFF2-40B4-BE49-F238E27FC236}">
                  <a16:creationId xmlns:a16="http://schemas.microsoft.com/office/drawing/2014/main" id="{30D591C6-ABEC-432C-82CF-B4BFAD621DC2}"/>
                </a:ext>
              </a:extLst>
            </p:cNvPr>
            <p:cNvSpPr/>
            <p:nvPr/>
          </p:nvSpPr>
          <p:spPr>
            <a:xfrm>
              <a:off x="6428325" y="3590477"/>
              <a:ext cx="74456" cy="37293"/>
            </a:xfrm>
            <a:custGeom>
              <a:avLst/>
              <a:gdLst>
                <a:gd name="connsiteX0" fmla="*/ 13931 w 81954"/>
                <a:gd name="connsiteY0" fmla="*/ 39495 h 41051"/>
                <a:gd name="connsiteX1" fmla="*/ 5888 w 81954"/>
                <a:gd name="connsiteY1" fmla="*/ 33377 h 41051"/>
                <a:gd name="connsiteX2" fmla="*/ -82 w 81954"/>
                <a:gd name="connsiteY2" fmla="*/ 28837 h 41051"/>
                <a:gd name="connsiteX3" fmla="*/ -82 w 81954"/>
                <a:gd name="connsiteY3" fmla="*/ 21239 h 41051"/>
                <a:gd name="connsiteX4" fmla="*/ 3914 w 81954"/>
                <a:gd name="connsiteY4" fmla="*/ 21239 h 41051"/>
                <a:gd name="connsiteX5" fmla="*/ 9884 w 81954"/>
                <a:gd name="connsiteY5" fmla="*/ 16700 h 41051"/>
                <a:gd name="connsiteX6" fmla="*/ 17927 w 81954"/>
                <a:gd name="connsiteY6" fmla="*/ 19759 h 41051"/>
                <a:gd name="connsiteX7" fmla="*/ 21924 w 81954"/>
                <a:gd name="connsiteY7" fmla="*/ 18229 h 41051"/>
                <a:gd name="connsiteX8" fmla="*/ 23947 w 81954"/>
                <a:gd name="connsiteY8" fmla="*/ 13640 h 41051"/>
                <a:gd name="connsiteX9" fmla="*/ 23947 w 81954"/>
                <a:gd name="connsiteY9" fmla="*/ 10581 h 41051"/>
                <a:gd name="connsiteX10" fmla="*/ 31940 w 81954"/>
                <a:gd name="connsiteY10" fmla="*/ 10581 h 41051"/>
                <a:gd name="connsiteX11" fmla="*/ 37959 w 81954"/>
                <a:gd name="connsiteY11" fmla="*/ 13640 h 41051"/>
                <a:gd name="connsiteX12" fmla="*/ 47827 w 81954"/>
                <a:gd name="connsiteY12" fmla="*/ 12111 h 41051"/>
                <a:gd name="connsiteX13" fmla="*/ 63814 w 81954"/>
                <a:gd name="connsiteY13" fmla="*/ 6042 h 41051"/>
                <a:gd name="connsiteX14" fmla="*/ 75852 w 81954"/>
                <a:gd name="connsiteY14" fmla="*/ -27 h 41051"/>
                <a:gd name="connsiteX15" fmla="*/ 79849 w 81954"/>
                <a:gd name="connsiteY15" fmla="*/ -27 h 41051"/>
                <a:gd name="connsiteX16" fmla="*/ 81872 w 81954"/>
                <a:gd name="connsiteY16" fmla="*/ 1503 h 41051"/>
                <a:gd name="connsiteX17" fmla="*/ 77876 w 81954"/>
                <a:gd name="connsiteY17" fmla="*/ 4512 h 41051"/>
                <a:gd name="connsiteX18" fmla="*/ 69833 w 81954"/>
                <a:gd name="connsiteY18" fmla="*/ 10581 h 41051"/>
                <a:gd name="connsiteX19" fmla="*/ 61791 w 81954"/>
                <a:gd name="connsiteY19" fmla="*/ 18229 h 41051"/>
                <a:gd name="connsiteX20" fmla="*/ 63814 w 81954"/>
                <a:gd name="connsiteY20" fmla="*/ 22768 h 41051"/>
                <a:gd name="connsiteX21" fmla="*/ 63814 w 81954"/>
                <a:gd name="connsiteY21" fmla="*/ 28837 h 41051"/>
                <a:gd name="connsiteX22" fmla="*/ 55821 w 81954"/>
                <a:gd name="connsiteY22" fmla="*/ 27308 h 41051"/>
                <a:gd name="connsiteX23" fmla="*/ 47827 w 81954"/>
                <a:gd name="connsiteY23" fmla="*/ 28837 h 41051"/>
                <a:gd name="connsiteX24" fmla="*/ 39785 w 81954"/>
                <a:gd name="connsiteY24" fmla="*/ 34906 h 41051"/>
                <a:gd name="connsiteX25" fmla="*/ 31792 w 81954"/>
                <a:gd name="connsiteY25" fmla="*/ 37965 h 41051"/>
                <a:gd name="connsiteX26" fmla="*/ 27795 w 81954"/>
                <a:gd name="connsiteY26" fmla="*/ 41024 h 41051"/>
                <a:gd name="connsiteX27" fmla="*/ 23799 w 81954"/>
                <a:gd name="connsiteY27" fmla="*/ 39495 h 4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1954" h="41051">
                  <a:moveTo>
                    <a:pt x="13931" y="39495"/>
                  </a:moveTo>
                  <a:lnTo>
                    <a:pt x="5888" y="33377"/>
                  </a:lnTo>
                  <a:lnTo>
                    <a:pt x="-82" y="28837"/>
                  </a:lnTo>
                  <a:lnTo>
                    <a:pt x="-82" y="21239"/>
                  </a:lnTo>
                  <a:lnTo>
                    <a:pt x="3914" y="21239"/>
                  </a:lnTo>
                  <a:lnTo>
                    <a:pt x="9884" y="16700"/>
                  </a:lnTo>
                  <a:lnTo>
                    <a:pt x="17927" y="19759"/>
                  </a:lnTo>
                  <a:lnTo>
                    <a:pt x="21924" y="18229"/>
                  </a:lnTo>
                  <a:lnTo>
                    <a:pt x="23947" y="13640"/>
                  </a:lnTo>
                  <a:lnTo>
                    <a:pt x="23947" y="10581"/>
                  </a:lnTo>
                  <a:lnTo>
                    <a:pt x="31940" y="10581"/>
                  </a:lnTo>
                  <a:lnTo>
                    <a:pt x="37959" y="13640"/>
                  </a:lnTo>
                  <a:lnTo>
                    <a:pt x="47827" y="12111"/>
                  </a:lnTo>
                  <a:lnTo>
                    <a:pt x="63814" y="6042"/>
                  </a:lnTo>
                  <a:lnTo>
                    <a:pt x="75852" y="-27"/>
                  </a:lnTo>
                  <a:lnTo>
                    <a:pt x="79849" y="-27"/>
                  </a:lnTo>
                  <a:lnTo>
                    <a:pt x="81872" y="1503"/>
                  </a:lnTo>
                  <a:lnTo>
                    <a:pt x="77876" y="4512"/>
                  </a:lnTo>
                  <a:lnTo>
                    <a:pt x="69833" y="10581"/>
                  </a:lnTo>
                  <a:lnTo>
                    <a:pt x="61791" y="18229"/>
                  </a:lnTo>
                  <a:lnTo>
                    <a:pt x="63814" y="22768"/>
                  </a:lnTo>
                  <a:lnTo>
                    <a:pt x="63814" y="28837"/>
                  </a:lnTo>
                  <a:lnTo>
                    <a:pt x="55821" y="27308"/>
                  </a:lnTo>
                  <a:lnTo>
                    <a:pt x="47827" y="28837"/>
                  </a:lnTo>
                  <a:lnTo>
                    <a:pt x="39785" y="34906"/>
                  </a:lnTo>
                  <a:lnTo>
                    <a:pt x="31792" y="37965"/>
                  </a:lnTo>
                  <a:lnTo>
                    <a:pt x="27795" y="41024"/>
                  </a:lnTo>
                  <a:lnTo>
                    <a:pt x="23799" y="3949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Graphic 2">
              <a:extLst>
                <a:ext uri="{FF2B5EF4-FFF2-40B4-BE49-F238E27FC236}">
                  <a16:creationId xmlns:a16="http://schemas.microsoft.com/office/drawing/2014/main" id="{6245E648-134C-4C32-BB0E-9100656F02E9}"/>
                </a:ext>
              </a:extLst>
            </p:cNvPr>
            <p:cNvSpPr/>
            <p:nvPr/>
          </p:nvSpPr>
          <p:spPr>
            <a:xfrm>
              <a:off x="6540439" y="3536284"/>
              <a:ext cx="203063" cy="155943"/>
            </a:xfrm>
            <a:custGeom>
              <a:avLst/>
              <a:gdLst>
                <a:gd name="connsiteX0" fmla="*/ 116460 w 223511"/>
                <a:gd name="connsiteY0" fmla="*/ 135116 h 171654"/>
                <a:gd name="connsiteX1" fmla="*/ 180602 w 223511"/>
                <a:gd name="connsiteY1" fmla="*/ 95644 h 171654"/>
                <a:gd name="connsiteX2" fmla="*/ 182526 w 223511"/>
                <a:gd name="connsiteY2" fmla="*/ 89526 h 171654"/>
                <a:gd name="connsiteX3" fmla="*/ 188398 w 223511"/>
                <a:gd name="connsiteY3" fmla="*/ 83457 h 171654"/>
                <a:gd name="connsiteX4" fmla="*/ 188398 w 223511"/>
                <a:gd name="connsiteY4" fmla="*/ 75859 h 171654"/>
                <a:gd name="connsiteX5" fmla="*/ 186424 w 223511"/>
                <a:gd name="connsiteY5" fmla="*/ 71270 h 171654"/>
                <a:gd name="connsiteX6" fmla="*/ 192247 w 223511"/>
                <a:gd name="connsiteY6" fmla="*/ 59182 h 171654"/>
                <a:gd name="connsiteX7" fmla="*/ 192247 w 223511"/>
                <a:gd name="connsiteY7" fmla="*/ 50004 h 171654"/>
                <a:gd name="connsiteX8" fmla="*/ 186424 w 223511"/>
                <a:gd name="connsiteY8" fmla="*/ 37916 h 171654"/>
                <a:gd name="connsiteX9" fmla="*/ 186424 w 223511"/>
                <a:gd name="connsiteY9" fmla="*/ 27308 h 171654"/>
                <a:gd name="connsiteX10" fmla="*/ 194220 w 223511"/>
                <a:gd name="connsiteY10" fmla="*/ 18180 h 171654"/>
                <a:gd name="connsiteX11" fmla="*/ 207838 w 223511"/>
                <a:gd name="connsiteY11" fmla="*/ 16650 h 171654"/>
                <a:gd name="connsiteX12" fmla="*/ 215634 w 223511"/>
                <a:gd name="connsiteY12" fmla="*/ 9052 h 171654"/>
                <a:gd name="connsiteX13" fmla="*/ 219531 w 223511"/>
                <a:gd name="connsiteY13" fmla="*/ 9052 h 171654"/>
                <a:gd name="connsiteX14" fmla="*/ 223430 w 223511"/>
                <a:gd name="connsiteY14" fmla="*/ 2983 h 171654"/>
                <a:gd name="connsiteX15" fmla="*/ 219531 w 223511"/>
                <a:gd name="connsiteY15" fmla="*/ -27 h 171654"/>
                <a:gd name="connsiteX16" fmla="*/ 209663 w 223511"/>
                <a:gd name="connsiteY16" fmla="*/ -27 h 171654"/>
                <a:gd name="connsiteX17" fmla="*/ 194072 w 223511"/>
                <a:gd name="connsiteY17" fmla="*/ 4512 h 171654"/>
                <a:gd name="connsiteX18" fmla="*/ 176556 w 223511"/>
                <a:gd name="connsiteY18" fmla="*/ 2983 h 171654"/>
                <a:gd name="connsiteX19" fmla="*/ 170685 w 223511"/>
                <a:gd name="connsiteY19" fmla="*/ 4512 h 171654"/>
                <a:gd name="connsiteX20" fmla="*/ 158991 w 223511"/>
                <a:gd name="connsiteY20" fmla="*/ 4512 h 171654"/>
                <a:gd name="connsiteX21" fmla="*/ 147643 w 223511"/>
                <a:gd name="connsiteY21" fmla="*/ 7571 h 171654"/>
                <a:gd name="connsiteX22" fmla="*/ 143745 w 223511"/>
                <a:gd name="connsiteY22" fmla="*/ 12111 h 171654"/>
                <a:gd name="connsiteX23" fmla="*/ 132051 w 223511"/>
                <a:gd name="connsiteY23" fmla="*/ 16650 h 171654"/>
                <a:gd name="connsiteX24" fmla="*/ 130127 w 223511"/>
                <a:gd name="connsiteY24" fmla="*/ 18180 h 171654"/>
                <a:gd name="connsiteX25" fmla="*/ 116460 w 223511"/>
                <a:gd name="connsiteY25" fmla="*/ 18180 h 171654"/>
                <a:gd name="connsiteX26" fmla="*/ 104766 w 223511"/>
                <a:gd name="connsiteY26" fmla="*/ 16650 h 171654"/>
                <a:gd name="connsiteX27" fmla="*/ 98944 w 223511"/>
                <a:gd name="connsiteY27" fmla="*/ 12111 h 171654"/>
                <a:gd name="connsiteX28" fmla="*/ 93122 w 223511"/>
                <a:gd name="connsiteY28" fmla="*/ 10581 h 171654"/>
                <a:gd name="connsiteX29" fmla="*/ 75606 w 223511"/>
                <a:gd name="connsiteY29" fmla="*/ 12111 h 171654"/>
                <a:gd name="connsiteX30" fmla="*/ 71659 w 223511"/>
                <a:gd name="connsiteY30" fmla="*/ 16650 h 171654"/>
                <a:gd name="connsiteX31" fmla="*/ 67810 w 223511"/>
                <a:gd name="connsiteY31" fmla="*/ 16650 h 171654"/>
                <a:gd name="connsiteX32" fmla="*/ 48074 w 223511"/>
                <a:gd name="connsiteY32" fmla="*/ 22768 h 171654"/>
                <a:gd name="connsiteX33" fmla="*/ 42252 w 223511"/>
                <a:gd name="connsiteY33" fmla="*/ 21239 h 171654"/>
                <a:gd name="connsiteX34" fmla="*/ 30558 w 223511"/>
                <a:gd name="connsiteY34" fmla="*/ 18180 h 171654"/>
                <a:gd name="connsiteX35" fmla="*/ 28634 w 223511"/>
                <a:gd name="connsiteY35" fmla="*/ 22768 h 171654"/>
                <a:gd name="connsiteX36" fmla="*/ 28634 w 223511"/>
                <a:gd name="connsiteY36" fmla="*/ 34857 h 171654"/>
                <a:gd name="connsiteX37" fmla="*/ 24686 w 223511"/>
                <a:gd name="connsiteY37" fmla="*/ 36386 h 171654"/>
                <a:gd name="connsiteX38" fmla="*/ 24686 w 223511"/>
                <a:gd name="connsiteY38" fmla="*/ 44034 h 171654"/>
                <a:gd name="connsiteX39" fmla="*/ 19358 w 223511"/>
                <a:gd name="connsiteY39" fmla="*/ 47044 h 171654"/>
                <a:gd name="connsiteX40" fmla="*/ 5740 w 223511"/>
                <a:gd name="connsiteY40" fmla="*/ 47044 h 171654"/>
                <a:gd name="connsiteX41" fmla="*/ -82 w 223511"/>
                <a:gd name="connsiteY41" fmla="*/ 48573 h 171654"/>
                <a:gd name="connsiteX42" fmla="*/ 1842 w 223511"/>
                <a:gd name="connsiteY42" fmla="*/ 57701 h 171654"/>
                <a:gd name="connsiteX43" fmla="*/ 7714 w 223511"/>
                <a:gd name="connsiteY43" fmla="*/ 68309 h 171654"/>
                <a:gd name="connsiteX44" fmla="*/ 9638 w 223511"/>
                <a:gd name="connsiteY44" fmla="*/ 75908 h 171654"/>
                <a:gd name="connsiteX45" fmla="*/ 7714 w 223511"/>
                <a:gd name="connsiteY45" fmla="*/ 81977 h 171654"/>
                <a:gd name="connsiteX46" fmla="*/ 7714 w 223511"/>
                <a:gd name="connsiteY46" fmla="*/ 95693 h 171654"/>
                <a:gd name="connsiteX47" fmla="*/ 21332 w 223511"/>
                <a:gd name="connsiteY47" fmla="*/ 95693 h 171654"/>
                <a:gd name="connsiteX48" fmla="*/ 25180 w 223511"/>
                <a:gd name="connsiteY48" fmla="*/ 101713 h 171654"/>
                <a:gd name="connsiteX49" fmla="*/ 31052 w 223511"/>
                <a:gd name="connsiteY49" fmla="*/ 104772 h 171654"/>
                <a:gd name="connsiteX50" fmla="*/ 31052 w 223511"/>
                <a:gd name="connsiteY50" fmla="*/ 112370 h 171654"/>
                <a:gd name="connsiteX51" fmla="*/ 34950 w 223511"/>
                <a:gd name="connsiteY51" fmla="*/ 116959 h 171654"/>
                <a:gd name="connsiteX52" fmla="*/ 29127 w 223511"/>
                <a:gd name="connsiteY52" fmla="*/ 118439 h 171654"/>
                <a:gd name="connsiteX53" fmla="*/ 25180 w 223511"/>
                <a:gd name="connsiteY53" fmla="*/ 118439 h 171654"/>
                <a:gd name="connsiteX54" fmla="*/ 19358 w 223511"/>
                <a:gd name="connsiteY54" fmla="*/ 122979 h 171654"/>
                <a:gd name="connsiteX55" fmla="*/ 15460 w 223511"/>
                <a:gd name="connsiteY55" fmla="*/ 130626 h 171654"/>
                <a:gd name="connsiteX56" fmla="*/ 11562 w 223511"/>
                <a:gd name="connsiteY56" fmla="*/ 138175 h 171654"/>
                <a:gd name="connsiteX57" fmla="*/ 9490 w 223511"/>
                <a:gd name="connsiteY57" fmla="*/ 138175 h 171654"/>
                <a:gd name="connsiteX58" fmla="*/ 11414 w 223511"/>
                <a:gd name="connsiteY58" fmla="*/ 139705 h 171654"/>
                <a:gd name="connsiteX59" fmla="*/ 17285 w 223511"/>
                <a:gd name="connsiteY59" fmla="*/ 144244 h 171654"/>
                <a:gd name="connsiteX60" fmla="*/ 17285 w 223511"/>
                <a:gd name="connsiteY60" fmla="*/ 156431 h 171654"/>
                <a:gd name="connsiteX61" fmla="*/ 15312 w 223511"/>
                <a:gd name="connsiteY61" fmla="*/ 160971 h 171654"/>
                <a:gd name="connsiteX62" fmla="*/ 19210 w 223511"/>
                <a:gd name="connsiteY62" fmla="*/ 160971 h 171654"/>
                <a:gd name="connsiteX63" fmla="*/ 30903 w 223511"/>
                <a:gd name="connsiteY63" fmla="*/ 165559 h 171654"/>
                <a:gd name="connsiteX64" fmla="*/ 38700 w 223511"/>
                <a:gd name="connsiteY64" fmla="*/ 170099 h 171654"/>
                <a:gd name="connsiteX65" fmla="*/ 40673 w 223511"/>
                <a:gd name="connsiteY65" fmla="*/ 170099 h 171654"/>
                <a:gd name="connsiteX66" fmla="*/ 46495 w 223511"/>
                <a:gd name="connsiteY66" fmla="*/ 171628 h 171654"/>
                <a:gd name="connsiteX67" fmla="*/ 116558 w 223511"/>
                <a:gd name="connsiteY67" fmla="*/ 135165 h 17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23511" h="171654">
                  <a:moveTo>
                    <a:pt x="116460" y="135116"/>
                  </a:moveTo>
                  <a:lnTo>
                    <a:pt x="180602" y="95644"/>
                  </a:lnTo>
                  <a:lnTo>
                    <a:pt x="182526" y="89526"/>
                  </a:lnTo>
                  <a:lnTo>
                    <a:pt x="188398" y="83457"/>
                  </a:lnTo>
                  <a:lnTo>
                    <a:pt x="188398" y="75859"/>
                  </a:lnTo>
                  <a:lnTo>
                    <a:pt x="186424" y="71270"/>
                  </a:lnTo>
                  <a:lnTo>
                    <a:pt x="192247" y="59182"/>
                  </a:lnTo>
                  <a:lnTo>
                    <a:pt x="192247" y="50004"/>
                  </a:lnTo>
                  <a:lnTo>
                    <a:pt x="186424" y="37916"/>
                  </a:lnTo>
                  <a:lnTo>
                    <a:pt x="186424" y="27308"/>
                  </a:lnTo>
                  <a:lnTo>
                    <a:pt x="194220" y="18180"/>
                  </a:lnTo>
                  <a:lnTo>
                    <a:pt x="207838" y="16650"/>
                  </a:lnTo>
                  <a:lnTo>
                    <a:pt x="215634" y="9052"/>
                  </a:lnTo>
                  <a:lnTo>
                    <a:pt x="219531" y="9052"/>
                  </a:lnTo>
                  <a:lnTo>
                    <a:pt x="223430" y="2983"/>
                  </a:lnTo>
                  <a:lnTo>
                    <a:pt x="219531" y="-27"/>
                  </a:lnTo>
                  <a:lnTo>
                    <a:pt x="209663" y="-27"/>
                  </a:lnTo>
                  <a:lnTo>
                    <a:pt x="194072" y="4512"/>
                  </a:lnTo>
                  <a:lnTo>
                    <a:pt x="176556" y="2983"/>
                  </a:lnTo>
                  <a:lnTo>
                    <a:pt x="170685" y="4512"/>
                  </a:lnTo>
                  <a:lnTo>
                    <a:pt x="158991" y="4512"/>
                  </a:lnTo>
                  <a:lnTo>
                    <a:pt x="147643" y="7571"/>
                  </a:lnTo>
                  <a:lnTo>
                    <a:pt x="143745" y="12111"/>
                  </a:lnTo>
                  <a:lnTo>
                    <a:pt x="132051" y="16650"/>
                  </a:lnTo>
                  <a:lnTo>
                    <a:pt x="130127" y="18180"/>
                  </a:lnTo>
                  <a:lnTo>
                    <a:pt x="116460" y="18180"/>
                  </a:lnTo>
                  <a:lnTo>
                    <a:pt x="104766" y="16650"/>
                  </a:lnTo>
                  <a:lnTo>
                    <a:pt x="98944" y="12111"/>
                  </a:lnTo>
                  <a:lnTo>
                    <a:pt x="93122" y="10581"/>
                  </a:lnTo>
                  <a:lnTo>
                    <a:pt x="75606" y="12111"/>
                  </a:lnTo>
                  <a:lnTo>
                    <a:pt x="71659" y="16650"/>
                  </a:lnTo>
                  <a:lnTo>
                    <a:pt x="67810" y="16650"/>
                  </a:lnTo>
                  <a:lnTo>
                    <a:pt x="48074" y="22768"/>
                  </a:lnTo>
                  <a:lnTo>
                    <a:pt x="42252" y="21239"/>
                  </a:lnTo>
                  <a:lnTo>
                    <a:pt x="30558" y="18180"/>
                  </a:lnTo>
                  <a:lnTo>
                    <a:pt x="28634" y="22768"/>
                  </a:lnTo>
                  <a:lnTo>
                    <a:pt x="28634" y="34857"/>
                  </a:lnTo>
                  <a:lnTo>
                    <a:pt x="24686" y="36386"/>
                  </a:lnTo>
                  <a:lnTo>
                    <a:pt x="24686" y="44034"/>
                  </a:lnTo>
                  <a:lnTo>
                    <a:pt x="19358" y="47044"/>
                  </a:lnTo>
                  <a:lnTo>
                    <a:pt x="5740" y="47044"/>
                  </a:lnTo>
                  <a:lnTo>
                    <a:pt x="-82" y="48573"/>
                  </a:lnTo>
                  <a:lnTo>
                    <a:pt x="1842" y="57701"/>
                  </a:lnTo>
                  <a:lnTo>
                    <a:pt x="7714" y="68309"/>
                  </a:lnTo>
                  <a:lnTo>
                    <a:pt x="9638" y="75908"/>
                  </a:lnTo>
                  <a:lnTo>
                    <a:pt x="7714" y="81977"/>
                  </a:lnTo>
                  <a:lnTo>
                    <a:pt x="7714" y="95693"/>
                  </a:lnTo>
                  <a:lnTo>
                    <a:pt x="21332" y="95693"/>
                  </a:lnTo>
                  <a:lnTo>
                    <a:pt x="25180" y="101713"/>
                  </a:lnTo>
                  <a:lnTo>
                    <a:pt x="31052" y="104772"/>
                  </a:lnTo>
                  <a:lnTo>
                    <a:pt x="31052" y="112370"/>
                  </a:lnTo>
                  <a:lnTo>
                    <a:pt x="34950" y="116959"/>
                  </a:lnTo>
                  <a:lnTo>
                    <a:pt x="29127" y="118439"/>
                  </a:lnTo>
                  <a:lnTo>
                    <a:pt x="25180" y="118439"/>
                  </a:lnTo>
                  <a:lnTo>
                    <a:pt x="19358" y="122979"/>
                  </a:lnTo>
                  <a:lnTo>
                    <a:pt x="15460" y="130626"/>
                  </a:lnTo>
                  <a:lnTo>
                    <a:pt x="11562" y="138175"/>
                  </a:lnTo>
                  <a:lnTo>
                    <a:pt x="9490" y="138175"/>
                  </a:lnTo>
                  <a:lnTo>
                    <a:pt x="11414" y="139705"/>
                  </a:lnTo>
                  <a:lnTo>
                    <a:pt x="17285" y="144244"/>
                  </a:lnTo>
                  <a:lnTo>
                    <a:pt x="17285" y="156431"/>
                  </a:lnTo>
                  <a:lnTo>
                    <a:pt x="15312" y="160971"/>
                  </a:lnTo>
                  <a:lnTo>
                    <a:pt x="19210" y="160971"/>
                  </a:lnTo>
                  <a:lnTo>
                    <a:pt x="30903" y="165559"/>
                  </a:lnTo>
                  <a:lnTo>
                    <a:pt x="38700" y="170099"/>
                  </a:lnTo>
                  <a:lnTo>
                    <a:pt x="40673" y="170099"/>
                  </a:lnTo>
                  <a:lnTo>
                    <a:pt x="46495" y="171628"/>
                  </a:lnTo>
                  <a:lnTo>
                    <a:pt x="116558" y="13516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Graphic 2">
              <a:extLst>
                <a:ext uri="{FF2B5EF4-FFF2-40B4-BE49-F238E27FC236}">
                  <a16:creationId xmlns:a16="http://schemas.microsoft.com/office/drawing/2014/main" id="{485C54B9-F8E9-46AC-A767-77C03AAE7EEF}"/>
                </a:ext>
              </a:extLst>
            </p:cNvPr>
            <p:cNvSpPr/>
            <p:nvPr/>
          </p:nvSpPr>
          <p:spPr>
            <a:xfrm>
              <a:off x="6496240" y="3661478"/>
              <a:ext cx="50743" cy="122235"/>
            </a:xfrm>
            <a:custGeom>
              <a:avLst/>
              <a:gdLst>
                <a:gd name="connsiteX0" fmla="*/ 33766 w 55853"/>
                <a:gd name="connsiteY0" fmla="*/ 134524 h 134550"/>
                <a:gd name="connsiteX1" fmla="*/ 37762 w 55853"/>
                <a:gd name="connsiteY1" fmla="*/ 129985 h 134550"/>
                <a:gd name="connsiteX2" fmla="*/ 37762 w 55853"/>
                <a:gd name="connsiteY2" fmla="*/ 125446 h 134550"/>
                <a:gd name="connsiteX3" fmla="*/ 41759 w 55853"/>
                <a:gd name="connsiteY3" fmla="*/ 122436 h 134550"/>
                <a:gd name="connsiteX4" fmla="*/ 41759 w 55853"/>
                <a:gd name="connsiteY4" fmla="*/ 114887 h 134550"/>
                <a:gd name="connsiteX5" fmla="*/ 45756 w 55853"/>
                <a:gd name="connsiteY5" fmla="*/ 107338 h 134550"/>
                <a:gd name="connsiteX6" fmla="*/ 45756 w 55853"/>
                <a:gd name="connsiteY6" fmla="*/ 98308 h 134550"/>
                <a:gd name="connsiteX7" fmla="*/ 47779 w 55853"/>
                <a:gd name="connsiteY7" fmla="*/ 96779 h 134550"/>
                <a:gd name="connsiteX8" fmla="*/ 47779 w 55853"/>
                <a:gd name="connsiteY8" fmla="*/ 90759 h 134550"/>
                <a:gd name="connsiteX9" fmla="*/ 49752 w 55853"/>
                <a:gd name="connsiteY9" fmla="*/ 83210 h 134550"/>
                <a:gd name="connsiteX10" fmla="*/ 49752 w 55853"/>
                <a:gd name="connsiteY10" fmla="*/ 78671 h 134550"/>
                <a:gd name="connsiteX11" fmla="*/ 51775 w 55853"/>
                <a:gd name="connsiteY11" fmla="*/ 65053 h 134550"/>
                <a:gd name="connsiteX12" fmla="*/ 47779 w 55853"/>
                <a:gd name="connsiteY12" fmla="*/ 66583 h 134550"/>
                <a:gd name="connsiteX13" fmla="*/ 41759 w 55853"/>
                <a:gd name="connsiteY13" fmla="*/ 66583 h 134550"/>
                <a:gd name="connsiteX14" fmla="*/ 35789 w 55853"/>
                <a:gd name="connsiteY14" fmla="*/ 69642 h 134550"/>
                <a:gd name="connsiteX15" fmla="*/ 33766 w 55853"/>
                <a:gd name="connsiteY15" fmla="*/ 66583 h 134550"/>
                <a:gd name="connsiteX16" fmla="*/ 33766 w 55853"/>
                <a:gd name="connsiteY16" fmla="*/ 42455 h 134550"/>
                <a:gd name="connsiteX17" fmla="*/ 31792 w 55853"/>
                <a:gd name="connsiteY17" fmla="*/ 39445 h 134550"/>
                <a:gd name="connsiteX18" fmla="*/ 33766 w 55853"/>
                <a:gd name="connsiteY18" fmla="*/ 30367 h 134550"/>
                <a:gd name="connsiteX19" fmla="*/ 41759 w 55853"/>
                <a:gd name="connsiteY19" fmla="*/ 30367 h 134550"/>
                <a:gd name="connsiteX20" fmla="*/ 45756 w 55853"/>
                <a:gd name="connsiteY20" fmla="*/ 36436 h 134550"/>
                <a:gd name="connsiteX21" fmla="*/ 49752 w 55853"/>
                <a:gd name="connsiteY21" fmla="*/ 36436 h 134550"/>
                <a:gd name="connsiteX22" fmla="*/ 53749 w 55853"/>
                <a:gd name="connsiteY22" fmla="*/ 31847 h 134550"/>
                <a:gd name="connsiteX23" fmla="*/ 53749 w 55853"/>
                <a:gd name="connsiteY23" fmla="*/ 28886 h 134550"/>
                <a:gd name="connsiteX24" fmla="*/ 53749 w 55853"/>
                <a:gd name="connsiteY24" fmla="*/ 28886 h 134550"/>
                <a:gd name="connsiteX25" fmla="*/ 51775 w 55853"/>
                <a:gd name="connsiteY25" fmla="*/ 25827 h 134550"/>
                <a:gd name="connsiteX26" fmla="*/ 51775 w 55853"/>
                <a:gd name="connsiteY26" fmla="*/ 21288 h 134550"/>
                <a:gd name="connsiteX27" fmla="*/ 53749 w 55853"/>
                <a:gd name="connsiteY27" fmla="*/ 12259 h 134550"/>
                <a:gd name="connsiteX28" fmla="*/ 53749 w 55853"/>
                <a:gd name="connsiteY28" fmla="*/ 2983 h 134550"/>
                <a:gd name="connsiteX29" fmla="*/ 55772 w 55853"/>
                <a:gd name="connsiteY29" fmla="*/ -27 h 134550"/>
                <a:gd name="connsiteX30" fmla="*/ 53749 w 55853"/>
                <a:gd name="connsiteY30" fmla="*/ -27 h 134550"/>
                <a:gd name="connsiteX31" fmla="*/ 49752 w 55853"/>
                <a:gd name="connsiteY31" fmla="*/ 6042 h 134550"/>
                <a:gd name="connsiteX32" fmla="*/ 31792 w 55853"/>
                <a:gd name="connsiteY32" fmla="*/ 6042 h 134550"/>
                <a:gd name="connsiteX33" fmla="*/ 23799 w 55853"/>
                <a:gd name="connsiteY33" fmla="*/ 13542 h 134550"/>
                <a:gd name="connsiteX34" fmla="*/ 21776 w 55853"/>
                <a:gd name="connsiteY34" fmla="*/ 36238 h 134550"/>
                <a:gd name="connsiteX35" fmla="*/ 11908 w 55853"/>
                <a:gd name="connsiteY35" fmla="*/ 52816 h 134550"/>
                <a:gd name="connsiteX36" fmla="*/ -82 w 55853"/>
                <a:gd name="connsiteY36" fmla="*/ 66385 h 134550"/>
                <a:gd name="connsiteX37" fmla="*/ 3915 w 55853"/>
                <a:gd name="connsiteY37" fmla="*/ 67915 h 134550"/>
                <a:gd name="connsiteX38" fmla="*/ 11908 w 55853"/>
                <a:gd name="connsiteY38" fmla="*/ 76944 h 134550"/>
                <a:gd name="connsiteX39" fmla="*/ 15954 w 55853"/>
                <a:gd name="connsiteY39" fmla="*/ 89082 h 134550"/>
                <a:gd name="connsiteX40" fmla="*/ 25822 w 55853"/>
                <a:gd name="connsiteY40" fmla="*/ 101121 h 134550"/>
                <a:gd name="connsiteX41" fmla="*/ 33815 w 55853"/>
                <a:gd name="connsiteY41" fmla="*/ 117699 h 134550"/>
                <a:gd name="connsiteX42" fmla="*/ 29868 w 55853"/>
                <a:gd name="connsiteY42" fmla="*/ 125248 h 13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5853" h="134550">
                  <a:moveTo>
                    <a:pt x="33766" y="134524"/>
                  </a:moveTo>
                  <a:lnTo>
                    <a:pt x="37762" y="129985"/>
                  </a:lnTo>
                  <a:lnTo>
                    <a:pt x="37762" y="125446"/>
                  </a:lnTo>
                  <a:lnTo>
                    <a:pt x="41759" y="122436"/>
                  </a:lnTo>
                  <a:lnTo>
                    <a:pt x="41759" y="114887"/>
                  </a:lnTo>
                  <a:lnTo>
                    <a:pt x="45756" y="107338"/>
                  </a:lnTo>
                  <a:lnTo>
                    <a:pt x="45756" y="98308"/>
                  </a:lnTo>
                  <a:lnTo>
                    <a:pt x="47779" y="96779"/>
                  </a:lnTo>
                  <a:lnTo>
                    <a:pt x="47779" y="90759"/>
                  </a:lnTo>
                  <a:lnTo>
                    <a:pt x="49752" y="83210"/>
                  </a:lnTo>
                  <a:lnTo>
                    <a:pt x="49752" y="78671"/>
                  </a:lnTo>
                  <a:lnTo>
                    <a:pt x="51775" y="65053"/>
                  </a:lnTo>
                  <a:lnTo>
                    <a:pt x="47779" y="66583"/>
                  </a:lnTo>
                  <a:lnTo>
                    <a:pt x="41759" y="66583"/>
                  </a:lnTo>
                  <a:lnTo>
                    <a:pt x="35789" y="69642"/>
                  </a:lnTo>
                  <a:lnTo>
                    <a:pt x="33766" y="66583"/>
                  </a:lnTo>
                  <a:lnTo>
                    <a:pt x="33766" y="42455"/>
                  </a:lnTo>
                  <a:lnTo>
                    <a:pt x="31792" y="39445"/>
                  </a:lnTo>
                  <a:lnTo>
                    <a:pt x="33766" y="30367"/>
                  </a:lnTo>
                  <a:lnTo>
                    <a:pt x="41759" y="30367"/>
                  </a:lnTo>
                  <a:lnTo>
                    <a:pt x="45756" y="36436"/>
                  </a:lnTo>
                  <a:lnTo>
                    <a:pt x="49752" y="36436"/>
                  </a:lnTo>
                  <a:lnTo>
                    <a:pt x="53749" y="31847"/>
                  </a:lnTo>
                  <a:lnTo>
                    <a:pt x="53749" y="28886"/>
                  </a:lnTo>
                  <a:lnTo>
                    <a:pt x="53749" y="28886"/>
                  </a:lnTo>
                  <a:lnTo>
                    <a:pt x="51775" y="25827"/>
                  </a:lnTo>
                  <a:lnTo>
                    <a:pt x="51775" y="21288"/>
                  </a:lnTo>
                  <a:lnTo>
                    <a:pt x="53749" y="12259"/>
                  </a:lnTo>
                  <a:lnTo>
                    <a:pt x="53749" y="2983"/>
                  </a:lnTo>
                  <a:lnTo>
                    <a:pt x="55772" y="-27"/>
                  </a:lnTo>
                  <a:lnTo>
                    <a:pt x="53749" y="-27"/>
                  </a:lnTo>
                  <a:lnTo>
                    <a:pt x="49752" y="6042"/>
                  </a:lnTo>
                  <a:lnTo>
                    <a:pt x="31792" y="6042"/>
                  </a:lnTo>
                  <a:lnTo>
                    <a:pt x="23799" y="13542"/>
                  </a:lnTo>
                  <a:lnTo>
                    <a:pt x="21776" y="36238"/>
                  </a:lnTo>
                  <a:lnTo>
                    <a:pt x="11908" y="52816"/>
                  </a:lnTo>
                  <a:lnTo>
                    <a:pt x="-82" y="66385"/>
                  </a:lnTo>
                  <a:lnTo>
                    <a:pt x="3915" y="67915"/>
                  </a:lnTo>
                  <a:lnTo>
                    <a:pt x="11908" y="76944"/>
                  </a:lnTo>
                  <a:lnTo>
                    <a:pt x="15954" y="89082"/>
                  </a:lnTo>
                  <a:lnTo>
                    <a:pt x="25822" y="101121"/>
                  </a:lnTo>
                  <a:lnTo>
                    <a:pt x="33815" y="117699"/>
                  </a:lnTo>
                  <a:lnTo>
                    <a:pt x="29868" y="12524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Graphic 2">
              <a:extLst>
                <a:ext uri="{FF2B5EF4-FFF2-40B4-BE49-F238E27FC236}">
                  <a16:creationId xmlns:a16="http://schemas.microsoft.com/office/drawing/2014/main" id="{FF235D83-C0BA-41AE-8C83-020A1AB9ABC2}"/>
                </a:ext>
              </a:extLst>
            </p:cNvPr>
            <p:cNvSpPr/>
            <p:nvPr/>
          </p:nvSpPr>
          <p:spPr>
            <a:xfrm>
              <a:off x="6543575" y="3661478"/>
              <a:ext cx="10176" cy="27522"/>
            </a:xfrm>
            <a:custGeom>
              <a:avLst/>
              <a:gdLst>
                <a:gd name="connsiteX0" fmla="*/ 1793 w 11200"/>
                <a:gd name="connsiteY0" fmla="*/ 30021 h 30295"/>
                <a:gd name="connsiteX1" fmla="*/ -82 w 11200"/>
                <a:gd name="connsiteY1" fmla="*/ 26913 h 30295"/>
                <a:gd name="connsiteX2" fmla="*/ -82 w 11200"/>
                <a:gd name="connsiteY2" fmla="*/ 21979 h 30295"/>
                <a:gd name="connsiteX3" fmla="*/ 1793 w 11200"/>
                <a:gd name="connsiteY3" fmla="*/ 12555 h 30295"/>
                <a:gd name="connsiteX4" fmla="*/ 1793 w 11200"/>
                <a:gd name="connsiteY4" fmla="*/ 3131 h 30295"/>
                <a:gd name="connsiteX5" fmla="*/ 3668 w 11200"/>
                <a:gd name="connsiteY5" fmla="*/ -27 h 30295"/>
                <a:gd name="connsiteX6" fmla="*/ 3668 w 11200"/>
                <a:gd name="connsiteY6" fmla="*/ -27 h 30295"/>
                <a:gd name="connsiteX7" fmla="*/ 5543 w 11200"/>
                <a:gd name="connsiteY7" fmla="*/ 1552 h 30295"/>
                <a:gd name="connsiteX8" fmla="*/ 11119 w 11200"/>
                <a:gd name="connsiteY8" fmla="*/ 6486 h 30295"/>
                <a:gd name="connsiteX9" fmla="*/ 11119 w 11200"/>
                <a:gd name="connsiteY9" fmla="*/ 19068 h 30295"/>
                <a:gd name="connsiteX10" fmla="*/ 9244 w 11200"/>
                <a:gd name="connsiteY10" fmla="*/ 24002 h 30295"/>
                <a:gd name="connsiteX11" fmla="*/ 9244 w 11200"/>
                <a:gd name="connsiteY11" fmla="*/ 24002 h 30295"/>
                <a:gd name="connsiteX12" fmla="*/ 5543 w 11200"/>
                <a:gd name="connsiteY12" fmla="*/ 27160 h 30295"/>
                <a:gd name="connsiteX13" fmla="*/ 3668 w 11200"/>
                <a:gd name="connsiteY13" fmla="*/ 30268 h 3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00" h="30295">
                  <a:moveTo>
                    <a:pt x="1793" y="30021"/>
                  </a:moveTo>
                  <a:lnTo>
                    <a:pt x="-82" y="26913"/>
                  </a:lnTo>
                  <a:lnTo>
                    <a:pt x="-82" y="21979"/>
                  </a:lnTo>
                  <a:lnTo>
                    <a:pt x="1793" y="12555"/>
                  </a:lnTo>
                  <a:lnTo>
                    <a:pt x="1793" y="3131"/>
                  </a:lnTo>
                  <a:lnTo>
                    <a:pt x="3668" y="-27"/>
                  </a:lnTo>
                  <a:lnTo>
                    <a:pt x="3668" y="-27"/>
                  </a:lnTo>
                  <a:lnTo>
                    <a:pt x="5543" y="1552"/>
                  </a:lnTo>
                  <a:lnTo>
                    <a:pt x="11119" y="6486"/>
                  </a:lnTo>
                  <a:lnTo>
                    <a:pt x="11119" y="19068"/>
                  </a:lnTo>
                  <a:lnTo>
                    <a:pt x="9244" y="24002"/>
                  </a:lnTo>
                  <a:lnTo>
                    <a:pt x="9244" y="24002"/>
                  </a:lnTo>
                  <a:lnTo>
                    <a:pt x="5543" y="27160"/>
                  </a:lnTo>
                  <a:lnTo>
                    <a:pt x="3668" y="3026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Graphic 2">
              <a:extLst>
                <a:ext uri="{FF2B5EF4-FFF2-40B4-BE49-F238E27FC236}">
                  <a16:creationId xmlns:a16="http://schemas.microsoft.com/office/drawing/2014/main" id="{89A2523B-50AE-44EA-939B-CB90258CE4FE}"/>
                </a:ext>
              </a:extLst>
            </p:cNvPr>
            <p:cNvSpPr/>
            <p:nvPr/>
          </p:nvSpPr>
          <p:spPr>
            <a:xfrm>
              <a:off x="6526630" y="3688598"/>
              <a:ext cx="20350" cy="37473"/>
            </a:xfrm>
            <a:custGeom>
              <a:avLst/>
              <a:gdLst>
                <a:gd name="connsiteX0" fmla="*/ 16201 w 22400"/>
                <a:gd name="connsiteY0" fmla="*/ 38064 h 41248"/>
                <a:gd name="connsiteX1" fmla="*/ 10132 w 22400"/>
                <a:gd name="connsiteY1" fmla="*/ 38064 h 41248"/>
                <a:gd name="connsiteX2" fmla="*/ 4014 w 22400"/>
                <a:gd name="connsiteY2" fmla="*/ 41222 h 41248"/>
                <a:gd name="connsiteX3" fmla="*/ 1991 w 22400"/>
                <a:gd name="connsiteY3" fmla="*/ 38064 h 41248"/>
                <a:gd name="connsiteX4" fmla="*/ 1991 w 22400"/>
                <a:gd name="connsiteY4" fmla="*/ 12604 h 41248"/>
                <a:gd name="connsiteX5" fmla="*/ -82 w 22400"/>
                <a:gd name="connsiteY5" fmla="*/ 9446 h 41248"/>
                <a:gd name="connsiteX6" fmla="*/ 1991 w 22400"/>
                <a:gd name="connsiteY6" fmla="*/ -27 h 41248"/>
                <a:gd name="connsiteX7" fmla="*/ 10132 w 22400"/>
                <a:gd name="connsiteY7" fmla="*/ -27 h 41248"/>
                <a:gd name="connsiteX8" fmla="*/ 14178 w 22400"/>
                <a:gd name="connsiteY8" fmla="*/ 6289 h 41248"/>
                <a:gd name="connsiteX9" fmla="*/ 18223 w 22400"/>
                <a:gd name="connsiteY9" fmla="*/ 6289 h 41248"/>
                <a:gd name="connsiteX10" fmla="*/ 22319 w 22400"/>
                <a:gd name="connsiteY10" fmla="*/ 1354 h 41248"/>
                <a:gd name="connsiteX11" fmla="*/ 22319 w 22400"/>
                <a:gd name="connsiteY11" fmla="*/ 9249 h 41248"/>
                <a:gd name="connsiteX12" fmla="*/ 20246 w 22400"/>
                <a:gd name="connsiteY12" fmla="*/ 10828 h 41248"/>
                <a:gd name="connsiteX13" fmla="*/ 20246 w 22400"/>
                <a:gd name="connsiteY13" fmla="*/ 36090 h 4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00" h="41248">
                  <a:moveTo>
                    <a:pt x="16201" y="38064"/>
                  </a:moveTo>
                  <a:lnTo>
                    <a:pt x="10132" y="38064"/>
                  </a:lnTo>
                  <a:lnTo>
                    <a:pt x="4014" y="41222"/>
                  </a:lnTo>
                  <a:lnTo>
                    <a:pt x="1991" y="38064"/>
                  </a:lnTo>
                  <a:lnTo>
                    <a:pt x="1991" y="12604"/>
                  </a:lnTo>
                  <a:lnTo>
                    <a:pt x="-82" y="9446"/>
                  </a:lnTo>
                  <a:lnTo>
                    <a:pt x="1991" y="-27"/>
                  </a:lnTo>
                  <a:lnTo>
                    <a:pt x="10132" y="-27"/>
                  </a:lnTo>
                  <a:lnTo>
                    <a:pt x="14178" y="6289"/>
                  </a:lnTo>
                  <a:lnTo>
                    <a:pt x="18223" y="6289"/>
                  </a:lnTo>
                  <a:lnTo>
                    <a:pt x="22319" y="1354"/>
                  </a:lnTo>
                  <a:lnTo>
                    <a:pt x="22319" y="9249"/>
                  </a:lnTo>
                  <a:lnTo>
                    <a:pt x="20246" y="10828"/>
                  </a:lnTo>
                  <a:lnTo>
                    <a:pt x="20246" y="3609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Graphic 2">
              <a:extLst>
                <a:ext uri="{FF2B5EF4-FFF2-40B4-BE49-F238E27FC236}">
                  <a16:creationId xmlns:a16="http://schemas.microsoft.com/office/drawing/2014/main" id="{6D2BD7AE-4921-469A-99A1-4D4910AD450A}"/>
                </a:ext>
              </a:extLst>
            </p:cNvPr>
            <p:cNvSpPr/>
            <p:nvPr/>
          </p:nvSpPr>
          <p:spPr>
            <a:xfrm>
              <a:off x="6526722" y="3624546"/>
              <a:ext cx="44063" cy="43884"/>
            </a:xfrm>
            <a:custGeom>
              <a:avLst/>
              <a:gdLst>
                <a:gd name="connsiteX0" fmla="*/ -82 w 48501"/>
                <a:gd name="connsiteY0" fmla="*/ 48277 h 48304"/>
                <a:gd name="connsiteX1" fmla="*/ 17385 w 48501"/>
                <a:gd name="connsiteY1" fmla="*/ 48277 h 48304"/>
                <a:gd name="connsiteX2" fmla="*/ 21282 w 48501"/>
                <a:gd name="connsiteY2" fmla="*/ 42258 h 48304"/>
                <a:gd name="connsiteX3" fmla="*/ 25131 w 48501"/>
                <a:gd name="connsiteY3" fmla="*/ 42258 h 48304"/>
                <a:gd name="connsiteX4" fmla="*/ 29029 w 48501"/>
                <a:gd name="connsiteY4" fmla="*/ 34659 h 48304"/>
                <a:gd name="connsiteX5" fmla="*/ 32927 w 48501"/>
                <a:gd name="connsiteY5" fmla="*/ 27061 h 48304"/>
                <a:gd name="connsiteX6" fmla="*/ 38749 w 48501"/>
                <a:gd name="connsiteY6" fmla="*/ 22521 h 48304"/>
                <a:gd name="connsiteX7" fmla="*/ 42598 w 48501"/>
                <a:gd name="connsiteY7" fmla="*/ 22521 h 48304"/>
                <a:gd name="connsiteX8" fmla="*/ 48419 w 48501"/>
                <a:gd name="connsiteY8" fmla="*/ 20992 h 48304"/>
                <a:gd name="connsiteX9" fmla="*/ 44571 w 48501"/>
                <a:gd name="connsiteY9" fmla="*/ 16453 h 48304"/>
                <a:gd name="connsiteX10" fmla="*/ 44571 w 48501"/>
                <a:gd name="connsiteY10" fmla="*/ 9101 h 48304"/>
                <a:gd name="connsiteX11" fmla="*/ 38749 w 48501"/>
                <a:gd name="connsiteY11" fmla="*/ 6042 h 48304"/>
                <a:gd name="connsiteX12" fmla="*/ 34851 w 48501"/>
                <a:gd name="connsiteY12" fmla="*/ -27 h 48304"/>
                <a:gd name="connsiteX13" fmla="*/ 21282 w 48501"/>
                <a:gd name="connsiteY13" fmla="*/ -27 h 48304"/>
                <a:gd name="connsiteX14" fmla="*/ 21282 w 48501"/>
                <a:gd name="connsiteY14" fmla="*/ 1503 h 48304"/>
                <a:gd name="connsiteX15" fmla="*/ 15460 w 48501"/>
                <a:gd name="connsiteY15" fmla="*/ 1503 h 48304"/>
                <a:gd name="connsiteX16" fmla="*/ 15460 w 48501"/>
                <a:gd name="connsiteY16" fmla="*/ 22719 h 48304"/>
                <a:gd name="connsiteX17" fmla="*/ 7664 w 48501"/>
                <a:gd name="connsiteY17" fmla="*/ 31797 h 48304"/>
                <a:gd name="connsiteX18" fmla="*/ 1842 w 48501"/>
                <a:gd name="connsiteY18" fmla="*/ 39396 h 48304"/>
                <a:gd name="connsiteX19" fmla="*/ 1842 w 48501"/>
                <a:gd name="connsiteY19" fmla="*/ 46945 h 48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501" h="48304">
                  <a:moveTo>
                    <a:pt x="-82" y="48277"/>
                  </a:moveTo>
                  <a:lnTo>
                    <a:pt x="17385" y="48277"/>
                  </a:lnTo>
                  <a:lnTo>
                    <a:pt x="21282" y="42258"/>
                  </a:lnTo>
                  <a:lnTo>
                    <a:pt x="25131" y="42258"/>
                  </a:lnTo>
                  <a:lnTo>
                    <a:pt x="29029" y="34659"/>
                  </a:lnTo>
                  <a:lnTo>
                    <a:pt x="32927" y="27061"/>
                  </a:lnTo>
                  <a:lnTo>
                    <a:pt x="38749" y="22521"/>
                  </a:lnTo>
                  <a:lnTo>
                    <a:pt x="42598" y="22521"/>
                  </a:lnTo>
                  <a:lnTo>
                    <a:pt x="48419" y="20992"/>
                  </a:lnTo>
                  <a:lnTo>
                    <a:pt x="44571" y="16453"/>
                  </a:lnTo>
                  <a:lnTo>
                    <a:pt x="44571" y="9101"/>
                  </a:lnTo>
                  <a:lnTo>
                    <a:pt x="38749" y="6042"/>
                  </a:lnTo>
                  <a:lnTo>
                    <a:pt x="34851" y="-27"/>
                  </a:lnTo>
                  <a:lnTo>
                    <a:pt x="21282" y="-27"/>
                  </a:lnTo>
                  <a:lnTo>
                    <a:pt x="21282" y="1503"/>
                  </a:lnTo>
                  <a:lnTo>
                    <a:pt x="15460" y="1503"/>
                  </a:lnTo>
                  <a:lnTo>
                    <a:pt x="15460" y="22719"/>
                  </a:lnTo>
                  <a:lnTo>
                    <a:pt x="7664" y="31797"/>
                  </a:lnTo>
                  <a:lnTo>
                    <a:pt x="1842" y="39396"/>
                  </a:lnTo>
                  <a:lnTo>
                    <a:pt x="1842" y="4694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Graphic 2">
              <a:extLst>
                <a:ext uri="{FF2B5EF4-FFF2-40B4-BE49-F238E27FC236}">
                  <a16:creationId xmlns:a16="http://schemas.microsoft.com/office/drawing/2014/main" id="{E6E6CD4D-DD5C-4AD7-945C-2983FD443CB1}"/>
                </a:ext>
              </a:extLst>
            </p:cNvPr>
            <p:cNvSpPr/>
            <p:nvPr/>
          </p:nvSpPr>
          <p:spPr>
            <a:xfrm>
              <a:off x="6530038" y="3658475"/>
              <a:ext cx="132236" cy="142407"/>
            </a:xfrm>
            <a:custGeom>
              <a:avLst/>
              <a:gdLst>
                <a:gd name="connsiteX0" fmla="*/ 1842 w 145554"/>
                <a:gd name="connsiteY0" fmla="*/ 136301 h 156754"/>
                <a:gd name="connsiteX1" fmla="*/ 1842 w 145554"/>
                <a:gd name="connsiteY1" fmla="*/ 131663 h 156754"/>
                <a:gd name="connsiteX2" fmla="*/ 5741 w 145554"/>
                <a:gd name="connsiteY2" fmla="*/ 128554 h 156754"/>
                <a:gd name="connsiteX3" fmla="*/ 5741 w 145554"/>
                <a:gd name="connsiteY3" fmla="*/ 120808 h 156754"/>
                <a:gd name="connsiteX4" fmla="*/ 9589 w 145554"/>
                <a:gd name="connsiteY4" fmla="*/ 113061 h 156754"/>
                <a:gd name="connsiteX5" fmla="*/ 9589 w 145554"/>
                <a:gd name="connsiteY5" fmla="*/ 103736 h 156754"/>
                <a:gd name="connsiteX6" fmla="*/ 11562 w 145554"/>
                <a:gd name="connsiteY6" fmla="*/ 102206 h 156754"/>
                <a:gd name="connsiteX7" fmla="*/ 11562 w 145554"/>
                <a:gd name="connsiteY7" fmla="*/ 95940 h 156754"/>
                <a:gd name="connsiteX8" fmla="*/ 13487 w 145554"/>
                <a:gd name="connsiteY8" fmla="*/ 88194 h 156754"/>
                <a:gd name="connsiteX9" fmla="*/ 13487 w 145554"/>
                <a:gd name="connsiteY9" fmla="*/ 83556 h 156754"/>
                <a:gd name="connsiteX10" fmla="*/ 15411 w 145554"/>
                <a:gd name="connsiteY10" fmla="*/ 57159 h 156754"/>
                <a:gd name="connsiteX11" fmla="*/ 15411 w 145554"/>
                <a:gd name="connsiteY11" fmla="*/ 44774 h 156754"/>
                <a:gd name="connsiteX12" fmla="*/ 17385 w 145554"/>
                <a:gd name="connsiteY12" fmla="*/ 43195 h 156754"/>
                <a:gd name="connsiteX13" fmla="*/ 17385 w 145554"/>
                <a:gd name="connsiteY13" fmla="*/ 32341 h 156754"/>
                <a:gd name="connsiteX14" fmla="*/ 19309 w 145554"/>
                <a:gd name="connsiteY14" fmla="*/ 32341 h 156754"/>
                <a:gd name="connsiteX15" fmla="*/ 21234 w 145554"/>
                <a:gd name="connsiteY15" fmla="*/ 29232 h 156754"/>
                <a:gd name="connsiteX16" fmla="*/ 25131 w 145554"/>
                <a:gd name="connsiteY16" fmla="*/ 26124 h 156754"/>
                <a:gd name="connsiteX17" fmla="*/ 29029 w 145554"/>
                <a:gd name="connsiteY17" fmla="*/ 26124 h 156754"/>
                <a:gd name="connsiteX18" fmla="*/ 40673 w 145554"/>
                <a:gd name="connsiteY18" fmla="*/ 31058 h 156754"/>
                <a:gd name="connsiteX19" fmla="*/ 48419 w 145554"/>
                <a:gd name="connsiteY19" fmla="*/ 35696 h 156754"/>
                <a:gd name="connsiteX20" fmla="*/ 50344 w 145554"/>
                <a:gd name="connsiteY20" fmla="*/ 35696 h 156754"/>
                <a:gd name="connsiteX21" fmla="*/ 56166 w 145554"/>
                <a:gd name="connsiteY21" fmla="*/ 37225 h 156754"/>
                <a:gd name="connsiteX22" fmla="*/ 126032 w 145554"/>
                <a:gd name="connsiteY22" fmla="*/ -27 h 156754"/>
                <a:gd name="connsiteX23" fmla="*/ 145472 w 145554"/>
                <a:gd name="connsiteY23" fmla="*/ 41912 h 156754"/>
                <a:gd name="connsiteX24" fmla="*/ 141574 w 145554"/>
                <a:gd name="connsiteY24" fmla="*/ 41912 h 156754"/>
                <a:gd name="connsiteX25" fmla="*/ 129930 w 145554"/>
                <a:gd name="connsiteY25" fmla="*/ 52767 h 156754"/>
                <a:gd name="connsiteX26" fmla="*/ 77530 w 145554"/>
                <a:gd name="connsiteY26" fmla="*/ 68310 h 156754"/>
                <a:gd name="connsiteX27" fmla="*/ 116361 w 145554"/>
                <a:gd name="connsiteY27" fmla="*/ 105512 h 156754"/>
                <a:gd name="connsiteX28" fmla="*/ 100819 w 145554"/>
                <a:gd name="connsiteY28" fmla="*/ 122584 h 156754"/>
                <a:gd name="connsiteX29" fmla="*/ 100819 w 145554"/>
                <a:gd name="connsiteY29" fmla="*/ 130331 h 156754"/>
                <a:gd name="connsiteX30" fmla="*/ 71709 w 145554"/>
                <a:gd name="connsiteY30" fmla="*/ 135018 h 156754"/>
                <a:gd name="connsiteX31" fmla="*/ 48419 w 145554"/>
                <a:gd name="connsiteY31" fmla="*/ 156727 h 156754"/>
                <a:gd name="connsiteX32" fmla="*/ 11562 w 145554"/>
                <a:gd name="connsiteY32" fmla="*/ 148981 h 156754"/>
                <a:gd name="connsiteX33" fmla="*/ -82 w 145554"/>
                <a:gd name="connsiteY33" fmla="*/ 148981 h 156754"/>
                <a:gd name="connsiteX34" fmla="*/ -82 w 145554"/>
                <a:gd name="connsiteY34" fmla="*/ 147451 h 156754"/>
                <a:gd name="connsiteX35" fmla="*/ 3767 w 145554"/>
                <a:gd name="connsiteY35" fmla="*/ 138126 h 156754"/>
                <a:gd name="connsiteX36" fmla="*/ 1842 w 145554"/>
                <a:gd name="connsiteY36" fmla="*/ 135018 h 15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5554" h="156754">
                  <a:moveTo>
                    <a:pt x="1842" y="136301"/>
                  </a:moveTo>
                  <a:lnTo>
                    <a:pt x="1842" y="131663"/>
                  </a:lnTo>
                  <a:lnTo>
                    <a:pt x="5741" y="128554"/>
                  </a:lnTo>
                  <a:lnTo>
                    <a:pt x="5741" y="120808"/>
                  </a:lnTo>
                  <a:lnTo>
                    <a:pt x="9589" y="113061"/>
                  </a:lnTo>
                  <a:lnTo>
                    <a:pt x="9589" y="103736"/>
                  </a:lnTo>
                  <a:lnTo>
                    <a:pt x="11562" y="102206"/>
                  </a:lnTo>
                  <a:lnTo>
                    <a:pt x="11562" y="95940"/>
                  </a:lnTo>
                  <a:lnTo>
                    <a:pt x="13487" y="88194"/>
                  </a:lnTo>
                  <a:lnTo>
                    <a:pt x="13487" y="83556"/>
                  </a:lnTo>
                  <a:lnTo>
                    <a:pt x="15411" y="57159"/>
                  </a:lnTo>
                  <a:lnTo>
                    <a:pt x="15411" y="44774"/>
                  </a:lnTo>
                  <a:lnTo>
                    <a:pt x="17385" y="43195"/>
                  </a:lnTo>
                  <a:lnTo>
                    <a:pt x="17385" y="32341"/>
                  </a:lnTo>
                  <a:lnTo>
                    <a:pt x="19309" y="32341"/>
                  </a:lnTo>
                  <a:lnTo>
                    <a:pt x="21234" y="29232"/>
                  </a:lnTo>
                  <a:lnTo>
                    <a:pt x="25131" y="26124"/>
                  </a:lnTo>
                  <a:lnTo>
                    <a:pt x="29029" y="26124"/>
                  </a:lnTo>
                  <a:lnTo>
                    <a:pt x="40673" y="31058"/>
                  </a:lnTo>
                  <a:lnTo>
                    <a:pt x="48419" y="35696"/>
                  </a:lnTo>
                  <a:lnTo>
                    <a:pt x="50344" y="35696"/>
                  </a:lnTo>
                  <a:lnTo>
                    <a:pt x="56166" y="37225"/>
                  </a:lnTo>
                  <a:lnTo>
                    <a:pt x="126032" y="-27"/>
                  </a:lnTo>
                  <a:lnTo>
                    <a:pt x="145472" y="41912"/>
                  </a:lnTo>
                  <a:lnTo>
                    <a:pt x="141574" y="41912"/>
                  </a:lnTo>
                  <a:lnTo>
                    <a:pt x="129930" y="52767"/>
                  </a:lnTo>
                  <a:lnTo>
                    <a:pt x="77530" y="68310"/>
                  </a:lnTo>
                  <a:lnTo>
                    <a:pt x="116361" y="105512"/>
                  </a:lnTo>
                  <a:lnTo>
                    <a:pt x="100819" y="122584"/>
                  </a:lnTo>
                  <a:lnTo>
                    <a:pt x="100819" y="130331"/>
                  </a:lnTo>
                  <a:lnTo>
                    <a:pt x="71709" y="135018"/>
                  </a:lnTo>
                  <a:lnTo>
                    <a:pt x="48419" y="156727"/>
                  </a:lnTo>
                  <a:lnTo>
                    <a:pt x="11562" y="148981"/>
                  </a:lnTo>
                  <a:lnTo>
                    <a:pt x="-82" y="148981"/>
                  </a:lnTo>
                  <a:lnTo>
                    <a:pt x="-82" y="147451"/>
                  </a:lnTo>
                  <a:lnTo>
                    <a:pt x="3767" y="138126"/>
                  </a:lnTo>
                  <a:lnTo>
                    <a:pt x="1842" y="13501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Graphic 2">
              <a:extLst>
                <a:ext uri="{FF2B5EF4-FFF2-40B4-BE49-F238E27FC236}">
                  <a16:creationId xmlns:a16="http://schemas.microsoft.com/office/drawing/2014/main" id="{D71DBE96-766A-4042-BDEF-8AB9A0B02F57}"/>
                </a:ext>
              </a:extLst>
            </p:cNvPr>
            <p:cNvSpPr/>
            <p:nvPr/>
          </p:nvSpPr>
          <p:spPr>
            <a:xfrm>
              <a:off x="6526722" y="3695547"/>
              <a:ext cx="682210" cy="491501"/>
            </a:xfrm>
            <a:custGeom>
              <a:avLst/>
              <a:gdLst>
                <a:gd name="connsiteX0" fmla="*/ 480888 w 750910"/>
                <a:gd name="connsiteY0" fmla="*/ 115528 h 541017"/>
                <a:gd name="connsiteX1" fmla="*/ 459326 w 750910"/>
                <a:gd name="connsiteY1" fmla="*/ 123127 h 541017"/>
                <a:gd name="connsiteX2" fmla="*/ 455379 w 750910"/>
                <a:gd name="connsiteY2" fmla="*/ 112469 h 541017"/>
                <a:gd name="connsiteX3" fmla="*/ 422025 w 750910"/>
                <a:gd name="connsiteY3" fmla="*/ 104871 h 541017"/>
                <a:gd name="connsiteX4" fmla="*/ 349346 w 750910"/>
                <a:gd name="connsiteY4" fmla="*/ 103391 h 541017"/>
                <a:gd name="connsiteX5" fmla="*/ 180504 w 750910"/>
                <a:gd name="connsiteY5" fmla="*/ 3032 h 541017"/>
                <a:gd name="connsiteX6" fmla="*/ 147100 w 750910"/>
                <a:gd name="connsiteY6" fmla="*/ -27 h 541017"/>
                <a:gd name="connsiteX7" fmla="*/ 135308 w 750910"/>
                <a:gd name="connsiteY7" fmla="*/ 10631 h 541017"/>
                <a:gd name="connsiteX8" fmla="*/ 82316 w 750910"/>
                <a:gd name="connsiteY8" fmla="*/ 25827 h 541017"/>
                <a:gd name="connsiteX9" fmla="*/ 121789 w 750910"/>
                <a:gd name="connsiteY9" fmla="*/ 62339 h 541017"/>
                <a:gd name="connsiteX10" fmla="*/ 106099 w 750910"/>
                <a:gd name="connsiteY10" fmla="*/ 79016 h 541017"/>
                <a:gd name="connsiteX11" fmla="*/ 106099 w 750910"/>
                <a:gd name="connsiteY11" fmla="*/ 86664 h 541017"/>
                <a:gd name="connsiteX12" fmla="*/ 76494 w 750910"/>
                <a:gd name="connsiteY12" fmla="*/ 91203 h 541017"/>
                <a:gd name="connsiteX13" fmla="*/ 52959 w 750910"/>
                <a:gd name="connsiteY13" fmla="*/ 112469 h 541017"/>
                <a:gd name="connsiteX14" fmla="*/ 15657 w 750910"/>
                <a:gd name="connsiteY14" fmla="*/ 104871 h 541017"/>
                <a:gd name="connsiteX15" fmla="*/ 3866 w 750910"/>
                <a:gd name="connsiteY15" fmla="*/ 104871 h 541017"/>
                <a:gd name="connsiteX16" fmla="*/ 3866 w 750910"/>
                <a:gd name="connsiteY16" fmla="*/ 127666 h 541017"/>
                <a:gd name="connsiteX17" fmla="*/ -82 w 750910"/>
                <a:gd name="connsiteY17" fmla="*/ 138175 h 541017"/>
                <a:gd name="connsiteX18" fmla="*/ -82 w 750910"/>
                <a:gd name="connsiteY18" fmla="*/ 141235 h 541017"/>
                <a:gd name="connsiteX19" fmla="*/ 5839 w 750910"/>
                <a:gd name="connsiteY19" fmla="*/ 139705 h 541017"/>
                <a:gd name="connsiteX20" fmla="*/ 7763 w 750910"/>
                <a:gd name="connsiteY20" fmla="*/ 141235 h 541017"/>
                <a:gd name="connsiteX21" fmla="*/ 13635 w 750910"/>
                <a:gd name="connsiteY21" fmla="*/ 138175 h 541017"/>
                <a:gd name="connsiteX22" fmla="*/ 21529 w 750910"/>
                <a:gd name="connsiteY22" fmla="*/ 142764 h 541017"/>
                <a:gd name="connsiteX23" fmla="*/ 19556 w 750910"/>
                <a:gd name="connsiteY23" fmla="*/ 144244 h 541017"/>
                <a:gd name="connsiteX24" fmla="*/ 33322 w 750910"/>
                <a:gd name="connsiteY24" fmla="*/ 159441 h 541017"/>
                <a:gd name="connsiteX25" fmla="*/ 35246 w 750910"/>
                <a:gd name="connsiteY25" fmla="*/ 165559 h 541017"/>
                <a:gd name="connsiteX26" fmla="*/ 39193 w 750910"/>
                <a:gd name="connsiteY26" fmla="*/ 167039 h 541017"/>
                <a:gd name="connsiteX27" fmla="*/ 41167 w 750910"/>
                <a:gd name="connsiteY27" fmla="*/ 173109 h 541017"/>
                <a:gd name="connsiteX28" fmla="*/ 49012 w 750910"/>
                <a:gd name="connsiteY28" fmla="*/ 179227 h 541017"/>
                <a:gd name="connsiteX29" fmla="*/ 52959 w 750910"/>
                <a:gd name="connsiteY29" fmla="*/ 179227 h 541017"/>
                <a:gd name="connsiteX30" fmla="*/ 62827 w 750910"/>
                <a:gd name="connsiteY30" fmla="*/ 194424 h 541017"/>
                <a:gd name="connsiteX31" fmla="*/ 62827 w 750910"/>
                <a:gd name="connsiteY31" fmla="*/ 198963 h 541017"/>
                <a:gd name="connsiteX32" fmla="*/ 66725 w 750910"/>
                <a:gd name="connsiteY32" fmla="*/ 203551 h 541017"/>
                <a:gd name="connsiteX33" fmla="*/ 70672 w 750910"/>
                <a:gd name="connsiteY33" fmla="*/ 205081 h 541017"/>
                <a:gd name="connsiteX34" fmla="*/ 72646 w 750910"/>
                <a:gd name="connsiteY34" fmla="*/ 214160 h 541017"/>
                <a:gd name="connsiteX35" fmla="*/ 76544 w 750910"/>
                <a:gd name="connsiteY35" fmla="*/ 217219 h 541017"/>
                <a:gd name="connsiteX36" fmla="*/ 86412 w 750910"/>
                <a:gd name="connsiteY36" fmla="*/ 220278 h 541017"/>
                <a:gd name="connsiteX37" fmla="*/ 92333 w 750910"/>
                <a:gd name="connsiteY37" fmla="*/ 235425 h 541017"/>
                <a:gd name="connsiteX38" fmla="*/ 96231 w 750910"/>
                <a:gd name="connsiteY38" fmla="*/ 238484 h 541017"/>
                <a:gd name="connsiteX39" fmla="*/ 98204 w 750910"/>
                <a:gd name="connsiteY39" fmla="*/ 247612 h 541017"/>
                <a:gd name="connsiteX40" fmla="*/ 96231 w 750910"/>
                <a:gd name="connsiteY40" fmla="*/ 252152 h 541017"/>
                <a:gd name="connsiteX41" fmla="*/ 96231 w 750910"/>
                <a:gd name="connsiteY41" fmla="*/ 255211 h 541017"/>
                <a:gd name="connsiteX42" fmla="*/ 104125 w 750910"/>
                <a:gd name="connsiteY42" fmla="*/ 259800 h 541017"/>
                <a:gd name="connsiteX43" fmla="*/ 104125 w 750910"/>
                <a:gd name="connsiteY43" fmla="*/ 265868 h 541017"/>
                <a:gd name="connsiteX44" fmla="*/ 109997 w 750910"/>
                <a:gd name="connsiteY44" fmla="*/ 268878 h 541017"/>
                <a:gd name="connsiteX45" fmla="*/ 113944 w 750910"/>
                <a:gd name="connsiteY45" fmla="*/ 264339 h 541017"/>
                <a:gd name="connsiteX46" fmla="*/ 123812 w 750910"/>
                <a:gd name="connsiteY46" fmla="*/ 270408 h 541017"/>
                <a:gd name="connsiteX47" fmla="*/ 133680 w 750910"/>
                <a:gd name="connsiteY47" fmla="*/ 273417 h 541017"/>
                <a:gd name="connsiteX48" fmla="*/ 143548 w 750910"/>
                <a:gd name="connsiteY48" fmla="*/ 281065 h 541017"/>
                <a:gd name="connsiteX49" fmla="*/ 145522 w 750910"/>
                <a:gd name="connsiteY49" fmla="*/ 288664 h 541017"/>
                <a:gd name="connsiteX50" fmla="*/ 147495 w 750910"/>
                <a:gd name="connsiteY50" fmla="*/ 290193 h 541017"/>
                <a:gd name="connsiteX51" fmla="*/ 151442 w 750910"/>
                <a:gd name="connsiteY51" fmla="*/ 296262 h 541017"/>
                <a:gd name="connsiteX52" fmla="*/ 153367 w 750910"/>
                <a:gd name="connsiteY52" fmla="*/ 299321 h 541017"/>
                <a:gd name="connsiteX53" fmla="*/ 157314 w 750910"/>
                <a:gd name="connsiteY53" fmla="*/ 309929 h 541017"/>
                <a:gd name="connsiteX54" fmla="*/ 163185 w 750910"/>
                <a:gd name="connsiteY54" fmla="*/ 315998 h 541017"/>
                <a:gd name="connsiteX55" fmla="*/ 165159 w 750910"/>
                <a:gd name="connsiteY55" fmla="*/ 326656 h 541017"/>
                <a:gd name="connsiteX56" fmla="*/ 167133 w 750910"/>
                <a:gd name="connsiteY56" fmla="*/ 329715 h 541017"/>
                <a:gd name="connsiteX57" fmla="*/ 165159 w 750910"/>
                <a:gd name="connsiteY57" fmla="*/ 338843 h 541017"/>
                <a:gd name="connsiteX58" fmla="*/ 163185 w 750910"/>
                <a:gd name="connsiteY58" fmla="*/ 341853 h 541017"/>
                <a:gd name="connsiteX59" fmla="*/ 165159 w 750910"/>
                <a:gd name="connsiteY59" fmla="*/ 346441 h 541017"/>
                <a:gd name="connsiteX60" fmla="*/ 169106 w 750910"/>
                <a:gd name="connsiteY60" fmla="*/ 357049 h 541017"/>
                <a:gd name="connsiteX61" fmla="*/ 171080 w 750910"/>
                <a:gd name="connsiteY61" fmla="*/ 370717 h 541017"/>
                <a:gd name="connsiteX62" fmla="*/ 176951 w 750910"/>
                <a:gd name="connsiteY62" fmla="*/ 375305 h 541017"/>
                <a:gd name="connsiteX63" fmla="*/ 176951 w 750910"/>
                <a:gd name="connsiteY63" fmla="*/ 378364 h 541017"/>
                <a:gd name="connsiteX64" fmla="*/ 196687 w 750910"/>
                <a:gd name="connsiteY64" fmla="*/ 396571 h 541017"/>
                <a:gd name="connsiteX65" fmla="*/ 202608 w 750910"/>
                <a:gd name="connsiteY65" fmla="*/ 398100 h 541017"/>
                <a:gd name="connsiteX66" fmla="*/ 208431 w 750910"/>
                <a:gd name="connsiteY66" fmla="*/ 398100 h 541017"/>
                <a:gd name="connsiteX67" fmla="*/ 214351 w 750910"/>
                <a:gd name="connsiteY67" fmla="*/ 404169 h 541017"/>
                <a:gd name="connsiteX68" fmla="*/ 220223 w 750910"/>
                <a:gd name="connsiteY68" fmla="*/ 404169 h 541017"/>
                <a:gd name="connsiteX69" fmla="*/ 230091 w 750910"/>
                <a:gd name="connsiteY69" fmla="*/ 411768 h 541017"/>
                <a:gd name="connsiteX70" fmla="*/ 230091 w 750910"/>
                <a:gd name="connsiteY70" fmla="*/ 416356 h 541017"/>
                <a:gd name="connsiteX71" fmla="*/ 237985 w 750910"/>
                <a:gd name="connsiteY71" fmla="*/ 417886 h 541017"/>
                <a:gd name="connsiteX72" fmla="*/ 237985 w 750910"/>
                <a:gd name="connsiteY72" fmla="*/ 422425 h 541017"/>
                <a:gd name="connsiteX73" fmla="*/ 241883 w 750910"/>
                <a:gd name="connsiteY73" fmla="*/ 423955 h 541017"/>
                <a:gd name="connsiteX74" fmla="*/ 249728 w 750910"/>
                <a:gd name="connsiteY74" fmla="*/ 451289 h 541017"/>
                <a:gd name="connsiteX75" fmla="*/ 259596 w 750910"/>
                <a:gd name="connsiteY75" fmla="*/ 454299 h 541017"/>
                <a:gd name="connsiteX76" fmla="*/ 259596 w 750910"/>
                <a:gd name="connsiteY76" fmla="*/ 461947 h 541017"/>
                <a:gd name="connsiteX77" fmla="*/ 285106 w 750910"/>
                <a:gd name="connsiteY77" fmla="*/ 486272 h 541017"/>
                <a:gd name="connsiteX78" fmla="*/ 290977 w 750910"/>
                <a:gd name="connsiteY78" fmla="*/ 486272 h 541017"/>
                <a:gd name="connsiteX79" fmla="*/ 292951 w 750910"/>
                <a:gd name="connsiteY79" fmla="*/ 499939 h 541017"/>
                <a:gd name="connsiteX80" fmla="*/ 304743 w 750910"/>
                <a:gd name="connsiteY80" fmla="*/ 502998 h 541017"/>
                <a:gd name="connsiteX81" fmla="*/ 310664 w 750910"/>
                <a:gd name="connsiteY81" fmla="*/ 518195 h 541017"/>
                <a:gd name="connsiteX82" fmla="*/ 316486 w 750910"/>
                <a:gd name="connsiteY82" fmla="*/ 518195 h 541017"/>
                <a:gd name="connsiteX83" fmla="*/ 322407 w 750910"/>
                <a:gd name="connsiteY83" fmla="*/ 519724 h 541017"/>
                <a:gd name="connsiteX84" fmla="*/ 326354 w 750910"/>
                <a:gd name="connsiteY84" fmla="*/ 515136 h 541017"/>
                <a:gd name="connsiteX85" fmla="*/ 336222 w 750910"/>
                <a:gd name="connsiteY85" fmla="*/ 509067 h 541017"/>
                <a:gd name="connsiteX86" fmla="*/ 330301 w 750910"/>
                <a:gd name="connsiteY86" fmla="*/ 499939 h 541017"/>
                <a:gd name="connsiteX87" fmla="*/ 334248 w 750910"/>
                <a:gd name="connsiteY87" fmla="*/ 484742 h 541017"/>
                <a:gd name="connsiteX88" fmla="*/ 344116 w 750910"/>
                <a:gd name="connsiteY88" fmla="*/ 480203 h 541017"/>
                <a:gd name="connsiteX89" fmla="*/ 353985 w 750910"/>
                <a:gd name="connsiteY89" fmla="*/ 487752 h 541017"/>
                <a:gd name="connsiteX90" fmla="*/ 377569 w 750910"/>
                <a:gd name="connsiteY90" fmla="*/ 489281 h 541017"/>
                <a:gd name="connsiteX91" fmla="*/ 407174 w 750910"/>
                <a:gd name="connsiteY91" fmla="*/ 499939 h 541017"/>
                <a:gd name="connsiteX92" fmla="*/ 440577 w 750910"/>
                <a:gd name="connsiteY92" fmla="*/ 512077 h 541017"/>
                <a:gd name="connsiteX93" fmla="*/ 442550 w 750910"/>
                <a:gd name="connsiteY93" fmla="*/ 540990 h 541017"/>
                <a:gd name="connsiteX94" fmla="*/ 507334 w 750910"/>
                <a:gd name="connsiteY94" fmla="*/ 465006 h 541017"/>
                <a:gd name="connsiteX95" fmla="*/ 746931 w 750910"/>
                <a:gd name="connsiteY95" fmla="*/ 404169 h 541017"/>
                <a:gd name="connsiteX96" fmla="*/ 750829 w 750910"/>
                <a:gd name="connsiteY96" fmla="*/ 335784 h 541017"/>
                <a:gd name="connsiteX97" fmla="*/ 742984 w 750910"/>
                <a:gd name="connsiteY97" fmla="*/ 311459 h 541017"/>
                <a:gd name="connsiteX98" fmla="*/ 742984 w 750910"/>
                <a:gd name="connsiteY98" fmla="*/ 309929 h 541017"/>
                <a:gd name="connsiteX99" fmla="*/ 730155 w 750910"/>
                <a:gd name="connsiteY99" fmla="*/ 320735 h 541017"/>
                <a:gd name="connsiteX100" fmla="*/ 624123 w 750910"/>
                <a:gd name="connsiteY100" fmla="*/ 307067 h 541017"/>
                <a:gd name="connsiteX101" fmla="*/ 616673 w 750910"/>
                <a:gd name="connsiteY101" fmla="*/ 282743 h 541017"/>
                <a:gd name="connsiteX102" fmla="*/ 608828 w 750910"/>
                <a:gd name="connsiteY102" fmla="*/ 273565 h 541017"/>
                <a:gd name="connsiteX103" fmla="*/ 608828 w 750910"/>
                <a:gd name="connsiteY103" fmla="*/ 264487 h 541017"/>
                <a:gd name="connsiteX104" fmla="*/ 606854 w 750910"/>
                <a:gd name="connsiteY104" fmla="*/ 264487 h 541017"/>
                <a:gd name="connsiteX105" fmla="*/ 604880 w 750910"/>
                <a:gd name="connsiteY105" fmla="*/ 258418 h 541017"/>
                <a:gd name="connsiteX106" fmla="*/ 604880 w 750910"/>
                <a:gd name="connsiteY106" fmla="*/ 255359 h 541017"/>
                <a:gd name="connsiteX107" fmla="*/ 606854 w 750910"/>
                <a:gd name="connsiteY107" fmla="*/ 252300 h 541017"/>
                <a:gd name="connsiteX108" fmla="*/ 600933 w 750910"/>
                <a:gd name="connsiteY108" fmla="*/ 252300 h 541017"/>
                <a:gd name="connsiteX109" fmla="*/ 600933 w 750910"/>
                <a:gd name="connsiteY109" fmla="*/ 250820 h 541017"/>
                <a:gd name="connsiteX110" fmla="*/ 593137 w 750910"/>
                <a:gd name="connsiteY110" fmla="*/ 250820 h 541017"/>
                <a:gd name="connsiteX111" fmla="*/ 581345 w 750910"/>
                <a:gd name="connsiteY111" fmla="*/ 246231 h 541017"/>
                <a:gd name="connsiteX112" fmla="*/ 581345 w 750910"/>
                <a:gd name="connsiteY112" fmla="*/ 243221 h 541017"/>
                <a:gd name="connsiteX113" fmla="*/ 579322 w 750910"/>
                <a:gd name="connsiteY113" fmla="*/ 244750 h 541017"/>
                <a:gd name="connsiteX114" fmla="*/ 573450 w 750910"/>
                <a:gd name="connsiteY114" fmla="*/ 238632 h 541017"/>
                <a:gd name="connsiteX115" fmla="*/ 571526 w 750910"/>
                <a:gd name="connsiteY115" fmla="*/ 229504 h 541017"/>
                <a:gd name="connsiteX116" fmla="*/ 551790 w 750910"/>
                <a:gd name="connsiteY116" fmla="*/ 209768 h 541017"/>
                <a:gd name="connsiteX117" fmla="*/ 547596 w 750910"/>
                <a:gd name="connsiteY117" fmla="*/ 202318 h 541017"/>
                <a:gd name="connsiteX118" fmla="*/ 551544 w 750910"/>
                <a:gd name="connsiteY118" fmla="*/ 202318 h 541017"/>
                <a:gd name="connsiteX119" fmla="*/ 551544 w 750910"/>
                <a:gd name="connsiteY119" fmla="*/ 199259 h 541017"/>
                <a:gd name="connsiteX120" fmla="*/ 545622 w 750910"/>
                <a:gd name="connsiteY120" fmla="*/ 185591 h 541017"/>
                <a:gd name="connsiteX121" fmla="*/ 545622 w 750910"/>
                <a:gd name="connsiteY121" fmla="*/ 181052 h 541017"/>
                <a:gd name="connsiteX122" fmla="*/ 541725 w 750910"/>
                <a:gd name="connsiteY122" fmla="*/ 174934 h 541017"/>
                <a:gd name="connsiteX123" fmla="*/ 537777 w 750910"/>
                <a:gd name="connsiteY123" fmla="*/ 174934 h 541017"/>
                <a:gd name="connsiteX124" fmla="*/ 524011 w 750910"/>
                <a:gd name="connsiteY124" fmla="*/ 161267 h 541017"/>
                <a:gd name="connsiteX125" fmla="*/ 520114 w 750910"/>
                <a:gd name="connsiteY125" fmla="*/ 161267 h 541017"/>
                <a:gd name="connsiteX126" fmla="*/ 516166 w 750910"/>
                <a:gd name="connsiteY126" fmla="*/ 156678 h 541017"/>
                <a:gd name="connsiteX127" fmla="*/ 516166 w 750910"/>
                <a:gd name="connsiteY127" fmla="*/ 152139 h 541017"/>
                <a:gd name="connsiteX128" fmla="*/ 518140 w 750910"/>
                <a:gd name="connsiteY128" fmla="*/ 152139 h 541017"/>
                <a:gd name="connsiteX129" fmla="*/ 522037 w 750910"/>
                <a:gd name="connsiteY129" fmla="*/ 153668 h 541017"/>
                <a:gd name="connsiteX130" fmla="*/ 518140 w 750910"/>
                <a:gd name="connsiteY130" fmla="*/ 150609 h 541017"/>
                <a:gd name="connsiteX131" fmla="*/ 512219 w 750910"/>
                <a:gd name="connsiteY131" fmla="*/ 149129 h 541017"/>
                <a:gd name="connsiteX132" fmla="*/ 500476 w 750910"/>
                <a:gd name="connsiteY132" fmla="*/ 147599 h 541017"/>
                <a:gd name="connsiteX133" fmla="*/ 494605 w 750910"/>
                <a:gd name="connsiteY133" fmla="*/ 132403 h 541017"/>
                <a:gd name="connsiteX134" fmla="*/ 488684 w 750910"/>
                <a:gd name="connsiteY134" fmla="*/ 123275 h 541017"/>
                <a:gd name="connsiteX135" fmla="*/ 484786 w 750910"/>
                <a:gd name="connsiteY135" fmla="*/ 121745 h 541017"/>
                <a:gd name="connsiteX136" fmla="*/ 484786 w 750910"/>
                <a:gd name="connsiteY136" fmla="*/ 117156 h 541017"/>
                <a:gd name="connsiteX137" fmla="*/ 482812 w 750910"/>
                <a:gd name="connsiteY137" fmla="*/ 118686 h 54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750910" h="541017">
                  <a:moveTo>
                    <a:pt x="480888" y="115528"/>
                  </a:moveTo>
                  <a:lnTo>
                    <a:pt x="459326" y="123127"/>
                  </a:lnTo>
                  <a:lnTo>
                    <a:pt x="455379" y="112469"/>
                  </a:lnTo>
                  <a:lnTo>
                    <a:pt x="422025" y="104871"/>
                  </a:lnTo>
                  <a:lnTo>
                    <a:pt x="349346" y="103391"/>
                  </a:lnTo>
                  <a:lnTo>
                    <a:pt x="180504" y="3032"/>
                  </a:lnTo>
                  <a:lnTo>
                    <a:pt x="147100" y="-27"/>
                  </a:lnTo>
                  <a:lnTo>
                    <a:pt x="135308" y="10631"/>
                  </a:lnTo>
                  <a:lnTo>
                    <a:pt x="82316" y="25827"/>
                  </a:lnTo>
                  <a:lnTo>
                    <a:pt x="121789" y="62339"/>
                  </a:lnTo>
                  <a:lnTo>
                    <a:pt x="106099" y="79016"/>
                  </a:lnTo>
                  <a:lnTo>
                    <a:pt x="106099" y="86664"/>
                  </a:lnTo>
                  <a:lnTo>
                    <a:pt x="76494" y="91203"/>
                  </a:lnTo>
                  <a:lnTo>
                    <a:pt x="52959" y="112469"/>
                  </a:lnTo>
                  <a:lnTo>
                    <a:pt x="15657" y="104871"/>
                  </a:lnTo>
                  <a:lnTo>
                    <a:pt x="3866" y="104871"/>
                  </a:lnTo>
                  <a:lnTo>
                    <a:pt x="3866" y="127666"/>
                  </a:lnTo>
                  <a:lnTo>
                    <a:pt x="-82" y="138175"/>
                  </a:lnTo>
                  <a:lnTo>
                    <a:pt x="-82" y="141235"/>
                  </a:lnTo>
                  <a:lnTo>
                    <a:pt x="5839" y="139705"/>
                  </a:lnTo>
                  <a:lnTo>
                    <a:pt x="7763" y="141235"/>
                  </a:lnTo>
                  <a:lnTo>
                    <a:pt x="13635" y="138175"/>
                  </a:lnTo>
                  <a:lnTo>
                    <a:pt x="21529" y="142764"/>
                  </a:lnTo>
                  <a:lnTo>
                    <a:pt x="19556" y="144244"/>
                  </a:lnTo>
                  <a:lnTo>
                    <a:pt x="33322" y="159441"/>
                  </a:lnTo>
                  <a:lnTo>
                    <a:pt x="35246" y="165559"/>
                  </a:lnTo>
                  <a:lnTo>
                    <a:pt x="39193" y="167039"/>
                  </a:lnTo>
                  <a:lnTo>
                    <a:pt x="41167" y="173109"/>
                  </a:lnTo>
                  <a:lnTo>
                    <a:pt x="49012" y="179227"/>
                  </a:lnTo>
                  <a:lnTo>
                    <a:pt x="52959" y="179227"/>
                  </a:lnTo>
                  <a:lnTo>
                    <a:pt x="62827" y="194424"/>
                  </a:lnTo>
                  <a:lnTo>
                    <a:pt x="62827" y="198963"/>
                  </a:lnTo>
                  <a:lnTo>
                    <a:pt x="66725" y="203551"/>
                  </a:lnTo>
                  <a:lnTo>
                    <a:pt x="70672" y="205081"/>
                  </a:lnTo>
                  <a:lnTo>
                    <a:pt x="72646" y="214160"/>
                  </a:lnTo>
                  <a:lnTo>
                    <a:pt x="76544" y="217219"/>
                  </a:lnTo>
                  <a:lnTo>
                    <a:pt x="86412" y="220278"/>
                  </a:lnTo>
                  <a:lnTo>
                    <a:pt x="92333" y="235425"/>
                  </a:lnTo>
                  <a:lnTo>
                    <a:pt x="96231" y="238484"/>
                  </a:lnTo>
                  <a:lnTo>
                    <a:pt x="98204" y="247612"/>
                  </a:lnTo>
                  <a:lnTo>
                    <a:pt x="96231" y="252152"/>
                  </a:lnTo>
                  <a:lnTo>
                    <a:pt x="96231" y="255211"/>
                  </a:lnTo>
                  <a:lnTo>
                    <a:pt x="104125" y="259800"/>
                  </a:lnTo>
                  <a:lnTo>
                    <a:pt x="104125" y="265868"/>
                  </a:lnTo>
                  <a:lnTo>
                    <a:pt x="109997" y="268878"/>
                  </a:lnTo>
                  <a:lnTo>
                    <a:pt x="113944" y="264339"/>
                  </a:lnTo>
                  <a:lnTo>
                    <a:pt x="123812" y="270408"/>
                  </a:lnTo>
                  <a:lnTo>
                    <a:pt x="133680" y="273417"/>
                  </a:lnTo>
                  <a:lnTo>
                    <a:pt x="143548" y="281065"/>
                  </a:lnTo>
                  <a:lnTo>
                    <a:pt x="145522" y="288664"/>
                  </a:lnTo>
                  <a:lnTo>
                    <a:pt x="147495" y="290193"/>
                  </a:lnTo>
                  <a:lnTo>
                    <a:pt x="151442" y="296262"/>
                  </a:lnTo>
                  <a:lnTo>
                    <a:pt x="153367" y="299321"/>
                  </a:lnTo>
                  <a:lnTo>
                    <a:pt x="157314" y="309929"/>
                  </a:lnTo>
                  <a:lnTo>
                    <a:pt x="163185" y="315998"/>
                  </a:lnTo>
                  <a:lnTo>
                    <a:pt x="165159" y="326656"/>
                  </a:lnTo>
                  <a:lnTo>
                    <a:pt x="167133" y="329715"/>
                  </a:lnTo>
                  <a:lnTo>
                    <a:pt x="165159" y="338843"/>
                  </a:lnTo>
                  <a:lnTo>
                    <a:pt x="163185" y="341853"/>
                  </a:lnTo>
                  <a:lnTo>
                    <a:pt x="165159" y="346441"/>
                  </a:lnTo>
                  <a:lnTo>
                    <a:pt x="169106" y="357049"/>
                  </a:lnTo>
                  <a:lnTo>
                    <a:pt x="171080" y="370717"/>
                  </a:lnTo>
                  <a:lnTo>
                    <a:pt x="176951" y="375305"/>
                  </a:lnTo>
                  <a:lnTo>
                    <a:pt x="176951" y="378364"/>
                  </a:lnTo>
                  <a:lnTo>
                    <a:pt x="196687" y="396571"/>
                  </a:lnTo>
                  <a:lnTo>
                    <a:pt x="202608" y="398100"/>
                  </a:lnTo>
                  <a:lnTo>
                    <a:pt x="208431" y="398100"/>
                  </a:lnTo>
                  <a:lnTo>
                    <a:pt x="214351" y="404169"/>
                  </a:lnTo>
                  <a:lnTo>
                    <a:pt x="220223" y="404169"/>
                  </a:lnTo>
                  <a:lnTo>
                    <a:pt x="230091" y="411768"/>
                  </a:lnTo>
                  <a:lnTo>
                    <a:pt x="230091" y="416356"/>
                  </a:lnTo>
                  <a:lnTo>
                    <a:pt x="237985" y="417886"/>
                  </a:lnTo>
                  <a:lnTo>
                    <a:pt x="237985" y="422425"/>
                  </a:lnTo>
                  <a:lnTo>
                    <a:pt x="241883" y="423955"/>
                  </a:lnTo>
                  <a:lnTo>
                    <a:pt x="249728" y="451289"/>
                  </a:lnTo>
                  <a:lnTo>
                    <a:pt x="259596" y="454299"/>
                  </a:lnTo>
                  <a:lnTo>
                    <a:pt x="259596" y="461947"/>
                  </a:lnTo>
                  <a:lnTo>
                    <a:pt x="285106" y="486272"/>
                  </a:lnTo>
                  <a:lnTo>
                    <a:pt x="290977" y="486272"/>
                  </a:lnTo>
                  <a:lnTo>
                    <a:pt x="292951" y="499939"/>
                  </a:lnTo>
                  <a:lnTo>
                    <a:pt x="304743" y="502998"/>
                  </a:lnTo>
                  <a:lnTo>
                    <a:pt x="310664" y="518195"/>
                  </a:lnTo>
                  <a:lnTo>
                    <a:pt x="316486" y="518195"/>
                  </a:lnTo>
                  <a:lnTo>
                    <a:pt x="322407" y="519724"/>
                  </a:lnTo>
                  <a:lnTo>
                    <a:pt x="326354" y="515136"/>
                  </a:lnTo>
                  <a:lnTo>
                    <a:pt x="336222" y="509067"/>
                  </a:lnTo>
                  <a:lnTo>
                    <a:pt x="330301" y="499939"/>
                  </a:lnTo>
                  <a:lnTo>
                    <a:pt x="334248" y="484742"/>
                  </a:lnTo>
                  <a:lnTo>
                    <a:pt x="344116" y="480203"/>
                  </a:lnTo>
                  <a:lnTo>
                    <a:pt x="353985" y="487752"/>
                  </a:lnTo>
                  <a:lnTo>
                    <a:pt x="377569" y="489281"/>
                  </a:lnTo>
                  <a:lnTo>
                    <a:pt x="407174" y="499939"/>
                  </a:lnTo>
                  <a:lnTo>
                    <a:pt x="440577" y="512077"/>
                  </a:lnTo>
                  <a:lnTo>
                    <a:pt x="442550" y="540990"/>
                  </a:lnTo>
                  <a:lnTo>
                    <a:pt x="507334" y="465006"/>
                  </a:lnTo>
                  <a:lnTo>
                    <a:pt x="746931" y="404169"/>
                  </a:lnTo>
                  <a:lnTo>
                    <a:pt x="750829" y="335784"/>
                  </a:lnTo>
                  <a:lnTo>
                    <a:pt x="742984" y="311459"/>
                  </a:lnTo>
                  <a:lnTo>
                    <a:pt x="742984" y="309929"/>
                  </a:lnTo>
                  <a:lnTo>
                    <a:pt x="730155" y="320735"/>
                  </a:lnTo>
                  <a:lnTo>
                    <a:pt x="624123" y="307067"/>
                  </a:lnTo>
                  <a:lnTo>
                    <a:pt x="616673" y="282743"/>
                  </a:lnTo>
                  <a:lnTo>
                    <a:pt x="608828" y="273565"/>
                  </a:lnTo>
                  <a:lnTo>
                    <a:pt x="608828" y="264487"/>
                  </a:lnTo>
                  <a:lnTo>
                    <a:pt x="606854" y="264487"/>
                  </a:lnTo>
                  <a:lnTo>
                    <a:pt x="604880" y="258418"/>
                  </a:lnTo>
                  <a:lnTo>
                    <a:pt x="604880" y="255359"/>
                  </a:lnTo>
                  <a:lnTo>
                    <a:pt x="606854" y="252300"/>
                  </a:lnTo>
                  <a:lnTo>
                    <a:pt x="600933" y="252300"/>
                  </a:lnTo>
                  <a:lnTo>
                    <a:pt x="600933" y="250820"/>
                  </a:lnTo>
                  <a:lnTo>
                    <a:pt x="593137" y="250820"/>
                  </a:lnTo>
                  <a:lnTo>
                    <a:pt x="581345" y="246231"/>
                  </a:lnTo>
                  <a:lnTo>
                    <a:pt x="581345" y="243221"/>
                  </a:lnTo>
                  <a:lnTo>
                    <a:pt x="579322" y="244750"/>
                  </a:lnTo>
                  <a:lnTo>
                    <a:pt x="573450" y="238632"/>
                  </a:lnTo>
                  <a:lnTo>
                    <a:pt x="571526" y="229504"/>
                  </a:lnTo>
                  <a:lnTo>
                    <a:pt x="551790" y="209768"/>
                  </a:lnTo>
                  <a:lnTo>
                    <a:pt x="547596" y="202318"/>
                  </a:lnTo>
                  <a:lnTo>
                    <a:pt x="551544" y="202318"/>
                  </a:lnTo>
                  <a:lnTo>
                    <a:pt x="551544" y="199259"/>
                  </a:lnTo>
                  <a:lnTo>
                    <a:pt x="545622" y="185591"/>
                  </a:lnTo>
                  <a:lnTo>
                    <a:pt x="545622" y="181052"/>
                  </a:lnTo>
                  <a:lnTo>
                    <a:pt x="541725" y="174934"/>
                  </a:lnTo>
                  <a:lnTo>
                    <a:pt x="537777" y="174934"/>
                  </a:lnTo>
                  <a:lnTo>
                    <a:pt x="524011" y="161267"/>
                  </a:lnTo>
                  <a:lnTo>
                    <a:pt x="520114" y="161267"/>
                  </a:lnTo>
                  <a:lnTo>
                    <a:pt x="516166" y="156678"/>
                  </a:lnTo>
                  <a:lnTo>
                    <a:pt x="516166" y="152139"/>
                  </a:lnTo>
                  <a:lnTo>
                    <a:pt x="518140" y="152139"/>
                  </a:lnTo>
                  <a:lnTo>
                    <a:pt x="522037" y="153668"/>
                  </a:lnTo>
                  <a:lnTo>
                    <a:pt x="518140" y="150609"/>
                  </a:lnTo>
                  <a:lnTo>
                    <a:pt x="512219" y="149129"/>
                  </a:lnTo>
                  <a:lnTo>
                    <a:pt x="500476" y="147599"/>
                  </a:lnTo>
                  <a:lnTo>
                    <a:pt x="494605" y="132403"/>
                  </a:lnTo>
                  <a:lnTo>
                    <a:pt x="488684" y="123275"/>
                  </a:lnTo>
                  <a:lnTo>
                    <a:pt x="484786" y="121745"/>
                  </a:lnTo>
                  <a:lnTo>
                    <a:pt x="484786" y="117156"/>
                  </a:lnTo>
                  <a:lnTo>
                    <a:pt x="482812" y="11868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Graphic 2">
              <a:extLst>
                <a:ext uri="{FF2B5EF4-FFF2-40B4-BE49-F238E27FC236}">
                  <a16:creationId xmlns:a16="http://schemas.microsoft.com/office/drawing/2014/main" id="{E7E2D74A-99D3-4202-8EC6-CF7CCBC4655F}"/>
                </a:ext>
              </a:extLst>
            </p:cNvPr>
            <p:cNvSpPr/>
            <p:nvPr/>
          </p:nvSpPr>
          <p:spPr>
            <a:xfrm>
              <a:off x="7052177" y="3878654"/>
              <a:ext cx="23713" cy="47469"/>
            </a:xfrm>
            <a:custGeom>
              <a:avLst/>
              <a:gdLst>
                <a:gd name="connsiteX0" fmla="*/ 20444 w 26101"/>
                <a:gd name="connsiteY0" fmla="*/ 52224 h 52251"/>
                <a:gd name="connsiteX1" fmla="*/ 12993 w 26101"/>
                <a:gd name="connsiteY1" fmla="*/ 52224 h 52251"/>
                <a:gd name="connsiteX2" fmla="*/ 1793 w 26101"/>
                <a:gd name="connsiteY2" fmla="*/ 47586 h 52251"/>
                <a:gd name="connsiteX3" fmla="*/ 1793 w 26101"/>
                <a:gd name="connsiteY3" fmla="*/ 44527 h 52251"/>
                <a:gd name="connsiteX4" fmla="*/ 3619 w 26101"/>
                <a:gd name="connsiteY4" fmla="*/ 44527 h 52251"/>
                <a:gd name="connsiteX5" fmla="*/ 3619 w 26101"/>
                <a:gd name="connsiteY5" fmla="*/ 38360 h 52251"/>
                <a:gd name="connsiteX6" fmla="*/ -82 w 26101"/>
                <a:gd name="connsiteY6" fmla="*/ 33771 h 52251"/>
                <a:gd name="connsiteX7" fmla="*/ -82 w 26101"/>
                <a:gd name="connsiteY7" fmla="*/ 21436 h 52251"/>
                <a:gd name="connsiteX8" fmla="*/ 3619 w 26101"/>
                <a:gd name="connsiteY8" fmla="*/ 21436 h 52251"/>
                <a:gd name="connsiteX9" fmla="*/ 3619 w 26101"/>
                <a:gd name="connsiteY9" fmla="*/ 13788 h 52251"/>
                <a:gd name="connsiteX10" fmla="*/ 3619 w 26101"/>
                <a:gd name="connsiteY10" fmla="*/ 13788 h 52251"/>
                <a:gd name="connsiteX11" fmla="*/ 3619 w 26101"/>
                <a:gd name="connsiteY11" fmla="*/ 7670 h 52251"/>
                <a:gd name="connsiteX12" fmla="*/ 5494 w 26101"/>
                <a:gd name="connsiteY12" fmla="*/ 6141 h 52251"/>
                <a:gd name="connsiteX13" fmla="*/ 5494 w 26101"/>
                <a:gd name="connsiteY13" fmla="*/ 3032 h 52251"/>
                <a:gd name="connsiteX14" fmla="*/ 7369 w 26101"/>
                <a:gd name="connsiteY14" fmla="*/ 3032 h 52251"/>
                <a:gd name="connsiteX15" fmla="*/ 9244 w 26101"/>
                <a:gd name="connsiteY15" fmla="*/ -27 h 52251"/>
                <a:gd name="connsiteX16" fmla="*/ 11119 w 26101"/>
                <a:gd name="connsiteY16" fmla="*/ -27 h 52251"/>
                <a:gd name="connsiteX17" fmla="*/ 18569 w 26101"/>
                <a:gd name="connsiteY17" fmla="*/ 4611 h 52251"/>
                <a:gd name="connsiteX18" fmla="*/ 18569 w 26101"/>
                <a:gd name="connsiteY18" fmla="*/ 7670 h 52251"/>
                <a:gd name="connsiteX19" fmla="*/ 22319 w 26101"/>
                <a:gd name="connsiteY19" fmla="*/ 7670 h 52251"/>
                <a:gd name="connsiteX20" fmla="*/ 22319 w 26101"/>
                <a:gd name="connsiteY20" fmla="*/ 10630 h 52251"/>
                <a:gd name="connsiteX21" fmla="*/ 20444 w 26101"/>
                <a:gd name="connsiteY21" fmla="*/ 19808 h 52251"/>
                <a:gd name="connsiteX22" fmla="*/ 18569 w 26101"/>
                <a:gd name="connsiteY22" fmla="*/ 19808 h 52251"/>
                <a:gd name="connsiteX23" fmla="*/ 20444 w 26101"/>
                <a:gd name="connsiteY23" fmla="*/ 30613 h 52251"/>
                <a:gd name="connsiteX24" fmla="*/ 22319 w 26101"/>
                <a:gd name="connsiteY24" fmla="*/ 30613 h 52251"/>
                <a:gd name="connsiteX25" fmla="*/ 26019 w 26101"/>
                <a:gd name="connsiteY25" fmla="*/ 38261 h 52251"/>
                <a:gd name="connsiteX26" fmla="*/ 24144 w 26101"/>
                <a:gd name="connsiteY26" fmla="*/ 52126 h 5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101" h="52251">
                  <a:moveTo>
                    <a:pt x="20444" y="52224"/>
                  </a:moveTo>
                  <a:lnTo>
                    <a:pt x="12993" y="52224"/>
                  </a:lnTo>
                  <a:lnTo>
                    <a:pt x="1793" y="47586"/>
                  </a:lnTo>
                  <a:lnTo>
                    <a:pt x="1793" y="44527"/>
                  </a:lnTo>
                  <a:lnTo>
                    <a:pt x="3619" y="44527"/>
                  </a:lnTo>
                  <a:lnTo>
                    <a:pt x="3619" y="38360"/>
                  </a:lnTo>
                  <a:lnTo>
                    <a:pt x="-82" y="33771"/>
                  </a:lnTo>
                  <a:lnTo>
                    <a:pt x="-82" y="21436"/>
                  </a:lnTo>
                  <a:lnTo>
                    <a:pt x="3619" y="21436"/>
                  </a:lnTo>
                  <a:lnTo>
                    <a:pt x="3619" y="13788"/>
                  </a:lnTo>
                  <a:lnTo>
                    <a:pt x="3619" y="13788"/>
                  </a:lnTo>
                  <a:lnTo>
                    <a:pt x="3619" y="7670"/>
                  </a:lnTo>
                  <a:lnTo>
                    <a:pt x="5494" y="6141"/>
                  </a:lnTo>
                  <a:lnTo>
                    <a:pt x="5494" y="3032"/>
                  </a:lnTo>
                  <a:lnTo>
                    <a:pt x="7369" y="3032"/>
                  </a:lnTo>
                  <a:lnTo>
                    <a:pt x="9244" y="-27"/>
                  </a:lnTo>
                  <a:lnTo>
                    <a:pt x="11119" y="-27"/>
                  </a:lnTo>
                  <a:lnTo>
                    <a:pt x="18569" y="4611"/>
                  </a:lnTo>
                  <a:lnTo>
                    <a:pt x="18569" y="7670"/>
                  </a:lnTo>
                  <a:lnTo>
                    <a:pt x="22319" y="7670"/>
                  </a:lnTo>
                  <a:lnTo>
                    <a:pt x="22319" y="10630"/>
                  </a:lnTo>
                  <a:lnTo>
                    <a:pt x="20444" y="19808"/>
                  </a:lnTo>
                  <a:lnTo>
                    <a:pt x="18569" y="19808"/>
                  </a:lnTo>
                  <a:lnTo>
                    <a:pt x="20444" y="30613"/>
                  </a:lnTo>
                  <a:lnTo>
                    <a:pt x="22319" y="30613"/>
                  </a:lnTo>
                  <a:lnTo>
                    <a:pt x="26019" y="38261"/>
                  </a:lnTo>
                  <a:lnTo>
                    <a:pt x="24144" y="5212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Graphic 2">
              <a:extLst>
                <a:ext uri="{FF2B5EF4-FFF2-40B4-BE49-F238E27FC236}">
                  <a16:creationId xmlns:a16="http://schemas.microsoft.com/office/drawing/2014/main" id="{1151E5BF-567E-406B-B4A6-FD919C8EB4D8}"/>
                </a:ext>
              </a:extLst>
            </p:cNvPr>
            <p:cNvSpPr/>
            <p:nvPr/>
          </p:nvSpPr>
          <p:spPr>
            <a:xfrm>
              <a:off x="7079295" y="3881882"/>
              <a:ext cx="155950" cy="105247"/>
            </a:xfrm>
            <a:custGeom>
              <a:avLst/>
              <a:gdLst>
                <a:gd name="connsiteX0" fmla="*/ -82 w 171655"/>
                <a:gd name="connsiteY0" fmla="*/ 60218 h 115851"/>
                <a:gd name="connsiteX1" fmla="*/ -82 w 171655"/>
                <a:gd name="connsiteY1" fmla="*/ 69247 h 115851"/>
                <a:gd name="connsiteX2" fmla="*/ 7714 w 171655"/>
                <a:gd name="connsiteY2" fmla="*/ 78276 h 115851"/>
                <a:gd name="connsiteX3" fmla="*/ 15510 w 171655"/>
                <a:gd name="connsiteY3" fmla="*/ 102305 h 115851"/>
                <a:gd name="connsiteX4" fmla="*/ 120851 w 171655"/>
                <a:gd name="connsiteY4" fmla="*/ 115824 h 115851"/>
                <a:gd name="connsiteX5" fmla="*/ 132594 w 171655"/>
                <a:gd name="connsiteY5" fmla="*/ 105315 h 115851"/>
                <a:gd name="connsiteX6" fmla="*/ 163777 w 171655"/>
                <a:gd name="connsiteY6" fmla="*/ 25680 h 115851"/>
                <a:gd name="connsiteX7" fmla="*/ 171573 w 171655"/>
                <a:gd name="connsiteY7" fmla="*/ 24199 h 115851"/>
                <a:gd name="connsiteX8" fmla="*/ 169649 w 171655"/>
                <a:gd name="connsiteY8" fmla="*/ 18180 h 115851"/>
                <a:gd name="connsiteX9" fmla="*/ 169649 w 171655"/>
                <a:gd name="connsiteY9" fmla="*/ 13640 h 115851"/>
                <a:gd name="connsiteX10" fmla="*/ 165702 w 171655"/>
                <a:gd name="connsiteY10" fmla="*/ 15170 h 115851"/>
                <a:gd name="connsiteX11" fmla="*/ 163777 w 171655"/>
                <a:gd name="connsiteY11" fmla="*/ 13640 h 115851"/>
                <a:gd name="connsiteX12" fmla="*/ 163777 w 171655"/>
                <a:gd name="connsiteY12" fmla="*/ 12012 h 115851"/>
                <a:gd name="connsiteX13" fmla="*/ 161853 w 171655"/>
                <a:gd name="connsiteY13" fmla="*/ 12012 h 115851"/>
                <a:gd name="connsiteX14" fmla="*/ 159879 w 171655"/>
                <a:gd name="connsiteY14" fmla="*/ -27 h 115851"/>
                <a:gd name="connsiteX15" fmla="*/ 154057 w 171655"/>
                <a:gd name="connsiteY15" fmla="*/ -27 h 115851"/>
                <a:gd name="connsiteX16" fmla="*/ 154057 w 171655"/>
                <a:gd name="connsiteY16" fmla="*/ 3032 h 115851"/>
                <a:gd name="connsiteX17" fmla="*/ 152084 w 171655"/>
                <a:gd name="connsiteY17" fmla="*/ 7473 h 115851"/>
                <a:gd name="connsiteX18" fmla="*/ 130621 w 171655"/>
                <a:gd name="connsiteY18" fmla="*/ 18032 h 115851"/>
                <a:gd name="connsiteX19" fmla="*/ 130621 w 171655"/>
                <a:gd name="connsiteY19" fmla="*/ 27061 h 115851"/>
                <a:gd name="connsiteX20" fmla="*/ 109158 w 171655"/>
                <a:gd name="connsiteY20" fmla="*/ 41863 h 115851"/>
                <a:gd name="connsiteX21" fmla="*/ 107184 w 171655"/>
                <a:gd name="connsiteY21" fmla="*/ 46353 h 115851"/>
                <a:gd name="connsiteX22" fmla="*/ 109158 w 171655"/>
                <a:gd name="connsiteY22" fmla="*/ 46353 h 115851"/>
                <a:gd name="connsiteX23" fmla="*/ 111131 w 171655"/>
                <a:gd name="connsiteY23" fmla="*/ 50892 h 115851"/>
                <a:gd name="connsiteX24" fmla="*/ 103286 w 171655"/>
                <a:gd name="connsiteY24" fmla="*/ 59872 h 115851"/>
                <a:gd name="connsiteX25" fmla="*/ 99388 w 171655"/>
                <a:gd name="connsiteY25" fmla="*/ 53853 h 115851"/>
                <a:gd name="connsiteX26" fmla="*/ 95490 w 171655"/>
                <a:gd name="connsiteY26" fmla="*/ 58392 h 115851"/>
                <a:gd name="connsiteX27" fmla="*/ 91592 w 171655"/>
                <a:gd name="connsiteY27" fmla="*/ 58392 h 115851"/>
                <a:gd name="connsiteX28" fmla="*/ 93566 w 171655"/>
                <a:gd name="connsiteY28" fmla="*/ 62882 h 115851"/>
                <a:gd name="connsiteX29" fmla="*/ 89668 w 171655"/>
                <a:gd name="connsiteY29" fmla="*/ 62882 h 115851"/>
                <a:gd name="connsiteX30" fmla="*/ 89668 w 171655"/>
                <a:gd name="connsiteY30" fmla="*/ 66287 h 115851"/>
                <a:gd name="connsiteX31" fmla="*/ 77925 w 171655"/>
                <a:gd name="connsiteY31" fmla="*/ 67816 h 115851"/>
                <a:gd name="connsiteX32" fmla="*/ 70129 w 171655"/>
                <a:gd name="connsiteY32" fmla="*/ 67816 h 115851"/>
                <a:gd name="connsiteX33" fmla="*/ 66231 w 171655"/>
                <a:gd name="connsiteY33" fmla="*/ 64806 h 115851"/>
                <a:gd name="connsiteX34" fmla="*/ 60360 w 171655"/>
                <a:gd name="connsiteY34" fmla="*/ 64806 h 115851"/>
                <a:gd name="connsiteX35" fmla="*/ 58436 w 171655"/>
                <a:gd name="connsiteY35" fmla="*/ 63277 h 115851"/>
                <a:gd name="connsiteX36" fmla="*/ 50640 w 171655"/>
                <a:gd name="connsiteY36" fmla="*/ 64806 h 115851"/>
                <a:gd name="connsiteX37" fmla="*/ 38897 w 171655"/>
                <a:gd name="connsiteY37" fmla="*/ 61797 h 115851"/>
                <a:gd name="connsiteX38" fmla="*/ 25279 w 171655"/>
                <a:gd name="connsiteY38" fmla="*/ 72306 h 115851"/>
                <a:gd name="connsiteX39" fmla="*/ 17434 w 171655"/>
                <a:gd name="connsiteY39" fmla="*/ 70826 h 115851"/>
                <a:gd name="connsiteX40" fmla="*/ 13586 w 171655"/>
                <a:gd name="connsiteY40" fmla="*/ 69296 h 115851"/>
                <a:gd name="connsiteX41" fmla="*/ 7714 w 171655"/>
                <a:gd name="connsiteY41" fmla="*/ 72306 h 115851"/>
                <a:gd name="connsiteX42" fmla="*/ 5789 w 171655"/>
                <a:gd name="connsiteY42" fmla="*/ 58787 h 115851"/>
                <a:gd name="connsiteX43" fmla="*/ 1842 w 171655"/>
                <a:gd name="connsiteY43" fmla="*/ 61797 h 11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71655" h="115851">
                  <a:moveTo>
                    <a:pt x="-82" y="60218"/>
                  </a:moveTo>
                  <a:lnTo>
                    <a:pt x="-82" y="69247"/>
                  </a:lnTo>
                  <a:lnTo>
                    <a:pt x="7714" y="78276"/>
                  </a:lnTo>
                  <a:lnTo>
                    <a:pt x="15510" y="102305"/>
                  </a:lnTo>
                  <a:lnTo>
                    <a:pt x="120851" y="115824"/>
                  </a:lnTo>
                  <a:lnTo>
                    <a:pt x="132594" y="105315"/>
                  </a:lnTo>
                  <a:lnTo>
                    <a:pt x="163777" y="25680"/>
                  </a:lnTo>
                  <a:lnTo>
                    <a:pt x="171573" y="24199"/>
                  </a:lnTo>
                  <a:lnTo>
                    <a:pt x="169649" y="18180"/>
                  </a:lnTo>
                  <a:lnTo>
                    <a:pt x="169649" y="13640"/>
                  </a:lnTo>
                  <a:lnTo>
                    <a:pt x="165702" y="15170"/>
                  </a:lnTo>
                  <a:lnTo>
                    <a:pt x="163777" y="13640"/>
                  </a:lnTo>
                  <a:lnTo>
                    <a:pt x="163777" y="12012"/>
                  </a:lnTo>
                  <a:lnTo>
                    <a:pt x="161853" y="12012"/>
                  </a:lnTo>
                  <a:lnTo>
                    <a:pt x="159879" y="-27"/>
                  </a:lnTo>
                  <a:lnTo>
                    <a:pt x="154057" y="-27"/>
                  </a:lnTo>
                  <a:lnTo>
                    <a:pt x="154057" y="3032"/>
                  </a:lnTo>
                  <a:lnTo>
                    <a:pt x="152084" y="7473"/>
                  </a:lnTo>
                  <a:lnTo>
                    <a:pt x="130621" y="18032"/>
                  </a:lnTo>
                  <a:lnTo>
                    <a:pt x="130621" y="27061"/>
                  </a:lnTo>
                  <a:lnTo>
                    <a:pt x="109158" y="41863"/>
                  </a:lnTo>
                  <a:lnTo>
                    <a:pt x="107184" y="46353"/>
                  </a:lnTo>
                  <a:lnTo>
                    <a:pt x="109158" y="46353"/>
                  </a:lnTo>
                  <a:lnTo>
                    <a:pt x="111131" y="50892"/>
                  </a:lnTo>
                  <a:lnTo>
                    <a:pt x="103286" y="59872"/>
                  </a:lnTo>
                  <a:lnTo>
                    <a:pt x="99388" y="53853"/>
                  </a:lnTo>
                  <a:lnTo>
                    <a:pt x="95490" y="58392"/>
                  </a:lnTo>
                  <a:lnTo>
                    <a:pt x="91592" y="58392"/>
                  </a:lnTo>
                  <a:lnTo>
                    <a:pt x="93566" y="62882"/>
                  </a:lnTo>
                  <a:lnTo>
                    <a:pt x="89668" y="62882"/>
                  </a:lnTo>
                  <a:lnTo>
                    <a:pt x="89668" y="66287"/>
                  </a:lnTo>
                  <a:lnTo>
                    <a:pt x="77925" y="67816"/>
                  </a:lnTo>
                  <a:lnTo>
                    <a:pt x="70129" y="67816"/>
                  </a:lnTo>
                  <a:lnTo>
                    <a:pt x="66231" y="64806"/>
                  </a:lnTo>
                  <a:lnTo>
                    <a:pt x="60360" y="64806"/>
                  </a:lnTo>
                  <a:lnTo>
                    <a:pt x="58436" y="63277"/>
                  </a:lnTo>
                  <a:lnTo>
                    <a:pt x="50640" y="64806"/>
                  </a:lnTo>
                  <a:lnTo>
                    <a:pt x="38897" y="61797"/>
                  </a:lnTo>
                  <a:lnTo>
                    <a:pt x="25279" y="72306"/>
                  </a:lnTo>
                  <a:lnTo>
                    <a:pt x="17434" y="70826"/>
                  </a:lnTo>
                  <a:lnTo>
                    <a:pt x="13586" y="69296"/>
                  </a:lnTo>
                  <a:lnTo>
                    <a:pt x="7714" y="72306"/>
                  </a:lnTo>
                  <a:lnTo>
                    <a:pt x="5789" y="58787"/>
                  </a:lnTo>
                  <a:lnTo>
                    <a:pt x="1842" y="6179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Graphic 2">
              <a:extLst>
                <a:ext uri="{FF2B5EF4-FFF2-40B4-BE49-F238E27FC236}">
                  <a16:creationId xmlns:a16="http://schemas.microsoft.com/office/drawing/2014/main" id="{411E879F-05FC-43A9-951A-5D1F9681AFE5}"/>
                </a:ext>
              </a:extLst>
            </p:cNvPr>
            <p:cNvSpPr/>
            <p:nvPr/>
          </p:nvSpPr>
          <p:spPr>
            <a:xfrm>
              <a:off x="7109641" y="3868478"/>
              <a:ext cx="244439" cy="297993"/>
            </a:xfrm>
            <a:custGeom>
              <a:avLst/>
              <a:gdLst>
                <a:gd name="connsiteX0" fmla="*/ 2089 w 269052"/>
                <a:gd name="connsiteY0" fmla="*/ 242432 h 328014"/>
                <a:gd name="connsiteX1" fmla="*/ 104026 w 269052"/>
                <a:gd name="connsiteY1" fmla="*/ 216330 h 328014"/>
                <a:gd name="connsiteX2" fmla="*/ 107973 w 269052"/>
                <a:gd name="connsiteY2" fmla="*/ 147254 h 328014"/>
                <a:gd name="connsiteX3" fmla="*/ 100128 w 269052"/>
                <a:gd name="connsiteY3" fmla="*/ 122584 h 328014"/>
                <a:gd name="connsiteX4" fmla="*/ 131508 w 269052"/>
                <a:gd name="connsiteY4" fmla="*/ 39692 h 328014"/>
                <a:gd name="connsiteX5" fmla="*/ 139354 w 269052"/>
                <a:gd name="connsiteY5" fmla="*/ 38162 h 328014"/>
                <a:gd name="connsiteX6" fmla="*/ 139354 w 269052"/>
                <a:gd name="connsiteY6" fmla="*/ 57899 h 328014"/>
                <a:gd name="connsiteX7" fmla="*/ 151146 w 269052"/>
                <a:gd name="connsiteY7" fmla="*/ 70184 h 328014"/>
                <a:gd name="connsiteX8" fmla="*/ 153070 w 269052"/>
                <a:gd name="connsiteY8" fmla="*/ 74773 h 328014"/>
                <a:gd name="connsiteX9" fmla="*/ 172806 w 269052"/>
                <a:gd name="connsiteY9" fmla="*/ 88588 h 328014"/>
                <a:gd name="connsiteX10" fmla="*/ 182674 w 269052"/>
                <a:gd name="connsiteY10" fmla="*/ 91648 h 328014"/>
                <a:gd name="connsiteX11" fmla="*/ 186572 w 269052"/>
                <a:gd name="connsiteY11" fmla="*/ 88588 h 328014"/>
                <a:gd name="connsiteX12" fmla="*/ 194417 w 269052"/>
                <a:gd name="connsiteY12" fmla="*/ 88588 h 328014"/>
                <a:gd name="connsiteX13" fmla="*/ 210108 w 269052"/>
                <a:gd name="connsiteY13" fmla="*/ 91648 h 328014"/>
                <a:gd name="connsiteX14" fmla="*/ 217953 w 269052"/>
                <a:gd name="connsiteY14" fmla="*/ 90118 h 328014"/>
                <a:gd name="connsiteX15" fmla="*/ 223825 w 269052"/>
                <a:gd name="connsiteY15" fmla="*/ 90118 h 328014"/>
                <a:gd name="connsiteX16" fmla="*/ 233693 w 269052"/>
                <a:gd name="connsiteY16" fmla="*/ 102404 h 328014"/>
                <a:gd name="connsiteX17" fmla="*/ 237590 w 269052"/>
                <a:gd name="connsiteY17" fmla="*/ 110101 h 328014"/>
                <a:gd name="connsiteX18" fmla="*/ 243511 w 269052"/>
                <a:gd name="connsiteY18" fmla="*/ 114689 h 328014"/>
                <a:gd name="connsiteX19" fmla="*/ 245436 w 269052"/>
                <a:gd name="connsiteY19" fmla="*/ 120808 h 328014"/>
                <a:gd name="connsiteX20" fmla="*/ 259201 w 269052"/>
                <a:gd name="connsiteY20" fmla="*/ 129985 h 328014"/>
                <a:gd name="connsiteX21" fmla="*/ 266997 w 269052"/>
                <a:gd name="connsiteY21" fmla="*/ 131514 h 328014"/>
                <a:gd name="connsiteX22" fmla="*/ 268971 w 269052"/>
                <a:gd name="connsiteY22" fmla="*/ 133093 h 328014"/>
                <a:gd name="connsiteX23" fmla="*/ 268971 w 269052"/>
                <a:gd name="connsiteY23" fmla="*/ 139211 h 328014"/>
                <a:gd name="connsiteX24" fmla="*/ 265073 w 269052"/>
                <a:gd name="connsiteY24" fmla="*/ 145379 h 328014"/>
                <a:gd name="connsiteX25" fmla="*/ 265073 w 269052"/>
                <a:gd name="connsiteY25" fmla="*/ 156086 h 328014"/>
                <a:gd name="connsiteX26" fmla="*/ 249383 w 269052"/>
                <a:gd name="connsiteY26" fmla="*/ 173010 h 328014"/>
                <a:gd name="connsiteX27" fmla="*/ 241538 w 269052"/>
                <a:gd name="connsiteY27" fmla="*/ 180657 h 328014"/>
                <a:gd name="connsiteX28" fmla="*/ 237590 w 269052"/>
                <a:gd name="connsiteY28" fmla="*/ 188355 h 328014"/>
                <a:gd name="connsiteX29" fmla="*/ 233693 w 269052"/>
                <a:gd name="connsiteY29" fmla="*/ 191414 h 328014"/>
                <a:gd name="connsiteX30" fmla="*/ 229795 w 269052"/>
                <a:gd name="connsiteY30" fmla="*/ 202120 h 328014"/>
                <a:gd name="connsiteX31" fmla="*/ 223874 w 269052"/>
                <a:gd name="connsiteY31" fmla="*/ 202120 h 328014"/>
                <a:gd name="connsiteX32" fmla="*/ 219976 w 269052"/>
                <a:gd name="connsiteY32" fmla="*/ 200591 h 328014"/>
                <a:gd name="connsiteX33" fmla="*/ 219976 w 269052"/>
                <a:gd name="connsiteY33" fmla="*/ 196002 h 328014"/>
                <a:gd name="connsiteX34" fmla="*/ 221950 w 269052"/>
                <a:gd name="connsiteY34" fmla="*/ 194473 h 328014"/>
                <a:gd name="connsiteX35" fmla="*/ 219976 w 269052"/>
                <a:gd name="connsiteY35" fmla="*/ 192943 h 328014"/>
                <a:gd name="connsiteX36" fmla="*/ 216029 w 269052"/>
                <a:gd name="connsiteY36" fmla="*/ 194473 h 328014"/>
                <a:gd name="connsiteX37" fmla="*/ 212131 w 269052"/>
                <a:gd name="connsiteY37" fmla="*/ 202120 h 328014"/>
                <a:gd name="connsiteX38" fmla="*/ 210157 w 269052"/>
                <a:gd name="connsiteY38" fmla="*/ 202120 h 328014"/>
                <a:gd name="connsiteX39" fmla="*/ 212131 w 269052"/>
                <a:gd name="connsiteY39" fmla="*/ 206758 h 328014"/>
                <a:gd name="connsiteX40" fmla="*/ 208184 w 269052"/>
                <a:gd name="connsiteY40" fmla="*/ 208288 h 328014"/>
                <a:gd name="connsiteX41" fmla="*/ 202312 w 269052"/>
                <a:gd name="connsiteY41" fmla="*/ 217465 h 328014"/>
                <a:gd name="connsiteX42" fmla="*/ 202312 w 269052"/>
                <a:gd name="connsiteY42" fmla="*/ 222103 h 328014"/>
                <a:gd name="connsiteX43" fmla="*/ 200388 w 269052"/>
                <a:gd name="connsiteY43" fmla="*/ 226692 h 328014"/>
                <a:gd name="connsiteX44" fmla="*/ 202312 w 269052"/>
                <a:gd name="connsiteY44" fmla="*/ 228222 h 328014"/>
                <a:gd name="connsiteX45" fmla="*/ 206210 w 269052"/>
                <a:gd name="connsiteY45" fmla="*/ 234389 h 328014"/>
                <a:gd name="connsiteX46" fmla="*/ 204285 w 269052"/>
                <a:gd name="connsiteY46" fmla="*/ 234389 h 328014"/>
                <a:gd name="connsiteX47" fmla="*/ 208184 w 269052"/>
                <a:gd name="connsiteY47" fmla="*/ 245096 h 328014"/>
                <a:gd name="connsiteX48" fmla="*/ 210157 w 269052"/>
                <a:gd name="connsiteY48" fmla="*/ 248204 h 328014"/>
                <a:gd name="connsiteX49" fmla="*/ 210157 w 269052"/>
                <a:gd name="connsiteY49" fmla="*/ 251263 h 328014"/>
                <a:gd name="connsiteX50" fmla="*/ 190421 w 269052"/>
                <a:gd name="connsiteY50" fmla="*/ 251263 h 328014"/>
                <a:gd name="connsiteX51" fmla="*/ 186474 w 269052"/>
                <a:gd name="connsiteY51" fmla="*/ 254323 h 328014"/>
                <a:gd name="connsiteX52" fmla="*/ 182576 w 269052"/>
                <a:gd name="connsiteY52" fmla="*/ 251263 h 328014"/>
                <a:gd name="connsiteX53" fmla="*/ 174681 w 269052"/>
                <a:gd name="connsiteY53" fmla="*/ 254323 h 328014"/>
                <a:gd name="connsiteX54" fmla="*/ 162938 w 269052"/>
                <a:gd name="connsiteY54" fmla="*/ 268138 h 328014"/>
                <a:gd name="connsiteX55" fmla="*/ 162938 w 269052"/>
                <a:gd name="connsiteY55" fmla="*/ 277364 h 328014"/>
                <a:gd name="connsiteX56" fmla="*/ 157018 w 269052"/>
                <a:gd name="connsiteY56" fmla="*/ 280423 h 328014"/>
                <a:gd name="connsiteX57" fmla="*/ 151195 w 269052"/>
                <a:gd name="connsiteY57" fmla="*/ 286542 h 328014"/>
                <a:gd name="connsiteX58" fmla="*/ 147248 w 269052"/>
                <a:gd name="connsiteY58" fmla="*/ 283483 h 328014"/>
                <a:gd name="connsiteX59" fmla="*/ 137380 w 269052"/>
                <a:gd name="connsiteY59" fmla="*/ 286542 h 328014"/>
                <a:gd name="connsiteX60" fmla="*/ 125637 w 269052"/>
                <a:gd name="connsiteY60" fmla="*/ 286542 h 328014"/>
                <a:gd name="connsiteX61" fmla="*/ 121690 w 269052"/>
                <a:gd name="connsiteY61" fmla="*/ 289601 h 328014"/>
                <a:gd name="connsiteX62" fmla="*/ 115819 w 269052"/>
                <a:gd name="connsiteY62" fmla="*/ 294190 h 328014"/>
                <a:gd name="connsiteX63" fmla="*/ 117743 w 269052"/>
                <a:gd name="connsiteY63" fmla="*/ 295719 h 328014"/>
                <a:gd name="connsiteX64" fmla="*/ 115819 w 269052"/>
                <a:gd name="connsiteY64" fmla="*/ 300357 h 328014"/>
                <a:gd name="connsiteX65" fmla="*/ 119765 w 269052"/>
                <a:gd name="connsiteY65" fmla="*/ 301887 h 328014"/>
                <a:gd name="connsiteX66" fmla="*/ 119765 w 269052"/>
                <a:gd name="connsiteY66" fmla="*/ 304946 h 328014"/>
                <a:gd name="connsiteX67" fmla="*/ 117743 w 269052"/>
                <a:gd name="connsiteY67" fmla="*/ 304946 h 328014"/>
                <a:gd name="connsiteX68" fmla="*/ 117743 w 269052"/>
                <a:gd name="connsiteY68" fmla="*/ 306475 h 328014"/>
                <a:gd name="connsiteX69" fmla="*/ 109947 w 269052"/>
                <a:gd name="connsiteY69" fmla="*/ 318761 h 328014"/>
                <a:gd name="connsiteX70" fmla="*/ 106000 w 269052"/>
                <a:gd name="connsiteY70" fmla="*/ 318761 h 328014"/>
                <a:gd name="connsiteX71" fmla="*/ 100128 w 269052"/>
                <a:gd name="connsiteY71" fmla="*/ 315702 h 328014"/>
                <a:gd name="connsiteX72" fmla="*/ 94257 w 269052"/>
                <a:gd name="connsiteY72" fmla="*/ 317231 h 328014"/>
                <a:gd name="connsiteX73" fmla="*/ 86363 w 269052"/>
                <a:gd name="connsiteY73" fmla="*/ 317231 h 328014"/>
                <a:gd name="connsiteX74" fmla="*/ 74620 w 269052"/>
                <a:gd name="connsiteY74" fmla="*/ 321820 h 328014"/>
                <a:gd name="connsiteX75" fmla="*/ 66774 w 269052"/>
                <a:gd name="connsiteY75" fmla="*/ 321820 h 328014"/>
                <a:gd name="connsiteX76" fmla="*/ 62876 w 269052"/>
                <a:gd name="connsiteY76" fmla="*/ 327988 h 328014"/>
                <a:gd name="connsiteX77" fmla="*/ 53008 w 269052"/>
                <a:gd name="connsiteY77" fmla="*/ 327988 h 328014"/>
                <a:gd name="connsiteX78" fmla="*/ 51035 w 269052"/>
                <a:gd name="connsiteY78" fmla="*/ 326458 h 328014"/>
                <a:gd name="connsiteX79" fmla="*/ 47087 w 269052"/>
                <a:gd name="connsiteY79" fmla="*/ 327988 h 328014"/>
                <a:gd name="connsiteX80" fmla="*/ 27351 w 269052"/>
                <a:gd name="connsiteY80" fmla="*/ 306475 h 328014"/>
                <a:gd name="connsiteX81" fmla="*/ 31299 w 269052"/>
                <a:gd name="connsiteY81" fmla="*/ 294190 h 328014"/>
                <a:gd name="connsiteX82" fmla="*/ -82 w 269052"/>
                <a:gd name="connsiteY82" fmla="*/ 258961 h 328014"/>
                <a:gd name="connsiteX83" fmla="*/ 1891 w 269052"/>
                <a:gd name="connsiteY83" fmla="*/ 242037 h 328014"/>
                <a:gd name="connsiteX84" fmla="*/ 131508 w 269052"/>
                <a:gd name="connsiteY84" fmla="*/ 26074 h 328014"/>
                <a:gd name="connsiteX85" fmla="*/ 131508 w 269052"/>
                <a:gd name="connsiteY85" fmla="*/ 23015 h 328014"/>
                <a:gd name="connsiteX86" fmla="*/ 135407 w 269052"/>
                <a:gd name="connsiteY86" fmla="*/ 16847 h 328014"/>
                <a:gd name="connsiteX87" fmla="*/ 135407 w 269052"/>
                <a:gd name="connsiteY87" fmla="*/ 7670 h 328014"/>
                <a:gd name="connsiteX88" fmla="*/ 133482 w 269052"/>
                <a:gd name="connsiteY88" fmla="*/ 7670 h 328014"/>
                <a:gd name="connsiteX89" fmla="*/ 135407 w 269052"/>
                <a:gd name="connsiteY89" fmla="*/ 4562 h 328014"/>
                <a:gd name="connsiteX90" fmla="*/ 133482 w 269052"/>
                <a:gd name="connsiteY90" fmla="*/ 3032 h 328014"/>
                <a:gd name="connsiteX91" fmla="*/ 135407 w 269052"/>
                <a:gd name="connsiteY91" fmla="*/ 1503 h 328014"/>
                <a:gd name="connsiteX92" fmla="*/ 137380 w 269052"/>
                <a:gd name="connsiteY92" fmla="*/ 1503 h 328014"/>
                <a:gd name="connsiteX93" fmla="*/ 135407 w 269052"/>
                <a:gd name="connsiteY93" fmla="*/ -27 h 328014"/>
                <a:gd name="connsiteX94" fmla="*/ 129535 w 269052"/>
                <a:gd name="connsiteY94" fmla="*/ -27 h 328014"/>
                <a:gd name="connsiteX95" fmla="*/ 127562 w 269052"/>
                <a:gd name="connsiteY95" fmla="*/ 7670 h 328014"/>
                <a:gd name="connsiteX96" fmla="*/ 125637 w 269052"/>
                <a:gd name="connsiteY96" fmla="*/ 9200 h 328014"/>
                <a:gd name="connsiteX97" fmla="*/ 125637 w 269052"/>
                <a:gd name="connsiteY97" fmla="*/ 7670 h 328014"/>
                <a:gd name="connsiteX98" fmla="*/ 121690 w 269052"/>
                <a:gd name="connsiteY98" fmla="*/ 10729 h 328014"/>
                <a:gd name="connsiteX99" fmla="*/ 121690 w 269052"/>
                <a:gd name="connsiteY99" fmla="*/ 13788 h 328014"/>
                <a:gd name="connsiteX100" fmla="*/ 127562 w 269052"/>
                <a:gd name="connsiteY100" fmla="*/ 13788 h 328014"/>
                <a:gd name="connsiteX101" fmla="*/ 129535 w 269052"/>
                <a:gd name="connsiteY101" fmla="*/ 26074 h 32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269052" h="328014">
                  <a:moveTo>
                    <a:pt x="2089" y="242432"/>
                  </a:moveTo>
                  <a:lnTo>
                    <a:pt x="104026" y="216330"/>
                  </a:lnTo>
                  <a:lnTo>
                    <a:pt x="107973" y="147254"/>
                  </a:lnTo>
                  <a:lnTo>
                    <a:pt x="100128" y="122584"/>
                  </a:lnTo>
                  <a:lnTo>
                    <a:pt x="131508" y="39692"/>
                  </a:lnTo>
                  <a:lnTo>
                    <a:pt x="139354" y="38162"/>
                  </a:lnTo>
                  <a:lnTo>
                    <a:pt x="139354" y="57899"/>
                  </a:lnTo>
                  <a:lnTo>
                    <a:pt x="151146" y="70184"/>
                  </a:lnTo>
                  <a:lnTo>
                    <a:pt x="153070" y="74773"/>
                  </a:lnTo>
                  <a:lnTo>
                    <a:pt x="172806" y="88588"/>
                  </a:lnTo>
                  <a:lnTo>
                    <a:pt x="182674" y="91648"/>
                  </a:lnTo>
                  <a:lnTo>
                    <a:pt x="186572" y="88588"/>
                  </a:lnTo>
                  <a:lnTo>
                    <a:pt x="194417" y="88588"/>
                  </a:lnTo>
                  <a:lnTo>
                    <a:pt x="210108" y="91648"/>
                  </a:lnTo>
                  <a:lnTo>
                    <a:pt x="217953" y="90118"/>
                  </a:lnTo>
                  <a:lnTo>
                    <a:pt x="223825" y="90118"/>
                  </a:lnTo>
                  <a:lnTo>
                    <a:pt x="233693" y="102404"/>
                  </a:lnTo>
                  <a:lnTo>
                    <a:pt x="237590" y="110101"/>
                  </a:lnTo>
                  <a:lnTo>
                    <a:pt x="243511" y="114689"/>
                  </a:lnTo>
                  <a:lnTo>
                    <a:pt x="245436" y="120808"/>
                  </a:lnTo>
                  <a:lnTo>
                    <a:pt x="259201" y="129985"/>
                  </a:lnTo>
                  <a:lnTo>
                    <a:pt x="266997" y="131514"/>
                  </a:lnTo>
                  <a:lnTo>
                    <a:pt x="268971" y="133093"/>
                  </a:lnTo>
                  <a:lnTo>
                    <a:pt x="268971" y="139211"/>
                  </a:lnTo>
                  <a:lnTo>
                    <a:pt x="265073" y="145379"/>
                  </a:lnTo>
                  <a:lnTo>
                    <a:pt x="265073" y="156086"/>
                  </a:lnTo>
                  <a:lnTo>
                    <a:pt x="249383" y="173010"/>
                  </a:lnTo>
                  <a:lnTo>
                    <a:pt x="241538" y="180657"/>
                  </a:lnTo>
                  <a:lnTo>
                    <a:pt x="237590" y="188355"/>
                  </a:lnTo>
                  <a:lnTo>
                    <a:pt x="233693" y="191414"/>
                  </a:lnTo>
                  <a:lnTo>
                    <a:pt x="229795" y="202120"/>
                  </a:lnTo>
                  <a:lnTo>
                    <a:pt x="223874" y="202120"/>
                  </a:lnTo>
                  <a:lnTo>
                    <a:pt x="219976" y="200591"/>
                  </a:lnTo>
                  <a:lnTo>
                    <a:pt x="219976" y="196002"/>
                  </a:lnTo>
                  <a:lnTo>
                    <a:pt x="221950" y="194473"/>
                  </a:lnTo>
                  <a:lnTo>
                    <a:pt x="219976" y="192943"/>
                  </a:lnTo>
                  <a:lnTo>
                    <a:pt x="216029" y="194473"/>
                  </a:lnTo>
                  <a:lnTo>
                    <a:pt x="212131" y="202120"/>
                  </a:lnTo>
                  <a:lnTo>
                    <a:pt x="210157" y="202120"/>
                  </a:lnTo>
                  <a:lnTo>
                    <a:pt x="212131" y="206758"/>
                  </a:lnTo>
                  <a:lnTo>
                    <a:pt x="208184" y="208288"/>
                  </a:lnTo>
                  <a:lnTo>
                    <a:pt x="202312" y="217465"/>
                  </a:lnTo>
                  <a:lnTo>
                    <a:pt x="202312" y="222103"/>
                  </a:lnTo>
                  <a:lnTo>
                    <a:pt x="200388" y="226692"/>
                  </a:lnTo>
                  <a:lnTo>
                    <a:pt x="202312" y="228222"/>
                  </a:lnTo>
                  <a:lnTo>
                    <a:pt x="206210" y="234389"/>
                  </a:lnTo>
                  <a:lnTo>
                    <a:pt x="204285" y="234389"/>
                  </a:lnTo>
                  <a:lnTo>
                    <a:pt x="208184" y="245096"/>
                  </a:lnTo>
                  <a:lnTo>
                    <a:pt x="210157" y="248204"/>
                  </a:lnTo>
                  <a:lnTo>
                    <a:pt x="210157" y="251263"/>
                  </a:lnTo>
                  <a:lnTo>
                    <a:pt x="190421" y="251263"/>
                  </a:lnTo>
                  <a:lnTo>
                    <a:pt x="186474" y="254323"/>
                  </a:lnTo>
                  <a:lnTo>
                    <a:pt x="182576" y="251263"/>
                  </a:lnTo>
                  <a:lnTo>
                    <a:pt x="174681" y="254323"/>
                  </a:lnTo>
                  <a:lnTo>
                    <a:pt x="162938" y="268138"/>
                  </a:lnTo>
                  <a:lnTo>
                    <a:pt x="162938" y="277364"/>
                  </a:lnTo>
                  <a:lnTo>
                    <a:pt x="157018" y="280423"/>
                  </a:lnTo>
                  <a:lnTo>
                    <a:pt x="151195" y="286542"/>
                  </a:lnTo>
                  <a:lnTo>
                    <a:pt x="147248" y="283483"/>
                  </a:lnTo>
                  <a:lnTo>
                    <a:pt x="137380" y="286542"/>
                  </a:lnTo>
                  <a:lnTo>
                    <a:pt x="125637" y="286542"/>
                  </a:lnTo>
                  <a:lnTo>
                    <a:pt x="121690" y="289601"/>
                  </a:lnTo>
                  <a:lnTo>
                    <a:pt x="115819" y="294190"/>
                  </a:lnTo>
                  <a:lnTo>
                    <a:pt x="117743" y="295719"/>
                  </a:lnTo>
                  <a:lnTo>
                    <a:pt x="115819" y="300357"/>
                  </a:lnTo>
                  <a:lnTo>
                    <a:pt x="119765" y="301887"/>
                  </a:lnTo>
                  <a:lnTo>
                    <a:pt x="119765" y="304946"/>
                  </a:lnTo>
                  <a:lnTo>
                    <a:pt x="117743" y="304946"/>
                  </a:lnTo>
                  <a:lnTo>
                    <a:pt x="117743" y="306475"/>
                  </a:lnTo>
                  <a:lnTo>
                    <a:pt x="109947" y="318761"/>
                  </a:lnTo>
                  <a:lnTo>
                    <a:pt x="106000" y="318761"/>
                  </a:lnTo>
                  <a:lnTo>
                    <a:pt x="100128" y="315702"/>
                  </a:lnTo>
                  <a:lnTo>
                    <a:pt x="94257" y="317231"/>
                  </a:lnTo>
                  <a:lnTo>
                    <a:pt x="86363" y="317231"/>
                  </a:lnTo>
                  <a:lnTo>
                    <a:pt x="74620" y="321820"/>
                  </a:lnTo>
                  <a:lnTo>
                    <a:pt x="66774" y="321820"/>
                  </a:lnTo>
                  <a:lnTo>
                    <a:pt x="62876" y="327988"/>
                  </a:lnTo>
                  <a:lnTo>
                    <a:pt x="53008" y="327988"/>
                  </a:lnTo>
                  <a:lnTo>
                    <a:pt x="51035" y="326458"/>
                  </a:lnTo>
                  <a:lnTo>
                    <a:pt x="47087" y="327988"/>
                  </a:lnTo>
                  <a:lnTo>
                    <a:pt x="27351" y="306475"/>
                  </a:lnTo>
                  <a:lnTo>
                    <a:pt x="31299" y="294190"/>
                  </a:lnTo>
                  <a:lnTo>
                    <a:pt x="-82" y="258961"/>
                  </a:lnTo>
                  <a:lnTo>
                    <a:pt x="1891" y="242037"/>
                  </a:lnTo>
                  <a:close/>
                  <a:moveTo>
                    <a:pt x="131508" y="26074"/>
                  </a:moveTo>
                  <a:lnTo>
                    <a:pt x="131508" y="23015"/>
                  </a:lnTo>
                  <a:lnTo>
                    <a:pt x="135407" y="16847"/>
                  </a:lnTo>
                  <a:lnTo>
                    <a:pt x="135407" y="7670"/>
                  </a:lnTo>
                  <a:lnTo>
                    <a:pt x="133482" y="7670"/>
                  </a:lnTo>
                  <a:lnTo>
                    <a:pt x="135407" y="4562"/>
                  </a:lnTo>
                  <a:lnTo>
                    <a:pt x="133482" y="3032"/>
                  </a:lnTo>
                  <a:lnTo>
                    <a:pt x="135407" y="1503"/>
                  </a:lnTo>
                  <a:lnTo>
                    <a:pt x="137380" y="1503"/>
                  </a:lnTo>
                  <a:lnTo>
                    <a:pt x="135407" y="-27"/>
                  </a:lnTo>
                  <a:lnTo>
                    <a:pt x="129535" y="-27"/>
                  </a:lnTo>
                  <a:lnTo>
                    <a:pt x="127562" y="7670"/>
                  </a:lnTo>
                  <a:lnTo>
                    <a:pt x="125637" y="9200"/>
                  </a:lnTo>
                  <a:lnTo>
                    <a:pt x="125637" y="7670"/>
                  </a:lnTo>
                  <a:lnTo>
                    <a:pt x="121690" y="10729"/>
                  </a:lnTo>
                  <a:lnTo>
                    <a:pt x="121690" y="13788"/>
                  </a:lnTo>
                  <a:lnTo>
                    <a:pt x="127562" y="13788"/>
                  </a:lnTo>
                  <a:lnTo>
                    <a:pt x="129535" y="2607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Graphic 2">
              <a:extLst>
                <a:ext uri="{FF2B5EF4-FFF2-40B4-BE49-F238E27FC236}">
                  <a16:creationId xmlns:a16="http://schemas.microsoft.com/office/drawing/2014/main" id="{9B7CF970-F267-4F84-A0B0-6144E8D4B698}"/>
                </a:ext>
              </a:extLst>
            </p:cNvPr>
            <p:cNvSpPr/>
            <p:nvPr/>
          </p:nvSpPr>
          <p:spPr>
            <a:xfrm>
              <a:off x="6801238" y="4089015"/>
              <a:ext cx="349601" cy="193148"/>
            </a:xfrm>
            <a:custGeom>
              <a:avLst/>
              <a:gdLst>
                <a:gd name="connsiteX0" fmla="*/ 5839 w 384805"/>
                <a:gd name="connsiteY0" fmla="*/ 87305 h 212607"/>
                <a:gd name="connsiteX1" fmla="*/ 11711 w 384805"/>
                <a:gd name="connsiteY1" fmla="*/ 87305 h 212607"/>
                <a:gd name="connsiteX2" fmla="*/ 17582 w 384805"/>
                <a:gd name="connsiteY2" fmla="*/ 88786 h 212607"/>
                <a:gd name="connsiteX3" fmla="*/ 21529 w 384805"/>
                <a:gd name="connsiteY3" fmla="*/ 84296 h 212607"/>
                <a:gd name="connsiteX4" fmla="*/ 31397 w 384805"/>
                <a:gd name="connsiteY4" fmla="*/ 78227 h 212607"/>
                <a:gd name="connsiteX5" fmla="*/ 25477 w 384805"/>
                <a:gd name="connsiteY5" fmla="*/ 69197 h 212607"/>
                <a:gd name="connsiteX6" fmla="*/ 29424 w 384805"/>
                <a:gd name="connsiteY6" fmla="*/ 54099 h 212607"/>
                <a:gd name="connsiteX7" fmla="*/ 39292 w 384805"/>
                <a:gd name="connsiteY7" fmla="*/ 49560 h 212607"/>
                <a:gd name="connsiteX8" fmla="*/ 49160 w 384805"/>
                <a:gd name="connsiteY8" fmla="*/ 57109 h 212607"/>
                <a:gd name="connsiteX9" fmla="*/ 72646 w 384805"/>
                <a:gd name="connsiteY9" fmla="*/ 58639 h 212607"/>
                <a:gd name="connsiteX10" fmla="*/ 102250 w 384805"/>
                <a:gd name="connsiteY10" fmla="*/ 69197 h 212607"/>
                <a:gd name="connsiteX11" fmla="*/ 135555 w 384805"/>
                <a:gd name="connsiteY11" fmla="*/ 81237 h 212607"/>
                <a:gd name="connsiteX12" fmla="*/ 137528 w 384805"/>
                <a:gd name="connsiteY12" fmla="*/ 109903 h 212607"/>
                <a:gd name="connsiteX13" fmla="*/ 202263 w 384805"/>
                <a:gd name="connsiteY13" fmla="*/ 34511 h 212607"/>
                <a:gd name="connsiteX14" fmla="*/ 339528 w 384805"/>
                <a:gd name="connsiteY14" fmla="*/ -27 h 212607"/>
                <a:gd name="connsiteX15" fmla="*/ 337554 w 384805"/>
                <a:gd name="connsiteY15" fmla="*/ 16601 h 212607"/>
                <a:gd name="connsiteX16" fmla="*/ 368984 w 384805"/>
                <a:gd name="connsiteY16" fmla="*/ 51139 h 212607"/>
                <a:gd name="connsiteX17" fmla="*/ 364987 w 384805"/>
                <a:gd name="connsiteY17" fmla="*/ 63227 h 212607"/>
                <a:gd name="connsiteX18" fmla="*/ 384723 w 384805"/>
                <a:gd name="connsiteY18" fmla="*/ 84345 h 212607"/>
                <a:gd name="connsiteX19" fmla="*/ 376879 w 384805"/>
                <a:gd name="connsiteY19" fmla="*/ 85825 h 212607"/>
                <a:gd name="connsiteX20" fmla="*/ 365086 w 384805"/>
                <a:gd name="connsiteY20" fmla="*/ 88835 h 212607"/>
                <a:gd name="connsiteX21" fmla="*/ 351419 w 384805"/>
                <a:gd name="connsiteY21" fmla="*/ 102453 h 212607"/>
                <a:gd name="connsiteX22" fmla="*/ 349445 w 384805"/>
                <a:gd name="connsiteY22" fmla="*/ 109953 h 212607"/>
                <a:gd name="connsiteX23" fmla="*/ 353343 w 384805"/>
                <a:gd name="connsiteY23" fmla="*/ 111482 h 212607"/>
                <a:gd name="connsiteX24" fmla="*/ 351419 w 384805"/>
                <a:gd name="connsiteY24" fmla="*/ 113012 h 212607"/>
                <a:gd name="connsiteX25" fmla="*/ 353343 w 384805"/>
                <a:gd name="connsiteY25" fmla="*/ 116021 h 212607"/>
                <a:gd name="connsiteX26" fmla="*/ 337653 w 384805"/>
                <a:gd name="connsiteY26" fmla="*/ 119031 h 212607"/>
                <a:gd name="connsiteX27" fmla="*/ 331781 w 384805"/>
                <a:gd name="connsiteY27" fmla="*/ 126580 h 212607"/>
                <a:gd name="connsiteX28" fmla="*/ 316091 w 384805"/>
                <a:gd name="connsiteY28" fmla="*/ 131070 h 212607"/>
                <a:gd name="connsiteX29" fmla="*/ 294529 w 384805"/>
                <a:gd name="connsiteY29" fmla="*/ 135610 h 212607"/>
                <a:gd name="connsiteX30" fmla="*/ 292556 w 384805"/>
                <a:gd name="connsiteY30" fmla="*/ 138619 h 212607"/>
                <a:gd name="connsiteX31" fmla="*/ 249433 w 384805"/>
                <a:gd name="connsiteY31" fmla="*/ 149178 h 212607"/>
                <a:gd name="connsiteX32" fmla="*/ 247459 w 384805"/>
                <a:gd name="connsiteY32" fmla="*/ 149178 h 212607"/>
                <a:gd name="connsiteX33" fmla="*/ 239613 w 384805"/>
                <a:gd name="connsiteY33" fmla="*/ 150708 h 212607"/>
                <a:gd name="connsiteX34" fmla="*/ 233742 w 384805"/>
                <a:gd name="connsiteY34" fmla="*/ 161267 h 212607"/>
                <a:gd name="connsiteX35" fmla="*/ 223874 w 384805"/>
                <a:gd name="connsiteY35" fmla="*/ 168816 h 212607"/>
                <a:gd name="connsiteX36" fmla="*/ 215832 w 384805"/>
                <a:gd name="connsiteY36" fmla="*/ 168816 h 212607"/>
                <a:gd name="connsiteX37" fmla="*/ 213858 w 384805"/>
                <a:gd name="connsiteY37" fmla="*/ 167286 h 212607"/>
                <a:gd name="connsiteX38" fmla="*/ 211933 w 384805"/>
                <a:gd name="connsiteY38" fmla="*/ 168816 h 212607"/>
                <a:gd name="connsiteX39" fmla="*/ 206013 w 384805"/>
                <a:gd name="connsiteY39" fmla="*/ 170296 h 212607"/>
                <a:gd name="connsiteX40" fmla="*/ 202115 w 384805"/>
                <a:gd name="connsiteY40" fmla="*/ 167286 h 212607"/>
                <a:gd name="connsiteX41" fmla="*/ 196095 w 384805"/>
                <a:gd name="connsiteY41" fmla="*/ 167286 h 212607"/>
                <a:gd name="connsiteX42" fmla="*/ 182379 w 384805"/>
                <a:gd name="connsiteY42" fmla="*/ 176365 h 212607"/>
                <a:gd name="connsiteX43" fmla="*/ 182379 w 384805"/>
                <a:gd name="connsiteY43" fmla="*/ 179375 h 212607"/>
                <a:gd name="connsiteX44" fmla="*/ 178481 w 384805"/>
                <a:gd name="connsiteY44" fmla="*/ 183914 h 212607"/>
                <a:gd name="connsiteX45" fmla="*/ 164715 w 384805"/>
                <a:gd name="connsiteY45" fmla="*/ 183914 h 212607"/>
                <a:gd name="connsiteX46" fmla="*/ 147100 w 384805"/>
                <a:gd name="connsiteY46" fmla="*/ 189933 h 212607"/>
                <a:gd name="connsiteX47" fmla="*/ 141229 w 384805"/>
                <a:gd name="connsiteY47" fmla="*/ 188404 h 212607"/>
                <a:gd name="connsiteX48" fmla="*/ 137282 w 384805"/>
                <a:gd name="connsiteY48" fmla="*/ 185394 h 212607"/>
                <a:gd name="connsiteX49" fmla="*/ 127413 w 384805"/>
                <a:gd name="connsiteY49" fmla="*/ 186923 h 212607"/>
                <a:gd name="connsiteX50" fmla="*/ 127413 w 384805"/>
                <a:gd name="connsiteY50" fmla="*/ 185394 h 212607"/>
                <a:gd name="connsiteX51" fmla="*/ 121542 w 384805"/>
                <a:gd name="connsiteY51" fmla="*/ 183914 h 212607"/>
                <a:gd name="connsiteX52" fmla="*/ 115670 w 384805"/>
                <a:gd name="connsiteY52" fmla="*/ 185394 h 212607"/>
                <a:gd name="connsiteX53" fmla="*/ 107825 w 384805"/>
                <a:gd name="connsiteY53" fmla="*/ 189933 h 212607"/>
                <a:gd name="connsiteX54" fmla="*/ 103879 w 384805"/>
                <a:gd name="connsiteY54" fmla="*/ 197482 h 212607"/>
                <a:gd name="connsiteX55" fmla="*/ 99981 w 384805"/>
                <a:gd name="connsiteY55" fmla="*/ 200492 h 212607"/>
                <a:gd name="connsiteX56" fmla="*/ 94059 w 384805"/>
                <a:gd name="connsiteY56" fmla="*/ 208041 h 212607"/>
                <a:gd name="connsiteX57" fmla="*/ 86214 w 384805"/>
                <a:gd name="connsiteY57" fmla="*/ 209521 h 212607"/>
                <a:gd name="connsiteX58" fmla="*/ 80393 w 384805"/>
                <a:gd name="connsiteY58" fmla="*/ 206512 h 212607"/>
                <a:gd name="connsiteX59" fmla="*/ 74471 w 384805"/>
                <a:gd name="connsiteY59" fmla="*/ 206512 h 212607"/>
                <a:gd name="connsiteX60" fmla="*/ 68600 w 384805"/>
                <a:gd name="connsiteY60" fmla="*/ 211051 h 212607"/>
                <a:gd name="connsiteX61" fmla="*/ 62728 w 384805"/>
                <a:gd name="connsiteY61" fmla="*/ 212580 h 212607"/>
                <a:gd name="connsiteX62" fmla="*/ 52860 w 384805"/>
                <a:gd name="connsiteY62" fmla="*/ 209521 h 212607"/>
                <a:gd name="connsiteX63" fmla="*/ 48963 w 384805"/>
                <a:gd name="connsiteY63" fmla="*/ 212580 h 212607"/>
                <a:gd name="connsiteX64" fmla="*/ 41117 w 384805"/>
                <a:gd name="connsiteY64" fmla="*/ 212580 h 212607"/>
                <a:gd name="connsiteX65" fmla="*/ 39143 w 384805"/>
                <a:gd name="connsiteY65" fmla="*/ 208041 h 212607"/>
                <a:gd name="connsiteX66" fmla="*/ 37170 w 384805"/>
                <a:gd name="connsiteY66" fmla="*/ 200492 h 212607"/>
                <a:gd name="connsiteX67" fmla="*/ 31299 w 384805"/>
                <a:gd name="connsiteY67" fmla="*/ 192943 h 212607"/>
                <a:gd name="connsiteX68" fmla="*/ 27352 w 384805"/>
                <a:gd name="connsiteY68" fmla="*/ 185394 h 212607"/>
                <a:gd name="connsiteX69" fmla="*/ 31299 w 384805"/>
                <a:gd name="connsiteY69" fmla="*/ 182384 h 212607"/>
                <a:gd name="connsiteX70" fmla="*/ 29325 w 384805"/>
                <a:gd name="connsiteY70" fmla="*/ 174835 h 212607"/>
                <a:gd name="connsiteX71" fmla="*/ 21480 w 384805"/>
                <a:gd name="connsiteY71" fmla="*/ 165806 h 212607"/>
                <a:gd name="connsiteX72" fmla="*/ 17533 w 384805"/>
                <a:gd name="connsiteY72" fmla="*/ 138619 h 212607"/>
                <a:gd name="connsiteX73" fmla="*/ 5790 w 384805"/>
                <a:gd name="connsiteY73" fmla="*/ 129590 h 212607"/>
                <a:gd name="connsiteX74" fmla="*/ 5790 w 384805"/>
                <a:gd name="connsiteY74" fmla="*/ 125051 h 212607"/>
                <a:gd name="connsiteX75" fmla="*/ 1892 w 384805"/>
                <a:gd name="connsiteY75" fmla="*/ 125051 h 212607"/>
                <a:gd name="connsiteX76" fmla="*/ -82 w 384805"/>
                <a:gd name="connsiteY76" fmla="*/ 119031 h 212607"/>
                <a:gd name="connsiteX77" fmla="*/ 5790 w 384805"/>
                <a:gd name="connsiteY77" fmla="*/ 122041 h 212607"/>
                <a:gd name="connsiteX78" fmla="*/ 5790 w 384805"/>
                <a:gd name="connsiteY78" fmla="*/ 117502 h 212607"/>
                <a:gd name="connsiteX79" fmla="*/ 9737 w 384805"/>
                <a:gd name="connsiteY79" fmla="*/ 117502 h 212607"/>
                <a:gd name="connsiteX80" fmla="*/ 9737 w 384805"/>
                <a:gd name="connsiteY80" fmla="*/ 108472 h 212607"/>
                <a:gd name="connsiteX81" fmla="*/ 7763 w 384805"/>
                <a:gd name="connsiteY81" fmla="*/ 91894 h 212607"/>
                <a:gd name="connsiteX82" fmla="*/ 5790 w 384805"/>
                <a:gd name="connsiteY82" fmla="*/ 87355 h 21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384805" h="212607">
                  <a:moveTo>
                    <a:pt x="5839" y="87305"/>
                  </a:moveTo>
                  <a:lnTo>
                    <a:pt x="11711" y="87305"/>
                  </a:lnTo>
                  <a:lnTo>
                    <a:pt x="17582" y="88786"/>
                  </a:lnTo>
                  <a:lnTo>
                    <a:pt x="21529" y="84296"/>
                  </a:lnTo>
                  <a:lnTo>
                    <a:pt x="31397" y="78227"/>
                  </a:lnTo>
                  <a:lnTo>
                    <a:pt x="25477" y="69197"/>
                  </a:lnTo>
                  <a:lnTo>
                    <a:pt x="29424" y="54099"/>
                  </a:lnTo>
                  <a:lnTo>
                    <a:pt x="39292" y="49560"/>
                  </a:lnTo>
                  <a:lnTo>
                    <a:pt x="49160" y="57109"/>
                  </a:lnTo>
                  <a:lnTo>
                    <a:pt x="72646" y="58639"/>
                  </a:lnTo>
                  <a:lnTo>
                    <a:pt x="102250" y="69197"/>
                  </a:lnTo>
                  <a:lnTo>
                    <a:pt x="135555" y="81237"/>
                  </a:lnTo>
                  <a:lnTo>
                    <a:pt x="137528" y="109903"/>
                  </a:lnTo>
                  <a:lnTo>
                    <a:pt x="202263" y="34511"/>
                  </a:lnTo>
                  <a:lnTo>
                    <a:pt x="339528" y="-27"/>
                  </a:lnTo>
                  <a:lnTo>
                    <a:pt x="337554" y="16601"/>
                  </a:lnTo>
                  <a:lnTo>
                    <a:pt x="368984" y="51139"/>
                  </a:lnTo>
                  <a:lnTo>
                    <a:pt x="364987" y="63227"/>
                  </a:lnTo>
                  <a:lnTo>
                    <a:pt x="384723" y="84345"/>
                  </a:lnTo>
                  <a:lnTo>
                    <a:pt x="376879" y="85825"/>
                  </a:lnTo>
                  <a:lnTo>
                    <a:pt x="365086" y="88835"/>
                  </a:lnTo>
                  <a:lnTo>
                    <a:pt x="351419" y="102453"/>
                  </a:lnTo>
                  <a:lnTo>
                    <a:pt x="349445" y="109953"/>
                  </a:lnTo>
                  <a:lnTo>
                    <a:pt x="353343" y="111482"/>
                  </a:lnTo>
                  <a:lnTo>
                    <a:pt x="351419" y="113012"/>
                  </a:lnTo>
                  <a:lnTo>
                    <a:pt x="353343" y="116021"/>
                  </a:lnTo>
                  <a:lnTo>
                    <a:pt x="337653" y="119031"/>
                  </a:lnTo>
                  <a:lnTo>
                    <a:pt x="331781" y="126580"/>
                  </a:lnTo>
                  <a:lnTo>
                    <a:pt x="316091" y="131070"/>
                  </a:lnTo>
                  <a:lnTo>
                    <a:pt x="294529" y="135610"/>
                  </a:lnTo>
                  <a:lnTo>
                    <a:pt x="292556" y="138619"/>
                  </a:lnTo>
                  <a:lnTo>
                    <a:pt x="249433" y="149178"/>
                  </a:lnTo>
                  <a:lnTo>
                    <a:pt x="247459" y="149178"/>
                  </a:lnTo>
                  <a:lnTo>
                    <a:pt x="239613" y="150708"/>
                  </a:lnTo>
                  <a:lnTo>
                    <a:pt x="233742" y="161267"/>
                  </a:lnTo>
                  <a:lnTo>
                    <a:pt x="223874" y="168816"/>
                  </a:lnTo>
                  <a:lnTo>
                    <a:pt x="215832" y="168816"/>
                  </a:lnTo>
                  <a:lnTo>
                    <a:pt x="213858" y="167286"/>
                  </a:lnTo>
                  <a:lnTo>
                    <a:pt x="211933" y="168816"/>
                  </a:lnTo>
                  <a:lnTo>
                    <a:pt x="206013" y="170296"/>
                  </a:lnTo>
                  <a:lnTo>
                    <a:pt x="202115" y="167286"/>
                  </a:lnTo>
                  <a:lnTo>
                    <a:pt x="196095" y="167286"/>
                  </a:lnTo>
                  <a:lnTo>
                    <a:pt x="182379" y="176365"/>
                  </a:lnTo>
                  <a:lnTo>
                    <a:pt x="182379" y="179375"/>
                  </a:lnTo>
                  <a:lnTo>
                    <a:pt x="178481" y="183914"/>
                  </a:lnTo>
                  <a:lnTo>
                    <a:pt x="164715" y="183914"/>
                  </a:lnTo>
                  <a:lnTo>
                    <a:pt x="147100" y="189933"/>
                  </a:lnTo>
                  <a:lnTo>
                    <a:pt x="141229" y="188404"/>
                  </a:lnTo>
                  <a:lnTo>
                    <a:pt x="137282" y="185394"/>
                  </a:lnTo>
                  <a:lnTo>
                    <a:pt x="127413" y="186923"/>
                  </a:lnTo>
                  <a:lnTo>
                    <a:pt x="127413" y="185394"/>
                  </a:lnTo>
                  <a:lnTo>
                    <a:pt x="121542" y="183914"/>
                  </a:lnTo>
                  <a:lnTo>
                    <a:pt x="115670" y="185394"/>
                  </a:lnTo>
                  <a:lnTo>
                    <a:pt x="107825" y="189933"/>
                  </a:lnTo>
                  <a:lnTo>
                    <a:pt x="103879" y="197482"/>
                  </a:lnTo>
                  <a:lnTo>
                    <a:pt x="99981" y="200492"/>
                  </a:lnTo>
                  <a:lnTo>
                    <a:pt x="94059" y="208041"/>
                  </a:lnTo>
                  <a:lnTo>
                    <a:pt x="86214" y="209521"/>
                  </a:lnTo>
                  <a:lnTo>
                    <a:pt x="80393" y="206512"/>
                  </a:lnTo>
                  <a:lnTo>
                    <a:pt x="74471" y="206512"/>
                  </a:lnTo>
                  <a:lnTo>
                    <a:pt x="68600" y="211051"/>
                  </a:lnTo>
                  <a:lnTo>
                    <a:pt x="62728" y="212580"/>
                  </a:lnTo>
                  <a:lnTo>
                    <a:pt x="52860" y="209521"/>
                  </a:lnTo>
                  <a:lnTo>
                    <a:pt x="48963" y="212580"/>
                  </a:lnTo>
                  <a:lnTo>
                    <a:pt x="41117" y="212580"/>
                  </a:lnTo>
                  <a:lnTo>
                    <a:pt x="39143" y="208041"/>
                  </a:lnTo>
                  <a:lnTo>
                    <a:pt x="37170" y="200492"/>
                  </a:lnTo>
                  <a:lnTo>
                    <a:pt x="31299" y="192943"/>
                  </a:lnTo>
                  <a:lnTo>
                    <a:pt x="27352" y="185394"/>
                  </a:lnTo>
                  <a:lnTo>
                    <a:pt x="31299" y="182384"/>
                  </a:lnTo>
                  <a:lnTo>
                    <a:pt x="29325" y="174835"/>
                  </a:lnTo>
                  <a:lnTo>
                    <a:pt x="21480" y="165806"/>
                  </a:lnTo>
                  <a:lnTo>
                    <a:pt x="17533" y="138619"/>
                  </a:lnTo>
                  <a:lnTo>
                    <a:pt x="5790" y="129590"/>
                  </a:lnTo>
                  <a:lnTo>
                    <a:pt x="5790" y="125051"/>
                  </a:lnTo>
                  <a:lnTo>
                    <a:pt x="1892" y="125051"/>
                  </a:lnTo>
                  <a:lnTo>
                    <a:pt x="-82" y="119031"/>
                  </a:lnTo>
                  <a:lnTo>
                    <a:pt x="5790" y="122041"/>
                  </a:lnTo>
                  <a:lnTo>
                    <a:pt x="5790" y="117502"/>
                  </a:lnTo>
                  <a:lnTo>
                    <a:pt x="9737" y="117502"/>
                  </a:lnTo>
                  <a:lnTo>
                    <a:pt x="9737" y="108472"/>
                  </a:lnTo>
                  <a:lnTo>
                    <a:pt x="7763" y="91894"/>
                  </a:lnTo>
                  <a:lnTo>
                    <a:pt x="5790" y="8735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Graphic 2">
              <a:extLst>
                <a:ext uri="{FF2B5EF4-FFF2-40B4-BE49-F238E27FC236}">
                  <a16:creationId xmlns:a16="http://schemas.microsoft.com/office/drawing/2014/main" id="{AF06DFB7-9EC8-415D-8443-F02D6496278F}"/>
                </a:ext>
              </a:extLst>
            </p:cNvPr>
            <p:cNvSpPr/>
            <p:nvPr/>
          </p:nvSpPr>
          <p:spPr>
            <a:xfrm>
              <a:off x="6200967" y="3715899"/>
              <a:ext cx="410249" cy="294990"/>
            </a:xfrm>
            <a:custGeom>
              <a:avLst/>
              <a:gdLst>
                <a:gd name="connsiteX0" fmla="*/ 359412 w 451562"/>
                <a:gd name="connsiteY0" fmla="*/ 75858 h 324708"/>
                <a:gd name="connsiteX1" fmla="*/ 355465 w 451562"/>
                <a:gd name="connsiteY1" fmla="*/ 66730 h 324708"/>
                <a:gd name="connsiteX2" fmla="*/ 359412 w 451562"/>
                <a:gd name="connsiteY2" fmla="*/ 59132 h 324708"/>
                <a:gd name="connsiteX3" fmla="*/ 351567 w 451562"/>
                <a:gd name="connsiteY3" fmla="*/ 42455 h 324708"/>
                <a:gd name="connsiteX4" fmla="*/ 341699 w 451562"/>
                <a:gd name="connsiteY4" fmla="*/ 30317 h 324708"/>
                <a:gd name="connsiteX5" fmla="*/ 337752 w 451562"/>
                <a:gd name="connsiteY5" fmla="*/ 18179 h 324708"/>
                <a:gd name="connsiteX6" fmla="*/ 329906 w 451562"/>
                <a:gd name="connsiteY6" fmla="*/ 9101 h 324708"/>
                <a:gd name="connsiteX7" fmla="*/ 325960 w 451562"/>
                <a:gd name="connsiteY7" fmla="*/ 7571 h 324708"/>
                <a:gd name="connsiteX8" fmla="*/ 322061 w 451562"/>
                <a:gd name="connsiteY8" fmla="*/ 13640 h 324708"/>
                <a:gd name="connsiteX9" fmla="*/ 312193 w 451562"/>
                <a:gd name="connsiteY9" fmla="*/ 16650 h 324708"/>
                <a:gd name="connsiteX10" fmla="*/ 288609 w 451562"/>
                <a:gd name="connsiteY10" fmla="*/ 13640 h 324708"/>
                <a:gd name="connsiteX11" fmla="*/ 270945 w 451562"/>
                <a:gd name="connsiteY11" fmla="*/ 16650 h 324708"/>
                <a:gd name="connsiteX12" fmla="*/ 257228 w 451562"/>
                <a:gd name="connsiteY12" fmla="*/ 9101 h 324708"/>
                <a:gd name="connsiteX13" fmla="*/ 255254 w 451562"/>
                <a:gd name="connsiteY13" fmla="*/ 15170 h 324708"/>
                <a:gd name="connsiteX14" fmla="*/ 259153 w 451562"/>
                <a:gd name="connsiteY14" fmla="*/ 19709 h 324708"/>
                <a:gd name="connsiteX15" fmla="*/ 259153 w 451562"/>
                <a:gd name="connsiteY15" fmla="*/ 24248 h 324708"/>
                <a:gd name="connsiteX16" fmla="*/ 255254 w 451562"/>
                <a:gd name="connsiteY16" fmla="*/ 18179 h 324708"/>
                <a:gd name="connsiteX17" fmla="*/ 247410 w 451562"/>
                <a:gd name="connsiteY17" fmla="*/ 15170 h 324708"/>
                <a:gd name="connsiteX18" fmla="*/ 247410 w 451562"/>
                <a:gd name="connsiteY18" fmla="*/ 10630 h 324708"/>
                <a:gd name="connsiteX19" fmla="*/ 249334 w 451562"/>
                <a:gd name="connsiteY19" fmla="*/ 9101 h 324708"/>
                <a:gd name="connsiteX20" fmla="*/ 247410 w 451562"/>
                <a:gd name="connsiteY20" fmla="*/ 6091 h 324708"/>
                <a:gd name="connsiteX21" fmla="*/ 241489 w 451562"/>
                <a:gd name="connsiteY21" fmla="*/ 6091 h 324708"/>
                <a:gd name="connsiteX22" fmla="*/ 233643 w 451562"/>
                <a:gd name="connsiteY22" fmla="*/ 4562 h 324708"/>
                <a:gd name="connsiteX23" fmla="*/ 221900 w 451562"/>
                <a:gd name="connsiteY23" fmla="*/ -27 h 324708"/>
                <a:gd name="connsiteX24" fmla="*/ 219878 w 451562"/>
                <a:gd name="connsiteY24" fmla="*/ 4562 h 324708"/>
                <a:gd name="connsiteX25" fmla="*/ 223825 w 451562"/>
                <a:gd name="connsiteY25" fmla="*/ 4562 h 324708"/>
                <a:gd name="connsiteX26" fmla="*/ 225798 w 451562"/>
                <a:gd name="connsiteY26" fmla="*/ 6091 h 324708"/>
                <a:gd name="connsiteX27" fmla="*/ 217953 w 451562"/>
                <a:gd name="connsiteY27" fmla="*/ 7571 h 324708"/>
                <a:gd name="connsiteX28" fmla="*/ 212082 w 451562"/>
                <a:gd name="connsiteY28" fmla="*/ 6091 h 324708"/>
                <a:gd name="connsiteX29" fmla="*/ 204187 w 451562"/>
                <a:gd name="connsiteY29" fmla="*/ 9101 h 324708"/>
                <a:gd name="connsiteX30" fmla="*/ 202263 w 451562"/>
                <a:gd name="connsiteY30" fmla="*/ 7571 h 324708"/>
                <a:gd name="connsiteX31" fmla="*/ 202263 w 451562"/>
                <a:gd name="connsiteY31" fmla="*/ 6091 h 324708"/>
                <a:gd name="connsiteX32" fmla="*/ 210454 w 451562"/>
                <a:gd name="connsiteY32" fmla="*/ 6091 h 324708"/>
                <a:gd name="connsiteX33" fmla="*/ 214352 w 451562"/>
                <a:gd name="connsiteY33" fmla="*/ 3032 h 324708"/>
                <a:gd name="connsiteX34" fmla="*/ 208480 w 451562"/>
                <a:gd name="connsiteY34" fmla="*/ 4562 h 324708"/>
                <a:gd name="connsiteX35" fmla="*/ 196687 w 451562"/>
                <a:gd name="connsiteY35" fmla="*/ 4562 h 324708"/>
                <a:gd name="connsiteX36" fmla="*/ 192790 w 451562"/>
                <a:gd name="connsiteY36" fmla="*/ 7571 h 324708"/>
                <a:gd name="connsiteX37" fmla="*/ 182922 w 451562"/>
                <a:gd name="connsiteY37" fmla="*/ 10630 h 324708"/>
                <a:gd name="connsiteX38" fmla="*/ 178974 w 451562"/>
                <a:gd name="connsiteY38" fmla="*/ 13640 h 324708"/>
                <a:gd name="connsiteX39" fmla="*/ 171130 w 451562"/>
                <a:gd name="connsiteY39" fmla="*/ 15170 h 324708"/>
                <a:gd name="connsiteX40" fmla="*/ 161261 w 451562"/>
                <a:gd name="connsiteY40" fmla="*/ 21239 h 324708"/>
                <a:gd name="connsiteX41" fmla="*/ 159288 w 451562"/>
                <a:gd name="connsiteY41" fmla="*/ 24248 h 324708"/>
                <a:gd name="connsiteX42" fmla="*/ 147545 w 451562"/>
                <a:gd name="connsiteY42" fmla="*/ 24248 h 324708"/>
                <a:gd name="connsiteX43" fmla="*/ 135752 w 451562"/>
                <a:gd name="connsiteY43" fmla="*/ 18179 h 324708"/>
                <a:gd name="connsiteX44" fmla="*/ 125884 w 451562"/>
                <a:gd name="connsiteY44" fmla="*/ 16650 h 324708"/>
                <a:gd name="connsiteX45" fmla="*/ 114092 w 451562"/>
                <a:gd name="connsiteY45" fmla="*/ 18179 h 324708"/>
                <a:gd name="connsiteX46" fmla="*/ 104224 w 451562"/>
                <a:gd name="connsiteY46" fmla="*/ 12111 h 324708"/>
                <a:gd name="connsiteX47" fmla="*/ 100277 w 451562"/>
                <a:gd name="connsiteY47" fmla="*/ 12111 h 324708"/>
                <a:gd name="connsiteX48" fmla="*/ 94405 w 451562"/>
                <a:gd name="connsiteY48" fmla="*/ 15170 h 324708"/>
                <a:gd name="connsiteX49" fmla="*/ 84537 w 451562"/>
                <a:gd name="connsiteY49" fmla="*/ 9101 h 324708"/>
                <a:gd name="connsiteX50" fmla="*/ 74669 w 451562"/>
                <a:gd name="connsiteY50" fmla="*/ 6091 h 324708"/>
                <a:gd name="connsiteX51" fmla="*/ 45065 w 451562"/>
                <a:gd name="connsiteY51" fmla="*/ 4562 h 324708"/>
                <a:gd name="connsiteX52" fmla="*/ 31348 w 451562"/>
                <a:gd name="connsiteY52" fmla="*/ -27 h 324708"/>
                <a:gd name="connsiteX53" fmla="*/ 13635 w 451562"/>
                <a:gd name="connsiteY53" fmla="*/ -27 h 324708"/>
                <a:gd name="connsiteX54" fmla="*/ 9737 w 451562"/>
                <a:gd name="connsiteY54" fmla="*/ 3032 h 324708"/>
                <a:gd name="connsiteX55" fmla="*/ 9737 w 451562"/>
                <a:gd name="connsiteY55" fmla="*/ 3032 h 324708"/>
                <a:gd name="connsiteX56" fmla="*/ 7764 w 451562"/>
                <a:gd name="connsiteY56" fmla="*/ 7571 h 324708"/>
                <a:gd name="connsiteX57" fmla="*/ 5790 w 451562"/>
                <a:gd name="connsiteY57" fmla="*/ 19709 h 324708"/>
                <a:gd name="connsiteX58" fmla="*/ 7764 w 451562"/>
                <a:gd name="connsiteY58" fmla="*/ 27308 h 324708"/>
                <a:gd name="connsiteX59" fmla="*/ 7764 w 451562"/>
                <a:gd name="connsiteY59" fmla="*/ 36386 h 324708"/>
                <a:gd name="connsiteX60" fmla="*/ 3816 w 451562"/>
                <a:gd name="connsiteY60" fmla="*/ 45514 h 324708"/>
                <a:gd name="connsiteX61" fmla="*/ -82 w 451562"/>
                <a:gd name="connsiteY61" fmla="*/ 56122 h 324708"/>
                <a:gd name="connsiteX62" fmla="*/ 3816 w 451562"/>
                <a:gd name="connsiteY62" fmla="*/ 63671 h 324708"/>
                <a:gd name="connsiteX63" fmla="*/ 7764 w 451562"/>
                <a:gd name="connsiteY63" fmla="*/ 78868 h 324708"/>
                <a:gd name="connsiteX64" fmla="*/ 19556 w 451562"/>
                <a:gd name="connsiteY64" fmla="*/ 324682 h 324708"/>
                <a:gd name="connsiteX65" fmla="*/ 451481 w 451562"/>
                <a:gd name="connsiteY65" fmla="*/ 321623 h 324708"/>
                <a:gd name="connsiteX66" fmla="*/ 451481 w 451562"/>
                <a:gd name="connsiteY66" fmla="*/ 321623 h 324708"/>
                <a:gd name="connsiteX67" fmla="*/ 445610 w 451562"/>
                <a:gd name="connsiteY67" fmla="*/ 320093 h 324708"/>
                <a:gd name="connsiteX68" fmla="*/ 435742 w 451562"/>
                <a:gd name="connsiteY68" fmla="*/ 311015 h 324708"/>
                <a:gd name="connsiteX69" fmla="*/ 433768 w 451562"/>
                <a:gd name="connsiteY69" fmla="*/ 308005 h 324708"/>
                <a:gd name="connsiteX70" fmla="*/ 425923 w 451562"/>
                <a:gd name="connsiteY70" fmla="*/ 306475 h 324708"/>
                <a:gd name="connsiteX71" fmla="*/ 421976 w 451562"/>
                <a:gd name="connsiteY71" fmla="*/ 298877 h 324708"/>
                <a:gd name="connsiteX72" fmla="*/ 418078 w 451562"/>
                <a:gd name="connsiteY72" fmla="*/ 300406 h 324708"/>
                <a:gd name="connsiteX73" fmla="*/ 412157 w 451562"/>
                <a:gd name="connsiteY73" fmla="*/ 300406 h 324708"/>
                <a:gd name="connsiteX74" fmla="*/ 398440 w 451562"/>
                <a:gd name="connsiteY74" fmla="*/ 294337 h 324708"/>
                <a:gd name="connsiteX75" fmla="*/ 394493 w 451562"/>
                <a:gd name="connsiteY75" fmla="*/ 277660 h 324708"/>
                <a:gd name="connsiteX76" fmla="*/ 394493 w 451562"/>
                <a:gd name="connsiteY76" fmla="*/ 263796 h 324708"/>
                <a:gd name="connsiteX77" fmla="*/ 392520 w 451562"/>
                <a:gd name="connsiteY77" fmla="*/ 260786 h 324708"/>
                <a:gd name="connsiteX78" fmla="*/ 392520 w 451562"/>
                <a:gd name="connsiteY78" fmla="*/ 257727 h 324708"/>
                <a:gd name="connsiteX79" fmla="*/ 396467 w 451562"/>
                <a:gd name="connsiteY79" fmla="*/ 259257 h 324708"/>
                <a:gd name="connsiteX80" fmla="*/ 408259 w 451562"/>
                <a:gd name="connsiteY80" fmla="*/ 260786 h 324708"/>
                <a:gd name="connsiteX81" fmla="*/ 402338 w 451562"/>
                <a:gd name="connsiteY81" fmla="*/ 256197 h 324708"/>
                <a:gd name="connsiteX82" fmla="*/ 398440 w 451562"/>
                <a:gd name="connsiteY82" fmla="*/ 256197 h 324708"/>
                <a:gd name="connsiteX83" fmla="*/ 393013 w 451562"/>
                <a:gd name="connsiteY83" fmla="*/ 248994 h 324708"/>
                <a:gd name="connsiteX84" fmla="*/ 391039 w 451562"/>
                <a:gd name="connsiteY84" fmla="*/ 247514 h 324708"/>
                <a:gd name="connsiteX85" fmla="*/ 391039 w 451562"/>
                <a:gd name="connsiteY85" fmla="*/ 248994 h 324708"/>
                <a:gd name="connsiteX86" fmla="*/ 387142 w 451562"/>
                <a:gd name="connsiteY86" fmla="*/ 245984 h 324708"/>
                <a:gd name="connsiteX87" fmla="*/ 385168 w 451562"/>
                <a:gd name="connsiteY87" fmla="*/ 236856 h 324708"/>
                <a:gd name="connsiteX88" fmla="*/ 371451 w 451562"/>
                <a:gd name="connsiteY88" fmla="*/ 220179 h 324708"/>
                <a:gd name="connsiteX89" fmla="*/ 363606 w 451562"/>
                <a:gd name="connsiteY89" fmla="*/ 215640 h 324708"/>
                <a:gd name="connsiteX90" fmla="*/ 361633 w 451562"/>
                <a:gd name="connsiteY90" fmla="*/ 206512 h 324708"/>
                <a:gd name="connsiteX91" fmla="*/ 340021 w 451562"/>
                <a:gd name="connsiteY91" fmla="*/ 177697 h 324708"/>
                <a:gd name="connsiteX92" fmla="*/ 340021 w 451562"/>
                <a:gd name="connsiteY92" fmla="*/ 171628 h 324708"/>
                <a:gd name="connsiteX93" fmla="*/ 334101 w 451562"/>
                <a:gd name="connsiteY93" fmla="*/ 167089 h 324708"/>
                <a:gd name="connsiteX94" fmla="*/ 334101 w 451562"/>
                <a:gd name="connsiteY94" fmla="*/ 154754 h 324708"/>
                <a:gd name="connsiteX95" fmla="*/ 330203 w 451562"/>
                <a:gd name="connsiteY95" fmla="*/ 150214 h 324708"/>
                <a:gd name="connsiteX96" fmla="*/ 330203 w 451562"/>
                <a:gd name="connsiteY96" fmla="*/ 147155 h 324708"/>
                <a:gd name="connsiteX97" fmla="*/ 318410 w 451562"/>
                <a:gd name="connsiteY97" fmla="*/ 136547 h 324708"/>
                <a:gd name="connsiteX98" fmla="*/ 318410 w 451562"/>
                <a:gd name="connsiteY98" fmla="*/ 125889 h 324708"/>
                <a:gd name="connsiteX99" fmla="*/ 316437 w 451562"/>
                <a:gd name="connsiteY99" fmla="*/ 121350 h 324708"/>
                <a:gd name="connsiteX100" fmla="*/ 294826 w 451562"/>
                <a:gd name="connsiteY100" fmla="*/ 106203 h 324708"/>
                <a:gd name="connsiteX101" fmla="*/ 292901 w 451562"/>
                <a:gd name="connsiteY101" fmla="*/ 101663 h 324708"/>
                <a:gd name="connsiteX102" fmla="*/ 281109 w 451562"/>
                <a:gd name="connsiteY102" fmla="*/ 87996 h 324708"/>
                <a:gd name="connsiteX103" fmla="*/ 281109 w 451562"/>
                <a:gd name="connsiteY103" fmla="*/ 81878 h 324708"/>
                <a:gd name="connsiteX104" fmla="*/ 273264 w 451562"/>
                <a:gd name="connsiteY104" fmla="*/ 72799 h 324708"/>
                <a:gd name="connsiteX105" fmla="*/ 273264 w 451562"/>
                <a:gd name="connsiteY105" fmla="*/ 65201 h 324708"/>
                <a:gd name="connsiteX106" fmla="*/ 275238 w 451562"/>
                <a:gd name="connsiteY106" fmla="*/ 62191 h 324708"/>
                <a:gd name="connsiteX107" fmla="*/ 277211 w 451562"/>
                <a:gd name="connsiteY107" fmla="*/ 63671 h 324708"/>
                <a:gd name="connsiteX108" fmla="*/ 279136 w 451562"/>
                <a:gd name="connsiteY108" fmla="*/ 63671 h 324708"/>
                <a:gd name="connsiteX109" fmla="*/ 281109 w 451562"/>
                <a:gd name="connsiteY109" fmla="*/ 71319 h 324708"/>
                <a:gd name="connsiteX110" fmla="*/ 285056 w 451562"/>
                <a:gd name="connsiteY110" fmla="*/ 74329 h 324708"/>
                <a:gd name="connsiteX111" fmla="*/ 285056 w 451562"/>
                <a:gd name="connsiteY111" fmla="*/ 78868 h 324708"/>
                <a:gd name="connsiteX112" fmla="*/ 298822 w 451562"/>
                <a:gd name="connsiteY112" fmla="*/ 89526 h 324708"/>
                <a:gd name="connsiteX113" fmla="*/ 298822 w 451562"/>
                <a:gd name="connsiteY113" fmla="*/ 95545 h 324708"/>
                <a:gd name="connsiteX114" fmla="*/ 304644 w 451562"/>
                <a:gd name="connsiteY114" fmla="*/ 101663 h 324708"/>
                <a:gd name="connsiteX115" fmla="*/ 312539 w 451562"/>
                <a:gd name="connsiteY115" fmla="*/ 104673 h 324708"/>
                <a:gd name="connsiteX116" fmla="*/ 314463 w 451562"/>
                <a:gd name="connsiteY116" fmla="*/ 112222 h 324708"/>
                <a:gd name="connsiteX117" fmla="*/ 332177 w 451562"/>
                <a:gd name="connsiteY117" fmla="*/ 125889 h 324708"/>
                <a:gd name="connsiteX118" fmla="*/ 342045 w 451562"/>
                <a:gd name="connsiteY118" fmla="*/ 130478 h 324708"/>
                <a:gd name="connsiteX119" fmla="*/ 344018 w 451562"/>
                <a:gd name="connsiteY119" fmla="*/ 132008 h 324708"/>
                <a:gd name="connsiteX120" fmla="*/ 344018 w 451562"/>
                <a:gd name="connsiteY120" fmla="*/ 128949 h 324708"/>
                <a:gd name="connsiteX121" fmla="*/ 349890 w 451562"/>
                <a:gd name="connsiteY121" fmla="*/ 124409 h 324708"/>
                <a:gd name="connsiteX122" fmla="*/ 351863 w 451562"/>
                <a:gd name="connsiteY122" fmla="*/ 115281 h 324708"/>
                <a:gd name="connsiteX123" fmla="*/ 349890 w 451562"/>
                <a:gd name="connsiteY123" fmla="*/ 112222 h 324708"/>
                <a:gd name="connsiteX124" fmla="*/ 353837 w 451562"/>
                <a:gd name="connsiteY124" fmla="*/ 101663 h 324708"/>
                <a:gd name="connsiteX125" fmla="*/ 353837 w 451562"/>
                <a:gd name="connsiteY125" fmla="*/ 95545 h 324708"/>
                <a:gd name="connsiteX126" fmla="*/ 359708 w 451562"/>
                <a:gd name="connsiteY126" fmla="*/ 77339 h 32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451562" h="324708">
                  <a:moveTo>
                    <a:pt x="359412" y="75858"/>
                  </a:moveTo>
                  <a:lnTo>
                    <a:pt x="355465" y="66730"/>
                  </a:lnTo>
                  <a:lnTo>
                    <a:pt x="359412" y="59132"/>
                  </a:lnTo>
                  <a:lnTo>
                    <a:pt x="351567" y="42455"/>
                  </a:lnTo>
                  <a:lnTo>
                    <a:pt x="341699" y="30317"/>
                  </a:lnTo>
                  <a:lnTo>
                    <a:pt x="337752" y="18179"/>
                  </a:lnTo>
                  <a:lnTo>
                    <a:pt x="329906" y="9101"/>
                  </a:lnTo>
                  <a:lnTo>
                    <a:pt x="325960" y="7571"/>
                  </a:lnTo>
                  <a:lnTo>
                    <a:pt x="322061" y="13640"/>
                  </a:lnTo>
                  <a:lnTo>
                    <a:pt x="312193" y="16650"/>
                  </a:lnTo>
                  <a:lnTo>
                    <a:pt x="288609" y="13640"/>
                  </a:lnTo>
                  <a:lnTo>
                    <a:pt x="270945" y="16650"/>
                  </a:lnTo>
                  <a:lnTo>
                    <a:pt x="257228" y="9101"/>
                  </a:lnTo>
                  <a:lnTo>
                    <a:pt x="255254" y="15170"/>
                  </a:lnTo>
                  <a:lnTo>
                    <a:pt x="259153" y="19709"/>
                  </a:lnTo>
                  <a:lnTo>
                    <a:pt x="259153" y="24248"/>
                  </a:lnTo>
                  <a:lnTo>
                    <a:pt x="255254" y="18179"/>
                  </a:lnTo>
                  <a:lnTo>
                    <a:pt x="247410" y="15170"/>
                  </a:lnTo>
                  <a:lnTo>
                    <a:pt x="247410" y="10630"/>
                  </a:lnTo>
                  <a:lnTo>
                    <a:pt x="249334" y="9101"/>
                  </a:lnTo>
                  <a:lnTo>
                    <a:pt x="247410" y="6091"/>
                  </a:lnTo>
                  <a:lnTo>
                    <a:pt x="241489" y="6091"/>
                  </a:lnTo>
                  <a:lnTo>
                    <a:pt x="233643" y="4562"/>
                  </a:lnTo>
                  <a:lnTo>
                    <a:pt x="221900" y="-27"/>
                  </a:lnTo>
                  <a:lnTo>
                    <a:pt x="219878" y="4562"/>
                  </a:lnTo>
                  <a:lnTo>
                    <a:pt x="223825" y="4562"/>
                  </a:lnTo>
                  <a:lnTo>
                    <a:pt x="225798" y="6091"/>
                  </a:lnTo>
                  <a:lnTo>
                    <a:pt x="217953" y="7571"/>
                  </a:lnTo>
                  <a:lnTo>
                    <a:pt x="212082" y="6091"/>
                  </a:lnTo>
                  <a:lnTo>
                    <a:pt x="204187" y="9101"/>
                  </a:lnTo>
                  <a:lnTo>
                    <a:pt x="202263" y="7571"/>
                  </a:lnTo>
                  <a:lnTo>
                    <a:pt x="202263" y="6091"/>
                  </a:lnTo>
                  <a:lnTo>
                    <a:pt x="210454" y="6091"/>
                  </a:lnTo>
                  <a:lnTo>
                    <a:pt x="214352" y="3032"/>
                  </a:lnTo>
                  <a:lnTo>
                    <a:pt x="208480" y="4562"/>
                  </a:lnTo>
                  <a:lnTo>
                    <a:pt x="196687" y="4562"/>
                  </a:lnTo>
                  <a:lnTo>
                    <a:pt x="192790" y="7571"/>
                  </a:lnTo>
                  <a:lnTo>
                    <a:pt x="182922" y="10630"/>
                  </a:lnTo>
                  <a:lnTo>
                    <a:pt x="178974" y="13640"/>
                  </a:lnTo>
                  <a:lnTo>
                    <a:pt x="171130" y="15170"/>
                  </a:lnTo>
                  <a:lnTo>
                    <a:pt x="161261" y="21239"/>
                  </a:lnTo>
                  <a:lnTo>
                    <a:pt x="159288" y="24248"/>
                  </a:lnTo>
                  <a:lnTo>
                    <a:pt x="147545" y="24248"/>
                  </a:lnTo>
                  <a:lnTo>
                    <a:pt x="135752" y="18179"/>
                  </a:lnTo>
                  <a:lnTo>
                    <a:pt x="125884" y="16650"/>
                  </a:lnTo>
                  <a:lnTo>
                    <a:pt x="114092" y="18179"/>
                  </a:lnTo>
                  <a:lnTo>
                    <a:pt x="104224" y="12111"/>
                  </a:lnTo>
                  <a:lnTo>
                    <a:pt x="100277" y="12111"/>
                  </a:lnTo>
                  <a:lnTo>
                    <a:pt x="94405" y="15170"/>
                  </a:lnTo>
                  <a:lnTo>
                    <a:pt x="84537" y="9101"/>
                  </a:lnTo>
                  <a:lnTo>
                    <a:pt x="74669" y="6091"/>
                  </a:lnTo>
                  <a:lnTo>
                    <a:pt x="45065" y="4562"/>
                  </a:lnTo>
                  <a:lnTo>
                    <a:pt x="31348" y="-27"/>
                  </a:lnTo>
                  <a:lnTo>
                    <a:pt x="13635" y="-27"/>
                  </a:lnTo>
                  <a:lnTo>
                    <a:pt x="9737" y="3032"/>
                  </a:lnTo>
                  <a:lnTo>
                    <a:pt x="9737" y="3032"/>
                  </a:lnTo>
                  <a:lnTo>
                    <a:pt x="7764" y="7571"/>
                  </a:lnTo>
                  <a:lnTo>
                    <a:pt x="5790" y="19709"/>
                  </a:lnTo>
                  <a:lnTo>
                    <a:pt x="7764" y="27308"/>
                  </a:lnTo>
                  <a:lnTo>
                    <a:pt x="7764" y="36386"/>
                  </a:lnTo>
                  <a:lnTo>
                    <a:pt x="3816" y="45514"/>
                  </a:lnTo>
                  <a:lnTo>
                    <a:pt x="-82" y="56122"/>
                  </a:lnTo>
                  <a:lnTo>
                    <a:pt x="3816" y="63671"/>
                  </a:lnTo>
                  <a:lnTo>
                    <a:pt x="7764" y="78868"/>
                  </a:lnTo>
                  <a:lnTo>
                    <a:pt x="19556" y="324682"/>
                  </a:lnTo>
                  <a:lnTo>
                    <a:pt x="451481" y="321623"/>
                  </a:lnTo>
                  <a:lnTo>
                    <a:pt x="451481" y="321623"/>
                  </a:lnTo>
                  <a:lnTo>
                    <a:pt x="445610" y="320093"/>
                  </a:lnTo>
                  <a:lnTo>
                    <a:pt x="435742" y="311015"/>
                  </a:lnTo>
                  <a:lnTo>
                    <a:pt x="433768" y="308005"/>
                  </a:lnTo>
                  <a:lnTo>
                    <a:pt x="425923" y="306475"/>
                  </a:lnTo>
                  <a:lnTo>
                    <a:pt x="421976" y="298877"/>
                  </a:lnTo>
                  <a:lnTo>
                    <a:pt x="418078" y="300406"/>
                  </a:lnTo>
                  <a:lnTo>
                    <a:pt x="412157" y="300406"/>
                  </a:lnTo>
                  <a:lnTo>
                    <a:pt x="398440" y="294337"/>
                  </a:lnTo>
                  <a:lnTo>
                    <a:pt x="394493" y="277660"/>
                  </a:lnTo>
                  <a:lnTo>
                    <a:pt x="394493" y="263796"/>
                  </a:lnTo>
                  <a:lnTo>
                    <a:pt x="392520" y="260786"/>
                  </a:lnTo>
                  <a:lnTo>
                    <a:pt x="392520" y="257727"/>
                  </a:lnTo>
                  <a:lnTo>
                    <a:pt x="396467" y="259257"/>
                  </a:lnTo>
                  <a:lnTo>
                    <a:pt x="408259" y="260786"/>
                  </a:lnTo>
                  <a:lnTo>
                    <a:pt x="402338" y="256197"/>
                  </a:lnTo>
                  <a:lnTo>
                    <a:pt x="398440" y="256197"/>
                  </a:lnTo>
                  <a:lnTo>
                    <a:pt x="393013" y="248994"/>
                  </a:lnTo>
                  <a:lnTo>
                    <a:pt x="391039" y="247514"/>
                  </a:lnTo>
                  <a:lnTo>
                    <a:pt x="391039" y="248994"/>
                  </a:lnTo>
                  <a:lnTo>
                    <a:pt x="387142" y="245984"/>
                  </a:lnTo>
                  <a:lnTo>
                    <a:pt x="385168" y="236856"/>
                  </a:lnTo>
                  <a:lnTo>
                    <a:pt x="371451" y="220179"/>
                  </a:lnTo>
                  <a:lnTo>
                    <a:pt x="363606" y="215640"/>
                  </a:lnTo>
                  <a:lnTo>
                    <a:pt x="361633" y="206512"/>
                  </a:lnTo>
                  <a:lnTo>
                    <a:pt x="340021" y="177697"/>
                  </a:lnTo>
                  <a:lnTo>
                    <a:pt x="340021" y="171628"/>
                  </a:lnTo>
                  <a:lnTo>
                    <a:pt x="334101" y="167089"/>
                  </a:lnTo>
                  <a:lnTo>
                    <a:pt x="334101" y="154754"/>
                  </a:lnTo>
                  <a:lnTo>
                    <a:pt x="330203" y="150214"/>
                  </a:lnTo>
                  <a:lnTo>
                    <a:pt x="330203" y="147155"/>
                  </a:lnTo>
                  <a:lnTo>
                    <a:pt x="318410" y="136547"/>
                  </a:lnTo>
                  <a:lnTo>
                    <a:pt x="318410" y="125889"/>
                  </a:lnTo>
                  <a:lnTo>
                    <a:pt x="316437" y="121350"/>
                  </a:lnTo>
                  <a:lnTo>
                    <a:pt x="294826" y="106203"/>
                  </a:lnTo>
                  <a:lnTo>
                    <a:pt x="292901" y="101663"/>
                  </a:lnTo>
                  <a:lnTo>
                    <a:pt x="281109" y="87996"/>
                  </a:lnTo>
                  <a:lnTo>
                    <a:pt x="281109" y="81878"/>
                  </a:lnTo>
                  <a:lnTo>
                    <a:pt x="273264" y="72799"/>
                  </a:lnTo>
                  <a:lnTo>
                    <a:pt x="273264" y="65201"/>
                  </a:lnTo>
                  <a:lnTo>
                    <a:pt x="275238" y="62191"/>
                  </a:lnTo>
                  <a:lnTo>
                    <a:pt x="277211" y="63671"/>
                  </a:lnTo>
                  <a:lnTo>
                    <a:pt x="279136" y="63671"/>
                  </a:lnTo>
                  <a:lnTo>
                    <a:pt x="281109" y="71319"/>
                  </a:lnTo>
                  <a:lnTo>
                    <a:pt x="285056" y="74329"/>
                  </a:lnTo>
                  <a:lnTo>
                    <a:pt x="285056" y="78868"/>
                  </a:lnTo>
                  <a:lnTo>
                    <a:pt x="298822" y="89526"/>
                  </a:lnTo>
                  <a:lnTo>
                    <a:pt x="298822" y="95545"/>
                  </a:lnTo>
                  <a:lnTo>
                    <a:pt x="304644" y="101663"/>
                  </a:lnTo>
                  <a:lnTo>
                    <a:pt x="312539" y="104673"/>
                  </a:lnTo>
                  <a:lnTo>
                    <a:pt x="314463" y="112222"/>
                  </a:lnTo>
                  <a:lnTo>
                    <a:pt x="332177" y="125889"/>
                  </a:lnTo>
                  <a:lnTo>
                    <a:pt x="342045" y="130478"/>
                  </a:lnTo>
                  <a:lnTo>
                    <a:pt x="344018" y="132008"/>
                  </a:lnTo>
                  <a:lnTo>
                    <a:pt x="344018" y="128949"/>
                  </a:lnTo>
                  <a:lnTo>
                    <a:pt x="349890" y="124409"/>
                  </a:lnTo>
                  <a:lnTo>
                    <a:pt x="351863" y="115281"/>
                  </a:lnTo>
                  <a:lnTo>
                    <a:pt x="349890" y="112222"/>
                  </a:lnTo>
                  <a:lnTo>
                    <a:pt x="353837" y="101663"/>
                  </a:lnTo>
                  <a:lnTo>
                    <a:pt x="353837" y="95545"/>
                  </a:lnTo>
                  <a:lnTo>
                    <a:pt x="359708" y="7733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Graphic 2">
              <a:extLst>
                <a:ext uri="{FF2B5EF4-FFF2-40B4-BE49-F238E27FC236}">
                  <a16:creationId xmlns:a16="http://schemas.microsoft.com/office/drawing/2014/main" id="{966AA481-1105-4336-B8B2-772997D1554C}"/>
                </a:ext>
              </a:extLst>
            </p:cNvPr>
            <p:cNvSpPr/>
            <p:nvPr/>
          </p:nvSpPr>
          <p:spPr>
            <a:xfrm>
              <a:off x="6126422" y="4007481"/>
              <a:ext cx="542668" cy="535831"/>
            </a:xfrm>
            <a:custGeom>
              <a:avLst/>
              <a:gdLst>
                <a:gd name="connsiteX0" fmla="*/ 101855 w 597314"/>
                <a:gd name="connsiteY0" fmla="*/ 3032 h 589814"/>
                <a:gd name="connsiteX1" fmla="*/ 532597 w 597314"/>
                <a:gd name="connsiteY1" fmla="*/ -27 h 589814"/>
                <a:gd name="connsiteX2" fmla="*/ 532597 w 597314"/>
                <a:gd name="connsiteY2" fmla="*/ 3032 h 589814"/>
                <a:gd name="connsiteX3" fmla="*/ 530574 w 597314"/>
                <a:gd name="connsiteY3" fmla="*/ 6042 h 589814"/>
                <a:gd name="connsiteX4" fmla="*/ 532597 w 597314"/>
                <a:gd name="connsiteY4" fmla="*/ 7571 h 589814"/>
                <a:gd name="connsiteX5" fmla="*/ 532597 w 597314"/>
                <a:gd name="connsiteY5" fmla="*/ 9101 h 589814"/>
                <a:gd name="connsiteX6" fmla="*/ 534521 w 597314"/>
                <a:gd name="connsiteY6" fmla="*/ 10630 h 589814"/>
                <a:gd name="connsiteX7" fmla="*/ 532597 w 597314"/>
                <a:gd name="connsiteY7" fmla="*/ 12160 h 589814"/>
                <a:gd name="connsiteX8" fmla="*/ 534521 w 597314"/>
                <a:gd name="connsiteY8" fmla="*/ 13690 h 589814"/>
                <a:gd name="connsiteX9" fmla="*/ 536494 w 597314"/>
                <a:gd name="connsiteY9" fmla="*/ 21337 h 589814"/>
                <a:gd name="connsiteX10" fmla="*/ 544340 w 597314"/>
                <a:gd name="connsiteY10" fmla="*/ 30465 h 589814"/>
                <a:gd name="connsiteX11" fmla="*/ 544340 w 597314"/>
                <a:gd name="connsiteY11" fmla="*/ 33475 h 589814"/>
                <a:gd name="connsiteX12" fmla="*/ 542366 w 597314"/>
                <a:gd name="connsiteY12" fmla="*/ 33475 h 589814"/>
                <a:gd name="connsiteX13" fmla="*/ 540393 w 597314"/>
                <a:gd name="connsiteY13" fmla="*/ 30465 h 589814"/>
                <a:gd name="connsiteX14" fmla="*/ 538419 w 597314"/>
                <a:gd name="connsiteY14" fmla="*/ 28936 h 589814"/>
                <a:gd name="connsiteX15" fmla="*/ 536494 w 597314"/>
                <a:gd name="connsiteY15" fmla="*/ 28936 h 589814"/>
                <a:gd name="connsiteX16" fmla="*/ 538419 w 597314"/>
                <a:gd name="connsiteY16" fmla="*/ 35005 h 589814"/>
                <a:gd name="connsiteX17" fmla="*/ 546264 w 597314"/>
                <a:gd name="connsiteY17" fmla="*/ 56369 h 589814"/>
                <a:gd name="connsiteX18" fmla="*/ 548237 w 597314"/>
                <a:gd name="connsiteY18" fmla="*/ 68507 h 589814"/>
                <a:gd name="connsiteX19" fmla="*/ 546264 w 597314"/>
                <a:gd name="connsiteY19" fmla="*/ 80743 h 589814"/>
                <a:gd name="connsiteX20" fmla="*/ 550211 w 597314"/>
                <a:gd name="connsiteY20" fmla="*/ 92881 h 589814"/>
                <a:gd name="connsiteX21" fmla="*/ 558007 w 597314"/>
                <a:gd name="connsiteY21" fmla="*/ 105117 h 589814"/>
                <a:gd name="connsiteX22" fmla="*/ 563879 w 597314"/>
                <a:gd name="connsiteY22" fmla="*/ 106647 h 589814"/>
                <a:gd name="connsiteX23" fmla="*/ 579569 w 597314"/>
                <a:gd name="connsiteY23" fmla="*/ 114245 h 589814"/>
                <a:gd name="connsiteX24" fmla="*/ 579569 w 597314"/>
                <a:gd name="connsiteY24" fmla="*/ 120462 h 589814"/>
                <a:gd name="connsiteX25" fmla="*/ 585440 w 597314"/>
                <a:gd name="connsiteY25" fmla="*/ 120462 h 589814"/>
                <a:gd name="connsiteX26" fmla="*/ 595308 w 597314"/>
                <a:gd name="connsiteY26" fmla="*/ 123521 h 589814"/>
                <a:gd name="connsiteX27" fmla="*/ 595308 w 597314"/>
                <a:gd name="connsiteY27" fmla="*/ 128110 h 589814"/>
                <a:gd name="connsiteX28" fmla="*/ 597233 w 597314"/>
                <a:gd name="connsiteY28" fmla="*/ 128110 h 589814"/>
                <a:gd name="connsiteX29" fmla="*/ 593285 w 597314"/>
                <a:gd name="connsiteY29" fmla="*/ 135758 h 589814"/>
                <a:gd name="connsiteX30" fmla="*/ 585490 w 597314"/>
                <a:gd name="connsiteY30" fmla="*/ 137238 h 589814"/>
                <a:gd name="connsiteX31" fmla="*/ 579618 w 597314"/>
                <a:gd name="connsiteY31" fmla="*/ 138768 h 589814"/>
                <a:gd name="connsiteX32" fmla="*/ 577645 w 597314"/>
                <a:gd name="connsiteY32" fmla="*/ 143356 h 589814"/>
                <a:gd name="connsiteX33" fmla="*/ 569849 w 597314"/>
                <a:gd name="connsiteY33" fmla="*/ 141827 h 589814"/>
                <a:gd name="connsiteX34" fmla="*/ 565902 w 597314"/>
                <a:gd name="connsiteY34" fmla="*/ 144886 h 589814"/>
                <a:gd name="connsiteX35" fmla="*/ 560030 w 597314"/>
                <a:gd name="connsiteY35" fmla="*/ 146366 h 589814"/>
                <a:gd name="connsiteX36" fmla="*/ 558056 w 597314"/>
                <a:gd name="connsiteY36" fmla="*/ 149425 h 589814"/>
                <a:gd name="connsiteX37" fmla="*/ 560030 w 597314"/>
                <a:gd name="connsiteY37" fmla="*/ 152484 h 589814"/>
                <a:gd name="connsiteX38" fmla="*/ 560030 w 597314"/>
                <a:gd name="connsiteY38" fmla="*/ 157073 h 589814"/>
                <a:gd name="connsiteX39" fmla="*/ 548287 w 597314"/>
                <a:gd name="connsiteY39" fmla="*/ 157073 h 589814"/>
                <a:gd name="connsiteX40" fmla="*/ 544389 w 597314"/>
                <a:gd name="connsiteY40" fmla="*/ 158602 h 589814"/>
                <a:gd name="connsiteX41" fmla="*/ 544389 w 597314"/>
                <a:gd name="connsiteY41" fmla="*/ 164671 h 589814"/>
                <a:gd name="connsiteX42" fmla="*/ 540442 w 597314"/>
                <a:gd name="connsiteY42" fmla="*/ 172270 h 589814"/>
                <a:gd name="connsiteX43" fmla="*/ 544389 w 597314"/>
                <a:gd name="connsiteY43" fmla="*/ 173799 h 589814"/>
                <a:gd name="connsiteX44" fmla="*/ 546313 w 597314"/>
                <a:gd name="connsiteY44" fmla="*/ 175329 h 589814"/>
                <a:gd name="connsiteX45" fmla="*/ 544389 w 597314"/>
                <a:gd name="connsiteY45" fmla="*/ 178388 h 589814"/>
                <a:gd name="connsiteX46" fmla="*/ 540442 w 597314"/>
                <a:gd name="connsiteY46" fmla="*/ 189094 h 589814"/>
                <a:gd name="connsiteX47" fmla="*/ 536544 w 597314"/>
                <a:gd name="connsiteY47" fmla="*/ 204291 h 589814"/>
                <a:gd name="connsiteX48" fmla="*/ 532646 w 597314"/>
                <a:gd name="connsiteY48" fmla="*/ 213419 h 589814"/>
                <a:gd name="connsiteX49" fmla="*/ 530623 w 597314"/>
                <a:gd name="connsiteY49" fmla="*/ 218008 h 589814"/>
                <a:gd name="connsiteX50" fmla="*/ 526725 w 597314"/>
                <a:gd name="connsiteY50" fmla="*/ 221067 h 589814"/>
                <a:gd name="connsiteX51" fmla="*/ 526725 w 597314"/>
                <a:gd name="connsiteY51" fmla="*/ 228665 h 589814"/>
                <a:gd name="connsiteX52" fmla="*/ 530623 w 597314"/>
                <a:gd name="connsiteY52" fmla="*/ 242382 h 589814"/>
                <a:gd name="connsiteX53" fmla="*/ 532646 w 597314"/>
                <a:gd name="connsiteY53" fmla="*/ 248500 h 589814"/>
                <a:gd name="connsiteX54" fmla="*/ 534571 w 597314"/>
                <a:gd name="connsiteY54" fmla="*/ 248500 h 589814"/>
                <a:gd name="connsiteX55" fmla="*/ 532646 w 597314"/>
                <a:gd name="connsiteY55" fmla="*/ 250030 h 589814"/>
                <a:gd name="connsiteX56" fmla="*/ 528699 w 597314"/>
                <a:gd name="connsiteY56" fmla="*/ 259158 h 589814"/>
                <a:gd name="connsiteX57" fmla="*/ 528699 w 597314"/>
                <a:gd name="connsiteY57" fmla="*/ 271345 h 589814"/>
                <a:gd name="connsiteX58" fmla="*/ 516956 w 597314"/>
                <a:gd name="connsiteY58" fmla="*/ 285061 h 589814"/>
                <a:gd name="connsiteX59" fmla="*/ 513008 w 597314"/>
                <a:gd name="connsiteY59" fmla="*/ 295670 h 589814"/>
                <a:gd name="connsiteX60" fmla="*/ 511085 w 597314"/>
                <a:gd name="connsiteY60" fmla="*/ 294190 h 589814"/>
                <a:gd name="connsiteX61" fmla="*/ 505213 w 597314"/>
                <a:gd name="connsiteY61" fmla="*/ 295670 h 589814"/>
                <a:gd name="connsiteX62" fmla="*/ 503239 w 597314"/>
                <a:gd name="connsiteY62" fmla="*/ 301788 h 589814"/>
                <a:gd name="connsiteX63" fmla="*/ 495394 w 597314"/>
                <a:gd name="connsiteY63" fmla="*/ 312495 h 589814"/>
                <a:gd name="connsiteX64" fmla="*/ 495394 w 597314"/>
                <a:gd name="connsiteY64" fmla="*/ 318564 h 589814"/>
                <a:gd name="connsiteX65" fmla="*/ 483651 w 597314"/>
                <a:gd name="connsiteY65" fmla="*/ 324633 h 589814"/>
                <a:gd name="connsiteX66" fmla="*/ 479753 w 597314"/>
                <a:gd name="connsiteY66" fmla="*/ 333810 h 589814"/>
                <a:gd name="connsiteX67" fmla="*/ 471957 w 597314"/>
                <a:gd name="connsiteY67" fmla="*/ 356654 h 589814"/>
                <a:gd name="connsiteX68" fmla="*/ 466037 w 597314"/>
                <a:gd name="connsiteY68" fmla="*/ 356654 h 589814"/>
                <a:gd name="connsiteX69" fmla="*/ 464113 w 597314"/>
                <a:gd name="connsiteY69" fmla="*/ 361243 h 589814"/>
                <a:gd name="connsiteX70" fmla="*/ 458191 w 597314"/>
                <a:gd name="connsiteY70" fmla="*/ 368842 h 589814"/>
                <a:gd name="connsiteX71" fmla="*/ 454294 w 597314"/>
                <a:gd name="connsiteY71" fmla="*/ 374910 h 589814"/>
                <a:gd name="connsiteX72" fmla="*/ 458191 w 597314"/>
                <a:gd name="connsiteY72" fmla="*/ 379499 h 589814"/>
                <a:gd name="connsiteX73" fmla="*/ 458191 w 597314"/>
                <a:gd name="connsiteY73" fmla="*/ 385617 h 589814"/>
                <a:gd name="connsiteX74" fmla="*/ 452370 w 597314"/>
                <a:gd name="connsiteY74" fmla="*/ 394745 h 589814"/>
                <a:gd name="connsiteX75" fmla="*/ 448422 w 597314"/>
                <a:gd name="connsiteY75" fmla="*/ 402344 h 589814"/>
                <a:gd name="connsiteX76" fmla="*/ 448422 w 597314"/>
                <a:gd name="connsiteY76" fmla="*/ 414531 h 589814"/>
                <a:gd name="connsiteX77" fmla="*/ 446498 w 597314"/>
                <a:gd name="connsiteY77" fmla="*/ 429777 h 589814"/>
                <a:gd name="connsiteX78" fmla="*/ 442551 w 597314"/>
                <a:gd name="connsiteY78" fmla="*/ 432836 h 589814"/>
                <a:gd name="connsiteX79" fmla="*/ 440577 w 597314"/>
                <a:gd name="connsiteY79" fmla="*/ 435846 h 589814"/>
                <a:gd name="connsiteX80" fmla="*/ 436679 w 597314"/>
                <a:gd name="connsiteY80" fmla="*/ 434365 h 589814"/>
                <a:gd name="connsiteX81" fmla="*/ 432782 w 597314"/>
                <a:gd name="connsiteY81" fmla="*/ 432836 h 589814"/>
                <a:gd name="connsiteX82" fmla="*/ 426910 w 597314"/>
                <a:gd name="connsiteY82" fmla="*/ 434365 h 589814"/>
                <a:gd name="connsiteX83" fmla="*/ 419065 w 597314"/>
                <a:gd name="connsiteY83" fmla="*/ 432836 h 589814"/>
                <a:gd name="connsiteX84" fmla="*/ 419065 w 597314"/>
                <a:gd name="connsiteY84" fmla="*/ 438905 h 589814"/>
                <a:gd name="connsiteX85" fmla="*/ 413193 w 597314"/>
                <a:gd name="connsiteY85" fmla="*/ 440434 h 589814"/>
                <a:gd name="connsiteX86" fmla="*/ 407322 w 597314"/>
                <a:gd name="connsiteY86" fmla="*/ 448082 h 589814"/>
                <a:gd name="connsiteX87" fmla="*/ 411220 w 597314"/>
                <a:gd name="connsiteY87" fmla="*/ 452671 h 589814"/>
                <a:gd name="connsiteX88" fmla="*/ 419065 w 597314"/>
                <a:gd name="connsiteY88" fmla="*/ 454151 h 589814"/>
                <a:gd name="connsiteX89" fmla="*/ 432782 w 597314"/>
                <a:gd name="connsiteY89" fmla="*/ 454151 h 589814"/>
                <a:gd name="connsiteX90" fmla="*/ 436679 w 597314"/>
                <a:gd name="connsiteY90" fmla="*/ 457210 h 589814"/>
                <a:gd name="connsiteX91" fmla="*/ 442551 w 597314"/>
                <a:gd name="connsiteY91" fmla="*/ 463279 h 589814"/>
                <a:gd name="connsiteX92" fmla="*/ 442551 w 597314"/>
                <a:gd name="connsiteY92" fmla="*/ 466338 h 589814"/>
                <a:gd name="connsiteX93" fmla="*/ 446498 w 597314"/>
                <a:gd name="connsiteY93" fmla="*/ 467867 h 589814"/>
                <a:gd name="connsiteX94" fmla="*/ 454294 w 597314"/>
                <a:gd name="connsiteY94" fmla="*/ 480055 h 589814"/>
                <a:gd name="connsiteX95" fmla="*/ 460165 w 597314"/>
                <a:gd name="connsiteY95" fmla="*/ 481584 h 589814"/>
                <a:gd name="connsiteX96" fmla="*/ 460165 w 597314"/>
                <a:gd name="connsiteY96" fmla="*/ 484643 h 589814"/>
                <a:gd name="connsiteX97" fmla="*/ 462139 w 597314"/>
                <a:gd name="connsiteY97" fmla="*/ 486173 h 589814"/>
                <a:gd name="connsiteX98" fmla="*/ 470132 w 597314"/>
                <a:gd name="connsiteY98" fmla="*/ 486173 h 589814"/>
                <a:gd name="connsiteX99" fmla="*/ 474030 w 597314"/>
                <a:gd name="connsiteY99" fmla="*/ 490712 h 589814"/>
                <a:gd name="connsiteX100" fmla="*/ 476003 w 597314"/>
                <a:gd name="connsiteY100" fmla="*/ 495301 h 589814"/>
                <a:gd name="connsiteX101" fmla="*/ 481875 w 597314"/>
                <a:gd name="connsiteY101" fmla="*/ 502949 h 589814"/>
                <a:gd name="connsiteX102" fmla="*/ 483799 w 597314"/>
                <a:gd name="connsiteY102" fmla="*/ 513606 h 589814"/>
                <a:gd name="connsiteX103" fmla="*/ 487746 w 597314"/>
                <a:gd name="connsiteY103" fmla="*/ 516616 h 589814"/>
                <a:gd name="connsiteX104" fmla="*/ 491644 w 597314"/>
                <a:gd name="connsiteY104" fmla="*/ 528803 h 589814"/>
                <a:gd name="connsiteX105" fmla="*/ 477927 w 597314"/>
                <a:gd name="connsiteY105" fmla="*/ 539510 h 589814"/>
                <a:gd name="connsiteX106" fmla="*/ 468059 w 597314"/>
                <a:gd name="connsiteY106" fmla="*/ 550167 h 589814"/>
                <a:gd name="connsiteX107" fmla="*/ 466086 w 597314"/>
                <a:gd name="connsiteY107" fmla="*/ 550167 h 589814"/>
                <a:gd name="connsiteX108" fmla="*/ 460214 w 597314"/>
                <a:gd name="connsiteY108" fmla="*/ 556236 h 589814"/>
                <a:gd name="connsiteX109" fmla="*/ 456316 w 597314"/>
                <a:gd name="connsiteY109" fmla="*/ 560825 h 589814"/>
                <a:gd name="connsiteX110" fmla="*/ 454343 w 597314"/>
                <a:gd name="connsiteY110" fmla="*/ 560825 h 589814"/>
                <a:gd name="connsiteX111" fmla="*/ 448471 w 597314"/>
                <a:gd name="connsiteY111" fmla="*/ 565413 h 589814"/>
                <a:gd name="connsiteX112" fmla="*/ 448471 w 597314"/>
                <a:gd name="connsiteY112" fmla="*/ 565413 h 589814"/>
                <a:gd name="connsiteX113" fmla="*/ 438603 w 597314"/>
                <a:gd name="connsiteY113" fmla="*/ 569953 h 589814"/>
                <a:gd name="connsiteX114" fmla="*/ 434705 w 597314"/>
                <a:gd name="connsiteY114" fmla="*/ 574542 h 589814"/>
                <a:gd name="connsiteX115" fmla="*/ 428834 w 597314"/>
                <a:gd name="connsiteY115" fmla="*/ 577551 h 589814"/>
                <a:gd name="connsiteX116" fmla="*/ 420989 w 597314"/>
                <a:gd name="connsiteY116" fmla="*/ 576071 h 589814"/>
                <a:gd name="connsiteX117" fmla="*/ 405299 w 597314"/>
                <a:gd name="connsiteY117" fmla="*/ 576071 h 589814"/>
                <a:gd name="connsiteX118" fmla="*/ 399477 w 597314"/>
                <a:gd name="connsiteY118" fmla="*/ 580610 h 589814"/>
                <a:gd name="connsiteX119" fmla="*/ 393556 w 597314"/>
                <a:gd name="connsiteY119" fmla="*/ 580610 h 589814"/>
                <a:gd name="connsiteX120" fmla="*/ 389658 w 597314"/>
                <a:gd name="connsiteY120" fmla="*/ 582140 h 589814"/>
                <a:gd name="connsiteX121" fmla="*/ 385711 w 597314"/>
                <a:gd name="connsiteY121" fmla="*/ 580610 h 589814"/>
                <a:gd name="connsiteX122" fmla="*/ 379888 w 597314"/>
                <a:gd name="connsiteY122" fmla="*/ 585199 h 589814"/>
                <a:gd name="connsiteX123" fmla="*/ 379888 w 597314"/>
                <a:gd name="connsiteY123" fmla="*/ 589788 h 589814"/>
                <a:gd name="connsiteX124" fmla="*/ 375941 w 597314"/>
                <a:gd name="connsiteY124" fmla="*/ 589788 h 589814"/>
                <a:gd name="connsiteX125" fmla="*/ 368096 w 597314"/>
                <a:gd name="connsiteY125" fmla="*/ 586728 h 589814"/>
                <a:gd name="connsiteX126" fmla="*/ 368096 w 597314"/>
                <a:gd name="connsiteY126" fmla="*/ 582140 h 589814"/>
                <a:gd name="connsiteX127" fmla="*/ 362274 w 597314"/>
                <a:gd name="connsiteY127" fmla="*/ 580610 h 589814"/>
                <a:gd name="connsiteX128" fmla="*/ 356402 w 597314"/>
                <a:gd name="connsiteY128" fmla="*/ 582140 h 589814"/>
                <a:gd name="connsiteX129" fmla="*/ 344659 w 597314"/>
                <a:gd name="connsiteY129" fmla="*/ 577551 h 589814"/>
                <a:gd name="connsiteX130" fmla="*/ 338739 w 597314"/>
                <a:gd name="connsiteY130" fmla="*/ 576071 h 589814"/>
                <a:gd name="connsiteX131" fmla="*/ 334840 w 597314"/>
                <a:gd name="connsiteY131" fmla="*/ 580610 h 589814"/>
                <a:gd name="connsiteX132" fmla="*/ 334840 w 597314"/>
                <a:gd name="connsiteY132" fmla="*/ 585199 h 589814"/>
                <a:gd name="connsiteX133" fmla="*/ 336814 w 597314"/>
                <a:gd name="connsiteY133" fmla="*/ 588258 h 589814"/>
                <a:gd name="connsiteX134" fmla="*/ 334840 w 597314"/>
                <a:gd name="connsiteY134" fmla="*/ 588258 h 589814"/>
                <a:gd name="connsiteX135" fmla="*/ 332867 w 597314"/>
                <a:gd name="connsiteY135" fmla="*/ 586728 h 589814"/>
                <a:gd name="connsiteX136" fmla="*/ 325022 w 597314"/>
                <a:gd name="connsiteY136" fmla="*/ 588258 h 589814"/>
                <a:gd name="connsiteX137" fmla="*/ 323097 w 597314"/>
                <a:gd name="connsiteY137" fmla="*/ 586728 h 589814"/>
                <a:gd name="connsiteX138" fmla="*/ 323097 w 597314"/>
                <a:gd name="connsiteY138" fmla="*/ 583669 h 589814"/>
                <a:gd name="connsiteX139" fmla="*/ 321124 w 597314"/>
                <a:gd name="connsiteY139" fmla="*/ 580610 h 589814"/>
                <a:gd name="connsiteX140" fmla="*/ 319200 w 597314"/>
                <a:gd name="connsiteY140" fmla="*/ 576071 h 589814"/>
                <a:gd name="connsiteX141" fmla="*/ 315252 w 597314"/>
                <a:gd name="connsiteY141" fmla="*/ 571482 h 589814"/>
                <a:gd name="connsiteX142" fmla="*/ 309381 w 597314"/>
                <a:gd name="connsiteY142" fmla="*/ 568423 h 589814"/>
                <a:gd name="connsiteX143" fmla="*/ 301585 w 597314"/>
                <a:gd name="connsiteY143" fmla="*/ 565413 h 589814"/>
                <a:gd name="connsiteX144" fmla="*/ 299611 w 597314"/>
                <a:gd name="connsiteY144" fmla="*/ 563884 h 589814"/>
                <a:gd name="connsiteX145" fmla="*/ 295665 w 597314"/>
                <a:gd name="connsiteY145" fmla="*/ 559295 h 589814"/>
                <a:gd name="connsiteX146" fmla="*/ 291766 w 597314"/>
                <a:gd name="connsiteY146" fmla="*/ 550167 h 589814"/>
                <a:gd name="connsiteX147" fmla="*/ 289793 w 597314"/>
                <a:gd name="connsiteY147" fmla="*/ 548638 h 589814"/>
                <a:gd name="connsiteX148" fmla="*/ 281997 w 597314"/>
                <a:gd name="connsiteY148" fmla="*/ 548638 h 589814"/>
                <a:gd name="connsiteX149" fmla="*/ 276126 w 597314"/>
                <a:gd name="connsiteY149" fmla="*/ 554707 h 589814"/>
                <a:gd name="connsiteX150" fmla="*/ 272178 w 597314"/>
                <a:gd name="connsiteY150" fmla="*/ 557766 h 589814"/>
                <a:gd name="connsiteX151" fmla="*/ 266307 w 597314"/>
                <a:gd name="connsiteY151" fmla="*/ 559295 h 589814"/>
                <a:gd name="connsiteX152" fmla="*/ 262409 w 597314"/>
                <a:gd name="connsiteY152" fmla="*/ 559295 h 589814"/>
                <a:gd name="connsiteX153" fmla="*/ 262409 w 597314"/>
                <a:gd name="connsiteY153" fmla="*/ 557766 h 589814"/>
                <a:gd name="connsiteX154" fmla="*/ 248692 w 597314"/>
                <a:gd name="connsiteY154" fmla="*/ 557766 h 589814"/>
                <a:gd name="connsiteX155" fmla="*/ 242821 w 597314"/>
                <a:gd name="connsiteY155" fmla="*/ 559295 h 589814"/>
                <a:gd name="connsiteX156" fmla="*/ 240847 w 597314"/>
                <a:gd name="connsiteY156" fmla="*/ 562354 h 589814"/>
                <a:gd name="connsiteX157" fmla="*/ 236949 w 597314"/>
                <a:gd name="connsiteY157" fmla="*/ 563884 h 589814"/>
                <a:gd name="connsiteX158" fmla="*/ 231078 w 597314"/>
                <a:gd name="connsiteY158" fmla="*/ 560825 h 589814"/>
                <a:gd name="connsiteX159" fmla="*/ 223233 w 597314"/>
                <a:gd name="connsiteY159" fmla="*/ 556236 h 589814"/>
                <a:gd name="connsiteX160" fmla="*/ 219335 w 597314"/>
                <a:gd name="connsiteY160" fmla="*/ 553177 h 589814"/>
                <a:gd name="connsiteX161" fmla="*/ 215388 w 597314"/>
                <a:gd name="connsiteY161" fmla="*/ 550167 h 589814"/>
                <a:gd name="connsiteX162" fmla="*/ 209516 w 597314"/>
                <a:gd name="connsiteY162" fmla="*/ 547108 h 589814"/>
                <a:gd name="connsiteX163" fmla="*/ 209516 w 597314"/>
                <a:gd name="connsiteY163" fmla="*/ 542519 h 589814"/>
                <a:gd name="connsiteX164" fmla="*/ 207592 w 597314"/>
                <a:gd name="connsiteY164" fmla="*/ 541039 h 589814"/>
                <a:gd name="connsiteX165" fmla="*/ 207592 w 597314"/>
                <a:gd name="connsiteY165" fmla="*/ 541039 h 589814"/>
                <a:gd name="connsiteX166" fmla="*/ 205618 w 597314"/>
                <a:gd name="connsiteY166" fmla="*/ 536451 h 589814"/>
                <a:gd name="connsiteX167" fmla="*/ 199747 w 597314"/>
                <a:gd name="connsiteY167" fmla="*/ 533392 h 589814"/>
                <a:gd name="connsiteX168" fmla="*/ 195849 w 597314"/>
                <a:gd name="connsiteY168" fmla="*/ 531911 h 589814"/>
                <a:gd name="connsiteX169" fmla="*/ 193875 w 597314"/>
                <a:gd name="connsiteY169" fmla="*/ 521204 h 589814"/>
                <a:gd name="connsiteX170" fmla="*/ 195849 w 597314"/>
                <a:gd name="connsiteY170" fmla="*/ 518145 h 589814"/>
                <a:gd name="connsiteX171" fmla="*/ 189977 w 597314"/>
                <a:gd name="connsiteY171" fmla="*/ 515086 h 589814"/>
                <a:gd name="connsiteX172" fmla="*/ 176261 w 597314"/>
                <a:gd name="connsiteY172" fmla="*/ 512076 h 589814"/>
                <a:gd name="connsiteX173" fmla="*/ 174287 w 597314"/>
                <a:gd name="connsiteY173" fmla="*/ 509017 h 589814"/>
                <a:gd name="connsiteX174" fmla="*/ 174287 w 597314"/>
                <a:gd name="connsiteY174" fmla="*/ 502949 h 589814"/>
                <a:gd name="connsiteX175" fmla="*/ 172314 w 597314"/>
                <a:gd name="connsiteY175" fmla="*/ 501419 h 589814"/>
                <a:gd name="connsiteX176" fmla="*/ 164518 w 597314"/>
                <a:gd name="connsiteY176" fmla="*/ 498360 h 589814"/>
                <a:gd name="connsiteX177" fmla="*/ 160620 w 597314"/>
                <a:gd name="connsiteY177" fmla="*/ 495301 h 589814"/>
                <a:gd name="connsiteX178" fmla="*/ 160620 w 597314"/>
                <a:gd name="connsiteY178" fmla="*/ 486173 h 589814"/>
                <a:gd name="connsiteX179" fmla="*/ 158646 w 597314"/>
                <a:gd name="connsiteY179" fmla="*/ 483114 h 589814"/>
                <a:gd name="connsiteX180" fmla="*/ 146903 w 597314"/>
                <a:gd name="connsiteY180" fmla="*/ 477045 h 589814"/>
                <a:gd name="connsiteX181" fmla="*/ 144930 w 597314"/>
                <a:gd name="connsiteY181" fmla="*/ 477045 h 589814"/>
                <a:gd name="connsiteX182" fmla="*/ 137085 w 597314"/>
                <a:gd name="connsiteY182" fmla="*/ 475515 h 589814"/>
                <a:gd name="connsiteX183" fmla="*/ 135160 w 597314"/>
                <a:gd name="connsiteY183" fmla="*/ 477045 h 589814"/>
                <a:gd name="connsiteX184" fmla="*/ 129289 w 597314"/>
                <a:gd name="connsiteY184" fmla="*/ 475515 h 589814"/>
                <a:gd name="connsiteX185" fmla="*/ 121443 w 597314"/>
                <a:gd name="connsiteY185" fmla="*/ 467867 h 589814"/>
                <a:gd name="connsiteX186" fmla="*/ 125342 w 597314"/>
                <a:gd name="connsiteY186" fmla="*/ 466338 h 589814"/>
                <a:gd name="connsiteX187" fmla="*/ 125342 w 597314"/>
                <a:gd name="connsiteY187" fmla="*/ 463279 h 589814"/>
                <a:gd name="connsiteX188" fmla="*/ 129289 w 597314"/>
                <a:gd name="connsiteY188" fmla="*/ 460269 h 589814"/>
                <a:gd name="connsiteX189" fmla="*/ 131262 w 597314"/>
                <a:gd name="connsiteY189" fmla="*/ 455680 h 589814"/>
                <a:gd name="connsiteX190" fmla="*/ 129289 w 597314"/>
                <a:gd name="connsiteY190" fmla="*/ 452671 h 589814"/>
                <a:gd name="connsiteX191" fmla="*/ 123417 w 597314"/>
                <a:gd name="connsiteY191" fmla="*/ 452671 h 589814"/>
                <a:gd name="connsiteX192" fmla="*/ 115572 w 597314"/>
                <a:gd name="connsiteY192" fmla="*/ 449612 h 589814"/>
                <a:gd name="connsiteX193" fmla="*/ 113648 w 597314"/>
                <a:gd name="connsiteY193" fmla="*/ 443493 h 589814"/>
                <a:gd name="connsiteX194" fmla="*/ 107727 w 597314"/>
                <a:gd name="connsiteY194" fmla="*/ 441964 h 589814"/>
                <a:gd name="connsiteX195" fmla="*/ 101855 w 597314"/>
                <a:gd name="connsiteY195" fmla="*/ 441964 h 589814"/>
                <a:gd name="connsiteX196" fmla="*/ 94060 w 597314"/>
                <a:gd name="connsiteY196" fmla="*/ 438905 h 589814"/>
                <a:gd name="connsiteX197" fmla="*/ 88188 w 597314"/>
                <a:gd name="connsiteY197" fmla="*/ 434365 h 589814"/>
                <a:gd name="connsiteX198" fmla="*/ 86214 w 597314"/>
                <a:gd name="connsiteY198" fmla="*/ 429777 h 589814"/>
                <a:gd name="connsiteX199" fmla="*/ 90112 w 597314"/>
                <a:gd name="connsiteY199" fmla="*/ 425238 h 589814"/>
                <a:gd name="connsiteX200" fmla="*/ 86214 w 597314"/>
                <a:gd name="connsiteY200" fmla="*/ 423708 h 589814"/>
                <a:gd name="connsiteX201" fmla="*/ 76346 w 597314"/>
                <a:gd name="connsiteY201" fmla="*/ 422178 h 589814"/>
                <a:gd name="connsiteX202" fmla="*/ 72449 w 597314"/>
                <a:gd name="connsiteY202" fmla="*/ 425238 h 589814"/>
                <a:gd name="connsiteX203" fmla="*/ 62581 w 597314"/>
                <a:gd name="connsiteY203" fmla="*/ 425238 h 589814"/>
                <a:gd name="connsiteX204" fmla="*/ 58633 w 597314"/>
                <a:gd name="connsiteY204" fmla="*/ 422178 h 589814"/>
                <a:gd name="connsiteX205" fmla="*/ 58633 w 597314"/>
                <a:gd name="connsiteY205" fmla="*/ 411570 h 589814"/>
                <a:gd name="connsiteX206" fmla="*/ 60607 w 597314"/>
                <a:gd name="connsiteY206" fmla="*/ 405501 h 589814"/>
                <a:gd name="connsiteX207" fmla="*/ 62581 w 597314"/>
                <a:gd name="connsiteY207" fmla="*/ 403972 h 589814"/>
                <a:gd name="connsiteX208" fmla="*/ 64505 w 597314"/>
                <a:gd name="connsiteY208" fmla="*/ 396373 h 589814"/>
                <a:gd name="connsiteX209" fmla="*/ 60607 w 597314"/>
                <a:gd name="connsiteY209" fmla="*/ 391834 h 589814"/>
                <a:gd name="connsiteX210" fmla="*/ 54736 w 597314"/>
                <a:gd name="connsiteY210" fmla="*/ 379598 h 589814"/>
                <a:gd name="connsiteX211" fmla="*/ 46890 w 597314"/>
                <a:gd name="connsiteY211" fmla="*/ 368940 h 589814"/>
                <a:gd name="connsiteX212" fmla="*/ 44966 w 597314"/>
                <a:gd name="connsiteY212" fmla="*/ 364401 h 589814"/>
                <a:gd name="connsiteX213" fmla="*/ 37121 w 597314"/>
                <a:gd name="connsiteY213" fmla="*/ 359812 h 589814"/>
                <a:gd name="connsiteX214" fmla="*/ 37121 w 597314"/>
                <a:gd name="connsiteY214" fmla="*/ 353694 h 589814"/>
                <a:gd name="connsiteX215" fmla="*/ 35147 w 597314"/>
                <a:gd name="connsiteY215" fmla="*/ 350635 h 589814"/>
                <a:gd name="connsiteX216" fmla="*/ 35147 w 597314"/>
                <a:gd name="connsiteY216" fmla="*/ 344566 h 589814"/>
                <a:gd name="connsiteX217" fmla="*/ 37121 w 597314"/>
                <a:gd name="connsiteY217" fmla="*/ 338497 h 589814"/>
                <a:gd name="connsiteX218" fmla="*/ 35147 w 597314"/>
                <a:gd name="connsiteY218" fmla="*/ 333909 h 589814"/>
                <a:gd name="connsiteX219" fmla="*/ 21431 w 597314"/>
                <a:gd name="connsiteY219" fmla="*/ 332379 h 589814"/>
                <a:gd name="connsiteX220" fmla="*/ 21431 w 597314"/>
                <a:gd name="connsiteY220" fmla="*/ 318662 h 589814"/>
                <a:gd name="connsiteX221" fmla="*/ 17533 w 597314"/>
                <a:gd name="connsiteY221" fmla="*/ 312593 h 589814"/>
                <a:gd name="connsiteX222" fmla="*/ 19507 w 597314"/>
                <a:gd name="connsiteY222" fmla="*/ 308005 h 589814"/>
                <a:gd name="connsiteX223" fmla="*/ 15609 w 597314"/>
                <a:gd name="connsiteY223" fmla="*/ 304946 h 589814"/>
                <a:gd name="connsiteX224" fmla="*/ 19507 w 597314"/>
                <a:gd name="connsiteY224" fmla="*/ 303466 h 589814"/>
                <a:gd name="connsiteX225" fmla="*/ 19507 w 597314"/>
                <a:gd name="connsiteY225" fmla="*/ 298828 h 589814"/>
                <a:gd name="connsiteX226" fmla="*/ 15609 w 597314"/>
                <a:gd name="connsiteY226" fmla="*/ 298828 h 589814"/>
                <a:gd name="connsiteX227" fmla="*/ 7764 w 597314"/>
                <a:gd name="connsiteY227" fmla="*/ 303466 h 589814"/>
                <a:gd name="connsiteX228" fmla="*/ -82 w 597314"/>
                <a:gd name="connsiteY228" fmla="*/ 298828 h 589814"/>
                <a:gd name="connsiteX229" fmla="*/ -82 w 597314"/>
                <a:gd name="connsiteY229" fmla="*/ 292759 h 589814"/>
                <a:gd name="connsiteX230" fmla="*/ 13635 w 597314"/>
                <a:gd name="connsiteY230" fmla="*/ 282101 h 589814"/>
                <a:gd name="connsiteX231" fmla="*/ 17533 w 597314"/>
                <a:gd name="connsiteY231" fmla="*/ 277513 h 589814"/>
                <a:gd name="connsiteX232" fmla="*/ 15609 w 597314"/>
                <a:gd name="connsiteY232" fmla="*/ 271443 h 589814"/>
                <a:gd name="connsiteX233" fmla="*/ 9688 w 597314"/>
                <a:gd name="connsiteY233" fmla="*/ 268384 h 589814"/>
                <a:gd name="connsiteX234" fmla="*/ 11661 w 597314"/>
                <a:gd name="connsiteY234" fmla="*/ 263796 h 589814"/>
                <a:gd name="connsiteX235" fmla="*/ 17533 w 597314"/>
                <a:gd name="connsiteY235" fmla="*/ 259257 h 589814"/>
                <a:gd name="connsiteX236" fmla="*/ 21431 w 597314"/>
                <a:gd name="connsiteY236" fmla="*/ 253138 h 589814"/>
                <a:gd name="connsiteX237" fmla="*/ 17533 w 597314"/>
                <a:gd name="connsiteY237" fmla="*/ 248599 h 589814"/>
                <a:gd name="connsiteX238" fmla="*/ 17533 w 597314"/>
                <a:gd name="connsiteY238" fmla="*/ 245540 h 589814"/>
                <a:gd name="connsiteX239" fmla="*/ 23404 w 597314"/>
                <a:gd name="connsiteY239" fmla="*/ 239422 h 589814"/>
                <a:gd name="connsiteX240" fmla="*/ 27302 w 597314"/>
                <a:gd name="connsiteY240" fmla="*/ 240951 h 589814"/>
                <a:gd name="connsiteX241" fmla="*/ 39045 w 597314"/>
                <a:gd name="connsiteY241" fmla="*/ 225705 h 589814"/>
                <a:gd name="connsiteX242" fmla="*/ 42993 w 597314"/>
                <a:gd name="connsiteY242" fmla="*/ 219636 h 589814"/>
                <a:gd name="connsiteX243" fmla="*/ 39045 w 597314"/>
                <a:gd name="connsiteY243" fmla="*/ 215048 h 589814"/>
                <a:gd name="connsiteX244" fmla="*/ 39045 w 597314"/>
                <a:gd name="connsiteY244" fmla="*/ 205920 h 589814"/>
                <a:gd name="connsiteX245" fmla="*/ 46890 w 597314"/>
                <a:gd name="connsiteY245" fmla="*/ 202861 h 589814"/>
                <a:gd name="connsiteX246" fmla="*/ 54736 w 597314"/>
                <a:gd name="connsiteY246" fmla="*/ 202861 h 589814"/>
                <a:gd name="connsiteX247" fmla="*/ 60607 w 597314"/>
                <a:gd name="connsiteY247" fmla="*/ 205920 h 589814"/>
                <a:gd name="connsiteX248" fmla="*/ 66478 w 597314"/>
                <a:gd name="connsiteY248" fmla="*/ 201331 h 589814"/>
                <a:gd name="connsiteX249" fmla="*/ 72350 w 597314"/>
                <a:gd name="connsiteY249" fmla="*/ 199802 h 589814"/>
                <a:gd name="connsiteX250" fmla="*/ 70426 w 597314"/>
                <a:gd name="connsiteY250" fmla="*/ 79460 h 589814"/>
                <a:gd name="connsiteX251" fmla="*/ 70426 w 597314"/>
                <a:gd name="connsiteY251" fmla="*/ 67224 h 589814"/>
                <a:gd name="connsiteX252" fmla="*/ 103681 w 597314"/>
                <a:gd name="connsiteY252" fmla="*/ 64214 h 589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</a:cxnLst>
              <a:rect l="l" t="t" r="r" b="b"/>
              <a:pathLst>
                <a:path w="597314" h="589814">
                  <a:moveTo>
                    <a:pt x="101855" y="3032"/>
                  </a:moveTo>
                  <a:lnTo>
                    <a:pt x="532597" y="-27"/>
                  </a:lnTo>
                  <a:lnTo>
                    <a:pt x="532597" y="3032"/>
                  </a:lnTo>
                  <a:lnTo>
                    <a:pt x="530574" y="6042"/>
                  </a:lnTo>
                  <a:lnTo>
                    <a:pt x="532597" y="7571"/>
                  </a:lnTo>
                  <a:lnTo>
                    <a:pt x="532597" y="9101"/>
                  </a:lnTo>
                  <a:lnTo>
                    <a:pt x="534521" y="10630"/>
                  </a:lnTo>
                  <a:lnTo>
                    <a:pt x="532597" y="12160"/>
                  </a:lnTo>
                  <a:lnTo>
                    <a:pt x="534521" y="13690"/>
                  </a:lnTo>
                  <a:lnTo>
                    <a:pt x="536494" y="21337"/>
                  </a:lnTo>
                  <a:lnTo>
                    <a:pt x="544340" y="30465"/>
                  </a:lnTo>
                  <a:lnTo>
                    <a:pt x="544340" y="33475"/>
                  </a:lnTo>
                  <a:lnTo>
                    <a:pt x="542366" y="33475"/>
                  </a:lnTo>
                  <a:lnTo>
                    <a:pt x="540393" y="30465"/>
                  </a:lnTo>
                  <a:lnTo>
                    <a:pt x="538419" y="28936"/>
                  </a:lnTo>
                  <a:lnTo>
                    <a:pt x="536494" y="28936"/>
                  </a:lnTo>
                  <a:lnTo>
                    <a:pt x="538419" y="35005"/>
                  </a:lnTo>
                  <a:lnTo>
                    <a:pt x="546264" y="56369"/>
                  </a:lnTo>
                  <a:lnTo>
                    <a:pt x="548237" y="68507"/>
                  </a:lnTo>
                  <a:lnTo>
                    <a:pt x="546264" y="80743"/>
                  </a:lnTo>
                  <a:lnTo>
                    <a:pt x="550211" y="92881"/>
                  </a:lnTo>
                  <a:lnTo>
                    <a:pt x="558007" y="105117"/>
                  </a:lnTo>
                  <a:lnTo>
                    <a:pt x="563879" y="106647"/>
                  </a:lnTo>
                  <a:lnTo>
                    <a:pt x="579569" y="114245"/>
                  </a:lnTo>
                  <a:lnTo>
                    <a:pt x="579569" y="120462"/>
                  </a:lnTo>
                  <a:lnTo>
                    <a:pt x="585440" y="120462"/>
                  </a:lnTo>
                  <a:lnTo>
                    <a:pt x="595308" y="123521"/>
                  </a:lnTo>
                  <a:lnTo>
                    <a:pt x="595308" y="128110"/>
                  </a:lnTo>
                  <a:lnTo>
                    <a:pt x="597233" y="128110"/>
                  </a:lnTo>
                  <a:lnTo>
                    <a:pt x="593285" y="135758"/>
                  </a:lnTo>
                  <a:lnTo>
                    <a:pt x="585490" y="137238"/>
                  </a:lnTo>
                  <a:lnTo>
                    <a:pt x="579618" y="138768"/>
                  </a:lnTo>
                  <a:lnTo>
                    <a:pt x="577645" y="143356"/>
                  </a:lnTo>
                  <a:lnTo>
                    <a:pt x="569849" y="141827"/>
                  </a:lnTo>
                  <a:lnTo>
                    <a:pt x="565902" y="144886"/>
                  </a:lnTo>
                  <a:lnTo>
                    <a:pt x="560030" y="146366"/>
                  </a:lnTo>
                  <a:lnTo>
                    <a:pt x="558056" y="149425"/>
                  </a:lnTo>
                  <a:lnTo>
                    <a:pt x="560030" y="152484"/>
                  </a:lnTo>
                  <a:lnTo>
                    <a:pt x="560030" y="157073"/>
                  </a:lnTo>
                  <a:lnTo>
                    <a:pt x="548287" y="157073"/>
                  </a:lnTo>
                  <a:lnTo>
                    <a:pt x="544389" y="158602"/>
                  </a:lnTo>
                  <a:lnTo>
                    <a:pt x="544389" y="164671"/>
                  </a:lnTo>
                  <a:lnTo>
                    <a:pt x="540442" y="172270"/>
                  </a:lnTo>
                  <a:lnTo>
                    <a:pt x="544389" y="173799"/>
                  </a:lnTo>
                  <a:lnTo>
                    <a:pt x="546313" y="175329"/>
                  </a:lnTo>
                  <a:lnTo>
                    <a:pt x="544389" y="178388"/>
                  </a:lnTo>
                  <a:lnTo>
                    <a:pt x="540442" y="189094"/>
                  </a:lnTo>
                  <a:lnTo>
                    <a:pt x="536544" y="204291"/>
                  </a:lnTo>
                  <a:lnTo>
                    <a:pt x="532646" y="213419"/>
                  </a:lnTo>
                  <a:lnTo>
                    <a:pt x="530623" y="218008"/>
                  </a:lnTo>
                  <a:lnTo>
                    <a:pt x="526725" y="221067"/>
                  </a:lnTo>
                  <a:lnTo>
                    <a:pt x="526725" y="228665"/>
                  </a:lnTo>
                  <a:lnTo>
                    <a:pt x="530623" y="242382"/>
                  </a:lnTo>
                  <a:lnTo>
                    <a:pt x="532646" y="248500"/>
                  </a:lnTo>
                  <a:lnTo>
                    <a:pt x="534571" y="248500"/>
                  </a:lnTo>
                  <a:lnTo>
                    <a:pt x="532646" y="250030"/>
                  </a:lnTo>
                  <a:lnTo>
                    <a:pt x="528699" y="259158"/>
                  </a:lnTo>
                  <a:lnTo>
                    <a:pt x="528699" y="271345"/>
                  </a:lnTo>
                  <a:lnTo>
                    <a:pt x="516956" y="285061"/>
                  </a:lnTo>
                  <a:lnTo>
                    <a:pt x="513008" y="295670"/>
                  </a:lnTo>
                  <a:lnTo>
                    <a:pt x="511085" y="294190"/>
                  </a:lnTo>
                  <a:lnTo>
                    <a:pt x="505213" y="295670"/>
                  </a:lnTo>
                  <a:lnTo>
                    <a:pt x="503239" y="301788"/>
                  </a:lnTo>
                  <a:lnTo>
                    <a:pt x="495394" y="312495"/>
                  </a:lnTo>
                  <a:lnTo>
                    <a:pt x="495394" y="318564"/>
                  </a:lnTo>
                  <a:lnTo>
                    <a:pt x="483651" y="324633"/>
                  </a:lnTo>
                  <a:lnTo>
                    <a:pt x="479753" y="333810"/>
                  </a:lnTo>
                  <a:lnTo>
                    <a:pt x="471957" y="356654"/>
                  </a:lnTo>
                  <a:lnTo>
                    <a:pt x="466037" y="356654"/>
                  </a:lnTo>
                  <a:lnTo>
                    <a:pt x="464113" y="361243"/>
                  </a:lnTo>
                  <a:lnTo>
                    <a:pt x="458191" y="368842"/>
                  </a:lnTo>
                  <a:lnTo>
                    <a:pt x="454294" y="374910"/>
                  </a:lnTo>
                  <a:lnTo>
                    <a:pt x="458191" y="379499"/>
                  </a:lnTo>
                  <a:lnTo>
                    <a:pt x="458191" y="385617"/>
                  </a:lnTo>
                  <a:lnTo>
                    <a:pt x="452370" y="394745"/>
                  </a:lnTo>
                  <a:lnTo>
                    <a:pt x="448422" y="402344"/>
                  </a:lnTo>
                  <a:lnTo>
                    <a:pt x="448422" y="414531"/>
                  </a:lnTo>
                  <a:lnTo>
                    <a:pt x="446498" y="429777"/>
                  </a:lnTo>
                  <a:lnTo>
                    <a:pt x="442551" y="432836"/>
                  </a:lnTo>
                  <a:lnTo>
                    <a:pt x="440577" y="435846"/>
                  </a:lnTo>
                  <a:lnTo>
                    <a:pt x="436679" y="434365"/>
                  </a:lnTo>
                  <a:lnTo>
                    <a:pt x="432782" y="432836"/>
                  </a:lnTo>
                  <a:lnTo>
                    <a:pt x="426910" y="434365"/>
                  </a:lnTo>
                  <a:lnTo>
                    <a:pt x="419065" y="432836"/>
                  </a:lnTo>
                  <a:lnTo>
                    <a:pt x="419065" y="438905"/>
                  </a:lnTo>
                  <a:lnTo>
                    <a:pt x="413193" y="440434"/>
                  </a:lnTo>
                  <a:lnTo>
                    <a:pt x="407322" y="448082"/>
                  </a:lnTo>
                  <a:lnTo>
                    <a:pt x="411220" y="452671"/>
                  </a:lnTo>
                  <a:lnTo>
                    <a:pt x="419065" y="454151"/>
                  </a:lnTo>
                  <a:lnTo>
                    <a:pt x="432782" y="454151"/>
                  </a:lnTo>
                  <a:lnTo>
                    <a:pt x="436679" y="457210"/>
                  </a:lnTo>
                  <a:lnTo>
                    <a:pt x="442551" y="463279"/>
                  </a:lnTo>
                  <a:lnTo>
                    <a:pt x="442551" y="466338"/>
                  </a:lnTo>
                  <a:lnTo>
                    <a:pt x="446498" y="467867"/>
                  </a:lnTo>
                  <a:lnTo>
                    <a:pt x="454294" y="480055"/>
                  </a:lnTo>
                  <a:lnTo>
                    <a:pt x="460165" y="481584"/>
                  </a:lnTo>
                  <a:lnTo>
                    <a:pt x="460165" y="484643"/>
                  </a:lnTo>
                  <a:lnTo>
                    <a:pt x="462139" y="486173"/>
                  </a:lnTo>
                  <a:lnTo>
                    <a:pt x="470132" y="486173"/>
                  </a:lnTo>
                  <a:lnTo>
                    <a:pt x="474030" y="490712"/>
                  </a:lnTo>
                  <a:lnTo>
                    <a:pt x="476003" y="495301"/>
                  </a:lnTo>
                  <a:lnTo>
                    <a:pt x="481875" y="502949"/>
                  </a:lnTo>
                  <a:lnTo>
                    <a:pt x="483799" y="513606"/>
                  </a:lnTo>
                  <a:lnTo>
                    <a:pt x="487746" y="516616"/>
                  </a:lnTo>
                  <a:lnTo>
                    <a:pt x="491644" y="528803"/>
                  </a:lnTo>
                  <a:lnTo>
                    <a:pt x="477927" y="539510"/>
                  </a:lnTo>
                  <a:lnTo>
                    <a:pt x="468059" y="550167"/>
                  </a:lnTo>
                  <a:lnTo>
                    <a:pt x="466086" y="550167"/>
                  </a:lnTo>
                  <a:lnTo>
                    <a:pt x="460214" y="556236"/>
                  </a:lnTo>
                  <a:lnTo>
                    <a:pt x="456316" y="560825"/>
                  </a:lnTo>
                  <a:lnTo>
                    <a:pt x="454343" y="560825"/>
                  </a:lnTo>
                  <a:lnTo>
                    <a:pt x="448471" y="565413"/>
                  </a:lnTo>
                  <a:lnTo>
                    <a:pt x="448471" y="565413"/>
                  </a:lnTo>
                  <a:lnTo>
                    <a:pt x="438603" y="569953"/>
                  </a:lnTo>
                  <a:lnTo>
                    <a:pt x="434705" y="574542"/>
                  </a:lnTo>
                  <a:lnTo>
                    <a:pt x="428834" y="577551"/>
                  </a:lnTo>
                  <a:lnTo>
                    <a:pt x="420989" y="576071"/>
                  </a:lnTo>
                  <a:lnTo>
                    <a:pt x="405299" y="576071"/>
                  </a:lnTo>
                  <a:lnTo>
                    <a:pt x="399477" y="580610"/>
                  </a:lnTo>
                  <a:lnTo>
                    <a:pt x="393556" y="580610"/>
                  </a:lnTo>
                  <a:lnTo>
                    <a:pt x="389658" y="582140"/>
                  </a:lnTo>
                  <a:lnTo>
                    <a:pt x="385711" y="580610"/>
                  </a:lnTo>
                  <a:lnTo>
                    <a:pt x="379888" y="585199"/>
                  </a:lnTo>
                  <a:lnTo>
                    <a:pt x="379888" y="589788"/>
                  </a:lnTo>
                  <a:lnTo>
                    <a:pt x="375941" y="589788"/>
                  </a:lnTo>
                  <a:lnTo>
                    <a:pt x="368096" y="586728"/>
                  </a:lnTo>
                  <a:lnTo>
                    <a:pt x="368096" y="582140"/>
                  </a:lnTo>
                  <a:lnTo>
                    <a:pt x="362274" y="580610"/>
                  </a:lnTo>
                  <a:lnTo>
                    <a:pt x="356402" y="582140"/>
                  </a:lnTo>
                  <a:lnTo>
                    <a:pt x="344659" y="577551"/>
                  </a:lnTo>
                  <a:lnTo>
                    <a:pt x="338739" y="576071"/>
                  </a:lnTo>
                  <a:lnTo>
                    <a:pt x="334840" y="580610"/>
                  </a:lnTo>
                  <a:lnTo>
                    <a:pt x="334840" y="585199"/>
                  </a:lnTo>
                  <a:lnTo>
                    <a:pt x="336814" y="588258"/>
                  </a:lnTo>
                  <a:lnTo>
                    <a:pt x="334840" y="588258"/>
                  </a:lnTo>
                  <a:lnTo>
                    <a:pt x="332867" y="586728"/>
                  </a:lnTo>
                  <a:lnTo>
                    <a:pt x="325022" y="588258"/>
                  </a:lnTo>
                  <a:lnTo>
                    <a:pt x="323097" y="586728"/>
                  </a:lnTo>
                  <a:lnTo>
                    <a:pt x="323097" y="583669"/>
                  </a:lnTo>
                  <a:lnTo>
                    <a:pt x="321124" y="580610"/>
                  </a:lnTo>
                  <a:lnTo>
                    <a:pt x="319200" y="576071"/>
                  </a:lnTo>
                  <a:lnTo>
                    <a:pt x="315252" y="571482"/>
                  </a:lnTo>
                  <a:lnTo>
                    <a:pt x="309381" y="568423"/>
                  </a:lnTo>
                  <a:lnTo>
                    <a:pt x="301585" y="565413"/>
                  </a:lnTo>
                  <a:lnTo>
                    <a:pt x="299611" y="563884"/>
                  </a:lnTo>
                  <a:lnTo>
                    <a:pt x="295665" y="559295"/>
                  </a:lnTo>
                  <a:lnTo>
                    <a:pt x="291766" y="550167"/>
                  </a:lnTo>
                  <a:lnTo>
                    <a:pt x="289793" y="548638"/>
                  </a:lnTo>
                  <a:lnTo>
                    <a:pt x="281997" y="548638"/>
                  </a:lnTo>
                  <a:lnTo>
                    <a:pt x="276126" y="554707"/>
                  </a:lnTo>
                  <a:lnTo>
                    <a:pt x="272178" y="557766"/>
                  </a:lnTo>
                  <a:lnTo>
                    <a:pt x="266307" y="559295"/>
                  </a:lnTo>
                  <a:lnTo>
                    <a:pt x="262409" y="559295"/>
                  </a:lnTo>
                  <a:lnTo>
                    <a:pt x="262409" y="557766"/>
                  </a:lnTo>
                  <a:lnTo>
                    <a:pt x="248692" y="557766"/>
                  </a:lnTo>
                  <a:lnTo>
                    <a:pt x="242821" y="559295"/>
                  </a:lnTo>
                  <a:lnTo>
                    <a:pt x="240847" y="562354"/>
                  </a:lnTo>
                  <a:lnTo>
                    <a:pt x="236949" y="563884"/>
                  </a:lnTo>
                  <a:lnTo>
                    <a:pt x="231078" y="560825"/>
                  </a:lnTo>
                  <a:lnTo>
                    <a:pt x="223233" y="556236"/>
                  </a:lnTo>
                  <a:lnTo>
                    <a:pt x="219335" y="553177"/>
                  </a:lnTo>
                  <a:lnTo>
                    <a:pt x="215388" y="550167"/>
                  </a:lnTo>
                  <a:lnTo>
                    <a:pt x="209516" y="547108"/>
                  </a:lnTo>
                  <a:lnTo>
                    <a:pt x="209516" y="542519"/>
                  </a:lnTo>
                  <a:lnTo>
                    <a:pt x="207592" y="541039"/>
                  </a:lnTo>
                  <a:lnTo>
                    <a:pt x="207592" y="541039"/>
                  </a:lnTo>
                  <a:lnTo>
                    <a:pt x="205618" y="536451"/>
                  </a:lnTo>
                  <a:lnTo>
                    <a:pt x="199747" y="533392"/>
                  </a:lnTo>
                  <a:lnTo>
                    <a:pt x="195849" y="531911"/>
                  </a:lnTo>
                  <a:lnTo>
                    <a:pt x="193875" y="521204"/>
                  </a:lnTo>
                  <a:lnTo>
                    <a:pt x="195849" y="518145"/>
                  </a:lnTo>
                  <a:lnTo>
                    <a:pt x="189977" y="515086"/>
                  </a:lnTo>
                  <a:lnTo>
                    <a:pt x="176261" y="512076"/>
                  </a:lnTo>
                  <a:lnTo>
                    <a:pt x="174287" y="509017"/>
                  </a:lnTo>
                  <a:lnTo>
                    <a:pt x="174287" y="502949"/>
                  </a:lnTo>
                  <a:lnTo>
                    <a:pt x="172314" y="501419"/>
                  </a:lnTo>
                  <a:lnTo>
                    <a:pt x="164518" y="498360"/>
                  </a:lnTo>
                  <a:lnTo>
                    <a:pt x="160620" y="495301"/>
                  </a:lnTo>
                  <a:lnTo>
                    <a:pt x="160620" y="486173"/>
                  </a:lnTo>
                  <a:lnTo>
                    <a:pt x="158646" y="483114"/>
                  </a:lnTo>
                  <a:lnTo>
                    <a:pt x="146903" y="477045"/>
                  </a:lnTo>
                  <a:lnTo>
                    <a:pt x="144930" y="477045"/>
                  </a:lnTo>
                  <a:lnTo>
                    <a:pt x="137085" y="475515"/>
                  </a:lnTo>
                  <a:lnTo>
                    <a:pt x="135160" y="477045"/>
                  </a:lnTo>
                  <a:lnTo>
                    <a:pt x="129289" y="475515"/>
                  </a:lnTo>
                  <a:lnTo>
                    <a:pt x="121443" y="467867"/>
                  </a:lnTo>
                  <a:lnTo>
                    <a:pt x="125342" y="466338"/>
                  </a:lnTo>
                  <a:lnTo>
                    <a:pt x="125342" y="463279"/>
                  </a:lnTo>
                  <a:lnTo>
                    <a:pt x="129289" y="460269"/>
                  </a:lnTo>
                  <a:lnTo>
                    <a:pt x="131262" y="455680"/>
                  </a:lnTo>
                  <a:lnTo>
                    <a:pt x="129289" y="452671"/>
                  </a:lnTo>
                  <a:lnTo>
                    <a:pt x="123417" y="452671"/>
                  </a:lnTo>
                  <a:lnTo>
                    <a:pt x="115572" y="449612"/>
                  </a:lnTo>
                  <a:lnTo>
                    <a:pt x="113648" y="443493"/>
                  </a:lnTo>
                  <a:lnTo>
                    <a:pt x="107727" y="441964"/>
                  </a:lnTo>
                  <a:lnTo>
                    <a:pt x="101855" y="441964"/>
                  </a:lnTo>
                  <a:lnTo>
                    <a:pt x="94060" y="438905"/>
                  </a:lnTo>
                  <a:lnTo>
                    <a:pt x="88188" y="434365"/>
                  </a:lnTo>
                  <a:lnTo>
                    <a:pt x="86214" y="429777"/>
                  </a:lnTo>
                  <a:lnTo>
                    <a:pt x="90112" y="425238"/>
                  </a:lnTo>
                  <a:lnTo>
                    <a:pt x="86214" y="423708"/>
                  </a:lnTo>
                  <a:lnTo>
                    <a:pt x="76346" y="422178"/>
                  </a:lnTo>
                  <a:lnTo>
                    <a:pt x="72449" y="425238"/>
                  </a:lnTo>
                  <a:lnTo>
                    <a:pt x="62581" y="425238"/>
                  </a:lnTo>
                  <a:lnTo>
                    <a:pt x="58633" y="422178"/>
                  </a:lnTo>
                  <a:lnTo>
                    <a:pt x="58633" y="411570"/>
                  </a:lnTo>
                  <a:lnTo>
                    <a:pt x="60607" y="405501"/>
                  </a:lnTo>
                  <a:lnTo>
                    <a:pt x="62581" y="403972"/>
                  </a:lnTo>
                  <a:lnTo>
                    <a:pt x="64505" y="396373"/>
                  </a:lnTo>
                  <a:lnTo>
                    <a:pt x="60607" y="391834"/>
                  </a:lnTo>
                  <a:lnTo>
                    <a:pt x="54736" y="379598"/>
                  </a:lnTo>
                  <a:lnTo>
                    <a:pt x="46890" y="368940"/>
                  </a:lnTo>
                  <a:lnTo>
                    <a:pt x="44966" y="364401"/>
                  </a:lnTo>
                  <a:lnTo>
                    <a:pt x="37121" y="359812"/>
                  </a:lnTo>
                  <a:lnTo>
                    <a:pt x="37121" y="353694"/>
                  </a:lnTo>
                  <a:lnTo>
                    <a:pt x="35147" y="350635"/>
                  </a:lnTo>
                  <a:lnTo>
                    <a:pt x="35147" y="344566"/>
                  </a:lnTo>
                  <a:lnTo>
                    <a:pt x="37121" y="338497"/>
                  </a:lnTo>
                  <a:lnTo>
                    <a:pt x="35147" y="333909"/>
                  </a:lnTo>
                  <a:lnTo>
                    <a:pt x="21431" y="332379"/>
                  </a:lnTo>
                  <a:lnTo>
                    <a:pt x="21431" y="318662"/>
                  </a:lnTo>
                  <a:lnTo>
                    <a:pt x="17533" y="312593"/>
                  </a:lnTo>
                  <a:lnTo>
                    <a:pt x="19507" y="308005"/>
                  </a:lnTo>
                  <a:lnTo>
                    <a:pt x="15609" y="304946"/>
                  </a:lnTo>
                  <a:lnTo>
                    <a:pt x="19507" y="303466"/>
                  </a:lnTo>
                  <a:lnTo>
                    <a:pt x="19507" y="298828"/>
                  </a:lnTo>
                  <a:lnTo>
                    <a:pt x="15609" y="298828"/>
                  </a:lnTo>
                  <a:lnTo>
                    <a:pt x="7764" y="303466"/>
                  </a:lnTo>
                  <a:lnTo>
                    <a:pt x="-82" y="298828"/>
                  </a:lnTo>
                  <a:lnTo>
                    <a:pt x="-82" y="292759"/>
                  </a:lnTo>
                  <a:lnTo>
                    <a:pt x="13635" y="282101"/>
                  </a:lnTo>
                  <a:lnTo>
                    <a:pt x="17533" y="277513"/>
                  </a:lnTo>
                  <a:lnTo>
                    <a:pt x="15609" y="271443"/>
                  </a:lnTo>
                  <a:lnTo>
                    <a:pt x="9688" y="268384"/>
                  </a:lnTo>
                  <a:lnTo>
                    <a:pt x="11661" y="263796"/>
                  </a:lnTo>
                  <a:lnTo>
                    <a:pt x="17533" y="259257"/>
                  </a:lnTo>
                  <a:lnTo>
                    <a:pt x="21431" y="253138"/>
                  </a:lnTo>
                  <a:lnTo>
                    <a:pt x="17533" y="248599"/>
                  </a:lnTo>
                  <a:lnTo>
                    <a:pt x="17533" y="245540"/>
                  </a:lnTo>
                  <a:lnTo>
                    <a:pt x="23404" y="239422"/>
                  </a:lnTo>
                  <a:lnTo>
                    <a:pt x="27302" y="240951"/>
                  </a:lnTo>
                  <a:lnTo>
                    <a:pt x="39045" y="225705"/>
                  </a:lnTo>
                  <a:lnTo>
                    <a:pt x="42993" y="219636"/>
                  </a:lnTo>
                  <a:lnTo>
                    <a:pt x="39045" y="215048"/>
                  </a:lnTo>
                  <a:lnTo>
                    <a:pt x="39045" y="205920"/>
                  </a:lnTo>
                  <a:lnTo>
                    <a:pt x="46890" y="202861"/>
                  </a:lnTo>
                  <a:lnTo>
                    <a:pt x="54736" y="202861"/>
                  </a:lnTo>
                  <a:lnTo>
                    <a:pt x="60607" y="205920"/>
                  </a:lnTo>
                  <a:lnTo>
                    <a:pt x="66478" y="201331"/>
                  </a:lnTo>
                  <a:lnTo>
                    <a:pt x="72350" y="199802"/>
                  </a:lnTo>
                  <a:lnTo>
                    <a:pt x="70426" y="79460"/>
                  </a:lnTo>
                  <a:lnTo>
                    <a:pt x="70426" y="67224"/>
                  </a:lnTo>
                  <a:lnTo>
                    <a:pt x="103681" y="6421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Graphic 2">
              <a:extLst>
                <a:ext uri="{FF2B5EF4-FFF2-40B4-BE49-F238E27FC236}">
                  <a16:creationId xmlns:a16="http://schemas.microsoft.com/office/drawing/2014/main" id="{2FC71878-E9D8-4C2C-B18E-4FB6EF52A500}"/>
                </a:ext>
              </a:extLst>
            </p:cNvPr>
            <p:cNvSpPr/>
            <p:nvPr/>
          </p:nvSpPr>
          <p:spPr>
            <a:xfrm>
              <a:off x="6496104" y="4217709"/>
              <a:ext cx="502054" cy="325426"/>
            </a:xfrm>
            <a:custGeom>
              <a:avLst/>
              <a:gdLst>
                <a:gd name="connsiteX0" fmla="*/ 84488 w 552611"/>
                <a:gd name="connsiteY0" fmla="*/ 299025 h 358211"/>
                <a:gd name="connsiteX1" fmla="*/ 80491 w 552611"/>
                <a:gd name="connsiteY1" fmla="*/ 286838 h 358211"/>
                <a:gd name="connsiteX2" fmla="*/ 76593 w 552611"/>
                <a:gd name="connsiteY2" fmla="*/ 283828 h 358211"/>
                <a:gd name="connsiteX3" fmla="*/ 74620 w 552611"/>
                <a:gd name="connsiteY3" fmla="*/ 273220 h 358211"/>
                <a:gd name="connsiteX4" fmla="*/ 68698 w 552611"/>
                <a:gd name="connsiteY4" fmla="*/ 265622 h 358211"/>
                <a:gd name="connsiteX5" fmla="*/ 66774 w 552611"/>
                <a:gd name="connsiteY5" fmla="*/ 261082 h 358211"/>
                <a:gd name="connsiteX6" fmla="*/ 62827 w 552611"/>
                <a:gd name="connsiteY6" fmla="*/ 256543 h 358211"/>
                <a:gd name="connsiteX7" fmla="*/ 54982 w 552611"/>
                <a:gd name="connsiteY7" fmla="*/ 256543 h 358211"/>
                <a:gd name="connsiteX8" fmla="*/ 53008 w 552611"/>
                <a:gd name="connsiteY8" fmla="*/ 255013 h 358211"/>
                <a:gd name="connsiteX9" fmla="*/ 53008 w 552611"/>
                <a:gd name="connsiteY9" fmla="*/ 251954 h 358211"/>
                <a:gd name="connsiteX10" fmla="*/ 47087 w 552611"/>
                <a:gd name="connsiteY10" fmla="*/ 250425 h 358211"/>
                <a:gd name="connsiteX11" fmla="*/ 39242 w 552611"/>
                <a:gd name="connsiteY11" fmla="*/ 238287 h 358211"/>
                <a:gd name="connsiteX12" fmla="*/ 35295 w 552611"/>
                <a:gd name="connsiteY12" fmla="*/ 236757 h 358211"/>
                <a:gd name="connsiteX13" fmla="*/ 35295 w 552611"/>
                <a:gd name="connsiteY13" fmla="*/ 233698 h 358211"/>
                <a:gd name="connsiteX14" fmla="*/ 29424 w 552611"/>
                <a:gd name="connsiteY14" fmla="*/ 227679 h 358211"/>
                <a:gd name="connsiteX15" fmla="*/ 25476 w 552611"/>
                <a:gd name="connsiteY15" fmla="*/ 224620 h 358211"/>
                <a:gd name="connsiteX16" fmla="*/ 11711 w 552611"/>
                <a:gd name="connsiteY16" fmla="*/ 224620 h 358211"/>
                <a:gd name="connsiteX17" fmla="*/ 3865 w 552611"/>
                <a:gd name="connsiteY17" fmla="*/ 223140 h 358211"/>
                <a:gd name="connsiteX18" fmla="*/ -82 w 552611"/>
                <a:gd name="connsiteY18" fmla="*/ 218551 h 358211"/>
                <a:gd name="connsiteX19" fmla="*/ 5839 w 552611"/>
                <a:gd name="connsiteY19" fmla="*/ 210952 h 358211"/>
                <a:gd name="connsiteX20" fmla="*/ 11711 w 552611"/>
                <a:gd name="connsiteY20" fmla="*/ 209472 h 358211"/>
                <a:gd name="connsiteX21" fmla="*/ 11711 w 552611"/>
                <a:gd name="connsiteY21" fmla="*/ 203354 h 358211"/>
                <a:gd name="connsiteX22" fmla="*/ 19605 w 552611"/>
                <a:gd name="connsiteY22" fmla="*/ 204884 h 358211"/>
                <a:gd name="connsiteX23" fmla="*/ 25476 w 552611"/>
                <a:gd name="connsiteY23" fmla="*/ 203354 h 358211"/>
                <a:gd name="connsiteX24" fmla="*/ 29424 w 552611"/>
                <a:gd name="connsiteY24" fmla="*/ 204884 h 358211"/>
                <a:gd name="connsiteX25" fmla="*/ 33321 w 552611"/>
                <a:gd name="connsiteY25" fmla="*/ 206413 h 358211"/>
                <a:gd name="connsiteX26" fmla="*/ 35295 w 552611"/>
                <a:gd name="connsiteY26" fmla="*/ 203354 h 358211"/>
                <a:gd name="connsiteX27" fmla="*/ 39242 w 552611"/>
                <a:gd name="connsiteY27" fmla="*/ 200295 h 358211"/>
                <a:gd name="connsiteX28" fmla="*/ 41216 w 552611"/>
                <a:gd name="connsiteY28" fmla="*/ 185148 h 358211"/>
                <a:gd name="connsiteX29" fmla="*/ 41216 w 552611"/>
                <a:gd name="connsiteY29" fmla="*/ 173010 h 358211"/>
                <a:gd name="connsiteX30" fmla="*/ 45113 w 552611"/>
                <a:gd name="connsiteY30" fmla="*/ 165411 h 358211"/>
                <a:gd name="connsiteX31" fmla="*/ 51035 w 552611"/>
                <a:gd name="connsiteY31" fmla="*/ 156333 h 358211"/>
                <a:gd name="connsiteX32" fmla="*/ 51035 w 552611"/>
                <a:gd name="connsiteY32" fmla="*/ 150215 h 358211"/>
                <a:gd name="connsiteX33" fmla="*/ 47087 w 552611"/>
                <a:gd name="connsiteY33" fmla="*/ 145675 h 358211"/>
                <a:gd name="connsiteX34" fmla="*/ 51035 w 552611"/>
                <a:gd name="connsiteY34" fmla="*/ 139607 h 358211"/>
                <a:gd name="connsiteX35" fmla="*/ 56906 w 552611"/>
                <a:gd name="connsiteY35" fmla="*/ 132008 h 358211"/>
                <a:gd name="connsiteX36" fmla="*/ 58880 w 552611"/>
                <a:gd name="connsiteY36" fmla="*/ 127469 h 358211"/>
                <a:gd name="connsiteX37" fmla="*/ 64800 w 552611"/>
                <a:gd name="connsiteY37" fmla="*/ 127469 h 358211"/>
                <a:gd name="connsiteX38" fmla="*/ 72695 w 552611"/>
                <a:gd name="connsiteY38" fmla="*/ 104723 h 358211"/>
                <a:gd name="connsiteX39" fmla="*/ 76593 w 552611"/>
                <a:gd name="connsiteY39" fmla="*/ 95595 h 358211"/>
                <a:gd name="connsiteX40" fmla="*/ 88385 w 552611"/>
                <a:gd name="connsiteY40" fmla="*/ 89526 h 358211"/>
                <a:gd name="connsiteX41" fmla="*/ 88385 w 552611"/>
                <a:gd name="connsiteY41" fmla="*/ 83408 h 358211"/>
                <a:gd name="connsiteX42" fmla="*/ 96279 w 552611"/>
                <a:gd name="connsiteY42" fmla="*/ 72849 h 358211"/>
                <a:gd name="connsiteX43" fmla="*/ 98204 w 552611"/>
                <a:gd name="connsiteY43" fmla="*/ 66731 h 358211"/>
                <a:gd name="connsiteX44" fmla="*/ 104076 w 552611"/>
                <a:gd name="connsiteY44" fmla="*/ 65201 h 358211"/>
                <a:gd name="connsiteX45" fmla="*/ 106049 w 552611"/>
                <a:gd name="connsiteY45" fmla="*/ 66731 h 358211"/>
                <a:gd name="connsiteX46" fmla="*/ 109996 w 552611"/>
                <a:gd name="connsiteY46" fmla="*/ 56122 h 358211"/>
                <a:gd name="connsiteX47" fmla="*/ 121789 w 552611"/>
                <a:gd name="connsiteY47" fmla="*/ 42455 h 358211"/>
                <a:gd name="connsiteX48" fmla="*/ 121789 w 552611"/>
                <a:gd name="connsiteY48" fmla="*/ 30318 h 358211"/>
                <a:gd name="connsiteX49" fmla="*/ 125736 w 552611"/>
                <a:gd name="connsiteY49" fmla="*/ 21239 h 358211"/>
                <a:gd name="connsiteX50" fmla="*/ 127660 w 552611"/>
                <a:gd name="connsiteY50" fmla="*/ 19709 h 358211"/>
                <a:gd name="connsiteX51" fmla="*/ 131657 w 552611"/>
                <a:gd name="connsiteY51" fmla="*/ 21239 h 358211"/>
                <a:gd name="connsiteX52" fmla="*/ 139502 w 552611"/>
                <a:gd name="connsiteY52" fmla="*/ 21239 h 358211"/>
                <a:gd name="connsiteX53" fmla="*/ 141475 w 552611"/>
                <a:gd name="connsiteY53" fmla="*/ 18180 h 358211"/>
                <a:gd name="connsiteX54" fmla="*/ 149320 w 552611"/>
                <a:gd name="connsiteY54" fmla="*/ 18180 h 358211"/>
                <a:gd name="connsiteX55" fmla="*/ 159188 w 552611"/>
                <a:gd name="connsiteY55" fmla="*/ -27 h 358211"/>
                <a:gd name="connsiteX56" fmla="*/ 161162 w 552611"/>
                <a:gd name="connsiteY56" fmla="*/ 1503 h 358211"/>
                <a:gd name="connsiteX57" fmla="*/ 163136 w 552611"/>
                <a:gd name="connsiteY57" fmla="*/ 4513 h 358211"/>
                <a:gd name="connsiteX58" fmla="*/ 176902 w 552611"/>
                <a:gd name="connsiteY58" fmla="*/ 10581 h 358211"/>
                <a:gd name="connsiteX59" fmla="*/ 186770 w 552611"/>
                <a:gd name="connsiteY59" fmla="*/ 10581 h 358211"/>
                <a:gd name="connsiteX60" fmla="*/ 192691 w 552611"/>
                <a:gd name="connsiteY60" fmla="*/ 4513 h 358211"/>
                <a:gd name="connsiteX61" fmla="*/ 198562 w 552611"/>
                <a:gd name="connsiteY61" fmla="*/ 2983 h 358211"/>
                <a:gd name="connsiteX62" fmla="*/ 202509 w 552611"/>
                <a:gd name="connsiteY62" fmla="*/ 9052 h 358211"/>
                <a:gd name="connsiteX63" fmla="*/ 206407 w 552611"/>
                <a:gd name="connsiteY63" fmla="*/ 4513 h 358211"/>
                <a:gd name="connsiteX64" fmla="*/ 212328 w 552611"/>
                <a:gd name="connsiteY64" fmla="*/ 4513 h 358211"/>
                <a:gd name="connsiteX65" fmla="*/ 224120 w 552611"/>
                <a:gd name="connsiteY65" fmla="*/ 13591 h 358211"/>
                <a:gd name="connsiteX66" fmla="*/ 226094 w 552611"/>
                <a:gd name="connsiteY66" fmla="*/ 12062 h 358211"/>
                <a:gd name="connsiteX67" fmla="*/ 237887 w 552611"/>
                <a:gd name="connsiteY67" fmla="*/ 12062 h 358211"/>
                <a:gd name="connsiteX68" fmla="*/ 243758 w 552611"/>
                <a:gd name="connsiteY68" fmla="*/ 18180 h 358211"/>
                <a:gd name="connsiteX69" fmla="*/ 251652 w 552611"/>
                <a:gd name="connsiteY69" fmla="*/ 18180 h 358211"/>
                <a:gd name="connsiteX70" fmla="*/ 263445 w 552611"/>
                <a:gd name="connsiteY70" fmla="*/ 27258 h 358211"/>
                <a:gd name="connsiteX71" fmla="*/ 265369 w 552611"/>
                <a:gd name="connsiteY71" fmla="*/ 33327 h 358211"/>
                <a:gd name="connsiteX72" fmla="*/ 275237 w 552611"/>
                <a:gd name="connsiteY72" fmla="*/ 34857 h 358211"/>
                <a:gd name="connsiteX73" fmla="*/ 277161 w 552611"/>
                <a:gd name="connsiteY73" fmla="*/ 36386 h 358211"/>
                <a:gd name="connsiteX74" fmla="*/ 285056 w 552611"/>
                <a:gd name="connsiteY74" fmla="*/ 37916 h 358211"/>
                <a:gd name="connsiteX75" fmla="*/ 287029 w 552611"/>
                <a:gd name="connsiteY75" fmla="*/ 39445 h 358211"/>
                <a:gd name="connsiteX76" fmla="*/ 294874 w 552611"/>
                <a:gd name="connsiteY76" fmla="*/ 43985 h 358211"/>
                <a:gd name="connsiteX77" fmla="*/ 304742 w 552611"/>
                <a:gd name="connsiteY77" fmla="*/ 53113 h 358211"/>
                <a:gd name="connsiteX78" fmla="*/ 312588 w 552611"/>
                <a:gd name="connsiteY78" fmla="*/ 53113 h 358211"/>
                <a:gd name="connsiteX79" fmla="*/ 320482 w 552611"/>
                <a:gd name="connsiteY79" fmla="*/ 63672 h 358211"/>
                <a:gd name="connsiteX80" fmla="*/ 320482 w 552611"/>
                <a:gd name="connsiteY80" fmla="*/ 68260 h 358211"/>
                <a:gd name="connsiteX81" fmla="*/ 322456 w 552611"/>
                <a:gd name="connsiteY81" fmla="*/ 72849 h 358211"/>
                <a:gd name="connsiteX82" fmla="*/ 328327 w 552611"/>
                <a:gd name="connsiteY82" fmla="*/ 72849 h 358211"/>
                <a:gd name="connsiteX83" fmla="*/ 338195 w 552611"/>
                <a:gd name="connsiteY83" fmla="*/ 83408 h 358211"/>
                <a:gd name="connsiteX84" fmla="*/ 330350 w 552611"/>
                <a:gd name="connsiteY84" fmla="*/ 86516 h 358211"/>
                <a:gd name="connsiteX85" fmla="*/ 328377 w 552611"/>
                <a:gd name="connsiteY85" fmla="*/ 92536 h 358211"/>
                <a:gd name="connsiteX86" fmla="*/ 326403 w 552611"/>
                <a:gd name="connsiteY86" fmla="*/ 98604 h 358211"/>
                <a:gd name="connsiteX87" fmla="*/ 326403 w 552611"/>
                <a:gd name="connsiteY87" fmla="*/ 106154 h 358211"/>
                <a:gd name="connsiteX88" fmla="*/ 324429 w 552611"/>
                <a:gd name="connsiteY88" fmla="*/ 112222 h 358211"/>
                <a:gd name="connsiteX89" fmla="*/ 322505 w 552611"/>
                <a:gd name="connsiteY89" fmla="*/ 118291 h 358211"/>
                <a:gd name="connsiteX90" fmla="*/ 316584 w 552611"/>
                <a:gd name="connsiteY90" fmla="*/ 124410 h 358211"/>
                <a:gd name="connsiteX91" fmla="*/ 320532 w 552611"/>
                <a:gd name="connsiteY91" fmla="*/ 127419 h 358211"/>
                <a:gd name="connsiteX92" fmla="*/ 334297 w 552611"/>
                <a:gd name="connsiteY92" fmla="*/ 127419 h 358211"/>
                <a:gd name="connsiteX93" fmla="*/ 342143 w 552611"/>
                <a:gd name="connsiteY93" fmla="*/ 122880 h 358211"/>
                <a:gd name="connsiteX94" fmla="*/ 353935 w 552611"/>
                <a:gd name="connsiteY94" fmla="*/ 121351 h 358211"/>
                <a:gd name="connsiteX95" fmla="*/ 359806 w 552611"/>
                <a:gd name="connsiteY95" fmla="*/ 124410 h 358211"/>
                <a:gd name="connsiteX96" fmla="*/ 357882 w 552611"/>
                <a:gd name="connsiteY96" fmla="*/ 127419 h 358211"/>
                <a:gd name="connsiteX97" fmla="*/ 359806 w 552611"/>
                <a:gd name="connsiteY97" fmla="*/ 139557 h 358211"/>
                <a:gd name="connsiteX98" fmla="*/ 365728 w 552611"/>
                <a:gd name="connsiteY98" fmla="*/ 156283 h 358211"/>
                <a:gd name="connsiteX99" fmla="*/ 373573 w 552611"/>
                <a:gd name="connsiteY99" fmla="*/ 159293 h 358211"/>
                <a:gd name="connsiteX100" fmla="*/ 373573 w 552611"/>
                <a:gd name="connsiteY100" fmla="*/ 169951 h 358211"/>
                <a:gd name="connsiteX101" fmla="*/ 377519 w 552611"/>
                <a:gd name="connsiteY101" fmla="*/ 179029 h 358211"/>
                <a:gd name="connsiteX102" fmla="*/ 391286 w 552611"/>
                <a:gd name="connsiteY102" fmla="*/ 180559 h 358211"/>
                <a:gd name="connsiteX103" fmla="*/ 401154 w 552611"/>
                <a:gd name="connsiteY103" fmla="*/ 186628 h 358211"/>
                <a:gd name="connsiteX104" fmla="*/ 507334 w 552611"/>
                <a:gd name="connsiteY104" fmla="*/ 215443 h 358211"/>
                <a:gd name="connsiteX105" fmla="*/ 552530 w 552611"/>
                <a:gd name="connsiteY105" fmla="*/ 213962 h 358211"/>
                <a:gd name="connsiteX106" fmla="*/ 440478 w 552611"/>
                <a:gd name="connsiteY106" fmla="*/ 311113 h 358211"/>
                <a:gd name="connsiteX107" fmla="*/ 416893 w 552611"/>
                <a:gd name="connsiteY107" fmla="*/ 309584 h 358211"/>
                <a:gd name="connsiteX108" fmla="*/ 395233 w 552611"/>
                <a:gd name="connsiteY108" fmla="*/ 311113 h 358211"/>
                <a:gd name="connsiteX109" fmla="*/ 389361 w 552611"/>
                <a:gd name="connsiteY109" fmla="*/ 314123 h 358211"/>
                <a:gd name="connsiteX110" fmla="*/ 381516 w 552611"/>
                <a:gd name="connsiteY110" fmla="*/ 314123 h 358211"/>
                <a:gd name="connsiteX111" fmla="*/ 373622 w 552611"/>
                <a:gd name="connsiteY111" fmla="*/ 318663 h 358211"/>
                <a:gd name="connsiteX112" fmla="*/ 369724 w 552611"/>
                <a:gd name="connsiteY112" fmla="*/ 326310 h 358211"/>
                <a:gd name="connsiteX113" fmla="*/ 363803 w 552611"/>
                <a:gd name="connsiteY113" fmla="*/ 329320 h 358211"/>
                <a:gd name="connsiteX114" fmla="*/ 353935 w 552611"/>
                <a:gd name="connsiteY114" fmla="*/ 333859 h 358211"/>
                <a:gd name="connsiteX115" fmla="*/ 342143 w 552611"/>
                <a:gd name="connsiteY115" fmla="*/ 335389 h 358211"/>
                <a:gd name="connsiteX116" fmla="*/ 332275 w 552611"/>
                <a:gd name="connsiteY116" fmla="*/ 339978 h 358211"/>
                <a:gd name="connsiteX117" fmla="*/ 328327 w 552611"/>
                <a:gd name="connsiteY117" fmla="*/ 342987 h 358211"/>
                <a:gd name="connsiteX118" fmla="*/ 328327 w 552611"/>
                <a:gd name="connsiteY118" fmla="*/ 344517 h 358211"/>
                <a:gd name="connsiteX119" fmla="*/ 316535 w 552611"/>
                <a:gd name="connsiteY119" fmla="*/ 342987 h 358211"/>
                <a:gd name="connsiteX120" fmla="*/ 304742 w 552611"/>
                <a:gd name="connsiteY120" fmla="*/ 346046 h 358211"/>
                <a:gd name="connsiteX121" fmla="*/ 298871 w 552611"/>
                <a:gd name="connsiteY121" fmla="*/ 342987 h 358211"/>
                <a:gd name="connsiteX122" fmla="*/ 294924 w 552611"/>
                <a:gd name="connsiteY122" fmla="*/ 336919 h 358211"/>
                <a:gd name="connsiteX123" fmla="*/ 289003 w 552611"/>
                <a:gd name="connsiteY123" fmla="*/ 333859 h 358211"/>
                <a:gd name="connsiteX124" fmla="*/ 271339 w 552611"/>
                <a:gd name="connsiteY124" fmla="*/ 335389 h 358211"/>
                <a:gd name="connsiteX125" fmla="*/ 267392 w 552611"/>
                <a:gd name="connsiteY125" fmla="*/ 338448 h 358211"/>
                <a:gd name="connsiteX126" fmla="*/ 263494 w 552611"/>
                <a:gd name="connsiteY126" fmla="*/ 338448 h 358211"/>
                <a:gd name="connsiteX127" fmla="*/ 255600 w 552611"/>
                <a:gd name="connsiteY127" fmla="*/ 339978 h 358211"/>
                <a:gd name="connsiteX128" fmla="*/ 251701 w 552611"/>
                <a:gd name="connsiteY128" fmla="*/ 344517 h 358211"/>
                <a:gd name="connsiteX129" fmla="*/ 241833 w 552611"/>
                <a:gd name="connsiteY129" fmla="*/ 358184 h 358211"/>
                <a:gd name="connsiteX130" fmla="*/ 230042 w 552611"/>
                <a:gd name="connsiteY130" fmla="*/ 358184 h 358211"/>
                <a:gd name="connsiteX131" fmla="*/ 224170 w 552611"/>
                <a:gd name="connsiteY131" fmla="*/ 356655 h 358211"/>
                <a:gd name="connsiteX132" fmla="*/ 212377 w 552611"/>
                <a:gd name="connsiteY132" fmla="*/ 356655 h 358211"/>
                <a:gd name="connsiteX133" fmla="*/ 204532 w 552611"/>
                <a:gd name="connsiteY133" fmla="*/ 353596 h 358211"/>
                <a:gd name="connsiteX134" fmla="*/ 192740 w 552611"/>
                <a:gd name="connsiteY134" fmla="*/ 353596 h 358211"/>
                <a:gd name="connsiteX135" fmla="*/ 186819 w 552611"/>
                <a:gd name="connsiteY135" fmla="*/ 352066 h 358211"/>
                <a:gd name="connsiteX136" fmla="*/ 182872 w 552611"/>
                <a:gd name="connsiteY136" fmla="*/ 346046 h 358211"/>
                <a:gd name="connsiteX137" fmla="*/ 171080 w 552611"/>
                <a:gd name="connsiteY137" fmla="*/ 341507 h 358211"/>
                <a:gd name="connsiteX138" fmla="*/ 157363 w 552611"/>
                <a:gd name="connsiteY138" fmla="*/ 329320 h 358211"/>
                <a:gd name="connsiteX139" fmla="*/ 151442 w 552611"/>
                <a:gd name="connsiteY139" fmla="*/ 326310 h 358211"/>
                <a:gd name="connsiteX140" fmla="*/ 131706 w 552611"/>
                <a:gd name="connsiteY140" fmla="*/ 326310 h 358211"/>
                <a:gd name="connsiteX141" fmla="*/ 123812 w 552611"/>
                <a:gd name="connsiteY141" fmla="*/ 324781 h 358211"/>
                <a:gd name="connsiteX142" fmla="*/ 115917 w 552611"/>
                <a:gd name="connsiteY142" fmla="*/ 327790 h 358211"/>
                <a:gd name="connsiteX143" fmla="*/ 108121 w 552611"/>
                <a:gd name="connsiteY143" fmla="*/ 326310 h 358211"/>
                <a:gd name="connsiteX144" fmla="*/ 102201 w 552611"/>
                <a:gd name="connsiteY144" fmla="*/ 318663 h 358211"/>
                <a:gd name="connsiteX145" fmla="*/ 102201 w 552611"/>
                <a:gd name="connsiteY145" fmla="*/ 302035 h 358211"/>
                <a:gd name="connsiteX146" fmla="*/ 96329 w 552611"/>
                <a:gd name="connsiteY146" fmla="*/ 300505 h 358211"/>
                <a:gd name="connsiteX147" fmla="*/ 90408 w 552611"/>
                <a:gd name="connsiteY147" fmla="*/ 302035 h 358211"/>
                <a:gd name="connsiteX148" fmla="*/ 86461 w 552611"/>
                <a:gd name="connsiteY148" fmla="*/ 294486 h 358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552611" h="358211">
                  <a:moveTo>
                    <a:pt x="84488" y="299025"/>
                  </a:moveTo>
                  <a:lnTo>
                    <a:pt x="80491" y="286838"/>
                  </a:lnTo>
                  <a:lnTo>
                    <a:pt x="76593" y="283828"/>
                  </a:lnTo>
                  <a:lnTo>
                    <a:pt x="74620" y="273220"/>
                  </a:lnTo>
                  <a:lnTo>
                    <a:pt x="68698" y="265622"/>
                  </a:lnTo>
                  <a:lnTo>
                    <a:pt x="66774" y="261082"/>
                  </a:lnTo>
                  <a:lnTo>
                    <a:pt x="62827" y="256543"/>
                  </a:lnTo>
                  <a:lnTo>
                    <a:pt x="54982" y="256543"/>
                  </a:lnTo>
                  <a:lnTo>
                    <a:pt x="53008" y="255013"/>
                  </a:lnTo>
                  <a:lnTo>
                    <a:pt x="53008" y="251954"/>
                  </a:lnTo>
                  <a:lnTo>
                    <a:pt x="47087" y="250425"/>
                  </a:lnTo>
                  <a:lnTo>
                    <a:pt x="39242" y="238287"/>
                  </a:lnTo>
                  <a:lnTo>
                    <a:pt x="35295" y="236757"/>
                  </a:lnTo>
                  <a:lnTo>
                    <a:pt x="35295" y="233698"/>
                  </a:lnTo>
                  <a:lnTo>
                    <a:pt x="29424" y="227679"/>
                  </a:lnTo>
                  <a:lnTo>
                    <a:pt x="25476" y="224620"/>
                  </a:lnTo>
                  <a:lnTo>
                    <a:pt x="11711" y="224620"/>
                  </a:lnTo>
                  <a:lnTo>
                    <a:pt x="3865" y="223140"/>
                  </a:lnTo>
                  <a:lnTo>
                    <a:pt x="-82" y="218551"/>
                  </a:lnTo>
                  <a:lnTo>
                    <a:pt x="5839" y="210952"/>
                  </a:lnTo>
                  <a:lnTo>
                    <a:pt x="11711" y="209472"/>
                  </a:lnTo>
                  <a:lnTo>
                    <a:pt x="11711" y="203354"/>
                  </a:lnTo>
                  <a:lnTo>
                    <a:pt x="19605" y="204884"/>
                  </a:lnTo>
                  <a:lnTo>
                    <a:pt x="25476" y="203354"/>
                  </a:lnTo>
                  <a:lnTo>
                    <a:pt x="29424" y="204884"/>
                  </a:lnTo>
                  <a:lnTo>
                    <a:pt x="33321" y="206413"/>
                  </a:lnTo>
                  <a:lnTo>
                    <a:pt x="35295" y="203354"/>
                  </a:lnTo>
                  <a:lnTo>
                    <a:pt x="39242" y="200295"/>
                  </a:lnTo>
                  <a:lnTo>
                    <a:pt x="41216" y="185148"/>
                  </a:lnTo>
                  <a:lnTo>
                    <a:pt x="41216" y="173010"/>
                  </a:lnTo>
                  <a:lnTo>
                    <a:pt x="45113" y="165411"/>
                  </a:lnTo>
                  <a:lnTo>
                    <a:pt x="51035" y="156333"/>
                  </a:lnTo>
                  <a:lnTo>
                    <a:pt x="51035" y="150215"/>
                  </a:lnTo>
                  <a:lnTo>
                    <a:pt x="47087" y="145675"/>
                  </a:lnTo>
                  <a:lnTo>
                    <a:pt x="51035" y="139607"/>
                  </a:lnTo>
                  <a:lnTo>
                    <a:pt x="56906" y="132008"/>
                  </a:lnTo>
                  <a:lnTo>
                    <a:pt x="58880" y="127469"/>
                  </a:lnTo>
                  <a:lnTo>
                    <a:pt x="64800" y="127469"/>
                  </a:lnTo>
                  <a:lnTo>
                    <a:pt x="72695" y="104723"/>
                  </a:lnTo>
                  <a:lnTo>
                    <a:pt x="76593" y="95595"/>
                  </a:lnTo>
                  <a:lnTo>
                    <a:pt x="88385" y="89526"/>
                  </a:lnTo>
                  <a:lnTo>
                    <a:pt x="88385" y="83408"/>
                  </a:lnTo>
                  <a:lnTo>
                    <a:pt x="96279" y="72849"/>
                  </a:lnTo>
                  <a:lnTo>
                    <a:pt x="98204" y="66731"/>
                  </a:lnTo>
                  <a:lnTo>
                    <a:pt x="104076" y="65201"/>
                  </a:lnTo>
                  <a:lnTo>
                    <a:pt x="106049" y="66731"/>
                  </a:lnTo>
                  <a:lnTo>
                    <a:pt x="109996" y="56122"/>
                  </a:lnTo>
                  <a:lnTo>
                    <a:pt x="121789" y="42455"/>
                  </a:lnTo>
                  <a:lnTo>
                    <a:pt x="121789" y="30318"/>
                  </a:lnTo>
                  <a:lnTo>
                    <a:pt x="125736" y="21239"/>
                  </a:lnTo>
                  <a:lnTo>
                    <a:pt x="127660" y="19709"/>
                  </a:lnTo>
                  <a:lnTo>
                    <a:pt x="131657" y="21239"/>
                  </a:lnTo>
                  <a:lnTo>
                    <a:pt x="139502" y="21239"/>
                  </a:lnTo>
                  <a:lnTo>
                    <a:pt x="141475" y="18180"/>
                  </a:lnTo>
                  <a:lnTo>
                    <a:pt x="149320" y="18180"/>
                  </a:lnTo>
                  <a:lnTo>
                    <a:pt x="159188" y="-27"/>
                  </a:lnTo>
                  <a:lnTo>
                    <a:pt x="161162" y="1503"/>
                  </a:lnTo>
                  <a:lnTo>
                    <a:pt x="163136" y="4513"/>
                  </a:lnTo>
                  <a:lnTo>
                    <a:pt x="176902" y="10581"/>
                  </a:lnTo>
                  <a:lnTo>
                    <a:pt x="186770" y="10581"/>
                  </a:lnTo>
                  <a:lnTo>
                    <a:pt x="192691" y="4513"/>
                  </a:lnTo>
                  <a:lnTo>
                    <a:pt x="198562" y="2983"/>
                  </a:lnTo>
                  <a:lnTo>
                    <a:pt x="202509" y="9052"/>
                  </a:lnTo>
                  <a:lnTo>
                    <a:pt x="206407" y="4513"/>
                  </a:lnTo>
                  <a:lnTo>
                    <a:pt x="212328" y="4513"/>
                  </a:lnTo>
                  <a:lnTo>
                    <a:pt x="224120" y="13591"/>
                  </a:lnTo>
                  <a:lnTo>
                    <a:pt x="226094" y="12062"/>
                  </a:lnTo>
                  <a:lnTo>
                    <a:pt x="237887" y="12062"/>
                  </a:lnTo>
                  <a:lnTo>
                    <a:pt x="243758" y="18180"/>
                  </a:lnTo>
                  <a:lnTo>
                    <a:pt x="251652" y="18180"/>
                  </a:lnTo>
                  <a:lnTo>
                    <a:pt x="263445" y="27258"/>
                  </a:lnTo>
                  <a:lnTo>
                    <a:pt x="265369" y="33327"/>
                  </a:lnTo>
                  <a:lnTo>
                    <a:pt x="275237" y="34857"/>
                  </a:lnTo>
                  <a:lnTo>
                    <a:pt x="277161" y="36386"/>
                  </a:lnTo>
                  <a:lnTo>
                    <a:pt x="285056" y="37916"/>
                  </a:lnTo>
                  <a:lnTo>
                    <a:pt x="287029" y="39445"/>
                  </a:lnTo>
                  <a:lnTo>
                    <a:pt x="294874" y="43985"/>
                  </a:lnTo>
                  <a:lnTo>
                    <a:pt x="304742" y="53113"/>
                  </a:lnTo>
                  <a:lnTo>
                    <a:pt x="312588" y="53113"/>
                  </a:lnTo>
                  <a:lnTo>
                    <a:pt x="320482" y="63672"/>
                  </a:lnTo>
                  <a:lnTo>
                    <a:pt x="320482" y="68260"/>
                  </a:lnTo>
                  <a:lnTo>
                    <a:pt x="322456" y="72849"/>
                  </a:lnTo>
                  <a:lnTo>
                    <a:pt x="328327" y="72849"/>
                  </a:lnTo>
                  <a:lnTo>
                    <a:pt x="338195" y="83408"/>
                  </a:lnTo>
                  <a:lnTo>
                    <a:pt x="330350" y="86516"/>
                  </a:lnTo>
                  <a:lnTo>
                    <a:pt x="328377" y="92536"/>
                  </a:lnTo>
                  <a:lnTo>
                    <a:pt x="326403" y="98604"/>
                  </a:lnTo>
                  <a:lnTo>
                    <a:pt x="326403" y="106154"/>
                  </a:lnTo>
                  <a:lnTo>
                    <a:pt x="324429" y="112222"/>
                  </a:lnTo>
                  <a:lnTo>
                    <a:pt x="322505" y="118291"/>
                  </a:lnTo>
                  <a:lnTo>
                    <a:pt x="316584" y="124410"/>
                  </a:lnTo>
                  <a:lnTo>
                    <a:pt x="320532" y="127419"/>
                  </a:lnTo>
                  <a:lnTo>
                    <a:pt x="334297" y="127419"/>
                  </a:lnTo>
                  <a:lnTo>
                    <a:pt x="342143" y="122880"/>
                  </a:lnTo>
                  <a:lnTo>
                    <a:pt x="353935" y="121351"/>
                  </a:lnTo>
                  <a:lnTo>
                    <a:pt x="359806" y="124410"/>
                  </a:lnTo>
                  <a:lnTo>
                    <a:pt x="357882" y="127419"/>
                  </a:lnTo>
                  <a:lnTo>
                    <a:pt x="359806" y="139557"/>
                  </a:lnTo>
                  <a:lnTo>
                    <a:pt x="365728" y="156283"/>
                  </a:lnTo>
                  <a:lnTo>
                    <a:pt x="373573" y="159293"/>
                  </a:lnTo>
                  <a:lnTo>
                    <a:pt x="373573" y="169951"/>
                  </a:lnTo>
                  <a:lnTo>
                    <a:pt x="377519" y="179029"/>
                  </a:lnTo>
                  <a:lnTo>
                    <a:pt x="391286" y="180559"/>
                  </a:lnTo>
                  <a:lnTo>
                    <a:pt x="401154" y="186628"/>
                  </a:lnTo>
                  <a:lnTo>
                    <a:pt x="507334" y="215443"/>
                  </a:lnTo>
                  <a:lnTo>
                    <a:pt x="552530" y="213962"/>
                  </a:lnTo>
                  <a:lnTo>
                    <a:pt x="440478" y="311113"/>
                  </a:lnTo>
                  <a:lnTo>
                    <a:pt x="416893" y="309584"/>
                  </a:lnTo>
                  <a:lnTo>
                    <a:pt x="395233" y="311113"/>
                  </a:lnTo>
                  <a:lnTo>
                    <a:pt x="389361" y="314123"/>
                  </a:lnTo>
                  <a:lnTo>
                    <a:pt x="381516" y="314123"/>
                  </a:lnTo>
                  <a:lnTo>
                    <a:pt x="373622" y="318663"/>
                  </a:lnTo>
                  <a:lnTo>
                    <a:pt x="369724" y="326310"/>
                  </a:lnTo>
                  <a:lnTo>
                    <a:pt x="363803" y="329320"/>
                  </a:lnTo>
                  <a:lnTo>
                    <a:pt x="353935" y="333859"/>
                  </a:lnTo>
                  <a:lnTo>
                    <a:pt x="342143" y="335389"/>
                  </a:lnTo>
                  <a:lnTo>
                    <a:pt x="332275" y="339978"/>
                  </a:lnTo>
                  <a:lnTo>
                    <a:pt x="328327" y="342987"/>
                  </a:lnTo>
                  <a:lnTo>
                    <a:pt x="328327" y="344517"/>
                  </a:lnTo>
                  <a:lnTo>
                    <a:pt x="316535" y="342987"/>
                  </a:lnTo>
                  <a:lnTo>
                    <a:pt x="304742" y="346046"/>
                  </a:lnTo>
                  <a:lnTo>
                    <a:pt x="298871" y="342987"/>
                  </a:lnTo>
                  <a:lnTo>
                    <a:pt x="294924" y="336919"/>
                  </a:lnTo>
                  <a:lnTo>
                    <a:pt x="289003" y="333859"/>
                  </a:lnTo>
                  <a:lnTo>
                    <a:pt x="271339" y="335389"/>
                  </a:lnTo>
                  <a:lnTo>
                    <a:pt x="267392" y="338448"/>
                  </a:lnTo>
                  <a:lnTo>
                    <a:pt x="263494" y="338448"/>
                  </a:lnTo>
                  <a:lnTo>
                    <a:pt x="255600" y="339978"/>
                  </a:lnTo>
                  <a:lnTo>
                    <a:pt x="251701" y="344517"/>
                  </a:lnTo>
                  <a:lnTo>
                    <a:pt x="241833" y="358184"/>
                  </a:lnTo>
                  <a:lnTo>
                    <a:pt x="230042" y="358184"/>
                  </a:lnTo>
                  <a:lnTo>
                    <a:pt x="224170" y="356655"/>
                  </a:lnTo>
                  <a:lnTo>
                    <a:pt x="212377" y="356655"/>
                  </a:lnTo>
                  <a:lnTo>
                    <a:pt x="204532" y="353596"/>
                  </a:lnTo>
                  <a:lnTo>
                    <a:pt x="192740" y="353596"/>
                  </a:lnTo>
                  <a:lnTo>
                    <a:pt x="186819" y="352066"/>
                  </a:lnTo>
                  <a:lnTo>
                    <a:pt x="182872" y="346046"/>
                  </a:lnTo>
                  <a:lnTo>
                    <a:pt x="171080" y="341507"/>
                  </a:lnTo>
                  <a:lnTo>
                    <a:pt x="157363" y="329320"/>
                  </a:lnTo>
                  <a:lnTo>
                    <a:pt x="151442" y="326310"/>
                  </a:lnTo>
                  <a:lnTo>
                    <a:pt x="131706" y="326310"/>
                  </a:lnTo>
                  <a:lnTo>
                    <a:pt x="123812" y="324781"/>
                  </a:lnTo>
                  <a:lnTo>
                    <a:pt x="115917" y="327790"/>
                  </a:lnTo>
                  <a:lnTo>
                    <a:pt x="108121" y="326310"/>
                  </a:lnTo>
                  <a:lnTo>
                    <a:pt x="102201" y="318663"/>
                  </a:lnTo>
                  <a:lnTo>
                    <a:pt x="102201" y="302035"/>
                  </a:lnTo>
                  <a:lnTo>
                    <a:pt x="96329" y="300505"/>
                  </a:lnTo>
                  <a:lnTo>
                    <a:pt x="90408" y="302035"/>
                  </a:lnTo>
                  <a:lnTo>
                    <a:pt x="86461" y="29448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Graphic 2">
              <a:extLst>
                <a:ext uri="{FF2B5EF4-FFF2-40B4-BE49-F238E27FC236}">
                  <a16:creationId xmlns:a16="http://schemas.microsoft.com/office/drawing/2014/main" id="{1A07159A-DD88-494D-8D8B-D1751142D47D}"/>
                </a:ext>
              </a:extLst>
            </p:cNvPr>
            <p:cNvSpPr/>
            <p:nvPr/>
          </p:nvSpPr>
          <p:spPr>
            <a:xfrm>
              <a:off x="6604763" y="4126356"/>
              <a:ext cx="220321" cy="165939"/>
            </a:xfrm>
            <a:custGeom>
              <a:avLst/>
              <a:gdLst>
                <a:gd name="connsiteX0" fmla="*/ 218693 w 242507"/>
                <a:gd name="connsiteY0" fmla="*/ 182631 h 182658"/>
                <a:gd name="connsiteX1" fmla="*/ 208825 w 242507"/>
                <a:gd name="connsiteY1" fmla="*/ 172023 h 182658"/>
                <a:gd name="connsiteX2" fmla="*/ 202904 w 242507"/>
                <a:gd name="connsiteY2" fmla="*/ 172023 h 182658"/>
                <a:gd name="connsiteX3" fmla="*/ 200931 w 242507"/>
                <a:gd name="connsiteY3" fmla="*/ 167484 h 182658"/>
                <a:gd name="connsiteX4" fmla="*/ 200931 w 242507"/>
                <a:gd name="connsiteY4" fmla="*/ 162994 h 182658"/>
                <a:gd name="connsiteX5" fmla="*/ 193036 w 242507"/>
                <a:gd name="connsiteY5" fmla="*/ 152386 h 182658"/>
                <a:gd name="connsiteX6" fmla="*/ 185388 w 242507"/>
                <a:gd name="connsiteY6" fmla="*/ 152386 h 182658"/>
                <a:gd name="connsiteX7" fmla="*/ 175520 w 242507"/>
                <a:gd name="connsiteY7" fmla="*/ 143307 h 182658"/>
                <a:gd name="connsiteX8" fmla="*/ 167626 w 242507"/>
                <a:gd name="connsiteY8" fmla="*/ 138817 h 182658"/>
                <a:gd name="connsiteX9" fmla="*/ 165652 w 242507"/>
                <a:gd name="connsiteY9" fmla="*/ 137287 h 182658"/>
                <a:gd name="connsiteX10" fmla="*/ 157807 w 242507"/>
                <a:gd name="connsiteY10" fmla="*/ 135758 h 182658"/>
                <a:gd name="connsiteX11" fmla="*/ 155834 w 242507"/>
                <a:gd name="connsiteY11" fmla="*/ 134228 h 182658"/>
                <a:gd name="connsiteX12" fmla="*/ 145965 w 242507"/>
                <a:gd name="connsiteY12" fmla="*/ 132748 h 182658"/>
                <a:gd name="connsiteX13" fmla="*/ 143992 w 242507"/>
                <a:gd name="connsiteY13" fmla="*/ 126679 h 182658"/>
                <a:gd name="connsiteX14" fmla="*/ 132150 w 242507"/>
                <a:gd name="connsiteY14" fmla="*/ 117650 h 182658"/>
                <a:gd name="connsiteX15" fmla="*/ 124256 w 242507"/>
                <a:gd name="connsiteY15" fmla="*/ 117650 h 182658"/>
                <a:gd name="connsiteX16" fmla="*/ 118335 w 242507"/>
                <a:gd name="connsiteY16" fmla="*/ 111581 h 182658"/>
                <a:gd name="connsiteX17" fmla="*/ 106444 w 242507"/>
                <a:gd name="connsiteY17" fmla="*/ 111581 h 182658"/>
                <a:gd name="connsiteX18" fmla="*/ 104470 w 242507"/>
                <a:gd name="connsiteY18" fmla="*/ 113061 h 182658"/>
                <a:gd name="connsiteX19" fmla="*/ 92678 w 242507"/>
                <a:gd name="connsiteY19" fmla="*/ 104032 h 182658"/>
                <a:gd name="connsiteX20" fmla="*/ 86708 w 242507"/>
                <a:gd name="connsiteY20" fmla="*/ 104032 h 182658"/>
                <a:gd name="connsiteX21" fmla="*/ 82810 w 242507"/>
                <a:gd name="connsiteY21" fmla="*/ 108571 h 182658"/>
                <a:gd name="connsiteX22" fmla="*/ 78863 w 242507"/>
                <a:gd name="connsiteY22" fmla="*/ 102502 h 182658"/>
                <a:gd name="connsiteX23" fmla="*/ 72892 w 242507"/>
                <a:gd name="connsiteY23" fmla="*/ 104032 h 182658"/>
                <a:gd name="connsiteX24" fmla="*/ 67021 w 242507"/>
                <a:gd name="connsiteY24" fmla="*/ 110051 h 182658"/>
                <a:gd name="connsiteX25" fmla="*/ 57153 w 242507"/>
                <a:gd name="connsiteY25" fmla="*/ 110051 h 182658"/>
                <a:gd name="connsiteX26" fmla="*/ 43337 w 242507"/>
                <a:gd name="connsiteY26" fmla="*/ 104032 h 182658"/>
                <a:gd name="connsiteX27" fmla="*/ 41364 w 242507"/>
                <a:gd name="connsiteY27" fmla="*/ 100973 h 182658"/>
                <a:gd name="connsiteX28" fmla="*/ 39390 w 242507"/>
                <a:gd name="connsiteY28" fmla="*/ 99493 h 182658"/>
                <a:gd name="connsiteX29" fmla="*/ 29522 w 242507"/>
                <a:gd name="connsiteY29" fmla="*/ 117650 h 182658"/>
                <a:gd name="connsiteX30" fmla="*/ 21579 w 242507"/>
                <a:gd name="connsiteY30" fmla="*/ 117650 h 182658"/>
                <a:gd name="connsiteX31" fmla="*/ 19605 w 242507"/>
                <a:gd name="connsiteY31" fmla="*/ 120660 h 182658"/>
                <a:gd name="connsiteX32" fmla="*/ 11760 w 242507"/>
                <a:gd name="connsiteY32" fmla="*/ 120660 h 182658"/>
                <a:gd name="connsiteX33" fmla="*/ 5839 w 242507"/>
                <a:gd name="connsiteY33" fmla="*/ 119130 h 182658"/>
                <a:gd name="connsiteX34" fmla="*/ 3865 w 242507"/>
                <a:gd name="connsiteY34" fmla="*/ 113061 h 182658"/>
                <a:gd name="connsiteX35" fmla="*/ -82 w 242507"/>
                <a:gd name="connsiteY35" fmla="*/ 99493 h 182658"/>
                <a:gd name="connsiteX36" fmla="*/ -82 w 242507"/>
                <a:gd name="connsiteY36" fmla="*/ 91944 h 182658"/>
                <a:gd name="connsiteX37" fmla="*/ 3865 w 242507"/>
                <a:gd name="connsiteY37" fmla="*/ 88885 h 182658"/>
                <a:gd name="connsiteX38" fmla="*/ 5839 w 242507"/>
                <a:gd name="connsiteY38" fmla="*/ 84395 h 182658"/>
                <a:gd name="connsiteX39" fmla="*/ 9737 w 242507"/>
                <a:gd name="connsiteY39" fmla="*/ 75316 h 182658"/>
                <a:gd name="connsiteX40" fmla="*/ 13733 w 242507"/>
                <a:gd name="connsiteY40" fmla="*/ 60218 h 182658"/>
                <a:gd name="connsiteX41" fmla="*/ 17681 w 242507"/>
                <a:gd name="connsiteY41" fmla="*/ 49609 h 182658"/>
                <a:gd name="connsiteX42" fmla="*/ 19605 w 242507"/>
                <a:gd name="connsiteY42" fmla="*/ 46600 h 182658"/>
                <a:gd name="connsiteX43" fmla="*/ 17681 w 242507"/>
                <a:gd name="connsiteY43" fmla="*/ 45070 h 182658"/>
                <a:gd name="connsiteX44" fmla="*/ 13733 w 242507"/>
                <a:gd name="connsiteY44" fmla="*/ 43541 h 182658"/>
                <a:gd name="connsiteX45" fmla="*/ 17681 w 242507"/>
                <a:gd name="connsiteY45" fmla="*/ 35992 h 182658"/>
                <a:gd name="connsiteX46" fmla="*/ 17681 w 242507"/>
                <a:gd name="connsiteY46" fmla="*/ 29972 h 182658"/>
                <a:gd name="connsiteX47" fmla="*/ 21579 w 242507"/>
                <a:gd name="connsiteY47" fmla="*/ 28443 h 182658"/>
                <a:gd name="connsiteX48" fmla="*/ 33420 w 242507"/>
                <a:gd name="connsiteY48" fmla="*/ 28443 h 182658"/>
                <a:gd name="connsiteX49" fmla="*/ 33420 w 242507"/>
                <a:gd name="connsiteY49" fmla="*/ 24150 h 182658"/>
                <a:gd name="connsiteX50" fmla="*/ 31496 w 242507"/>
                <a:gd name="connsiteY50" fmla="*/ 21140 h 182658"/>
                <a:gd name="connsiteX51" fmla="*/ 33420 w 242507"/>
                <a:gd name="connsiteY51" fmla="*/ 18131 h 182658"/>
                <a:gd name="connsiteX52" fmla="*/ 39341 w 242507"/>
                <a:gd name="connsiteY52" fmla="*/ 16601 h 182658"/>
                <a:gd name="connsiteX53" fmla="*/ 43288 w 242507"/>
                <a:gd name="connsiteY53" fmla="*/ 13591 h 182658"/>
                <a:gd name="connsiteX54" fmla="*/ 51183 w 242507"/>
                <a:gd name="connsiteY54" fmla="*/ 15121 h 182658"/>
                <a:gd name="connsiteX55" fmla="*/ 53156 w 242507"/>
                <a:gd name="connsiteY55" fmla="*/ 10532 h 182658"/>
                <a:gd name="connsiteX56" fmla="*/ 59077 w 242507"/>
                <a:gd name="connsiteY56" fmla="*/ 9052 h 182658"/>
                <a:gd name="connsiteX57" fmla="*/ 66972 w 242507"/>
                <a:gd name="connsiteY57" fmla="*/ 7522 h 182658"/>
                <a:gd name="connsiteX58" fmla="*/ 70870 w 242507"/>
                <a:gd name="connsiteY58" fmla="*/ -27 h 182658"/>
                <a:gd name="connsiteX59" fmla="*/ 70870 w 242507"/>
                <a:gd name="connsiteY59" fmla="*/ -27 h 182658"/>
                <a:gd name="connsiteX60" fmla="*/ 80738 w 242507"/>
                <a:gd name="connsiteY60" fmla="*/ 9052 h 182658"/>
                <a:gd name="connsiteX61" fmla="*/ 96477 w 242507"/>
                <a:gd name="connsiteY61" fmla="*/ 42307 h 182658"/>
                <a:gd name="connsiteX62" fmla="*/ 100424 w 242507"/>
                <a:gd name="connsiteY62" fmla="*/ 63474 h 182658"/>
                <a:gd name="connsiteX63" fmla="*/ 102398 w 242507"/>
                <a:gd name="connsiteY63" fmla="*/ 64955 h 182658"/>
                <a:gd name="connsiteX64" fmla="*/ 104371 w 242507"/>
                <a:gd name="connsiteY64" fmla="*/ 72553 h 182658"/>
                <a:gd name="connsiteX65" fmla="*/ 104371 w 242507"/>
                <a:gd name="connsiteY65" fmla="*/ 75563 h 182658"/>
                <a:gd name="connsiteX66" fmla="*/ 110292 w 242507"/>
                <a:gd name="connsiteY66" fmla="*/ 75563 h 182658"/>
                <a:gd name="connsiteX67" fmla="*/ 112266 w 242507"/>
                <a:gd name="connsiteY67" fmla="*/ 84641 h 182658"/>
                <a:gd name="connsiteX68" fmla="*/ 114239 w 242507"/>
                <a:gd name="connsiteY68" fmla="*/ 92190 h 182658"/>
                <a:gd name="connsiteX69" fmla="*/ 120161 w 242507"/>
                <a:gd name="connsiteY69" fmla="*/ 93720 h 182658"/>
                <a:gd name="connsiteX70" fmla="*/ 120161 w 242507"/>
                <a:gd name="connsiteY70" fmla="*/ 86121 h 182658"/>
                <a:gd name="connsiteX71" fmla="*/ 118187 w 242507"/>
                <a:gd name="connsiteY71" fmla="*/ 86121 h 182658"/>
                <a:gd name="connsiteX72" fmla="*/ 118187 w 242507"/>
                <a:gd name="connsiteY72" fmla="*/ 78424 h 182658"/>
                <a:gd name="connsiteX73" fmla="*/ 122134 w 242507"/>
                <a:gd name="connsiteY73" fmla="*/ 78424 h 182658"/>
                <a:gd name="connsiteX74" fmla="*/ 128055 w 242507"/>
                <a:gd name="connsiteY74" fmla="*/ 87503 h 182658"/>
                <a:gd name="connsiteX75" fmla="*/ 126081 w 242507"/>
                <a:gd name="connsiteY75" fmla="*/ 88983 h 182658"/>
                <a:gd name="connsiteX76" fmla="*/ 132002 w 242507"/>
                <a:gd name="connsiteY76" fmla="*/ 96582 h 182658"/>
                <a:gd name="connsiteX77" fmla="*/ 135900 w 242507"/>
                <a:gd name="connsiteY77" fmla="*/ 99591 h 182658"/>
                <a:gd name="connsiteX78" fmla="*/ 139897 w 242507"/>
                <a:gd name="connsiteY78" fmla="*/ 98062 h 182658"/>
                <a:gd name="connsiteX79" fmla="*/ 145817 w 242507"/>
                <a:gd name="connsiteY79" fmla="*/ 96582 h 182658"/>
                <a:gd name="connsiteX80" fmla="*/ 147742 w 242507"/>
                <a:gd name="connsiteY80" fmla="*/ 98062 h 182658"/>
                <a:gd name="connsiteX81" fmla="*/ 151689 w 242507"/>
                <a:gd name="connsiteY81" fmla="*/ 96582 h 182658"/>
                <a:gd name="connsiteX82" fmla="*/ 157659 w 242507"/>
                <a:gd name="connsiteY82" fmla="*/ 102601 h 182658"/>
                <a:gd name="connsiteX83" fmla="*/ 161557 w 242507"/>
                <a:gd name="connsiteY83" fmla="*/ 108670 h 182658"/>
                <a:gd name="connsiteX84" fmla="*/ 173398 w 242507"/>
                <a:gd name="connsiteY84" fmla="*/ 110150 h 182658"/>
                <a:gd name="connsiteX85" fmla="*/ 175372 w 242507"/>
                <a:gd name="connsiteY85" fmla="*/ 113160 h 182658"/>
                <a:gd name="connsiteX86" fmla="*/ 187214 w 242507"/>
                <a:gd name="connsiteY86" fmla="*/ 123768 h 182658"/>
                <a:gd name="connsiteX87" fmla="*/ 191161 w 242507"/>
                <a:gd name="connsiteY87" fmla="*/ 132847 h 182658"/>
                <a:gd name="connsiteX88" fmla="*/ 201029 w 242507"/>
                <a:gd name="connsiteY88" fmla="*/ 134327 h 182658"/>
                <a:gd name="connsiteX89" fmla="*/ 204976 w 242507"/>
                <a:gd name="connsiteY89" fmla="*/ 140396 h 182658"/>
                <a:gd name="connsiteX90" fmla="*/ 208924 w 242507"/>
                <a:gd name="connsiteY90" fmla="*/ 140396 h 182658"/>
                <a:gd name="connsiteX91" fmla="*/ 208924 w 242507"/>
                <a:gd name="connsiteY91" fmla="*/ 138916 h 182658"/>
                <a:gd name="connsiteX92" fmla="*/ 210848 w 242507"/>
                <a:gd name="connsiteY92" fmla="*/ 141925 h 182658"/>
                <a:gd name="connsiteX93" fmla="*/ 216818 w 242507"/>
                <a:gd name="connsiteY93" fmla="*/ 152484 h 182658"/>
                <a:gd name="connsiteX94" fmla="*/ 220766 w 242507"/>
                <a:gd name="connsiteY94" fmla="*/ 154014 h 182658"/>
                <a:gd name="connsiteX95" fmla="*/ 224663 w 242507"/>
                <a:gd name="connsiteY95" fmla="*/ 161563 h 182658"/>
                <a:gd name="connsiteX96" fmla="*/ 224663 w 242507"/>
                <a:gd name="connsiteY96" fmla="*/ 163092 h 182658"/>
                <a:gd name="connsiteX97" fmla="*/ 226637 w 242507"/>
                <a:gd name="connsiteY97" fmla="*/ 169112 h 182658"/>
                <a:gd name="connsiteX98" fmla="*/ 230584 w 242507"/>
                <a:gd name="connsiteY98" fmla="*/ 169112 h 182658"/>
                <a:gd name="connsiteX99" fmla="*/ 236505 w 242507"/>
                <a:gd name="connsiteY99" fmla="*/ 170592 h 182658"/>
                <a:gd name="connsiteX100" fmla="*/ 238479 w 242507"/>
                <a:gd name="connsiteY100" fmla="*/ 167582 h 182658"/>
                <a:gd name="connsiteX101" fmla="*/ 240452 w 242507"/>
                <a:gd name="connsiteY101" fmla="*/ 169112 h 182658"/>
                <a:gd name="connsiteX102" fmla="*/ 242426 w 242507"/>
                <a:gd name="connsiteY102" fmla="*/ 170592 h 182658"/>
                <a:gd name="connsiteX103" fmla="*/ 236505 w 242507"/>
                <a:gd name="connsiteY103" fmla="*/ 176661 h 182658"/>
                <a:gd name="connsiteX104" fmla="*/ 228611 w 242507"/>
                <a:gd name="connsiteY104" fmla="*/ 178190 h 182658"/>
                <a:gd name="connsiteX105" fmla="*/ 224663 w 242507"/>
                <a:gd name="connsiteY105" fmla="*/ 179671 h 18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242507" h="182658">
                  <a:moveTo>
                    <a:pt x="218693" y="182631"/>
                  </a:moveTo>
                  <a:lnTo>
                    <a:pt x="208825" y="172023"/>
                  </a:lnTo>
                  <a:lnTo>
                    <a:pt x="202904" y="172023"/>
                  </a:lnTo>
                  <a:lnTo>
                    <a:pt x="200931" y="167484"/>
                  </a:lnTo>
                  <a:lnTo>
                    <a:pt x="200931" y="162994"/>
                  </a:lnTo>
                  <a:lnTo>
                    <a:pt x="193036" y="152386"/>
                  </a:lnTo>
                  <a:lnTo>
                    <a:pt x="185388" y="152386"/>
                  </a:lnTo>
                  <a:lnTo>
                    <a:pt x="175520" y="143307"/>
                  </a:lnTo>
                  <a:lnTo>
                    <a:pt x="167626" y="138817"/>
                  </a:lnTo>
                  <a:lnTo>
                    <a:pt x="165652" y="137287"/>
                  </a:lnTo>
                  <a:lnTo>
                    <a:pt x="157807" y="135758"/>
                  </a:lnTo>
                  <a:lnTo>
                    <a:pt x="155834" y="134228"/>
                  </a:lnTo>
                  <a:lnTo>
                    <a:pt x="145965" y="132748"/>
                  </a:lnTo>
                  <a:lnTo>
                    <a:pt x="143992" y="126679"/>
                  </a:lnTo>
                  <a:lnTo>
                    <a:pt x="132150" y="117650"/>
                  </a:lnTo>
                  <a:lnTo>
                    <a:pt x="124256" y="117650"/>
                  </a:lnTo>
                  <a:lnTo>
                    <a:pt x="118335" y="111581"/>
                  </a:lnTo>
                  <a:lnTo>
                    <a:pt x="106444" y="111581"/>
                  </a:lnTo>
                  <a:lnTo>
                    <a:pt x="104470" y="113061"/>
                  </a:lnTo>
                  <a:lnTo>
                    <a:pt x="92678" y="104032"/>
                  </a:lnTo>
                  <a:lnTo>
                    <a:pt x="86708" y="104032"/>
                  </a:lnTo>
                  <a:lnTo>
                    <a:pt x="82810" y="108571"/>
                  </a:lnTo>
                  <a:lnTo>
                    <a:pt x="78863" y="102502"/>
                  </a:lnTo>
                  <a:lnTo>
                    <a:pt x="72892" y="104032"/>
                  </a:lnTo>
                  <a:lnTo>
                    <a:pt x="67021" y="110051"/>
                  </a:lnTo>
                  <a:lnTo>
                    <a:pt x="57153" y="110051"/>
                  </a:lnTo>
                  <a:lnTo>
                    <a:pt x="43337" y="104032"/>
                  </a:lnTo>
                  <a:lnTo>
                    <a:pt x="41364" y="100973"/>
                  </a:lnTo>
                  <a:lnTo>
                    <a:pt x="39390" y="99493"/>
                  </a:lnTo>
                  <a:lnTo>
                    <a:pt x="29522" y="117650"/>
                  </a:lnTo>
                  <a:lnTo>
                    <a:pt x="21579" y="117650"/>
                  </a:lnTo>
                  <a:lnTo>
                    <a:pt x="19605" y="120660"/>
                  </a:lnTo>
                  <a:lnTo>
                    <a:pt x="11760" y="120660"/>
                  </a:lnTo>
                  <a:lnTo>
                    <a:pt x="5839" y="119130"/>
                  </a:lnTo>
                  <a:lnTo>
                    <a:pt x="3865" y="113061"/>
                  </a:lnTo>
                  <a:lnTo>
                    <a:pt x="-82" y="99493"/>
                  </a:lnTo>
                  <a:lnTo>
                    <a:pt x="-82" y="91944"/>
                  </a:lnTo>
                  <a:lnTo>
                    <a:pt x="3865" y="88885"/>
                  </a:lnTo>
                  <a:lnTo>
                    <a:pt x="5839" y="84395"/>
                  </a:lnTo>
                  <a:lnTo>
                    <a:pt x="9737" y="75316"/>
                  </a:lnTo>
                  <a:lnTo>
                    <a:pt x="13733" y="60218"/>
                  </a:lnTo>
                  <a:lnTo>
                    <a:pt x="17681" y="49609"/>
                  </a:lnTo>
                  <a:lnTo>
                    <a:pt x="19605" y="46600"/>
                  </a:lnTo>
                  <a:lnTo>
                    <a:pt x="17681" y="45070"/>
                  </a:lnTo>
                  <a:lnTo>
                    <a:pt x="13733" y="43541"/>
                  </a:lnTo>
                  <a:lnTo>
                    <a:pt x="17681" y="35992"/>
                  </a:lnTo>
                  <a:lnTo>
                    <a:pt x="17681" y="29972"/>
                  </a:lnTo>
                  <a:lnTo>
                    <a:pt x="21579" y="28443"/>
                  </a:lnTo>
                  <a:lnTo>
                    <a:pt x="33420" y="28443"/>
                  </a:lnTo>
                  <a:lnTo>
                    <a:pt x="33420" y="24150"/>
                  </a:lnTo>
                  <a:lnTo>
                    <a:pt x="31496" y="21140"/>
                  </a:lnTo>
                  <a:lnTo>
                    <a:pt x="33420" y="18131"/>
                  </a:lnTo>
                  <a:lnTo>
                    <a:pt x="39341" y="16601"/>
                  </a:lnTo>
                  <a:lnTo>
                    <a:pt x="43288" y="13591"/>
                  </a:lnTo>
                  <a:lnTo>
                    <a:pt x="51183" y="15121"/>
                  </a:lnTo>
                  <a:lnTo>
                    <a:pt x="53156" y="10532"/>
                  </a:lnTo>
                  <a:lnTo>
                    <a:pt x="59077" y="9052"/>
                  </a:lnTo>
                  <a:lnTo>
                    <a:pt x="66972" y="7522"/>
                  </a:lnTo>
                  <a:lnTo>
                    <a:pt x="70870" y="-27"/>
                  </a:lnTo>
                  <a:lnTo>
                    <a:pt x="70870" y="-27"/>
                  </a:lnTo>
                  <a:lnTo>
                    <a:pt x="80738" y="9052"/>
                  </a:lnTo>
                  <a:lnTo>
                    <a:pt x="96477" y="42307"/>
                  </a:lnTo>
                  <a:lnTo>
                    <a:pt x="100424" y="63474"/>
                  </a:lnTo>
                  <a:lnTo>
                    <a:pt x="102398" y="64955"/>
                  </a:lnTo>
                  <a:lnTo>
                    <a:pt x="104371" y="72553"/>
                  </a:lnTo>
                  <a:lnTo>
                    <a:pt x="104371" y="75563"/>
                  </a:lnTo>
                  <a:lnTo>
                    <a:pt x="110292" y="75563"/>
                  </a:lnTo>
                  <a:lnTo>
                    <a:pt x="112266" y="84641"/>
                  </a:lnTo>
                  <a:lnTo>
                    <a:pt x="114239" y="92190"/>
                  </a:lnTo>
                  <a:lnTo>
                    <a:pt x="120161" y="93720"/>
                  </a:lnTo>
                  <a:lnTo>
                    <a:pt x="120161" y="86121"/>
                  </a:lnTo>
                  <a:lnTo>
                    <a:pt x="118187" y="86121"/>
                  </a:lnTo>
                  <a:lnTo>
                    <a:pt x="118187" y="78424"/>
                  </a:lnTo>
                  <a:lnTo>
                    <a:pt x="122134" y="78424"/>
                  </a:lnTo>
                  <a:lnTo>
                    <a:pt x="128055" y="87503"/>
                  </a:lnTo>
                  <a:lnTo>
                    <a:pt x="126081" y="88983"/>
                  </a:lnTo>
                  <a:lnTo>
                    <a:pt x="132002" y="96582"/>
                  </a:lnTo>
                  <a:lnTo>
                    <a:pt x="135900" y="99591"/>
                  </a:lnTo>
                  <a:lnTo>
                    <a:pt x="139897" y="98062"/>
                  </a:lnTo>
                  <a:lnTo>
                    <a:pt x="145817" y="96582"/>
                  </a:lnTo>
                  <a:lnTo>
                    <a:pt x="147742" y="98062"/>
                  </a:lnTo>
                  <a:lnTo>
                    <a:pt x="151689" y="96582"/>
                  </a:lnTo>
                  <a:lnTo>
                    <a:pt x="157659" y="102601"/>
                  </a:lnTo>
                  <a:lnTo>
                    <a:pt x="161557" y="108670"/>
                  </a:lnTo>
                  <a:lnTo>
                    <a:pt x="173398" y="110150"/>
                  </a:lnTo>
                  <a:lnTo>
                    <a:pt x="175372" y="113160"/>
                  </a:lnTo>
                  <a:lnTo>
                    <a:pt x="187214" y="123768"/>
                  </a:lnTo>
                  <a:lnTo>
                    <a:pt x="191161" y="132847"/>
                  </a:lnTo>
                  <a:lnTo>
                    <a:pt x="201029" y="134327"/>
                  </a:lnTo>
                  <a:lnTo>
                    <a:pt x="204976" y="140396"/>
                  </a:lnTo>
                  <a:lnTo>
                    <a:pt x="208924" y="140396"/>
                  </a:lnTo>
                  <a:lnTo>
                    <a:pt x="208924" y="138916"/>
                  </a:lnTo>
                  <a:lnTo>
                    <a:pt x="210848" y="141925"/>
                  </a:lnTo>
                  <a:lnTo>
                    <a:pt x="216818" y="152484"/>
                  </a:lnTo>
                  <a:lnTo>
                    <a:pt x="220766" y="154014"/>
                  </a:lnTo>
                  <a:lnTo>
                    <a:pt x="224663" y="161563"/>
                  </a:lnTo>
                  <a:lnTo>
                    <a:pt x="224663" y="163092"/>
                  </a:lnTo>
                  <a:lnTo>
                    <a:pt x="226637" y="169112"/>
                  </a:lnTo>
                  <a:lnTo>
                    <a:pt x="230584" y="169112"/>
                  </a:lnTo>
                  <a:lnTo>
                    <a:pt x="236505" y="170592"/>
                  </a:lnTo>
                  <a:lnTo>
                    <a:pt x="238479" y="167582"/>
                  </a:lnTo>
                  <a:lnTo>
                    <a:pt x="240452" y="169112"/>
                  </a:lnTo>
                  <a:lnTo>
                    <a:pt x="242426" y="170592"/>
                  </a:lnTo>
                  <a:lnTo>
                    <a:pt x="236505" y="176661"/>
                  </a:lnTo>
                  <a:lnTo>
                    <a:pt x="228611" y="178190"/>
                  </a:lnTo>
                  <a:lnTo>
                    <a:pt x="224663" y="17967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Graphic 2">
              <a:extLst>
                <a:ext uri="{FF2B5EF4-FFF2-40B4-BE49-F238E27FC236}">
                  <a16:creationId xmlns:a16="http://schemas.microsoft.com/office/drawing/2014/main" id="{59C171AC-03D2-4036-9633-25058BA382A6}"/>
                </a:ext>
              </a:extLst>
            </p:cNvPr>
            <p:cNvSpPr/>
            <p:nvPr/>
          </p:nvSpPr>
          <p:spPr>
            <a:xfrm>
              <a:off x="6784338" y="4282122"/>
              <a:ext cx="50835" cy="50833"/>
            </a:xfrm>
            <a:custGeom>
              <a:avLst/>
              <a:gdLst>
                <a:gd name="connsiteX0" fmla="*/ 43881 w 55952"/>
                <a:gd name="connsiteY0" fmla="*/ 52915 h 55952"/>
                <a:gd name="connsiteX1" fmla="*/ 37861 w 55952"/>
                <a:gd name="connsiteY1" fmla="*/ 49906 h 55952"/>
                <a:gd name="connsiteX2" fmla="*/ 25871 w 55952"/>
                <a:gd name="connsiteY2" fmla="*/ 51386 h 55952"/>
                <a:gd name="connsiteX3" fmla="*/ 17878 w 55952"/>
                <a:gd name="connsiteY3" fmla="*/ 55925 h 55952"/>
                <a:gd name="connsiteX4" fmla="*/ 3866 w 55952"/>
                <a:gd name="connsiteY4" fmla="*/ 55925 h 55952"/>
                <a:gd name="connsiteX5" fmla="*/ -82 w 55952"/>
                <a:gd name="connsiteY5" fmla="*/ 52915 h 55952"/>
                <a:gd name="connsiteX6" fmla="*/ 5889 w 55952"/>
                <a:gd name="connsiteY6" fmla="*/ 46846 h 55952"/>
                <a:gd name="connsiteX7" fmla="*/ 7862 w 55952"/>
                <a:gd name="connsiteY7" fmla="*/ 40827 h 55952"/>
                <a:gd name="connsiteX8" fmla="*/ 9885 w 55952"/>
                <a:gd name="connsiteY8" fmla="*/ 34758 h 55952"/>
                <a:gd name="connsiteX9" fmla="*/ 9885 w 55952"/>
                <a:gd name="connsiteY9" fmla="*/ 27209 h 55952"/>
                <a:gd name="connsiteX10" fmla="*/ 11859 w 55952"/>
                <a:gd name="connsiteY10" fmla="*/ 21140 h 55952"/>
                <a:gd name="connsiteX11" fmla="*/ 13882 w 55952"/>
                <a:gd name="connsiteY11" fmla="*/ 15071 h 55952"/>
                <a:gd name="connsiteX12" fmla="*/ 27894 w 55952"/>
                <a:gd name="connsiteY12" fmla="*/ 9002 h 55952"/>
                <a:gd name="connsiteX13" fmla="*/ 31891 w 55952"/>
                <a:gd name="connsiteY13" fmla="*/ 7522 h 55952"/>
                <a:gd name="connsiteX14" fmla="*/ 39884 w 55952"/>
                <a:gd name="connsiteY14" fmla="*/ 5993 h 55952"/>
                <a:gd name="connsiteX15" fmla="*/ 45854 w 55952"/>
                <a:gd name="connsiteY15" fmla="*/ -27 h 55952"/>
                <a:gd name="connsiteX16" fmla="*/ 45854 w 55952"/>
                <a:gd name="connsiteY16" fmla="*/ -27 h 55952"/>
                <a:gd name="connsiteX17" fmla="*/ 45854 w 55952"/>
                <a:gd name="connsiteY17" fmla="*/ 1503 h 55952"/>
                <a:gd name="connsiteX18" fmla="*/ 53847 w 55952"/>
                <a:gd name="connsiteY18" fmla="*/ 9002 h 55952"/>
                <a:gd name="connsiteX19" fmla="*/ 55871 w 55952"/>
                <a:gd name="connsiteY19" fmla="*/ 9002 h 55952"/>
                <a:gd name="connsiteX20" fmla="*/ 55871 w 55952"/>
                <a:gd name="connsiteY20" fmla="*/ 21140 h 55952"/>
                <a:gd name="connsiteX21" fmla="*/ 51874 w 55952"/>
                <a:gd name="connsiteY21" fmla="*/ 22620 h 55952"/>
                <a:gd name="connsiteX22" fmla="*/ 45854 w 55952"/>
                <a:gd name="connsiteY22" fmla="*/ 28689 h 55952"/>
                <a:gd name="connsiteX23" fmla="*/ 42006 w 55952"/>
                <a:gd name="connsiteY23" fmla="*/ 28689 h 55952"/>
                <a:gd name="connsiteX24" fmla="*/ 38009 w 55952"/>
                <a:gd name="connsiteY24" fmla="*/ 33229 h 55952"/>
                <a:gd name="connsiteX25" fmla="*/ 28141 w 55952"/>
                <a:gd name="connsiteY25" fmla="*/ 33229 h 55952"/>
                <a:gd name="connsiteX26" fmla="*/ 32138 w 55952"/>
                <a:gd name="connsiteY26" fmla="*/ 37817 h 55952"/>
                <a:gd name="connsiteX27" fmla="*/ 34161 w 55952"/>
                <a:gd name="connsiteY27" fmla="*/ 37817 h 55952"/>
                <a:gd name="connsiteX28" fmla="*/ 42104 w 55952"/>
                <a:gd name="connsiteY28" fmla="*/ 36288 h 55952"/>
                <a:gd name="connsiteX29" fmla="*/ 51972 w 55952"/>
                <a:gd name="connsiteY29" fmla="*/ 36288 h 55952"/>
                <a:gd name="connsiteX30" fmla="*/ 51972 w 55952"/>
                <a:gd name="connsiteY30" fmla="*/ 37817 h 55952"/>
                <a:gd name="connsiteX31" fmla="*/ 43979 w 55952"/>
                <a:gd name="connsiteY31" fmla="*/ 51386 h 5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952" h="55952">
                  <a:moveTo>
                    <a:pt x="43881" y="52915"/>
                  </a:moveTo>
                  <a:lnTo>
                    <a:pt x="37861" y="49906"/>
                  </a:lnTo>
                  <a:lnTo>
                    <a:pt x="25871" y="51386"/>
                  </a:lnTo>
                  <a:lnTo>
                    <a:pt x="17878" y="55925"/>
                  </a:lnTo>
                  <a:lnTo>
                    <a:pt x="3866" y="55925"/>
                  </a:lnTo>
                  <a:lnTo>
                    <a:pt x="-82" y="52915"/>
                  </a:lnTo>
                  <a:lnTo>
                    <a:pt x="5889" y="46846"/>
                  </a:lnTo>
                  <a:lnTo>
                    <a:pt x="7862" y="40827"/>
                  </a:lnTo>
                  <a:lnTo>
                    <a:pt x="9885" y="34758"/>
                  </a:lnTo>
                  <a:lnTo>
                    <a:pt x="9885" y="27209"/>
                  </a:lnTo>
                  <a:lnTo>
                    <a:pt x="11859" y="21140"/>
                  </a:lnTo>
                  <a:lnTo>
                    <a:pt x="13882" y="15071"/>
                  </a:lnTo>
                  <a:lnTo>
                    <a:pt x="27894" y="9002"/>
                  </a:lnTo>
                  <a:lnTo>
                    <a:pt x="31891" y="7522"/>
                  </a:lnTo>
                  <a:lnTo>
                    <a:pt x="39884" y="5993"/>
                  </a:lnTo>
                  <a:lnTo>
                    <a:pt x="45854" y="-27"/>
                  </a:lnTo>
                  <a:lnTo>
                    <a:pt x="45854" y="-27"/>
                  </a:lnTo>
                  <a:lnTo>
                    <a:pt x="45854" y="1503"/>
                  </a:lnTo>
                  <a:lnTo>
                    <a:pt x="53847" y="9002"/>
                  </a:lnTo>
                  <a:lnTo>
                    <a:pt x="55871" y="9002"/>
                  </a:lnTo>
                  <a:lnTo>
                    <a:pt x="55871" y="21140"/>
                  </a:lnTo>
                  <a:lnTo>
                    <a:pt x="51874" y="22620"/>
                  </a:lnTo>
                  <a:lnTo>
                    <a:pt x="45854" y="28689"/>
                  </a:lnTo>
                  <a:lnTo>
                    <a:pt x="42006" y="28689"/>
                  </a:lnTo>
                  <a:lnTo>
                    <a:pt x="38009" y="33229"/>
                  </a:lnTo>
                  <a:lnTo>
                    <a:pt x="28141" y="33229"/>
                  </a:lnTo>
                  <a:lnTo>
                    <a:pt x="32138" y="37817"/>
                  </a:lnTo>
                  <a:lnTo>
                    <a:pt x="34161" y="37817"/>
                  </a:lnTo>
                  <a:lnTo>
                    <a:pt x="42104" y="36288"/>
                  </a:lnTo>
                  <a:lnTo>
                    <a:pt x="51972" y="36288"/>
                  </a:lnTo>
                  <a:lnTo>
                    <a:pt x="51972" y="37817"/>
                  </a:lnTo>
                  <a:lnTo>
                    <a:pt x="43979" y="5138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Graphic 2">
              <a:extLst>
                <a:ext uri="{FF2B5EF4-FFF2-40B4-BE49-F238E27FC236}">
                  <a16:creationId xmlns:a16="http://schemas.microsoft.com/office/drawing/2014/main" id="{B4E53BCA-0F8F-447C-B6AE-BD955502880F}"/>
                </a:ext>
              </a:extLst>
            </p:cNvPr>
            <p:cNvSpPr/>
            <p:nvPr/>
          </p:nvSpPr>
          <p:spPr>
            <a:xfrm>
              <a:off x="6764345" y="4302426"/>
              <a:ext cx="335928" cy="383071"/>
            </a:xfrm>
            <a:custGeom>
              <a:avLst/>
              <a:gdLst>
                <a:gd name="connsiteX0" fmla="*/ 34703 w 369756"/>
                <a:gd name="connsiteY0" fmla="*/ 251214 h 421662"/>
                <a:gd name="connsiteX1" fmla="*/ 34703 w 369756"/>
                <a:gd name="connsiteY1" fmla="*/ 249734 h 421662"/>
                <a:gd name="connsiteX2" fmla="*/ 38601 w 369756"/>
                <a:gd name="connsiteY2" fmla="*/ 246675 h 421662"/>
                <a:gd name="connsiteX3" fmla="*/ 48469 w 369756"/>
                <a:gd name="connsiteY3" fmla="*/ 242086 h 421662"/>
                <a:gd name="connsiteX4" fmla="*/ 60163 w 369756"/>
                <a:gd name="connsiteY4" fmla="*/ 240557 h 421662"/>
                <a:gd name="connsiteX5" fmla="*/ 70031 w 369756"/>
                <a:gd name="connsiteY5" fmla="*/ 236017 h 421662"/>
                <a:gd name="connsiteX6" fmla="*/ 75902 w 369756"/>
                <a:gd name="connsiteY6" fmla="*/ 233007 h 421662"/>
                <a:gd name="connsiteX7" fmla="*/ 79800 w 369756"/>
                <a:gd name="connsiteY7" fmla="*/ 225360 h 421662"/>
                <a:gd name="connsiteX8" fmla="*/ 87596 w 369756"/>
                <a:gd name="connsiteY8" fmla="*/ 220771 h 421662"/>
                <a:gd name="connsiteX9" fmla="*/ 95441 w 369756"/>
                <a:gd name="connsiteY9" fmla="*/ 220771 h 421662"/>
                <a:gd name="connsiteX10" fmla="*/ 101313 w 369756"/>
                <a:gd name="connsiteY10" fmla="*/ 217761 h 421662"/>
                <a:gd name="connsiteX11" fmla="*/ 122825 w 369756"/>
                <a:gd name="connsiteY11" fmla="*/ 216232 h 421662"/>
                <a:gd name="connsiteX12" fmla="*/ 146262 w 369756"/>
                <a:gd name="connsiteY12" fmla="*/ 217761 h 421662"/>
                <a:gd name="connsiteX13" fmla="*/ 257672 w 369756"/>
                <a:gd name="connsiteY13" fmla="*/ 120314 h 421662"/>
                <a:gd name="connsiteX14" fmla="*/ 212772 w 369756"/>
                <a:gd name="connsiteY14" fmla="*/ 121844 h 421662"/>
                <a:gd name="connsiteX15" fmla="*/ 107184 w 369756"/>
                <a:gd name="connsiteY15" fmla="*/ 92881 h 421662"/>
                <a:gd name="connsiteX16" fmla="*/ 97316 w 369756"/>
                <a:gd name="connsiteY16" fmla="*/ 86812 h 421662"/>
                <a:gd name="connsiteX17" fmla="*/ 83599 w 369756"/>
                <a:gd name="connsiteY17" fmla="*/ 85282 h 421662"/>
                <a:gd name="connsiteX18" fmla="*/ 79702 w 369756"/>
                <a:gd name="connsiteY18" fmla="*/ 76155 h 421662"/>
                <a:gd name="connsiteX19" fmla="*/ 79702 w 369756"/>
                <a:gd name="connsiteY19" fmla="*/ 65497 h 421662"/>
                <a:gd name="connsiteX20" fmla="*/ 71906 w 369756"/>
                <a:gd name="connsiteY20" fmla="*/ 62487 h 421662"/>
                <a:gd name="connsiteX21" fmla="*/ 66034 w 369756"/>
                <a:gd name="connsiteY21" fmla="*/ 45712 h 421662"/>
                <a:gd name="connsiteX22" fmla="*/ 64061 w 369756"/>
                <a:gd name="connsiteY22" fmla="*/ 33524 h 421662"/>
                <a:gd name="connsiteX23" fmla="*/ 66034 w 369756"/>
                <a:gd name="connsiteY23" fmla="*/ 28985 h 421662"/>
                <a:gd name="connsiteX24" fmla="*/ 73879 w 369756"/>
                <a:gd name="connsiteY24" fmla="*/ 15268 h 421662"/>
                <a:gd name="connsiteX25" fmla="*/ 75804 w 369756"/>
                <a:gd name="connsiteY25" fmla="*/ 21338 h 421662"/>
                <a:gd name="connsiteX26" fmla="*/ 77728 w 369756"/>
                <a:gd name="connsiteY26" fmla="*/ 21338 h 421662"/>
                <a:gd name="connsiteX27" fmla="*/ 101214 w 369756"/>
                <a:gd name="connsiteY27" fmla="*/ 41074 h 421662"/>
                <a:gd name="connsiteX28" fmla="*/ 103138 w 369756"/>
                <a:gd name="connsiteY28" fmla="*/ 45662 h 421662"/>
                <a:gd name="connsiteX29" fmla="*/ 107085 w 369756"/>
                <a:gd name="connsiteY29" fmla="*/ 47192 h 421662"/>
                <a:gd name="connsiteX30" fmla="*/ 114930 w 369756"/>
                <a:gd name="connsiteY30" fmla="*/ 53310 h 421662"/>
                <a:gd name="connsiteX31" fmla="*/ 122726 w 369756"/>
                <a:gd name="connsiteY31" fmla="*/ 54840 h 421662"/>
                <a:gd name="connsiteX32" fmla="*/ 134420 w 369756"/>
                <a:gd name="connsiteY32" fmla="*/ 54840 h 421662"/>
                <a:gd name="connsiteX33" fmla="*/ 138367 w 369756"/>
                <a:gd name="connsiteY33" fmla="*/ 51780 h 421662"/>
                <a:gd name="connsiteX34" fmla="*/ 146163 w 369756"/>
                <a:gd name="connsiteY34" fmla="*/ 47192 h 421662"/>
                <a:gd name="connsiteX35" fmla="*/ 152034 w 369756"/>
                <a:gd name="connsiteY35" fmla="*/ 45662 h 421662"/>
                <a:gd name="connsiteX36" fmla="*/ 165702 w 369756"/>
                <a:gd name="connsiteY36" fmla="*/ 36534 h 421662"/>
                <a:gd name="connsiteX37" fmla="*/ 169600 w 369756"/>
                <a:gd name="connsiteY37" fmla="*/ 36534 h 421662"/>
                <a:gd name="connsiteX38" fmla="*/ 171623 w 369756"/>
                <a:gd name="connsiteY38" fmla="*/ 38064 h 421662"/>
                <a:gd name="connsiteX39" fmla="*/ 179418 w 369756"/>
                <a:gd name="connsiteY39" fmla="*/ 38064 h 421662"/>
                <a:gd name="connsiteX40" fmla="*/ 183316 w 369756"/>
                <a:gd name="connsiteY40" fmla="*/ 36534 h 421662"/>
                <a:gd name="connsiteX41" fmla="*/ 191112 w 369756"/>
                <a:gd name="connsiteY41" fmla="*/ 39593 h 421662"/>
                <a:gd name="connsiteX42" fmla="*/ 202855 w 369756"/>
                <a:gd name="connsiteY42" fmla="*/ 39593 h 421662"/>
                <a:gd name="connsiteX43" fmla="*/ 222591 w 369756"/>
                <a:gd name="connsiteY43" fmla="*/ 27406 h 421662"/>
                <a:gd name="connsiteX44" fmla="*/ 228462 w 369756"/>
                <a:gd name="connsiteY44" fmla="*/ 27406 h 421662"/>
                <a:gd name="connsiteX45" fmla="*/ 238330 w 369756"/>
                <a:gd name="connsiteY45" fmla="*/ 28936 h 421662"/>
                <a:gd name="connsiteX46" fmla="*/ 242179 w 369756"/>
                <a:gd name="connsiteY46" fmla="*/ 27406 h 421662"/>
                <a:gd name="connsiteX47" fmla="*/ 252047 w 369756"/>
                <a:gd name="connsiteY47" fmla="*/ 28936 h 421662"/>
                <a:gd name="connsiteX48" fmla="*/ 261915 w 369756"/>
                <a:gd name="connsiteY48" fmla="*/ 24347 h 421662"/>
                <a:gd name="connsiteX49" fmla="*/ 273609 w 369756"/>
                <a:gd name="connsiteY49" fmla="*/ 24347 h 421662"/>
                <a:gd name="connsiteX50" fmla="*/ 277556 w 369756"/>
                <a:gd name="connsiteY50" fmla="*/ 25877 h 421662"/>
                <a:gd name="connsiteX51" fmla="*/ 281454 w 369756"/>
                <a:gd name="connsiteY51" fmla="*/ 25877 h 421662"/>
                <a:gd name="connsiteX52" fmla="*/ 299019 w 369756"/>
                <a:gd name="connsiteY52" fmla="*/ 22818 h 421662"/>
                <a:gd name="connsiteX53" fmla="*/ 306864 w 369756"/>
                <a:gd name="connsiteY53" fmla="*/ 18278 h 421662"/>
                <a:gd name="connsiteX54" fmla="*/ 316732 w 369756"/>
                <a:gd name="connsiteY54" fmla="*/ 15219 h 421662"/>
                <a:gd name="connsiteX55" fmla="*/ 318706 w 369756"/>
                <a:gd name="connsiteY55" fmla="*/ 19759 h 421662"/>
                <a:gd name="connsiteX56" fmla="*/ 320680 w 369756"/>
                <a:gd name="connsiteY56" fmla="*/ 15219 h 421662"/>
                <a:gd name="connsiteX57" fmla="*/ 330548 w 369756"/>
                <a:gd name="connsiteY57" fmla="*/ 13690 h 421662"/>
                <a:gd name="connsiteX58" fmla="*/ 338393 w 369756"/>
                <a:gd name="connsiteY58" fmla="*/ 9150 h 421662"/>
                <a:gd name="connsiteX59" fmla="*/ 340317 w 369756"/>
                <a:gd name="connsiteY59" fmla="*/ 10680 h 421662"/>
                <a:gd name="connsiteX60" fmla="*/ 342291 w 369756"/>
                <a:gd name="connsiteY60" fmla="*/ 6091 h 421662"/>
                <a:gd name="connsiteX61" fmla="*/ 340317 w 369756"/>
                <a:gd name="connsiteY61" fmla="*/ 4562 h 421662"/>
                <a:gd name="connsiteX62" fmla="*/ 346188 w 369756"/>
                <a:gd name="connsiteY62" fmla="*/ 1503 h 421662"/>
                <a:gd name="connsiteX63" fmla="*/ 348162 w 369756"/>
                <a:gd name="connsiteY63" fmla="*/ 1503 h 421662"/>
                <a:gd name="connsiteX64" fmla="*/ 348162 w 369756"/>
                <a:gd name="connsiteY64" fmla="*/ -27 h 421662"/>
                <a:gd name="connsiteX65" fmla="*/ 352060 w 369756"/>
                <a:gd name="connsiteY65" fmla="*/ 3032 h 421662"/>
                <a:gd name="connsiteX66" fmla="*/ 359905 w 369756"/>
                <a:gd name="connsiteY66" fmla="*/ 6091 h 421662"/>
                <a:gd name="connsiteX67" fmla="*/ 367701 w 369756"/>
                <a:gd name="connsiteY67" fmla="*/ 6091 h 421662"/>
                <a:gd name="connsiteX68" fmla="*/ 361879 w 369756"/>
                <a:gd name="connsiteY68" fmla="*/ 10680 h 421662"/>
                <a:gd name="connsiteX69" fmla="*/ 359905 w 369756"/>
                <a:gd name="connsiteY69" fmla="*/ 15219 h 421662"/>
                <a:gd name="connsiteX70" fmla="*/ 359905 w 369756"/>
                <a:gd name="connsiteY70" fmla="*/ 21288 h 421662"/>
                <a:gd name="connsiteX71" fmla="*/ 357931 w 369756"/>
                <a:gd name="connsiteY71" fmla="*/ 24347 h 421662"/>
                <a:gd name="connsiteX72" fmla="*/ 359905 w 369756"/>
                <a:gd name="connsiteY72" fmla="*/ 27406 h 421662"/>
                <a:gd name="connsiteX73" fmla="*/ 363803 w 369756"/>
                <a:gd name="connsiteY73" fmla="*/ 27406 h 421662"/>
                <a:gd name="connsiteX74" fmla="*/ 363803 w 369756"/>
                <a:gd name="connsiteY74" fmla="*/ 28936 h 421662"/>
                <a:gd name="connsiteX75" fmla="*/ 359905 w 369756"/>
                <a:gd name="connsiteY75" fmla="*/ 31995 h 421662"/>
                <a:gd name="connsiteX76" fmla="*/ 357931 w 369756"/>
                <a:gd name="connsiteY76" fmla="*/ 38064 h 421662"/>
                <a:gd name="connsiteX77" fmla="*/ 359905 w 369756"/>
                <a:gd name="connsiteY77" fmla="*/ 41074 h 421662"/>
                <a:gd name="connsiteX78" fmla="*/ 361879 w 369756"/>
                <a:gd name="connsiteY78" fmla="*/ 47192 h 421662"/>
                <a:gd name="connsiteX79" fmla="*/ 359905 w 369756"/>
                <a:gd name="connsiteY79" fmla="*/ 51780 h 421662"/>
                <a:gd name="connsiteX80" fmla="*/ 363803 w 369756"/>
                <a:gd name="connsiteY80" fmla="*/ 51780 h 421662"/>
                <a:gd name="connsiteX81" fmla="*/ 363803 w 369756"/>
                <a:gd name="connsiteY81" fmla="*/ 50202 h 421662"/>
                <a:gd name="connsiteX82" fmla="*/ 367701 w 369756"/>
                <a:gd name="connsiteY82" fmla="*/ 50202 h 421662"/>
                <a:gd name="connsiteX83" fmla="*/ 369674 w 369756"/>
                <a:gd name="connsiteY83" fmla="*/ 54840 h 421662"/>
                <a:gd name="connsiteX84" fmla="*/ 367701 w 369756"/>
                <a:gd name="connsiteY84" fmla="*/ 54840 h 421662"/>
                <a:gd name="connsiteX85" fmla="*/ 363803 w 369756"/>
                <a:gd name="connsiteY85" fmla="*/ 53310 h 421662"/>
                <a:gd name="connsiteX86" fmla="*/ 359905 w 369756"/>
                <a:gd name="connsiteY86" fmla="*/ 53310 h 421662"/>
                <a:gd name="connsiteX87" fmla="*/ 357931 w 369756"/>
                <a:gd name="connsiteY87" fmla="*/ 54840 h 421662"/>
                <a:gd name="connsiteX88" fmla="*/ 352060 w 369756"/>
                <a:gd name="connsiteY88" fmla="*/ 62438 h 421662"/>
                <a:gd name="connsiteX89" fmla="*/ 355958 w 369756"/>
                <a:gd name="connsiteY89" fmla="*/ 65448 h 421662"/>
                <a:gd name="connsiteX90" fmla="*/ 354034 w 369756"/>
                <a:gd name="connsiteY90" fmla="*/ 74576 h 421662"/>
                <a:gd name="connsiteX91" fmla="*/ 352060 w 369756"/>
                <a:gd name="connsiteY91" fmla="*/ 77635 h 421662"/>
                <a:gd name="connsiteX92" fmla="*/ 352060 w 369756"/>
                <a:gd name="connsiteY92" fmla="*/ 85233 h 421662"/>
                <a:gd name="connsiteX93" fmla="*/ 340317 w 369756"/>
                <a:gd name="connsiteY93" fmla="*/ 100479 h 421662"/>
                <a:gd name="connsiteX94" fmla="*/ 330449 w 369756"/>
                <a:gd name="connsiteY94" fmla="*/ 115676 h 421662"/>
                <a:gd name="connsiteX95" fmla="*/ 326551 w 369756"/>
                <a:gd name="connsiteY95" fmla="*/ 120265 h 421662"/>
                <a:gd name="connsiteX96" fmla="*/ 322654 w 369756"/>
                <a:gd name="connsiteY96" fmla="*/ 120265 h 421662"/>
                <a:gd name="connsiteX97" fmla="*/ 314808 w 369756"/>
                <a:gd name="connsiteY97" fmla="*/ 127863 h 421662"/>
                <a:gd name="connsiteX98" fmla="*/ 314808 w 369756"/>
                <a:gd name="connsiteY98" fmla="*/ 130922 h 421662"/>
                <a:gd name="connsiteX99" fmla="*/ 318755 w 369756"/>
                <a:gd name="connsiteY99" fmla="*/ 135511 h 421662"/>
                <a:gd name="connsiteX100" fmla="*/ 314808 w 369756"/>
                <a:gd name="connsiteY100" fmla="*/ 138521 h 421662"/>
                <a:gd name="connsiteX101" fmla="*/ 293296 w 369756"/>
                <a:gd name="connsiteY101" fmla="*/ 172023 h 421662"/>
                <a:gd name="connsiteX102" fmla="*/ 291371 w 369756"/>
                <a:gd name="connsiteY102" fmla="*/ 182680 h 421662"/>
                <a:gd name="connsiteX103" fmla="*/ 279678 w 369756"/>
                <a:gd name="connsiteY103" fmla="*/ 197877 h 421662"/>
                <a:gd name="connsiteX104" fmla="*/ 279678 w 369756"/>
                <a:gd name="connsiteY104" fmla="*/ 203995 h 421662"/>
                <a:gd name="connsiteX105" fmla="*/ 254268 w 369756"/>
                <a:gd name="connsiteY105" fmla="*/ 232958 h 421662"/>
                <a:gd name="connsiteX106" fmla="*/ 252245 w 369756"/>
                <a:gd name="connsiteY106" fmla="*/ 239027 h 421662"/>
                <a:gd name="connsiteX107" fmla="*/ 242377 w 369756"/>
                <a:gd name="connsiteY107" fmla="*/ 248155 h 421662"/>
                <a:gd name="connsiteX108" fmla="*/ 220914 w 369756"/>
                <a:gd name="connsiteY108" fmla="*/ 267891 h 421662"/>
                <a:gd name="connsiteX109" fmla="*/ 181787 w 369756"/>
                <a:gd name="connsiteY109" fmla="*/ 298334 h 421662"/>
                <a:gd name="connsiteX110" fmla="*/ 166146 w 369756"/>
                <a:gd name="connsiteY110" fmla="*/ 312051 h 421662"/>
                <a:gd name="connsiteX111" fmla="*/ 152479 w 369756"/>
                <a:gd name="connsiteY111" fmla="*/ 313580 h 421662"/>
                <a:gd name="connsiteX112" fmla="*/ 142611 w 369756"/>
                <a:gd name="connsiteY112" fmla="*/ 319649 h 421662"/>
                <a:gd name="connsiteX113" fmla="*/ 130917 w 369756"/>
                <a:gd name="connsiteY113" fmla="*/ 327297 h 421662"/>
                <a:gd name="connsiteX114" fmla="*/ 105457 w 369756"/>
                <a:gd name="connsiteY114" fmla="*/ 350092 h 421662"/>
                <a:gd name="connsiteX115" fmla="*/ 101559 w 369756"/>
                <a:gd name="connsiteY115" fmla="*/ 351622 h 421662"/>
                <a:gd name="connsiteX116" fmla="*/ 80047 w 369756"/>
                <a:gd name="connsiteY116" fmla="*/ 369878 h 421662"/>
                <a:gd name="connsiteX117" fmla="*/ 76149 w 369756"/>
                <a:gd name="connsiteY117" fmla="*/ 371407 h 421662"/>
                <a:gd name="connsiteX118" fmla="*/ 74224 w 369756"/>
                <a:gd name="connsiteY118" fmla="*/ 375996 h 421662"/>
                <a:gd name="connsiteX119" fmla="*/ 66379 w 369756"/>
                <a:gd name="connsiteY119" fmla="*/ 377526 h 421662"/>
                <a:gd name="connsiteX120" fmla="*/ 60508 w 369756"/>
                <a:gd name="connsiteY120" fmla="*/ 383594 h 421662"/>
                <a:gd name="connsiteX121" fmla="*/ 54636 w 369756"/>
                <a:gd name="connsiteY121" fmla="*/ 391193 h 421662"/>
                <a:gd name="connsiteX122" fmla="*/ 27253 w 369756"/>
                <a:gd name="connsiteY122" fmla="*/ 420106 h 421662"/>
                <a:gd name="connsiteX123" fmla="*/ 27253 w 369756"/>
                <a:gd name="connsiteY123" fmla="*/ 421636 h 421662"/>
                <a:gd name="connsiteX124" fmla="*/ -82 w 369756"/>
                <a:gd name="connsiteY124" fmla="*/ 400321 h 421662"/>
                <a:gd name="connsiteX125" fmla="*/ 1842 w 369756"/>
                <a:gd name="connsiteY125" fmla="*/ 276970 h 421662"/>
                <a:gd name="connsiteX126" fmla="*/ 35098 w 369756"/>
                <a:gd name="connsiteY126" fmla="*/ 251116 h 42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369756" h="421662">
                  <a:moveTo>
                    <a:pt x="34703" y="251214"/>
                  </a:moveTo>
                  <a:lnTo>
                    <a:pt x="34703" y="249734"/>
                  </a:lnTo>
                  <a:lnTo>
                    <a:pt x="38601" y="246675"/>
                  </a:lnTo>
                  <a:lnTo>
                    <a:pt x="48469" y="242086"/>
                  </a:lnTo>
                  <a:lnTo>
                    <a:pt x="60163" y="240557"/>
                  </a:lnTo>
                  <a:lnTo>
                    <a:pt x="70031" y="236017"/>
                  </a:lnTo>
                  <a:lnTo>
                    <a:pt x="75902" y="233007"/>
                  </a:lnTo>
                  <a:lnTo>
                    <a:pt x="79800" y="225360"/>
                  </a:lnTo>
                  <a:lnTo>
                    <a:pt x="87596" y="220771"/>
                  </a:lnTo>
                  <a:lnTo>
                    <a:pt x="95441" y="220771"/>
                  </a:lnTo>
                  <a:lnTo>
                    <a:pt x="101313" y="217761"/>
                  </a:lnTo>
                  <a:lnTo>
                    <a:pt x="122825" y="216232"/>
                  </a:lnTo>
                  <a:lnTo>
                    <a:pt x="146262" y="217761"/>
                  </a:lnTo>
                  <a:lnTo>
                    <a:pt x="257672" y="120314"/>
                  </a:lnTo>
                  <a:lnTo>
                    <a:pt x="212772" y="121844"/>
                  </a:lnTo>
                  <a:lnTo>
                    <a:pt x="107184" y="92881"/>
                  </a:lnTo>
                  <a:lnTo>
                    <a:pt x="97316" y="86812"/>
                  </a:lnTo>
                  <a:lnTo>
                    <a:pt x="83599" y="85282"/>
                  </a:lnTo>
                  <a:lnTo>
                    <a:pt x="79702" y="76155"/>
                  </a:lnTo>
                  <a:lnTo>
                    <a:pt x="79702" y="65497"/>
                  </a:lnTo>
                  <a:lnTo>
                    <a:pt x="71906" y="62487"/>
                  </a:lnTo>
                  <a:lnTo>
                    <a:pt x="66034" y="45712"/>
                  </a:lnTo>
                  <a:lnTo>
                    <a:pt x="64061" y="33524"/>
                  </a:lnTo>
                  <a:lnTo>
                    <a:pt x="66034" y="28985"/>
                  </a:lnTo>
                  <a:lnTo>
                    <a:pt x="73879" y="15268"/>
                  </a:lnTo>
                  <a:lnTo>
                    <a:pt x="75804" y="21338"/>
                  </a:lnTo>
                  <a:lnTo>
                    <a:pt x="77728" y="21338"/>
                  </a:lnTo>
                  <a:lnTo>
                    <a:pt x="101214" y="41074"/>
                  </a:lnTo>
                  <a:lnTo>
                    <a:pt x="103138" y="45662"/>
                  </a:lnTo>
                  <a:lnTo>
                    <a:pt x="107085" y="47192"/>
                  </a:lnTo>
                  <a:lnTo>
                    <a:pt x="114930" y="53310"/>
                  </a:lnTo>
                  <a:lnTo>
                    <a:pt x="122726" y="54840"/>
                  </a:lnTo>
                  <a:lnTo>
                    <a:pt x="134420" y="54840"/>
                  </a:lnTo>
                  <a:lnTo>
                    <a:pt x="138367" y="51780"/>
                  </a:lnTo>
                  <a:lnTo>
                    <a:pt x="146163" y="47192"/>
                  </a:lnTo>
                  <a:lnTo>
                    <a:pt x="152034" y="45662"/>
                  </a:lnTo>
                  <a:lnTo>
                    <a:pt x="165702" y="36534"/>
                  </a:lnTo>
                  <a:lnTo>
                    <a:pt x="169600" y="36534"/>
                  </a:lnTo>
                  <a:lnTo>
                    <a:pt x="171623" y="38064"/>
                  </a:lnTo>
                  <a:lnTo>
                    <a:pt x="179418" y="38064"/>
                  </a:lnTo>
                  <a:lnTo>
                    <a:pt x="183316" y="36534"/>
                  </a:lnTo>
                  <a:lnTo>
                    <a:pt x="191112" y="39593"/>
                  </a:lnTo>
                  <a:lnTo>
                    <a:pt x="202855" y="39593"/>
                  </a:lnTo>
                  <a:lnTo>
                    <a:pt x="222591" y="27406"/>
                  </a:lnTo>
                  <a:lnTo>
                    <a:pt x="228462" y="27406"/>
                  </a:lnTo>
                  <a:lnTo>
                    <a:pt x="238330" y="28936"/>
                  </a:lnTo>
                  <a:lnTo>
                    <a:pt x="242179" y="27406"/>
                  </a:lnTo>
                  <a:lnTo>
                    <a:pt x="252047" y="28936"/>
                  </a:lnTo>
                  <a:lnTo>
                    <a:pt x="261915" y="24347"/>
                  </a:lnTo>
                  <a:lnTo>
                    <a:pt x="273609" y="24347"/>
                  </a:lnTo>
                  <a:lnTo>
                    <a:pt x="277556" y="25877"/>
                  </a:lnTo>
                  <a:lnTo>
                    <a:pt x="281454" y="25877"/>
                  </a:lnTo>
                  <a:lnTo>
                    <a:pt x="299019" y="22818"/>
                  </a:lnTo>
                  <a:lnTo>
                    <a:pt x="306864" y="18278"/>
                  </a:lnTo>
                  <a:lnTo>
                    <a:pt x="316732" y="15219"/>
                  </a:lnTo>
                  <a:lnTo>
                    <a:pt x="318706" y="19759"/>
                  </a:lnTo>
                  <a:lnTo>
                    <a:pt x="320680" y="15219"/>
                  </a:lnTo>
                  <a:lnTo>
                    <a:pt x="330548" y="13690"/>
                  </a:lnTo>
                  <a:lnTo>
                    <a:pt x="338393" y="9150"/>
                  </a:lnTo>
                  <a:lnTo>
                    <a:pt x="340317" y="10680"/>
                  </a:lnTo>
                  <a:lnTo>
                    <a:pt x="342291" y="6091"/>
                  </a:lnTo>
                  <a:lnTo>
                    <a:pt x="340317" y="4562"/>
                  </a:lnTo>
                  <a:lnTo>
                    <a:pt x="346188" y="1503"/>
                  </a:lnTo>
                  <a:lnTo>
                    <a:pt x="348162" y="1503"/>
                  </a:lnTo>
                  <a:lnTo>
                    <a:pt x="348162" y="-27"/>
                  </a:lnTo>
                  <a:lnTo>
                    <a:pt x="352060" y="3032"/>
                  </a:lnTo>
                  <a:lnTo>
                    <a:pt x="359905" y="6091"/>
                  </a:lnTo>
                  <a:lnTo>
                    <a:pt x="367701" y="6091"/>
                  </a:lnTo>
                  <a:lnTo>
                    <a:pt x="361879" y="10680"/>
                  </a:lnTo>
                  <a:lnTo>
                    <a:pt x="359905" y="15219"/>
                  </a:lnTo>
                  <a:lnTo>
                    <a:pt x="359905" y="21288"/>
                  </a:lnTo>
                  <a:lnTo>
                    <a:pt x="357931" y="24347"/>
                  </a:lnTo>
                  <a:lnTo>
                    <a:pt x="359905" y="27406"/>
                  </a:lnTo>
                  <a:lnTo>
                    <a:pt x="363803" y="27406"/>
                  </a:lnTo>
                  <a:lnTo>
                    <a:pt x="363803" y="28936"/>
                  </a:lnTo>
                  <a:lnTo>
                    <a:pt x="359905" y="31995"/>
                  </a:lnTo>
                  <a:lnTo>
                    <a:pt x="357931" y="38064"/>
                  </a:lnTo>
                  <a:lnTo>
                    <a:pt x="359905" y="41074"/>
                  </a:lnTo>
                  <a:lnTo>
                    <a:pt x="361879" y="47192"/>
                  </a:lnTo>
                  <a:lnTo>
                    <a:pt x="359905" y="51780"/>
                  </a:lnTo>
                  <a:lnTo>
                    <a:pt x="363803" y="51780"/>
                  </a:lnTo>
                  <a:lnTo>
                    <a:pt x="363803" y="50202"/>
                  </a:lnTo>
                  <a:lnTo>
                    <a:pt x="367701" y="50202"/>
                  </a:lnTo>
                  <a:lnTo>
                    <a:pt x="369674" y="54840"/>
                  </a:lnTo>
                  <a:lnTo>
                    <a:pt x="367701" y="54840"/>
                  </a:lnTo>
                  <a:lnTo>
                    <a:pt x="363803" y="53310"/>
                  </a:lnTo>
                  <a:lnTo>
                    <a:pt x="359905" y="53310"/>
                  </a:lnTo>
                  <a:lnTo>
                    <a:pt x="357931" y="54840"/>
                  </a:lnTo>
                  <a:lnTo>
                    <a:pt x="352060" y="62438"/>
                  </a:lnTo>
                  <a:lnTo>
                    <a:pt x="355958" y="65448"/>
                  </a:lnTo>
                  <a:lnTo>
                    <a:pt x="354034" y="74576"/>
                  </a:lnTo>
                  <a:lnTo>
                    <a:pt x="352060" y="77635"/>
                  </a:lnTo>
                  <a:lnTo>
                    <a:pt x="352060" y="85233"/>
                  </a:lnTo>
                  <a:lnTo>
                    <a:pt x="340317" y="100479"/>
                  </a:lnTo>
                  <a:lnTo>
                    <a:pt x="330449" y="115676"/>
                  </a:lnTo>
                  <a:lnTo>
                    <a:pt x="326551" y="120265"/>
                  </a:lnTo>
                  <a:lnTo>
                    <a:pt x="322654" y="120265"/>
                  </a:lnTo>
                  <a:lnTo>
                    <a:pt x="314808" y="127863"/>
                  </a:lnTo>
                  <a:lnTo>
                    <a:pt x="314808" y="130922"/>
                  </a:lnTo>
                  <a:lnTo>
                    <a:pt x="318755" y="135511"/>
                  </a:lnTo>
                  <a:lnTo>
                    <a:pt x="314808" y="138521"/>
                  </a:lnTo>
                  <a:lnTo>
                    <a:pt x="293296" y="172023"/>
                  </a:lnTo>
                  <a:lnTo>
                    <a:pt x="291371" y="182680"/>
                  </a:lnTo>
                  <a:lnTo>
                    <a:pt x="279678" y="197877"/>
                  </a:lnTo>
                  <a:lnTo>
                    <a:pt x="279678" y="203995"/>
                  </a:lnTo>
                  <a:lnTo>
                    <a:pt x="254268" y="232958"/>
                  </a:lnTo>
                  <a:lnTo>
                    <a:pt x="252245" y="239027"/>
                  </a:lnTo>
                  <a:lnTo>
                    <a:pt x="242377" y="248155"/>
                  </a:lnTo>
                  <a:lnTo>
                    <a:pt x="220914" y="267891"/>
                  </a:lnTo>
                  <a:lnTo>
                    <a:pt x="181787" y="298334"/>
                  </a:lnTo>
                  <a:lnTo>
                    <a:pt x="166146" y="312051"/>
                  </a:lnTo>
                  <a:lnTo>
                    <a:pt x="152479" y="313580"/>
                  </a:lnTo>
                  <a:lnTo>
                    <a:pt x="142611" y="319649"/>
                  </a:lnTo>
                  <a:lnTo>
                    <a:pt x="130917" y="327297"/>
                  </a:lnTo>
                  <a:lnTo>
                    <a:pt x="105457" y="350092"/>
                  </a:lnTo>
                  <a:lnTo>
                    <a:pt x="101559" y="351622"/>
                  </a:lnTo>
                  <a:lnTo>
                    <a:pt x="80047" y="369878"/>
                  </a:lnTo>
                  <a:lnTo>
                    <a:pt x="76149" y="371407"/>
                  </a:lnTo>
                  <a:lnTo>
                    <a:pt x="74224" y="375996"/>
                  </a:lnTo>
                  <a:lnTo>
                    <a:pt x="66379" y="377526"/>
                  </a:lnTo>
                  <a:lnTo>
                    <a:pt x="60508" y="383594"/>
                  </a:lnTo>
                  <a:lnTo>
                    <a:pt x="54636" y="391193"/>
                  </a:lnTo>
                  <a:lnTo>
                    <a:pt x="27253" y="420106"/>
                  </a:lnTo>
                  <a:lnTo>
                    <a:pt x="27253" y="421636"/>
                  </a:lnTo>
                  <a:lnTo>
                    <a:pt x="-82" y="400321"/>
                  </a:lnTo>
                  <a:lnTo>
                    <a:pt x="1842" y="276970"/>
                  </a:lnTo>
                  <a:lnTo>
                    <a:pt x="35098" y="25111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Graphic 2">
              <a:extLst>
                <a:ext uri="{FF2B5EF4-FFF2-40B4-BE49-F238E27FC236}">
                  <a16:creationId xmlns:a16="http://schemas.microsoft.com/office/drawing/2014/main" id="{93F14D6E-E312-4FFA-A3A2-5C5CF0F5E67D}"/>
                </a:ext>
              </a:extLst>
            </p:cNvPr>
            <p:cNvSpPr/>
            <p:nvPr/>
          </p:nvSpPr>
          <p:spPr>
            <a:xfrm>
              <a:off x="6448634" y="4485759"/>
              <a:ext cx="346057" cy="284725"/>
            </a:xfrm>
            <a:custGeom>
              <a:avLst/>
              <a:gdLst>
                <a:gd name="connsiteX0" fmla="*/ 94159 w 380907"/>
                <a:gd name="connsiteY0" fmla="*/ 40383 h 313409"/>
                <a:gd name="connsiteX1" fmla="*/ 99981 w 380907"/>
                <a:gd name="connsiteY1" fmla="*/ 35893 h 313409"/>
                <a:gd name="connsiteX2" fmla="*/ 101954 w 380907"/>
                <a:gd name="connsiteY2" fmla="*/ 35893 h 313409"/>
                <a:gd name="connsiteX3" fmla="*/ 105902 w 380907"/>
                <a:gd name="connsiteY3" fmla="*/ 31353 h 313409"/>
                <a:gd name="connsiteX4" fmla="*/ 111773 w 380907"/>
                <a:gd name="connsiteY4" fmla="*/ 25334 h 313409"/>
                <a:gd name="connsiteX5" fmla="*/ 113747 w 380907"/>
                <a:gd name="connsiteY5" fmla="*/ 25334 h 313409"/>
                <a:gd name="connsiteX6" fmla="*/ 123615 w 380907"/>
                <a:gd name="connsiteY6" fmla="*/ 14775 h 313409"/>
                <a:gd name="connsiteX7" fmla="*/ 139305 w 380907"/>
                <a:gd name="connsiteY7" fmla="*/ -27 h 313409"/>
                <a:gd name="connsiteX8" fmla="*/ 143203 w 380907"/>
                <a:gd name="connsiteY8" fmla="*/ 7522 h 313409"/>
                <a:gd name="connsiteX9" fmla="*/ 149123 w 380907"/>
                <a:gd name="connsiteY9" fmla="*/ 5992 h 313409"/>
                <a:gd name="connsiteX10" fmla="*/ 154995 w 380907"/>
                <a:gd name="connsiteY10" fmla="*/ 7522 h 313409"/>
                <a:gd name="connsiteX11" fmla="*/ 154995 w 380907"/>
                <a:gd name="connsiteY11" fmla="*/ 24051 h 313409"/>
                <a:gd name="connsiteX12" fmla="*/ 160866 w 380907"/>
                <a:gd name="connsiteY12" fmla="*/ 31600 h 313409"/>
                <a:gd name="connsiteX13" fmla="*/ 168761 w 380907"/>
                <a:gd name="connsiteY13" fmla="*/ 33080 h 313409"/>
                <a:gd name="connsiteX14" fmla="*/ 176606 w 380907"/>
                <a:gd name="connsiteY14" fmla="*/ 30120 h 313409"/>
                <a:gd name="connsiteX15" fmla="*/ 184402 w 380907"/>
                <a:gd name="connsiteY15" fmla="*/ 31600 h 313409"/>
                <a:gd name="connsiteX16" fmla="*/ 204138 w 380907"/>
                <a:gd name="connsiteY16" fmla="*/ 31600 h 313409"/>
                <a:gd name="connsiteX17" fmla="*/ 210059 w 380907"/>
                <a:gd name="connsiteY17" fmla="*/ 34610 h 313409"/>
                <a:gd name="connsiteX18" fmla="*/ 223775 w 380907"/>
                <a:gd name="connsiteY18" fmla="*/ 46698 h 313409"/>
                <a:gd name="connsiteX19" fmla="*/ 235518 w 380907"/>
                <a:gd name="connsiteY19" fmla="*/ 51188 h 313409"/>
                <a:gd name="connsiteX20" fmla="*/ 239466 w 380907"/>
                <a:gd name="connsiteY20" fmla="*/ 57257 h 313409"/>
                <a:gd name="connsiteX21" fmla="*/ 245337 w 380907"/>
                <a:gd name="connsiteY21" fmla="*/ 58737 h 313409"/>
                <a:gd name="connsiteX22" fmla="*/ 257129 w 380907"/>
                <a:gd name="connsiteY22" fmla="*/ 58737 h 313409"/>
                <a:gd name="connsiteX23" fmla="*/ 264975 w 380907"/>
                <a:gd name="connsiteY23" fmla="*/ 61747 h 313409"/>
                <a:gd name="connsiteX24" fmla="*/ 276718 w 380907"/>
                <a:gd name="connsiteY24" fmla="*/ 61747 h 313409"/>
                <a:gd name="connsiteX25" fmla="*/ 282639 w 380907"/>
                <a:gd name="connsiteY25" fmla="*/ 63277 h 313409"/>
                <a:gd name="connsiteX26" fmla="*/ 294431 w 380907"/>
                <a:gd name="connsiteY26" fmla="*/ 63277 h 313409"/>
                <a:gd name="connsiteX27" fmla="*/ 304299 w 380907"/>
                <a:gd name="connsiteY27" fmla="*/ 49708 h 313409"/>
                <a:gd name="connsiteX28" fmla="*/ 308246 w 380907"/>
                <a:gd name="connsiteY28" fmla="*/ 45218 h 313409"/>
                <a:gd name="connsiteX29" fmla="*/ 316092 w 380907"/>
                <a:gd name="connsiteY29" fmla="*/ 43689 h 313409"/>
                <a:gd name="connsiteX30" fmla="*/ 320038 w 380907"/>
                <a:gd name="connsiteY30" fmla="*/ 43689 h 313409"/>
                <a:gd name="connsiteX31" fmla="*/ 323936 w 380907"/>
                <a:gd name="connsiteY31" fmla="*/ 40629 h 313409"/>
                <a:gd name="connsiteX32" fmla="*/ 341600 w 380907"/>
                <a:gd name="connsiteY32" fmla="*/ 39149 h 313409"/>
                <a:gd name="connsiteX33" fmla="*/ 347472 w 380907"/>
                <a:gd name="connsiteY33" fmla="*/ 42159 h 313409"/>
                <a:gd name="connsiteX34" fmla="*/ 351419 w 380907"/>
                <a:gd name="connsiteY34" fmla="*/ 48178 h 313409"/>
                <a:gd name="connsiteX35" fmla="*/ 357291 w 380907"/>
                <a:gd name="connsiteY35" fmla="*/ 51188 h 313409"/>
                <a:gd name="connsiteX36" fmla="*/ 369083 w 380907"/>
                <a:gd name="connsiteY36" fmla="*/ 48178 h 313409"/>
                <a:gd name="connsiteX37" fmla="*/ 380826 w 380907"/>
                <a:gd name="connsiteY37" fmla="*/ 49708 h 313409"/>
                <a:gd name="connsiteX38" fmla="*/ 347373 w 380907"/>
                <a:gd name="connsiteY38" fmla="*/ 75069 h 313409"/>
                <a:gd name="connsiteX39" fmla="*/ 345449 w 380907"/>
                <a:gd name="connsiteY39" fmla="*/ 197137 h 313409"/>
                <a:gd name="connsiteX40" fmla="*/ 372932 w 380907"/>
                <a:gd name="connsiteY40" fmla="*/ 218255 h 313409"/>
                <a:gd name="connsiteX41" fmla="*/ 368984 w 380907"/>
                <a:gd name="connsiteY41" fmla="*/ 219735 h 313409"/>
                <a:gd name="connsiteX42" fmla="*/ 359116 w 380907"/>
                <a:gd name="connsiteY42" fmla="*/ 230294 h 313409"/>
                <a:gd name="connsiteX43" fmla="*/ 355218 w 380907"/>
                <a:gd name="connsiteY43" fmla="*/ 231823 h 313409"/>
                <a:gd name="connsiteX44" fmla="*/ 351271 w 380907"/>
                <a:gd name="connsiteY44" fmla="*/ 234833 h 313409"/>
                <a:gd name="connsiteX45" fmla="*/ 353244 w 380907"/>
                <a:gd name="connsiteY45" fmla="*/ 239323 h 313409"/>
                <a:gd name="connsiteX46" fmla="*/ 341453 w 380907"/>
                <a:gd name="connsiteY46" fmla="*/ 243862 h 313409"/>
                <a:gd name="connsiteX47" fmla="*/ 333607 w 380907"/>
                <a:gd name="connsiteY47" fmla="*/ 249882 h 313409"/>
                <a:gd name="connsiteX48" fmla="*/ 323739 w 380907"/>
                <a:gd name="connsiteY48" fmla="*/ 249882 h 313409"/>
                <a:gd name="connsiteX49" fmla="*/ 319841 w 380907"/>
                <a:gd name="connsiteY49" fmla="*/ 251411 h 313409"/>
                <a:gd name="connsiteX50" fmla="*/ 319841 w 380907"/>
                <a:gd name="connsiteY50" fmla="*/ 254421 h 313409"/>
                <a:gd name="connsiteX51" fmla="*/ 313920 w 380907"/>
                <a:gd name="connsiteY51" fmla="*/ 258961 h 313409"/>
                <a:gd name="connsiteX52" fmla="*/ 313920 w 380907"/>
                <a:gd name="connsiteY52" fmla="*/ 261970 h 313409"/>
                <a:gd name="connsiteX53" fmla="*/ 315894 w 380907"/>
                <a:gd name="connsiteY53" fmla="*/ 264980 h 313409"/>
                <a:gd name="connsiteX54" fmla="*/ 310023 w 380907"/>
                <a:gd name="connsiteY54" fmla="*/ 272529 h 313409"/>
                <a:gd name="connsiteX55" fmla="*/ 304102 w 380907"/>
                <a:gd name="connsiteY55" fmla="*/ 278549 h 313409"/>
                <a:gd name="connsiteX56" fmla="*/ 304102 w 380907"/>
                <a:gd name="connsiteY56" fmla="*/ 284765 h 313409"/>
                <a:gd name="connsiteX57" fmla="*/ 298230 w 380907"/>
                <a:gd name="connsiteY57" fmla="*/ 295275 h 313409"/>
                <a:gd name="connsiteX58" fmla="*/ 286438 w 380907"/>
                <a:gd name="connsiteY58" fmla="*/ 310373 h 313409"/>
                <a:gd name="connsiteX59" fmla="*/ 278593 w 380907"/>
                <a:gd name="connsiteY59" fmla="*/ 313383 h 313409"/>
                <a:gd name="connsiteX60" fmla="*/ 274695 w 380907"/>
                <a:gd name="connsiteY60" fmla="*/ 313383 h 313409"/>
                <a:gd name="connsiteX61" fmla="*/ 229598 w 380907"/>
                <a:gd name="connsiteY61" fmla="*/ 286246 h 313409"/>
                <a:gd name="connsiteX62" fmla="*/ 225601 w 380907"/>
                <a:gd name="connsiteY62" fmla="*/ 283236 h 313409"/>
                <a:gd name="connsiteX63" fmla="*/ 225601 w 380907"/>
                <a:gd name="connsiteY63" fmla="*/ 280276 h 313409"/>
                <a:gd name="connsiteX64" fmla="*/ 227624 w 380907"/>
                <a:gd name="connsiteY64" fmla="*/ 277216 h 313409"/>
                <a:gd name="connsiteX65" fmla="*/ 219779 w 380907"/>
                <a:gd name="connsiteY65" fmla="*/ 266658 h 313409"/>
                <a:gd name="connsiteX66" fmla="*/ 86313 w 380907"/>
                <a:gd name="connsiteY66" fmla="*/ 200344 h 313409"/>
                <a:gd name="connsiteX67" fmla="*/ 78468 w 380907"/>
                <a:gd name="connsiteY67" fmla="*/ 201874 h 313409"/>
                <a:gd name="connsiteX68" fmla="*/ 86313 w 380907"/>
                <a:gd name="connsiteY68" fmla="*/ 171727 h 313409"/>
                <a:gd name="connsiteX69" fmla="*/ 88287 w 380907"/>
                <a:gd name="connsiteY69" fmla="*/ 164178 h 313409"/>
                <a:gd name="connsiteX70" fmla="*/ 94207 w 380907"/>
                <a:gd name="connsiteY70" fmla="*/ 156678 h 313409"/>
                <a:gd name="connsiteX71" fmla="*/ 100030 w 380907"/>
                <a:gd name="connsiteY71" fmla="*/ 150609 h 313409"/>
                <a:gd name="connsiteX72" fmla="*/ 105951 w 380907"/>
                <a:gd name="connsiteY72" fmla="*/ 146119 h 313409"/>
                <a:gd name="connsiteX73" fmla="*/ 107924 w 380907"/>
                <a:gd name="connsiteY73" fmla="*/ 140100 h 313409"/>
                <a:gd name="connsiteX74" fmla="*/ 111822 w 380907"/>
                <a:gd name="connsiteY74" fmla="*/ 137040 h 313409"/>
                <a:gd name="connsiteX75" fmla="*/ 111822 w 380907"/>
                <a:gd name="connsiteY75" fmla="*/ 135560 h 313409"/>
                <a:gd name="connsiteX76" fmla="*/ 123615 w 380907"/>
                <a:gd name="connsiteY76" fmla="*/ 135560 h 313409"/>
                <a:gd name="connsiteX77" fmla="*/ 125588 w 380907"/>
                <a:gd name="connsiteY77" fmla="*/ 126482 h 313409"/>
                <a:gd name="connsiteX78" fmla="*/ 125588 w 380907"/>
                <a:gd name="connsiteY78" fmla="*/ 121942 h 313409"/>
                <a:gd name="connsiteX79" fmla="*/ 135457 w 380907"/>
                <a:gd name="connsiteY79" fmla="*/ 114393 h 313409"/>
                <a:gd name="connsiteX80" fmla="*/ 137380 w 380907"/>
                <a:gd name="connsiteY80" fmla="*/ 108374 h 313409"/>
                <a:gd name="connsiteX81" fmla="*/ 135457 w 380907"/>
                <a:gd name="connsiteY81" fmla="*/ 100874 h 313409"/>
                <a:gd name="connsiteX82" fmla="*/ 127611 w 380907"/>
                <a:gd name="connsiteY82" fmla="*/ 97815 h 313409"/>
                <a:gd name="connsiteX83" fmla="*/ 133433 w 380907"/>
                <a:gd name="connsiteY83" fmla="*/ 93325 h 313409"/>
                <a:gd name="connsiteX84" fmla="*/ 127611 w 380907"/>
                <a:gd name="connsiteY84" fmla="*/ 90266 h 313409"/>
                <a:gd name="connsiteX85" fmla="*/ 121690 w 380907"/>
                <a:gd name="connsiteY85" fmla="*/ 88786 h 313409"/>
                <a:gd name="connsiteX86" fmla="*/ 117792 w 380907"/>
                <a:gd name="connsiteY86" fmla="*/ 78227 h 313409"/>
                <a:gd name="connsiteX87" fmla="*/ 109898 w 380907"/>
                <a:gd name="connsiteY87" fmla="*/ 72207 h 313409"/>
                <a:gd name="connsiteX88" fmla="*/ 109898 w 380907"/>
                <a:gd name="connsiteY88" fmla="*/ 66188 h 313409"/>
                <a:gd name="connsiteX89" fmla="*/ 107974 w 380907"/>
                <a:gd name="connsiteY89" fmla="*/ 60119 h 313409"/>
                <a:gd name="connsiteX90" fmla="*/ 104027 w 380907"/>
                <a:gd name="connsiteY90" fmla="*/ 60119 h 313409"/>
                <a:gd name="connsiteX91" fmla="*/ 104027 w 380907"/>
                <a:gd name="connsiteY91" fmla="*/ 52619 h 313409"/>
                <a:gd name="connsiteX92" fmla="*/ 102053 w 380907"/>
                <a:gd name="connsiteY92" fmla="*/ 51090 h 313409"/>
                <a:gd name="connsiteX93" fmla="*/ 98155 w 380907"/>
                <a:gd name="connsiteY93" fmla="*/ 43590 h 313409"/>
                <a:gd name="connsiteX94" fmla="*/ 94257 w 380907"/>
                <a:gd name="connsiteY94" fmla="*/ 40531 h 313409"/>
                <a:gd name="connsiteX95" fmla="*/ -82 w 380907"/>
                <a:gd name="connsiteY95" fmla="*/ 204686 h 313409"/>
                <a:gd name="connsiteX96" fmla="*/ 13684 w 380907"/>
                <a:gd name="connsiteY96" fmla="*/ 203206 h 313409"/>
                <a:gd name="connsiteX97" fmla="*/ 1991 w 380907"/>
                <a:gd name="connsiteY97" fmla="*/ 203206 h 31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80907" h="313409">
                  <a:moveTo>
                    <a:pt x="94159" y="40383"/>
                  </a:moveTo>
                  <a:lnTo>
                    <a:pt x="99981" y="35893"/>
                  </a:lnTo>
                  <a:lnTo>
                    <a:pt x="101954" y="35893"/>
                  </a:lnTo>
                  <a:lnTo>
                    <a:pt x="105902" y="31353"/>
                  </a:lnTo>
                  <a:lnTo>
                    <a:pt x="111773" y="25334"/>
                  </a:lnTo>
                  <a:lnTo>
                    <a:pt x="113747" y="25334"/>
                  </a:lnTo>
                  <a:lnTo>
                    <a:pt x="123615" y="14775"/>
                  </a:lnTo>
                  <a:lnTo>
                    <a:pt x="139305" y="-27"/>
                  </a:lnTo>
                  <a:lnTo>
                    <a:pt x="143203" y="7522"/>
                  </a:lnTo>
                  <a:lnTo>
                    <a:pt x="149123" y="5992"/>
                  </a:lnTo>
                  <a:lnTo>
                    <a:pt x="154995" y="7522"/>
                  </a:lnTo>
                  <a:lnTo>
                    <a:pt x="154995" y="24051"/>
                  </a:lnTo>
                  <a:lnTo>
                    <a:pt x="160866" y="31600"/>
                  </a:lnTo>
                  <a:lnTo>
                    <a:pt x="168761" y="33080"/>
                  </a:lnTo>
                  <a:lnTo>
                    <a:pt x="176606" y="30120"/>
                  </a:lnTo>
                  <a:lnTo>
                    <a:pt x="184402" y="31600"/>
                  </a:lnTo>
                  <a:lnTo>
                    <a:pt x="204138" y="31600"/>
                  </a:lnTo>
                  <a:lnTo>
                    <a:pt x="210059" y="34610"/>
                  </a:lnTo>
                  <a:lnTo>
                    <a:pt x="223775" y="46698"/>
                  </a:lnTo>
                  <a:lnTo>
                    <a:pt x="235518" y="51188"/>
                  </a:lnTo>
                  <a:lnTo>
                    <a:pt x="239466" y="57257"/>
                  </a:lnTo>
                  <a:lnTo>
                    <a:pt x="245337" y="58737"/>
                  </a:lnTo>
                  <a:lnTo>
                    <a:pt x="257129" y="58737"/>
                  </a:lnTo>
                  <a:lnTo>
                    <a:pt x="264975" y="61747"/>
                  </a:lnTo>
                  <a:lnTo>
                    <a:pt x="276718" y="61747"/>
                  </a:lnTo>
                  <a:lnTo>
                    <a:pt x="282639" y="63277"/>
                  </a:lnTo>
                  <a:lnTo>
                    <a:pt x="294431" y="63277"/>
                  </a:lnTo>
                  <a:lnTo>
                    <a:pt x="304299" y="49708"/>
                  </a:lnTo>
                  <a:lnTo>
                    <a:pt x="308246" y="45218"/>
                  </a:lnTo>
                  <a:lnTo>
                    <a:pt x="316092" y="43689"/>
                  </a:lnTo>
                  <a:lnTo>
                    <a:pt x="320038" y="43689"/>
                  </a:lnTo>
                  <a:lnTo>
                    <a:pt x="323936" y="40629"/>
                  </a:lnTo>
                  <a:lnTo>
                    <a:pt x="341600" y="39149"/>
                  </a:lnTo>
                  <a:lnTo>
                    <a:pt x="347472" y="42159"/>
                  </a:lnTo>
                  <a:lnTo>
                    <a:pt x="351419" y="48178"/>
                  </a:lnTo>
                  <a:lnTo>
                    <a:pt x="357291" y="51188"/>
                  </a:lnTo>
                  <a:lnTo>
                    <a:pt x="369083" y="48178"/>
                  </a:lnTo>
                  <a:lnTo>
                    <a:pt x="380826" y="49708"/>
                  </a:lnTo>
                  <a:lnTo>
                    <a:pt x="347373" y="75069"/>
                  </a:lnTo>
                  <a:lnTo>
                    <a:pt x="345449" y="197137"/>
                  </a:lnTo>
                  <a:lnTo>
                    <a:pt x="372932" y="218255"/>
                  </a:lnTo>
                  <a:lnTo>
                    <a:pt x="368984" y="219735"/>
                  </a:lnTo>
                  <a:lnTo>
                    <a:pt x="359116" y="230294"/>
                  </a:lnTo>
                  <a:lnTo>
                    <a:pt x="355218" y="231823"/>
                  </a:lnTo>
                  <a:lnTo>
                    <a:pt x="351271" y="234833"/>
                  </a:lnTo>
                  <a:lnTo>
                    <a:pt x="353244" y="239323"/>
                  </a:lnTo>
                  <a:lnTo>
                    <a:pt x="341453" y="243862"/>
                  </a:lnTo>
                  <a:lnTo>
                    <a:pt x="333607" y="249882"/>
                  </a:lnTo>
                  <a:lnTo>
                    <a:pt x="323739" y="249882"/>
                  </a:lnTo>
                  <a:lnTo>
                    <a:pt x="319841" y="251411"/>
                  </a:lnTo>
                  <a:lnTo>
                    <a:pt x="319841" y="254421"/>
                  </a:lnTo>
                  <a:lnTo>
                    <a:pt x="313920" y="258961"/>
                  </a:lnTo>
                  <a:lnTo>
                    <a:pt x="313920" y="261970"/>
                  </a:lnTo>
                  <a:lnTo>
                    <a:pt x="315894" y="264980"/>
                  </a:lnTo>
                  <a:lnTo>
                    <a:pt x="310023" y="272529"/>
                  </a:lnTo>
                  <a:lnTo>
                    <a:pt x="304102" y="278549"/>
                  </a:lnTo>
                  <a:lnTo>
                    <a:pt x="304102" y="284765"/>
                  </a:lnTo>
                  <a:lnTo>
                    <a:pt x="298230" y="295275"/>
                  </a:lnTo>
                  <a:lnTo>
                    <a:pt x="286438" y="310373"/>
                  </a:lnTo>
                  <a:lnTo>
                    <a:pt x="278593" y="313383"/>
                  </a:lnTo>
                  <a:lnTo>
                    <a:pt x="274695" y="313383"/>
                  </a:lnTo>
                  <a:lnTo>
                    <a:pt x="229598" y="286246"/>
                  </a:lnTo>
                  <a:lnTo>
                    <a:pt x="225601" y="283236"/>
                  </a:lnTo>
                  <a:lnTo>
                    <a:pt x="225601" y="280276"/>
                  </a:lnTo>
                  <a:lnTo>
                    <a:pt x="227624" y="277216"/>
                  </a:lnTo>
                  <a:lnTo>
                    <a:pt x="219779" y="266658"/>
                  </a:lnTo>
                  <a:lnTo>
                    <a:pt x="86313" y="200344"/>
                  </a:lnTo>
                  <a:lnTo>
                    <a:pt x="78468" y="201874"/>
                  </a:lnTo>
                  <a:lnTo>
                    <a:pt x="86313" y="171727"/>
                  </a:lnTo>
                  <a:lnTo>
                    <a:pt x="88287" y="164178"/>
                  </a:lnTo>
                  <a:lnTo>
                    <a:pt x="94207" y="156678"/>
                  </a:lnTo>
                  <a:lnTo>
                    <a:pt x="100030" y="150609"/>
                  </a:lnTo>
                  <a:lnTo>
                    <a:pt x="105951" y="146119"/>
                  </a:lnTo>
                  <a:lnTo>
                    <a:pt x="107924" y="140100"/>
                  </a:lnTo>
                  <a:lnTo>
                    <a:pt x="111822" y="137040"/>
                  </a:lnTo>
                  <a:lnTo>
                    <a:pt x="111822" y="135560"/>
                  </a:lnTo>
                  <a:lnTo>
                    <a:pt x="123615" y="135560"/>
                  </a:lnTo>
                  <a:lnTo>
                    <a:pt x="125588" y="126482"/>
                  </a:lnTo>
                  <a:lnTo>
                    <a:pt x="125588" y="121942"/>
                  </a:lnTo>
                  <a:lnTo>
                    <a:pt x="135457" y="114393"/>
                  </a:lnTo>
                  <a:lnTo>
                    <a:pt x="137380" y="108374"/>
                  </a:lnTo>
                  <a:lnTo>
                    <a:pt x="135457" y="100874"/>
                  </a:lnTo>
                  <a:lnTo>
                    <a:pt x="127611" y="97815"/>
                  </a:lnTo>
                  <a:lnTo>
                    <a:pt x="133433" y="93325"/>
                  </a:lnTo>
                  <a:lnTo>
                    <a:pt x="127611" y="90266"/>
                  </a:lnTo>
                  <a:lnTo>
                    <a:pt x="121690" y="88786"/>
                  </a:lnTo>
                  <a:lnTo>
                    <a:pt x="117792" y="78227"/>
                  </a:lnTo>
                  <a:lnTo>
                    <a:pt x="109898" y="72207"/>
                  </a:lnTo>
                  <a:lnTo>
                    <a:pt x="109898" y="66188"/>
                  </a:lnTo>
                  <a:lnTo>
                    <a:pt x="107974" y="60119"/>
                  </a:lnTo>
                  <a:lnTo>
                    <a:pt x="104027" y="60119"/>
                  </a:lnTo>
                  <a:lnTo>
                    <a:pt x="104027" y="52619"/>
                  </a:lnTo>
                  <a:lnTo>
                    <a:pt x="102053" y="51090"/>
                  </a:lnTo>
                  <a:lnTo>
                    <a:pt x="98155" y="43590"/>
                  </a:lnTo>
                  <a:lnTo>
                    <a:pt x="94257" y="40531"/>
                  </a:lnTo>
                  <a:close/>
                  <a:moveTo>
                    <a:pt x="-82" y="204686"/>
                  </a:moveTo>
                  <a:lnTo>
                    <a:pt x="13684" y="203206"/>
                  </a:lnTo>
                  <a:lnTo>
                    <a:pt x="1991" y="20320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Graphic 2">
              <a:extLst>
                <a:ext uri="{FF2B5EF4-FFF2-40B4-BE49-F238E27FC236}">
                  <a16:creationId xmlns:a16="http://schemas.microsoft.com/office/drawing/2014/main" id="{B42FBA33-CB5C-4CA4-A426-99A7807E3628}"/>
                </a:ext>
              </a:extLst>
            </p:cNvPr>
            <p:cNvSpPr/>
            <p:nvPr/>
          </p:nvSpPr>
          <p:spPr>
            <a:xfrm>
              <a:off x="6384218" y="4522919"/>
              <a:ext cx="189975" cy="159351"/>
            </a:xfrm>
            <a:custGeom>
              <a:avLst/>
              <a:gdLst>
                <a:gd name="connsiteX0" fmla="*/ 158153 w 209104"/>
                <a:gd name="connsiteY0" fmla="*/ 130380 h 175404"/>
                <a:gd name="connsiteX1" fmla="*/ 160127 w 209104"/>
                <a:gd name="connsiteY1" fmla="*/ 122880 h 175404"/>
                <a:gd name="connsiteX2" fmla="*/ 165949 w 209104"/>
                <a:gd name="connsiteY2" fmla="*/ 115380 h 175404"/>
                <a:gd name="connsiteX3" fmla="*/ 171820 w 209104"/>
                <a:gd name="connsiteY3" fmla="*/ 109361 h 175404"/>
                <a:gd name="connsiteX4" fmla="*/ 177692 w 209104"/>
                <a:gd name="connsiteY4" fmla="*/ 104920 h 175404"/>
                <a:gd name="connsiteX5" fmla="*/ 179616 w 209104"/>
                <a:gd name="connsiteY5" fmla="*/ 98900 h 175404"/>
                <a:gd name="connsiteX6" fmla="*/ 183563 w 209104"/>
                <a:gd name="connsiteY6" fmla="*/ 95891 h 175404"/>
                <a:gd name="connsiteX7" fmla="*/ 183563 w 209104"/>
                <a:gd name="connsiteY7" fmla="*/ 94411 h 175404"/>
                <a:gd name="connsiteX8" fmla="*/ 195257 w 209104"/>
                <a:gd name="connsiteY8" fmla="*/ 94411 h 175404"/>
                <a:gd name="connsiteX9" fmla="*/ 197230 w 209104"/>
                <a:gd name="connsiteY9" fmla="*/ 85431 h 175404"/>
                <a:gd name="connsiteX10" fmla="*/ 197230 w 209104"/>
                <a:gd name="connsiteY10" fmla="*/ 81039 h 175404"/>
                <a:gd name="connsiteX11" fmla="*/ 207098 w 209104"/>
                <a:gd name="connsiteY11" fmla="*/ 73539 h 175404"/>
                <a:gd name="connsiteX12" fmla="*/ 209023 w 209104"/>
                <a:gd name="connsiteY12" fmla="*/ 67569 h 175404"/>
                <a:gd name="connsiteX13" fmla="*/ 207098 w 209104"/>
                <a:gd name="connsiteY13" fmla="*/ 60070 h 175404"/>
                <a:gd name="connsiteX14" fmla="*/ 199253 w 209104"/>
                <a:gd name="connsiteY14" fmla="*/ 57109 h 175404"/>
                <a:gd name="connsiteX15" fmla="*/ 205125 w 209104"/>
                <a:gd name="connsiteY15" fmla="*/ 52570 h 175404"/>
                <a:gd name="connsiteX16" fmla="*/ 199253 w 209104"/>
                <a:gd name="connsiteY16" fmla="*/ 49609 h 175404"/>
                <a:gd name="connsiteX17" fmla="*/ 193382 w 209104"/>
                <a:gd name="connsiteY17" fmla="*/ 48080 h 175404"/>
                <a:gd name="connsiteX18" fmla="*/ 189484 w 209104"/>
                <a:gd name="connsiteY18" fmla="*/ 37570 h 175404"/>
                <a:gd name="connsiteX19" fmla="*/ 181688 w 209104"/>
                <a:gd name="connsiteY19" fmla="*/ 31600 h 175404"/>
                <a:gd name="connsiteX20" fmla="*/ 181688 w 209104"/>
                <a:gd name="connsiteY20" fmla="*/ 25581 h 175404"/>
                <a:gd name="connsiteX21" fmla="*/ 179715 w 209104"/>
                <a:gd name="connsiteY21" fmla="*/ 19610 h 175404"/>
                <a:gd name="connsiteX22" fmla="*/ 175817 w 209104"/>
                <a:gd name="connsiteY22" fmla="*/ 19610 h 175404"/>
                <a:gd name="connsiteX23" fmla="*/ 175817 w 209104"/>
                <a:gd name="connsiteY23" fmla="*/ 11963 h 175404"/>
                <a:gd name="connsiteX24" fmla="*/ 173892 w 209104"/>
                <a:gd name="connsiteY24" fmla="*/ 10433 h 175404"/>
                <a:gd name="connsiteX25" fmla="*/ 169945 w 209104"/>
                <a:gd name="connsiteY25" fmla="*/ 2933 h 175404"/>
                <a:gd name="connsiteX26" fmla="*/ 166047 w 209104"/>
                <a:gd name="connsiteY26" fmla="*/ -27 h 175404"/>
                <a:gd name="connsiteX27" fmla="*/ 156179 w 209104"/>
                <a:gd name="connsiteY27" fmla="*/ 4463 h 175404"/>
                <a:gd name="connsiteX28" fmla="*/ 152281 w 209104"/>
                <a:gd name="connsiteY28" fmla="*/ 8953 h 175404"/>
                <a:gd name="connsiteX29" fmla="*/ 146410 w 209104"/>
                <a:gd name="connsiteY29" fmla="*/ 11963 h 175404"/>
                <a:gd name="connsiteX30" fmla="*/ 138614 w 209104"/>
                <a:gd name="connsiteY30" fmla="*/ 10433 h 175404"/>
                <a:gd name="connsiteX31" fmla="*/ 122973 w 209104"/>
                <a:gd name="connsiteY31" fmla="*/ 10433 h 175404"/>
                <a:gd name="connsiteX32" fmla="*/ 117101 w 209104"/>
                <a:gd name="connsiteY32" fmla="*/ 14972 h 175404"/>
                <a:gd name="connsiteX33" fmla="*/ 111280 w 209104"/>
                <a:gd name="connsiteY33" fmla="*/ 14972 h 175404"/>
                <a:gd name="connsiteX34" fmla="*/ 107382 w 209104"/>
                <a:gd name="connsiteY34" fmla="*/ 16453 h 175404"/>
                <a:gd name="connsiteX35" fmla="*/ 103483 w 209104"/>
                <a:gd name="connsiteY35" fmla="*/ 14972 h 175404"/>
                <a:gd name="connsiteX36" fmla="*/ 97612 w 209104"/>
                <a:gd name="connsiteY36" fmla="*/ 19463 h 175404"/>
                <a:gd name="connsiteX37" fmla="*/ 97612 w 209104"/>
                <a:gd name="connsiteY37" fmla="*/ 23952 h 175404"/>
                <a:gd name="connsiteX38" fmla="*/ 93665 w 209104"/>
                <a:gd name="connsiteY38" fmla="*/ 23952 h 175404"/>
                <a:gd name="connsiteX39" fmla="*/ 85869 w 209104"/>
                <a:gd name="connsiteY39" fmla="*/ 20943 h 175404"/>
                <a:gd name="connsiteX40" fmla="*/ 85869 w 209104"/>
                <a:gd name="connsiteY40" fmla="*/ 16453 h 175404"/>
                <a:gd name="connsiteX41" fmla="*/ 80047 w 209104"/>
                <a:gd name="connsiteY41" fmla="*/ 14972 h 175404"/>
                <a:gd name="connsiteX42" fmla="*/ 74176 w 209104"/>
                <a:gd name="connsiteY42" fmla="*/ 16453 h 175404"/>
                <a:gd name="connsiteX43" fmla="*/ 62433 w 209104"/>
                <a:gd name="connsiteY43" fmla="*/ 11963 h 175404"/>
                <a:gd name="connsiteX44" fmla="*/ 56610 w 209104"/>
                <a:gd name="connsiteY44" fmla="*/ 10433 h 175404"/>
                <a:gd name="connsiteX45" fmla="*/ 52663 w 209104"/>
                <a:gd name="connsiteY45" fmla="*/ 14972 h 175404"/>
                <a:gd name="connsiteX46" fmla="*/ 52663 w 209104"/>
                <a:gd name="connsiteY46" fmla="*/ 19463 h 175404"/>
                <a:gd name="connsiteX47" fmla="*/ 54588 w 209104"/>
                <a:gd name="connsiteY47" fmla="*/ 22472 h 175404"/>
                <a:gd name="connsiteX48" fmla="*/ 52663 w 209104"/>
                <a:gd name="connsiteY48" fmla="*/ 22472 h 175404"/>
                <a:gd name="connsiteX49" fmla="*/ 50739 w 209104"/>
                <a:gd name="connsiteY49" fmla="*/ 28443 h 175404"/>
                <a:gd name="connsiteX50" fmla="*/ 48765 w 209104"/>
                <a:gd name="connsiteY50" fmla="*/ 31452 h 175404"/>
                <a:gd name="connsiteX51" fmla="*/ 48765 w 209104"/>
                <a:gd name="connsiteY51" fmla="*/ 41962 h 175404"/>
                <a:gd name="connsiteX52" fmla="*/ 46791 w 209104"/>
                <a:gd name="connsiteY52" fmla="*/ 50942 h 175404"/>
                <a:gd name="connsiteX53" fmla="*/ 44867 w 209104"/>
                <a:gd name="connsiteY53" fmla="*/ 58441 h 175404"/>
                <a:gd name="connsiteX54" fmla="*/ 48765 w 209104"/>
                <a:gd name="connsiteY54" fmla="*/ 61451 h 175404"/>
                <a:gd name="connsiteX55" fmla="*/ 52663 w 209104"/>
                <a:gd name="connsiteY55" fmla="*/ 65941 h 175404"/>
                <a:gd name="connsiteX56" fmla="*/ 54588 w 209104"/>
                <a:gd name="connsiteY56" fmla="*/ 70431 h 175404"/>
                <a:gd name="connsiteX57" fmla="*/ 54588 w 209104"/>
                <a:gd name="connsiteY57" fmla="*/ 74921 h 175404"/>
                <a:gd name="connsiteX58" fmla="*/ 37022 w 209104"/>
                <a:gd name="connsiteY58" fmla="*/ 95891 h 175404"/>
                <a:gd name="connsiteX59" fmla="*/ 23355 w 209104"/>
                <a:gd name="connsiteY59" fmla="*/ 104920 h 175404"/>
                <a:gd name="connsiteX60" fmla="*/ 21430 w 209104"/>
                <a:gd name="connsiteY60" fmla="*/ 109361 h 175404"/>
                <a:gd name="connsiteX61" fmla="*/ 7714 w 209104"/>
                <a:gd name="connsiteY61" fmla="*/ 131909 h 175404"/>
                <a:gd name="connsiteX62" fmla="*/ 5790 w 209104"/>
                <a:gd name="connsiteY62" fmla="*/ 134869 h 175404"/>
                <a:gd name="connsiteX63" fmla="*/ 5790 w 209104"/>
                <a:gd name="connsiteY63" fmla="*/ 142369 h 175404"/>
                <a:gd name="connsiteX64" fmla="*/ 3866 w 209104"/>
                <a:gd name="connsiteY64" fmla="*/ 154408 h 175404"/>
                <a:gd name="connsiteX65" fmla="*/ -82 w 209104"/>
                <a:gd name="connsiteY65" fmla="*/ 164868 h 175404"/>
                <a:gd name="connsiteX66" fmla="*/ 1892 w 209104"/>
                <a:gd name="connsiteY66" fmla="*/ 172368 h 175404"/>
                <a:gd name="connsiteX67" fmla="*/ -82 w 209104"/>
                <a:gd name="connsiteY67" fmla="*/ 173848 h 175404"/>
                <a:gd name="connsiteX68" fmla="*/ 1892 w 209104"/>
                <a:gd name="connsiteY68" fmla="*/ 175378 h 175404"/>
                <a:gd name="connsiteX69" fmla="*/ 7714 w 209104"/>
                <a:gd name="connsiteY69" fmla="*/ 173848 h 175404"/>
                <a:gd name="connsiteX70" fmla="*/ 11661 w 209104"/>
                <a:gd name="connsiteY70" fmla="*/ 170839 h 175404"/>
                <a:gd name="connsiteX71" fmla="*/ 15559 w 209104"/>
                <a:gd name="connsiteY71" fmla="*/ 172368 h 175404"/>
                <a:gd name="connsiteX72" fmla="*/ 19457 w 209104"/>
                <a:gd name="connsiteY72" fmla="*/ 173848 h 175404"/>
                <a:gd name="connsiteX73" fmla="*/ 23355 w 209104"/>
                <a:gd name="connsiteY73" fmla="*/ 173848 h 175404"/>
                <a:gd name="connsiteX74" fmla="*/ 25329 w 209104"/>
                <a:gd name="connsiteY74" fmla="*/ 172368 h 175404"/>
                <a:gd name="connsiteX75" fmla="*/ 27302 w 209104"/>
                <a:gd name="connsiteY75" fmla="*/ 166349 h 175404"/>
                <a:gd name="connsiteX76" fmla="*/ 33173 w 209104"/>
                <a:gd name="connsiteY76" fmla="*/ 164868 h 175404"/>
                <a:gd name="connsiteX77" fmla="*/ 35098 w 209104"/>
                <a:gd name="connsiteY77" fmla="*/ 166349 h 175404"/>
                <a:gd name="connsiteX78" fmla="*/ 37022 w 209104"/>
                <a:gd name="connsiteY78" fmla="*/ 164868 h 175404"/>
                <a:gd name="connsiteX79" fmla="*/ 38996 w 209104"/>
                <a:gd name="connsiteY79" fmla="*/ 164868 h 175404"/>
                <a:gd name="connsiteX80" fmla="*/ 42894 w 209104"/>
                <a:gd name="connsiteY80" fmla="*/ 163388 h 175404"/>
                <a:gd name="connsiteX81" fmla="*/ 72202 w 209104"/>
                <a:gd name="connsiteY81" fmla="*/ 163388 h 175404"/>
                <a:gd name="connsiteX82" fmla="*/ 74176 w 209104"/>
                <a:gd name="connsiteY82" fmla="*/ 161859 h 175404"/>
                <a:gd name="connsiteX83" fmla="*/ 101510 w 209104"/>
                <a:gd name="connsiteY83" fmla="*/ 161859 h 175404"/>
                <a:gd name="connsiteX84" fmla="*/ 150357 w 209104"/>
                <a:gd name="connsiteY84" fmla="*/ 160379 h 175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09104" h="175404">
                  <a:moveTo>
                    <a:pt x="158153" y="130380"/>
                  </a:moveTo>
                  <a:lnTo>
                    <a:pt x="160127" y="122880"/>
                  </a:lnTo>
                  <a:lnTo>
                    <a:pt x="165949" y="115380"/>
                  </a:lnTo>
                  <a:lnTo>
                    <a:pt x="171820" y="109361"/>
                  </a:lnTo>
                  <a:lnTo>
                    <a:pt x="177692" y="104920"/>
                  </a:lnTo>
                  <a:lnTo>
                    <a:pt x="179616" y="98900"/>
                  </a:lnTo>
                  <a:lnTo>
                    <a:pt x="183563" y="95891"/>
                  </a:lnTo>
                  <a:lnTo>
                    <a:pt x="183563" y="94411"/>
                  </a:lnTo>
                  <a:lnTo>
                    <a:pt x="195257" y="94411"/>
                  </a:lnTo>
                  <a:lnTo>
                    <a:pt x="197230" y="85431"/>
                  </a:lnTo>
                  <a:lnTo>
                    <a:pt x="197230" y="81039"/>
                  </a:lnTo>
                  <a:lnTo>
                    <a:pt x="207098" y="73539"/>
                  </a:lnTo>
                  <a:lnTo>
                    <a:pt x="209023" y="67569"/>
                  </a:lnTo>
                  <a:lnTo>
                    <a:pt x="207098" y="60070"/>
                  </a:lnTo>
                  <a:lnTo>
                    <a:pt x="199253" y="57109"/>
                  </a:lnTo>
                  <a:lnTo>
                    <a:pt x="205125" y="52570"/>
                  </a:lnTo>
                  <a:lnTo>
                    <a:pt x="199253" y="49609"/>
                  </a:lnTo>
                  <a:lnTo>
                    <a:pt x="193382" y="48080"/>
                  </a:lnTo>
                  <a:lnTo>
                    <a:pt x="189484" y="37570"/>
                  </a:lnTo>
                  <a:lnTo>
                    <a:pt x="181688" y="31600"/>
                  </a:lnTo>
                  <a:lnTo>
                    <a:pt x="181688" y="25581"/>
                  </a:lnTo>
                  <a:lnTo>
                    <a:pt x="179715" y="19610"/>
                  </a:lnTo>
                  <a:lnTo>
                    <a:pt x="175817" y="19610"/>
                  </a:lnTo>
                  <a:lnTo>
                    <a:pt x="175817" y="11963"/>
                  </a:lnTo>
                  <a:lnTo>
                    <a:pt x="173892" y="10433"/>
                  </a:lnTo>
                  <a:lnTo>
                    <a:pt x="169945" y="2933"/>
                  </a:lnTo>
                  <a:lnTo>
                    <a:pt x="166047" y="-27"/>
                  </a:lnTo>
                  <a:lnTo>
                    <a:pt x="156179" y="4463"/>
                  </a:lnTo>
                  <a:lnTo>
                    <a:pt x="152281" y="8953"/>
                  </a:lnTo>
                  <a:lnTo>
                    <a:pt x="146410" y="11963"/>
                  </a:lnTo>
                  <a:lnTo>
                    <a:pt x="138614" y="10433"/>
                  </a:lnTo>
                  <a:lnTo>
                    <a:pt x="122973" y="10433"/>
                  </a:lnTo>
                  <a:lnTo>
                    <a:pt x="117101" y="14972"/>
                  </a:lnTo>
                  <a:lnTo>
                    <a:pt x="111280" y="14972"/>
                  </a:lnTo>
                  <a:lnTo>
                    <a:pt x="107382" y="16453"/>
                  </a:lnTo>
                  <a:lnTo>
                    <a:pt x="103483" y="14972"/>
                  </a:lnTo>
                  <a:lnTo>
                    <a:pt x="97612" y="19463"/>
                  </a:lnTo>
                  <a:lnTo>
                    <a:pt x="97612" y="23952"/>
                  </a:lnTo>
                  <a:lnTo>
                    <a:pt x="93665" y="23952"/>
                  </a:lnTo>
                  <a:lnTo>
                    <a:pt x="85869" y="20943"/>
                  </a:lnTo>
                  <a:lnTo>
                    <a:pt x="85869" y="16453"/>
                  </a:lnTo>
                  <a:lnTo>
                    <a:pt x="80047" y="14972"/>
                  </a:lnTo>
                  <a:lnTo>
                    <a:pt x="74176" y="16453"/>
                  </a:lnTo>
                  <a:lnTo>
                    <a:pt x="62433" y="11963"/>
                  </a:lnTo>
                  <a:lnTo>
                    <a:pt x="56610" y="10433"/>
                  </a:lnTo>
                  <a:lnTo>
                    <a:pt x="52663" y="14972"/>
                  </a:lnTo>
                  <a:lnTo>
                    <a:pt x="52663" y="19463"/>
                  </a:lnTo>
                  <a:lnTo>
                    <a:pt x="54588" y="22472"/>
                  </a:lnTo>
                  <a:lnTo>
                    <a:pt x="52663" y="22472"/>
                  </a:lnTo>
                  <a:lnTo>
                    <a:pt x="50739" y="28443"/>
                  </a:lnTo>
                  <a:lnTo>
                    <a:pt x="48765" y="31452"/>
                  </a:lnTo>
                  <a:lnTo>
                    <a:pt x="48765" y="41962"/>
                  </a:lnTo>
                  <a:lnTo>
                    <a:pt x="46791" y="50942"/>
                  </a:lnTo>
                  <a:lnTo>
                    <a:pt x="44867" y="58441"/>
                  </a:lnTo>
                  <a:lnTo>
                    <a:pt x="48765" y="61451"/>
                  </a:lnTo>
                  <a:lnTo>
                    <a:pt x="52663" y="65941"/>
                  </a:lnTo>
                  <a:lnTo>
                    <a:pt x="54588" y="70431"/>
                  </a:lnTo>
                  <a:lnTo>
                    <a:pt x="54588" y="74921"/>
                  </a:lnTo>
                  <a:lnTo>
                    <a:pt x="37022" y="95891"/>
                  </a:lnTo>
                  <a:lnTo>
                    <a:pt x="23355" y="104920"/>
                  </a:lnTo>
                  <a:lnTo>
                    <a:pt x="21430" y="109361"/>
                  </a:lnTo>
                  <a:lnTo>
                    <a:pt x="7714" y="131909"/>
                  </a:lnTo>
                  <a:lnTo>
                    <a:pt x="5790" y="134869"/>
                  </a:lnTo>
                  <a:lnTo>
                    <a:pt x="5790" y="142369"/>
                  </a:lnTo>
                  <a:lnTo>
                    <a:pt x="3866" y="154408"/>
                  </a:lnTo>
                  <a:lnTo>
                    <a:pt x="-82" y="164868"/>
                  </a:lnTo>
                  <a:lnTo>
                    <a:pt x="1892" y="172368"/>
                  </a:lnTo>
                  <a:lnTo>
                    <a:pt x="-82" y="173848"/>
                  </a:lnTo>
                  <a:lnTo>
                    <a:pt x="1892" y="175378"/>
                  </a:lnTo>
                  <a:lnTo>
                    <a:pt x="7714" y="173848"/>
                  </a:lnTo>
                  <a:lnTo>
                    <a:pt x="11661" y="170839"/>
                  </a:lnTo>
                  <a:lnTo>
                    <a:pt x="15559" y="172368"/>
                  </a:lnTo>
                  <a:lnTo>
                    <a:pt x="19457" y="173848"/>
                  </a:lnTo>
                  <a:lnTo>
                    <a:pt x="23355" y="173848"/>
                  </a:lnTo>
                  <a:lnTo>
                    <a:pt x="25329" y="172368"/>
                  </a:lnTo>
                  <a:lnTo>
                    <a:pt x="27302" y="166349"/>
                  </a:lnTo>
                  <a:lnTo>
                    <a:pt x="33173" y="164868"/>
                  </a:lnTo>
                  <a:lnTo>
                    <a:pt x="35098" y="166349"/>
                  </a:lnTo>
                  <a:lnTo>
                    <a:pt x="37022" y="164868"/>
                  </a:lnTo>
                  <a:lnTo>
                    <a:pt x="38996" y="164868"/>
                  </a:lnTo>
                  <a:lnTo>
                    <a:pt x="42894" y="163388"/>
                  </a:lnTo>
                  <a:lnTo>
                    <a:pt x="72202" y="163388"/>
                  </a:lnTo>
                  <a:lnTo>
                    <a:pt x="74176" y="161859"/>
                  </a:lnTo>
                  <a:lnTo>
                    <a:pt x="101510" y="161859"/>
                  </a:lnTo>
                  <a:lnTo>
                    <a:pt x="150357" y="16037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Graphic 2">
              <a:extLst>
                <a:ext uri="{FF2B5EF4-FFF2-40B4-BE49-F238E27FC236}">
                  <a16:creationId xmlns:a16="http://schemas.microsoft.com/office/drawing/2014/main" id="{229150F8-00E7-4D26-A8AB-3E6FEA6BC24D}"/>
                </a:ext>
              </a:extLst>
            </p:cNvPr>
            <p:cNvSpPr/>
            <p:nvPr/>
          </p:nvSpPr>
          <p:spPr>
            <a:xfrm>
              <a:off x="5889156" y="4326183"/>
              <a:ext cx="427374" cy="247477"/>
            </a:xfrm>
            <a:custGeom>
              <a:avLst/>
              <a:gdLst>
                <a:gd name="connsiteX0" fmla="*/ 297095 w 470410"/>
                <a:gd name="connsiteY0" fmla="*/ -27 h 272408"/>
                <a:gd name="connsiteX1" fmla="*/ 299019 w 470410"/>
                <a:gd name="connsiteY1" fmla="*/ 3032 h 272408"/>
                <a:gd name="connsiteX2" fmla="*/ 299019 w 470410"/>
                <a:gd name="connsiteY2" fmla="*/ 9150 h 272408"/>
                <a:gd name="connsiteX3" fmla="*/ 306914 w 470410"/>
                <a:gd name="connsiteY3" fmla="*/ 13739 h 272408"/>
                <a:gd name="connsiteX4" fmla="*/ 308887 w 470410"/>
                <a:gd name="connsiteY4" fmla="*/ 18328 h 272408"/>
                <a:gd name="connsiteX5" fmla="*/ 316732 w 470410"/>
                <a:gd name="connsiteY5" fmla="*/ 29035 h 272408"/>
                <a:gd name="connsiteX6" fmla="*/ 322654 w 470410"/>
                <a:gd name="connsiteY6" fmla="*/ 41271 h 272408"/>
                <a:gd name="connsiteX7" fmla="*/ 326551 w 470410"/>
                <a:gd name="connsiteY7" fmla="*/ 45860 h 272408"/>
                <a:gd name="connsiteX8" fmla="*/ 324627 w 470410"/>
                <a:gd name="connsiteY8" fmla="*/ 53508 h 272408"/>
                <a:gd name="connsiteX9" fmla="*/ 322654 w 470410"/>
                <a:gd name="connsiteY9" fmla="*/ 55037 h 272408"/>
                <a:gd name="connsiteX10" fmla="*/ 320680 w 470410"/>
                <a:gd name="connsiteY10" fmla="*/ 61155 h 272408"/>
                <a:gd name="connsiteX11" fmla="*/ 320680 w 470410"/>
                <a:gd name="connsiteY11" fmla="*/ 71911 h 272408"/>
                <a:gd name="connsiteX12" fmla="*/ 324627 w 470410"/>
                <a:gd name="connsiteY12" fmla="*/ 74970 h 272408"/>
                <a:gd name="connsiteX13" fmla="*/ 334495 w 470410"/>
                <a:gd name="connsiteY13" fmla="*/ 74970 h 272408"/>
                <a:gd name="connsiteX14" fmla="*/ 338442 w 470410"/>
                <a:gd name="connsiteY14" fmla="*/ 71911 h 272408"/>
                <a:gd name="connsiteX15" fmla="*/ 348310 w 470410"/>
                <a:gd name="connsiteY15" fmla="*/ 73441 h 272408"/>
                <a:gd name="connsiteX16" fmla="*/ 352258 w 470410"/>
                <a:gd name="connsiteY16" fmla="*/ 74970 h 272408"/>
                <a:gd name="connsiteX17" fmla="*/ 348310 w 470410"/>
                <a:gd name="connsiteY17" fmla="*/ 79559 h 272408"/>
                <a:gd name="connsiteX18" fmla="*/ 350284 w 470410"/>
                <a:gd name="connsiteY18" fmla="*/ 84148 h 272408"/>
                <a:gd name="connsiteX19" fmla="*/ 356205 w 470410"/>
                <a:gd name="connsiteY19" fmla="*/ 88736 h 272408"/>
                <a:gd name="connsiteX20" fmla="*/ 364050 w 470410"/>
                <a:gd name="connsiteY20" fmla="*/ 91795 h 272408"/>
                <a:gd name="connsiteX21" fmla="*/ 369971 w 470410"/>
                <a:gd name="connsiteY21" fmla="*/ 91795 h 272408"/>
                <a:gd name="connsiteX22" fmla="*/ 375842 w 470410"/>
                <a:gd name="connsiteY22" fmla="*/ 93325 h 272408"/>
                <a:gd name="connsiteX23" fmla="*/ 377816 w 470410"/>
                <a:gd name="connsiteY23" fmla="*/ 99443 h 272408"/>
                <a:gd name="connsiteX24" fmla="*/ 385710 w 470410"/>
                <a:gd name="connsiteY24" fmla="*/ 102502 h 272408"/>
                <a:gd name="connsiteX25" fmla="*/ 391582 w 470410"/>
                <a:gd name="connsiteY25" fmla="*/ 102502 h 272408"/>
                <a:gd name="connsiteX26" fmla="*/ 393605 w 470410"/>
                <a:gd name="connsiteY26" fmla="*/ 105562 h 272408"/>
                <a:gd name="connsiteX27" fmla="*/ 391582 w 470410"/>
                <a:gd name="connsiteY27" fmla="*/ 110150 h 272408"/>
                <a:gd name="connsiteX28" fmla="*/ 387684 w 470410"/>
                <a:gd name="connsiteY28" fmla="*/ 113209 h 272408"/>
                <a:gd name="connsiteX29" fmla="*/ 387684 w 470410"/>
                <a:gd name="connsiteY29" fmla="*/ 116268 h 272408"/>
                <a:gd name="connsiteX30" fmla="*/ 383737 w 470410"/>
                <a:gd name="connsiteY30" fmla="*/ 117798 h 272408"/>
                <a:gd name="connsiteX31" fmla="*/ 391582 w 470410"/>
                <a:gd name="connsiteY31" fmla="*/ 125495 h 272408"/>
                <a:gd name="connsiteX32" fmla="*/ 397502 w 470410"/>
                <a:gd name="connsiteY32" fmla="*/ 127024 h 272408"/>
                <a:gd name="connsiteX33" fmla="*/ 399476 w 470410"/>
                <a:gd name="connsiteY33" fmla="*/ 125495 h 272408"/>
                <a:gd name="connsiteX34" fmla="*/ 407371 w 470410"/>
                <a:gd name="connsiteY34" fmla="*/ 127024 h 272408"/>
                <a:gd name="connsiteX35" fmla="*/ 409344 w 470410"/>
                <a:gd name="connsiteY35" fmla="*/ 127024 h 272408"/>
                <a:gd name="connsiteX36" fmla="*/ 421137 w 470410"/>
                <a:gd name="connsiteY36" fmla="*/ 133143 h 272408"/>
                <a:gd name="connsiteX37" fmla="*/ 423110 w 470410"/>
                <a:gd name="connsiteY37" fmla="*/ 136202 h 272408"/>
                <a:gd name="connsiteX38" fmla="*/ 423110 w 470410"/>
                <a:gd name="connsiteY38" fmla="*/ 145379 h 272408"/>
                <a:gd name="connsiteX39" fmla="*/ 427008 w 470410"/>
                <a:gd name="connsiteY39" fmla="*/ 148438 h 272408"/>
                <a:gd name="connsiteX40" fmla="*/ 434903 w 470410"/>
                <a:gd name="connsiteY40" fmla="*/ 151497 h 272408"/>
                <a:gd name="connsiteX41" fmla="*/ 436876 w 470410"/>
                <a:gd name="connsiteY41" fmla="*/ 153027 h 272408"/>
                <a:gd name="connsiteX42" fmla="*/ 436876 w 470410"/>
                <a:gd name="connsiteY42" fmla="*/ 159145 h 272408"/>
                <a:gd name="connsiteX43" fmla="*/ 438800 w 470410"/>
                <a:gd name="connsiteY43" fmla="*/ 162204 h 272408"/>
                <a:gd name="connsiteX44" fmla="*/ 452616 w 470410"/>
                <a:gd name="connsiteY44" fmla="*/ 165263 h 272408"/>
                <a:gd name="connsiteX45" fmla="*/ 458536 w 470410"/>
                <a:gd name="connsiteY45" fmla="*/ 168322 h 272408"/>
                <a:gd name="connsiteX46" fmla="*/ 456563 w 470410"/>
                <a:gd name="connsiteY46" fmla="*/ 171381 h 272408"/>
                <a:gd name="connsiteX47" fmla="*/ 458536 w 470410"/>
                <a:gd name="connsiteY47" fmla="*/ 182088 h 272408"/>
                <a:gd name="connsiteX48" fmla="*/ 462435 w 470410"/>
                <a:gd name="connsiteY48" fmla="*/ 183618 h 272408"/>
                <a:gd name="connsiteX49" fmla="*/ 468355 w 470410"/>
                <a:gd name="connsiteY49" fmla="*/ 186677 h 272408"/>
                <a:gd name="connsiteX50" fmla="*/ 470329 w 470410"/>
                <a:gd name="connsiteY50" fmla="*/ 191266 h 272408"/>
                <a:gd name="connsiteX51" fmla="*/ 468355 w 470410"/>
                <a:gd name="connsiteY51" fmla="*/ 191266 h 272408"/>
                <a:gd name="connsiteX52" fmla="*/ 462435 w 470410"/>
                <a:gd name="connsiteY52" fmla="*/ 188207 h 272408"/>
                <a:gd name="connsiteX53" fmla="*/ 454540 w 470410"/>
                <a:gd name="connsiteY53" fmla="*/ 188207 h 272408"/>
                <a:gd name="connsiteX54" fmla="*/ 444672 w 470410"/>
                <a:gd name="connsiteY54" fmla="*/ 191266 h 272408"/>
                <a:gd name="connsiteX55" fmla="*/ 426910 w 470410"/>
                <a:gd name="connsiteY55" fmla="*/ 191266 h 272408"/>
                <a:gd name="connsiteX56" fmla="*/ 423012 w 470410"/>
                <a:gd name="connsiteY56" fmla="*/ 188207 h 272408"/>
                <a:gd name="connsiteX57" fmla="*/ 417090 w 470410"/>
                <a:gd name="connsiteY57" fmla="*/ 186677 h 272408"/>
                <a:gd name="connsiteX58" fmla="*/ 415117 w 470410"/>
                <a:gd name="connsiteY58" fmla="*/ 185148 h 272408"/>
                <a:gd name="connsiteX59" fmla="*/ 411170 w 470410"/>
                <a:gd name="connsiteY59" fmla="*/ 186677 h 272408"/>
                <a:gd name="connsiteX60" fmla="*/ 401302 w 470410"/>
                <a:gd name="connsiteY60" fmla="*/ 185148 h 272408"/>
                <a:gd name="connsiteX61" fmla="*/ 397354 w 470410"/>
                <a:gd name="connsiteY61" fmla="*/ 182088 h 272408"/>
                <a:gd name="connsiteX62" fmla="*/ 393457 w 470410"/>
                <a:gd name="connsiteY62" fmla="*/ 182088 h 272408"/>
                <a:gd name="connsiteX63" fmla="*/ 393457 w 470410"/>
                <a:gd name="connsiteY63" fmla="*/ 186677 h 272408"/>
                <a:gd name="connsiteX64" fmla="*/ 389509 w 470410"/>
                <a:gd name="connsiteY64" fmla="*/ 192795 h 272408"/>
                <a:gd name="connsiteX65" fmla="*/ 381664 w 470410"/>
                <a:gd name="connsiteY65" fmla="*/ 192795 h 272408"/>
                <a:gd name="connsiteX66" fmla="*/ 373770 w 470410"/>
                <a:gd name="connsiteY66" fmla="*/ 194325 h 272408"/>
                <a:gd name="connsiteX67" fmla="*/ 365875 w 470410"/>
                <a:gd name="connsiteY67" fmla="*/ 195854 h 272408"/>
                <a:gd name="connsiteX68" fmla="*/ 363902 w 470410"/>
                <a:gd name="connsiteY68" fmla="*/ 195854 h 272408"/>
                <a:gd name="connsiteX69" fmla="*/ 361928 w 470410"/>
                <a:gd name="connsiteY69" fmla="*/ 192795 h 272408"/>
                <a:gd name="connsiteX70" fmla="*/ 360004 w 470410"/>
                <a:gd name="connsiteY70" fmla="*/ 192795 h 272408"/>
                <a:gd name="connsiteX71" fmla="*/ 360004 w 470410"/>
                <a:gd name="connsiteY71" fmla="*/ 189736 h 272408"/>
                <a:gd name="connsiteX72" fmla="*/ 354083 w 470410"/>
                <a:gd name="connsiteY72" fmla="*/ 189736 h 272408"/>
                <a:gd name="connsiteX73" fmla="*/ 340317 w 470410"/>
                <a:gd name="connsiteY73" fmla="*/ 195854 h 272408"/>
                <a:gd name="connsiteX74" fmla="*/ 332472 w 470410"/>
                <a:gd name="connsiteY74" fmla="*/ 197384 h 272408"/>
                <a:gd name="connsiteX75" fmla="*/ 330498 w 470410"/>
                <a:gd name="connsiteY75" fmla="*/ 200443 h 272408"/>
                <a:gd name="connsiteX76" fmla="*/ 316683 w 470410"/>
                <a:gd name="connsiteY76" fmla="*/ 203502 h 272408"/>
                <a:gd name="connsiteX77" fmla="*/ 310812 w 470410"/>
                <a:gd name="connsiteY77" fmla="*/ 205032 h 272408"/>
                <a:gd name="connsiteX78" fmla="*/ 306963 w 470410"/>
                <a:gd name="connsiteY78" fmla="*/ 198913 h 272408"/>
                <a:gd name="connsiteX79" fmla="*/ 299069 w 470410"/>
                <a:gd name="connsiteY79" fmla="*/ 198913 h 272408"/>
                <a:gd name="connsiteX80" fmla="*/ 293197 w 470410"/>
                <a:gd name="connsiteY80" fmla="*/ 197384 h 272408"/>
                <a:gd name="connsiteX81" fmla="*/ 287276 w 470410"/>
                <a:gd name="connsiteY81" fmla="*/ 205032 h 272408"/>
                <a:gd name="connsiteX82" fmla="*/ 281404 w 470410"/>
                <a:gd name="connsiteY82" fmla="*/ 209670 h 272408"/>
                <a:gd name="connsiteX83" fmla="*/ 283378 w 470410"/>
                <a:gd name="connsiteY83" fmla="*/ 212729 h 272408"/>
                <a:gd name="connsiteX84" fmla="*/ 287276 w 470410"/>
                <a:gd name="connsiteY84" fmla="*/ 215788 h 272408"/>
                <a:gd name="connsiteX85" fmla="*/ 285303 w 470410"/>
                <a:gd name="connsiteY85" fmla="*/ 217317 h 272408"/>
                <a:gd name="connsiteX86" fmla="*/ 277408 w 470410"/>
                <a:gd name="connsiteY86" fmla="*/ 218847 h 272408"/>
                <a:gd name="connsiteX87" fmla="*/ 273510 w 470410"/>
                <a:gd name="connsiteY87" fmla="*/ 217317 h 272408"/>
                <a:gd name="connsiteX88" fmla="*/ 263642 w 470410"/>
                <a:gd name="connsiteY88" fmla="*/ 215788 h 272408"/>
                <a:gd name="connsiteX89" fmla="*/ 257771 w 470410"/>
                <a:gd name="connsiteY89" fmla="*/ 214258 h 272408"/>
                <a:gd name="connsiteX90" fmla="*/ 253823 w 470410"/>
                <a:gd name="connsiteY90" fmla="*/ 214258 h 272408"/>
                <a:gd name="connsiteX91" fmla="*/ 249877 w 470410"/>
                <a:gd name="connsiteY91" fmla="*/ 215788 h 272408"/>
                <a:gd name="connsiteX92" fmla="*/ 244005 w 470410"/>
                <a:gd name="connsiteY92" fmla="*/ 215788 h 272408"/>
                <a:gd name="connsiteX93" fmla="*/ 236110 w 470410"/>
                <a:gd name="connsiteY93" fmla="*/ 214258 h 272408"/>
                <a:gd name="connsiteX94" fmla="*/ 226242 w 470410"/>
                <a:gd name="connsiteY94" fmla="*/ 211199 h 272408"/>
                <a:gd name="connsiteX95" fmla="*/ 220370 w 470410"/>
                <a:gd name="connsiteY95" fmla="*/ 211199 h 272408"/>
                <a:gd name="connsiteX96" fmla="*/ 218397 w 470410"/>
                <a:gd name="connsiteY96" fmla="*/ 209670 h 272408"/>
                <a:gd name="connsiteX97" fmla="*/ 208529 w 470410"/>
                <a:gd name="connsiteY97" fmla="*/ 203502 h 272408"/>
                <a:gd name="connsiteX98" fmla="*/ 202608 w 470410"/>
                <a:gd name="connsiteY98" fmla="*/ 200443 h 272408"/>
                <a:gd name="connsiteX99" fmla="*/ 190816 w 470410"/>
                <a:gd name="connsiteY99" fmla="*/ 192795 h 272408"/>
                <a:gd name="connsiteX100" fmla="*/ 186869 w 470410"/>
                <a:gd name="connsiteY100" fmla="*/ 192795 h 272408"/>
                <a:gd name="connsiteX101" fmla="*/ 182971 w 470410"/>
                <a:gd name="connsiteY101" fmla="*/ 189736 h 272408"/>
                <a:gd name="connsiteX102" fmla="*/ 179023 w 470410"/>
                <a:gd name="connsiteY102" fmla="*/ 189736 h 272408"/>
                <a:gd name="connsiteX103" fmla="*/ 179023 w 470410"/>
                <a:gd name="connsiteY103" fmla="*/ 192795 h 272408"/>
                <a:gd name="connsiteX104" fmla="*/ 173103 w 470410"/>
                <a:gd name="connsiteY104" fmla="*/ 191266 h 272408"/>
                <a:gd name="connsiteX105" fmla="*/ 167231 w 470410"/>
                <a:gd name="connsiteY105" fmla="*/ 195854 h 272408"/>
                <a:gd name="connsiteX106" fmla="*/ 161310 w 470410"/>
                <a:gd name="connsiteY106" fmla="*/ 195854 h 272408"/>
                <a:gd name="connsiteX107" fmla="*/ 159337 w 470410"/>
                <a:gd name="connsiteY107" fmla="*/ 197384 h 272408"/>
                <a:gd name="connsiteX108" fmla="*/ 157412 w 470410"/>
                <a:gd name="connsiteY108" fmla="*/ 203502 h 272408"/>
                <a:gd name="connsiteX109" fmla="*/ 155439 w 470410"/>
                <a:gd name="connsiteY109" fmla="*/ 206611 h 272408"/>
                <a:gd name="connsiteX110" fmla="*/ 155439 w 470410"/>
                <a:gd name="connsiteY110" fmla="*/ 209670 h 272408"/>
                <a:gd name="connsiteX111" fmla="*/ 151442 w 470410"/>
                <a:gd name="connsiteY111" fmla="*/ 211199 h 272408"/>
                <a:gd name="connsiteX112" fmla="*/ 147544 w 470410"/>
                <a:gd name="connsiteY112" fmla="*/ 212729 h 272408"/>
                <a:gd name="connsiteX113" fmla="*/ 147544 w 470410"/>
                <a:gd name="connsiteY113" fmla="*/ 215788 h 272408"/>
                <a:gd name="connsiteX114" fmla="*/ 153465 w 470410"/>
                <a:gd name="connsiteY114" fmla="*/ 221906 h 272408"/>
                <a:gd name="connsiteX115" fmla="*/ 151442 w 470410"/>
                <a:gd name="connsiteY115" fmla="*/ 223435 h 272408"/>
                <a:gd name="connsiteX116" fmla="*/ 149518 w 470410"/>
                <a:gd name="connsiteY116" fmla="*/ 228024 h 272408"/>
                <a:gd name="connsiteX117" fmla="*/ 147544 w 470410"/>
                <a:gd name="connsiteY117" fmla="*/ 234143 h 272408"/>
                <a:gd name="connsiteX118" fmla="*/ 143647 w 470410"/>
                <a:gd name="connsiteY118" fmla="*/ 235672 h 272408"/>
                <a:gd name="connsiteX119" fmla="*/ 141673 w 470410"/>
                <a:gd name="connsiteY119" fmla="*/ 237202 h 272408"/>
                <a:gd name="connsiteX120" fmla="*/ 135752 w 470410"/>
                <a:gd name="connsiteY120" fmla="*/ 234143 h 272408"/>
                <a:gd name="connsiteX121" fmla="*/ 131805 w 470410"/>
                <a:gd name="connsiteY121" fmla="*/ 231083 h 272408"/>
                <a:gd name="connsiteX122" fmla="*/ 120012 w 470410"/>
                <a:gd name="connsiteY122" fmla="*/ 231083 h 272408"/>
                <a:gd name="connsiteX123" fmla="*/ 116066 w 470410"/>
                <a:gd name="connsiteY123" fmla="*/ 232613 h 272408"/>
                <a:gd name="connsiteX124" fmla="*/ 112118 w 470410"/>
                <a:gd name="connsiteY124" fmla="*/ 232613 h 272408"/>
                <a:gd name="connsiteX125" fmla="*/ 94454 w 470410"/>
                <a:gd name="connsiteY125" fmla="*/ 238731 h 272408"/>
                <a:gd name="connsiteX126" fmla="*/ 92481 w 470410"/>
                <a:gd name="connsiteY126" fmla="*/ 241790 h 272408"/>
                <a:gd name="connsiteX127" fmla="*/ 86559 w 470410"/>
                <a:gd name="connsiteY127" fmla="*/ 241790 h 272408"/>
                <a:gd name="connsiteX128" fmla="*/ 78715 w 470410"/>
                <a:gd name="connsiteY128" fmla="*/ 249438 h 272408"/>
                <a:gd name="connsiteX129" fmla="*/ 60952 w 470410"/>
                <a:gd name="connsiteY129" fmla="*/ 272381 h 272408"/>
                <a:gd name="connsiteX130" fmla="*/ 59028 w 470410"/>
                <a:gd name="connsiteY130" fmla="*/ 272381 h 272408"/>
                <a:gd name="connsiteX131" fmla="*/ 59028 w 470410"/>
                <a:gd name="connsiteY131" fmla="*/ 264734 h 272408"/>
                <a:gd name="connsiteX132" fmla="*/ 57054 w 470410"/>
                <a:gd name="connsiteY132" fmla="*/ 260145 h 272408"/>
                <a:gd name="connsiteX133" fmla="*/ 47186 w 470410"/>
                <a:gd name="connsiteY133" fmla="*/ 250967 h 272408"/>
                <a:gd name="connsiteX134" fmla="*/ 43289 w 470410"/>
                <a:gd name="connsiteY134" fmla="*/ 247908 h 272408"/>
                <a:gd name="connsiteX135" fmla="*/ 37367 w 470410"/>
                <a:gd name="connsiteY135" fmla="*/ 238731 h 272408"/>
                <a:gd name="connsiteX136" fmla="*/ 29522 w 470410"/>
                <a:gd name="connsiteY136" fmla="*/ 226495 h 272408"/>
                <a:gd name="connsiteX137" fmla="*/ 25575 w 470410"/>
                <a:gd name="connsiteY137" fmla="*/ 220376 h 272408"/>
                <a:gd name="connsiteX138" fmla="*/ 19654 w 470410"/>
                <a:gd name="connsiteY138" fmla="*/ 214258 h 272408"/>
                <a:gd name="connsiteX139" fmla="*/ 9786 w 470410"/>
                <a:gd name="connsiteY139" fmla="*/ 211199 h 272408"/>
                <a:gd name="connsiteX140" fmla="*/ 5839 w 470410"/>
                <a:gd name="connsiteY140" fmla="*/ 208140 h 272408"/>
                <a:gd name="connsiteX141" fmla="*/ 5839 w 470410"/>
                <a:gd name="connsiteY141" fmla="*/ 188404 h 272408"/>
                <a:gd name="connsiteX142" fmla="*/ 1892 w 470410"/>
                <a:gd name="connsiteY142" fmla="*/ 180756 h 272408"/>
                <a:gd name="connsiteX143" fmla="*/ 3865 w 470410"/>
                <a:gd name="connsiteY143" fmla="*/ 171579 h 272408"/>
                <a:gd name="connsiteX144" fmla="*/ 1892 w 470410"/>
                <a:gd name="connsiteY144" fmla="*/ 163931 h 272408"/>
                <a:gd name="connsiteX145" fmla="*/ -82 w 470410"/>
                <a:gd name="connsiteY145" fmla="*/ 157813 h 272408"/>
                <a:gd name="connsiteX146" fmla="*/ 3865 w 470410"/>
                <a:gd name="connsiteY146" fmla="*/ 154754 h 272408"/>
                <a:gd name="connsiteX147" fmla="*/ 7812 w 470410"/>
                <a:gd name="connsiteY147" fmla="*/ 153224 h 272408"/>
                <a:gd name="connsiteX148" fmla="*/ 13684 w 470410"/>
                <a:gd name="connsiteY148" fmla="*/ 144047 h 272408"/>
                <a:gd name="connsiteX149" fmla="*/ 17631 w 470410"/>
                <a:gd name="connsiteY149" fmla="*/ 136399 h 272408"/>
                <a:gd name="connsiteX150" fmla="*/ 23552 w 470410"/>
                <a:gd name="connsiteY150" fmla="*/ 125692 h 272408"/>
                <a:gd name="connsiteX151" fmla="*/ 29473 w 470410"/>
                <a:gd name="connsiteY151" fmla="*/ 117995 h 272408"/>
                <a:gd name="connsiteX152" fmla="*/ 33371 w 470410"/>
                <a:gd name="connsiteY152" fmla="*/ 116466 h 272408"/>
                <a:gd name="connsiteX153" fmla="*/ 41265 w 470410"/>
                <a:gd name="connsiteY153" fmla="*/ 108818 h 272408"/>
                <a:gd name="connsiteX154" fmla="*/ 39292 w 470410"/>
                <a:gd name="connsiteY154" fmla="*/ 107288 h 272408"/>
                <a:gd name="connsiteX155" fmla="*/ 43239 w 470410"/>
                <a:gd name="connsiteY155" fmla="*/ 110347 h 272408"/>
                <a:gd name="connsiteX156" fmla="*/ 45212 w 470410"/>
                <a:gd name="connsiteY156" fmla="*/ 116466 h 272408"/>
                <a:gd name="connsiteX157" fmla="*/ 57005 w 470410"/>
                <a:gd name="connsiteY157" fmla="*/ 116466 h 272408"/>
                <a:gd name="connsiteX158" fmla="*/ 68797 w 470410"/>
                <a:gd name="connsiteY158" fmla="*/ 114936 h 272408"/>
                <a:gd name="connsiteX159" fmla="*/ 72745 w 470410"/>
                <a:gd name="connsiteY159" fmla="*/ 108818 h 272408"/>
                <a:gd name="connsiteX160" fmla="*/ 72745 w 470410"/>
                <a:gd name="connsiteY160" fmla="*/ 102700 h 272408"/>
                <a:gd name="connsiteX161" fmla="*/ 76642 w 470410"/>
                <a:gd name="connsiteY161" fmla="*/ 99641 h 272408"/>
                <a:gd name="connsiteX162" fmla="*/ 80639 w 470410"/>
                <a:gd name="connsiteY162" fmla="*/ 102700 h 272408"/>
                <a:gd name="connsiteX163" fmla="*/ 82563 w 470410"/>
                <a:gd name="connsiteY163" fmla="*/ 108818 h 272408"/>
                <a:gd name="connsiteX164" fmla="*/ 84537 w 470410"/>
                <a:gd name="connsiteY164" fmla="*/ 111877 h 272408"/>
                <a:gd name="connsiteX165" fmla="*/ 92431 w 470410"/>
                <a:gd name="connsiteY165" fmla="*/ 111877 h 272408"/>
                <a:gd name="connsiteX166" fmla="*/ 102299 w 470410"/>
                <a:gd name="connsiteY166" fmla="*/ 105759 h 272408"/>
                <a:gd name="connsiteX167" fmla="*/ 112167 w 470410"/>
                <a:gd name="connsiteY167" fmla="*/ 102700 h 272408"/>
                <a:gd name="connsiteX168" fmla="*/ 120062 w 470410"/>
                <a:gd name="connsiteY168" fmla="*/ 95052 h 272408"/>
                <a:gd name="connsiteX169" fmla="*/ 143696 w 470410"/>
                <a:gd name="connsiteY169" fmla="*/ 91993 h 272408"/>
                <a:gd name="connsiteX170" fmla="*/ 151492 w 470410"/>
                <a:gd name="connsiteY170" fmla="*/ 91993 h 272408"/>
                <a:gd name="connsiteX171" fmla="*/ 155488 w 470410"/>
                <a:gd name="connsiteY171" fmla="*/ 87404 h 272408"/>
                <a:gd name="connsiteX172" fmla="*/ 167280 w 470410"/>
                <a:gd name="connsiteY172" fmla="*/ 81286 h 272408"/>
                <a:gd name="connsiteX173" fmla="*/ 167280 w 470410"/>
                <a:gd name="connsiteY173" fmla="*/ 78227 h 272408"/>
                <a:gd name="connsiteX174" fmla="*/ 161360 w 470410"/>
                <a:gd name="connsiteY174" fmla="*/ 78227 h 272408"/>
                <a:gd name="connsiteX175" fmla="*/ 155488 w 470410"/>
                <a:gd name="connsiteY175" fmla="*/ 69050 h 272408"/>
                <a:gd name="connsiteX176" fmla="*/ 155488 w 470410"/>
                <a:gd name="connsiteY176" fmla="*/ 64412 h 272408"/>
                <a:gd name="connsiteX177" fmla="*/ 161360 w 470410"/>
                <a:gd name="connsiteY177" fmla="*/ 62882 h 272408"/>
                <a:gd name="connsiteX178" fmla="*/ 175126 w 470410"/>
                <a:gd name="connsiteY178" fmla="*/ 62882 h 272408"/>
                <a:gd name="connsiteX179" fmla="*/ 181046 w 470410"/>
                <a:gd name="connsiteY179" fmla="*/ 64412 h 272408"/>
                <a:gd name="connsiteX180" fmla="*/ 190914 w 470410"/>
                <a:gd name="connsiteY180" fmla="*/ 65941 h 272408"/>
                <a:gd name="connsiteX181" fmla="*/ 200783 w 470410"/>
                <a:gd name="connsiteY181" fmla="*/ 64412 h 272408"/>
                <a:gd name="connsiteX182" fmla="*/ 214549 w 470410"/>
                <a:gd name="connsiteY182" fmla="*/ 62882 h 272408"/>
                <a:gd name="connsiteX183" fmla="*/ 220519 w 470410"/>
                <a:gd name="connsiteY183" fmla="*/ 58293 h 272408"/>
                <a:gd name="connsiteX184" fmla="*/ 226390 w 470410"/>
                <a:gd name="connsiteY184" fmla="*/ 56764 h 272408"/>
                <a:gd name="connsiteX185" fmla="*/ 228364 w 470410"/>
                <a:gd name="connsiteY185" fmla="*/ 52175 h 272408"/>
                <a:gd name="connsiteX186" fmla="*/ 226390 w 470410"/>
                <a:gd name="connsiteY186" fmla="*/ 47587 h 272408"/>
                <a:gd name="connsiteX187" fmla="*/ 228364 w 470410"/>
                <a:gd name="connsiteY187" fmla="*/ 41469 h 272408"/>
                <a:gd name="connsiteX188" fmla="*/ 236209 w 470410"/>
                <a:gd name="connsiteY188" fmla="*/ 38409 h 272408"/>
                <a:gd name="connsiteX189" fmla="*/ 232311 w 470410"/>
                <a:gd name="connsiteY189" fmla="*/ 33821 h 272408"/>
                <a:gd name="connsiteX190" fmla="*/ 240156 w 470410"/>
                <a:gd name="connsiteY190" fmla="*/ 29232 h 272408"/>
                <a:gd name="connsiteX191" fmla="*/ 242130 w 470410"/>
                <a:gd name="connsiteY191" fmla="*/ 30761 h 272408"/>
                <a:gd name="connsiteX192" fmla="*/ 246077 w 470410"/>
                <a:gd name="connsiteY192" fmla="*/ 30761 h 272408"/>
                <a:gd name="connsiteX193" fmla="*/ 251948 w 470410"/>
                <a:gd name="connsiteY193" fmla="*/ 21584 h 272408"/>
                <a:gd name="connsiteX194" fmla="*/ 255945 w 470410"/>
                <a:gd name="connsiteY194" fmla="*/ 20055 h 272408"/>
                <a:gd name="connsiteX195" fmla="*/ 255945 w 470410"/>
                <a:gd name="connsiteY195" fmla="*/ 15466 h 272408"/>
                <a:gd name="connsiteX196" fmla="*/ 257870 w 470410"/>
                <a:gd name="connsiteY196" fmla="*/ 10877 h 272408"/>
                <a:gd name="connsiteX197" fmla="*/ 265715 w 470410"/>
                <a:gd name="connsiteY197" fmla="*/ 6289 h 272408"/>
                <a:gd name="connsiteX198" fmla="*/ 273609 w 470410"/>
                <a:gd name="connsiteY198" fmla="*/ 3230 h 272408"/>
                <a:gd name="connsiteX199" fmla="*/ 281503 w 470410"/>
                <a:gd name="connsiteY199" fmla="*/ 3230 h 272408"/>
                <a:gd name="connsiteX200" fmla="*/ 287375 w 470410"/>
                <a:gd name="connsiteY200" fmla="*/ 6289 h 272408"/>
                <a:gd name="connsiteX201" fmla="*/ 295269 w 470410"/>
                <a:gd name="connsiteY201" fmla="*/ 1700 h 27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</a:cxnLst>
              <a:rect l="l" t="t" r="r" b="b"/>
              <a:pathLst>
                <a:path w="470410" h="272408">
                  <a:moveTo>
                    <a:pt x="297095" y="-27"/>
                  </a:moveTo>
                  <a:lnTo>
                    <a:pt x="299019" y="3032"/>
                  </a:lnTo>
                  <a:lnTo>
                    <a:pt x="299019" y="9150"/>
                  </a:lnTo>
                  <a:lnTo>
                    <a:pt x="306914" y="13739"/>
                  </a:lnTo>
                  <a:lnTo>
                    <a:pt x="308887" y="18328"/>
                  </a:lnTo>
                  <a:lnTo>
                    <a:pt x="316732" y="29035"/>
                  </a:lnTo>
                  <a:lnTo>
                    <a:pt x="322654" y="41271"/>
                  </a:lnTo>
                  <a:lnTo>
                    <a:pt x="326551" y="45860"/>
                  </a:lnTo>
                  <a:lnTo>
                    <a:pt x="324627" y="53508"/>
                  </a:lnTo>
                  <a:lnTo>
                    <a:pt x="322654" y="55037"/>
                  </a:lnTo>
                  <a:lnTo>
                    <a:pt x="320680" y="61155"/>
                  </a:lnTo>
                  <a:lnTo>
                    <a:pt x="320680" y="71911"/>
                  </a:lnTo>
                  <a:lnTo>
                    <a:pt x="324627" y="74970"/>
                  </a:lnTo>
                  <a:lnTo>
                    <a:pt x="334495" y="74970"/>
                  </a:lnTo>
                  <a:lnTo>
                    <a:pt x="338442" y="71911"/>
                  </a:lnTo>
                  <a:lnTo>
                    <a:pt x="348310" y="73441"/>
                  </a:lnTo>
                  <a:lnTo>
                    <a:pt x="352258" y="74970"/>
                  </a:lnTo>
                  <a:lnTo>
                    <a:pt x="348310" y="79559"/>
                  </a:lnTo>
                  <a:lnTo>
                    <a:pt x="350284" y="84148"/>
                  </a:lnTo>
                  <a:lnTo>
                    <a:pt x="356205" y="88736"/>
                  </a:lnTo>
                  <a:lnTo>
                    <a:pt x="364050" y="91795"/>
                  </a:lnTo>
                  <a:lnTo>
                    <a:pt x="369971" y="91795"/>
                  </a:lnTo>
                  <a:lnTo>
                    <a:pt x="375842" y="93325"/>
                  </a:lnTo>
                  <a:lnTo>
                    <a:pt x="377816" y="99443"/>
                  </a:lnTo>
                  <a:lnTo>
                    <a:pt x="385710" y="102502"/>
                  </a:lnTo>
                  <a:lnTo>
                    <a:pt x="391582" y="102502"/>
                  </a:lnTo>
                  <a:lnTo>
                    <a:pt x="393605" y="105562"/>
                  </a:lnTo>
                  <a:lnTo>
                    <a:pt x="391582" y="110150"/>
                  </a:lnTo>
                  <a:lnTo>
                    <a:pt x="387684" y="113209"/>
                  </a:lnTo>
                  <a:lnTo>
                    <a:pt x="387684" y="116268"/>
                  </a:lnTo>
                  <a:lnTo>
                    <a:pt x="383737" y="117798"/>
                  </a:lnTo>
                  <a:lnTo>
                    <a:pt x="391582" y="125495"/>
                  </a:lnTo>
                  <a:lnTo>
                    <a:pt x="397502" y="127024"/>
                  </a:lnTo>
                  <a:lnTo>
                    <a:pt x="399476" y="125495"/>
                  </a:lnTo>
                  <a:lnTo>
                    <a:pt x="407371" y="127024"/>
                  </a:lnTo>
                  <a:lnTo>
                    <a:pt x="409344" y="127024"/>
                  </a:lnTo>
                  <a:lnTo>
                    <a:pt x="421137" y="133143"/>
                  </a:lnTo>
                  <a:lnTo>
                    <a:pt x="423110" y="136202"/>
                  </a:lnTo>
                  <a:lnTo>
                    <a:pt x="423110" y="145379"/>
                  </a:lnTo>
                  <a:lnTo>
                    <a:pt x="427008" y="148438"/>
                  </a:lnTo>
                  <a:lnTo>
                    <a:pt x="434903" y="151497"/>
                  </a:lnTo>
                  <a:lnTo>
                    <a:pt x="436876" y="153027"/>
                  </a:lnTo>
                  <a:lnTo>
                    <a:pt x="436876" y="159145"/>
                  </a:lnTo>
                  <a:lnTo>
                    <a:pt x="438800" y="162204"/>
                  </a:lnTo>
                  <a:lnTo>
                    <a:pt x="452616" y="165263"/>
                  </a:lnTo>
                  <a:lnTo>
                    <a:pt x="458536" y="168322"/>
                  </a:lnTo>
                  <a:lnTo>
                    <a:pt x="456563" y="171381"/>
                  </a:lnTo>
                  <a:lnTo>
                    <a:pt x="458536" y="182088"/>
                  </a:lnTo>
                  <a:lnTo>
                    <a:pt x="462435" y="183618"/>
                  </a:lnTo>
                  <a:lnTo>
                    <a:pt x="468355" y="186677"/>
                  </a:lnTo>
                  <a:lnTo>
                    <a:pt x="470329" y="191266"/>
                  </a:lnTo>
                  <a:lnTo>
                    <a:pt x="468355" y="191266"/>
                  </a:lnTo>
                  <a:lnTo>
                    <a:pt x="462435" y="188207"/>
                  </a:lnTo>
                  <a:lnTo>
                    <a:pt x="454540" y="188207"/>
                  </a:lnTo>
                  <a:lnTo>
                    <a:pt x="444672" y="191266"/>
                  </a:lnTo>
                  <a:lnTo>
                    <a:pt x="426910" y="191266"/>
                  </a:lnTo>
                  <a:lnTo>
                    <a:pt x="423012" y="188207"/>
                  </a:lnTo>
                  <a:lnTo>
                    <a:pt x="417090" y="186677"/>
                  </a:lnTo>
                  <a:lnTo>
                    <a:pt x="415117" y="185148"/>
                  </a:lnTo>
                  <a:lnTo>
                    <a:pt x="411170" y="186677"/>
                  </a:lnTo>
                  <a:lnTo>
                    <a:pt x="401302" y="185148"/>
                  </a:lnTo>
                  <a:lnTo>
                    <a:pt x="397354" y="182088"/>
                  </a:lnTo>
                  <a:lnTo>
                    <a:pt x="393457" y="182088"/>
                  </a:lnTo>
                  <a:lnTo>
                    <a:pt x="393457" y="186677"/>
                  </a:lnTo>
                  <a:lnTo>
                    <a:pt x="389509" y="192795"/>
                  </a:lnTo>
                  <a:lnTo>
                    <a:pt x="381664" y="192795"/>
                  </a:lnTo>
                  <a:lnTo>
                    <a:pt x="373770" y="194325"/>
                  </a:lnTo>
                  <a:lnTo>
                    <a:pt x="365875" y="195854"/>
                  </a:lnTo>
                  <a:lnTo>
                    <a:pt x="363902" y="195854"/>
                  </a:lnTo>
                  <a:lnTo>
                    <a:pt x="361928" y="192795"/>
                  </a:lnTo>
                  <a:lnTo>
                    <a:pt x="360004" y="192795"/>
                  </a:lnTo>
                  <a:lnTo>
                    <a:pt x="360004" y="189736"/>
                  </a:lnTo>
                  <a:lnTo>
                    <a:pt x="354083" y="189736"/>
                  </a:lnTo>
                  <a:lnTo>
                    <a:pt x="340317" y="195854"/>
                  </a:lnTo>
                  <a:lnTo>
                    <a:pt x="332472" y="197384"/>
                  </a:lnTo>
                  <a:lnTo>
                    <a:pt x="330498" y="200443"/>
                  </a:lnTo>
                  <a:lnTo>
                    <a:pt x="316683" y="203502"/>
                  </a:lnTo>
                  <a:lnTo>
                    <a:pt x="310812" y="205032"/>
                  </a:lnTo>
                  <a:lnTo>
                    <a:pt x="306963" y="198913"/>
                  </a:lnTo>
                  <a:lnTo>
                    <a:pt x="299069" y="198913"/>
                  </a:lnTo>
                  <a:lnTo>
                    <a:pt x="293197" y="197384"/>
                  </a:lnTo>
                  <a:lnTo>
                    <a:pt x="287276" y="205032"/>
                  </a:lnTo>
                  <a:lnTo>
                    <a:pt x="281404" y="209670"/>
                  </a:lnTo>
                  <a:lnTo>
                    <a:pt x="283378" y="212729"/>
                  </a:lnTo>
                  <a:lnTo>
                    <a:pt x="287276" y="215788"/>
                  </a:lnTo>
                  <a:lnTo>
                    <a:pt x="285303" y="217317"/>
                  </a:lnTo>
                  <a:lnTo>
                    <a:pt x="277408" y="218847"/>
                  </a:lnTo>
                  <a:lnTo>
                    <a:pt x="273510" y="217317"/>
                  </a:lnTo>
                  <a:lnTo>
                    <a:pt x="263642" y="215788"/>
                  </a:lnTo>
                  <a:lnTo>
                    <a:pt x="257771" y="214258"/>
                  </a:lnTo>
                  <a:lnTo>
                    <a:pt x="253823" y="214258"/>
                  </a:lnTo>
                  <a:lnTo>
                    <a:pt x="249877" y="215788"/>
                  </a:lnTo>
                  <a:lnTo>
                    <a:pt x="244005" y="215788"/>
                  </a:lnTo>
                  <a:lnTo>
                    <a:pt x="236110" y="214258"/>
                  </a:lnTo>
                  <a:lnTo>
                    <a:pt x="226242" y="211199"/>
                  </a:lnTo>
                  <a:lnTo>
                    <a:pt x="220370" y="211199"/>
                  </a:lnTo>
                  <a:lnTo>
                    <a:pt x="218397" y="209670"/>
                  </a:lnTo>
                  <a:lnTo>
                    <a:pt x="208529" y="203502"/>
                  </a:lnTo>
                  <a:lnTo>
                    <a:pt x="202608" y="200443"/>
                  </a:lnTo>
                  <a:lnTo>
                    <a:pt x="190816" y="192795"/>
                  </a:lnTo>
                  <a:lnTo>
                    <a:pt x="186869" y="192795"/>
                  </a:lnTo>
                  <a:lnTo>
                    <a:pt x="182971" y="189736"/>
                  </a:lnTo>
                  <a:lnTo>
                    <a:pt x="179023" y="189736"/>
                  </a:lnTo>
                  <a:lnTo>
                    <a:pt x="179023" y="192795"/>
                  </a:lnTo>
                  <a:lnTo>
                    <a:pt x="173103" y="191266"/>
                  </a:lnTo>
                  <a:lnTo>
                    <a:pt x="167231" y="195854"/>
                  </a:lnTo>
                  <a:lnTo>
                    <a:pt x="161310" y="195854"/>
                  </a:lnTo>
                  <a:lnTo>
                    <a:pt x="159337" y="197384"/>
                  </a:lnTo>
                  <a:lnTo>
                    <a:pt x="157412" y="203502"/>
                  </a:lnTo>
                  <a:lnTo>
                    <a:pt x="155439" y="206611"/>
                  </a:lnTo>
                  <a:lnTo>
                    <a:pt x="155439" y="209670"/>
                  </a:lnTo>
                  <a:lnTo>
                    <a:pt x="151442" y="211199"/>
                  </a:lnTo>
                  <a:lnTo>
                    <a:pt x="147544" y="212729"/>
                  </a:lnTo>
                  <a:lnTo>
                    <a:pt x="147544" y="215788"/>
                  </a:lnTo>
                  <a:lnTo>
                    <a:pt x="153465" y="221906"/>
                  </a:lnTo>
                  <a:lnTo>
                    <a:pt x="151442" y="223435"/>
                  </a:lnTo>
                  <a:lnTo>
                    <a:pt x="149518" y="228024"/>
                  </a:lnTo>
                  <a:lnTo>
                    <a:pt x="147544" y="234143"/>
                  </a:lnTo>
                  <a:lnTo>
                    <a:pt x="143647" y="235672"/>
                  </a:lnTo>
                  <a:lnTo>
                    <a:pt x="141673" y="237202"/>
                  </a:lnTo>
                  <a:lnTo>
                    <a:pt x="135752" y="234143"/>
                  </a:lnTo>
                  <a:lnTo>
                    <a:pt x="131805" y="231083"/>
                  </a:lnTo>
                  <a:lnTo>
                    <a:pt x="120012" y="231083"/>
                  </a:lnTo>
                  <a:lnTo>
                    <a:pt x="116066" y="232613"/>
                  </a:lnTo>
                  <a:lnTo>
                    <a:pt x="112118" y="232613"/>
                  </a:lnTo>
                  <a:lnTo>
                    <a:pt x="94454" y="238731"/>
                  </a:lnTo>
                  <a:lnTo>
                    <a:pt x="92481" y="241790"/>
                  </a:lnTo>
                  <a:lnTo>
                    <a:pt x="86559" y="241790"/>
                  </a:lnTo>
                  <a:lnTo>
                    <a:pt x="78715" y="249438"/>
                  </a:lnTo>
                  <a:lnTo>
                    <a:pt x="60952" y="272381"/>
                  </a:lnTo>
                  <a:lnTo>
                    <a:pt x="59028" y="272381"/>
                  </a:lnTo>
                  <a:lnTo>
                    <a:pt x="59028" y="264734"/>
                  </a:lnTo>
                  <a:lnTo>
                    <a:pt x="57054" y="260145"/>
                  </a:lnTo>
                  <a:lnTo>
                    <a:pt x="47186" y="250967"/>
                  </a:lnTo>
                  <a:lnTo>
                    <a:pt x="43289" y="247908"/>
                  </a:lnTo>
                  <a:lnTo>
                    <a:pt x="37367" y="238731"/>
                  </a:lnTo>
                  <a:lnTo>
                    <a:pt x="29522" y="226495"/>
                  </a:lnTo>
                  <a:lnTo>
                    <a:pt x="25575" y="220376"/>
                  </a:lnTo>
                  <a:lnTo>
                    <a:pt x="19654" y="214258"/>
                  </a:lnTo>
                  <a:lnTo>
                    <a:pt x="9786" y="211199"/>
                  </a:lnTo>
                  <a:lnTo>
                    <a:pt x="5839" y="208140"/>
                  </a:lnTo>
                  <a:lnTo>
                    <a:pt x="5839" y="188404"/>
                  </a:lnTo>
                  <a:lnTo>
                    <a:pt x="1892" y="180756"/>
                  </a:lnTo>
                  <a:lnTo>
                    <a:pt x="3865" y="171579"/>
                  </a:lnTo>
                  <a:lnTo>
                    <a:pt x="1892" y="163931"/>
                  </a:lnTo>
                  <a:lnTo>
                    <a:pt x="-82" y="157813"/>
                  </a:lnTo>
                  <a:lnTo>
                    <a:pt x="3865" y="154754"/>
                  </a:lnTo>
                  <a:lnTo>
                    <a:pt x="7812" y="153224"/>
                  </a:lnTo>
                  <a:lnTo>
                    <a:pt x="13684" y="144047"/>
                  </a:lnTo>
                  <a:lnTo>
                    <a:pt x="17631" y="136399"/>
                  </a:lnTo>
                  <a:lnTo>
                    <a:pt x="23552" y="125692"/>
                  </a:lnTo>
                  <a:lnTo>
                    <a:pt x="29473" y="117995"/>
                  </a:lnTo>
                  <a:lnTo>
                    <a:pt x="33371" y="116466"/>
                  </a:lnTo>
                  <a:lnTo>
                    <a:pt x="41265" y="108818"/>
                  </a:lnTo>
                  <a:lnTo>
                    <a:pt x="39292" y="107288"/>
                  </a:lnTo>
                  <a:lnTo>
                    <a:pt x="43239" y="110347"/>
                  </a:lnTo>
                  <a:lnTo>
                    <a:pt x="45212" y="116466"/>
                  </a:lnTo>
                  <a:lnTo>
                    <a:pt x="57005" y="116466"/>
                  </a:lnTo>
                  <a:lnTo>
                    <a:pt x="68797" y="114936"/>
                  </a:lnTo>
                  <a:lnTo>
                    <a:pt x="72745" y="108818"/>
                  </a:lnTo>
                  <a:lnTo>
                    <a:pt x="72745" y="102700"/>
                  </a:lnTo>
                  <a:lnTo>
                    <a:pt x="76642" y="99641"/>
                  </a:lnTo>
                  <a:lnTo>
                    <a:pt x="80639" y="102700"/>
                  </a:lnTo>
                  <a:lnTo>
                    <a:pt x="82563" y="108818"/>
                  </a:lnTo>
                  <a:lnTo>
                    <a:pt x="84537" y="111877"/>
                  </a:lnTo>
                  <a:lnTo>
                    <a:pt x="92431" y="111877"/>
                  </a:lnTo>
                  <a:lnTo>
                    <a:pt x="102299" y="105759"/>
                  </a:lnTo>
                  <a:lnTo>
                    <a:pt x="112167" y="102700"/>
                  </a:lnTo>
                  <a:lnTo>
                    <a:pt x="120062" y="95052"/>
                  </a:lnTo>
                  <a:lnTo>
                    <a:pt x="143696" y="91993"/>
                  </a:lnTo>
                  <a:lnTo>
                    <a:pt x="151492" y="91993"/>
                  </a:lnTo>
                  <a:lnTo>
                    <a:pt x="155488" y="87404"/>
                  </a:lnTo>
                  <a:lnTo>
                    <a:pt x="167280" y="81286"/>
                  </a:lnTo>
                  <a:lnTo>
                    <a:pt x="167280" y="78227"/>
                  </a:lnTo>
                  <a:lnTo>
                    <a:pt x="161360" y="78227"/>
                  </a:lnTo>
                  <a:lnTo>
                    <a:pt x="155488" y="69050"/>
                  </a:lnTo>
                  <a:lnTo>
                    <a:pt x="155488" y="64412"/>
                  </a:lnTo>
                  <a:lnTo>
                    <a:pt x="161360" y="62882"/>
                  </a:lnTo>
                  <a:lnTo>
                    <a:pt x="175126" y="62882"/>
                  </a:lnTo>
                  <a:lnTo>
                    <a:pt x="181046" y="64412"/>
                  </a:lnTo>
                  <a:lnTo>
                    <a:pt x="190914" y="65941"/>
                  </a:lnTo>
                  <a:lnTo>
                    <a:pt x="200783" y="64412"/>
                  </a:lnTo>
                  <a:lnTo>
                    <a:pt x="214549" y="62882"/>
                  </a:lnTo>
                  <a:lnTo>
                    <a:pt x="220519" y="58293"/>
                  </a:lnTo>
                  <a:lnTo>
                    <a:pt x="226390" y="56764"/>
                  </a:lnTo>
                  <a:lnTo>
                    <a:pt x="228364" y="52175"/>
                  </a:lnTo>
                  <a:lnTo>
                    <a:pt x="226390" y="47587"/>
                  </a:lnTo>
                  <a:lnTo>
                    <a:pt x="228364" y="41469"/>
                  </a:lnTo>
                  <a:lnTo>
                    <a:pt x="236209" y="38409"/>
                  </a:lnTo>
                  <a:lnTo>
                    <a:pt x="232311" y="33821"/>
                  </a:lnTo>
                  <a:lnTo>
                    <a:pt x="240156" y="29232"/>
                  </a:lnTo>
                  <a:lnTo>
                    <a:pt x="242130" y="30761"/>
                  </a:lnTo>
                  <a:lnTo>
                    <a:pt x="246077" y="30761"/>
                  </a:lnTo>
                  <a:lnTo>
                    <a:pt x="251948" y="21584"/>
                  </a:lnTo>
                  <a:lnTo>
                    <a:pt x="255945" y="20055"/>
                  </a:lnTo>
                  <a:lnTo>
                    <a:pt x="255945" y="15466"/>
                  </a:lnTo>
                  <a:lnTo>
                    <a:pt x="257870" y="10877"/>
                  </a:lnTo>
                  <a:lnTo>
                    <a:pt x="265715" y="6289"/>
                  </a:lnTo>
                  <a:lnTo>
                    <a:pt x="273609" y="3230"/>
                  </a:lnTo>
                  <a:lnTo>
                    <a:pt x="281503" y="3230"/>
                  </a:lnTo>
                  <a:lnTo>
                    <a:pt x="287375" y="6289"/>
                  </a:lnTo>
                  <a:lnTo>
                    <a:pt x="295269" y="170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Graphic 2">
              <a:extLst>
                <a:ext uri="{FF2B5EF4-FFF2-40B4-BE49-F238E27FC236}">
                  <a16:creationId xmlns:a16="http://schemas.microsoft.com/office/drawing/2014/main" id="{28CBC33A-8CAE-4043-B03F-33C927CEEAF3}"/>
                </a:ext>
              </a:extLst>
            </p:cNvPr>
            <p:cNvSpPr/>
            <p:nvPr/>
          </p:nvSpPr>
          <p:spPr>
            <a:xfrm>
              <a:off x="5712449" y="3675331"/>
              <a:ext cx="509047" cy="405348"/>
            </a:xfrm>
            <a:custGeom>
              <a:avLst/>
              <a:gdLst>
                <a:gd name="connsiteX0" fmla="*/ 526824 w 560309"/>
                <a:gd name="connsiteY0" fmla="*/ 446158 h 446184"/>
                <a:gd name="connsiteX1" fmla="*/ 526824 w 560309"/>
                <a:gd name="connsiteY1" fmla="*/ 435500 h 446184"/>
                <a:gd name="connsiteX2" fmla="*/ 560227 w 560309"/>
                <a:gd name="connsiteY2" fmla="*/ 432441 h 446184"/>
                <a:gd name="connsiteX3" fmla="*/ 546461 w 560309"/>
                <a:gd name="connsiteY3" fmla="*/ 124755 h 446184"/>
                <a:gd name="connsiteX4" fmla="*/ 542514 w 560309"/>
                <a:gd name="connsiteY4" fmla="*/ 109558 h 446184"/>
                <a:gd name="connsiteX5" fmla="*/ 538616 w 560309"/>
                <a:gd name="connsiteY5" fmla="*/ 101910 h 446184"/>
                <a:gd name="connsiteX6" fmla="*/ 542514 w 560309"/>
                <a:gd name="connsiteY6" fmla="*/ 91253 h 446184"/>
                <a:gd name="connsiteX7" fmla="*/ 546461 w 560309"/>
                <a:gd name="connsiteY7" fmla="*/ 82125 h 446184"/>
                <a:gd name="connsiteX8" fmla="*/ 546461 w 560309"/>
                <a:gd name="connsiteY8" fmla="*/ 72948 h 446184"/>
                <a:gd name="connsiteX9" fmla="*/ 544488 w 560309"/>
                <a:gd name="connsiteY9" fmla="*/ 65349 h 446184"/>
                <a:gd name="connsiteX10" fmla="*/ 546461 w 560309"/>
                <a:gd name="connsiteY10" fmla="*/ 53162 h 446184"/>
                <a:gd name="connsiteX11" fmla="*/ 548435 w 560309"/>
                <a:gd name="connsiteY11" fmla="*/ 48574 h 446184"/>
                <a:gd name="connsiteX12" fmla="*/ 546461 w 560309"/>
                <a:gd name="connsiteY12" fmla="*/ 39445 h 446184"/>
                <a:gd name="connsiteX13" fmla="*/ 540590 w 560309"/>
                <a:gd name="connsiteY13" fmla="*/ 33377 h 446184"/>
                <a:gd name="connsiteX14" fmla="*/ 526824 w 560309"/>
                <a:gd name="connsiteY14" fmla="*/ 33377 h 446184"/>
                <a:gd name="connsiteX15" fmla="*/ 503288 w 560309"/>
                <a:gd name="connsiteY15" fmla="*/ 31847 h 446184"/>
                <a:gd name="connsiteX16" fmla="*/ 499292 w 560309"/>
                <a:gd name="connsiteY16" fmla="*/ 28837 h 446184"/>
                <a:gd name="connsiteX17" fmla="*/ 487549 w 560309"/>
                <a:gd name="connsiteY17" fmla="*/ 27308 h 446184"/>
                <a:gd name="connsiteX18" fmla="*/ 475757 w 560309"/>
                <a:gd name="connsiteY18" fmla="*/ 24249 h 446184"/>
                <a:gd name="connsiteX19" fmla="*/ 473783 w 560309"/>
                <a:gd name="connsiteY19" fmla="*/ 19660 h 446184"/>
                <a:gd name="connsiteX20" fmla="*/ 475757 w 560309"/>
                <a:gd name="connsiteY20" fmla="*/ 18130 h 446184"/>
                <a:gd name="connsiteX21" fmla="*/ 475757 w 560309"/>
                <a:gd name="connsiteY21" fmla="*/ 15071 h 446184"/>
                <a:gd name="connsiteX22" fmla="*/ 460066 w 560309"/>
                <a:gd name="connsiteY22" fmla="*/ 9002 h 446184"/>
                <a:gd name="connsiteX23" fmla="*/ 452123 w 560309"/>
                <a:gd name="connsiteY23" fmla="*/ 9002 h 446184"/>
                <a:gd name="connsiteX24" fmla="*/ 440330 w 560309"/>
                <a:gd name="connsiteY24" fmla="*/ 5943 h 446184"/>
                <a:gd name="connsiteX25" fmla="*/ 436432 w 560309"/>
                <a:gd name="connsiteY25" fmla="*/ 4414 h 446184"/>
                <a:gd name="connsiteX26" fmla="*/ 432485 w 560309"/>
                <a:gd name="connsiteY26" fmla="*/ 7473 h 446184"/>
                <a:gd name="connsiteX27" fmla="*/ 424640 w 560309"/>
                <a:gd name="connsiteY27" fmla="*/ 4414 h 446184"/>
                <a:gd name="connsiteX28" fmla="*/ 420693 w 560309"/>
                <a:gd name="connsiteY28" fmla="*/ 4414 h 446184"/>
                <a:gd name="connsiteX29" fmla="*/ 410825 w 560309"/>
                <a:gd name="connsiteY29" fmla="*/ 9002 h 446184"/>
                <a:gd name="connsiteX30" fmla="*/ 395134 w 560309"/>
                <a:gd name="connsiteY30" fmla="*/ 10532 h 446184"/>
                <a:gd name="connsiteX31" fmla="*/ 377421 w 560309"/>
                <a:gd name="connsiteY31" fmla="*/ 16601 h 446184"/>
                <a:gd name="connsiteX32" fmla="*/ 369626 w 560309"/>
                <a:gd name="connsiteY32" fmla="*/ 24249 h 446184"/>
                <a:gd name="connsiteX33" fmla="*/ 367603 w 560309"/>
                <a:gd name="connsiteY33" fmla="*/ 31847 h 446184"/>
                <a:gd name="connsiteX34" fmla="*/ 363704 w 560309"/>
                <a:gd name="connsiteY34" fmla="*/ 34906 h 446184"/>
                <a:gd name="connsiteX35" fmla="*/ 361731 w 560309"/>
                <a:gd name="connsiteY35" fmla="*/ 51633 h 446184"/>
                <a:gd name="connsiteX36" fmla="*/ 367603 w 560309"/>
                <a:gd name="connsiteY36" fmla="*/ 59280 h 446184"/>
                <a:gd name="connsiteX37" fmla="*/ 371550 w 560309"/>
                <a:gd name="connsiteY37" fmla="*/ 71418 h 446184"/>
                <a:gd name="connsiteX38" fmla="*/ 369626 w 560309"/>
                <a:gd name="connsiteY38" fmla="*/ 79066 h 446184"/>
                <a:gd name="connsiteX39" fmla="*/ 361731 w 560309"/>
                <a:gd name="connsiteY39" fmla="*/ 86714 h 446184"/>
                <a:gd name="connsiteX40" fmla="*/ 357833 w 560309"/>
                <a:gd name="connsiteY40" fmla="*/ 89723 h 446184"/>
                <a:gd name="connsiteX41" fmla="*/ 346041 w 560309"/>
                <a:gd name="connsiteY41" fmla="*/ 98851 h 446184"/>
                <a:gd name="connsiteX42" fmla="*/ 338196 w 560309"/>
                <a:gd name="connsiteY42" fmla="*/ 101910 h 446184"/>
                <a:gd name="connsiteX43" fmla="*/ 322456 w 560309"/>
                <a:gd name="connsiteY43" fmla="*/ 95792 h 446184"/>
                <a:gd name="connsiteX44" fmla="*/ 308690 w 560309"/>
                <a:gd name="connsiteY44" fmla="*/ 86714 h 446184"/>
                <a:gd name="connsiteX45" fmla="*/ 298822 w 560309"/>
                <a:gd name="connsiteY45" fmla="*/ 79066 h 446184"/>
                <a:gd name="connsiteX46" fmla="*/ 281158 w 560309"/>
                <a:gd name="connsiteY46" fmla="*/ 71418 h 446184"/>
                <a:gd name="connsiteX47" fmla="*/ 253626 w 560309"/>
                <a:gd name="connsiteY47" fmla="*/ 62290 h 446184"/>
                <a:gd name="connsiteX48" fmla="*/ 243758 w 560309"/>
                <a:gd name="connsiteY48" fmla="*/ 60810 h 446184"/>
                <a:gd name="connsiteX49" fmla="*/ 239860 w 560309"/>
                <a:gd name="connsiteY49" fmla="*/ 62290 h 446184"/>
                <a:gd name="connsiteX50" fmla="*/ 226144 w 560309"/>
                <a:gd name="connsiteY50" fmla="*/ 62290 h 446184"/>
                <a:gd name="connsiteX51" fmla="*/ 212329 w 560309"/>
                <a:gd name="connsiteY51" fmla="*/ 57751 h 446184"/>
                <a:gd name="connsiteX52" fmla="*/ 202461 w 560309"/>
                <a:gd name="connsiteY52" fmla="*/ 38015 h 446184"/>
                <a:gd name="connsiteX53" fmla="*/ 202461 w 560309"/>
                <a:gd name="connsiteY53" fmla="*/ 30416 h 446184"/>
                <a:gd name="connsiteX54" fmla="*/ 194616 w 560309"/>
                <a:gd name="connsiteY54" fmla="*/ 18229 h 446184"/>
                <a:gd name="connsiteX55" fmla="*/ 171031 w 560309"/>
                <a:gd name="connsiteY55" fmla="*/ 15170 h 446184"/>
                <a:gd name="connsiteX56" fmla="*/ 159238 w 560309"/>
                <a:gd name="connsiteY56" fmla="*/ 9101 h 446184"/>
                <a:gd name="connsiteX57" fmla="*/ 137627 w 560309"/>
                <a:gd name="connsiteY57" fmla="*/ 9101 h 446184"/>
                <a:gd name="connsiteX58" fmla="*/ 127759 w 560309"/>
                <a:gd name="connsiteY58" fmla="*/ 6042 h 446184"/>
                <a:gd name="connsiteX59" fmla="*/ 102201 w 560309"/>
                <a:gd name="connsiteY59" fmla="*/ 9101 h 446184"/>
                <a:gd name="connsiteX60" fmla="*/ 82464 w 560309"/>
                <a:gd name="connsiteY60" fmla="*/ 6042 h 446184"/>
                <a:gd name="connsiteX61" fmla="*/ 76544 w 560309"/>
                <a:gd name="connsiteY61" fmla="*/ 1503 h 446184"/>
                <a:gd name="connsiteX62" fmla="*/ 68699 w 560309"/>
                <a:gd name="connsiteY62" fmla="*/ -27 h 446184"/>
                <a:gd name="connsiteX63" fmla="*/ 66676 w 560309"/>
                <a:gd name="connsiteY63" fmla="*/ 1503 h 446184"/>
                <a:gd name="connsiteX64" fmla="*/ 68699 w 560309"/>
                <a:gd name="connsiteY64" fmla="*/ 13640 h 446184"/>
                <a:gd name="connsiteX65" fmla="*/ 72596 w 560309"/>
                <a:gd name="connsiteY65" fmla="*/ 15170 h 446184"/>
                <a:gd name="connsiteX66" fmla="*/ 64751 w 560309"/>
                <a:gd name="connsiteY66" fmla="*/ 27406 h 446184"/>
                <a:gd name="connsiteX67" fmla="*/ 43140 w 560309"/>
                <a:gd name="connsiteY67" fmla="*/ 38015 h 446184"/>
                <a:gd name="connsiteX68" fmla="*/ 43140 w 560309"/>
                <a:gd name="connsiteY68" fmla="*/ 41074 h 446184"/>
                <a:gd name="connsiteX69" fmla="*/ 37269 w 560309"/>
                <a:gd name="connsiteY69" fmla="*/ 50202 h 446184"/>
                <a:gd name="connsiteX70" fmla="*/ 29374 w 560309"/>
                <a:gd name="connsiteY70" fmla="*/ 48672 h 446184"/>
                <a:gd name="connsiteX71" fmla="*/ 23503 w 560309"/>
                <a:gd name="connsiteY71" fmla="*/ 51731 h 446184"/>
                <a:gd name="connsiteX72" fmla="*/ 23503 w 560309"/>
                <a:gd name="connsiteY72" fmla="*/ 54790 h 446184"/>
                <a:gd name="connsiteX73" fmla="*/ 21529 w 560309"/>
                <a:gd name="connsiteY73" fmla="*/ 59379 h 446184"/>
                <a:gd name="connsiteX74" fmla="*/ 25477 w 560309"/>
                <a:gd name="connsiteY74" fmla="*/ 68507 h 446184"/>
                <a:gd name="connsiteX75" fmla="*/ 27450 w 560309"/>
                <a:gd name="connsiteY75" fmla="*/ 77635 h 446184"/>
                <a:gd name="connsiteX76" fmla="*/ 25477 w 560309"/>
                <a:gd name="connsiteY76" fmla="*/ 79165 h 446184"/>
                <a:gd name="connsiteX77" fmla="*/ 25477 w 560309"/>
                <a:gd name="connsiteY77" fmla="*/ 82224 h 446184"/>
                <a:gd name="connsiteX78" fmla="*/ 23503 w 560309"/>
                <a:gd name="connsiteY78" fmla="*/ 83753 h 446184"/>
                <a:gd name="connsiteX79" fmla="*/ 19556 w 560309"/>
                <a:gd name="connsiteY79" fmla="*/ 89822 h 446184"/>
                <a:gd name="connsiteX80" fmla="*/ 11711 w 560309"/>
                <a:gd name="connsiteY80" fmla="*/ 92881 h 446184"/>
                <a:gd name="connsiteX81" fmla="*/ 9737 w 560309"/>
                <a:gd name="connsiteY81" fmla="*/ 94411 h 446184"/>
                <a:gd name="connsiteX82" fmla="*/ 5839 w 560309"/>
                <a:gd name="connsiteY82" fmla="*/ 94411 h 446184"/>
                <a:gd name="connsiteX83" fmla="*/ 1892 w 560309"/>
                <a:gd name="connsiteY83" fmla="*/ 95891 h 446184"/>
                <a:gd name="connsiteX84" fmla="*/ 1892 w 560309"/>
                <a:gd name="connsiteY84" fmla="*/ 108127 h 446184"/>
                <a:gd name="connsiteX85" fmla="*/ 5839 w 560309"/>
                <a:gd name="connsiteY85" fmla="*/ 109657 h 446184"/>
                <a:gd name="connsiteX86" fmla="*/ 9737 w 560309"/>
                <a:gd name="connsiteY86" fmla="*/ 117255 h 446184"/>
                <a:gd name="connsiteX87" fmla="*/ 9737 w 560309"/>
                <a:gd name="connsiteY87" fmla="*/ 136991 h 446184"/>
                <a:gd name="connsiteX88" fmla="*/ 11711 w 560309"/>
                <a:gd name="connsiteY88" fmla="*/ 147649 h 446184"/>
                <a:gd name="connsiteX89" fmla="*/ 11711 w 560309"/>
                <a:gd name="connsiteY89" fmla="*/ 167385 h 446184"/>
                <a:gd name="connsiteX90" fmla="*/ 17631 w 560309"/>
                <a:gd name="connsiteY90" fmla="*/ 176513 h 446184"/>
                <a:gd name="connsiteX91" fmla="*/ 13684 w 560309"/>
                <a:gd name="connsiteY91" fmla="*/ 193289 h 446184"/>
                <a:gd name="connsiteX92" fmla="*/ 11711 w 560309"/>
                <a:gd name="connsiteY92" fmla="*/ 196299 h 446184"/>
                <a:gd name="connsiteX93" fmla="*/ 17631 w 560309"/>
                <a:gd name="connsiteY93" fmla="*/ 202417 h 446184"/>
                <a:gd name="connsiteX94" fmla="*/ 19556 w 560309"/>
                <a:gd name="connsiteY94" fmla="*/ 214604 h 446184"/>
                <a:gd name="connsiteX95" fmla="*/ 13684 w 560309"/>
                <a:gd name="connsiteY95" fmla="*/ 219192 h 446184"/>
                <a:gd name="connsiteX96" fmla="*/ 5839 w 560309"/>
                <a:gd name="connsiteY96" fmla="*/ 223732 h 446184"/>
                <a:gd name="connsiteX97" fmla="*/ 3866 w 560309"/>
                <a:gd name="connsiteY97" fmla="*/ 226791 h 446184"/>
                <a:gd name="connsiteX98" fmla="*/ -82 w 560309"/>
                <a:gd name="connsiteY98" fmla="*/ 228271 h 446184"/>
                <a:gd name="connsiteX99" fmla="*/ 5839 w 560309"/>
                <a:gd name="connsiteY99" fmla="*/ 234389 h 446184"/>
                <a:gd name="connsiteX100" fmla="*/ 13684 w 560309"/>
                <a:gd name="connsiteY100" fmla="*/ 243517 h 446184"/>
                <a:gd name="connsiteX101" fmla="*/ 21529 w 560309"/>
                <a:gd name="connsiteY101" fmla="*/ 255704 h 446184"/>
                <a:gd name="connsiteX102" fmla="*/ 23503 w 560309"/>
                <a:gd name="connsiteY102" fmla="*/ 257234 h 446184"/>
                <a:gd name="connsiteX103" fmla="*/ 25477 w 560309"/>
                <a:gd name="connsiteY103" fmla="*/ 266362 h 446184"/>
                <a:gd name="connsiteX104" fmla="*/ 25477 w 560309"/>
                <a:gd name="connsiteY104" fmla="*/ 277069 h 446184"/>
                <a:gd name="connsiteX105" fmla="*/ 29374 w 560309"/>
                <a:gd name="connsiteY105" fmla="*/ 281608 h 446184"/>
                <a:gd name="connsiteX106" fmla="*/ 31348 w 560309"/>
                <a:gd name="connsiteY106" fmla="*/ 289206 h 446184"/>
                <a:gd name="connsiteX107" fmla="*/ 35295 w 560309"/>
                <a:gd name="connsiteY107" fmla="*/ 292265 h 446184"/>
                <a:gd name="connsiteX108" fmla="*/ 62778 w 560309"/>
                <a:gd name="connsiteY108" fmla="*/ 292265 h 446184"/>
                <a:gd name="connsiteX109" fmla="*/ 68699 w 560309"/>
                <a:gd name="connsiteY109" fmla="*/ 295325 h 446184"/>
                <a:gd name="connsiteX110" fmla="*/ 72596 w 560309"/>
                <a:gd name="connsiteY110" fmla="*/ 302923 h 446184"/>
                <a:gd name="connsiteX111" fmla="*/ 80491 w 560309"/>
                <a:gd name="connsiteY111" fmla="*/ 315110 h 446184"/>
                <a:gd name="connsiteX112" fmla="*/ 86363 w 560309"/>
                <a:gd name="connsiteY112" fmla="*/ 318169 h 446184"/>
                <a:gd name="connsiteX113" fmla="*/ 90261 w 560309"/>
                <a:gd name="connsiteY113" fmla="*/ 322708 h 446184"/>
                <a:gd name="connsiteX114" fmla="*/ 94207 w 560309"/>
                <a:gd name="connsiteY114" fmla="*/ 325768 h 446184"/>
                <a:gd name="connsiteX115" fmla="*/ 157067 w 560309"/>
                <a:gd name="connsiteY115" fmla="*/ 341014 h 446184"/>
                <a:gd name="connsiteX116" fmla="*/ 162939 w 560309"/>
                <a:gd name="connsiteY116" fmla="*/ 345553 h 446184"/>
                <a:gd name="connsiteX117" fmla="*/ 235666 w 560309"/>
                <a:gd name="connsiteY117" fmla="*/ 319649 h 446184"/>
                <a:gd name="connsiteX118" fmla="*/ 526331 w 560309"/>
                <a:gd name="connsiteY118" fmla="*/ 446109 h 446184"/>
                <a:gd name="connsiteX119" fmla="*/ 526331 w 560309"/>
                <a:gd name="connsiteY119" fmla="*/ 446109 h 446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60309" h="446184">
                  <a:moveTo>
                    <a:pt x="526824" y="446158"/>
                  </a:moveTo>
                  <a:lnTo>
                    <a:pt x="526824" y="435500"/>
                  </a:lnTo>
                  <a:lnTo>
                    <a:pt x="560227" y="432441"/>
                  </a:lnTo>
                  <a:lnTo>
                    <a:pt x="546461" y="124755"/>
                  </a:lnTo>
                  <a:lnTo>
                    <a:pt x="542514" y="109558"/>
                  </a:lnTo>
                  <a:lnTo>
                    <a:pt x="538616" y="101910"/>
                  </a:lnTo>
                  <a:lnTo>
                    <a:pt x="542514" y="91253"/>
                  </a:lnTo>
                  <a:lnTo>
                    <a:pt x="546461" y="82125"/>
                  </a:lnTo>
                  <a:lnTo>
                    <a:pt x="546461" y="72948"/>
                  </a:lnTo>
                  <a:lnTo>
                    <a:pt x="544488" y="65349"/>
                  </a:lnTo>
                  <a:lnTo>
                    <a:pt x="546461" y="53162"/>
                  </a:lnTo>
                  <a:lnTo>
                    <a:pt x="548435" y="48574"/>
                  </a:lnTo>
                  <a:lnTo>
                    <a:pt x="546461" y="39445"/>
                  </a:lnTo>
                  <a:lnTo>
                    <a:pt x="540590" y="33377"/>
                  </a:lnTo>
                  <a:lnTo>
                    <a:pt x="526824" y="33377"/>
                  </a:lnTo>
                  <a:lnTo>
                    <a:pt x="503288" y="31847"/>
                  </a:lnTo>
                  <a:lnTo>
                    <a:pt x="499292" y="28837"/>
                  </a:lnTo>
                  <a:lnTo>
                    <a:pt x="487549" y="27308"/>
                  </a:lnTo>
                  <a:lnTo>
                    <a:pt x="475757" y="24249"/>
                  </a:lnTo>
                  <a:lnTo>
                    <a:pt x="473783" y="19660"/>
                  </a:lnTo>
                  <a:lnTo>
                    <a:pt x="475757" y="18130"/>
                  </a:lnTo>
                  <a:lnTo>
                    <a:pt x="475757" y="15071"/>
                  </a:lnTo>
                  <a:lnTo>
                    <a:pt x="460066" y="9002"/>
                  </a:lnTo>
                  <a:lnTo>
                    <a:pt x="452123" y="9002"/>
                  </a:lnTo>
                  <a:lnTo>
                    <a:pt x="440330" y="5943"/>
                  </a:lnTo>
                  <a:lnTo>
                    <a:pt x="436432" y="4414"/>
                  </a:lnTo>
                  <a:lnTo>
                    <a:pt x="432485" y="7473"/>
                  </a:lnTo>
                  <a:lnTo>
                    <a:pt x="424640" y="4414"/>
                  </a:lnTo>
                  <a:lnTo>
                    <a:pt x="420693" y="4414"/>
                  </a:lnTo>
                  <a:lnTo>
                    <a:pt x="410825" y="9002"/>
                  </a:lnTo>
                  <a:lnTo>
                    <a:pt x="395134" y="10532"/>
                  </a:lnTo>
                  <a:lnTo>
                    <a:pt x="377421" y="16601"/>
                  </a:lnTo>
                  <a:lnTo>
                    <a:pt x="369626" y="24249"/>
                  </a:lnTo>
                  <a:lnTo>
                    <a:pt x="367603" y="31847"/>
                  </a:lnTo>
                  <a:lnTo>
                    <a:pt x="363704" y="34906"/>
                  </a:lnTo>
                  <a:lnTo>
                    <a:pt x="361731" y="51633"/>
                  </a:lnTo>
                  <a:lnTo>
                    <a:pt x="367603" y="59280"/>
                  </a:lnTo>
                  <a:lnTo>
                    <a:pt x="371550" y="71418"/>
                  </a:lnTo>
                  <a:lnTo>
                    <a:pt x="369626" y="79066"/>
                  </a:lnTo>
                  <a:lnTo>
                    <a:pt x="361731" y="86714"/>
                  </a:lnTo>
                  <a:lnTo>
                    <a:pt x="357833" y="89723"/>
                  </a:lnTo>
                  <a:lnTo>
                    <a:pt x="346041" y="98851"/>
                  </a:lnTo>
                  <a:lnTo>
                    <a:pt x="338196" y="101910"/>
                  </a:lnTo>
                  <a:lnTo>
                    <a:pt x="322456" y="95792"/>
                  </a:lnTo>
                  <a:lnTo>
                    <a:pt x="308690" y="86714"/>
                  </a:lnTo>
                  <a:lnTo>
                    <a:pt x="298822" y="79066"/>
                  </a:lnTo>
                  <a:lnTo>
                    <a:pt x="281158" y="71418"/>
                  </a:lnTo>
                  <a:lnTo>
                    <a:pt x="253626" y="62290"/>
                  </a:lnTo>
                  <a:lnTo>
                    <a:pt x="243758" y="60810"/>
                  </a:lnTo>
                  <a:lnTo>
                    <a:pt x="239860" y="62290"/>
                  </a:lnTo>
                  <a:lnTo>
                    <a:pt x="226144" y="62290"/>
                  </a:lnTo>
                  <a:lnTo>
                    <a:pt x="212329" y="57751"/>
                  </a:lnTo>
                  <a:lnTo>
                    <a:pt x="202461" y="38015"/>
                  </a:lnTo>
                  <a:lnTo>
                    <a:pt x="202461" y="30416"/>
                  </a:lnTo>
                  <a:lnTo>
                    <a:pt x="194616" y="18229"/>
                  </a:lnTo>
                  <a:lnTo>
                    <a:pt x="171031" y="15170"/>
                  </a:lnTo>
                  <a:lnTo>
                    <a:pt x="159238" y="9101"/>
                  </a:lnTo>
                  <a:lnTo>
                    <a:pt x="137627" y="9101"/>
                  </a:lnTo>
                  <a:lnTo>
                    <a:pt x="127759" y="6042"/>
                  </a:lnTo>
                  <a:lnTo>
                    <a:pt x="102201" y="9101"/>
                  </a:lnTo>
                  <a:lnTo>
                    <a:pt x="82464" y="6042"/>
                  </a:lnTo>
                  <a:lnTo>
                    <a:pt x="76544" y="1503"/>
                  </a:lnTo>
                  <a:lnTo>
                    <a:pt x="68699" y="-27"/>
                  </a:lnTo>
                  <a:lnTo>
                    <a:pt x="66676" y="1503"/>
                  </a:lnTo>
                  <a:lnTo>
                    <a:pt x="68699" y="13640"/>
                  </a:lnTo>
                  <a:lnTo>
                    <a:pt x="72596" y="15170"/>
                  </a:lnTo>
                  <a:lnTo>
                    <a:pt x="64751" y="27406"/>
                  </a:lnTo>
                  <a:lnTo>
                    <a:pt x="43140" y="38015"/>
                  </a:lnTo>
                  <a:lnTo>
                    <a:pt x="43140" y="41074"/>
                  </a:lnTo>
                  <a:lnTo>
                    <a:pt x="37269" y="50202"/>
                  </a:lnTo>
                  <a:lnTo>
                    <a:pt x="29374" y="48672"/>
                  </a:lnTo>
                  <a:lnTo>
                    <a:pt x="23503" y="51731"/>
                  </a:lnTo>
                  <a:lnTo>
                    <a:pt x="23503" y="54790"/>
                  </a:lnTo>
                  <a:lnTo>
                    <a:pt x="21529" y="59379"/>
                  </a:lnTo>
                  <a:lnTo>
                    <a:pt x="25477" y="68507"/>
                  </a:lnTo>
                  <a:lnTo>
                    <a:pt x="27450" y="77635"/>
                  </a:lnTo>
                  <a:lnTo>
                    <a:pt x="25477" y="79165"/>
                  </a:lnTo>
                  <a:lnTo>
                    <a:pt x="25477" y="82224"/>
                  </a:lnTo>
                  <a:lnTo>
                    <a:pt x="23503" y="83753"/>
                  </a:lnTo>
                  <a:lnTo>
                    <a:pt x="19556" y="89822"/>
                  </a:lnTo>
                  <a:lnTo>
                    <a:pt x="11711" y="92881"/>
                  </a:lnTo>
                  <a:lnTo>
                    <a:pt x="9737" y="94411"/>
                  </a:lnTo>
                  <a:lnTo>
                    <a:pt x="5839" y="94411"/>
                  </a:lnTo>
                  <a:lnTo>
                    <a:pt x="1892" y="95891"/>
                  </a:lnTo>
                  <a:lnTo>
                    <a:pt x="1892" y="108127"/>
                  </a:lnTo>
                  <a:lnTo>
                    <a:pt x="5839" y="109657"/>
                  </a:lnTo>
                  <a:lnTo>
                    <a:pt x="9737" y="117255"/>
                  </a:lnTo>
                  <a:lnTo>
                    <a:pt x="9737" y="136991"/>
                  </a:lnTo>
                  <a:lnTo>
                    <a:pt x="11711" y="147649"/>
                  </a:lnTo>
                  <a:lnTo>
                    <a:pt x="11711" y="167385"/>
                  </a:lnTo>
                  <a:lnTo>
                    <a:pt x="17631" y="176513"/>
                  </a:lnTo>
                  <a:lnTo>
                    <a:pt x="13684" y="193289"/>
                  </a:lnTo>
                  <a:lnTo>
                    <a:pt x="11711" y="196299"/>
                  </a:lnTo>
                  <a:lnTo>
                    <a:pt x="17631" y="202417"/>
                  </a:lnTo>
                  <a:lnTo>
                    <a:pt x="19556" y="214604"/>
                  </a:lnTo>
                  <a:lnTo>
                    <a:pt x="13684" y="219192"/>
                  </a:lnTo>
                  <a:lnTo>
                    <a:pt x="5839" y="223732"/>
                  </a:lnTo>
                  <a:lnTo>
                    <a:pt x="3866" y="226791"/>
                  </a:lnTo>
                  <a:lnTo>
                    <a:pt x="-82" y="228271"/>
                  </a:lnTo>
                  <a:lnTo>
                    <a:pt x="5839" y="234389"/>
                  </a:lnTo>
                  <a:lnTo>
                    <a:pt x="13684" y="243517"/>
                  </a:lnTo>
                  <a:lnTo>
                    <a:pt x="21529" y="255704"/>
                  </a:lnTo>
                  <a:lnTo>
                    <a:pt x="23503" y="257234"/>
                  </a:lnTo>
                  <a:lnTo>
                    <a:pt x="25477" y="266362"/>
                  </a:lnTo>
                  <a:lnTo>
                    <a:pt x="25477" y="277069"/>
                  </a:lnTo>
                  <a:lnTo>
                    <a:pt x="29374" y="281608"/>
                  </a:lnTo>
                  <a:lnTo>
                    <a:pt x="31348" y="289206"/>
                  </a:lnTo>
                  <a:lnTo>
                    <a:pt x="35295" y="292265"/>
                  </a:lnTo>
                  <a:lnTo>
                    <a:pt x="62778" y="292265"/>
                  </a:lnTo>
                  <a:lnTo>
                    <a:pt x="68699" y="295325"/>
                  </a:lnTo>
                  <a:lnTo>
                    <a:pt x="72596" y="302923"/>
                  </a:lnTo>
                  <a:lnTo>
                    <a:pt x="80491" y="315110"/>
                  </a:lnTo>
                  <a:lnTo>
                    <a:pt x="86363" y="318169"/>
                  </a:lnTo>
                  <a:lnTo>
                    <a:pt x="90261" y="322708"/>
                  </a:lnTo>
                  <a:lnTo>
                    <a:pt x="94207" y="325768"/>
                  </a:lnTo>
                  <a:lnTo>
                    <a:pt x="157067" y="341014"/>
                  </a:lnTo>
                  <a:lnTo>
                    <a:pt x="162939" y="345553"/>
                  </a:lnTo>
                  <a:lnTo>
                    <a:pt x="235666" y="319649"/>
                  </a:lnTo>
                  <a:lnTo>
                    <a:pt x="526331" y="446109"/>
                  </a:lnTo>
                  <a:lnTo>
                    <a:pt x="526331" y="44610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Graphic 2">
              <a:extLst>
                <a:ext uri="{FF2B5EF4-FFF2-40B4-BE49-F238E27FC236}">
                  <a16:creationId xmlns:a16="http://schemas.microsoft.com/office/drawing/2014/main" id="{DC49ADA7-A146-4EE0-B800-F98B510D0F08}"/>
                </a:ext>
              </a:extLst>
            </p:cNvPr>
            <p:cNvSpPr/>
            <p:nvPr/>
          </p:nvSpPr>
          <p:spPr>
            <a:xfrm>
              <a:off x="5651755" y="3542875"/>
              <a:ext cx="128920" cy="217129"/>
            </a:xfrm>
            <a:custGeom>
              <a:avLst/>
              <a:gdLst>
                <a:gd name="connsiteX0" fmla="*/ 74866 w 141902"/>
                <a:gd name="connsiteY0" fmla="*/ 238978 h 239004"/>
                <a:gd name="connsiteX1" fmla="*/ 78813 w 141902"/>
                <a:gd name="connsiteY1" fmla="*/ 238978 h 239004"/>
                <a:gd name="connsiteX2" fmla="*/ 80786 w 141902"/>
                <a:gd name="connsiteY2" fmla="*/ 237448 h 239004"/>
                <a:gd name="connsiteX3" fmla="*/ 88632 w 141902"/>
                <a:gd name="connsiteY3" fmla="*/ 234389 h 239004"/>
                <a:gd name="connsiteX4" fmla="*/ 92579 w 141902"/>
                <a:gd name="connsiteY4" fmla="*/ 228369 h 239004"/>
                <a:gd name="connsiteX5" fmla="*/ 94553 w 141902"/>
                <a:gd name="connsiteY5" fmla="*/ 226840 h 239004"/>
                <a:gd name="connsiteX6" fmla="*/ 94553 w 141902"/>
                <a:gd name="connsiteY6" fmla="*/ 223830 h 239004"/>
                <a:gd name="connsiteX7" fmla="*/ 96526 w 141902"/>
                <a:gd name="connsiteY7" fmla="*/ 222301 h 239004"/>
                <a:gd name="connsiteX8" fmla="*/ 94553 w 141902"/>
                <a:gd name="connsiteY8" fmla="*/ 213222 h 239004"/>
                <a:gd name="connsiteX9" fmla="*/ 90605 w 141902"/>
                <a:gd name="connsiteY9" fmla="*/ 204193 h 239004"/>
                <a:gd name="connsiteX10" fmla="*/ 92579 w 141902"/>
                <a:gd name="connsiteY10" fmla="*/ 199654 h 239004"/>
                <a:gd name="connsiteX11" fmla="*/ 92579 w 141902"/>
                <a:gd name="connsiteY11" fmla="*/ 196644 h 239004"/>
                <a:gd name="connsiteX12" fmla="*/ 98500 w 141902"/>
                <a:gd name="connsiteY12" fmla="*/ 193634 h 239004"/>
                <a:gd name="connsiteX13" fmla="*/ 106345 w 141902"/>
                <a:gd name="connsiteY13" fmla="*/ 195114 h 239004"/>
                <a:gd name="connsiteX14" fmla="*/ 112266 w 141902"/>
                <a:gd name="connsiteY14" fmla="*/ 186036 h 239004"/>
                <a:gd name="connsiteX15" fmla="*/ 112266 w 141902"/>
                <a:gd name="connsiteY15" fmla="*/ 182878 h 239004"/>
                <a:gd name="connsiteX16" fmla="*/ 133926 w 141902"/>
                <a:gd name="connsiteY16" fmla="*/ 172319 h 239004"/>
                <a:gd name="connsiteX17" fmla="*/ 141820 w 141902"/>
                <a:gd name="connsiteY17" fmla="*/ 160230 h 239004"/>
                <a:gd name="connsiteX18" fmla="*/ 137874 w 141902"/>
                <a:gd name="connsiteY18" fmla="*/ 158701 h 239004"/>
                <a:gd name="connsiteX19" fmla="*/ 135949 w 141902"/>
                <a:gd name="connsiteY19" fmla="*/ 146613 h 239004"/>
                <a:gd name="connsiteX20" fmla="*/ 137874 w 141902"/>
                <a:gd name="connsiteY20" fmla="*/ 145083 h 239004"/>
                <a:gd name="connsiteX21" fmla="*/ 133926 w 141902"/>
                <a:gd name="connsiteY21" fmla="*/ 143554 h 239004"/>
                <a:gd name="connsiteX22" fmla="*/ 124058 w 141902"/>
                <a:gd name="connsiteY22" fmla="*/ 137534 h 239004"/>
                <a:gd name="connsiteX23" fmla="*/ 122084 w 141902"/>
                <a:gd name="connsiteY23" fmla="*/ 134524 h 239004"/>
                <a:gd name="connsiteX24" fmla="*/ 122084 w 141902"/>
                <a:gd name="connsiteY24" fmla="*/ 129985 h 239004"/>
                <a:gd name="connsiteX25" fmla="*/ 114190 w 141902"/>
                <a:gd name="connsiteY25" fmla="*/ 126975 h 239004"/>
                <a:gd name="connsiteX26" fmla="*/ 112216 w 141902"/>
                <a:gd name="connsiteY26" fmla="*/ 128455 h 239004"/>
                <a:gd name="connsiteX27" fmla="*/ 114190 w 141902"/>
                <a:gd name="connsiteY27" fmla="*/ 131465 h 239004"/>
                <a:gd name="connsiteX28" fmla="*/ 110292 w 141902"/>
                <a:gd name="connsiteY28" fmla="*/ 132995 h 239004"/>
                <a:gd name="connsiteX29" fmla="*/ 106296 w 141902"/>
                <a:gd name="connsiteY29" fmla="*/ 131465 h 239004"/>
                <a:gd name="connsiteX30" fmla="*/ 104322 w 141902"/>
                <a:gd name="connsiteY30" fmla="*/ 126975 h 239004"/>
                <a:gd name="connsiteX31" fmla="*/ 100424 w 141902"/>
                <a:gd name="connsiteY31" fmla="*/ 126975 h 239004"/>
                <a:gd name="connsiteX32" fmla="*/ 88583 w 141902"/>
                <a:gd name="connsiteY32" fmla="*/ 120906 h 239004"/>
                <a:gd name="connsiteX33" fmla="*/ 80737 w 141902"/>
                <a:gd name="connsiteY33" fmla="*/ 111828 h 239004"/>
                <a:gd name="connsiteX34" fmla="*/ 86609 w 141902"/>
                <a:gd name="connsiteY34" fmla="*/ 102749 h 239004"/>
                <a:gd name="connsiteX35" fmla="*/ 104322 w 141902"/>
                <a:gd name="connsiteY35" fmla="*/ 92190 h 239004"/>
                <a:gd name="connsiteX36" fmla="*/ 114190 w 141902"/>
                <a:gd name="connsiteY36" fmla="*/ 83112 h 239004"/>
                <a:gd name="connsiteX37" fmla="*/ 116164 w 141902"/>
                <a:gd name="connsiteY37" fmla="*/ 80102 h 239004"/>
                <a:gd name="connsiteX38" fmla="*/ 114190 w 141902"/>
                <a:gd name="connsiteY38" fmla="*/ 77043 h 239004"/>
                <a:gd name="connsiteX39" fmla="*/ 116164 w 141902"/>
                <a:gd name="connsiteY39" fmla="*/ 74033 h 239004"/>
                <a:gd name="connsiteX40" fmla="*/ 116164 w 141902"/>
                <a:gd name="connsiteY40" fmla="*/ 69494 h 239004"/>
                <a:gd name="connsiteX41" fmla="*/ 112216 w 141902"/>
                <a:gd name="connsiteY41" fmla="*/ 68013 h 239004"/>
                <a:gd name="connsiteX42" fmla="*/ 114190 w 141902"/>
                <a:gd name="connsiteY42" fmla="*/ 57405 h 239004"/>
                <a:gd name="connsiteX43" fmla="*/ 102348 w 141902"/>
                <a:gd name="connsiteY43" fmla="*/ 54396 h 239004"/>
                <a:gd name="connsiteX44" fmla="*/ 94503 w 141902"/>
                <a:gd name="connsiteY44" fmla="*/ 43837 h 239004"/>
                <a:gd name="connsiteX45" fmla="*/ 96477 w 141902"/>
                <a:gd name="connsiteY45" fmla="*/ 36238 h 239004"/>
                <a:gd name="connsiteX46" fmla="*/ 104322 w 141902"/>
                <a:gd name="connsiteY46" fmla="*/ 30169 h 239004"/>
                <a:gd name="connsiteX47" fmla="*/ 106296 w 141902"/>
                <a:gd name="connsiteY47" fmla="*/ 25680 h 239004"/>
                <a:gd name="connsiteX48" fmla="*/ 112216 w 141902"/>
                <a:gd name="connsiteY48" fmla="*/ 16601 h 239004"/>
                <a:gd name="connsiteX49" fmla="*/ 112216 w 141902"/>
                <a:gd name="connsiteY49" fmla="*/ 10581 h 239004"/>
                <a:gd name="connsiteX50" fmla="*/ 108319 w 141902"/>
                <a:gd name="connsiteY50" fmla="*/ 7522 h 239004"/>
                <a:gd name="connsiteX51" fmla="*/ 96477 w 141902"/>
                <a:gd name="connsiteY51" fmla="*/ 18081 h 239004"/>
                <a:gd name="connsiteX52" fmla="*/ 92529 w 141902"/>
                <a:gd name="connsiteY52" fmla="*/ 22670 h 239004"/>
                <a:gd name="connsiteX53" fmla="*/ 88583 w 141902"/>
                <a:gd name="connsiteY53" fmla="*/ 19610 h 239004"/>
                <a:gd name="connsiteX54" fmla="*/ 82711 w 141902"/>
                <a:gd name="connsiteY54" fmla="*/ 10581 h 239004"/>
                <a:gd name="connsiteX55" fmla="*/ 78764 w 141902"/>
                <a:gd name="connsiteY55" fmla="*/ 7522 h 239004"/>
                <a:gd name="connsiteX56" fmla="*/ 78764 w 141902"/>
                <a:gd name="connsiteY56" fmla="*/ 2983 h 239004"/>
                <a:gd name="connsiteX57" fmla="*/ 74816 w 141902"/>
                <a:gd name="connsiteY57" fmla="*/ -27 h 239004"/>
                <a:gd name="connsiteX58" fmla="*/ 66922 w 141902"/>
                <a:gd name="connsiteY58" fmla="*/ 1503 h 239004"/>
                <a:gd name="connsiteX59" fmla="*/ 66922 w 141902"/>
                <a:gd name="connsiteY59" fmla="*/ 4512 h 239004"/>
                <a:gd name="connsiteX60" fmla="*/ 62975 w 141902"/>
                <a:gd name="connsiteY60" fmla="*/ -27 h 239004"/>
                <a:gd name="connsiteX61" fmla="*/ 55130 w 141902"/>
                <a:gd name="connsiteY61" fmla="*/ 1503 h 239004"/>
                <a:gd name="connsiteX62" fmla="*/ 41314 w 141902"/>
                <a:gd name="connsiteY62" fmla="*/ 7522 h 239004"/>
                <a:gd name="connsiteX63" fmla="*/ 31446 w 141902"/>
                <a:gd name="connsiteY63" fmla="*/ 15071 h 239004"/>
                <a:gd name="connsiteX64" fmla="*/ 31446 w 141902"/>
                <a:gd name="connsiteY64" fmla="*/ 15071 h 239004"/>
                <a:gd name="connsiteX65" fmla="*/ 31446 w 141902"/>
                <a:gd name="connsiteY65" fmla="*/ 42307 h 239004"/>
                <a:gd name="connsiteX66" fmla="*/ 25526 w 141902"/>
                <a:gd name="connsiteY66" fmla="*/ 56073 h 239004"/>
                <a:gd name="connsiteX67" fmla="*/ 27499 w 141902"/>
                <a:gd name="connsiteY67" fmla="*/ 65102 h 239004"/>
                <a:gd name="connsiteX68" fmla="*/ 31397 w 141902"/>
                <a:gd name="connsiteY68" fmla="*/ 69642 h 239004"/>
                <a:gd name="connsiteX69" fmla="*/ 31397 w 141902"/>
                <a:gd name="connsiteY69" fmla="*/ 71171 h 239004"/>
                <a:gd name="connsiteX70" fmla="*/ 29473 w 141902"/>
                <a:gd name="connsiteY70" fmla="*/ 72651 h 239004"/>
                <a:gd name="connsiteX71" fmla="*/ 25526 w 141902"/>
                <a:gd name="connsiteY71" fmla="*/ 77191 h 239004"/>
                <a:gd name="connsiteX72" fmla="*/ 31397 w 141902"/>
                <a:gd name="connsiteY72" fmla="*/ 81730 h 239004"/>
                <a:gd name="connsiteX73" fmla="*/ 27499 w 141902"/>
                <a:gd name="connsiteY73" fmla="*/ 84740 h 239004"/>
                <a:gd name="connsiteX74" fmla="*/ 25526 w 141902"/>
                <a:gd name="connsiteY74" fmla="*/ 96828 h 239004"/>
                <a:gd name="connsiteX75" fmla="*/ 21578 w 141902"/>
                <a:gd name="connsiteY75" fmla="*/ 98358 h 239004"/>
                <a:gd name="connsiteX76" fmla="*/ 17631 w 141902"/>
                <a:gd name="connsiteY76" fmla="*/ 102897 h 239004"/>
                <a:gd name="connsiteX77" fmla="*/ 11759 w 141902"/>
                <a:gd name="connsiteY77" fmla="*/ 102897 h 239004"/>
                <a:gd name="connsiteX78" fmla="*/ 3865 w 141902"/>
                <a:gd name="connsiteY78" fmla="*/ 111976 h 239004"/>
                <a:gd name="connsiteX79" fmla="*/ -82 w 141902"/>
                <a:gd name="connsiteY79" fmla="*/ 127123 h 239004"/>
                <a:gd name="connsiteX80" fmla="*/ 1891 w 141902"/>
                <a:gd name="connsiteY80" fmla="*/ 128603 h 239004"/>
                <a:gd name="connsiteX81" fmla="*/ 5789 w 141902"/>
                <a:gd name="connsiteY81" fmla="*/ 136202 h 239004"/>
                <a:gd name="connsiteX82" fmla="*/ 3865 w 141902"/>
                <a:gd name="connsiteY82" fmla="*/ 139212 h 239004"/>
                <a:gd name="connsiteX83" fmla="*/ 7763 w 141902"/>
                <a:gd name="connsiteY83" fmla="*/ 145231 h 239004"/>
                <a:gd name="connsiteX84" fmla="*/ 11759 w 141902"/>
                <a:gd name="connsiteY84" fmla="*/ 146761 h 239004"/>
                <a:gd name="connsiteX85" fmla="*/ 23552 w 141902"/>
                <a:gd name="connsiteY85" fmla="*/ 154310 h 239004"/>
                <a:gd name="connsiteX86" fmla="*/ 25526 w 141902"/>
                <a:gd name="connsiteY86" fmla="*/ 160379 h 239004"/>
                <a:gd name="connsiteX87" fmla="*/ 33370 w 141902"/>
                <a:gd name="connsiteY87" fmla="*/ 163388 h 239004"/>
                <a:gd name="connsiteX88" fmla="*/ 37318 w 141902"/>
                <a:gd name="connsiteY88" fmla="*/ 167878 h 239004"/>
                <a:gd name="connsiteX89" fmla="*/ 43239 w 141902"/>
                <a:gd name="connsiteY89" fmla="*/ 169408 h 239004"/>
                <a:gd name="connsiteX90" fmla="*/ 53107 w 141902"/>
                <a:gd name="connsiteY90" fmla="*/ 176957 h 239004"/>
                <a:gd name="connsiteX91" fmla="*/ 74767 w 141902"/>
                <a:gd name="connsiteY91" fmla="*/ 238978 h 239004"/>
                <a:gd name="connsiteX92" fmla="*/ 106345 w 141902"/>
                <a:gd name="connsiteY92" fmla="*/ 122535 h 239004"/>
                <a:gd name="connsiteX93" fmla="*/ 108368 w 141902"/>
                <a:gd name="connsiteY93" fmla="*/ 121054 h 239004"/>
                <a:gd name="connsiteX94" fmla="*/ 114338 w 141902"/>
                <a:gd name="connsiteY94" fmla="*/ 121054 h 239004"/>
                <a:gd name="connsiteX95" fmla="*/ 116312 w 141902"/>
                <a:gd name="connsiteY95" fmla="*/ 122535 h 239004"/>
                <a:gd name="connsiteX96" fmla="*/ 112364 w 141902"/>
                <a:gd name="connsiteY96" fmla="*/ 127123 h 23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41902" h="239004">
                  <a:moveTo>
                    <a:pt x="74866" y="238978"/>
                  </a:moveTo>
                  <a:lnTo>
                    <a:pt x="78813" y="238978"/>
                  </a:lnTo>
                  <a:lnTo>
                    <a:pt x="80786" y="237448"/>
                  </a:lnTo>
                  <a:lnTo>
                    <a:pt x="88632" y="234389"/>
                  </a:lnTo>
                  <a:lnTo>
                    <a:pt x="92579" y="228369"/>
                  </a:lnTo>
                  <a:lnTo>
                    <a:pt x="94553" y="226840"/>
                  </a:lnTo>
                  <a:lnTo>
                    <a:pt x="94553" y="223830"/>
                  </a:lnTo>
                  <a:lnTo>
                    <a:pt x="96526" y="222301"/>
                  </a:lnTo>
                  <a:lnTo>
                    <a:pt x="94553" y="213222"/>
                  </a:lnTo>
                  <a:lnTo>
                    <a:pt x="90605" y="204193"/>
                  </a:lnTo>
                  <a:lnTo>
                    <a:pt x="92579" y="199654"/>
                  </a:lnTo>
                  <a:lnTo>
                    <a:pt x="92579" y="196644"/>
                  </a:lnTo>
                  <a:lnTo>
                    <a:pt x="98500" y="193634"/>
                  </a:lnTo>
                  <a:lnTo>
                    <a:pt x="106345" y="195114"/>
                  </a:lnTo>
                  <a:lnTo>
                    <a:pt x="112266" y="186036"/>
                  </a:lnTo>
                  <a:lnTo>
                    <a:pt x="112266" y="182878"/>
                  </a:lnTo>
                  <a:lnTo>
                    <a:pt x="133926" y="172319"/>
                  </a:lnTo>
                  <a:lnTo>
                    <a:pt x="141820" y="160230"/>
                  </a:lnTo>
                  <a:lnTo>
                    <a:pt x="137874" y="158701"/>
                  </a:lnTo>
                  <a:lnTo>
                    <a:pt x="135949" y="146613"/>
                  </a:lnTo>
                  <a:lnTo>
                    <a:pt x="137874" y="145083"/>
                  </a:lnTo>
                  <a:lnTo>
                    <a:pt x="133926" y="143554"/>
                  </a:lnTo>
                  <a:lnTo>
                    <a:pt x="124058" y="137534"/>
                  </a:lnTo>
                  <a:lnTo>
                    <a:pt x="122084" y="134524"/>
                  </a:lnTo>
                  <a:lnTo>
                    <a:pt x="122084" y="129985"/>
                  </a:lnTo>
                  <a:lnTo>
                    <a:pt x="114190" y="126975"/>
                  </a:lnTo>
                  <a:lnTo>
                    <a:pt x="112216" y="128455"/>
                  </a:lnTo>
                  <a:lnTo>
                    <a:pt x="114190" y="131465"/>
                  </a:lnTo>
                  <a:lnTo>
                    <a:pt x="110292" y="132995"/>
                  </a:lnTo>
                  <a:lnTo>
                    <a:pt x="106296" y="131465"/>
                  </a:lnTo>
                  <a:lnTo>
                    <a:pt x="104322" y="126975"/>
                  </a:lnTo>
                  <a:lnTo>
                    <a:pt x="100424" y="126975"/>
                  </a:lnTo>
                  <a:lnTo>
                    <a:pt x="88583" y="120906"/>
                  </a:lnTo>
                  <a:lnTo>
                    <a:pt x="80737" y="111828"/>
                  </a:lnTo>
                  <a:lnTo>
                    <a:pt x="86609" y="102749"/>
                  </a:lnTo>
                  <a:lnTo>
                    <a:pt x="104322" y="92190"/>
                  </a:lnTo>
                  <a:lnTo>
                    <a:pt x="114190" y="83112"/>
                  </a:lnTo>
                  <a:lnTo>
                    <a:pt x="116164" y="80102"/>
                  </a:lnTo>
                  <a:lnTo>
                    <a:pt x="114190" y="77043"/>
                  </a:lnTo>
                  <a:lnTo>
                    <a:pt x="116164" y="74033"/>
                  </a:lnTo>
                  <a:lnTo>
                    <a:pt x="116164" y="69494"/>
                  </a:lnTo>
                  <a:lnTo>
                    <a:pt x="112216" y="68013"/>
                  </a:lnTo>
                  <a:lnTo>
                    <a:pt x="114190" y="57405"/>
                  </a:lnTo>
                  <a:lnTo>
                    <a:pt x="102348" y="54396"/>
                  </a:lnTo>
                  <a:lnTo>
                    <a:pt x="94503" y="43837"/>
                  </a:lnTo>
                  <a:lnTo>
                    <a:pt x="96477" y="36238"/>
                  </a:lnTo>
                  <a:lnTo>
                    <a:pt x="104322" y="30169"/>
                  </a:lnTo>
                  <a:lnTo>
                    <a:pt x="106296" y="25680"/>
                  </a:lnTo>
                  <a:lnTo>
                    <a:pt x="112216" y="16601"/>
                  </a:lnTo>
                  <a:lnTo>
                    <a:pt x="112216" y="10581"/>
                  </a:lnTo>
                  <a:lnTo>
                    <a:pt x="108319" y="7522"/>
                  </a:lnTo>
                  <a:lnTo>
                    <a:pt x="96477" y="18081"/>
                  </a:lnTo>
                  <a:lnTo>
                    <a:pt x="92529" y="22670"/>
                  </a:lnTo>
                  <a:lnTo>
                    <a:pt x="88583" y="19610"/>
                  </a:lnTo>
                  <a:lnTo>
                    <a:pt x="82711" y="10581"/>
                  </a:lnTo>
                  <a:lnTo>
                    <a:pt x="78764" y="7522"/>
                  </a:lnTo>
                  <a:lnTo>
                    <a:pt x="78764" y="2983"/>
                  </a:lnTo>
                  <a:lnTo>
                    <a:pt x="74816" y="-27"/>
                  </a:lnTo>
                  <a:lnTo>
                    <a:pt x="66922" y="1503"/>
                  </a:lnTo>
                  <a:lnTo>
                    <a:pt x="66922" y="4512"/>
                  </a:lnTo>
                  <a:lnTo>
                    <a:pt x="62975" y="-27"/>
                  </a:lnTo>
                  <a:lnTo>
                    <a:pt x="55130" y="1503"/>
                  </a:lnTo>
                  <a:lnTo>
                    <a:pt x="41314" y="7522"/>
                  </a:lnTo>
                  <a:lnTo>
                    <a:pt x="31446" y="15071"/>
                  </a:lnTo>
                  <a:lnTo>
                    <a:pt x="31446" y="15071"/>
                  </a:lnTo>
                  <a:lnTo>
                    <a:pt x="31446" y="42307"/>
                  </a:lnTo>
                  <a:lnTo>
                    <a:pt x="25526" y="56073"/>
                  </a:lnTo>
                  <a:lnTo>
                    <a:pt x="27499" y="65102"/>
                  </a:lnTo>
                  <a:lnTo>
                    <a:pt x="31397" y="69642"/>
                  </a:lnTo>
                  <a:lnTo>
                    <a:pt x="31397" y="71171"/>
                  </a:lnTo>
                  <a:lnTo>
                    <a:pt x="29473" y="72651"/>
                  </a:lnTo>
                  <a:lnTo>
                    <a:pt x="25526" y="77191"/>
                  </a:lnTo>
                  <a:lnTo>
                    <a:pt x="31397" y="81730"/>
                  </a:lnTo>
                  <a:lnTo>
                    <a:pt x="27499" y="84740"/>
                  </a:lnTo>
                  <a:lnTo>
                    <a:pt x="25526" y="96828"/>
                  </a:lnTo>
                  <a:lnTo>
                    <a:pt x="21578" y="98358"/>
                  </a:lnTo>
                  <a:lnTo>
                    <a:pt x="17631" y="102897"/>
                  </a:lnTo>
                  <a:lnTo>
                    <a:pt x="11759" y="102897"/>
                  </a:lnTo>
                  <a:lnTo>
                    <a:pt x="3865" y="111976"/>
                  </a:lnTo>
                  <a:lnTo>
                    <a:pt x="-82" y="127123"/>
                  </a:lnTo>
                  <a:lnTo>
                    <a:pt x="1891" y="128603"/>
                  </a:lnTo>
                  <a:lnTo>
                    <a:pt x="5789" y="136202"/>
                  </a:lnTo>
                  <a:lnTo>
                    <a:pt x="3865" y="139212"/>
                  </a:lnTo>
                  <a:lnTo>
                    <a:pt x="7763" y="145231"/>
                  </a:lnTo>
                  <a:lnTo>
                    <a:pt x="11759" y="146761"/>
                  </a:lnTo>
                  <a:lnTo>
                    <a:pt x="23552" y="154310"/>
                  </a:lnTo>
                  <a:lnTo>
                    <a:pt x="25526" y="160379"/>
                  </a:lnTo>
                  <a:lnTo>
                    <a:pt x="33370" y="163388"/>
                  </a:lnTo>
                  <a:lnTo>
                    <a:pt x="37318" y="167878"/>
                  </a:lnTo>
                  <a:lnTo>
                    <a:pt x="43239" y="169408"/>
                  </a:lnTo>
                  <a:lnTo>
                    <a:pt x="53107" y="176957"/>
                  </a:lnTo>
                  <a:lnTo>
                    <a:pt x="74767" y="238978"/>
                  </a:lnTo>
                  <a:close/>
                  <a:moveTo>
                    <a:pt x="106345" y="122535"/>
                  </a:moveTo>
                  <a:lnTo>
                    <a:pt x="108368" y="121054"/>
                  </a:lnTo>
                  <a:lnTo>
                    <a:pt x="114338" y="121054"/>
                  </a:lnTo>
                  <a:lnTo>
                    <a:pt x="116312" y="122535"/>
                  </a:lnTo>
                  <a:lnTo>
                    <a:pt x="112364" y="12712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Graphic 2">
              <a:extLst>
                <a:ext uri="{FF2B5EF4-FFF2-40B4-BE49-F238E27FC236}">
                  <a16:creationId xmlns:a16="http://schemas.microsoft.com/office/drawing/2014/main" id="{5871D62F-5E28-41EA-9C39-4B5EED501523}"/>
                </a:ext>
              </a:extLst>
            </p:cNvPr>
            <p:cNvSpPr/>
            <p:nvPr/>
          </p:nvSpPr>
          <p:spPr>
            <a:xfrm>
              <a:off x="5140061" y="3549732"/>
              <a:ext cx="657647" cy="545919"/>
            </a:xfrm>
            <a:custGeom>
              <a:avLst/>
              <a:gdLst>
                <a:gd name="connsiteX0" fmla="*/ 723741 w 723872"/>
                <a:gd name="connsiteY0" fmla="*/ 462786 h 600915"/>
                <a:gd name="connsiteX1" fmla="*/ 719843 w 723872"/>
                <a:gd name="connsiteY1" fmla="*/ 459776 h 600915"/>
                <a:gd name="connsiteX2" fmla="*/ 715896 w 723872"/>
                <a:gd name="connsiteY2" fmla="*/ 455187 h 600915"/>
                <a:gd name="connsiteX3" fmla="*/ 710024 w 723872"/>
                <a:gd name="connsiteY3" fmla="*/ 452177 h 600915"/>
                <a:gd name="connsiteX4" fmla="*/ 702179 w 723872"/>
                <a:gd name="connsiteY4" fmla="*/ 440040 h 600915"/>
                <a:gd name="connsiteX5" fmla="*/ 698281 w 723872"/>
                <a:gd name="connsiteY5" fmla="*/ 432441 h 600915"/>
                <a:gd name="connsiteX6" fmla="*/ 692360 w 723872"/>
                <a:gd name="connsiteY6" fmla="*/ 429431 h 600915"/>
                <a:gd name="connsiteX7" fmla="*/ 664878 w 723872"/>
                <a:gd name="connsiteY7" fmla="*/ 429431 h 600915"/>
                <a:gd name="connsiteX8" fmla="*/ 660980 w 723872"/>
                <a:gd name="connsiteY8" fmla="*/ 426372 h 600915"/>
                <a:gd name="connsiteX9" fmla="*/ 659006 w 723872"/>
                <a:gd name="connsiteY9" fmla="*/ 418774 h 600915"/>
                <a:gd name="connsiteX10" fmla="*/ 655059 w 723872"/>
                <a:gd name="connsiteY10" fmla="*/ 414234 h 600915"/>
                <a:gd name="connsiteX11" fmla="*/ 655059 w 723872"/>
                <a:gd name="connsiteY11" fmla="*/ 403626 h 600915"/>
                <a:gd name="connsiteX12" fmla="*/ 653086 w 723872"/>
                <a:gd name="connsiteY12" fmla="*/ 394548 h 600915"/>
                <a:gd name="connsiteX13" fmla="*/ 651161 w 723872"/>
                <a:gd name="connsiteY13" fmla="*/ 393018 h 600915"/>
                <a:gd name="connsiteX14" fmla="*/ 643267 w 723872"/>
                <a:gd name="connsiteY14" fmla="*/ 380880 h 600915"/>
                <a:gd name="connsiteX15" fmla="*/ 635471 w 723872"/>
                <a:gd name="connsiteY15" fmla="*/ 371753 h 600915"/>
                <a:gd name="connsiteX16" fmla="*/ 629550 w 723872"/>
                <a:gd name="connsiteY16" fmla="*/ 365684 h 600915"/>
                <a:gd name="connsiteX17" fmla="*/ 633497 w 723872"/>
                <a:gd name="connsiteY17" fmla="*/ 364204 h 600915"/>
                <a:gd name="connsiteX18" fmla="*/ 635471 w 723872"/>
                <a:gd name="connsiteY18" fmla="*/ 361144 h 600915"/>
                <a:gd name="connsiteX19" fmla="*/ 643267 w 723872"/>
                <a:gd name="connsiteY19" fmla="*/ 356556 h 600915"/>
                <a:gd name="connsiteX20" fmla="*/ 649188 w 723872"/>
                <a:gd name="connsiteY20" fmla="*/ 352016 h 600915"/>
                <a:gd name="connsiteX21" fmla="*/ 647263 w 723872"/>
                <a:gd name="connsiteY21" fmla="*/ 339879 h 600915"/>
                <a:gd name="connsiteX22" fmla="*/ 641343 w 723872"/>
                <a:gd name="connsiteY22" fmla="*/ 333810 h 600915"/>
                <a:gd name="connsiteX23" fmla="*/ 643267 w 723872"/>
                <a:gd name="connsiteY23" fmla="*/ 330800 h 600915"/>
                <a:gd name="connsiteX24" fmla="*/ 647263 w 723872"/>
                <a:gd name="connsiteY24" fmla="*/ 314123 h 600915"/>
                <a:gd name="connsiteX25" fmla="*/ 641343 w 723872"/>
                <a:gd name="connsiteY25" fmla="*/ 304995 h 600915"/>
                <a:gd name="connsiteX26" fmla="*/ 641343 w 723872"/>
                <a:gd name="connsiteY26" fmla="*/ 285259 h 600915"/>
                <a:gd name="connsiteX27" fmla="*/ 639369 w 723872"/>
                <a:gd name="connsiteY27" fmla="*/ 274651 h 600915"/>
                <a:gd name="connsiteX28" fmla="*/ 639369 w 723872"/>
                <a:gd name="connsiteY28" fmla="*/ 254915 h 600915"/>
                <a:gd name="connsiteX29" fmla="*/ 635471 w 723872"/>
                <a:gd name="connsiteY29" fmla="*/ 247365 h 600915"/>
                <a:gd name="connsiteX30" fmla="*/ 631524 w 723872"/>
                <a:gd name="connsiteY30" fmla="*/ 245836 h 600915"/>
                <a:gd name="connsiteX31" fmla="*/ 631524 w 723872"/>
                <a:gd name="connsiteY31" fmla="*/ 233698 h 600915"/>
                <a:gd name="connsiteX32" fmla="*/ 635471 w 723872"/>
                <a:gd name="connsiteY32" fmla="*/ 232169 h 600915"/>
                <a:gd name="connsiteX33" fmla="*/ 613860 w 723872"/>
                <a:gd name="connsiteY33" fmla="*/ 170000 h 600915"/>
                <a:gd name="connsiteX34" fmla="*/ 603992 w 723872"/>
                <a:gd name="connsiteY34" fmla="*/ 162352 h 600915"/>
                <a:gd name="connsiteX35" fmla="*/ 598071 w 723872"/>
                <a:gd name="connsiteY35" fmla="*/ 160872 h 600915"/>
                <a:gd name="connsiteX36" fmla="*/ 594173 w 723872"/>
                <a:gd name="connsiteY36" fmla="*/ 156333 h 600915"/>
                <a:gd name="connsiteX37" fmla="*/ 586328 w 723872"/>
                <a:gd name="connsiteY37" fmla="*/ 153274 h 600915"/>
                <a:gd name="connsiteX38" fmla="*/ 584354 w 723872"/>
                <a:gd name="connsiteY38" fmla="*/ 147205 h 600915"/>
                <a:gd name="connsiteX39" fmla="*/ 572562 w 723872"/>
                <a:gd name="connsiteY39" fmla="*/ 139606 h 600915"/>
                <a:gd name="connsiteX40" fmla="*/ 568664 w 723872"/>
                <a:gd name="connsiteY40" fmla="*/ 138126 h 600915"/>
                <a:gd name="connsiteX41" fmla="*/ 564717 w 723872"/>
                <a:gd name="connsiteY41" fmla="*/ 132008 h 600915"/>
                <a:gd name="connsiteX42" fmla="*/ 566691 w 723872"/>
                <a:gd name="connsiteY42" fmla="*/ 128998 h 600915"/>
                <a:gd name="connsiteX43" fmla="*/ 562793 w 723872"/>
                <a:gd name="connsiteY43" fmla="*/ 121449 h 600915"/>
                <a:gd name="connsiteX44" fmla="*/ 560770 w 723872"/>
                <a:gd name="connsiteY44" fmla="*/ 119919 h 600915"/>
                <a:gd name="connsiteX45" fmla="*/ 564717 w 723872"/>
                <a:gd name="connsiteY45" fmla="*/ 104723 h 600915"/>
                <a:gd name="connsiteX46" fmla="*/ 572562 w 723872"/>
                <a:gd name="connsiteY46" fmla="*/ 95595 h 600915"/>
                <a:gd name="connsiteX47" fmla="*/ 578434 w 723872"/>
                <a:gd name="connsiteY47" fmla="*/ 95595 h 600915"/>
                <a:gd name="connsiteX48" fmla="*/ 582381 w 723872"/>
                <a:gd name="connsiteY48" fmla="*/ 91055 h 600915"/>
                <a:gd name="connsiteX49" fmla="*/ 586328 w 723872"/>
                <a:gd name="connsiteY49" fmla="*/ 89575 h 600915"/>
                <a:gd name="connsiteX50" fmla="*/ 588252 w 723872"/>
                <a:gd name="connsiteY50" fmla="*/ 77388 h 600915"/>
                <a:gd name="connsiteX51" fmla="*/ 592199 w 723872"/>
                <a:gd name="connsiteY51" fmla="*/ 74378 h 600915"/>
                <a:gd name="connsiteX52" fmla="*/ 586328 w 723872"/>
                <a:gd name="connsiteY52" fmla="*/ 69790 h 600915"/>
                <a:gd name="connsiteX53" fmla="*/ 590226 w 723872"/>
                <a:gd name="connsiteY53" fmla="*/ 65250 h 600915"/>
                <a:gd name="connsiteX54" fmla="*/ 592199 w 723872"/>
                <a:gd name="connsiteY54" fmla="*/ 63770 h 600915"/>
                <a:gd name="connsiteX55" fmla="*/ 592199 w 723872"/>
                <a:gd name="connsiteY55" fmla="*/ 62241 h 600915"/>
                <a:gd name="connsiteX56" fmla="*/ 588252 w 723872"/>
                <a:gd name="connsiteY56" fmla="*/ 57701 h 600915"/>
                <a:gd name="connsiteX57" fmla="*/ 586328 w 723872"/>
                <a:gd name="connsiteY57" fmla="*/ 48573 h 600915"/>
                <a:gd name="connsiteX58" fmla="*/ 592199 w 723872"/>
                <a:gd name="connsiteY58" fmla="*/ 34906 h 600915"/>
                <a:gd name="connsiteX59" fmla="*/ 592199 w 723872"/>
                <a:gd name="connsiteY59" fmla="*/ 7571 h 600915"/>
                <a:gd name="connsiteX60" fmla="*/ 590226 w 723872"/>
                <a:gd name="connsiteY60" fmla="*/ 6042 h 600915"/>
                <a:gd name="connsiteX61" fmla="*/ 580358 w 723872"/>
                <a:gd name="connsiteY61" fmla="*/ 7571 h 600915"/>
                <a:gd name="connsiteX62" fmla="*/ 574486 w 723872"/>
                <a:gd name="connsiteY62" fmla="*/ 6042 h 600915"/>
                <a:gd name="connsiteX63" fmla="*/ 558796 w 723872"/>
                <a:gd name="connsiteY63" fmla="*/ 10630 h 600915"/>
                <a:gd name="connsiteX64" fmla="*/ 552925 w 723872"/>
                <a:gd name="connsiteY64" fmla="*/ 4512 h 600915"/>
                <a:gd name="connsiteX65" fmla="*/ 541132 w 723872"/>
                <a:gd name="connsiteY65" fmla="*/ -27 h 600915"/>
                <a:gd name="connsiteX66" fmla="*/ 541132 w 723872"/>
                <a:gd name="connsiteY66" fmla="*/ 4512 h 600915"/>
                <a:gd name="connsiteX67" fmla="*/ 535261 w 723872"/>
                <a:gd name="connsiteY67" fmla="*/ 9101 h 600915"/>
                <a:gd name="connsiteX68" fmla="*/ 523469 w 723872"/>
                <a:gd name="connsiteY68" fmla="*/ 9101 h 600915"/>
                <a:gd name="connsiteX69" fmla="*/ 521495 w 723872"/>
                <a:gd name="connsiteY69" fmla="*/ 4512 h 600915"/>
                <a:gd name="connsiteX70" fmla="*/ 517597 w 723872"/>
                <a:gd name="connsiteY70" fmla="*/ -27 h 600915"/>
                <a:gd name="connsiteX71" fmla="*/ 507729 w 723872"/>
                <a:gd name="connsiteY71" fmla="*/ 2983 h 600915"/>
                <a:gd name="connsiteX72" fmla="*/ 507729 w 723872"/>
                <a:gd name="connsiteY72" fmla="*/ 6042 h 600915"/>
                <a:gd name="connsiteX73" fmla="*/ 499933 w 723872"/>
                <a:gd name="connsiteY73" fmla="*/ 7571 h 600915"/>
                <a:gd name="connsiteX74" fmla="*/ 497959 w 723872"/>
                <a:gd name="connsiteY74" fmla="*/ 12111 h 600915"/>
                <a:gd name="connsiteX75" fmla="*/ 492088 w 723872"/>
                <a:gd name="connsiteY75" fmla="*/ 10630 h 600915"/>
                <a:gd name="connsiteX76" fmla="*/ 488141 w 723872"/>
                <a:gd name="connsiteY76" fmla="*/ 10630 h 600915"/>
                <a:gd name="connsiteX77" fmla="*/ 480296 w 723872"/>
                <a:gd name="connsiteY77" fmla="*/ 15170 h 600915"/>
                <a:gd name="connsiteX78" fmla="*/ 470428 w 723872"/>
                <a:gd name="connsiteY78" fmla="*/ 15170 h 600915"/>
                <a:gd name="connsiteX79" fmla="*/ 466480 w 723872"/>
                <a:gd name="connsiteY79" fmla="*/ 9101 h 600915"/>
                <a:gd name="connsiteX80" fmla="*/ 456612 w 723872"/>
                <a:gd name="connsiteY80" fmla="*/ 9101 h 600915"/>
                <a:gd name="connsiteX81" fmla="*/ 452715 w 723872"/>
                <a:gd name="connsiteY81" fmla="*/ 7571 h 600915"/>
                <a:gd name="connsiteX82" fmla="*/ 442847 w 723872"/>
                <a:gd name="connsiteY82" fmla="*/ 9101 h 600915"/>
                <a:gd name="connsiteX83" fmla="*/ 435001 w 723872"/>
                <a:gd name="connsiteY83" fmla="*/ 7571 h 600915"/>
                <a:gd name="connsiteX84" fmla="*/ 431054 w 723872"/>
                <a:gd name="connsiteY84" fmla="*/ 9101 h 600915"/>
                <a:gd name="connsiteX85" fmla="*/ 425182 w 723872"/>
                <a:gd name="connsiteY85" fmla="*/ 6042 h 600915"/>
                <a:gd name="connsiteX86" fmla="*/ 421285 w 723872"/>
                <a:gd name="connsiteY86" fmla="*/ 7571 h 600915"/>
                <a:gd name="connsiteX87" fmla="*/ 417288 w 723872"/>
                <a:gd name="connsiteY87" fmla="*/ 13640 h 600915"/>
                <a:gd name="connsiteX88" fmla="*/ 409492 w 723872"/>
                <a:gd name="connsiteY88" fmla="*/ 13640 h 600915"/>
                <a:gd name="connsiteX89" fmla="*/ 401647 w 723872"/>
                <a:gd name="connsiteY89" fmla="*/ 12111 h 600915"/>
                <a:gd name="connsiteX90" fmla="*/ 393753 w 723872"/>
                <a:gd name="connsiteY90" fmla="*/ 18180 h 600915"/>
                <a:gd name="connsiteX91" fmla="*/ 387881 w 723872"/>
                <a:gd name="connsiteY91" fmla="*/ 18180 h 600915"/>
                <a:gd name="connsiteX92" fmla="*/ 380036 w 723872"/>
                <a:gd name="connsiteY92" fmla="*/ 15170 h 600915"/>
                <a:gd name="connsiteX93" fmla="*/ 370168 w 723872"/>
                <a:gd name="connsiteY93" fmla="*/ 16650 h 600915"/>
                <a:gd name="connsiteX94" fmla="*/ 350432 w 723872"/>
                <a:gd name="connsiteY94" fmla="*/ 16650 h 600915"/>
                <a:gd name="connsiteX95" fmla="*/ 330695 w 723872"/>
                <a:gd name="connsiteY95" fmla="*/ 28788 h 600915"/>
                <a:gd name="connsiteX96" fmla="*/ 322851 w 723872"/>
                <a:gd name="connsiteY96" fmla="*/ 30317 h 600915"/>
                <a:gd name="connsiteX97" fmla="*/ 316979 w 723872"/>
                <a:gd name="connsiteY97" fmla="*/ 30317 h 600915"/>
                <a:gd name="connsiteX98" fmla="*/ 309134 w 723872"/>
                <a:gd name="connsiteY98" fmla="*/ 34857 h 600915"/>
                <a:gd name="connsiteX99" fmla="*/ 309134 w 723872"/>
                <a:gd name="connsiteY99" fmla="*/ 39445 h 600915"/>
                <a:gd name="connsiteX100" fmla="*/ 305187 w 723872"/>
                <a:gd name="connsiteY100" fmla="*/ 43985 h 600915"/>
                <a:gd name="connsiteX101" fmla="*/ 299315 w 723872"/>
                <a:gd name="connsiteY101" fmla="*/ 43985 h 600915"/>
                <a:gd name="connsiteX102" fmla="*/ 297341 w 723872"/>
                <a:gd name="connsiteY102" fmla="*/ 42455 h 600915"/>
                <a:gd name="connsiteX103" fmla="*/ 291470 w 723872"/>
                <a:gd name="connsiteY103" fmla="*/ 42455 h 600915"/>
                <a:gd name="connsiteX104" fmla="*/ 287523 w 723872"/>
                <a:gd name="connsiteY104" fmla="*/ 43985 h 600915"/>
                <a:gd name="connsiteX105" fmla="*/ 285599 w 723872"/>
                <a:gd name="connsiteY105" fmla="*/ 46994 h 600915"/>
                <a:gd name="connsiteX106" fmla="*/ 275731 w 723872"/>
                <a:gd name="connsiteY106" fmla="*/ 46994 h 600915"/>
                <a:gd name="connsiteX107" fmla="*/ 265863 w 723872"/>
                <a:gd name="connsiteY107" fmla="*/ 50053 h 600915"/>
                <a:gd name="connsiteX108" fmla="*/ 261915 w 723872"/>
                <a:gd name="connsiteY108" fmla="*/ 54593 h 600915"/>
                <a:gd name="connsiteX109" fmla="*/ 261915 w 723872"/>
                <a:gd name="connsiteY109" fmla="*/ 59182 h 600915"/>
                <a:gd name="connsiteX110" fmla="*/ 254070 w 723872"/>
                <a:gd name="connsiteY110" fmla="*/ 65201 h 600915"/>
                <a:gd name="connsiteX111" fmla="*/ 244202 w 723872"/>
                <a:gd name="connsiteY111" fmla="*/ 68260 h 600915"/>
                <a:gd name="connsiteX112" fmla="*/ 233495 w 723872"/>
                <a:gd name="connsiteY112" fmla="*/ 68260 h 600915"/>
                <a:gd name="connsiteX113" fmla="*/ 239366 w 723872"/>
                <a:gd name="connsiteY113" fmla="*/ 71270 h 600915"/>
                <a:gd name="connsiteX114" fmla="*/ 239366 w 723872"/>
                <a:gd name="connsiteY114" fmla="*/ 74329 h 600915"/>
                <a:gd name="connsiteX115" fmla="*/ 243264 w 723872"/>
                <a:gd name="connsiteY115" fmla="*/ 78868 h 600915"/>
                <a:gd name="connsiteX116" fmla="*/ 245288 w 723872"/>
                <a:gd name="connsiteY116" fmla="*/ 84937 h 600915"/>
                <a:gd name="connsiteX117" fmla="*/ 245288 w 723872"/>
                <a:gd name="connsiteY117" fmla="*/ 87996 h 600915"/>
                <a:gd name="connsiteX118" fmla="*/ 247212 w 723872"/>
                <a:gd name="connsiteY118" fmla="*/ 97075 h 600915"/>
                <a:gd name="connsiteX119" fmla="*/ 247212 w 723872"/>
                <a:gd name="connsiteY119" fmla="*/ 113752 h 600915"/>
                <a:gd name="connsiteX120" fmla="*/ 251159 w 723872"/>
                <a:gd name="connsiteY120" fmla="*/ 138077 h 600915"/>
                <a:gd name="connsiteX121" fmla="*/ 255057 w 723872"/>
                <a:gd name="connsiteY121" fmla="*/ 145626 h 600915"/>
                <a:gd name="connsiteX122" fmla="*/ 257031 w 723872"/>
                <a:gd name="connsiteY122" fmla="*/ 151695 h 600915"/>
                <a:gd name="connsiteX123" fmla="*/ 262902 w 723872"/>
                <a:gd name="connsiteY123" fmla="*/ 153224 h 600915"/>
                <a:gd name="connsiteX124" fmla="*/ 264876 w 723872"/>
                <a:gd name="connsiteY124" fmla="*/ 156283 h 600915"/>
                <a:gd name="connsiteX125" fmla="*/ 270747 w 723872"/>
                <a:gd name="connsiteY125" fmla="*/ 156283 h 600915"/>
                <a:gd name="connsiteX126" fmla="*/ 274694 w 723872"/>
                <a:gd name="connsiteY126" fmla="*/ 157763 h 600915"/>
                <a:gd name="connsiteX127" fmla="*/ 270747 w 723872"/>
                <a:gd name="connsiteY127" fmla="*/ 166891 h 600915"/>
                <a:gd name="connsiteX128" fmla="*/ 270747 w 723872"/>
                <a:gd name="connsiteY128" fmla="*/ 169950 h 600915"/>
                <a:gd name="connsiteX129" fmla="*/ 264876 w 723872"/>
                <a:gd name="connsiteY129" fmla="*/ 174490 h 600915"/>
                <a:gd name="connsiteX130" fmla="*/ 223627 w 723872"/>
                <a:gd name="connsiteY130" fmla="*/ 174490 h 600915"/>
                <a:gd name="connsiteX131" fmla="*/ 213759 w 723872"/>
                <a:gd name="connsiteY131" fmla="*/ 175970 h 600915"/>
                <a:gd name="connsiteX132" fmla="*/ 205914 w 723872"/>
                <a:gd name="connsiteY132" fmla="*/ 189637 h 600915"/>
                <a:gd name="connsiteX133" fmla="*/ 198069 w 723872"/>
                <a:gd name="connsiteY133" fmla="*/ 194177 h 600915"/>
                <a:gd name="connsiteX134" fmla="*/ 194171 w 723872"/>
                <a:gd name="connsiteY134" fmla="*/ 200245 h 600915"/>
                <a:gd name="connsiteX135" fmla="*/ 194171 w 723872"/>
                <a:gd name="connsiteY135" fmla="*/ 209374 h 600915"/>
                <a:gd name="connsiteX136" fmla="*/ 192148 w 723872"/>
                <a:gd name="connsiteY136" fmla="*/ 216972 h 600915"/>
                <a:gd name="connsiteX137" fmla="*/ 168613 w 723872"/>
                <a:gd name="connsiteY137" fmla="*/ 230590 h 600915"/>
                <a:gd name="connsiteX138" fmla="*/ 127413 w 723872"/>
                <a:gd name="connsiteY138" fmla="*/ 250326 h 600915"/>
                <a:gd name="connsiteX139" fmla="*/ 99980 w 723872"/>
                <a:gd name="connsiteY139" fmla="*/ 265523 h 600915"/>
                <a:gd name="connsiteX140" fmla="*/ 84290 w 723872"/>
                <a:gd name="connsiteY140" fmla="*/ 268533 h 600915"/>
                <a:gd name="connsiteX141" fmla="*/ 72498 w 723872"/>
                <a:gd name="connsiteY141" fmla="*/ 268533 h 600915"/>
                <a:gd name="connsiteX142" fmla="*/ 66626 w 723872"/>
                <a:gd name="connsiteY142" fmla="*/ 270062 h 600915"/>
                <a:gd name="connsiteX143" fmla="*/ 52910 w 723872"/>
                <a:gd name="connsiteY143" fmla="*/ 270062 h 600915"/>
                <a:gd name="connsiteX144" fmla="*/ 35197 w 723872"/>
                <a:gd name="connsiteY144" fmla="*/ 273072 h 600915"/>
                <a:gd name="connsiteX145" fmla="*/ 23454 w 723872"/>
                <a:gd name="connsiteY145" fmla="*/ 279141 h 600915"/>
                <a:gd name="connsiteX146" fmla="*/ 17532 w 723872"/>
                <a:gd name="connsiteY146" fmla="*/ 286739 h 600915"/>
                <a:gd name="connsiteX147" fmla="*/ 1892 w 723872"/>
                <a:gd name="connsiteY147" fmla="*/ 297397 h 600915"/>
                <a:gd name="connsiteX148" fmla="*/ -82 w 723872"/>
                <a:gd name="connsiteY148" fmla="*/ 324682 h 600915"/>
                <a:gd name="connsiteX149" fmla="*/ -82 w 723872"/>
                <a:gd name="connsiteY149" fmla="*/ 324682 h 600915"/>
                <a:gd name="connsiteX150" fmla="*/ -82 w 723872"/>
                <a:gd name="connsiteY150" fmla="*/ 332280 h 600915"/>
                <a:gd name="connsiteX151" fmla="*/ -82 w 723872"/>
                <a:gd name="connsiteY151" fmla="*/ 332280 h 600915"/>
                <a:gd name="connsiteX152" fmla="*/ 129387 w 723872"/>
                <a:gd name="connsiteY152" fmla="*/ 408116 h 600915"/>
                <a:gd name="connsiteX153" fmla="*/ 129387 w 723872"/>
                <a:gd name="connsiteY153" fmla="*/ 408116 h 600915"/>
                <a:gd name="connsiteX154" fmla="*/ 366714 w 723872"/>
                <a:gd name="connsiteY154" fmla="*/ 541681 h 600915"/>
                <a:gd name="connsiteX155" fmla="*/ 370662 w 723872"/>
                <a:gd name="connsiteY155" fmla="*/ 556878 h 600915"/>
                <a:gd name="connsiteX156" fmla="*/ 378507 w 723872"/>
                <a:gd name="connsiteY156" fmla="*/ 562946 h 600915"/>
                <a:gd name="connsiteX157" fmla="*/ 392223 w 723872"/>
                <a:gd name="connsiteY157" fmla="*/ 562946 h 600915"/>
                <a:gd name="connsiteX158" fmla="*/ 402091 w 723872"/>
                <a:gd name="connsiteY158" fmla="*/ 564427 h 600915"/>
                <a:gd name="connsiteX159" fmla="*/ 409936 w 723872"/>
                <a:gd name="connsiteY159" fmla="*/ 572074 h 600915"/>
                <a:gd name="connsiteX160" fmla="*/ 417732 w 723872"/>
                <a:gd name="connsiteY160" fmla="*/ 573555 h 600915"/>
                <a:gd name="connsiteX161" fmla="*/ 423653 w 723872"/>
                <a:gd name="connsiteY161" fmla="*/ 578094 h 600915"/>
                <a:gd name="connsiteX162" fmla="*/ 423653 w 723872"/>
                <a:gd name="connsiteY162" fmla="*/ 584163 h 600915"/>
                <a:gd name="connsiteX163" fmla="*/ 419755 w 723872"/>
                <a:gd name="connsiteY163" fmla="*/ 593291 h 600915"/>
                <a:gd name="connsiteX164" fmla="*/ 423653 w 723872"/>
                <a:gd name="connsiteY164" fmla="*/ 597830 h 600915"/>
                <a:gd name="connsiteX165" fmla="*/ 431498 w 723872"/>
                <a:gd name="connsiteY165" fmla="*/ 600889 h 600915"/>
                <a:gd name="connsiteX166" fmla="*/ 449162 w 723872"/>
                <a:gd name="connsiteY166" fmla="*/ 599360 h 600915"/>
                <a:gd name="connsiteX167" fmla="*/ 460954 w 723872"/>
                <a:gd name="connsiteY167" fmla="*/ 594771 h 600915"/>
                <a:gd name="connsiteX168" fmla="*/ 460954 w 723872"/>
                <a:gd name="connsiteY168" fmla="*/ 594771 h 600915"/>
                <a:gd name="connsiteX169" fmla="*/ 517844 w 723872"/>
                <a:gd name="connsiteY169" fmla="*/ 584163 h 600915"/>
                <a:gd name="connsiteX170" fmla="*/ 560967 w 723872"/>
                <a:gd name="connsiteY170" fmla="*/ 549279 h 600915"/>
                <a:gd name="connsiteX171" fmla="*/ 723790 w 723872"/>
                <a:gd name="connsiteY171" fmla="*/ 462786 h 60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723872" h="600915">
                  <a:moveTo>
                    <a:pt x="723741" y="462786"/>
                  </a:moveTo>
                  <a:lnTo>
                    <a:pt x="719843" y="459776"/>
                  </a:lnTo>
                  <a:lnTo>
                    <a:pt x="715896" y="455187"/>
                  </a:lnTo>
                  <a:lnTo>
                    <a:pt x="710024" y="452177"/>
                  </a:lnTo>
                  <a:lnTo>
                    <a:pt x="702179" y="440040"/>
                  </a:lnTo>
                  <a:lnTo>
                    <a:pt x="698281" y="432441"/>
                  </a:lnTo>
                  <a:lnTo>
                    <a:pt x="692360" y="429431"/>
                  </a:lnTo>
                  <a:lnTo>
                    <a:pt x="664878" y="429431"/>
                  </a:lnTo>
                  <a:lnTo>
                    <a:pt x="660980" y="426372"/>
                  </a:lnTo>
                  <a:lnTo>
                    <a:pt x="659006" y="418774"/>
                  </a:lnTo>
                  <a:lnTo>
                    <a:pt x="655059" y="414234"/>
                  </a:lnTo>
                  <a:lnTo>
                    <a:pt x="655059" y="403626"/>
                  </a:lnTo>
                  <a:lnTo>
                    <a:pt x="653086" y="394548"/>
                  </a:lnTo>
                  <a:lnTo>
                    <a:pt x="651161" y="393018"/>
                  </a:lnTo>
                  <a:lnTo>
                    <a:pt x="643267" y="380880"/>
                  </a:lnTo>
                  <a:lnTo>
                    <a:pt x="635471" y="371753"/>
                  </a:lnTo>
                  <a:lnTo>
                    <a:pt x="629550" y="365684"/>
                  </a:lnTo>
                  <a:lnTo>
                    <a:pt x="633497" y="364204"/>
                  </a:lnTo>
                  <a:lnTo>
                    <a:pt x="635471" y="361144"/>
                  </a:lnTo>
                  <a:lnTo>
                    <a:pt x="643267" y="356556"/>
                  </a:lnTo>
                  <a:lnTo>
                    <a:pt x="649188" y="352016"/>
                  </a:lnTo>
                  <a:lnTo>
                    <a:pt x="647263" y="339879"/>
                  </a:lnTo>
                  <a:lnTo>
                    <a:pt x="641343" y="333810"/>
                  </a:lnTo>
                  <a:lnTo>
                    <a:pt x="643267" y="330800"/>
                  </a:lnTo>
                  <a:lnTo>
                    <a:pt x="647263" y="314123"/>
                  </a:lnTo>
                  <a:lnTo>
                    <a:pt x="641343" y="304995"/>
                  </a:lnTo>
                  <a:lnTo>
                    <a:pt x="641343" y="285259"/>
                  </a:lnTo>
                  <a:lnTo>
                    <a:pt x="639369" y="274651"/>
                  </a:lnTo>
                  <a:lnTo>
                    <a:pt x="639369" y="254915"/>
                  </a:lnTo>
                  <a:lnTo>
                    <a:pt x="635471" y="247365"/>
                  </a:lnTo>
                  <a:lnTo>
                    <a:pt x="631524" y="245836"/>
                  </a:lnTo>
                  <a:lnTo>
                    <a:pt x="631524" y="233698"/>
                  </a:lnTo>
                  <a:lnTo>
                    <a:pt x="635471" y="232169"/>
                  </a:lnTo>
                  <a:lnTo>
                    <a:pt x="613860" y="170000"/>
                  </a:lnTo>
                  <a:lnTo>
                    <a:pt x="603992" y="162352"/>
                  </a:lnTo>
                  <a:lnTo>
                    <a:pt x="598071" y="160872"/>
                  </a:lnTo>
                  <a:lnTo>
                    <a:pt x="594173" y="156333"/>
                  </a:lnTo>
                  <a:lnTo>
                    <a:pt x="586328" y="153274"/>
                  </a:lnTo>
                  <a:lnTo>
                    <a:pt x="584354" y="147205"/>
                  </a:lnTo>
                  <a:lnTo>
                    <a:pt x="572562" y="139606"/>
                  </a:lnTo>
                  <a:lnTo>
                    <a:pt x="568664" y="138126"/>
                  </a:lnTo>
                  <a:lnTo>
                    <a:pt x="564717" y="132008"/>
                  </a:lnTo>
                  <a:lnTo>
                    <a:pt x="566691" y="128998"/>
                  </a:lnTo>
                  <a:lnTo>
                    <a:pt x="562793" y="121449"/>
                  </a:lnTo>
                  <a:lnTo>
                    <a:pt x="560770" y="119919"/>
                  </a:lnTo>
                  <a:lnTo>
                    <a:pt x="564717" y="104723"/>
                  </a:lnTo>
                  <a:lnTo>
                    <a:pt x="572562" y="95595"/>
                  </a:lnTo>
                  <a:lnTo>
                    <a:pt x="578434" y="95595"/>
                  </a:lnTo>
                  <a:lnTo>
                    <a:pt x="582381" y="91055"/>
                  </a:lnTo>
                  <a:lnTo>
                    <a:pt x="586328" y="89575"/>
                  </a:lnTo>
                  <a:lnTo>
                    <a:pt x="588252" y="77388"/>
                  </a:lnTo>
                  <a:lnTo>
                    <a:pt x="592199" y="74378"/>
                  </a:lnTo>
                  <a:lnTo>
                    <a:pt x="586328" y="69790"/>
                  </a:lnTo>
                  <a:lnTo>
                    <a:pt x="590226" y="65250"/>
                  </a:lnTo>
                  <a:lnTo>
                    <a:pt x="592199" y="63770"/>
                  </a:lnTo>
                  <a:lnTo>
                    <a:pt x="592199" y="62241"/>
                  </a:lnTo>
                  <a:lnTo>
                    <a:pt x="588252" y="57701"/>
                  </a:lnTo>
                  <a:lnTo>
                    <a:pt x="586328" y="48573"/>
                  </a:lnTo>
                  <a:lnTo>
                    <a:pt x="592199" y="34906"/>
                  </a:lnTo>
                  <a:lnTo>
                    <a:pt x="592199" y="7571"/>
                  </a:lnTo>
                  <a:lnTo>
                    <a:pt x="590226" y="6042"/>
                  </a:lnTo>
                  <a:lnTo>
                    <a:pt x="580358" y="7571"/>
                  </a:lnTo>
                  <a:lnTo>
                    <a:pt x="574486" y="6042"/>
                  </a:lnTo>
                  <a:lnTo>
                    <a:pt x="558796" y="10630"/>
                  </a:lnTo>
                  <a:lnTo>
                    <a:pt x="552925" y="4512"/>
                  </a:lnTo>
                  <a:lnTo>
                    <a:pt x="541132" y="-27"/>
                  </a:lnTo>
                  <a:lnTo>
                    <a:pt x="541132" y="4512"/>
                  </a:lnTo>
                  <a:lnTo>
                    <a:pt x="535261" y="9101"/>
                  </a:lnTo>
                  <a:lnTo>
                    <a:pt x="523469" y="9101"/>
                  </a:lnTo>
                  <a:lnTo>
                    <a:pt x="521495" y="4512"/>
                  </a:lnTo>
                  <a:lnTo>
                    <a:pt x="517597" y="-27"/>
                  </a:lnTo>
                  <a:lnTo>
                    <a:pt x="507729" y="2983"/>
                  </a:lnTo>
                  <a:lnTo>
                    <a:pt x="507729" y="6042"/>
                  </a:lnTo>
                  <a:lnTo>
                    <a:pt x="499933" y="7571"/>
                  </a:lnTo>
                  <a:lnTo>
                    <a:pt x="497959" y="12111"/>
                  </a:lnTo>
                  <a:lnTo>
                    <a:pt x="492088" y="10630"/>
                  </a:lnTo>
                  <a:lnTo>
                    <a:pt x="488141" y="10630"/>
                  </a:lnTo>
                  <a:lnTo>
                    <a:pt x="480296" y="15170"/>
                  </a:lnTo>
                  <a:lnTo>
                    <a:pt x="470428" y="15170"/>
                  </a:lnTo>
                  <a:lnTo>
                    <a:pt x="466480" y="9101"/>
                  </a:lnTo>
                  <a:lnTo>
                    <a:pt x="456612" y="9101"/>
                  </a:lnTo>
                  <a:lnTo>
                    <a:pt x="452715" y="7571"/>
                  </a:lnTo>
                  <a:lnTo>
                    <a:pt x="442847" y="9101"/>
                  </a:lnTo>
                  <a:lnTo>
                    <a:pt x="435001" y="7571"/>
                  </a:lnTo>
                  <a:lnTo>
                    <a:pt x="431054" y="9101"/>
                  </a:lnTo>
                  <a:lnTo>
                    <a:pt x="425182" y="6042"/>
                  </a:lnTo>
                  <a:lnTo>
                    <a:pt x="421285" y="7571"/>
                  </a:lnTo>
                  <a:lnTo>
                    <a:pt x="417288" y="13640"/>
                  </a:lnTo>
                  <a:lnTo>
                    <a:pt x="409492" y="13640"/>
                  </a:lnTo>
                  <a:lnTo>
                    <a:pt x="401647" y="12111"/>
                  </a:lnTo>
                  <a:lnTo>
                    <a:pt x="393753" y="18180"/>
                  </a:lnTo>
                  <a:lnTo>
                    <a:pt x="387881" y="18180"/>
                  </a:lnTo>
                  <a:lnTo>
                    <a:pt x="380036" y="15170"/>
                  </a:lnTo>
                  <a:lnTo>
                    <a:pt x="370168" y="16650"/>
                  </a:lnTo>
                  <a:lnTo>
                    <a:pt x="350432" y="16650"/>
                  </a:lnTo>
                  <a:lnTo>
                    <a:pt x="330695" y="28788"/>
                  </a:lnTo>
                  <a:lnTo>
                    <a:pt x="322851" y="30317"/>
                  </a:lnTo>
                  <a:lnTo>
                    <a:pt x="316979" y="30317"/>
                  </a:lnTo>
                  <a:lnTo>
                    <a:pt x="309134" y="34857"/>
                  </a:lnTo>
                  <a:lnTo>
                    <a:pt x="309134" y="39445"/>
                  </a:lnTo>
                  <a:lnTo>
                    <a:pt x="305187" y="43985"/>
                  </a:lnTo>
                  <a:lnTo>
                    <a:pt x="299315" y="43985"/>
                  </a:lnTo>
                  <a:lnTo>
                    <a:pt x="297341" y="42455"/>
                  </a:lnTo>
                  <a:lnTo>
                    <a:pt x="291470" y="42455"/>
                  </a:lnTo>
                  <a:lnTo>
                    <a:pt x="287523" y="43985"/>
                  </a:lnTo>
                  <a:lnTo>
                    <a:pt x="285599" y="46994"/>
                  </a:lnTo>
                  <a:lnTo>
                    <a:pt x="275731" y="46994"/>
                  </a:lnTo>
                  <a:lnTo>
                    <a:pt x="265863" y="50053"/>
                  </a:lnTo>
                  <a:lnTo>
                    <a:pt x="261915" y="54593"/>
                  </a:lnTo>
                  <a:lnTo>
                    <a:pt x="261915" y="59182"/>
                  </a:lnTo>
                  <a:lnTo>
                    <a:pt x="254070" y="65201"/>
                  </a:lnTo>
                  <a:lnTo>
                    <a:pt x="244202" y="68260"/>
                  </a:lnTo>
                  <a:lnTo>
                    <a:pt x="233495" y="68260"/>
                  </a:lnTo>
                  <a:lnTo>
                    <a:pt x="239366" y="71270"/>
                  </a:lnTo>
                  <a:lnTo>
                    <a:pt x="239366" y="74329"/>
                  </a:lnTo>
                  <a:lnTo>
                    <a:pt x="243264" y="78868"/>
                  </a:lnTo>
                  <a:lnTo>
                    <a:pt x="245288" y="84937"/>
                  </a:lnTo>
                  <a:lnTo>
                    <a:pt x="245288" y="87996"/>
                  </a:lnTo>
                  <a:lnTo>
                    <a:pt x="247212" y="97075"/>
                  </a:lnTo>
                  <a:lnTo>
                    <a:pt x="247212" y="113752"/>
                  </a:lnTo>
                  <a:lnTo>
                    <a:pt x="251159" y="138077"/>
                  </a:lnTo>
                  <a:lnTo>
                    <a:pt x="255057" y="145626"/>
                  </a:lnTo>
                  <a:lnTo>
                    <a:pt x="257031" y="151695"/>
                  </a:lnTo>
                  <a:lnTo>
                    <a:pt x="262902" y="153224"/>
                  </a:lnTo>
                  <a:lnTo>
                    <a:pt x="264876" y="156283"/>
                  </a:lnTo>
                  <a:lnTo>
                    <a:pt x="270747" y="156283"/>
                  </a:lnTo>
                  <a:lnTo>
                    <a:pt x="274694" y="157763"/>
                  </a:lnTo>
                  <a:lnTo>
                    <a:pt x="270747" y="166891"/>
                  </a:lnTo>
                  <a:lnTo>
                    <a:pt x="270747" y="169950"/>
                  </a:lnTo>
                  <a:lnTo>
                    <a:pt x="264876" y="174490"/>
                  </a:lnTo>
                  <a:lnTo>
                    <a:pt x="223627" y="174490"/>
                  </a:lnTo>
                  <a:lnTo>
                    <a:pt x="213759" y="175970"/>
                  </a:lnTo>
                  <a:lnTo>
                    <a:pt x="205914" y="189637"/>
                  </a:lnTo>
                  <a:lnTo>
                    <a:pt x="198069" y="194177"/>
                  </a:lnTo>
                  <a:lnTo>
                    <a:pt x="194171" y="200245"/>
                  </a:lnTo>
                  <a:lnTo>
                    <a:pt x="194171" y="209374"/>
                  </a:lnTo>
                  <a:lnTo>
                    <a:pt x="192148" y="216972"/>
                  </a:lnTo>
                  <a:lnTo>
                    <a:pt x="168613" y="230590"/>
                  </a:lnTo>
                  <a:lnTo>
                    <a:pt x="127413" y="250326"/>
                  </a:lnTo>
                  <a:lnTo>
                    <a:pt x="99980" y="265523"/>
                  </a:lnTo>
                  <a:lnTo>
                    <a:pt x="84290" y="268533"/>
                  </a:lnTo>
                  <a:lnTo>
                    <a:pt x="72498" y="268533"/>
                  </a:lnTo>
                  <a:lnTo>
                    <a:pt x="66626" y="270062"/>
                  </a:lnTo>
                  <a:lnTo>
                    <a:pt x="52910" y="270062"/>
                  </a:lnTo>
                  <a:lnTo>
                    <a:pt x="35197" y="273072"/>
                  </a:lnTo>
                  <a:lnTo>
                    <a:pt x="23454" y="279141"/>
                  </a:lnTo>
                  <a:lnTo>
                    <a:pt x="17532" y="286739"/>
                  </a:lnTo>
                  <a:lnTo>
                    <a:pt x="1892" y="297397"/>
                  </a:lnTo>
                  <a:lnTo>
                    <a:pt x="-82" y="324682"/>
                  </a:lnTo>
                  <a:lnTo>
                    <a:pt x="-82" y="324682"/>
                  </a:lnTo>
                  <a:lnTo>
                    <a:pt x="-82" y="332280"/>
                  </a:lnTo>
                  <a:lnTo>
                    <a:pt x="-82" y="332280"/>
                  </a:lnTo>
                  <a:lnTo>
                    <a:pt x="129387" y="408116"/>
                  </a:lnTo>
                  <a:lnTo>
                    <a:pt x="129387" y="408116"/>
                  </a:lnTo>
                  <a:lnTo>
                    <a:pt x="366714" y="541681"/>
                  </a:lnTo>
                  <a:lnTo>
                    <a:pt x="370662" y="556878"/>
                  </a:lnTo>
                  <a:lnTo>
                    <a:pt x="378507" y="562946"/>
                  </a:lnTo>
                  <a:lnTo>
                    <a:pt x="392223" y="562946"/>
                  </a:lnTo>
                  <a:lnTo>
                    <a:pt x="402091" y="564427"/>
                  </a:lnTo>
                  <a:lnTo>
                    <a:pt x="409936" y="572074"/>
                  </a:lnTo>
                  <a:lnTo>
                    <a:pt x="417732" y="573555"/>
                  </a:lnTo>
                  <a:lnTo>
                    <a:pt x="423653" y="578094"/>
                  </a:lnTo>
                  <a:lnTo>
                    <a:pt x="423653" y="584163"/>
                  </a:lnTo>
                  <a:lnTo>
                    <a:pt x="419755" y="593291"/>
                  </a:lnTo>
                  <a:lnTo>
                    <a:pt x="423653" y="597830"/>
                  </a:lnTo>
                  <a:lnTo>
                    <a:pt x="431498" y="600889"/>
                  </a:lnTo>
                  <a:lnTo>
                    <a:pt x="449162" y="599360"/>
                  </a:lnTo>
                  <a:lnTo>
                    <a:pt x="460954" y="594771"/>
                  </a:lnTo>
                  <a:lnTo>
                    <a:pt x="460954" y="594771"/>
                  </a:lnTo>
                  <a:lnTo>
                    <a:pt x="517844" y="584163"/>
                  </a:lnTo>
                  <a:lnTo>
                    <a:pt x="560967" y="549279"/>
                  </a:lnTo>
                  <a:lnTo>
                    <a:pt x="723790" y="46278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Graphic 2">
              <a:extLst>
                <a:ext uri="{FF2B5EF4-FFF2-40B4-BE49-F238E27FC236}">
                  <a16:creationId xmlns:a16="http://schemas.microsoft.com/office/drawing/2014/main" id="{E107E6EA-9021-441D-A9A8-2A2C1A2033BE}"/>
                </a:ext>
              </a:extLst>
            </p:cNvPr>
            <p:cNvSpPr/>
            <p:nvPr/>
          </p:nvSpPr>
          <p:spPr>
            <a:xfrm>
              <a:off x="5010917" y="3587117"/>
              <a:ext cx="380036" cy="257697"/>
            </a:xfrm>
            <a:custGeom>
              <a:avLst/>
              <a:gdLst>
                <a:gd name="connsiteX0" fmla="*/ 144634 w 418307"/>
                <a:gd name="connsiteY0" fmla="*/ 283532 h 283657"/>
                <a:gd name="connsiteX1" fmla="*/ 146558 w 418307"/>
                <a:gd name="connsiteY1" fmla="*/ 256247 h 283657"/>
                <a:gd name="connsiteX2" fmla="*/ 162199 w 418307"/>
                <a:gd name="connsiteY2" fmla="*/ 245639 h 283657"/>
                <a:gd name="connsiteX3" fmla="*/ 168070 w 418307"/>
                <a:gd name="connsiteY3" fmla="*/ 238040 h 283657"/>
                <a:gd name="connsiteX4" fmla="*/ 179764 w 418307"/>
                <a:gd name="connsiteY4" fmla="*/ 231972 h 283657"/>
                <a:gd name="connsiteX5" fmla="*/ 197378 w 418307"/>
                <a:gd name="connsiteY5" fmla="*/ 228962 h 283657"/>
                <a:gd name="connsiteX6" fmla="*/ 210996 w 418307"/>
                <a:gd name="connsiteY6" fmla="*/ 228962 h 283657"/>
                <a:gd name="connsiteX7" fmla="*/ 216868 w 418307"/>
                <a:gd name="connsiteY7" fmla="*/ 227432 h 283657"/>
                <a:gd name="connsiteX8" fmla="*/ 228611 w 418307"/>
                <a:gd name="connsiteY8" fmla="*/ 227432 h 283657"/>
                <a:gd name="connsiteX9" fmla="*/ 244252 w 418307"/>
                <a:gd name="connsiteY9" fmla="*/ 224422 h 283657"/>
                <a:gd name="connsiteX10" fmla="*/ 271586 w 418307"/>
                <a:gd name="connsiteY10" fmla="*/ 209275 h 283657"/>
                <a:gd name="connsiteX11" fmla="*/ 312588 w 418307"/>
                <a:gd name="connsiteY11" fmla="*/ 189539 h 283657"/>
                <a:gd name="connsiteX12" fmla="*/ 336025 w 418307"/>
                <a:gd name="connsiteY12" fmla="*/ 175921 h 283657"/>
                <a:gd name="connsiteX13" fmla="*/ 337998 w 418307"/>
                <a:gd name="connsiteY13" fmla="*/ 168322 h 283657"/>
                <a:gd name="connsiteX14" fmla="*/ 337998 w 418307"/>
                <a:gd name="connsiteY14" fmla="*/ 159195 h 283657"/>
                <a:gd name="connsiteX15" fmla="*/ 341896 w 418307"/>
                <a:gd name="connsiteY15" fmla="*/ 153175 h 283657"/>
                <a:gd name="connsiteX16" fmla="*/ 349692 w 418307"/>
                <a:gd name="connsiteY16" fmla="*/ 148636 h 283657"/>
                <a:gd name="connsiteX17" fmla="*/ 357537 w 418307"/>
                <a:gd name="connsiteY17" fmla="*/ 134968 h 283657"/>
                <a:gd name="connsiteX18" fmla="*/ 367405 w 418307"/>
                <a:gd name="connsiteY18" fmla="*/ 133439 h 283657"/>
                <a:gd name="connsiteX19" fmla="*/ 408456 w 418307"/>
                <a:gd name="connsiteY19" fmla="*/ 133439 h 283657"/>
                <a:gd name="connsiteX20" fmla="*/ 414278 w 418307"/>
                <a:gd name="connsiteY20" fmla="*/ 128899 h 283657"/>
                <a:gd name="connsiteX21" fmla="*/ 414278 w 418307"/>
                <a:gd name="connsiteY21" fmla="*/ 125840 h 283657"/>
                <a:gd name="connsiteX22" fmla="*/ 418226 w 418307"/>
                <a:gd name="connsiteY22" fmla="*/ 116762 h 283657"/>
                <a:gd name="connsiteX23" fmla="*/ 414278 w 418307"/>
                <a:gd name="connsiteY23" fmla="*/ 115232 h 283657"/>
                <a:gd name="connsiteX24" fmla="*/ 408456 w 418307"/>
                <a:gd name="connsiteY24" fmla="*/ 115232 h 283657"/>
                <a:gd name="connsiteX25" fmla="*/ 406483 w 418307"/>
                <a:gd name="connsiteY25" fmla="*/ 112173 h 283657"/>
                <a:gd name="connsiteX26" fmla="*/ 400660 w 418307"/>
                <a:gd name="connsiteY26" fmla="*/ 110693 h 283657"/>
                <a:gd name="connsiteX27" fmla="*/ 398687 w 418307"/>
                <a:gd name="connsiteY27" fmla="*/ 104624 h 283657"/>
                <a:gd name="connsiteX28" fmla="*/ 394789 w 418307"/>
                <a:gd name="connsiteY28" fmla="*/ 97025 h 283657"/>
                <a:gd name="connsiteX29" fmla="*/ 390842 w 418307"/>
                <a:gd name="connsiteY29" fmla="*/ 72800 h 283657"/>
                <a:gd name="connsiteX30" fmla="*/ 390842 w 418307"/>
                <a:gd name="connsiteY30" fmla="*/ 56122 h 283657"/>
                <a:gd name="connsiteX31" fmla="*/ 388917 w 418307"/>
                <a:gd name="connsiteY31" fmla="*/ 46995 h 283657"/>
                <a:gd name="connsiteX32" fmla="*/ 388917 w 418307"/>
                <a:gd name="connsiteY32" fmla="*/ 43985 h 283657"/>
                <a:gd name="connsiteX33" fmla="*/ 386994 w 418307"/>
                <a:gd name="connsiteY33" fmla="*/ 37916 h 283657"/>
                <a:gd name="connsiteX34" fmla="*/ 383046 w 418307"/>
                <a:gd name="connsiteY34" fmla="*/ 33327 h 283657"/>
                <a:gd name="connsiteX35" fmla="*/ 383046 w 418307"/>
                <a:gd name="connsiteY35" fmla="*/ 30318 h 283657"/>
                <a:gd name="connsiteX36" fmla="*/ 377224 w 418307"/>
                <a:gd name="connsiteY36" fmla="*/ 27308 h 283657"/>
                <a:gd name="connsiteX37" fmla="*/ 373277 w 418307"/>
                <a:gd name="connsiteY37" fmla="*/ 27308 h 283657"/>
                <a:gd name="connsiteX38" fmla="*/ 353541 w 418307"/>
                <a:gd name="connsiteY38" fmla="*/ 25778 h 283657"/>
                <a:gd name="connsiteX39" fmla="*/ 349593 w 418307"/>
                <a:gd name="connsiteY39" fmla="*/ 22719 h 283657"/>
                <a:gd name="connsiteX40" fmla="*/ 347669 w 418307"/>
                <a:gd name="connsiteY40" fmla="*/ 16650 h 283657"/>
                <a:gd name="connsiteX41" fmla="*/ 345696 w 418307"/>
                <a:gd name="connsiteY41" fmla="*/ 16650 h 283657"/>
                <a:gd name="connsiteX42" fmla="*/ 337900 w 418307"/>
                <a:gd name="connsiteY42" fmla="*/ 21189 h 283657"/>
                <a:gd name="connsiteX43" fmla="*/ 326157 w 418307"/>
                <a:gd name="connsiteY43" fmla="*/ 22719 h 283657"/>
                <a:gd name="connsiteX44" fmla="*/ 314463 w 418307"/>
                <a:gd name="connsiteY44" fmla="*/ 21189 h 283657"/>
                <a:gd name="connsiteX45" fmla="*/ 308592 w 418307"/>
                <a:gd name="connsiteY45" fmla="*/ 21189 h 283657"/>
                <a:gd name="connsiteX46" fmla="*/ 300796 w 418307"/>
                <a:gd name="connsiteY46" fmla="*/ 24248 h 283657"/>
                <a:gd name="connsiteX47" fmla="*/ 290927 w 418307"/>
                <a:gd name="connsiteY47" fmla="*/ 25778 h 283657"/>
                <a:gd name="connsiteX48" fmla="*/ 283132 w 418307"/>
                <a:gd name="connsiteY48" fmla="*/ 24248 h 283657"/>
                <a:gd name="connsiteX49" fmla="*/ 271389 w 418307"/>
                <a:gd name="connsiteY49" fmla="*/ 15121 h 283657"/>
                <a:gd name="connsiteX50" fmla="*/ 267491 w 418307"/>
                <a:gd name="connsiteY50" fmla="*/ 10631 h 283657"/>
                <a:gd name="connsiteX51" fmla="*/ 265518 w 418307"/>
                <a:gd name="connsiteY51" fmla="*/ 6042 h 283657"/>
                <a:gd name="connsiteX52" fmla="*/ 265518 w 418307"/>
                <a:gd name="connsiteY52" fmla="*/ 2983 h 283657"/>
                <a:gd name="connsiteX53" fmla="*/ 267491 w 418307"/>
                <a:gd name="connsiteY53" fmla="*/ 1503 h 283657"/>
                <a:gd name="connsiteX54" fmla="*/ 265518 w 418307"/>
                <a:gd name="connsiteY54" fmla="*/ -27 h 283657"/>
                <a:gd name="connsiteX55" fmla="*/ 259695 w 418307"/>
                <a:gd name="connsiteY55" fmla="*/ 1503 h 283657"/>
                <a:gd name="connsiteX56" fmla="*/ 255748 w 418307"/>
                <a:gd name="connsiteY56" fmla="*/ 2983 h 283657"/>
                <a:gd name="connsiteX57" fmla="*/ 252294 w 418307"/>
                <a:gd name="connsiteY57" fmla="*/ 2983 h 283657"/>
                <a:gd name="connsiteX58" fmla="*/ 244499 w 418307"/>
                <a:gd name="connsiteY58" fmla="*/ 9101 h 283657"/>
                <a:gd name="connsiteX59" fmla="*/ 244499 w 418307"/>
                <a:gd name="connsiteY59" fmla="*/ 27308 h 283657"/>
                <a:gd name="connsiteX60" fmla="*/ 234631 w 418307"/>
                <a:gd name="connsiteY60" fmla="*/ 34857 h 283657"/>
                <a:gd name="connsiteX61" fmla="*/ 232706 w 418307"/>
                <a:gd name="connsiteY61" fmla="*/ 48524 h 283657"/>
                <a:gd name="connsiteX62" fmla="*/ 228808 w 418307"/>
                <a:gd name="connsiteY62" fmla="*/ 56122 h 283657"/>
                <a:gd name="connsiteX63" fmla="*/ 213216 w 418307"/>
                <a:gd name="connsiteY63" fmla="*/ 69740 h 283657"/>
                <a:gd name="connsiteX64" fmla="*/ 207345 w 418307"/>
                <a:gd name="connsiteY64" fmla="*/ 69740 h 283657"/>
                <a:gd name="connsiteX65" fmla="*/ 199500 w 418307"/>
                <a:gd name="connsiteY65" fmla="*/ 74280 h 283657"/>
                <a:gd name="connsiteX66" fmla="*/ 187757 w 418307"/>
                <a:gd name="connsiteY66" fmla="*/ 78819 h 283657"/>
                <a:gd name="connsiteX67" fmla="*/ 177889 w 418307"/>
                <a:gd name="connsiteY67" fmla="*/ 86467 h 283657"/>
                <a:gd name="connsiteX68" fmla="*/ 172017 w 418307"/>
                <a:gd name="connsiteY68" fmla="*/ 86467 h 283657"/>
                <a:gd name="connsiteX69" fmla="*/ 158350 w 418307"/>
                <a:gd name="connsiteY69" fmla="*/ 95496 h 283657"/>
                <a:gd name="connsiteX70" fmla="*/ 150554 w 418307"/>
                <a:gd name="connsiteY70" fmla="*/ 98555 h 283657"/>
                <a:gd name="connsiteX71" fmla="*/ 146607 w 418307"/>
                <a:gd name="connsiteY71" fmla="*/ 104624 h 283657"/>
                <a:gd name="connsiteX72" fmla="*/ 129042 w 418307"/>
                <a:gd name="connsiteY72" fmla="*/ 113703 h 283657"/>
                <a:gd name="connsiteX73" fmla="*/ 134913 w 418307"/>
                <a:gd name="connsiteY73" fmla="*/ 125840 h 283657"/>
                <a:gd name="connsiteX74" fmla="*/ 132940 w 418307"/>
                <a:gd name="connsiteY74" fmla="*/ 133439 h 283657"/>
                <a:gd name="connsiteX75" fmla="*/ 119322 w 418307"/>
                <a:gd name="connsiteY75" fmla="*/ 142517 h 283657"/>
                <a:gd name="connsiteX76" fmla="*/ 111477 w 418307"/>
                <a:gd name="connsiteY76" fmla="*/ 160724 h 283657"/>
                <a:gd name="connsiteX77" fmla="*/ 109503 w 418307"/>
                <a:gd name="connsiteY77" fmla="*/ 166842 h 283657"/>
                <a:gd name="connsiteX78" fmla="*/ 115375 w 418307"/>
                <a:gd name="connsiteY78" fmla="*/ 177450 h 283657"/>
                <a:gd name="connsiteX79" fmla="*/ 111477 w 418307"/>
                <a:gd name="connsiteY79" fmla="*/ 188058 h 283657"/>
                <a:gd name="connsiteX80" fmla="*/ 115375 w 418307"/>
                <a:gd name="connsiteY80" fmla="*/ 191068 h 283657"/>
                <a:gd name="connsiteX81" fmla="*/ 117299 w 418307"/>
                <a:gd name="connsiteY81" fmla="*/ 195657 h 283657"/>
                <a:gd name="connsiteX82" fmla="*/ 115375 w 418307"/>
                <a:gd name="connsiteY82" fmla="*/ 204736 h 283657"/>
                <a:gd name="connsiteX83" fmla="*/ 91938 w 418307"/>
                <a:gd name="connsiteY83" fmla="*/ 227481 h 283657"/>
                <a:gd name="connsiteX84" fmla="*/ 89964 w 418307"/>
                <a:gd name="connsiteY84" fmla="*/ 235031 h 283657"/>
                <a:gd name="connsiteX85" fmla="*/ 80096 w 418307"/>
                <a:gd name="connsiteY85" fmla="*/ 244158 h 283657"/>
                <a:gd name="connsiteX86" fmla="*/ 68353 w 418307"/>
                <a:gd name="connsiteY86" fmla="*/ 245688 h 283657"/>
                <a:gd name="connsiteX87" fmla="*/ 44917 w 418307"/>
                <a:gd name="connsiteY87" fmla="*/ 265424 h 283657"/>
                <a:gd name="connsiteX88" fmla="*/ 9786 w 418307"/>
                <a:gd name="connsiteY88" fmla="*/ 270013 h 283657"/>
                <a:gd name="connsiteX89" fmla="*/ -82 w 418307"/>
                <a:gd name="connsiteY89" fmla="*/ 282101 h 283657"/>
                <a:gd name="connsiteX90" fmla="*/ 144486 w 418307"/>
                <a:gd name="connsiteY90" fmla="*/ 283631 h 28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418307" h="283657">
                  <a:moveTo>
                    <a:pt x="144634" y="283532"/>
                  </a:moveTo>
                  <a:lnTo>
                    <a:pt x="146558" y="256247"/>
                  </a:lnTo>
                  <a:lnTo>
                    <a:pt x="162199" y="245639"/>
                  </a:lnTo>
                  <a:lnTo>
                    <a:pt x="168070" y="238040"/>
                  </a:lnTo>
                  <a:lnTo>
                    <a:pt x="179764" y="231972"/>
                  </a:lnTo>
                  <a:lnTo>
                    <a:pt x="197378" y="228962"/>
                  </a:lnTo>
                  <a:lnTo>
                    <a:pt x="210996" y="228962"/>
                  </a:lnTo>
                  <a:lnTo>
                    <a:pt x="216868" y="227432"/>
                  </a:lnTo>
                  <a:lnTo>
                    <a:pt x="228611" y="227432"/>
                  </a:lnTo>
                  <a:lnTo>
                    <a:pt x="244252" y="224422"/>
                  </a:lnTo>
                  <a:lnTo>
                    <a:pt x="271586" y="209275"/>
                  </a:lnTo>
                  <a:lnTo>
                    <a:pt x="312588" y="189539"/>
                  </a:lnTo>
                  <a:lnTo>
                    <a:pt x="336025" y="175921"/>
                  </a:lnTo>
                  <a:lnTo>
                    <a:pt x="337998" y="168322"/>
                  </a:lnTo>
                  <a:lnTo>
                    <a:pt x="337998" y="159195"/>
                  </a:lnTo>
                  <a:lnTo>
                    <a:pt x="341896" y="153175"/>
                  </a:lnTo>
                  <a:lnTo>
                    <a:pt x="349692" y="148636"/>
                  </a:lnTo>
                  <a:lnTo>
                    <a:pt x="357537" y="134968"/>
                  </a:lnTo>
                  <a:lnTo>
                    <a:pt x="367405" y="133439"/>
                  </a:lnTo>
                  <a:lnTo>
                    <a:pt x="408456" y="133439"/>
                  </a:lnTo>
                  <a:lnTo>
                    <a:pt x="414278" y="128899"/>
                  </a:lnTo>
                  <a:lnTo>
                    <a:pt x="414278" y="125840"/>
                  </a:lnTo>
                  <a:lnTo>
                    <a:pt x="418226" y="116762"/>
                  </a:lnTo>
                  <a:lnTo>
                    <a:pt x="414278" y="115232"/>
                  </a:lnTo>
                  <a:lnTo>
                    <a:pt x="408456" y="115232"/>
                  </a:lnTo>
                  <a:lnTo>
                    <a:pt x="406483" y="112173"/>
                  </a:lnTo>
                  <a:lnTo>
                    <a:pt x="400660" y="110693"/>
                  </a:lnTo>
                  <a:lnTo>
                    <a:pt x="398687" y="104624"/>
                  </a:lnTo>
                  <a:lnTo>
                    <a:pt x="394789" y="97025"/>
                  </a:lnTo>
                  <a:lnTo>
                    <a:pt x="390842" y="72800"/>
                  </a:lnTo>
                  <a:lnTo>
                    <a:pt x="390842" y="56122"/>
                  </a:lnTo>
                  <a:lnTo>
                    <a:pt x="388917" y="46995"/>
                  </a:lnTo>
                  <a:lnTo>
                    <a:pt x="388917" y="43985"/>
                  </a:lnTo>
                  <a:lnTo>
                    <a:pt x="386994" y="37916"/>
                  </a:lnTo>
                  <a:lnTo>
                    <a:pt x="383046" y="33327"/>
                  </a:lnTo>
                  <a:lnTo>
                    <a:pt x="383046" y="30318"/>
                  </a:lnTo>
                  <a:lnTo>
                    <a:pt x="377224" y="27308"/>
                  </a:lnTo>
                  <a:lnTo>
                    <a:pt x="373277" y="27308"/>
                  </a:lnTo>
                  <a:lnTo>
                    <a:pt x="353541" y="25778"/>
                  </a:lnTo>
                  <a:lnTo>
                    <a:pt x="349593" y="22719"/>
                  </a:lnTo>
                  <a:lnTo>
                    <a:pt x="347669" y="16650"/>
                  </a:lnTo>
                  <a:lnTo>
                    <a:pt x="345696" y="16650"/>
                  </a:lnTo>
                  <a:lnTo>
                    <a:pt x="337900" y="21189"/>
                  </a:lnTo>
                  <a:lnTo>
                    <a:pt x="326157" y="22719"/>
                  </a:lnTo>
                  <a:lnTo>
                    <a:pt x="314463" y="21189"/>
                  </a:lnTo>
                  <a:lnTo>
                    <a:pt x="308592" y="21189"/>
                  </a:lnTo>
                  <a:lnTo>
                    <a:pt x="300796" y="24248"/>
                  </a:lnTo>
                  <a:lnTo>
                    <a:pt x="290927" y="25778"/>
                  </a:lnTo>
                  <a:lnTo>
                    <a:pt x="283132" y="24248"/>
                  </a:lnTo>
                  <a:lnTo>
                    <a:pt x="271389" y="15121"/>
                  </a:lnTo>
                  <a:lnTo>
                    <a:pt x="267491" y="10631"/>
                  </a:lnTo>
                  <a:lnTo>
                    <a:pt x="265518" y="6042"/>
                  </a:lnTo>
                  <a:lnTo>
                    <a:pt x="265518" y="2983"/>
                  </a:lnTo>
                  <a:lnTo>
                    <a:pt x="267491" y="1503"/>
                  </a:lnTo>
                  <a:lnTo>
                    <a:pt x="265518" y="-27"/>
                  </a:lnTo>
                  <a:lnTo>
                    <a:pt x="259695" y="1503"/>
                  </a:lnTo>
                  <a:lnTo>
                    <a:pt x="255748" y="2983"/>
                  </a:lnTo>
                  <a:lnTo>
                    <a:pt x="252294" y="2983"/>
                  </a:lnTo>
                  <a:lnTo>
                    <a:pt x="244499" y="9101"/>
                  </a:lnTo>
                  <a:lnTo>
                    <a:pt x="244499" y="27308"/>
                  </a:lnTo>
                  <a:lnTo>
                    <a:pt x="234631" y="34857"/>
                  </a:lnTo>
                  <a:lnTo>
                    <a:pt x="232706" y="48524"/>
                  </a:lnTo>
                  <a:lnTo>
                    <a:pt x="228808" y="56122"/>
                  </a:lnTo>
                  <a:lnTo>
                    <a:pt x="213216" y="69740"/>
                  </a:lnTo>
                  <a:lnTo>
                    <a:pt x="207345" y="69740"/>
                  </a:lnTo>
                  <a:lnTo>
                    <a:pt x="199500" y="74280"/>
                  </a:lnTo>
                  <a:lnTo>
                    <a:pt x="187757" y="78819"/>
                  </a:lnTo>
                  <a:lnTo>
                    <a:pt x="177889" y="86467"/>
                  </a:lnTo>
                  <a:lnTo>
                    <a:pt x="172017" y="86467"/>
                  </a:lnTo>
                  <a:lnTo>
                    <a:pt x="158350" y="95496"/>
                  </a:lnTo>
                  <a:lnTo>
                    <a:pt x="150554" y="98555"/>
                  </a:lnTo>
                  <a:lnTo>
                    <a:pt x="146607" y="104624"/>
                  </a:lnTo>
                  <a:lnTo>
                    <a:pt x="129042" y="113703"/>
                  </a:lnTo>
                  <a:lnTo>
                    <a:pt x="134913" y="125840"/>
                  </a:lnTo>
                  <a:lnTo>
                    <a:pt x="132940" y="133439"/>
                  </a:lnTo>
                  <a:lnTo>
                    <a:pt x="119322" y="142517"/>
                  </a:lnTo>
                  <a:lnTo>
                    <a:pt x="111477" y="160724"/>
                  </a:lnTo>
                  <a:lnTo>
                    <a:pt x="109503" y="166842"/>
                  </a:lnTo>
                  <a:lnTo>
                    <a:pt x="115375" y="177450"/>
                  </a:lnTo>
                  <a:lnTo>
                    <a:pt x="111477" y="188058"/>
                  </a:lnTo>
                  <a:lnTo>
                    <a:pt x="115375" y="191068"/>
                  </a:lnTo>
                  <a:lnTo>
                    <a:pt x="117299" y="195657"/>
                  </a:lnTo>
                  <a:lnTo>
                    <a:pt x="115375" y="204736"/>
                  </a:lnTo>
                  <a:lnTo>
                    <a:pt x="91938" y="227481"/>
                  </a:lnTo>
                  <a:lnTo>
                    <a:pt x="89964" y="235031"/>
                  </a:lnTo>
                  <a:lnTo>
                    <a:pt x="80096" y="244158"/>
                  </a:lnTo>
                  <a:lnTo>
                    <a:pt x="68353" y="245688"/>
                  </a:lnTo>
                  <a:lnTo>
                    <a:pt x="44917" y="265424"/>
                  </a:lnTo>
                  <a:lnTo>
                    <a:pt x="9786" y="270013"/>
                  </a:lnTo>
                  <a:lnTo>
                    <a:pt x="-82" y="282101"/>
                  </a:lnTo>
                  <a:lnTo>
                    <a:pt x="144486" y="28363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Graphic 2">
              <a:extLst>
                <a:ext uri="{FF2B5EF4-FFF2-40B4-BE49-F238E27FC236}">
                  <a16:creationId xmlns:a16="http://schemas.microsoft.com/office/drawing/2014/main" id="{05D3D34D-21A5-4EA6-885C-0B02EC54F93A}"/>
                </a:ext>
              </a:extLst>
            </p:cNvPr>
            <p:cNvSpPr/>
            <p:nvPr/>
          </p:nvSpPr>
          <p:spPr>
            <a:xfrm>
              <a:off x="4875497" y="3844722"/>
              <a:ext cx="264431" cy="183019"/>
            </a:xfrm>
            <a:custGeom>
              <a:avLst/>
              <a:gdLst>
                <a:gd name="connsiteX0" fmla="*/ 290977 w 291058"/>
                <a:gd name="connsiteY0" fmla="*/ 9052 h 201456"/>
                <a:gd name="connsiteX1" fmla="*/ 290977 w 291058"/>
                <a:gd name="connsiteY1" fmla="*/ 1503 h 201456"/>
                <a:gd name="connsiteX2" fmla="*/ 147347 w 291058"/>
                <a:gd name="connsiteY2" fmla="*/ -27 h 201456"/>
                <a:gd name="connsiteX3" fmla="*/ 133779 w 291058"/>
                <a:gd name="connsiteY3" fmla="*/ 15022 h 201456"/>
                <a:gd name="connsiteX4" fmla="*/ 133779 w 291058"/>
                <a:gd name="connsiteY4" fmla="*/ 28590 h 201456"/>
                <a:gd name="connsiteX5" fmla="*/ 127956 w 291058"/>
                <a:gd name="connsiteY5" fmla="*/ 28590 h 201456"/>
                <a:gd name="connsiteX6" fmla="*/ 102743 w 291058"/>
                <a:gd name="connsiteY6" fmla="*/ 39100 h 201456"/>
                <a:gd name="connsiteX7" fmla="*/ 100770 w 291058"/>
                <a:gd name="connsiteY7" fmla="*/ 43639 h 201456"/>
                <a:gd name="connsiteX8" fmla="*/ 90901 w 291058"/>
                <a:gd name="connsiteY8" fmla="*/ 49609 h 201456"/>
                <a:gd name="connsiteX9" fmla="*/ 92826 w 291058"/>
                <a:gd name="connsiteY9" fmla="*/ 57109 h 201456"/>
                <a:gd name="connsiteX10" fmla="*/ 71462 w 291058"/>
                <a:gd name="connsiteY10" fmla="*/ 84246 h 201456"/>
                <a:gd name="connsiteX11" fmla="*/ 69537 w 291058"/>
                <a:gd name="connsiteY11" fmla="*/ 93276 h 201456"/>
                <a:gd name="connsiteX12" fmla="*/ 53995 w 291058"/>
                <a:gd name="connsiteY12" fmla="*/ 106745 h 201456"/>
                <a:gd name="connsiteX13" fmla="*/ 46249 w 291058"/>
                <a:gd name="connsiteY13" fmla="*/ 109805 h 201456"/>
                <a:gd name="connsiteX14" fmla="*/ 38502 w 291058"/>
                <a:gd name="connsiteY14" fmla="*/ 126334 h 201456"/>
                <a:gd name="connsiteX15" fmla="*/ 38502 w 291058"/>
                <a:gd name="connsiteY15" fmla="*/ 130823 h 201456"/>
                <a:gd name="connsiteX16" fmla="*/ 26858 w 291058"/>
                <a:gd name="connsiteY16" fmla="*/ 145873 h 201456"/>
                <a:gd name="connsiteX17" fmla="*/ 24884 w 291058"/>
                <a:gd name="connsiteY17" fmla="*/ 148882 h 201456"/>
                <a:gd name="connsiteX18" fmla="*/ 28782 w 291058"/>
                <a:gd name="connsiteY18" fmla="*/ 153372 h 201456"/>
                <a:gd name="connsiteX19" fmla="*/ 22960 w 291058"/>
                <a:gd name="connsiteY19" fmla="*/ 154902 h 201456"/>
                <a:gd name="connsiteX20" fmla="*/ 11562 w 291058"/>
                <a:gd name="connsiteY20" fmla="*/ 171332 h 201456"/>
                <a:gd name="connsiteX21" fmla="*/ 7664 w 291058"/>
                <a:gd name="connsiteY21" fmla="*/ 172812 h 201456"/>
                <a:gd name="connsiteX22" fmla="*/ 1842 w 291058"/>
                <a:gd name="connsiteY22" fmla="*/ 178881 h 201456"/>
                <a:gd name="connsiteX23" fmla="*/ 3816 w 291058"/>
                <a:gd name="connsiteY23" fmla="*/ 186381 h 201456"/>
                <a:gd name="connsiteX24" fmla="*/ -82 w 291058"/>
                <a:gd name="connsiteY24" fmla="*/ 192400 h 201456"/>
                <a:gd name="connsiteX25" fmla="*/ -82 w 291058"/>
                <a:gd name="connsiteY25" fmla="*/ 201430 h 201456"/>
                <a:gd name="connsiteX26" fmla="*/ 141574 w 291058"/>
                <a:gd name="connsiteY26" fmla="*/ 199949 h 201456"/>
                <a:gd name="connsiteX27" fmla="*/ 141574 w 291058"/>
                <a:gd name="connsiteY27" fmla="*/ 144392 h 201456"/>
                <a:gd name="connsiteX28" fmla="*/ 145472 w 291058"/>
                <a:gd name="connsiteY28" fmla="*/ 136843 h 201456"/>
                <a:gd name="connsiteX29" fmla="*/ 155340 w 291058"/>
                <a:gd name="connsiteY29" fmla="*/ 132353 h 201456"/>
                <a:gd name="connsiteX30" fmla="*/ 174386 w 291058"/>
                <a:gd name="connsiteY30" fmla="*/ 132353 h 201456"/>
                <a:gd name="connsiteX31" fmla="*/ 176310 w 291058"/>
                <a:gd name="connsiteY31" fmla="*/ 51139 h 201456"/>
                <a:gd name="connsiteX32" fmla="*/ 290829 w 291058"/>
                <a:gd name="connsiteY32" fmla="*/ 52619 h 201456"/>
                <a:gd name="connsiteX33" fmla="*/ 290829 w 291058"/>
                <a:gd name="connsiteY33" fmla="*/ 9052 h 20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91058" h="201456">
                  <a:moveTo>
                    <a:pt x="290977" y="9052"/>
                  </a:moveTo>
                  <a:lnTo>
                    <a:pt x="290977" y="1503"/>
                  </a:lnTo>
                  <a:lnTo>
                    <a:pt x="147347" y="-27"/>
                  </a:lnTo>
                  <a:lnTo>
                    <a:pt x="133779" y="15022"/>
                  </a:lnTo>
                  <a:lnTo>
                    <a:pt x="133779" y="28590"/>
                  </a:lnTo>
                  <a:lnTo>
                    <a:pt x="127956" y="28590"/>
                  </a:lnTo>
                  <a:lnTo>
                    <a:pt x="102743" y="39100"/>
                  </a:lnTo>
                  <a:lnTo>
                    <a:pt x="100770" y="43639"/>
                  </a:lnTo>
                  <a:lnTo>
                    <a:pt x="90901" y="49609"/>
                  </a:lnTo>
                  <a:lnTo>
                    <a:pt x="92826" y="57109"/>
                  </a:lnTo>
                  <a:lnTo>
                    <a:pt x="71462" y="84246"/>
                  </a:lnTo>
                  <a:lnTo>
                    <a:pt x="69537" y="93276"/>
                  </a:lnTo>
                  <a:lnTo>
                    <a:pt x="53995" y="106745"/>
                  </a:lnTo>
                  <a:lnTo>
                    <a:pt x="46249" y="109805"/>
                  </a:lnTo>
                  <a:lnTo>
                    <a:pt x="38502" y="126334"/>
                  </a:lnTo>
                  <a:lnTo>
                    <a:pt x="38502" y="130823"/>
                  </a:lnTo>
                  <a:lnTo>
                    <a:pt x="26858" y="145873"/>
                  </a:lnTo>
                  <a:lnTo>
                    <a:pt x="24884" y="148882"/>
                  </a:lnTo>
                  <a:lnTo>
                    <a:pt x="28782" y="153372"/>
                  </a:lnTo>
                  <a:lnTo>
                    <a:pt x="22960" y="154902"/>
                  </a:lnTo>
                  <a:lnTo>
                    <a:pt x="11562" y="171332"/>
                  </a:lnTo>
                  <a:lnTo>
                    <a:pt x="7664" y="172812"/>
                  </a:lnTo>
                  <a:lnTo>
                    <a:pt x="1842" y="178881"/>
                  </a:lnTo>
                  <a:lnTo>
                    <a:pt x="3816" y="186381"/>
                  </a:lnTo>
                  <a:lnTo>
                    <a:pt x="-82" y="192400"/>
                  </a:lnTo>
                  <a:lnTo>
                    <a:pt x="-82" y="201430"/>
                  </a:lnTo>
                  <a:lnTo>
                    <a:pt x="141574" y="199949"/>
                  </a:lnTo>
                  <a:lnTo>
                    <a:pt x="141574" y="144392"/>
                  </a:lnTo>
                  <a:lnTo>
                    <a:pt x="145472" y="136843"/>
                  </a:lnTo>
                  <a:lnTo>
                    <a:pt x="155340" y="132353"/>
                  </a:lnTo>
                  <a:lnTo>
                    <a:pt x="174386" y="132353"/>
                  </a:lnTo>
                  <a:lnTo>
                    <a:pt x="176310" y="51139"/>
                  </a:lnTo>
                  <a:lnTo>
                    <a:pt x="290829" y="52619"/>
                  </a:lnTo>
                  <a:lnTo>
                    <a:pt x="290829" y="905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Graphic 2">
              <a:extLst>
                <a:ext uri="{FF2B5EF4-FFF2-40B4-BE49-F238E27FC236}">
                  <a16:creationId xmlns:a16="http://schemas.microsoft.com/office/drawing/2014/main" id="{D87CFD96-9FF3-4BD9-82CE-EDE3128A8C46}"/>
                </a:ext>
              </a:extLst>
            </p:cNvPr>
            <p:cNvSpPr/>
            <p:nvPr/>
          </p:nvSpPr>
          <p:spPr>
            <a:xfrm>
              <a:off x="4872134" y="3851534"/>
              <a:ext cx="386763" cy="366171"/>
            </a:xfrm>
            <a:custGeom>
              <a:avLst/>
              <a:gdLst>
                <a:gd name="connsiteX0" fmla="*/ 3767 w 425708"/>
                <a:gd name="connsiteY0" fmla="*/ 194670 h 403061"/>
                <a:gd name="connsiteX1" fmla="*/ 146212 w 425708"/>
                <a:gd name="connsiteY1" fmla="*/ 193141 h 403061"/>
                <a:gd name="connsiteX2" fmla="*/ 146212 w 425708"/>
                <a:gd name="connsiteY2" fmla="*/ 136843 h 403061"/>
                <a:gd name="connsiteX3" fmla="*/ 150110 w 425708"/>
                <a:gd name="connsiteY3" fmla="*/ 129245 h 403061"/>
                <a:gd name="connsiteX4" fmla="*/ 159978 w 425708"/>
                <a:gd name="connsiteY4" fmla="*/ 124706 h 403061"/>
                <a:gd name="connsiteX5" fmla="*/ 179714 w 425708"/>
                <a:gd name="connsiteY5" fmla="*/ 124706 h 403061"/>
                <a:gd name="connsiteX6" fmla="*/ 181688 w 425708"/>
                <a:gd name="connsiteY6" fmla="*/ 42554 h 403061"/>
                <a:gd name="connsiteX7" fmla="*/ 296848 w 425708"/>
                <a:gd name="connsiteY7" fmla="*/ 44083 h 403061"/>
                <a:gd name="connsiteX8" fmla="*/ 296848 w 425708"/>
                <a:gd name="connsiteY8" fmla="*/ -27 h 403061"/>
                <a:gd name="connsiteX9" fmla="*/ 425627 w 425708"/>
                <a:gd name="connsiteY9" fmla="*/ 76007 h 403061"/>
                <a:gd name="connsiteX10" fmla="*/ 382700 w 425708"/>
                <a:gd name="connsiteY10" fmla="*/ 76007 h 403061"/>
                <a:gd name="connsiteX11" fmla="*/ 410035 w 425708"/>
                <a:gd name="connsiteY11" fmla="*/ 348267 h 403061"/>
                <a:gd name="connsiteX12" fmla="*/ 421729 w 425708"/>
                <a:gd name="connsiteY12" fmla="*/ 355865 h 403061"/>
                <a:gd name="connsiteX13" fmla="*/ 410035 w 425708"/>
                <a:gd name="connsiteY13" fmla="*/ 383249 h 403061"/>
                <a:gd name="connsiteX14" fmla="*/ 281208 w 425708"/>
                <a:gd name="connsiteY14" fmla="*/ 384779 h 403061"/>
                <a:gd name="connsiteX15" fmla="*/ 279234 w 425708"/>
                <a:gd name="connsiteY15" fmla="*/ 383249 h 403061"/>
                <a:gd name="connsiteX16" fmla="*/ 275336 w 425708"/>
                <a:gd name="connsiteY16" fmla="*/ 377131 h 403061"/>
                <a:gd name="connsiteX17" fmla="*/ 269514 w 425708"/>
                <a:gd name="connsiteY17" fmla="*/ 377131 h 403061"/>
                <a:gd name="connsiteX18" fmla="*/ 263642 w 425708"/>
                <a:gd name="connsiteY18" fmla="*/ 384779 h 403061"/>
                <a:gd name="connsiteX19" fmla="*/ 259745 w 425708"/>
                <a:gd name="connsiteY19" fmla="*/ 378660 h 403061"/>
                <a:gd name="connsiteX20" fmla="*/ 259745 w 425708"/>
                <a:gd name="connsiteY20" fmla="*/ 371062 h 403061"/>
                <a:gd name="connsiteX21" fmla="*/ 249877 w 425708"/>
                <a:gd name="connsiteY21" fmla="*/ 368052 h 403061"/>
                <a:gd name="connsiteX22" fmla="*/ 232262 w 425708"/>
                <a:gd name="connsiteY22" fmla="*/ 374121 h 403061"/>
                <a:gd name="connsiteX23" fmla="*/ 222394 w 425708"/>
                <a:gd name="connsiteY23" fmla="*/ 389318 h 403061"/>
                <a:gd name="connsiteX24" fmla="*/ 218496 w 425708"/>
                <a:gd name="connsiteY24" fmla="*/ 387788 h 403061"/>
                <a:gd name="connsiteX25" fmla="*/ 212674 w 425708"/>
                <a:gd name="connsiteY25" fmla="*/ 377131 h 403061"/>
                <a:gd name="connsiteX26" fmla="*/ 212674 w 425708"/>
                <a:gd name="connsiteY26" fmla="*/ 369532 h 403061"/>
                <a:gd name="connsiteX27" fmla="*/ 204878 w 425708"/>
                <a:gd name="connsiteY27" fmla="*/ 369532 h 403061"/>
                <a:gd name="connsiteX28" fmla="*/ 193135 w 425708"/>
                <a:gd name="connsiteY28" fmla="*/ 372592 h 403061"/>
                <a:gd name="connsiteX29" fmla="*/ 193135 w 425708"/>
                <a:gd name="connsiteY29" fmla="*/ 384779 h 403061"/>
                <a:gd name="connsiteX30" fmla="*/ 195059 w 425708"/>
                <a:gd name="connsiteY30" fmla="*/ 389318 h 403061"/>
                <a:gd name="connsiteX31" fmla="*/ 191211 w 425708"/>
                <a:gd name="connsiteY31" fmla="*/ 396916 h 403061"/>
                <a:gd name="connsiteX32" fmla="*/ 177543 w 425708"/>
                <a:gd name="connsiteY32" fmla="*/ 396916 h 403061"/>
                <a:gd name="connsiteX33" fmla="*/ 169748 w 425708"/>
                <a:gd name="connsiteY33" fmla="*/ 403034 h 403061"/>
                <a:gd name="connsiteX34" fmla="*/ 169748 w 425708"/>
                <a:gd name="connsiteY34" fmla="*/ 403034 h 403061"/>
                <a:gd name="connsiteX35" fmla="*/ 167774 w 425708"/>
                <a:gd name="connsiteY35" fmla="*/ 398446 h 403061"/>
                <a:gd name="connsiteX36" fmla="*/ 159978 w 425708"/>
                <a:gd name="connsiteY36" fmla="*/ 393857 h 403061"/>
                <a:gd name="connsiteX37" fmla="*/ 152182 w 425708"/>
                <a:gd name="connsiteY37" fmla="*/ 390847 h 403061"/>
                <a:gd name="connsiteX38" fmla="*/ 150209 w 425708"/>
                <a:gd name="connsiteY38" fmla="*/ 384779 h 403061"/>
                <a:gd name="connsiteX39" fmla="*/ 142364 w 425708"/>
                <a:gd name="connsiteY39" fmla="*/ 384779 h 403061"/>
                <a:gd name="connsiteX40" fmla="*/ 142364 w 425708"/>
                <a:gd name="connsiteY40" fmla="*/ 375601 h 403061"/>
                <a:gd name="connsiteX41" fmla="*/ 134568 w 425708"/>
                <a:gd name="connsiteY41" fmla="*/ 371062 h 403061"/>
                <a:gd name="connsiteX42" fmla="*/ 134568 w 425708"/>
                <a:gd name="connsiteY42" fmla="*/ 363464 h 403061"/>
                <a:gd name="connsiteX43" fmla="*/ 130719 w 425708"/>
                <a:gd name="connsiteY43" fmla="*/ 360405 h 403061"/>
                <a:gd name="connsiteX44" fmla="*/ 124848 w 425708"/>
                <a:gd name="connsiteY44" fmla="*/ 361983 h 403061"/>
                <a:gd name="connsiteX45" fmla="*/ 122875 w 425708"/>
                <a:gd name="connsiteY45" fmla="*/ 360405 h 403061"/>
                <a:gd name="connsiteX46" fmla="*/ 115078 w 425708"/>
                <a:gd name="connsiteY46" fmla="*/ 361983 h 403061"/>
                <a:gd name="connsiteX47" fmla="*/ 111180 w 425708"/>
                <a:gd name="connsiteY47" fmla="*/ 360405 h 403061"/>
                <a:gd name="connsiteX48" fmla="*/ 111180 w 425708"/>
                <a:gd name="connsiteY48" fmla="*/ 357345 h 403061"/>
                <a:gd name="connsiteX49" fmla="*/ 103385 w 425708"/>
                <a:gd name="connsiteY49" fmla="*/ 348267 h 403061"/>
                <a:gd name="connsiteX50" fmla="*/ 95540 w 425708"/>
                <a:gd name="connsiteY50" fmla="*/ 346737 h 403061"/>
                <a:gd name="connsiteX51" fmla="*/ 78024 w 425708"/>
                <a:gd name="connsiteY51" fmla="*/ 342198 h 403061"/>
                <a:gd name="connsiteX52" fmla="*/ 72152 w 425708"/>
                <a:gd name="connsiteY52" fmla="*/ 342198 h 403061"/>
                <a:gd name="connsiteX53" fmla="*/ 54587 w 425708"/>
                <a:gd name="connsiteY53" fmla="*/ 348267 h 403061"/>
                <a:gd name="connsiteX54" fmla="*/ 33124 w 425708"/>
                <a:gd name="connsiteY54" fmla="*/ 349796 h 403061"/>
                <a:gd name="connsiteX55" fmla="*/ 27253 w 425708"/>
                <a:gd name="connsiteY55" fmla="*/ 357345 h 403061"/>
                <a:gd name="connsiteX56" fmla="*/ 21381 w 425708"/>
                <a:gd name="connsiteY56" fmla="*/ 357345 h 403061"/>
                <a:gd name="connsiteX57" fmla="*/ 13586 w 425708"/>
                <a:gd name="connsiteY57" fmla="*/ 360405 h 403061"/>
                <a:gd name="connsiteX58" fmla="*/ 15559 w 425708"/>
                <a:gd name="connsiteY58" fmla="*/ 348267 h 403061"/>
                <a:gd name="connsiteX59" fmla="*/ 23355 w 425708"/>
                <a:gd name="connsiteY59" fmla="*/ 330011 h 403061"/>
                <a:gd name="connsiteX60" fmla="*/ 31150 w 425708"/>
                <a:gd name="connsiteY60" fmla="*/ 317824 h 403061"/>
                <a:gd name="connsiteX61" fmla="*/ 33124 w 425708"/>
                <a:gd name="connsiteY61" fmla="*/ 295029 h 403061"/>
                <a:gd name="connsiteX62" fmla="*/ 27253 w 425708"/>
                <a:gd name="connsiteY62" fmla="*/ 264585 h 403061"/>
                <a:gd name="connsiteX63" fmla="*/ 15559 w 425708"/>
                <a:gd name="connsiteY63" fmla="*/ 250918 h 403061"/>
                <a:gd name="connsiteX64" fmla="*/ 21381 w 425708"/>
                <a:gd name="connsiteY64" fmla="*/ 247859 h 403061"/>
                <a:gd name="connsiteX65" fmla="*/ 25329 w 425708"/>
                <a:gd name="connsiteY65" fmla="*/ 247859 h 403061"/>
                <a:gd name="connsiteX66" fmla="*/ 27253 w 425708"/>
                <a:gd name="connsiteY66" fmla="*/ 237251 h 403061"/>
                <a:gd name="connsiteX67" fmla="*/ 25329 w 425708"/>
                <a:gd name="connsiteY67" fmla="*/ 231133 h 403061"/>
                <a:gd name="connsiteX68" fmla="*/ 29177 w 425708"/>
                <a:gd name="connsiteY68" fmla="*/ 228074 h 403061"/>
                <a:gd name="connsiteX69" fmla="*/ 17532 w 425708"/>
                <a:gd name="connsiteY69" fmla="*/ 212926 h 403061"/>
                <a:gd name="connsiteX70" fmla="*/ 13586 w 425708"/>
                <a:gd name="connsiteY70" fmla="*/ 215936 h 403061"/>
                <a:gd name="connsiteX71" fmla="*/ 11661 w 425708"/>
                <a:gd name="connsiteY71" fmla="*/ 214406 h 403061"/>
                <a:gd name="connsiteX72" fmla="*/ 7714 w 425708"/>
                <a:gd name="connsiteY72" fmla="*/ 208338 h 403061"/>
                <a:gd name="connsiteX73" fmla="*/ 1892 w 425708"/>
                <a:gd name="connsiteY73" fmla="*/ 214406 h 403061"/>
                <a:gd name="connsiteX74" fmla="*/ -82 w 425708"/>
                <a:gd name="connsiteY74" fmla="*/ 203749 h 403061"/>
                <a:gd name="connsiteX75" fmla="*/ 3865 w 425708"/>
                <a:gd name="connsiteY75" fmla="*/ 197680 h 40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425708" h="403061">
                  <a:moveTo>
                    <a:pt x="3767" y="194670"/>
                  </a:moveTo>
                  <a:lnTo>
                    <a:pt x="146212" y="193141"/>
                  </a:lnTo>
                  <a:lnTo>
                    <a:pt x="146212" y="136843"/>
                  </a:lnTo>
                  <a:lnTo>
                    <a:pt x="150110" y="129245"/>
                  </a:lnTo>
                  <a:lnTo>
                    <a:pt x="159978" y="124706"/>
                  </a:lnTo>
                  <a:lnTo>
                    <a:pt x="179714" y="124706"/>
                  </a:lnTo>
                  <a:lnTo>
                    <a:pt x="181688" y="42554"/>
                  </a:lnTo>
                  <a:lnTo>
                    <a:pt x="296848" y="44083"/>
                  </a:lnTo>
                  <a:lnTo>
                    <a:pt x="296848" y="-27"/>
                  </a:lnTo>
                  <a:lnTo>
                    <a:pt x="425627" y="76007"/>
                  </a:lnTo>
                  <a:lnTo>
                    <a:pt x="382700" y="76007"/>
                  </a:lnTo>
                  <a:lnTo>
                    <a:pt x="410035" y="348267"/>
                  </a:lnTo>
                  <a:lnTo>
                    <a:pt x="421729" y="355865"/>
                  </a:lnTo>
                  <a:lnTo>
                    <a:pt x="410035" y="383249"/>
                  </a:lnTo>
                  <a:lnTo>
                    <a:pt x="281208" y="384779"/>
                  </a:lnTo>
                  <a:lnTo>
                    <a:pt x="279234" y="383249"/>
                  </a:lnTo>
                  <a:lnTo>
                    <a:pt x="275336" y="377131"/>
                  </a:lnTo>
                  <a:lnTo>
                    <a:pt x="269514" y="377131"/>
                  </a:lnTo>
                  <a:lnTo>
                    <a:pt x="263642" y="384779"/>
                  </a:lnTo>
                  <a:lnTo>
                    <a:pt x="259745" y="378660"/>
                  </a:lnTo>
                  <a:lnTo>
                    <a:pt x="259745" y="371062"/>
                  </a:lnTo>
                  <a:lnTo>
                    <a:pt x="249877" y="368052"/>
                  </a:lnTo>
                  <a:lnTo>
                    <a:pt x="232262" y="374121"/>
                  </a:lnTo>
                  <a:lnTo>
                    <a:pt x="222394" y="389318"/>
                  </a:lnTo>
                  <a:lnTo>
                    <a:pt x="218496" y="387788"/>
                  </a:lnTo>
                  <a:lnTo>
                    <a:pt x="212674" y="377131"/>
                  </a:lnTo>
                  <a:lnTo>
                    <a:pt x="212674" y="369532"/>
                  </a:lnTo>
                  <a:lnTo>
                    <a:pt x="204878" y="369532"/>
                  </a:lnTo>
                  <a:lnTo>
                    <a:pt x="193135" y="372592"/>
                  </a:lnTo>
                  <a:lnTo>
                    <a:pt x="193135" y="384779"/>
                  </a:lnTo>
                  <a:lnTo>
                    <a:pt x="195059" y="389318"/>
                  </a:lnTo>
                  <a:lnTo>
                    <a:pt x="191211" y="396916"/>
                  </a:lnTo>
                  <a:lnTo>
                    <a:pt x="177543" y="396916"/>
                  </a:lnTo>
                  <a:lnTo>
                    <a:pt x="169748" y="403034"/>
                  </a:lnTo>
                  <a:lnTo>
                    <a:pt x="169748" y="403034"/>
                  </a:lnTo>
                  <a:lnTo>
                    <a:pt x="167774" y="398446"/>
                  </a:lnTo>
                  <a:lnTo>
                    <a:pt x="159978" y="393857"/>
                  </a:lnTo>
                  <a:lnTo>
                    <a:pt x="152182" y="390847"/>
                  </a:lnTo>
                  <a:lnTo>
                    <a:pt x="150209" y="384779"/>
                  </a:lnTo>
                  <a:lnTo>
                    <a:pt x="142364" y="384779"/>
                  </a:lnTo>
                  <a:lnTo>
                    <a:pt x="142364" y="375601"/>
                  </a:lnTo>
                  <a:lnTo>
                    <a:pt x="134568" y="371062"/>
                  </a:lnTo>
                  <a:lnTo>
                    <a:pt x="134568" y="363464"/>
                  </a:lnTo>
                  <a:lnTo>
                    <a:pt x="130719" y="360405"/>
                  </a:lnTo>
                  <a:lnTo>
                    <a:pt x="124848" y="361983"/>
                  </a:lnTo>
                  <a:lnTo>
                    <a:pt x="122875" y="360405"/>
                  </a:lnTo>
                  <a:lnTo>
                    <a:pt x="115078" y="361983"/>
                  </a:lnTo>
                  <a:lnTo>
                    <a:pt x="111180" y="360405"/>
                  </a:lnTo>
                  <a:lnTo>
                    <a:pt x="111180" y="357345"/>
                  </a:lnTo>
                  <a:lnTo>
                    <a:pt x="103385" y="348267"/>
                  </a:lnTo>
                  <a:lnTo>
                    <a:pt x="95540" y="346737"/>
                  </a:lnTo>
                  <a:lnTo>
                    <a:pt x="78024" y="342198"/>
                  </a:lnTo>
                  <a:lnTo>
                    <a:pt x="72152" y="342198"/>
                  </a:lnTo>
                  <a:lnTo>
                    <a:pt x="54587" y="348267"/>
                  </a:lnTo>
                  <a:lnTo>
                    <a:pt x="33124" y="349796"/>
                  </a:lnTo>
                  <a:lnTo>
                    <a:pt x="27253" y="357345"/>
                  </a:lnTo>
                  <a:lnTo>
                    <a:pt x="21381" y="357345"/>
                  </a:lnTo>
                  <a:lnTo>
                    <a:pt x="13586" y="360405"/>
                  </a:lnTo>
                  <a:lnTo>
                    <a:pt x="15559" y="348267"/>
                  </a:lnTo>
                  <a:lnTo>
                    <a:pt x="23355" y="330011"/>
                  </a:lnTo>
                  <a:lnTo>
                    <a:pt x="31150" y="317824"/>
                  </a:lnTo>
                  <a:lnTo>
                    <a:pt x="33124" y="295029"/>
                  </a:lnTo>
                  <a:lnTo>
                    <a:pt x="27253" y="264585"/>
                  </a:lnTo>
                  <a:lnTo>
                    <a:pt x="15559" y="250918"/>
                  </a:lnTo>
                  <a:lnTo>
                    <a:pt x="21381" y="247859"/>
                  </a:lnTo>
                  <a:lnTo>
                    <a:pt x="25329" y="247859"/>
                  </a:lnTo>
                  <a:lnTo>
                    <a:pt x="27253" y="237251"/>
                  </a:lnTo>
                  <a:lnTo>
                    <a:pt x="25329" y="231133"/>
                  </a:lnTo>
                  <a:lnTo>
                    <a:pt x="29177" y="228074"/>
                  </a:lnTo>
                  <a:lnTo>
                    <a:pt x="17532" y="212926"/>
                  </a:lnTo>
                  <a:lnTo>
                    <a:pt x="13586" y="215936"/>
                  </a:lnTo>
                  <a:lnTo>
                    <a:pt x="11661" y="214406"/>
                  </a:lnTo>
                  <a:lnTo>
                    <a:pt x="7714" y="208338"/>
                  </a:lnTo>
                  <a:lnTo>
                    <a:pt x="1892" y="214406"/>
                  </a:lnTo>
                  <a:lnTo>
                    <a:pt x="-82" y="203749"/>
                  </a:lnTo>
                  <a:lnTo>
                    <a:pt x="3865" y="19768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Graphic 2">
              <a:extLst>
                <a:ext uri="{FF2B5EF4-FFF2-40B4-BE49-F238E27FC236}">
                  <a16:creationId xmlns:a16="http://schemas.microsoft.com/office/drawing/2014/main" id="{3522A4BE-3126-4976-97DF-B3BF7F532566}"/>
                </a:ext>
              </a:extLst>
            </p:cNvPr>
            <p:cNvSpPr/>
            <p:nvPr/>
          </p:nvSpPr>
          <p:spPr>
            <a:xfrm>
              <a:off x="5024634" y="3919400"/>
              <a:ext cx="535808" cy="427177"/>
            </a:xfrm>
            <a:custGeom>
              <a:avLst/>
              <a:gdLst>
                <a:gd name="connsiteX0" fmla="*/ -82 w 589764"/>
                <a:gd name="connsiteY0" fmla="*/ 327100 h 470213"/>
                <a:gd name="connsiteX1" fmla="*/ 7812 w 589764"/>
                <a:gd name="connsiteY1" fmla="*/ 320981 h 470213"/>
                <a:gd name="connsiteX2" fmla="*/ 21529 w 589764"/>
                <a:gd name="connsiteY2" fmla="*/ 320981 h 470213"/>
                <a:gd name="connsiteX3" fmla="*/ 25476 w 589764"/>
                <a:gd name="connsiteY3" fmla="*/ 313383 h 470213"/>
                <a:gd name="connsiteX4" fmla="*/ 23502 w 589764"/>
                <a:gd name="connsiteY4" fmla="*/ 308844 h 470213"/>
                <a:gd name="connsiteX5" fmla="*/ 23502 w 589764"/>
                <a:gd name="connsiteY5" fmla="*/ 296607 h 470213"/>
                <a:gd name="connsiteX6" fmla="*/ 35295 w 589764"/>
                <a:gd name="connsiteY6" fmla="*/ 293598 h 470213"/>
                <a:gd name="connsiteX7" fmla="*/ 43190 w 589764"/>
                <a:gd name="connsiteY7" fmla="*/ 293598 h 470213"/>
                <a:gd name="connsiteX8" fmla="*/ 43190 w 589764"/>
                <a:gd name="connsiteY8" fmla="*/ 301295 h 470213"/>
                <a:gd name="connsiteX9" fmla="*/ 49061 w 589764"/>
                <a:gd name="connsiteY9" fmla="*/ 311952 h 470213"/>
                <a:gd name="connsiteX10" fmla="*/ 53008 w 589764"/>
                <a:gd name="connsiteY10" fmla="*/ 313482 h 470213"/>
                <a:gd name="connsiteX11" fmla="*/ 62876 w 589764"/>
                <a:gd name="connsiteY11" fmla="*/ 298236 h 470213"/>
                <a:gd name="connsiteX12" fmla="*/ 80540 w 589764"/>
                <a:gd name="connsiteY12" fmla="*/ 292167 h 470213"/>
                <a:gd name="connsiteX13" fmla="*/ 90408 w 589764"/>
                <a:gd name="connsiteY13" fmla="*/ 295226 h 470213"/>
                <a:gd name="connsiteX14" fmla="*/ 90408 w 589764"/>
                <a:gd name="connsiteY14" fmla="*/ 302824 h 470213"/>
                <a:gd name="connsiteX15" fmla="*/ 94306 w 589764"/>
                <a:gd name="connsiteY15" fmla="*/ 308942 h 470213"/>
                <a:gd name="connsiteX16" fmla="*/ 100227 w 589764"/>
                <a:gd name="connsiteY16" fmla="*/ 301295 h 470213"/>
                <a:gd name="connsiteX17" fmla="*/ 106099 w 589764"/>
                <a:gd name="connsiteY17" fmla="*/ 301295 h 470213"/>
                <a:gd name="connsiteX18" fmla="*/ 110046 w 589764"/>
                <a:gd name="connsiteY18" fmla="*/ 307413 h 470213"/>
                <a:gd name="connsiteX19" fmla="*/ 112019 w 589764"/>
                <a:gd name="connsiteY19" fmla="*/ 308942 h 470213"/>
                <a:gd name="connsiteX20" fmla="*/ 241735 w 589764"/>
                <a:gd name="connsiteY20" fmla="*/ 307413 h 470213"/>
                <a:gd name="connsiteX21" fmla="*/ 253528 w 589764"/>
                <a:gd name="connsiteY21" fmla="*/ 279980 h 470213"/>
                <a:gd name="connsiteX22" fmla="*/ 241735 w 589764"/>
                <a:gd name="connsiteY22" fmla="*/ 272381 h 470213"/>
                <a:gd name="connsiteX23" fmla="*/ 214203 w 589764"/>
                <a:gd name="connsiteY23" fmla="*/ -27 h 470213"/>
                <a:gd name="connsiteX24" fmla="*/ 257425 w 589764"/>
                <a:gd name="connsiteY24" fmla="*/ -27 h 470213"/>
                <a:gd name="connsiteX25" fmla="*/ 495295 w 589764"/>
                <a:gd name="connsiteY25" fmla="*/ 133883 h 470213"/>
                <a:gd name="connsiteX26" fmla="*/ 499193 w 589764"/>
                <a:gd name="connsiteY26" fmla="*/ 149129 h 470213"/>
                <a:gd name="connsiteX27" fmla="*/ 507087 w 589764"/>
                <a:gd name="connsiteY27" fmla="*/ 155198 h 470213"/>
                <a:gd name="connsiteX28" fmla="*/ 520853 w 589764"/>
                <a:gd name="connsiteY28" fmla="*/ 155198 h 470213"/>
                <a:gd name="connsiteX29" fmla="*/ 530721 w 589764"/>
                <a:gd name="connsiteY29" fmla="*/ 156727 h 470213"/>
                <a:gd name="connsiteX30" fmla="*/ 538566 w 589764"/>
                <a:gd name="connsiteY30" fmla="*/ 164375 h 470213"/>
                <a:gd name="connsiteX31" fmla="*/ 546412 w 589764"/>
                <a:gd name="connsiteY31" fmla="*/ 165905 h 470213"/>
                <a:gd name="connsiteX32" fmla="*/ 552333 w 589764"/>
                <a:gd name="connsiteY32" fmla="*/ 170444 h 470213"/>
                <a:gd name="connsiteX33" fmla="*/ 552333 w 589764"/>
                <a:gd name="connsiteY33" fmla="*/ 176513 h 470213"/>
                <a:gd name="connsiteX34" fmla="*/ 548385 w 589764"/>
                <a:gd name="connsiteY34" fmla="*/ 185641 h 470213"/>
                <a:gd name="connsiteX35" fmla="*/ 552333 w 589764"/>
                <a:gd name="connsiteY35" fmla="*/ 190229 h 470213"/>
                <a:gd name="connsiteX36" fmla="*/ 560177 w 589764"/>
                <a:gd name="connsiteY36" fmla="*/ 193289 h 470213"/>
                <a:gd name="connsiteX37" fmla="*/ 577891 w 589764"/>
                <a:gd name="connsiteY37" fmla="*/ 191759 h 470213"/>
                <a:gd name="connsiteX38" fmla="*/ 589683 w 589764"/>
                <a:gd name="connsiteY38" fmla="*/ 187170 h 470213"/>
                <a:gd name="connsiteX39" fmla="*/ 589683 w 589764"/>
                <a:gd name="connsiteY39" fmla="*/ 187170 h 470213"/>
                <a:gd name="connsiteX40" fmla="*/ 587710 w 589764"/>
                <a:gd name="connsiteY40" fmla="*/ 246379 h 470213"/>
                <a:gd name="connsiteX41" fmla="*/ 585736 w 589764"/>
                <a:gd name="connsiteY41" fmla="*/ 275292 h 470213"/>
                <a:gd name="connsiteX42" fmla="*/ 579864 w 589764"/>
                <a:gd name="connsiteY42" fmla="*/ 279832 h 470213"/>
                <a:gd name="connsiteX43" fmla="*/ 579864 w 589764"/>
                <a:gd name="connsiteY43" fmla="*/ 289009 h 470213"/>
                <a:gd name="connsiteX44" fmla="*/ 577891 w 589764"/>
                <a:gd name="connsiteY44" fmla="*/ 295078 h 470213"/>
                <a:gd name="connsiteX45" fmla="*/ 558155 w 589764"/>
                <a:gd name="connsiteY45" fmla="*/ 304206 h 470213"/>
                <a:gd name="connsiteX46" fmla="*/ 548287 w 589764"/>
                <a:gd name="connsiteY46" fmla="*/ 310275 h 470213"/>
                <a:gd name="connsiteX47" fmla="*/ 538419 w 589764"/>
                <a:gd name="connsiteY47" fmla="*/ 310275 h 470213"/>
                <a:gd name="connsiteX48" fmla="*/ 526626 w 589764"/>
                <a:gd name="connsiteY48" fmla="*/ 316393 h 470213"/>
                <a:gd name="connsiteX49" fmla="*/ 504966 w 589764"/>
                <a:gd name="connsiteY49" fmla="*/ 316393 h 470213"/>
                <a:gd name="connsiteX50" fmla="*/ 493173 w 589764"/>
                <a:gd name="connsiteY50" fmla="*/ 319402 h 470213"/>
                <a:gd name="connsiteX51" fmla="*/ 485378 w 589764"/>
                <a:gd name="connsiteY51" fmla="*/ 319402 h 470213"/>
                <a:gd name="connsiteX52" fmla="*/ 459819 w 589764"/>
                <a:gd name="connsiteY52" fmla="*/ 320932 h 470213"/>
                <a:gd name="connsiteX53" fmla="*/ 451925 w 589764"/>
                <a:gd name="connsiteY53" fmla="*/ 319402 h 470213"/>
                <a:gd name="connsiteX54" fmla="*/ 451925 w 589764"/>
                <a:gd name="connsiteY54" fmla="*/ 321031 h 470213"/>
                <a:gd name="connsiteX55" fmla="*/ 447978 w 589764"/>
                <a:gd name="connsiteY55" fmla="*/ 319501 h 470213"/>
                <a:gd name="connsiteX56" fmla="*/ 442106 w 589764"/>
                <a:gd name="connsiteY56" fmla="*/ 317972 h 470213"/>
                <a:gd name="connsiteX57" fmla="*/ 430314 w 589764"/>
                <a:gd name="connsiteY57" fmla="*/ 316492 h 470213"/>
                <a:gd name="connsiteX58" fmla="*/ 422420 w 589764"/>
                <a:gd name="connsiteY58" fmla="*/ 316492 h 470213"/>
                <a:gd name="connsiteX59" fmla="*/ 406729 w 589764"/>
                <a:gd name="connsiteY59" fmla="*/ 319501 h 470213"/>
                <a:gd name="connsiteX60" fmla="*/ 392963 w 589764"/>
                <a:gd name="connsiteY60" fmla="*/ 324090 h 470213"/>
                <a:gd name="connsiteX61" fmla="*/ 385118 w 589764"/>
                <a:gd name="connsiteY61" fmla="*/ 330208 h 470213"/>
                <a:gd name="connsiteX62" fmla="*/ 357586 w 589764"/>
                <a:gd name="connsiteY62" fmla="*/ 343875 h 470213"/>
                <a:gd name="connsiteX63" fmla="*/ 337850 w 589764"/>
                <a:gd name="connsiteY63" fmla="*/ 354533 h 470213"/>
                <a:gd name="connsiteX64" fmla="*/ 335876 w 589764"/>
                <a:gd name="connsiteY64" fmla="*/ 362131 h 470213"/>
                <a:gd name="connsiteX65" fmla="*/ 316140 w 589764"/>
                <a:gd name="connsiteY65" fmla="*/ 366671 h 470213"/>
                <a:gd name="connsiteX66" fmla="*/ 312242 w 589764"/>
                <a:gd name="connsiteY66" fmla="*/ 365141 h 470213"/>
                <a:gd name="connsiteX67" fmla="*/ 302374 w 589764"/>
                <a:gd name="connsiteY67" fmla="*/ 365141 h 470213"/>
                <a:gd name="connsiteX68" fmla="*/ 300401 w 589764"/>
                <a:gd name="connsiteY68" fmla="*/ 369730 h 470213"/>
                <a:gd name="connsiteX69" fmla="*/ 296454 w 589764"/>
                <a:gd name="connsiteY69" fmla="*/ 371259 h 470213"/>
                <a:gd name="connsiteX70" fmla="*/ 286585 w 589764"/>
                <a:gd name="connsiteY70" fmla="*/ 383446 h 470213"/>
                <a:gd name="connsiteX71" fmla="*/ 286585 w 589764"/>
                <a:gd name="connsiteY71" fmla="*/ 387986 h 470213"/>
                <a:gd name="connsiteX72" fmla="*/ 278741 w 589764"/>
                <a:gd name="connsiteY72" fmla="*/ 397114 h 470213"/>
                <a:gd name="connsiteX73" fmla="*/ 268872 w 589764"/>
                <a:gd name="connsiteY73" fmla="*/ 413840 h 470213"/>
                <a:gd name="connsiteX74" fmla="*/ 261027 w 589764"/>
                <a:gd name="connsiteY74" fmla="*/ 419958 h 470213"/>
                <a:gd name="connsiteX75" fmla="*/ 251159 w 589764"/>
                <a:gd name="connsiteY75" fmla="*/ 423017 h 470213"/>
                <a:gd name="connsiteX76" fmla="*/ 255106 w 589764"/>
                <a:gd name="connsiteY76" fmla="*/ 429086 h 470213"/>
                <a:gd name="connsiteX77" fmla="*/ 255106 w 589764"/>
                <a:gd name="connsiteY77" fmla="*/ 438214 h 470213"/>
                <a:gd name="connsiteX78" fmla="*/ 249186 w 589764"/>
                <a:gd name="connsiteY78" fmla="*/ 439744 h 470213"/>
                <a:gd name="connsiteX79" fmla="*/ 249186 w 589764"/>
                <a:gd name="connsiteY79" fmla="*/ 445862 h 470213"/>
                <a:gd name="connsiteX80" fmla="*/ 251159 w 589764"/>
                <a:gd name="connsiteY80" fmla="*/ 450401 h 470213"/>
                <a:gd name="connsiteX81" fmla="*/ 249186 w 589764"/>
                <a:gd name="connsiteY81" fmla="*/ 458000 h 470213"/>
                <a:gd name="connsiteX82" fmla="*/ 245238 w 589764"/>
                <a:gd name="connsiteY82" fmla="*/ 459529 h 470213"/>
                <a:gd name="connsiteX83" fmla="*/ 239366 w 589764"/>
                <a:gd name="connsiteY83" fmla="*/ 470187 h 470213"/>
                <a:gd name="connsiteX84" fmla="*/ 227575 w 589764"/>
                <a:gd name="connsiteY84" fmla="*/ 467127 h 470213"/>
                <a:gd name="connsiteX85" fmla="*/ 223627 w 589764"/>
                <a:gd name="connsiteY85" fmla="*/ 462539 h 470213"/>
                <a:gd name="connsiteX86" fmla="*/ 227575 w 589764"/>
                <a:gd name="connsiteY86" fmla="*/ 459529 h 470213"/>
                <a:gd name="connsiteX87" fmla="*/ 215782 w 589764"/>
                <a:gd name="connsiteY87" fmla="*/ 458000 h 470213"/>
                <a:gd name="connsiteX88" fmla="*/ 205914 w 589764"/>
                <a:gd name="connsiteY88" fmla="*/ 461009 h 470213"/>
                <a:gd name="connsiteX89" fmla="*/ 203940 w 589764"/>
                <a:gd name="connsiteY89" fmla="*/ 462539 h 470213"/>
                <a:gd name="connsiteX90" fmla="*/ 201967 w 589764"/>
                <a:gd name="connsiteY90" fmla="*/ 467127 h 470213"/>
                <a:gd name="connsiteX91" fmla="*/ 186227 w 589764"/>
                <a:gd name="connsiteY91" fmla="*/ 465598 h 470213"/>
                <a:gd name="connsiteX92" fmla="*/ 178382 w 589764"/>
                <a:gd name="connsiteY92" fmla="*/ 461009 h 470213"/>
                <a:gd name="connsiteX93" fmla="*/ 174435 w 589764"/>
                <a:gd name="connsiteY93" fmla="*/ 461009 h 470213"/>
                <a:gd name="connsiteX94" fmla="*/ 164567 w 589764"/>
                <a:gd name="connsiteY94" fmla="*/ 467127 h 470213"/>
                <a:gd name="connsiteX95" fmla="*/ 162593 w 589764"/>
                <a:gd name="connsiteY95" fmla="*/ 462539 h 470213"/>
                <a:gd name="connsiteX96" fmla="*/ 160669 w 589764"/>
                <a:gd name="connsiteY96" fmla="*/ 459529 h 470213"/>
                <a:gd name="connsiteX97" fmla="*/ 148876 w 589764"/>
                <a:gd name="connsiteY97" fmla="*/ 459529 h 470213"/>
                <a:gd name="connsiteX98" fmla="*/ 148876 w 589764"/>
                <a:gd name="connsiteY98" fmla="*/ 454941 h 470213"/>
                <a:gd name="connsiteX99" fmla="*/ 146903 w 589764"/>
                <a:gd name="connsiteY99" fmla="*/ 451931 h 470213"/>
                <a:gd name="connsiteX100" fmla="*/ 146903 w 589764"/>
                <a:gd name="connsiteY100" fmla="*/ 445862 h 470213"/>
                <a:gd name="connsiteX101" fmla="*/ 142956 w 589764"/>
                <a:gd name="connsiteY101" fmla="*/ 447342 h 470213"/>
                <a:gd name="connsiteX102" fmla="*/ 139008 w 589764"/>
                <a:gd name="connsiteY102" fmla="*/ 450401 h 470213"/>
                <a:gd name="connsiteX103" fmla="*/ 133137 w 589764"/>
                <a:gd name="connsiteY103" fmla="*/ 451931 h 470213"/>
                <a:gd name="connsiteX104" fmla="*/ 137084 w 589764"/>
                <a:gd name="connsiteY104" fmla="*/ 444332 h 470213"/>
                <a:gd name="connsiteX105" fmla="*/ 142956 w 589764"/>
                <a:gd name="connsiteY105" fmla="*/ 435155 h 470213"/>
                <a:gd name="connsiteX106" fmla="*/ 142956 w 589764"/>
                <a:gd name="connsiteY106" fmla="*/ 432145 h 470213"/>
                <a:gd name="connsiteX107" fmla="*/ 135111 w 589764"/>
                <a:gd name="connsiteY107" fmla="*/ 429086 h 470213"/>
                <a:gd name="connsiteX108" fmla="*/ 131163 w 589764"/>
                <a:gd name="connsiteY108" fmla="*/ 427557 h 470213"/>
                <a:gd name="connsiteX109" fmla="*/ 133137 w 589764"/>
                <a:gd name="connsiteY109" fmla="*/ 419958 h 470213"/>
                <a:gd name="connsiteX110" fmla="*/ 129190 w 589764"/>
                <a:gd name="connsiteY110" fmla="*/ 413840 h 470213"/>
                <a:gd name="connsiteX111" fmla="*/ 121345 w 589764"/>
                <a:gd name="connsiteY111" fmla="*/ 406242 h 470213"/>
                <a:gd name="connsiteX112" fmla="*/ 119371 w 589764"/>
                <a:gd name="connsiteY112" fmla="*/ 403232 h 470213"/>
                <a:gd name="connsiteX113" fmla="*/ 113845 w 589764"/>
                <a:gd name="connsiteY113" fmla="*/ 404909 h 470213"/>
                <a:gd name="connsiteX114" fmla="*/ 111871 w 589764"/>
                <a:gd name="connsiteY114" fmla="*/ 407919 h 470213"/>
                <a:gd name="connsiteX115" fmla="*/ 102003 w 589764"/>
                <a:gd name="connsiteY115" fmla="*/ 403380 h 470213"/>
                <a:gd name="connsiteX116" fmla="*/ 96082 w 589764"/>
                <a:gd name="connsiteY116" fmla="*/ 404909 h 470213"/>
                <a:gd name="connsiteX117" fmla="*/ 86214 w 589764"/>
                <a:gd name="connsiteY117" fmla="*/ 413988 h 470213"/>
                <a:gd name="connsiteX118" fmla="*/ 82267 w 589764"/>
                <a:gd name="connsiteY118" fmla="*/ 413988 h 470213"/>
                <a:gd name="connsiteX119" fmla="*/ 74422 w 589764"/>
                <a:gd name="connsiteY119" fmla="*/ 418577 h 470213"/>
                <a:gd name="connsiteX120" fmla="*/ 66577 w 589764"/>
                <a:gd name="connsiteY120" fmla="*/ 418577 h 470213"/>
                <a:gd name="connsiteX121" fmla="*/ 58682 w 589764"/>
                <a:gd name="connsiteY121" fmla="*/ 413988 h 470213"/>
                <a:gd name="connsiteX122" fmla="*/ 52811 w 589764"/>
                <a:gd name="connsiteY122" fmla="*/ 412459 h 470213"/>
                <a:gd name="connsiteX123" fmla="*/ 44917 w 589764"/>
                <a:gd name="connsiteY123" fmla="*/ 415518 h 470213"/>
                <a:gd name="connsiteX124" fmla="*/ 41018 w 589764"/>
                <a:gd name="connsiteY124" fmla="*/ 413988 h 470213"/>
                <a:gd name="connsiteX125" fmla="*/ 41018 w 589764"/>
                <a:gd name="connsiteY125" fmla="*/ 412459 h 470213"/>
                <a:gd name="connsiteX126" fmla="*/ 42992 w 589764"/>
                <a:gd name="connsiteY126" fmla="*/ 407919 h 470213"/>
                <a:gd name="connsiteX127" fmla="*/ 42992 w 589764"/>
                <a:gd name="connsiteY127" fmla="*/ 403380 h 470213"/>
                <a:gd name="connsiteX128" fmla="*/ 35098 w 589764"/>
                <a:gd name="connsiteY128" fmla="*/ 398791 h 470213"/>
                <a:gd name="connsiteX129" fmla="*/ 33124 w 589764"/>
                <a:gd name="connsiteY129" fmla="*/ 394203 h 470213"/>
                <a:gd name="connsiteX130" fmla="*/ 35098 w 589764"/>
                <a:gd name="connsiteY130" fmla="*/ 391193 h 470213"/>
                <a:gd name="connsiteX131" fmla="*/ 37071 w 589764"/>
                <a:gd name="connsiteY131" fmla="*/ 388134 h 470213"/>
                <a:gd name="connsiteX132" fmla="*/ 31200 w 589764"/>
                <a:gd name="connsiteY132" fmla="*/ 382065 h 470213"/>
                <a:gd name="connsiteX133" fmla="*/ 29226 w 589764"/>
                <a:gd name="connsiteY133" fmla="*/ 377526 h 470213"/>
                <a:gd name="connsiteX134" fmla="*/ 25279 w 589764"/>
                <a:gd name="connsiteY134" fmla="*/ 374466 h 470213"/>
                <a:gd name="connsiteX135" fmla="*/ 23305 w 589764"/>
                <a:gd name="connsiteY135" fmla="*/ 375996 h 470213"/>
                <a:gd name="connsiteX136" fmla="*/ 15411 w 589764"/>
                <a:gd name="connsiteY136" fmla="*/ 372937 h 470213"/>
                <a:gd name="connsiteX137" fmla="*/ 13487 w 589764"/>
                <a:gd name="connsiteY137" fmla="*/ 365289 h 470213"/>
                <a:gd name="connsiteX138" fmla="*/ 3619 w 589764"/>
                <a:gd name="connsiteY138" fmla="*/ 356210 h 470213"/>
                <a:gd name="connsiteX139" fmla="*/ 3619 w 589764"/>
                <a:gd name="connsiteY139" fmla="*/ 353151 h 470213"/>
                <a:gd name="connsiteX140" fmla="*/ 7615 w 589764"/>
                <a:gd name="connsiteY140" fmla="*/ 340964 h 470213"/>
                <a:gd name="connsiteX141" fmla="*/ 5641 w 589764"/>
                <a:gd name="connsiteY141" fmla="*/ 336425 h 470213"/>
                <a:gd name="connsiteX142" fmla="*/ 5641 w 589764"/>
                <a:gd name="connsiteY142" fmla="*/ 330356 h 47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589764" h="470213">
                  <a:moveTo>
                    <a:pt x="-82" y="327100"/>
                  </a:moveTo>
                  <a:lnTo>
                    <a:pt x="7812" y="320981"/>
                  </a:lnTo>
                  <a:lnTo>
                    <a:pt x="21529" y="320981"/>
                  </a:lnTo>
                  <a:lnTo>
                    <a:pt x="25476" y="313383"/>
                  </a:lnTo>
                  <a:lnTo>
                    <a:pt x="23502" y="308844"/>
                  </a:lnTo>
                  <a:lnTo>
                    <a:pt x="23502" y="296607"/>
                  </a:lnTo>
                  <a:lnTo>
                    <a:pt x="35295" y="293598"/>
                  </a:lnTo>
                  <a:lnTo>
                    <a:pt x="43190" y="293598"/>
                  </a:lnTo>
                  <a:lnTo>
                    <a:pt x="43190" y="301295"/>
                  </a:lnTo>
                  <a:lnTo>
                    <a:pt x="49061" y="311952"/>
                  </a:lnTo>
                  <a:lnTo>
                    <a:pt x="53008" y="313482"/>
                  </a:lnTo>
                  <a:lnTo>
                    <a:pt x="62876" y="298236"/>
                  </a:lnTo>
                  <a:lnTo>
                    <a:pt x="80540" y="292167"/>
                  </a:lnTo>
                  <a:lnTo>
                    <a:pt x="90408" y="295226"/>
                  </a:lnTo>
                  <a:lnTo>
                    <a:pt x="90408" y="302824"/>
                  </a:lnTo>
                  <a:lnTo>
                    <a:pt x="94306" y="308942"/>
                  </a:lnTo>
                  <a:lnTo>
                    <a:pt x="100227" y="301295"/>
                  </a:lnTo>
                  <a:lnTo>
                    <a:pt x="106099" y="301295"/>
                  </a:lnTo>
                  <a:lnTo>
                    <a:pt x="110046" y="307413"/>
                  </a:lnTo>
                  <a:lnTo>
                    <a:pt x="112019" y="308942"/>
                  </a:lnTo>
                  <a:lnTo>
                    <a:pt x="241735" y="307413"/>
                  </a:lnTo>
                  <a:lnTo>
                    <a:pt x="253528" y="279980"/>
                  </a:lnTo>
                  <a:lnTo>
                    <a:pt x="241735" y="272381"/>
                  </a:lnTo>
                  <a:lnTo>
                    <a:pt x="214203" y="-27"/>
                  </a:lnTo>
                  <a:lnTo>
                    <a:pt x="257425" y="-27"/>
                  </a:lnTo>
                  <a:lnTo>
                    <a:pt x="495295" y="133883"/>
                  </a:lnTo>
                  <a:lnTo>
                    <a:pt x="499193" y="149129"/>
                  </a:lnTo>
                  <a:lnTo>
                    <a:pt x="507087" y="155198"/>
                  </a:lnTo>
                  <a:lnTo>
                    <a:pt x="520853" y="155198"/>
                  </a:lnTo>
                  <a:lnTo>
                    <a:pt x="530721" y="156727"/>
                  </a:lnTo>
                  <a:lnTo>
                    <a:pt x="538566" y="164375"/>
                  </a:lnTo>
                  <a:lnTo>
                    <a:pt x="546412" y="165905"/>
                  </a:lnTo>
                  <a:lnTo>
                    <a:pt x="552333" y="170444"/>
                  </a:lnTo>
                  <a:lnTo>
                    <a:pt x="552333" y="176513"/>
                  </a:lnTo>
                  <a:lnTo>
                    <a:pt x="548385" y="185641"/>
                  </a:lnTo>
                  <a:lnTo>
                    <a:pt x="552333" y="190229"/>
                  </a:lnTo>
                  <a:lnTo>
                    <a:pt x="560177" y="193289"/>
                  </a:lnTo>
                  <a:lnTo>
                    <a:pt x="577891" y="191759"/>
                  </a:lnTo>
                  <a:lnTo>
                    <a:pt x="589683" y="187170"/>
                  </a:lnTo>
                  <a:lnTo>
                    <a:pt x="589683" y="187170"/>
                  </a:lnTo>
                  <a:lnTo>
                    <a:pt x="587710" y="246379"/>
                  </a:lnTo>
                  <a:lnTo>
                    <a:pt x="585736" y="275292"/>
                  </a:lnTo>
                  <a:lnTo>
                    <a:pt x="579864" y="279832"/>
                  </a:lnTo>
                  <a:lnTo>
                    <a:pt x="579864" y="289009"/>
                  </a:lnTo>
                  <a:lnTo>
                    <a:pt x="577891" y="295078"/>
                  </a:lnTo>
                  <a:lnTo>
                    <a:pt x="558155" y="304206"/>
                  </a:lnTo>
                  <a:lnTo>
                    <a:pt x="548287" y="310275"/>
                  </a:lnTo>
                  <a:lnTo>
                    <a:pt x="538419" y="310275"/>
                  </a:lnTo>
                  <a:lnTo>
                    <a:pt x="526626" y="316393"/>
                  </a:lnTo>
                  <a:lnTo>
                    <a:pt x="504966" y="316393"/>
                  </a:lnTo>
                  <a:lnTo>
                    <a:pt x="493173" y="319402"/>
                  </a:lnTo>
                  <a:lnTo>
                    <a:pt x="485378" y="319402"/>
                  </a:lnTo>
                  <a:lnTo>
                    <a:pt x="459819" y="320932"/>
                  </a:lnTo>
                  <a:lnTo>
                    <a:pt x="451925" y="319402"/>
                  </a:lnTo>
                  <a:lnTo>
                    <a:pt x="451925" y="321031"/>
                  </a:lnTo>
                  <a:lnTo>
                    <a:pt x="447978" y="319501"/>
                  </a:lnTo>
                  <a:lnTo>
                    <a:pt x="442106" y="317972"/>
                  </a:lnTo>
                  <a:lnTo>
                    <a:pt x="430314" y="316492"/>
                  </a:lnTo>
                  <a:lnTo>
                    <a:pt x="422420" y="316492"/>
                  </a:lnTo>
                  <a:lnTo>
                    <a:pt x="406729" y="319501"/>
                  </a:lnTo>
                  <a:lnTo>
                    <a:pt x="392963" y="324090"/>
                  </a:lnTo>
                  <a:lnTo>
                    <a:pt x="385118" y="330208"/>
                  </a:lnTo>
                  <a:lnTo>
                    <a:pt x="357586" y="343875"/>
                  </a:lnTo>
                  <a:lnTo>
                    <a:pt x="337850" y="354533"/>
                  </a:lnTo>
                  <a:lnTo>
                    <a:pt x="335876" y="362131"/>
                  </a:lnTo>
                  <a:lnTo>
                    <a:pt x="316140" y="366671"/>
                  </a:lnTo>
                  <a:lnTo>
                    <a:pt x="312242" y="365141"/>
                  </a:lnTo>
                  <a:lnTo>
                    <a:pt x="302374" y="365141"/>
                  </a:lnTo>
                  <a:lnTo>
                    <a:pt x="300401" y="369730"/>
                  </a:lnTo>
                  <a:lnTo>
                    <a:pt x="296454" y="371259"/>
                  </a:lnTo>
                  <a:lnTo>
                    <a:pt x="286585" y="383446"/>
                  </a:lnTo>
                  <a:lnTo>
                    <a:pt x="286585" y="387986"/>
                  </a:lnTo>
                  <a:lnTo>
                    <a:pt x="278741" y="397114"/>
                  </a:lnTo>
                  <a:lnTo>
                    <a:pt x="268872" y="413840"/>
                  </a:lnTo>
                  <a:lnTo>
                    <a:pt x="261027" y="419958"/>
                  </a:lnTo>
                  <a:lnTo>
                    <a:pt x="251159" y="423017"/>
                  </a:lnTo>
                  <a:lnTo>
                    <a:pt x="255106" y="429086"/>
                  </a:lnTo>
                  <a:lnTo>
                    <a:pt x="255106" y="438214"/>
                  </a:lnTo>
                  <a:lnTo>
                    <a:pt x="249186" y="439744"/>
                  </a:lnTo>
                  <a:lnTo>
                    <a:pt x="249186" y="445862"/>
                  </a:lnTo>
                  <a:lnTo>
                    <a:pt x="251159" y="450401"/>
                  </a:lnTo>
                  <a:lnTo>
                    <a:pt x="249186" y="458000"/>
                  </a:lnTo>
                  <a:lnTo>
                    <a:pt x="245238" y="459529"/>
                  </a:lnTo>
                  <a:lnTo>
                    <a:pt x="239366" y="470187"/>
                  </a:lnTo>
                  <a:lnTo>
                    <a:pt x="227575" y="467127"/>
                  </a:lnTo>
                  <a:lnTo>
                    <a:pt x="223627" y="462539"/>
                  </a:lnTo>
                  <a:lnTo>
                    <a:pt x="227575" y="459529"/>
                  </a:lnTo>
                  <a:lnTo>
                    <a:pt x="215782" y="458000"/>
                  </a:lnTo>
                  <a:lnTo>
                    <a:pt x="205914" y="461009"/>
                  </a:lnTo>
                  <a:lnTo>
                    <a:pt x="203940" y="462539"/>
                  </a:lnTo>
                  <a:lnTo>
                    <a:pt x="201967" y="467127"/>
                  </a:lnTo>
                  <a:lnTo>
                    <a:pt x="186227" y="465598"/>
                  </a:lnTo>
                  <a:lnTo>
                    <a:pt x="178382" y="461009"/>
                  </a:lnTo>
                  <a:lnTo>
                    <a:pt x="174435" y="461009"/>
                  </a:lnTo>
                  <a:lnTo>
                    <a:pt x="164567" y="467127"/>
                  </a:lnTo>
                  <a:lnTo>
                    <a:pt x="162593" y="462539"/>
                  </a:lnTo>
                  <a:lnTo>
                    <a:pt x="160669" y="459529"/>
                  </a:lnTo>
                  <a:lnTo>
                    <a:pt x="148876" y="459529"/>
                  </a:lnTo>
                  <a:lnTo>
                    <a:pt x="148876" y="454941"/>
                  </a:lnTo>
                  <a:lnTo>
                    <a:pt x="146903" y="451931"/>
                  </a:lnTo>
                  <a:lnTo>
                    <a:pt x="146903" y="445862"/>
                  </a:lnTo>
                  <a:lnTo>
                    <a:pt x="142956" y="447342"/>
                  </a:lnTo>
                  <a:lnTo>
                    <a:pt x="139008" y="450401"/>
                  </a:lnTo>
                  <a:lnTo>
                    <a:pt x="133137" y="451931"/>
                  </a:lnTo>
                  <a:lnTo>
                    <a:pt x="137084" y="444332"/>
                  </a:lnTo>
                  <a:lnTo>
                    <a:pt x="142956" y="435155"/>
                  </a:lnTo>
                  <a:lnTo>
                    <a:pt x="142956" y="432145"/>
                  </a:lnTo>
                  <a:lnTo>
                    <a:pt x="135111" y="429086"/>
                  </a:lnTo>
                  <a:lnTo>
                    <a:pt x="131163" y="427557"/>
                  </a:lnTo>
                  <a:lnTo>
                    <a:pt x="133137" y="419958"/>
                  </a:lnTo>
                  <a:lnTo>
                    <a:pt x="129190" y="413840"/>
                  </a:lnTo>
                  <a:lnTo>
                    <a:pt x="121345" y="406242"/>
                  </a:lnTo>
                  <a:lnTo>
                    <a:pt x="119371" y="403232"/>
                  </a:lnTo>
                  <a:lnTo>
                    <a:pt x="113845" y="404909"/>
                  </a:lnTo>
                  <a:lnTo>
                    <a:pt x="111871" y="407919"/>
                  </a:lnTo>
                  <a:lnTo>
                    <a:pt x="102003" y="403380"/>
                  </a:lnTo>
                  <a:lnTo>
                    <a:pt x="96082" y="404909"/>
                  </a:lnTo>
                  <a:lnTo>
                    <a:pt x="86214" y="413988"/>
                  </a:lnTo>
                  <a:lnTo>
                    <a:pt x="82267" y="413988"/>
                  </a:lnTo>
                  <a:lnTo>
                    <a:pt x="74422" y="418577"/>
                  </a:lnTo>
                  <a:lnTo>
                    <a:pt x="66577" y="418577"/>
                  </a:lnTo>
                  <a:lnTo>
                    <a:pt x="58682" y="413988"/>
                  </a:lnTo>
                  <a:lnTo>
                    <a:pt x="52811" y="412459"/>
                  </a:lnTo>
                  <a:lnTo>
                    <a:pt x="44917" y="415518"/>
                  </a:lnTo>
                  <a:lnTo>
                    <a:pt x="41018" y="413988"/>
                  </a:lnTo>
                  <a:lnTo>
                    <a:pt x="41018" y="412459"/>
                  </a:lnTo>
                  <a:lnTo>
                    <a:pt x="42992" y="407919"/>
                  </a:lnTo>
                  <a:lnTo>
                    <a:pt x="42992" y="403380"/>
                  </a:lnTo>
                  <a:lnTo>
                    <a:pt x="35098" y="398791"/>
                  </a:lnTo>
                  <a:lnTo>
                    <a:pt x="33124" y="394203"/>
                  </a:lnTo>
                  <a:lnTo>
                    <a:pt x="35098" y="391193"/>
                  </a:lnTo>
                  <a:lnTo>
                    <a:pt x="37071" y="388134"/>
                  </a:lnTo>
                  <a:lnTo>
                    <a:pt x="31200" y="382065"/>
                  </a:lnTo>
                  <a:lnTo>
                    <a:pt x="29226" y="377526"/>
                  </a:lnTo>
                  <a:lnTo>
                    <a:pt x="25279" y="374466"/>
                  </a:lnTo>
                  <a:lnTo>
                    <a:pt x="23305" y="375996"/>
                  </a:lnTo>
                  <a:lnTo>
                    <a:pt x="15411" y="372937"/>
                  </a:lnTo>
                  <a:lnTo>
                    <a:pt x="13487" y="365289"/>
                  </a:lnTo>
                  <a:lnTo>
                    <a:pt x="3619" y="356210"/>
                  </a:lnTo>
                  <a:lnTo>
                    <a:pt x="3619" y="353151"/>
                  </a:lnTo>
                  <a:lnTo>
                    <a:pt x="7615" y="340964"/>
                  </a:lnTo>
                  <a:lnTo>
                    <a:pt x="5641" y="336425"/>
                  </a:lnTo>
                  <a:lnTo>
                    <a:pt x="5641" y="33035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Graphic 2">
              <a:extLst>
                <a:ext uri="{FF2B5EF4-FFF2-40B4-BE49-F238E27FC236}">
                  <a16:creationId xmlns:a16="http://schemas.microsoft.com/office/drawing/2014/main" id="{69A94C8B-922C-4DDC-BAE8-6170FEBAEBAD}"/>
                </a:ext>
              </a:extLst>
            </p:cNvPr>
            <p:cNvSpPr/>
            <p:nvPr/>
          </p:nvSpPr>
          <p:spPr>
            <a:xfrm>
              <a:off x="5251815" y="4207665"/>
              <a:ext cx="247486" cy="152583"/>
            </a:xfrm>
            <a:custGeom>
              <a:avLst/>
              <a:gdLst>
                <a:gd name="connsiteX0" fmla="*/ -82 w 272408"/>
                <a:gd name="connsiteY0" fmla="*/ 140494 h 167954"/>
                <a:gd name="connsiteX1" fmla="*/ 1892 w 272408"/>
                <a:gd name="connsiteY1" fmla="*/ 132945 h 167954"/>
                <a:gd name="connsiteX2" fmla="*/ -82 w 272408"/>
                <a:gd name="connsiteY2" fmla="*/ 128406 h 167954"/>
                <a:gd name="connsiteX3" fmla="*/ -82 w 272408"/>
                <a:gd name="connsiteY3" fmla="*/ 122386 h 167954"/>
                <a:gd name="connsiteX4" fmla="*/ 5790 w 272408"/>
                <a:gd name="connsiteY4" fmla="*/ 120808 h 167954"/>
                <a:gd name="connsiteX5" fmla="*/ 5790 w 272408"/>
                <a:gd name="connsiteY5" fmla="*/ 111778 h 167954"/>
                <a:gd name="connsiteX6" fmla="*/ 1892 w 272408"/>
                <a:gd name="connsiteY6" fmla="*/ 105709 h 167954"/>
                <a:gd name="connsiteX7" fmla="*/ 11760 w 272408"/>
                <a:gd name="connsiteY7" fmla="*/ 102700 h 167954"/>
                <a:gd name="connsiteX8" fmla="*/ 19605 w 272408"/>
                <a:gd name="connsiteY8" fmla="*/ 96631 h 167954"/>
                <a:gd name="connsiteX9" fmla="*/ 29473 w 272408"/>
                <a:gd name="connsiteY9" fmla="*/ 80003 h 167954"/>
                <a:gd name="connsiteX10" fmla="*/ 37319 w 272408"/>
                <a:gd name="connsiteY10" fmla="*/ 70875 h 167954"/>
                <a:gd name="connsiteX11" fmla="*/ 37319 w 272408"/>
                <a:gd name="connsiteY11" fmla="*/ 66385 h 167954"/>
                <a:gd name="connsiteX12" fmla="*/ 47187 w 272408"/>
                <a:gd name="connsiteY12" fmla="*/ 54247 h 167954"/>
                <a:gd name="connsiteX13" fmla="*/ 51084 w 272408"/>
                <a:gd name="connsiteY13" fmla="*/ 52767 h 167954"/>
                <a:gd name="connsiteX14" fmla="*/ 53058 w 272408"/>
                <a:gd name="connsiteY14" fmla="*/ 48228 h 167954"/>
                <a:gd name="connsiteX15" fmla="*/ 62926 w 272408"/>
                <a:gd name="connsiteY15" fmla="*/ 48228 h 167954"/>
                <a:gd name="connsiteX16" fmla="*/ 66873 w 272408"/>
                <a:gd name="connsiteY16" fmla="*/ 49758 h 167954"/>
                <a:gd name="connsiteX17" fmla="*/ 86609 w 272408"/>
                <a:gd name="connsiteY17" fmla="*/ 45169 h 167954"/>
                <a:gd name="connsiteX18" fmla="*/ 88534 w 272408"/>
                <a:gd name="connsiteY18" fmla="*/ 37669 h 167954"/>
                <a:gd name="connsiteX19" fmla="*/ 108270 w 272408"/>
                <a:gd name="connsiteY19" fmla="*/ 27061 h 167954"/>
                <a:gd name="connsiteX20" fmla="*/ 135160 w 272408"/>
                <a:gd name="connsiteY20" fmla="*/ 13591 h 167954"/>
                <a:gd name="connsiteX21" fmla="*/ 143005 w 272408"/>
                <a:gd name="connsiteY21" fmla="*/ 7522 h 167954"/>
                <a:gd name="connsiteX22" fmla="*/ 156673 w 272408"/>
                <a:gd name="connsiteY22" fmla="*/ 2983 h 167954"/>
                <a:gd name="connsiteX23" fmla="*/ 172412 w 272408"/>
                <a:gd name="connsiteY23" fmla="*/ -27 h 167954"/>
                <a:gd name="connsiteX24" fmla="*/ 180208 w 272408"/>
                <a:gd name="connsiteY24" fmla="*/ -27 h 167954"/>
                <a:gd name="connsiteX25" fmla="*/ 192000 w 272408"/>
                <a:gd name="connsiteY25" fmla="*/ 1503 h 167954"/>
                <a:gd name="connsiteX26" fmla="*/ 197822 w 272408"/>
                <a:gd name="connsiteY26" fmla="*/ 2983 h 167954"/>
                <a:gd name="connsiteX27" fmla="*/ 201770 w 272408"/>
                <a:gd name="connsiteY27" fmla="*/ 4512 h 167954"/>
                <a:gd name="connsiteX28" fmla="*/ 199845 w 272408"/>
                <a:gd name="connsiteY28" fmla="*/ 7522 h 167954"/>
                <a:gd name="connsiteX29" fmla="*/ 197822 w 272408"/>
                <a:gd name="connsiteY29" fmla="*/ 16601 h 167954"/>
                <a:gd name="connsiteX30" fmla="*/ 193925 w 272408"/>
                <a:gd name="connsiteY30" fmla="*/ 22620 h 167954"/>
                <a:gd name="connsiteX31" fmla="*/ 193925 w 272408"/>
                <a:gd name="connsiteY31" fmla="*/ 30219 h 167954"/>
                <a:gd name="connsiteX32" fmla="*/ 229252 w 272408"/>
                <a:gd name="connsiteY32" fmla="*/ 49955 h 167954"/>
                <a:gd name="connsiteX33" fmla="*/ 229252 w 272408"/>
                <a:gd name="connsiteY33" fmla="*/ 62043 h 167954"/>
                <a:gd name="connsiteX34" fmla="*/ 240995 w 272408"/>
                <a:gd name="connsiteY34" fmla="*/ 71073 h 167954"/>
                <a:gd name="connsiteX35" fmla="*/ 258610 w 272408"/>
                <a:gd name="connsiteY35" fmla="*/ 63573 h 167954"/>
                <a:gd name="connsiteX36" fmla="*/ 260584 w 272408"/>
                <a:gd name="connsiteY36" fmla="*/ 65053 h 167954"/>
                <a:gd name="connsiteX37" fmla="*/ 262508 w 272408"/>
                <a:gd name="connsiteY37" fmla="*/ 69592 h 167954"/>
                <a:gd name="connsiteX38" fmla="*/ 264481 w 272408"/>
                <a:gd name="connsiteY38" fmla="*/ 72602 h 167954"/>
                <a:gd name="connsiteX39" fmla="*/ 266455 w 272408"/>
                <a:gd name="connsiteY39" fmla="*/ 78671 h 167954"/>
                <a:gd name="connsiteX40" fmla="*/ 262508 w 272408"/>
                <a:gd name="connsiteY40" fmla="*/ 81681 h 167954"/>
                <a:gd name="connsiteX41" fmla="*/ 268429 w 272408"/>
                <a:gd name="connsiteY41" fmla="*/ 90759 h 167954"/>
                <a:gd name="connsiteX42" fmla="*/ 272327 w 272408"/>
                <a:gd name="connsiteY42" fmla="*/ 90759 h 167954"/>
                <a:gd name="connsiteX43" fmla="*/ 272327 w 272408"/>
                <a:gd name="connsiteY43" fmla="*/ 96828 h 167954"/>
                <a:gd name="connsiteX44" fmla="*/ 264481 w 272408"/>
                <a:gd name="connsiteY44" fmla="*/ 104377 h 167954"/>
                <a:gd name="connsiteX45" fmla="*/ 258511 w 272408"/>
                <a:gd name="connsiteY45" fmla="*/ 104377 h 167954"/>
                <a:gd name="connsiteX46" fmla="*/ 244794 w 272408"/>
                <a:gd name="connsiteY46" fmla="*/ 108917 h 167954"/>
                <a:gd name="connsiteX47" fmla="*/ 240897 w 272408"/>
                <a:gd name="connsiteY47" fmla="*/ 107387 h 167954"/>
                <a:gd name="connsiteX48" fmla="*/ 234976 w 272408"/>
                <a:gd name="connsiteY48" fmla="*/ 110446 h 167954"/>
                <a:gd name="connsiteX49" fmla="*/ 234976 w 272408"/>
                <a:gd name="connsiteY49" fmla="*/ 116515 h 167954"/>
                <a:gd name="connsiteX50" fmla="*/ 229154 w 272408"/>
                <a:gd name="connsiteY50" fmla="*/ 121005 h 167954"/>
                <a:gd name="connsiteX51" fmla="*/ 231078 w 272408"/>
                <a:gd name="connsiteY51" fmla="*/ 127074 h 167954"/>
                <a:gd name="connsiteX52" fmla="*/ 223233 w 272408"/>
                <a:gd name="connsiteY52" fmla="*/ 128603 h 167954"/>
                <a:gd name="connsiteX53" fmla="*/ 221308 w 272408"/>
                <a:gd name="connsiteY53" fmla="*/ 131613 h 167954"/>
                <a:gd name="connsiteX54" fmla="*/ 184057 w 272408"/>
                <a:gd name="connsiteY54" fmla="*/ 124064 h 167954"/>
                <a:gd name="connsiteX55" fmla="*/ 176211 w 272408"/>
                <a:gd name="connsiteY55" fmla="*/ 124064 h 167954"/>
                <a:gd name="connsiteX56" fmla="*/ 168366 w 272408"/>
                <a:gd name="connsiteY56" fmla="*/ 127074 h 167954"/>
                <a:gd name="connsiteX57" fmla="*/ 160521 w 272408"/>
                <a:gd name="connsiteY57" fmla="*/ 127074 h 167954"/>
                <a:gd name="connsiteX58" fmla="*/ 148729 w 272408"/>
                <a:gd name="connsiteY58" fmla="*/ 128603 h 167954"/>
                <a:gd name="connsiteX59" fmla="*/ 128993 w 272408"/>
                <a:gd name="connsiteY59" fmla="*/ 128603 h 167954"/>
                <a:gd name="connsiteX60" fmla="*/ 125095 w 272408"/>
                <a:gd name="connsiteY60" fmla="*/ 130084 h 167954"/>
                <a:gd name="connsiteX61" fmla="*/ 87843 w 272408"/>
                <a:gd name="connsiteY61" fmla="*/ 130084 h 167954"/>
                <a:gd name="connsiteX62" fmla="*/ 85919 w 272408"/>
                <a:gd name="connsiteY62" fmla="*/ 136202 h 167954"/>
                <a:gd name="connsiteX63" fmla="*/ 87843 w 272408"/>
                <a:gd name="connsiteY63" fmla="*/ 145231 h 167954"/>
                <a:gd name="connsiteX64" fmla="*/ 91740 w 272408"/>
                <a:gd name="connsiteY64" fmla="*/ 149820 h 167954"/>
                <a:gd name="connsiteX65" fmla="*/ 95688 w 272408"/>
                <a:gd name="connsiteY65" fmla="*/ 157320 h 167954"/>
                <a:gd name="connsiteX66" fmla="*/ 95688 w 272408"/>
                <a:gd name="connsiteY66" fmla="*/ 166398 h 167954"/>
                <a:gd name="connsiteX67" fmla="*/ 87843 w 272408"/>
                <a:gd name="connsiteY67" fmla="*/ 164918 h 167954"/>
                <a:gd name="connsiteX68" fmla="*/ 83945 w 272408"/>
                <a:gd name="connsiteY68" fmla="*/ 163388 h 167954"/>
                <a:gd name="connsiteX69" fmla="*/ 79997 w 272408"/>
                <a:gd name="connsiteY69" fmla="*/ 161908 h 167954"/>
                <a:gd name="connsiteX70" fmla="*/ 70129 w 272408"/>
                <a:gd name="connsiteY70" fmla="*/ 166398 h 167954"/>
                <a:gd name="connsiteX71" fmla="*/ 62284 w 272408"/>
                <a:gd name="connsiteY71" fmla="*/ 167928 h 167954"/>
                <a:gd name="connsiteX72" fmla="*/ 52416 w 272408"/>
                <a:gd name="connsiteY72" fmla="*/ 163388 h 167954"/>
                <a:gd name="connsiteX73" fmla="*/ 48518 w 272408"/>
                <a:gd name="connsiteY73" fmla="*/ 158849 h 167954"/>
                <a:gd name="connsiteX74" fmla="*/ 38650 w 272408"/>
                <a:gd name="connsiteY74" fmla="*/ 155839 h 167954"/>
                <a:gd name="connsiteX75" fmla="*/ 34703 w 272408"/>
                <a:gd name="connsiteY75" fmla="*/ 155839 h 167954"/>
                <a:gd name="connsiteX76" fmla="*/ 30805 w 272408"/>
                <a:gd name="connsiteY76" fmla="*/ 152829 h 167954"/>
                <a:gd name="connsiteX77" fmla="*/ 24934 w 272408"/>
                <a:gd name="connsiteY77" fmla="*/ 152829 h 167954"/>
                <a:gd name="connsiteX78" fmla="*/ 13191 w 272408"/>
                <a:gd name="connsiteY78" fmla="*/ 148290 h 167954"/>
                <a:gd name="connsiteX79" fmla="*/ 1448 w 272408"/>
                <a:gd name="connsiteY79" fmla="*/ 139212 h 167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272408" h="167954">
                  <a:moveTo>
                    <a:pt x="-82" y="140494"/>
                  </a:moveTo>
                  <a:lnTo>
                    <a:pt x="1892" y="132945"/>
                  </a:lnTo>
                  <a:lnTo>
                    <a:pt x="-82" y="128406"/>
                  </a:lnTo>
                  <a:lnTo>
                    <a:pt x="-82" y="122386"/>
                  </a:lnTo>
                  <a:lnTo>
                    <a:pt x="5790" y="120808"/>
                  </a:lnTo>
                  <a:lnTo>
                    <a:pt x="5790" y="111778"/>
                  </a:lnTo>
                  <a:lnTo>
                    <a:pt x="1892" y="105709"/>
                  </a:lnTo>
                  <a:lnTo>
                    <a:pt x="11760" y="102700"/>
                  </a:lnTo>
                  <a:lnTo>
                    <a:pt x="19605" y="96631"/>
                  </a:lnTo>
                  <a:lnTo>
                    <a:pt x="29473" y="80003"/>
                  </a:lnTo>
                  <a:lnTo>
                    <a:pt x="37319" y="70875"/>
                  </a:lnTo>
                  <a:lnTo>
                    <a:pt x="37319" y="66385"/>
                  </a:lnTo>
                  <a:lnTo>
                    <a:pt x="47187" y="54247"/>
                  </a:lnTo>
                  <a:lnTo>
                    <a:pt x="51084" y="52767"/>
                  </a:lnTo>
                  <a:lnTo>
                    <a:pt x="53058" y="48228"/>
                  </a:lnTo>
                  <a:lnTo>
                    <a:pt x="62926" y="48228"/>
                  </a:lnTo>
                  <a:lnTo>
                    <a:pt x="66873" y="49758"/>
                  </a:lnTo>
                  <a:lnTo>
                    <a:pt x="86609" y="45169"/>
                  </a:lnTo>
                  <a:lnTo>
                    <a:pt x="88534" y="37669"/>
                  </a:lnTo>
                  <a:lnTo>
                    <a:pt x="108270" y="27061"/>
                  </a:lnTo>
                  <a:lnTo>
                    <a:pt x="135160" y="13591"/>
                  </a:lnTo>
                  <a:lnTo>
                    <a:pt x="143005" y="7522"/>
                  </a:lnTo>
                  <a:lnTo>
                    <a:pt x="156673" y="2983"/>
                  </a:lnTo>
                  <a:lnTo>
                    <a:pt x="172412" y="-27"/>
                  </a:lnTo>
                  <a:lnTo>
                    <a:pt x="180208" y="-27"/>
                  </a:lnTo>
                  <a:lnTo>
                    <a:pt x="192000" y="1503"/>
                  </a:lnTo>
                  <a:lnTo>
                    <a:pt x="197822" y="2983"/>
                  </a:lnTo>
                  <a:lnTo>
                    <a:pt x="201770" y="4512"/>
                  </a:lnTo>
                  <a:lnTo>
                    <a:pt x="199845" y="7522"/>
                  </a:lnTo>
                  <a:lnTo>
                    <a:pt x="197822" y="16601"/>
                  </a:lnTo>
                  <a:lnTo>
                    <a:pt x="193925" y="22620"/>
                  </a:lnTo>
                  <a:lnTo>
                    <a:pt x="193925" y="30219"/>
                  </a:lnTo>
                  <a:lnTo>
                    <a:pt x="229252" y="49955"/>
                  </a:lnTo>
                  <a:lnTo>
                    <a:pt x="229252" y="62043"/>
                  </a:lnTo>
                  <a:lnTo>
                    <a:pt x="240995" y="71073"/>
                  </a:lnTo>
                  <a:lnTo>
                    <a:pt x="258610" y="63573"/>
                  </a:lnTo>
                  <a:lnTo>
                    <a:pt x="260584" y="65053"/>
                  </a:lnTo>
                  <a:lnTo>
                    <a:pt x="262508" y="69592"/>
                  </a:lnTo>
                  <a:lnTo>
                    <a:pt x="264481" y="72602"/>
                  </a:lnTo>
                  <a:lnTo>
                    <a:pt x="266455" y="78671"/>
                  </a:lnTo>
                  <a:lnTo>
                    <a:pt x="262508" y="81681"/>
                  </a:lnTo>
                  <a:lnTo>
                    <a:pt x="268429" y="90759"/>
                  </a:lnTo>
                  <a:lnTo>
                    <a:pt x="272327" y="90759"/>
                  </a:lnTo>
                  <a:lnTo>
                    <a:pt x="272327" y="96828"/>
                  </a:lnTo>
                  <a:lnTo>
                    <a:pt x="264481" y="104377"/>
                  </a:lnTo>
                  <a:lnTo>
                    <a:pt x="258511" y="104377"/>
                  </a:lnTo>
                  <a:lnTo>
                    <a:pt x="244794" y="108917"/>
                  </a:lnTo>
                  <a:lnTo>
                    <a:pt x="240897" y="107387"/>
                  </a:lnTo>
                  <a:lnTo>
                    <a:pt x="234976" y="110446"/>
                  </a:lnTo>
                  <a:lnTo>
                    <a:pt x="234976" y="116515"/>
                  </a:lnTo>
                  <a:lnTo>
                    <a:pt x="229154" y="121005"/>
                  </a:lnTo>
                  <a:lnTo>
                    <a:pt x="231078" y="127074"/>
                  </a:lnTo>
                  <a:lnTo>
                    <a:pt x="223233" y="128603"/>
                  </a:lnTo>
                  <a:lnTo>
                    <a:pt x="221308" y="131613"/>
                  </a:lnTo>
                  <a:lnTo>
                    <a:pt x="184057" y="124064"/>
                  </a:lnTo>
                  <a:lnTo>
                    <a:pt x="176211" y="124064"/>
                  </a:lnTo>
                  <a:lnTo>
                    <a:pt x="168366" y="127074"/>
                  </a:lnTo>
                  <a:lnTo>
                    <a:pt x="160521" y="127074"/>
                  </a:lnTo>
                  <a:lnTo>
                    <a:pt x="148729" y="128603"/>
                  </a:lnTo>
                  <a:lnTo>
                    <a:pt x="128993" y="128603"/>
                  </a:lnTo>
                  <a:lnTo>
                    <a:pt x="125095" y="130084"/>
                  </a:lnTo>
                  <a:lnTo>
                    <a:pt x="87843" y="130084"/>
                  </a:lnTo>
                  <a:lnTo>
                    <a:pt x="85919" y="136202"/>
                  </a:lnTo>
                  <a:lnTo>
                    <a:pt x="87843" y="145231"/>
                  </a:lnTo>
                  <a:lnTo>
                    <a:pt x="91740" y="149820"/>
                  </a:lnTo>
                  <a:lnTo>
                    <a:pt x="95688" y="157320"/>
                  </a:lnTo>
                  <a:lnTo>
                    <a:pt x="95688" y="166398"/>
                  </a:lnTo>
                  <a:lnTo>
                    <a:pt x="87843" y="164918"/>
                  </a:lnTo>
                  <a:lnTo>
                    <a:pt x="83945" y="163388"/>
                  </a:lnTo>
                  <a:lnTo>
                    <a:pt x="79997" y="161908"/>
                  </a:lnTo>
                  <a:lnTo>
                    <a:pt x="70129" y="166398"/>
                  </a:lnTo>
                  <a:lnTo>
                    <a:pt x="62284" y="167928"/>
                  </a:lnTo>
                  <a:lnTo>
                    <a:pt x="52416" y="163388"/>
                  </a:lnTo>
                  <a:lnTo>
                    <a:pt x="48518" y="158849"/>
                  </a:lnTo>
                  <a:lnTo>
                    <a:pt x="38650" y="155839"/>
                  </a:lnTo>
                  <a:lnTo>
                    <a:pt x="34703" y="155839"/>
                  </a:lnTo>
                  <a:lnTo>
                    <a:pt x="30805" y="152829"/>
                  </a:lnTo>
                  <a:lnTo>
                    <a:pt x="24934" y="152829"/>
                  </a:lnTo>
                  <a:lnTo>
                    <a:pt x="13191" y="148290"/>
                  </a:lnTo>
                  <a:lnTo>
                    <a:pt x="1448" y="13921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Graphic 2">
              <a:extLst>
                <a:ext uri="{FF2B5EF4-FFF2-40B4-BE49-F238E27FC236}">
                  <a16:creationId xmlns:a16="http://schemas.microsoft.com/office/drawing/2014/main" id="{B79A12B5-5FE5-4DAB-A6E5-991BDB93D32E}"/>
                </a:ext>
              </a:extLst>
            </p:cNvPr>
            <p:cNvSpPr/>
            <p:nvPr/>
          </p:nvSpPr>
          <p:spPr>
            <a:xfrm>
              <a:off x="4851964" y="4163424"/>
              <a:ext cx="213372" cy="132455"/>
            </a:xfrm>
            <a:custGeom>
              <a:avLst/>
              <a:gdLst>
                <a:gd name="connsiteX0" fmla="*/ 33223 w 234859"/>
                <a:gd name="connsiteY0" fmla="*/ 18180 h 145800"/>
                <a:gd name="connsiteX1" fmla="*/ 41167 w 234859"/>
                <a:gd name="connsiteY1" fmla="*/ 15121 h 145800"/>
                <a:gd name="connsiteX2" fmla="*/ 47087 w 234859"/>
                <a:gd name="connsiteY2" fmla="*/ 15121 h 145800"/>
                <a:gd name="connsiteX3" fmla="*/ 52959 w 234859"/>
                <a:gd name="connsiteY3" fmla="*/ 7571 h 145800"/>
                <a:gd name="connsiteX4" fmla="*/ 74718 w 234859"/>
                <a:gd name="connsiteY4" fmla="*/ 6042 h 145800"/>
                <a:gd name="connsiteX5" fmla="*/ 92481 w 234859"/>
                <a:gd name="connsiteY5" fmla="*/ -27 h 145800"/>
                <a:gd name="connsiteX6" fmla="*/ 98451 w 234859"/>
                <a:gd name="connsiteY6" fmla="*/ -27 h 145800"/>
                <a:gd name="connsiteX7" fmla="*/ 116213 w 234859"/>
                <a:gd name="connsiteY7" fmla="*/ 4562 h 145800"/>
                <a:gd name="connsiteX8" fmla="*/ 124108 w 234859"/>
                <a:gd name="connsiteY8" fmla="*/ 6042 h 145800"/>
                <a:gd name="connsiteX9" fmla="*/ 132002 w 234859"/>
                <a:gd name="connsiteY9" fmla="*/ 15121 h 145800"/>
                <a:gd name="connsiteX10" fmla="*/ 132002 w 234859"/>
                <a:gd name="connsiteY10" fmla="*/ 18180 h 145800"/>
                <a:gd name="connsiteX11" fmla="*/ 135999 w 234859"/>
                <a:gd name="connsiteY11" fmla="*/ 19709 h 145800"/>
                <a:gd name="connsiteX12" fmla="*/ 143893 w 234859"/>
                <a:gd name="connsiteY12" fmla="*/ 18180 h 145800"/>
                <a:gd name="connsiteX13" fmla="*/ 145867 w 234859"/>
                <a:gd name="connsiteY13" fmla="*/ 19709 h 145800"/>
                <a:gd name="connsiteX14" fmla="*/ 151788 w 234859"/>
                <a:gd name="connsiteY14" fmla="*/ 18180 h 145800"/>
                <a:gd name="connsiteX15" fmla="*/ 155735 w 234859"/>
                <a:gd name="connsiteY15" fmla="*/ 21239 h 145800"/>
                <a:gd name="connsiteX16" fmla="*/ 155735 w 234859"/>
                <a:gd name="connsiteY16" fmla="*/ 28788 h 145800"/>
                <a:gd name="connsiteX17" fmla="*/ 163629 w 234859"/>
                <a:gd name="connsiteY17" fmla="*/ 33377 h 145800"/>
                <a:gd name="connsiteX18" fmla="*/ 163629 w 234859"/>
                <a:gd name="connsiteY18" fmla="*/ 42554 h 145800"/>
                <a:gd name="connsiteX19" fmla="*/ 171524 w 234859"/>
                <a:gd name="connsiteY19" fmla="*/ 42554 h 145800"/>
                <a:gd name="connsiteX20" fmla="*/ 173497 w 234859"/>
                <a:gd name="connsiteY20" fmla="*/ 48672 h 145800"/>
                <a:gd name="connsiteX21" fmla="*/ 181441 w 234859"/>
                <a:gd name="connsiteY21" fmla="*/ 51682 h 145800"/>
                <a:gd name="connsiteX22" fmla="*/ 189286 w 234859"/>
                <a:gd name="connsiteY22" fmla="*/ 56221 h 145800"/>
                <a:gd name="connsiteX23" fmla="*/ 191310 w 234859"/>
                <a:gd name="connsiteY23" fmla="*/ 60760 h 145800"/>
                <a:gd name="connsiteX24" fmla="*/ 197230 w 234859"/>
                <a:gd name="connsiteY24" fmla="*/ 63820 h 145800"/>
                <a:gd name="connsiteX25" fmla="*/ 197230 w 234859"/>
                <a:gd name="connsiteY25" fmla="*/ 69888 h 145800"/>
                <a:gd name="connsiteX26" fmla="*/ 199204 w 234859"/>
                <a:gd name="connsiteY26" fmla="*/ 74428 h 145800"/>
                <a:gd name="connsiteX27" fmla="*/ 195256 w 234859"/>
                <a:gd name="connsiteY27" fmla="*/ 86565 h 145800"/>
                <a:gd name="connsiteX28" fmla="*/ 195256 w 234859"/>
                <a:gd name="connsiteY28" fmla="*/ 89575 h 145800"/>
                <a:gd name="connsiteX29" fmla="*/ 205124 w 234859"/>
                <a:gd name="connsiteY29" fmla="*/ 98703 h 145800"/>
                <a:gd name="connsiteX30" fmla="*/ 207098 w 234859"/>
                <a:gd name="connsiteY30" fmla="*/ 106252 h 145800"/>
                <a:gd name="connsiteX31" fmla="*/ 215042 w 234859"/>
                <a:gd name="connsiteY31" fmla="*/ 109311 h 145800"/>
                <a:gd name="connsiteX32" fmla="*/ 217016 w 234859"/>
                <a:gd name="connsiteY32" fmla="*/ 107782 h 145800"/>
                <a:gd name="connsiteX33" fmla="*/ 220914 w 234859"/>
                <a:gd name="connsiteY33" fmla="*/ 110841 h 145800"/>
                <a:gd name="connsiteX34" fmla="*/ 222887 w 234859"/>
                <a:gd name="connsiteY34" fmla="*/ 115380 h 145800"/>
                <a:gd name="connsiteX35" fmla="*/ 228808 w 234859"/>
                <a:gd name="connsiteY35" fmla="*/ 121449 h 145800"/>
                <a:gd name="connsiteX36" fmla="*/ 226834 w 234859"/>
                <a:gd name="connsiteY36" fmla="*/ 124459 h 145800"/>
                <a:gd name="connsiteX37" fmla="*/ 224861 w 234859"/>
                <a:gd name="connsiteY37" fmla="*/ 127518 h 145800"/>
                <a:gd name="connsiteX38" fmla="*/ 226834 w 234859"/>
                <a:gd name="connsiteY38" fmla="*/ 132008 h 145800"/>
                <a:gd name="connsiteX39" fmla="*/ 234778 w 234859"/>
                <a:gd name="connsiteY39" fmla="*/ 136597 h 145800"/>
                <a:gd name="connsiteX40" fmla="*/ 234778 w 234859"/>
                <a:gd name="connsiteY40" fmla="*/ 141235 h 145800"/>
                <a:gd name="connsiteX41" fmla="*/ 232804 w 234859"/>
                <a:gd name="connsiteY41" fmla="*/ 145774 h 145800"/>
                <a:gd name="connsiteX42" fmla="*/ 232804 w 234859"/>
                <a:gd name="connsiteY42" fmla="*/ 139754 h 145800"/>
                <a:gd name="connsiteX43" fmla="*/ 224959 w 234859"/>
                <a:gd name="connsiteY43" fmla="*/ 139754 h 145800"/>
                <a:gd name="connsiteX44" fmla="*/ 221012 w 234859"/>
                <a:gd name="connsiteY44" fmla="*/ 136695 h 145800"/>
                <a:gd name="connsiteX45" fmla="*/ 215091 w 234859"/>
                <a:gd name="connsiteY45" fmla="*/ 136695 h 145800"/>
                <a:gd name="connsiteX46" fmla="*/ 207148 w 234859"/>
                <a:gd name="connsiteY46" fmla="*/ 139754 h 145800"/>
                <a:gd name="connsiteX47" fmla="*/ 197280 w 234859"/>
                <a:gd name="connsiteY47" fmla="*/ 135166 h 145800"/>
                <a:gd name="connsiteX48" fmla="*/ 185487 w 234859"/>
                <a:gd name="connsiteY48" fmla="*/ 135166 h 145800"/>
                <a:gd name="connsiteX49" fmla="*/ 179616 w 234859"/>
                <a:gd name="connsiteY49" fmla="*/ 132107 h 145800"/>
                <a:gd name="connsiteX50" fmla="*/ 163777 w 234859"/>
                <a:gd name="connsiteY50" fmla="*/ 126087 h 145800"/>
                <a:gd name="connsiteX51" fmla="*/ 140094 w 234859"/>
                <a:gd name="connsiteY51" fmla="*/ 126087 h 145800"/>
                <a:gd name="connsiteX52" fmla="*/ 134124 w 234859"/>
                <a:gd name="connsiteY52" fmla="*/ 127617 h 145800"/>
                <a:gd name="connsiteX53" fmla="*/ 134124 w 234859"/>
                <a:gd name="connsiteY53" fmla="*/ 127617 h 145800"/>
                <a:gd name="connsiteX54" fmla="*/ 126229 w 234859"/>
                <a:gd name="connsiteY54" fmla="*/ 126087 h 145800"/>
                <a:gd name="connsiteX55" fmla="*/ 92629 w 234859"/>
                <a:gd name="connsiteY55" fmla="*/ 124557 h 145800"/>
                <a:gd name="connsiteX56" fmla="*/ 80836 w 234859"/>
                <a:gd name="connsiteY56" fmla="*/ 129097 h 145800"/>
                <a:gd name="connsiteX57" fmla="*/ 74866 w 234859"/>
                <a:gd name="connsiteY57" fmla="*/ 136695 h 145800"/>
                <a:gd name="connsiteX58" fmla="*/ 49209 w 234859"/>
                <a:gd name="connsiteY58" fmla="*/ 135166 h 145800"/>
                <a:gd name="connsiteX59" fmla="*/ 35344 w 234859"/>
                <a:gd name="connsiteY59" fmla="*/ 139754 h 145800"/>
                <a:gd name="connsiteX60" fmla="*/ 27450 w 234859"/>
                <a:gd name="connsiteY60" fmla="*/ 136695 h 145800"/>
                <a:gd name="connsiteX61" fmla="*/ 27450 w 234859"/>
                <a:gd name="connsiteY61" fmla="*/ 132107 h 145800"/>
                <a:gd name="connsiteX62" fmla="*/ 25476 w 234859"/>
                <a:gd name="connsiteY62" fmla="*/ 129097 h 145800"/>
                <a:gd name="connsiteX63" fmla="*/ 31397 w 234859"/>
                <a:gd name="connsiteY63" fmla="*/ 130626 h 145800"/>
                <a:gd name="connsiteX64" fmla="*/ 35344 w 234859"/>
                <a:gd name="connsiteY64" fmla="*/ 132107 h 145800"/>
                <a:gd name="connsiteX65" fmla="*/ 43289 w 234859"/>
                <a:gd name="connsiteY65" fmla="*/ 127617 h 145800"/>
                <a:gd name="connsiteX66" fmla="*/ 31397 w 234859"/>
                <a:gd name="connsiteY66" fmla="*/ 124557 h 145800"/>
                <a:gd name="connsiteX67" fmla="*/ 23503 w 234859"/>
                <a:gd name="connsiteY67" fmla="*/ 127617 h 145800"/>
                <a:gd name="connsiteX68" fmla="*/ 21529 w 234859"/>
                <a:gd name="connsiteY68" fmla="*/ 126087 h 145800"/>
                <a:gd name="connsiteX69" fmla="*/ 23503 w 234859"/>
                <a:gd name="connsiteY69" fmla="*/ 123077 h 145800"/>
                <a:gd name="connsiteX70" fmla="*/ 23503 w 234859"/>
                <a:gd name="connsiteY70" fmla="*/ 113949 h 145800"/>
                <a:gd name="connsiteX71" fmla="*/ 27450 w 234859"/>
                <a:gd name="connsiteY71" fmla="*/ 110939 h 145800"/>
                <a:gd name="connsiteX72" fmla="*/ 51133 w 234859"/>
                <a:gd name="connsiteY72" fmla="*/ 110939 h 145800"/>
                <a:gd name="connsiteX73" fmla="*/ 57103 w 234859"/>
                <a:gd name="connsiteY73" fmla="*/ 106351 h 145800"/>
                <a:gd name="connsiteX74" fmla="*/ 63025 w 234859"/>
                <a:gd name="connsiteY74" fmla="*/ 104821 h 145800"/>
                <a:gd name="connsiteX75" fmla="*/ 70919 w 234859"/>
                <a:gd name="connsiteY75" fmla="*/ 100282 h 145800"/>
                <a:gd name="connsiteX76" fmla="*/ 76840 w 234859"/>
                <a:gd name="connsiteY76" fmla="*/ 101812 h 145800"/>
                <a:gd name="connsiteX77" fmla="*/ 78863 w 234859"/>
                <a:gd name="connsiteY77" fmla="*/ 101812 h 145800"/>
                <a:gd name="connsiteX78" fmla="*/ 84734 w 234859"/>
                <a:gd name="connsiteY78" fmla="*/ 98802 h 145800"/>
                <a:gd name="connsiteX79" fmla="*/ 88681 w 234859"/>
                <a:gd name="connsiteY79" fmla="*/ 97272 h 145800"/>
                <a:gd name="connsiteX80" fmla="*/ 96625 w 234859"/>
                <a:gd name="connsiteY80" fmla="*/ 101812 h 145800"/>
                <a:gd name="connsiteX81" fmla="*/ 102546 w 234859"/>
                <a:gd name="connsiteY81" fmla="*/ 101812 h 145800"/>
                <a:gd name="connsiteX82" fmla="*/ 114388 w 234859"/>
                <a:gd name="connsiteY82" fmla="*/ 104821 h 145800"/>
                <a:gd name="connsiteX83" fmla="*/ 124256 w 234859"/>
                <a:gd name="connsiteY83" fmla="*/ 109410 h 145800"/>
                <a:gd name="connsiteX84" fmla="*/ 132150 w 234859"/>
                <a:gd name="connsiteY84" fmla="*/ 109410 h 145800"/>
                <a:gd name="connsiteX85" fmla="*/ 134124 w 234859"/>
                <a:gd name="connsiteY85" fmla="*/ 104821 h 145800"/>
                <a:gd name="connsiteX86" fmla="*/ 132150 w 234859"/>
                <a:gd name="connsiteY86" fmla="*/ 101812 h 145800"/>
                <a:gd name="connsiteX87" fmla="*/ 130177 w 234859"/>
                <a:gd name="connsiteY87" fmla="*/ 101812 h 145800"/>
                <a:gd name="connsiteX88" fmla="*/ 114388 w 234859"/>
                <a:gd name="connsiteY88" fmla="*/ 94262 h 145800"/>
                <a:gd name="connsiteX89" fmla="*/ 106543 w 234859"/>
                <a:gd name="connsiteY89" fmla="*/ 94262 h 145800"/>
                <a:gd name="connsiteX90" fmla="*/ 94651 w 234859"/>
                <a:gd name="connsiteY90" fmla="*/ 86664 h 145800"/>
                <a:gd name="connsiteX91" fmla="*/ 86806 w 234859"/>
                <a:gd name="connsiteY91" fmla="*/ 86664 h 145800"/>
                <a:gd name="connsiteX92" fmla="*/ 80935 w 234859"/>
                <a:gd name="connsiteY92" fmla="*/ 85135 h 145800"/>
                <a:gd name="connsiteX93" fmla="*/ 69044 w 234859"/>
                <a:gd name="connsiteY93" fmla="*/ 88144 h 145800"/>
                <a:gd name="connsiteX94" fmla="*/ 57202 w 234859"/>
                <a:gd name="connsiteY94" fmla="*/ 98802 h 145800"/>
                <a:gd name="connsiteX95" fmla="*/ 51232 w 234859"/>
                <a:gd name="connsiteY95" fmla="*/ 98802 h 145800"/>
                <a:gd name="connsiteX96" fmla="*/ 47334 w 234859"/>
                <a:gd name="connsiteY96" fmla="*/ 100282 h 145800"/>
                <a:gd name="connsiteX97" fmla="*/ 29522 w 234859"/>
                <a:gd name="connsiteY97" fmla="*/ 100282 h 145800"/>
                <a:gd name="connsiteX98" fmla="*/ 29522 w 234859"/>
                <a:gd name="connsiteY98" fmla="*/ 96828 h 145800"/>
                <a:gd name="connsiteX99" fmla="*/ 33469 w 234859"/>
                <a:gd name="connsiteY99" fmla="*/ 93819 h 145800"/>
                <a:gd name="connsiteX100" fmla="*/ 25575 w 234859"/>
                <a:gd name="connsiteY100" fmla="*/ 87700 h 145800"/>
                <a:gd name="connsiteX101" fmla="*/ 27549 w 234859"/>
                <a:gd name="connsiteY101" fmla="*/ 87700 h 145800"/>
                <a:gd name="connsiteX102" fmla="*/ 27549 w 234859"/>
                <a:gd name="connsiteY102" fmla="*/ 82026 h 145800"/>
                <a:gd name="connsiteX103" fmla="*/ 21628 w 234859"/>
                <a:gd name="connsiteY103" fmla="*/ 80497 h 145800"/>
                <a:gd name="connsiteX104" fmla="*/ 13733 w 234859"/>
                <a:gd name="connsiteY104" fmla="*/ 69888 h 145800"/>
                <a:gd name="connsiteX105" fmla="*/ -82 w 234859"/>
                <a:gd name="connsiteY105" fmla="*/ 60760 h 145800"/>
                <a:gd name="connsiteX106" fmla="*/ 23601 w 234859"/>
                <a:gd name="connsiteY106" fmla="*/ 44083 h 145800"/>
                <a:gd name="connsiteX107" fmla="*/ 33469 w 234859"/>
                <a:gd name="connsiteY107" fmla="*/ 28936 h 14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34859" h="145800">
                  <a:moveTo>
                    <a:pt x="33223" y="18180"/>
                  </a:moveTo>
                  <a:lnTo>
                    <a:pt x="41167" y="15121"/>
                  </a:lnTo>
                  <a:lnTo>
                    <a:pt x="47087" y="15121"/>
                  </a:lnTo>
                  <a:lnTo>
                    <a:pt x="52959" y="7571"/>
                  </a:lnTo>
                  <a:lnTo>
                    <a:pt x="74718" y="6042"/>
                  </a:lnTo>
                  <a:lnTo>
                    <a:pt x="92481" y="-27"/>
                  </a:lnTo>
                  <a:lnTo>
                    <a:pt x="98451" y="-27"/>
                  </a:lnTo>
                  <a:lnTo>
                    <a:pt x="116213" y="4562"/>
                  </a:lnTo>
                  <a:lnTo>
                    <a:pt x="124108" y="6042"/>
                  </a:lnTo>
                  <a:lnTo>
                    <a:pt x="132002" y="15121"/>
                  </a:lnTo>
                  <a:lnTo>
                    <a:pt x="132002" y="18180"/>
                  </a:lnTo>
                  <a:lnTo>
                    <a:pt x="135999" y="19709"/>
                  </a:lnTo>
                  <a:lnTo>
                    <a:pt x="143893" y="18180"/>
                  </a:lnTo>
                  <a:lnTo>
                    <a:pt x="145867" y="19709"/>
                  </a:lnTo>
                  <a:lnTo>
                    <a:pt x="151788" y="18180"/>
                  </a:lnTo>
                  <a:lnTo>
                    <a:pt x="155735" y="21239"/>
                  </a:lnTo>
                  <a:lnTo>
                    <a:pt x="155735" y="28788"/>
                  </a:lnTo>
                  <a:lnTo>
                    <a:pt x="163629" y="33377"/>
                  </a:lnTo>
                  <a:lnTo>
                    <a:pt x="163629" y="42554"/>
                  </a:lnTo>
                  <a:lnTo>
                    <a:pt x="171524" y="42554"/>
                  </a:lnTo>
                  <a:lnTo>
                    <a:pt x="173497" y="48672"/>
                  </a:lnTo>
                  <a:lnTo>
                    <a:pt x="181441" y="51682"/>
                  </a:lnTo>
                  <a:lnTo>
                    <a:pt x="189286" y="56221"/>
                  </a:lnTo>
                  <a:lnTo>
                    <a:pt x="191310" y="60760"/>
                  </a:lnTo>
                  <a:lnTo>
                    <a:pt x="197230" y="63820"/>
                  </a:lnTo>
                  <a:lnTo>
                    <a:pt x="197230" y="69888"/>
                  </a:lnTo>
                  <a:lnTo>
                    <a:pt x="199204" y="74428"/>
                  </a:lnTo>
                  <a:lnTo>
                    <a:pt x="195256" y="86565"/>
                  </a:lnTo>
                  <a:lnTo>
                    <a:pt x="195256" y="89575"/>
                  </a:lnTo>
                  <a:lnTo>
                    <a:pt x="205124" y="98703"/>
                  </a:lnTo>
                  <a:lnTo>
                    <a:pt x="207098" y="106252"/>
                  </a:lnTo>
                  <a:lnTo>
                    <a:pt x="215042" y="109311"/>
                  </a:lnTo>
                  <a:lnTo>
                    <a:pt x="217016" y="107782"/>
                  </a:lnTo>
                  <a:lnTo>
                    <a:pt x="220914" y="110841"/>
                  </a:lnTo>
                  <a:lnTo>
                    <a:pt x="222887" y="115380"/>
                  </a:lnTo>
                  <a:lnTo>
                    <a:pt x="228808" y="121449"/>
                  </a:lnTo>
                  <a:lnTo>
                    <a:pt x="226834" y="124459"/>
                  </a:lnTo>
                  <a:lnTo>
                    <a:pt x="224861" y="127518"/>
                  </a:lnTo>
                  <a:lnTo>
                    <a:pt x="226834" y="132008"/>
                  </a:lnTo>
                  <a:lnTo>
                    <a:pt x="234778" y="136597"/>
                  </a:lnTo>
                  <a:lnTo>
                    <a:pt x="234778" y="141235"/>
                  </a:lnTo>
                  <a:lnTo>
                    <a:pt x="232804" y="145774"/>
                  </a:lnTo>
                  <a:lnTo>
                    <a:pt x="232804" y="139754"/>
                  </a:lnTo>
                  <a:lnTo>
                    <a:pt x="224959" y="139754"/>
                  </a:lnTo>
                  <a:lnTo>
                    <a:pt x="221012" y="136695"/>
                  </a:lnTo>
                  <a:lnTo>
                    <a:pt x="215091" y="136695"/>
                  </a:lnTo>
                  <a:lnTo>
                    <a:pt x="207148" y="139754"/>
                  </a:lnTo>
                  <a:lnTo>
                    <a:pt x="197280" y="135166"/>
                  </a:lnTo>
                  <a:lnTo>
                    <a:pt x="185487" y="135166"/>
                  </a:lnTo>
                  <a:lnTo>
                    <a:pt x="179616" y="132107"/>
                  </a:lnTo>
                  <a:lnTo>
                    <a:pt x="163777" y="126087"/>
                  </a:lnTo>
                  <a:lnTo>
                    <a:pt x="140094" y="126087"/>
                  </a:lnTo>
                  <a:lnTo>
                    <a:pt x="134124" y="127617"/>
                  </a:lnTo>
                  <a:lnTo>
                    <a:pt x="134124" y="127617"/>
                  </a:lnTo>
                  <a:lnTo>
                    <a:pt x="126229" y="126087"/>
                  </a:lnTo>
                  <a:lnTo>
                    <a:pt x="92629" y="124557"/>
                  </a:lnTo>
                  <a:lnTo>
                    <a:pt x="80836" y="129097"/>
                  </a:lnTo>
                  <a:lnTo>
                    <a:pt x="74866" y="136695"/>
                  </a:lnTo>
                  <a:lnTo>
                    <a:pt x="49209" y="135166"/>
                  </a:lnTo>
                  <a:lnTo>
                    <a:pt x="35344" y="139754"/>
                  </a:lnTo>
                  <a:lnTo>
                    <a:pt x="27450" y="136695"/>
                  </a:lnTo>
                  <a:lnTo>
                    <a:pt x="27450" y="132107"/>
                  </a:lnTo>
                  <a:lnTo>
                    <a:pt x="25476" y="129097"/>
                  </a:lnTo>
                  <a:lnTo>
                    <a:pt x="31397" y="130626"/>
                  </a:lnTo>
                  <a:lnTo>
                    <a:pt x="35344" y="132107"/>
                  </a:lnTo>
                  <a:lnTo>
                    <a:pt x="43289" y="127617"/>
                  </a:lnTo>
                  <a:lnTo>
                    <a:pt x="31397" y="124557"/>
                  </a:lnTo>
                  <a:lnTo>
                    <a:pt x="23503" y="127617"/>
                  </a:lnTo>
                  <a:lnTo>
                    <a:pt x="21529" y="126087"/>
                  </a:lnTo>
                  <a:lnTo>
                    <a:pt x="23503" y="123077"/>
                  </a:lnTo>
                  <a:lnTo>
                    <a:pt x="23503" y="113949"/>
                  </a:lnTo>
                  <a:lnTo>
                    <a:pt x="27450" y="110939"/>
                  </a:lnTo>
                  <a:lnTo>
                    <a:pt x="51133" y="110939"/>
                  </a:lnTo>
                  <a:lnTo>
                    <a:pt x="57103" y="106351"/>
                  </a:lnTo>
                  <a:lnTo>
                    <a:pt x="63025" y="104821"/>
                  </a:lnTo>
                  <a:lnTo>
                    <a:pt x="70919" y="100282"/>
                  </a:lnTo>
                  <a:lnTo>
                    <a:pt x="76840" y="101812"/>
                  </a:lnTo>
                  <a:lnTo>
                    <a:pt x="78863" y="101812"/>
                  </a:lnTo>
                  <a:lnTo>
                    <a:pt x="84734" y="98802"/>
                  </a:lnTo>
                  <a:lnTo>
                    <a:pt x="88681" y="97272"/>
                  </a:lnTo>
                  <a:lnTo>
                    <a:pt x="96625" y="101812"/>
                  </a:lnTo>
                  <a:lnTo>
                    <a:pt x="102546" y="101812"/>
                  </a:lnTo>
                  <a:lnTo>
                    <a:pt x="114388" y="104821"/>
                  </a:lnTo>
                  <a:lnTo>
                    <a:pt x="124256" y="109410"/>
                  </a:lnTo>
                  <a:lnTo>
                    <a:pt x="132150" y="109410"/>
                  </a:lnTo>
                  <a:lnTo>
                    <a:pt x="134124" y="104821"/>
                  </a:lnTo>
                  <a:lnTo>
                    <a:pt x="132150" y="101812"/>
                  </a:lnTo>
                  <a:lnTo>
                    <a:pt x="130177" y="101812"/>
                  </a:lnTo>
                  <a:lnTo>
                    <a:pt x="114388" y="94262"/>
                  </a:lnTo>
                  <a:lnTo>
                    <a:pt x="106543" y="94262"/>
                  </a:lnTo>
                  <a:lnTo>
                    <a:pt x="94651" y="86664"/>
                  </a:lnTo>
                  <a:lnTo>
                    <a:pt x="86806" y="86664"/>
                  </a:lnTo>
                  <a:lnTo>
                    <a:pt x="80935" y="85135"/>
                  </a:lnTo>
                  <a:lnTo>
                    <a:pt x="69044" y="88144"/>
                  </a:lnTo>
                  <a:lnTo>
                    <a:pt x="57202" y="98802"/>
                  </a:lnTo>
                  <a:lnTo>
                    <a:pt x="51232" y="98802"/>
                  </a:lnTo>
                  <a:lnTo>
                    <a:pt x="47334" y="100282"/>
                  </a:lnTo>
                  <a:lnTo>
                    <a:pt x="29522" y="100282"/>
                  </a:lnTo>
                  <a:lnTo>
                    <a:pt x="29522" y="96828"/>
                  </a:lnTo>
                  <a:lnTo>
                    <a:pt x="33469" y="93819"/>
                  </a:lnTo>
                  <a:lnTo>
                    <a:pt x="25575" y="87700"/>
                  </a:lnTo>
                  <a:lnTo>
                    <a:pt x="27549" y="87700"/>
                  </a:lnTo>
                  <a:lnTo>
                    <a:pt x="27549" y="82026"/>
                  </a:lnTo>
                  <a:lnTo>
                    <a:pt x="21628" y="80497"/>
                  </a:lnTo>
                  <a:lnTo>
                    <a:pt x="13733" y="69888"/>
                  </a:lnTo>
                  <a:lnTo>
                    <a:pt x="-82" y="60760"/>
                  </a:lnTo>
                  <a:lnTo>
                    <a:pt x="23601" y="44083"/>
                  </a:lnTo>
                  <a:lnTo>
                    <a:pt x="33469" y="2893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Graphic 2">
              <a:extLst>
                <a:ext uri="{FF2B5EF4-FFF2-40B4-BE49-F238E27FC236}">
                  <a16:creationId xmlns:a16="http://schemas.microsoft.com/office/drawing/2014/main" id="{99EBF172-2BDD-41D8-B47E-3FF965988355}"/>
                </a:ext>
              </a:extLst>
            </p:cNvPr>
            <p:cNvSpPr/>
            <p:nvPr/>
          </p:nvSpPr>
          <p:spPr>
            <a:xfrm>
              <a:off x="4872402" y="4241421"/>
              <a:ext cx="101533" cy="23712"/>
            </a:xfrm>
            <a:custGeom>
              <a:avLst/>
              <a:gdLst>
                <a:gd name="connsiteX0" fmla="*/ 3372 w 111756"/>
                <a:gd name="connsiteY0" fmla="*/ 26074 h 26100"/>
                <a:gd name="connsiteX1" fmla="*/ 7270 w 111756"/>
                <a:gd name="connsiteY1" fmla="*/ 23311 h 26100"/>
                <a:gd name="connsiteX2" fmla="*/ 30460 w 111756"/>
                <a:gd name="connsiteY2" fmla="*/ 23311 h 26100"/>
                <a:gd name="connsiteX3" fmla="*/ 36233 w 111756"/>
                <a:gd name="connsiteY3" fmla="*/ 19216 h 26100"/>
                <a:gd name="connsiteX4" fmla="*/ 42006 w 111756"/>
                <a:gd name="connsiteY4" fmla="*/ 17834 h 26100"/>
                <a:gd name="connsiteX5" fmla="*/ 49752 w 111756"/>
                <a:gd name="connsiteY5" fmla="*/ 13690 h 26100"/>
                <a:gd name="connsiteX6" fmla="*/ 55525 w 111756"/>
                <a:gd name="connsiteY6" fmla="*/ 15071 h 26100"/>
                <a:gd name="connsiteX7" fmla="*/ 57449 w 111756"/>
                <a:gd name="connsiteY7" fmla="*/ 15071 h 26100"/>
                <a:gd name="connsiteX8" fmla="*/ 63222 w 111756"/>
                <a:gd name="connsiteY8" fmla="*/ 12358 h 26100"/>
                <a:gd name="connsiteX9" fmla="*/ 67071 w 111756"/>
                <a:gd name="connsiteY9" fmla="*/ 10976 h 26100"/>
                <a:gd name="connsiteX10" fmla="*/ 74817 w 111756"/>
                <a:gd name="connsiteY10" fmla="*/ 15071 h 26100"/>
                <a:gd name="connsiteX11" fmla="*/ 80590 w 111756"/>
                <a:gd name="connsiteY11" fmla="*/ 15071 h 26100"/>
                <a:gd name="connsiteX12" fmla="*/ 92185 w 111756"/>
                <a:gd name="connsiteY12" fmla="*/ 17834 h 26100"/>
                <a:gd name="connsiteX13" fmla="*/ 102053 w 111756"/>
                <a:gd name="connsiteY13" fmla="*/ 21929 h 26100"/>
                <a:gd name="connsiteX14" fmla="*/ 109750 w 111756"/>
                <a:gd name="connsiteY14" fmla="*/ 21929 h 26100"/>
                <a:gd name="connsiteX15" fmla="*/ 111674 w 111756"/>
                <a:gd name="connsiteY15" fmla="*/ 17834 h 26100"/>
                <a:gd name="connsiteX16" fmla="*/ 109750 w 111756"/>
                <a:gd name="connsiteY16" fmla="*/ 15071 h 26100"/>
                <a:gd name="connsiteX17" fmla="*/ 107875 w 111756"/>
                <a:gd name="connsiteY17" fmla="*/ 15071 h 26100"/>
                <a:gd name="connsiteX18" fmla="*/ 92382 w 111756"/>
                <a:gd name="connsiteY18" fmla="*/ 8213 h 26100"/>
                <a:gd name="connsiteX19" fmla="*/ 84685 w 111756"/>
                <a:gd name="connsiteY19" fmla="*/ 8213 h 26100"/>
                <a:gd name="connsiteX20" fmla="*/ 73090 w 111756"/>
                <a:gd name="connsiteY20" fmla="*/ 1354 h 26100"/>
                <a:gd name="connsiteX21" fmla="*/ 65393 w 111756"/>
                <a:gd name="connsiteY21" fmla="*/ 1354 h 26100"/>
                <a:gd name="connsiteX22" fmla="*/ 59571 w 111756"/>
                <a:gd name="connsiteY22" fmla="*/ -27 h 26100"/>
                <a:gd name="connsiteX23" fmla="*/ 47976 w 111756"/>
                <a:gd name="connsiteY23" fmla="*/ 2736 h 26100"/>
                <a:gd name="connsiteX24" fmla="*/ 36430 w 111756"/>
                <a:gd name="connsiteY24" fmla="*/ 12358 h 26100"/>
                <a:gd name="connsiteX25" fmla="*/ 30658 w 111756"/>
                <a:gd name="connsiteY25" fmla="*/ 12358 h 26100"/>
                <a:gd name="connsiteX26" fmla="*/ 26760 w 111756"/>
                <a:gd name="connsiteY26" fmla="*/ 13690 h 26100"/>
                <a:gd name="connsiteX27" fmla="*/ 9392 w 111756"/>
                <a:gd name="connsiteY27" fmla="*/ 13690 h 26100"/>
                <a:gd name="connsiteX28" fmla="*/ 11316 w 111756"/>
                <a:gd name="connsiteY28" fmla="*/ 17834 h 26100"/>
                <a:gd name="connsiteX29" fmla="*/ 21184 w 111756"/>
                <a:gd name="connsiteY29" fmla="*/ 20597 h 26100"/>
                <a:gd name="connsiteX30" fmla="*/ 28881 w 111756"/>
                <a:gd name="connsiteY30" fmla="*/ 19216 h 26100"/>
                <a:gd name="connsiteX31" fmla="*/ 25033 w 111756"/>
                <a:gd name="connsiteY31" fmla="*/ 23311 h 26100"/>
                <a:gd name="connsiteX32" fmla="*/ 13437 w 111756"/>
                <a:gd name="connsiteY32" fmla="*/ 23311 h 26100"/>
                <a:gd name="connsiteX33" fmla="*/ 7665 w 111756"/>
                <a:gd name="connsiteY33" fmla="*/ 16453 h 26100"/>
                <a:gd name="connsiteX34" fmla="*/ -82 w 111756"/>
                <a:gd name="connsiteY34" fmla="*/ 20597 h 26100"/>
                <a:gd name="connsiteX35" fmla="*/ 3767 w 111756"/>
                <a:gd name="connsiteY35" fmla="*/ 24693 h 2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1756" h="26100">
                  <a:moveTo>
                    <a:pt x="3372" y="26074"/>
                  </a:moveTo>
                  <a:lnTo>
                    <a:pt x="7270" y="23311"/>
                  </a:lnTo>
                  <a:lnTo>
                    <a:pt x="30460" y="23311"/>
                  </a:lnTo>
                  <a:lnTo>
                    <a:pt x="36233" y="19216"/>
                  </a:lnTo>
                  <a:lnTo>
                    <a:pt x="42006" y="17834"/>
                  </a:lnTo>
                  <a:lnTo>
                    <a:pt x="49752" y="13690"/>
                  </a:lnTo>
                  <a:lnTo>
                    <a:pt x="55525" y="15071"/>
                  </a:lnTo>
                  <a:lnTo>
                    <a:pt x="57449" y="15071"/>
                  </a:lnTo>
                  <a:lnTo>
                    <a:pt x="63222" y="12358"/>
                  </a:lnTo>
                  <a:lnTo>
                    <a:pt x="67071" y="10976"/>
                  </a:lnTo>
                  <a:lnTo>
                    <a:pt x="74817" y="15071"/>
                  </a:lnTo>
                  <a:lnTo>
                    <a:pt x="80590" y="15071"/>
                  </a:lnTo>
                  <a:lnTo>
                    <a:pt x="92185" y="17834"/>
                  </a:lnTo>
                  <a:lnTo>
                    <a:pt x="102053" y="21929"/>
                  </a:lnTo>
                  <a:lnTo>
                    <a:pt x="109750" y="21929"/>
                  </a:lnTo>
                  <a:lnTo>
                    <a:pt x="111674" y="17834"/>
                  </a:lnTo>
                  <a:lnTo>
                    <a:pt x="109750" y="15071"/>
                  </a:lnTo>
                  <a:lnTo>
                    <a:pt x="107875" y="15071"/>
                  </a:lnTo>
                  <a:lnTo>
                    <a:pt x="92382" y="8213"/>
                  </a:lnTo>
                  <a:lnTo>
                    <a:pt x="84685" y="8213"/>
                  </a:lnTo>
                  <a:lnTo>
                    <a:pt x="73090" y="1354"/>
                  </a:lnTo>
                  <a:lnTo>
                    <a:pt x="65393" y="1354"/>
                  </a:lnTo>
                  <a:lnTo>
                    <a:pt x="59571" y="-27"/>
                  </a:lnTo>
                  <a:lnTo>
                    <a:pt x="47976" y="2736"/>
                  </a:lnTo>
                  <a:lnTo>
                    <a:pt x="36430" y="12358"/>
                  </a:lnTo>
                  <a:lnTo>
                    <a:pt x="30658" y="12358"/>
                  </a:lnTo>
                  <a:lnTo>
                    <a:pt x="26760" y="13690"/>
                  </a:lnTo>
                  <a:lnTo>
                    <a:pt x="9392" y="13690"/>
                  </a:lnTo>
                  <a:lnTo>
                    <a:pt x="11316" y="17834"/>
                  </a:lnTo>
                  <a:lnTo>
                    <a:pt x="21184" y="20597"/>
                  </a:lnTo>
                  <a:lnTo>
                    <a:pt x="28881" y="19216"/>
                  </a:lnTo>
                  <a:lnTo>
                    <a:pt x="25033" y="23311"/>
                  </a:lnTo>
                  <a:lnTo>
                    <a:pt x="13437" y="23311"/>
                  </a:lnTo>
                  <a:lnTo>
                    <a:pt x="7665" y="16453"/>
                  </a:lnTo>
                  <a:lnTo>
                    <a:pt x="-82" y="20597"/>
                  </a:lnTo>
                  <a:lnTo>
                    <a:pt x="3767" y="2469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Graphic 2">
              <a:extLst>
                <a:ext uri="{FF2B5EF4-FFF2-40B4-BE49-F238E27FC236}">
                  <a16:creationId xmlns:a16="http://schemas.microsoft.com/office/drawing/2014/main" id="{A46037E7-48B6-42E9-9511-9BDF3BE7F3AD}"/>
                </a:ext>
              </a:extLst>
            </p:cNvPr>
            <p:cNvSpPr/>
            <p:nvPr/>
          </p:nvSpPr>
          <p:spPr>
            <a:xfrm>
              <a:off x="4878140" y="4274949"/>
              <a:ext cx="99020" cy="54730"/>
            </a:xfrm>
            <a:custGeom>
              <a:avLst/>
              <a:gdLst>
                <a:gd name="connsiteX0" fmla="*/ 708 w 108992"/>
                <a:gd name="connsiteY0" fmla="*/ 12950 h 60244"/>
                <a:gd name="connsiteX1" fmla="*/ 8405 w 108992"/>
                <a:gd name="connsiteY1" fmla="*/ 16107 h 60244"/>
                <a:gd name="connsiteX2" fmla="*/ 21973 w 108992"/>
                <a:gd name="connsiteY2" fmla="*/ 11173 h 60244"/>
                <a:gd name="connsiteX3" fmla="*/ 47088 w 108992"/>
                <a:gd name="connsiteY3" fmla="*/ 12752 h 60244"/>
                <a:gd name="connsiteX4" fmla="*/ 52860 w 108992"/>
                <a:gd name="connsiteY4" fmla="*/ 4907 h 60244"/>
                <a:gd name="connsiteX5" fmla="*/ 64456 w 108992"/>
                <a:gd name="connsiteY5" fmla="*/ -27 h 60244"/>
                <a:gd name="connsiteX6" fmla="*/ 97316 w 108992"/>
                <a:gd name="connsiteY6" fmla="*/ 1552 h 60244"/>
                <a:gd name="connsiteX7" fmla="*/ 105013 w 108992"/>
                <a:gd name="connsiteY7" fmla="*/ 3131 h 60244"/>
                <a:gd name="connsiteX8" fmla="*/ 106987 w 108992"/>
                <a:gd name="connsiteY8" fmla="*/ 12555 h 60244"/>
                <a:gd name="connsiteX9" fmla="*/ 105013 w 108992"/>
                <a:gd name="connsiteY9" fmla="*/ 17489 h 60244"/>
                <a:gd name="connsiteX10" fmla="*/ 105013 w 108992"/>
                <a:gd name="connsiteY10" fmla="*/ 28492 h 60244"/>
                <a:gd name="connsiteX11" fmla="*/ 108911 w 108992"/>
                <a:gd name="connsiteY11" fmla="*/ 31600 h 60244"/>
                <a:gd name="connsiteX12" fmla="*/ 108911 w 108992"/>
                <a:gd name="connsiteY12" fmla="*/ 38212 h 60244"/>
                <a:gd name="connsiteX13" fmla="*/ 103138 w 108992"/>
                <a:gd name="connsiteY13" fmla="*/ 41370 h 60244"/>
                <a:gd name="connsiteX14" fmla="*/ 91544 w 108992"/>
                <a:gd name="connsiteY14" fmla="*/ 42899 h 60244"/>
                <a:gd name="connsiteX15" fmla="*/ 81675 w 108992"/>
                <a:gd name="connsiteY15" fmla="*/ 49165 h 60244"/>
                <a:gd name="connsiteX16" fmla="*/ 73929 w 108992"/>
                <a:gd name="connsiteY16" fmla="*/ 50744 h 60244"/>
                <a:gd name="connsiteX17" fmla="*/ 70080 w 108992"/>
                <a:gd name="connsiteY17" fmla="*/ 58639 h 60244"/>
                <a:gd name="connsiteX18" fmla="*/ 62334 w 108992"/>
                <a:gd name="connsiteY18" fmla="*/ 60218 h 60244"/>
                <a:gd name="connsiteX19" fmla="*/ 60409 w 108992"/>
                <a:gd name="connsiteY19" fmla="*/ 58639 h 60244"/>
                <a:gd name="connsiteX20" fmla="*/ 60409 w 108992"/>
                <a:gd name="connsiteY20" fmla="*/ 53705 h 60244"/>
                <a:gd name="connsiteX21" fmla="*/ 46890 w 108992"/>
                <a:gd name="connsiteY21" fmla="*/ 55284 h 60244"/>
                <a:gd name="connsiteX22" fmla="*/ 54588 w 108992"/>
                <a:gd name="connsiteY22" fmla="*/ 45860 h 60244"/>
                <a:gd name="connsiteX23" fmla="*/ 50739 w 108992"/>
                <a:gd name="connsiteY23" fmla="*/ 45860 h 60244"/>
                <a:gd name="connsiteX24" fmla="*/ 52663 w 108992"/>
                <a:gd name="connsiteY24" fmla="*/ 42702 h 60244"/>
                <a:gd name="connsiteX25" fmla="*/ 48815 w 108992"/>
                <a:gd name="connsiteY25" fmla="*/ 39594 h 60244"/>
                <a:gd name="connsiteX26" fmla="*/ 41117 w 108992"/>
                <a:gd name="connsiteY26" fmla="*/ 39594 h 60244"/>
                <a:gd name="connsiteX27" fmla="*/ 39144 w 108992"/>
                <a:gd name="connsiteY27" fmla="*/ 36386 h 60244"/>
                <a:gd name="connsiteX28" fmla="*/ 58485 w 108992"/>
                <a:gd name="connsiteY28" fmla="*/ 36386 h 60244"/>
                <a:gd name="connsiteX29" fmla="*/ 62334 w 108992"/>
                <a:gd name="connsiteY29" fmla="*/ 34857 h 60244"/>
                <a:gd name="connsiteX30" fmla="*/ 52466 w 108992"/>
                <a:gd name="connsiteY30" fmla="*/ 29923 h 60244"/>
                <a:gd name="connsiteX31" fmla="*/ 42598 w 108992"/>
                <a:gd name="connsiteY31" fmla="*/ 31502 h 60244"/>
                <a:gd name="connsiteX32" fmla="*/ 32730 w 108992"/>
                <a:gd name="connsiteY32" fmla="*/ 34660 h 60244"/>
                <a:gd name="connsiteX33" fmla="*/ 28881 w 108992"/>
                <a:gd name="connsiteY33" fmla="*/ 33081 h 60244"/>
                <a:gd name="connsiteX34" fmla="*/ 26957 w 108992"/>
                <a:gd name="connsiteY34" fmla="*/ 29923 h 60244"/>
                <a:gd name="connsiteX35" fmla="*/ 21184 w 108992"/>
                <a:gd name="connsiteY35" fmla="*/ 29923 h 60244"/>
                <a:gd name="connsiteX36" fmla="*/ 15362 w 108992"/>
                <a:gd name="connsiteY36" fmla="*/ 23656 h 60244"/>
                <a:gd name="connsiteX37" fmla="*/ 21184 w 108992"/>
                <a:gd name="connsiteY37" fmla="*/ 18722 h 60244"/>
                <a:gd name="connsiteX38" fmla="*/ 15362 w 108992"/>
                <a:gd name="connsiteY38" fmla="*/ 17193 h 60244"/>
                <a:gd name="connsiteX39" fmla="*/ 3767 w 108992"/>
                <a:gd name="connsiteY39" fmla="*/ 17193 h 60244"/>
                <a:gd name="connsiteX40" fmla="*/ -82 w 108992"/>
                <a:gd name="connsiteY40" fmla="*/ 12259 h 6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8992" h="60244">
                  <a:moveTo>
                    <a:pt x="708" y="12950"/>
                  </a:moveTo>
                  <a:lnTo>
                    <a:pt x="8405" y="16107"/>
                  </a:lnTo>
                  <a:lnTo>
                    <a:pt x="21973" y="11173"/>
                  </a:lnTo>
                  <a:lnTo>
                    <a:pt x="47088" y="12752"/>
                  </a:lnTo>
                  <a:lnTo>
                    <a:pt x="52860" y="4907"/>
                  </a:lnTo>
                  <a:lnTo>
                    <a:pt x="64456" y="-27"/>
                  </a:lnTo>
                  <a:lnTo>
                    <a:pt x="97316" y="1552"/>
                  </a:lnTo>
                  <a:lnTo>
                    <a:pt x="105013" y="3131"/>
                  </a:lnTo>
                  <a:lnTo>
                    <a:pt x="106987" y="12555"/>
                  </a:lnTo>
                  <a:lnTo>
                    <a:pt x="105013" y="17489"/>
                  </a:lnTo>
                  <a:lnTo>
                    <a:pt x="105013" y="28492"/>
                  </a:lnTo>
                  <a:lnTo>
                    <a:pt x="108911" y="31600"/>
                  </a:lnTo>
                  <a:lnTo>
                    <a:pt x="108911" y="38212"/>
                  </a:lnTo>
                  <a:lnTo>
                    <a:pt x="103138" y="41370"/>
                  </a:lnTo>
                  <a:lnTo>
                    <a:pt x="91544" y="42899"/>
                  </a:lnTo>
                  <a:lnTo>
                    <a:pt x="81675" y="49165"/>
                  </a:lnTo>
                  <a:lnTo>
                    <a:pt x="73929" y="50744"/>
                  </a:lnTo>
                  <a:lnTo>
                    <a:pt x="70080" y="58639"/>
                  </a:lnTo>
                  <a:lnTo>
                    <a:pt x="62334" y="60218"/>
                  </a:lnTo>
                  <a:lnTo>
                    <a:pt x="60409" y="58639"/>
                  </a:lnTo>
                  <a:lnTo>
                    <a:pt x="60409" y="53705"/>
                  </a:lnTo>
                  <a:lnTo>
                    <a:pt x="46890" y="55284"/>
                  </a:lnTo>
                  <a:lnTo>
                    <a:pt x="54588" y="45860"/>
                  </a:lnTo>
                  <a:lnTo>
                    <a:pt x="50739" y="45860"/>
                  </a:lnTo>
                  <a:lnTo>
                    <a:pt x="52663" y="42702"/>
                  </a:lnTo>
                  <a:lnTo>
                    <a:pt x="48815" y="39594"/>
                  </a:lnTo>
                  <a:lnTo>
                    <a:pt x="41117" y="39594"/>
                  </a:lnTo>
                  <a:lnTo>
                    <a:pt x="39144" y="36386"/>
                  </a:lnTo>
                  <a:lnTo>
                    <a:pt x="58485" y="36386"/>
                  </a:lnTo>
                  <a:lnTo>
                    <a:pt x="62334" y="34857"/>
                  </a:lnTo>
                  <a:lnTo>
                    <a:pt x="52466" y="29923"/>
                  </a:lnTo>
                  <a:lnTo>
                    <a:pt x="42598" y="31502"/>
                  </a:lnTo>
                  <a:lnTo>
                    <a:pt x="32730" y="34660"/>
                  </a:lnTo>
                  <a:lnTo>
                    <a:pt x="28881" y="33081"/>
                  </a:lnTo>
                  <a:lnTo>
                    <a:pt x="26957" y="29923"/>
                  </a:lnTo>
                  <a:lnTo>
                    <a:pt x="21184" y="29923"/>
                  </a:lnTo>
                  <a:lnTo>
                    <a:pt x="15362" y="23656"/>
                  </a:lnTo>
                  <a:lnTo>
                    <a:pt x="21184" y="18722"/>
                  </a:lnTo>
                  <a:lnTo>
                    <a:pt x="15362" y="17193"/>
                  </a:lnTo>
                  <a:lnTo>
                    <a:pt x="3767" y="17193"/>
                  </a:lnTo>
                  <a:lnTo>
                    <a:pt x="-82" y="1225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Graphic 2">
              <a:extLst>
                <a:ext uri="{FF2B5EF4-FFF2-40B4-BE49-F238E27FC236}">
                  <a16:creationId xmlns:a16="http://schemas.microsoft.com/office/drawing/2014/main" id="{2E2363B2-3C62-4315-BFB6-F1BADCF84D50}"/>
                </a:ext>
              </a:extLst>
            </p:cNvPr>
            <p:cNvSpPr/>
            <p:nvPr/>
          </p:nvSpPr>
          <p:spPr>
            <a:xfrm>
              <a:off x="4942736" y="4278622"/>
              <a:ext cx="231752" cy="193059"/>
            </a:xfrm>
            <a:custGeom>
              <a:avLst/>
              <a:gdLst>
                <a:gd name="connsiteX0" fmla="*/ 510 w 255089"/>
                <a:gd name="connsiteY0" fmla="*/ 53902 h 212508"/>
                <a:gd name="connsiteX1" fmla="*/ 4359 w 255089"/>
                <a:gd name="connsiteY1" fmla="*/ 46402 h 212508"/>
                <a:gd name="connsiteX2" fmla="*/ 12105 w 255089"/>
                <a:gd name="connsiteY2" fmla="*/ 44922 h 212508"/>
                <a:gd name="connsiteX3" fmla="*/ 21973 w 255089"/>
                <a:gd name="connsiteY3" fmla="*/ 38952 h 212508"/>
                <a:gd name="connsiteX4" fmla="*/ 33568 w 255089"/>
                <a:gd name="connsiteY4" fmla="*/ 37422 h 212508"/>
                <a:gd name="connsiteX5" fmla="*/ 39390 w 255089"/>
                <a:gd name="connsiteY5" fmla="*/ 34413 h 212508"/>
                <a:gd name="connsiteX6" fmla="*/ 39390 w 255089"/>
                <a:gd name="connsiteY6" fmla="*/ 28443 h 212508"/>
                <a:gd name="connsiteX7" fmla="*/ 35492 w 255089"/>
                <a:gd name="connsiteY7" fmla="*/ 25433 h 212508"/>
                <a:gd name="connsiteX8" fmla="*/ 35492 w 255089"/>
                <a:gd name="connsiteY8" fmla="*/ 14923 h 212508"/>
                <a:gd name="connsiteX9" fmla="*/ 37466 w 255089"/>
                <a:gd name="connsiteY9" fmla="*/ 10483 h 212508"/>
                <a:gd name="connsiteX10" fmla="*/ 35492 w 255089"/>
                <a:gd name="connsiteY10" fmla="*/ 1453 h 212508"/>
                <a:gd name="connsiteX11" fmla="*/ 41315 w 255089"/>
                <a:gd name="connsiteY11" fmla="*/ -27 h 212508"/>
                <a:gd name="connsiteX12" fmla="*/ 64554 w 255089"/>
                <a:gd name="connsiteY12" fmla="*/ -27 h 212508"/>
                <a:gd name="connsiteX13" fmla="*/ 80047 w 255089"/>
                <a:gd name="connsiteY13" fmla="*/ 5992 h 212508"/>
                <a:gd name="connsiteX14" fmla="*/ 85869 w 255089"/>
                <a:gd name="connsiteY14" fmla="*/ 8953 h 212508"/>
                <a:gd name="connsiteX15" fmla="*/ 97514 w 255089"/>
                <a:gd name="connsiteY15" fmla="*/ 8953 h 212508"/>
                <a:gd name="connsiteX16" fmla="*/ 107382 w 255089"/>
                <a:gd name="connsiteY16" fmla="*/ 13443 h 212508"/>
                <a:gd name="connsiteX17" fmla="*/ 115177 w 255089"/>
                <a:gd name="connsiteY17" fmla="*/ 10483 h 212508"/>
                <a:gd name="connsiteX18" fmla="*/ 120950 w 255089"/>
                <a:gd name="connsiteY18" fmla="*/ 10483 h 212508"/>
                <a:gd name="connsiteX19" fmla="*/ 124798 w 255089"/>
                <a:gd name="connsiteY19" fmla="*/ 13443 h 212508"/>
                <a:gd name="connsiteX20" fmla="*/ 132594 w 255089"/>
                <a:gd name="connsiteY20" fmla="*/ 13443 h 212508"/>
                <a:gd name="connsiteX21" fmla="*/ 132594 w 255089"/>
                <a:gd name="connsiteY21" fmla="*/ 20943 h 212508"/>
                <a:gd name="connsiteX22" fmla="*/ 136443 w 255089"/>
                <a:gd name="connsiteY22" fmla="*/ 22423 h 212508"/>
                <a:gd name="connsiteX23" fmla="*/ 144189 w 255089"/>
                <a:gd name="connsiteY23" fmla="*/ 19463 h 212508"/>
                <a:gd name="connsiteX24" fmla="*/ 150012 w 255089"/>
                <a:gd name="connsiteY24" fmla="*/ 20943 h 212508"/>
                <a:gd name="connsiteX25" fmla="*/ 157758 w 255089"/>
                <a:gd name="connsiteY25" fmla="*/ 25433 h 212508"/>
                <a:gd name="connsiteX26" fmla="*/ 165504 w 255089"/>
                <a:gd name="connsiteY26" fmla="*/ 25433 h 212508"/>
                <a:gd name="connsiteX27" fmla="*/ 173251 w 255089"/>
                <a:gd name="connsiteY27" fmla="*/ 20943 h 212508"/>
                <a:gd name="connsiteX28" fmla="*/ 177149 w 255089"/>
                <a:gd name="connsiteY28" fmla="*/ 20943 h 212508"/>
                <a:gd name="connsiteX29" fmla="*/ 187017 w 255089"/>
                <a:gd name="connsiteY29" fmla="*/ 11963 h 212508"/>
                <a:gd name="connsiteX30" fmla="*/ 192839 w 255089"/>
                <a:gd name="connsiteY30" fmla="*/ 10483 h 212508"/>
                <a:gd name="connsiteX31" fmla="*/ 202707 w 255089"/>
                <a:gd name="connsiteY31" fmla="*/ 14923 h 212508"/>
                <a:gd name="connsiteX32" fmla="*/ 204631 w 255089"/>
                <a:gd name="connsiteY32" fmla="*/ 11963 h 212508"/>
                <a:gd name="connsiteX33" fmla="*/ 210454 w 255089"/>
                <a:gd name="connsiteY33" fmla="*/ 10483 h 212508"/>
                <a:gd name="connsiteX34" fmla="*/ 212377 w 255089"/>
                <a:gd name="connsiteY34" fmla="*/ 13443 h 212508"/>
                <a:gd name="connsiteX35" fmla="*/ 220174 w 255089"/>
                <a:gd name="connsiteY35" fmla="*/ 20943 h 212508"/>
                <a:gd name="connsiteX36" fmla="*/ 224022 w 255089"/>
                <a:gd name="connsiteY36" fmla="*/ 26962 h 212508"/>
                <a:gd name="connsiteX37" fmla="*/ 222098 w 255089"/>
                <a:gd name="connsiteY37" fmla="*/ 34413 h 212508"/>
                <a:gd name="connsiteX38" fmla="*/ 225946 w 255089"/>
                <a:gd name="connsiteY38" fmla="*/ 35893 h 212508"/>
                <a:gd name="connsiteX39" fmla="*/ 233693 w 255089"/>
                <a:gd name="connsiteY39" fmla="*/ 38952 h 212508"/>
                <a:gd name="connsiteX40" fmla="*/ 233693 w 255089"/>
                <a:gd name="connsiteY40" fmla="*/ 41912 h 212508"/>
                <a:gd name="connsiteX41" fmla="*/ 227870 w 255089"/>
                <a:gd name="connsiteY41" fmla="*/ 50892 h 212508"/>
                <a:gd name="connsiteX42" fmla="*/ 224022 w 255089"/>
                <a:gd name="connsiteY42" fmla="*/ 58392 h 212508"/>
                <a:gd name="connsiteX43" fmla="*/ 229844 w 255089"/>
                <a:gd name="connsiteY43" fmla="*/ 56862 h 212508"/>
                <a:gd name="connsiteX44" fmla="*/ 233693 w 255089"/>
                <a:gd name="connsiteY44" fmla="*/ 53902 h 212508"/>
                <a:gd name="connsiteX45" fmla="*/ 237591 w 255089"/>
                <a:gd name="connsiteY45" fmla="*/ 52422 h 212508"/>
                <a:gd name="connsiteX46" fmla="*/ 237591 w 255089"/>
                <a:gd name="connsiteY46" fmla="*/ 58392 h 212508"/>
                <a:gd name="connsiteX47" fmla="*/ 239515 w 255089"/>
                <a:gd name="connsiteY47" fmla="*/ 61402 h 212508"/>
                <a:gd name="connsiteX48" fmla="*/ 239515 w 255089"/>
                <a:gd name="connsiteY48" fmla="*/ 65892 h 212508"/>
                <a:gd name="connsiteX49" fmla="*/ 251110 w 255089"/>
                <a:gd name="connsiteY49" fmla="*/ 65892 h 212508"/>
                <a:gd name="connsiteX50" fmla="*/ 253083 w 255089"/>
                <a:gd name="connsiteY50" fmla="*/ 68852 h 212508"/>
                <a:gd name="connsiteX51" fmla="*/ 255008 w 255089"/>
                <a:gd name="connsiteY51" fmla="*/ 73392 h 212508"/>
                <a:gd name="connsiteX52" fmla="*/ 251110 w 255089"/>
                <a:gd name="connsiteY52" fmla="*/ 74872 h 212508"/>
                <a:gd name="connsiteX53" fmla="*/ 237591 w 255089"/>
                <a:gd name="connsiteY53" fmla="*/ 79362 h 212508"/>
                <a:gd name="connsiteX54" fmla="*/ 237591 w 255089"/>
                <a:gd name="connsiteY54" fmla="*/ 83852 h 212508"/>
                <a:gd name="connsiteX55" fmla="*/ 239515 w 255089"/>
                <a:gd name="connsiteY55" fmla="*/ 86861 h 212508"/>
                <a:gd name="connsiteX56" fmla="*/ 241439 w 255089"/>
                <a:gd name="connsiteY56" fmla="*/ 101663 h 212508"/>
                <a:gd name="connsiteX57" fmla="*/ 239515 w 255089"/>
                <a:gd name="connsiteY57" fmla="*/ 104624 h 212508"/>
                <a:gd name="connsiteX58" fmla="*/ 239515 w 255089"/>
                <a:gd name="connsiteY58" fmla="*/ 115133 h 212508"/>
                <a:gd name="connsiteX59" fmla="*/ 243413 w 255089"/>
                <a:gd name="connsiteY59" fmla="*/ 118094 h 212508"/>
                <a:gd name="connsiteX60" fmla="*/ 249186 w 255089"/>
                <a:gd name="connsiteY60" fmla="*/ 125594 h 212508"/>
                <a:gd name="connsiteX61" fmla="*/ 249186 w 255089"/>
                <a:gd name="connsiteY61" fmla="*/ 128603 h 212508"/>
                <a:gd name="connsiteX62" fmla="*/ 241439 w 255089"/>
                <a:gd name="connsiteY62" fmla="*/ 128603 h 212508"/>
                <a:gd name="connsiteX63" fmla="*/ 237591 w 255089"/>
                <a:gd name="connsiteY63" fmla="*/ 130084 h 212508"/>
                <a:gd name="connsiteX64" fmla="*/ 237591 w 255089"/>
                <a:gd name="connsiteY64" fmla="*/ 134623 h 212508"/>
                <a:gd name="connsiteX65" fmla="*/ 243413 w 255089"/>
                <a:gd name="connsiteY65" fmla="*/ 140593 h 212508"/>
                <a:gd name="connsiteX66" fmla="*/ 245288 w 255089"/>
                <a:gd name="connsiteY66" fmla="*/ 142073 h 212508"/>
                <a:gd name="connsiteX67" fmla="*/ 245288 w 255089"/>
                <a:gd name="connsiteY67" fmla="*/ 149573 h 212508"/>
                <a:gd name="connsiteX68" fmla="*/ 235420 w 255089"/>
                <a:gd name="connsiteY68" fmla="*/ 167582 h 212508"/>
                <a:gd name="connsiteX69" fmla="*/ 229597 w 255089"/>
                <a:gd name="connsiteY69" fmla="*/ 169063 h 212508"/>
                <a:gd name="connsiteX70" fmla="*/ 227624 w 255089"/>
                <a:gd name="connsiteY70" fmla="*/ 172023 h 212508"/>
                <a:gd name="connsiteX71" fmla="*/ 231521 w 255089"/>
                <a:gd name="connsiteY71" fmla="*/ 179523 h 212508"/>
                <a:gd name="connsiteX72" fmla="*/ 225700 w 255089"/>
                <a:gd name="connsiteY72" fmla="*/ 190032 h 212508"/>
                <a:gd name="connsiteX73" fmla="*/ 219927 w 255089"/>
                <a:gd name="connsiteY73" fmla="*/ 194522 h 212508"/>
                <a:gd name="connsiteX74" fmla="*/ 221851 w 255089"/>
                <a:gd name="connsiteY74" fmla="*/ 196002 h 212508"/>
                <a:gd name="connsiteX75" fmla="*/ 165652 w 255089"/>
                <a:gd name="connsiteY75" fmla="*/ 212482 h 212508"/>
                <a:gd name="connsiteX76" fmla="*/ 154057 w 255089"/>
                <a:gd name="connsiteY76" fmla="*/ 204982 h 212508"/>
                <a:gd name="connsiteX77" fmla="*/ 148235 w 255089"/>
                <a:gd name="connsiteY77" fmla="*/ 204982 h 212508"/>
                <a:gd name="connsiteX78" fmla="*/ 138367 w 255089"/>
                <a:gd name="connsiteY78" fmla="*/ 192993 h 212508"/>
                <a:gd name="connsiteX79" fmla="*/ 132594 w 255089"/>
                <a:gd name="connsiteY79" fmla="*/ 191512 h 212508"/>
                <a:gd name="connsiteX80" fmla="*/ 134519 w 255089"/>
                <a:gd name="connsiteY80" fmla="*/ 187022 h 212508"/>
                <a:gd name="connsiteX81" fmla="*/ 134519 w 255089"/>
                <a:gd name="connsiteY81" fmla="*/ 187022 h 212508"/>
                <a:gd name="connsiteX82" fmla="*/ 150012 w 255089"/>
                <a:gd name="connsiteY82" fmla="*/ 178042 h 212508"/>
                <a:gd name="connsiteX83" fmla="*/ 151935 w 255089"/>
                <a:gd name="connsiteY83" fmla="*/ 137583 h 212508"/>
                <a:gd name="connsiteX84" fmla="*/ 153909 w 255089"/>
                <a:gd name="connsiteY84" fmla="*/ 133093 h 212508"/>
                <a:gd name="connsiteX85" fmla="*/ 150012 w 255089"/>
                <a:gd name="connsiteY85" fmla="*/ 131564 h 212508"/>
                <a:gd name="connsiteX86" fmla="*/ 150012 w 255089"/>
                <a:gd name="connsiteY86" fmla="*/ 125594 h 212508"/>
                <a:gd name="connsiteX87" fmla="*/ 155834 w 255089"/>
                <a:gd name="connsiteY87" fmla="*/ 124113 h 212508"/>
                <a:gd name="connsiteX88" fmla="*/ 155834 w 255089"/>
                <a:gd name="connsiteY88" fmla="*/ 118094 h 212508"/>
                <a:gd name="connsiteX89" fmla="*/ 148087 w 255089"/>
                <a:gd name="connsiteY89" fmla="*/ 113653 h 212508"/>
                <a:gd name="connsiteX90" fmla="*/ 150012 w 255089"/>
                <a:gd name="connsiteY90" fmla="*/ 109114 h 212508"/>
                <a:gd name="connsiteX91" fmla="*/ 140144 w 255089"/>
                <a:gd name="connsiteY91" fmla="*/ 94312 h 212508"/>
                <a:gd name="connsiteX92" fmla="*/ 136295 w 255089"/>
                <a:gd name="connsiteY92" fmla="*/ 89773 h 212508"/>
                <a:gd name="connsiteX93" fmla="*/ 130473 w 255089"/>
                <a:gd name="connsiteY93" fmla="*/ 82322 h 212508"/>
                <a:gd name="connsiteX94" fmla="*/ 101411 w 255089"/>
                <a:gd name="connsiteY94" fmla="*/ 82322 h 212508"/>
                <a:gd name="connsiteX95" fmla="*/ 91543 w 255089"/>
                <a:gd name="connsiteY95" fmla="*/ 85332 h 212508"/>
                <a:gd name="connsiteX96" fmla="*/ 85721 w 255089"/>
                <a:gd name="connsiteY96" fmla="*/ 89773 h 212508"/>
                <a:gd name="connsiteX97" fmla="*/ 75853 w 255089"/>
                <a:gd name="connsiteY97" fmla="*/ 98802 h 212508"/>
                <a:gd name="connsiteX98" fmla="*/ 75853 w 255089"/>
                <a:gd name="connsiteY98" fmla="*/ 103242 h 212508"/>
                <a:gd name="connsiteX99" fmla="*/ 64209 w 255089"/>
                <a:gd name="connsiteY99" fmla="*/ 107732 h 212508"/>
                <a:gd name="connsiteX100" fmla="*/ 60360 w 255089"/>
                <a:gd name="connsiteY100" fmla="*/ 107732 h 212508"/>
                <a:gd name="connsiteX101" fmla="*/ 54538 w 255089"/>
                <a:gd name="connsiteY101" fmla="*/ 104723 h 212508"/>
                <a:gd name="connsiteX102" fmla="*/ 44670 w 255089"/>
                <a:gd name="connsiteY102" fmla="*/ 100233 h 212508"/>
                <a:gd name="connsiteX103" fmla="*/ 40772 w 255089"/>
                <a:gd name="connsiteY103" fmla="*/ 89723 h 212508"/>
                <a:gd name="connsiteX104" fmla="*/ 33025 w 255089"/>
                <a:gd name="connsiteY104" fmla="*/ 89723 h 212508"/>
                <a:gd name="connsiteX105" fmla="*/ 31101 w 255089"/>
                <a:gd name="connsiteY105" fmla="*/ 86763 h 212508"/>
                <a:gd name="connsiteX106" fmla="*/ 31101 w 255089"/>
                <a:gd name="connsiteY106" fmla="*/ 82273 h 212508"/>
                <a:gd name="connsiteX107" fmla="*/ 33025 w 255089"/>
                <a:gd name="connsiteY107" fmla="*/ 80793 h 212508"/>
                <a:gd name="connsiteX108" fmla="*/ 27253 w 255089"/>
                <a:gd name="connsiteY108" fmla="*/ 77783 h 212508"/>
                <a:gd name="connsiteX109" fmla="*/ 25279 w 255089"/>
                <a:gd name="connsiteY109" fmla="*/ 82273 h 212508"/>
                <a:gd name="connsiteX110" fmla="*/ 19457 w 255089"/>
                <a:gd name="connsiteY110" fmla="*/ 79263 h 212508"/>
                <a:gd name="connsiteX111" fmla="*/ 11711 w 255089"/>
                <a:gd name="connsiteY111" fmla="*/ 79263 h 212508"/>
                <a:gd name="connsiteX112" fmla="*/ 1842 w 255089"/>
                <a:gd name="connsiteY112" fmla="*/ 68754 h 212508"/>
                <a:gd name="connsiteX113" fmla="*/ 5740 w 255089"/>
                <a:gd name="connsiteY113" fmla="*/ 58293 h 212508"/>
                <a:gd name="connsiteX114" fmla="*/ -82 w 255089"/>
                <a:gd name="connsiteY114" fmla="*/ 53803 h 212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255089" h="212508">
                  <a:moveTo>
                    <a:pt x="510" y="53902"/>
                  </a:moveTo>
                  <a:lnTo>
                    <a:pt x="4359" y="46402"/>
                  </a:lnTo>
                  <a:lnTo>
                    <a:pt x="12105" y="44922"/>
                  </a:lnTo>
                  <a:lnTo>
                    <a:pt x="21973" y="38952"/>
                  </a:lnTo>
                  <a:lnTo>
                    <a:pt x="33568" y="37422"/>
                  </a:lnTo>
                  <a:lnTo>
                    <a:pt x="39390" y="34413"/>
                  </a:lnTo>
                  <a:lnTo>
                    <a:pt x="39390" y="28443"/>
                  </a:lnTo>
                  <a:lnTo>
                    <a:pt x="35492" y="25433"/>
                  </a:lnTo>
                  <a:lnTo>
                    <a:pt x="35492" y="14923"/>
                  </a:lnTo>
                  <a:lnTo>
                    <a:pt x="37466" y="10483"/>
                  </a:lnTo>
                  <a:lnTo>
                    <a:pt x="35492" y="1453"/>
                  </a:lnTo>
                  <a:lnTo>
                    <a:pt x="41315" y="-27"/>
                  </a:lnTo>
                  <a:lnTo>
                    <a:pt x="64554" y="-27"/>
                  </a:lnTo>
                  <a:lnTo>
                    <a:pt x="80047" y="5992"/>
                  </a:lnTo>
                  <a:lnTo>
                    <a:pt x="85869" y="8953"/>
                  </a:lnTo>
                  <a:lnTo>
                    <a:pt x="97514" y="8953"/>
                  </a:lnTo>
                  <a:lnTo>
                    <a:pt x="107382" y="13443"/>
                  </a:lnTo>
                  <a:lnTo>
                    <a:pt x="115177" y="10483"/>
                  </a:lnTo>
                  <a:lnTo>
                    <a:pt x="120950" y="10483"/>
                  </a:lnTo>
                  <a:lnTo>
                    <a:pt x="124798" y="13443"/>
                  </a:lnTo>
                  <a:lnTo>
                    <a:pt x="132594" y="13443"/>
                  </a:lnTo>
                  <a:lnTo>
                    <a:pt x="132594" y="20943"/>
                  </a:lnTo>
                  <a:lnTo>
                    <a:pt x="136443" y="22423"/>
                  </a:lnTo>
                  <a:lnTo>
                    <a:pt x="144189" y="19463"/>
                  </a:lnTo>
                  <a:lnTo>
                    <a:pt x="150012" y="20943"/>
                  </a:lnTo>
                  <a:lnTo>
                    <a:pt x="157758" y="25433"/>
                  </a:lnTo>
                  <a:lnTo>
                    <a:pt x="165504" y="25433"/>
                  </a:lnTo>
                  <a:lnTo>
                    <a:pt x="173251" y="20943"/>
                  </a:lnTo>
                  <a:lnTo>
                    <a:pt x="177149" y="20943"/>
                  </a:lnTo>
                  <a:lnTo>
                    <a:pt x="187017" y="11963"/>
                  </a:lnTo>
                  <a:lnTo>
                    <a:pt x="192839" y="10483"/>
                  </a:lnTo>
                  <a:lnTo>
                    <a:pt x="202707" y="14923"/>
                  </a:lnTo>
                  <a:lnTo>
                    <a:pt x="204631" y="11963"/>
                  </a:lnTo>
                  <a:lnTo>
                    <a:pt x="210454" y="10483"/>
                  </a:lnTo>
                  <a:lnTo>
                    <a:pt x="212377" y="13443"/>
                  </a:lnTo>
                  <a:lnTo>
                    <a:pt x="220174" y="20943"/>
                  </a:lnTo>
                  <a:lnTo>
                    <a:pt x="224022" y="26962"/>
                  </a:lnTo>
                  <a:lnTo>
                    <a:pt x="222098" y="34413"/>
                  </a:lnTo>
                  <a:lnTo>
                    <a:pt x="225946" y="35893"/>
                  </a:lnTo>
                  <a:lnTo>
                    <a:pt x="233693" y="38952"/>
                  </a:lnTo>
                  <a:lnTo>
                    <a:pt x="233693" y="41912"/>
                  </a:lnTo>
                  <a:lnTo>
                    <a:pt x="227870" y="50892"/>
                  </a:lnTo>
                  <a:lnTo>
                    <a:pt x="224022" y="58392"/>
                  </a:lnTo>
                  <a:lnTo>
                    <a:pt x="229844" y="56862"/>
                  </a:lnTo>
                  <a:lnTo>
                    <a:pt x="233693" y="53902"/>
                  </a:lnTo>
                  <a:lnTo>
                    <a:pt x="237591" y="52422"/>
                  </a:lnTo>
                  <a:lnTo>
                    <a:pt x="237591" y="58392"/>
                  </a:lnTo>
                  <a:lnTo>
                    <a:pt x="239515" y="61402"/>
                  </a:lnTo>
                  <a:lnTo>
                    <a:pt x="239515" y="65892"/>
                  </a:lnTo>
                  <a:lnTo>
                    <a:pt x="251110" y="65892"/>
                  </a:lnTo>
                  <a:lnTo>
                    <a:pt x="253083" y="68852"/>
                  </a:lnTo>
                  <a:lnTo>
                    <a:pt x="255008" y="73392"/>
                  </a:lnTo>
                  <a:lnTo>
                    <a:pt x="251110" y="74872"/>
                  </a:lnTo>
                  <a:lnTo>
                    <a:pt x="237591" y="79362"/>
                  </a:lnTo>
                  <a:lnTo>
                    <a:pt x="237591" y="83852"/>
                  </a:lnTo>
                  <a:lnTo>
                    <a:pt x="239515" y="86861"/>
                  </a:lnTo>
                  <a:lnTo>
                    <a:pt x="241439" y="101663"/>
                  </a:lnTo>
                  <a:lnTo>
                    <a:pt x="239515" y="104624"/>
                  </a:lnTo>
                  <a:lnTo>
                    <a:pt x="239515" y="115133"/>
                  </a:lnTo>
                  <a:lnTo>
                    <a:pt x="243413" y="118094"/>
                  </a:lnTo>
                  <a:lnTo>
                    <a:pt x="249186" y="125594"/>
                  </a:lnTo>
                  <a:lnTo>
                    <a:pt x="249186" y="128603"/>
                  </a:lnTo>
                  <a:lnTo>
                    <a:pt x="241439" y="128603"/>
                  </a:lnTo>
                  <a:lnTo>
                    <a:pt x="237591" y="130084"/>
                  </a:lnTo>
                  <a:lnTo>
                    <a:pt x="237591" y="134623"/>
                  </a:lnTo>
                  <a:lnTo>
                    <a:pt x="243413" y="140593"/>
                  </a:lnTo>
                  <a:lnTo>
                    <a:pt x="245288" y="142073"/>
                  </a:lnTo>
                  <a:lnTo>
                    <a:pt x="245288" y="149573"/>
                  </a:lnTo>
                  <a:lnTo>
                    <a:pt x="235420" y="167582"/>
                  </a:lnTo>
                  <a:lnTo>
                    <a:pt x="229597" y="169063"/>
                  </a:lnTo>
                  <a:lnTo>
                    <a:pt x="227624" y="172023"/>
                  </a:lnTo>
                  <a:lnTo>
                    <a:pt x="231521" y="179523"/>
                  </a:lnTo>
                  <a:lnTo>
                    <a:pt x="225700" y="190032"/>
                  </a:lnTo>
                  <a:lnTo>
                    <a:pt x="219927" y="194522"/>
                  </a:lnTo>
                  <a:lnTo>
                    <a:pt x="221851" y="196002"/>
                  </a:lnTo>
                  <a:lnTo>
                    <a:pt x="165652" y="212482"/>
                  </a:lnTo>
                  <a:lnTo>
                    <a:pt x="154057" y="204982"/>
                  </a:lnTo>
                  <a:lnTo>
                    <a:pt x="148235" y="204982"/>
                  </a:lnTo>
                  <a:lnTo>
                    <a:pt x="138367" y="192993"/>
                  </a:lnTo>
                  <a:lnTo>
                    <a:pt x="132594" y="191512"/>
                  </a:lnTo>
                  <a:lnTo>
                    <a:pt x="134519" y="187022"/>
                  </a:lnTo>
                  <a:lnTo>
                    <a:pt x="134519" y="187022"/>
                  </a:lnTo>
                  <a:lnTo>
                    <a:pt x="150012" y="178042"/>
                  </a:lnTo>
                  <a:lnTo>
                    <a:pt x="151935" y="137583"/>
                  </a:lnTo>
                  <a:lnTo>
                    <a:pt x="153909" y="133093"/>
                  </a:lnTo>
                  <a:lnTo>
                    <a:pt x="150012" y="131564"/>
                  </a:lnTo>
                  <a:lnTo>
                    <a:pt x="150012" y="125594"/>
                  </a:lnTo>
                  <a:lnTo>
                    <a:pt x="155834" y="124113"/>
                  </a:lnTo>
                  <a:lnTo>
                    <a:pt x="155834" y="118094"/>
                  </a:lnTo>
                  <a:lnTo>
                    <a:pt x="148087" y="113653"/>
                  </a:lnTo>
                  <a:lnTo>
                    <a:pt x="150012" y="109114"/>
                  </a:lnTo>
                  <a:lnTo>
                    <a:pt x="140144" y="94312"/>
                  </a:lnTo>
                  <a:lnTo>
                    <a:pt x="136295" y="89773"/>
                  </a:lnTo>
                  <a:lnTo>
                    <a:pt x="130473" y="82322"/>
                  </a:lnTo>
                  <a:lnTo>
                    <a:pt x="101411" y="82322"/>
                  </a:lnTo>
                  <a:lnTo>
                    <a:pt x="91543" y="85332"/>
                  </a:lnTo>
                  <a:lnTo>
                    <a:pt x="85721" y="89773"/>
                  </a:lnTo>
                  <a:lnTo>
                    <a:pt x="75853" y="98802"/>
                  </a:lnTo>
                  <a:lnTo>
                    <a:pt x="75853" y="103242"/>
                  </a:lnTo>
                  <a:lnTo>
                    <a:pt x="64209" y="107732"/>
                  </a:lnTo>
                  <a:lnTo>
                    <a:pt x="60360" y="107732"/>
                  </a:lnTo>
                  <a:lnTo>
                    <a:pt x="54538" y="104723"/>
                  </a:lnTo>
                  <a:lnTo>
                    <a:pt x="44670" y="100233"/>
                  </a:lnTo>
                  <a:lnTo>
                    <a:pt x="40772" y="89723"/>
                  </a:lnTo>
                  <a:lnTo>
                    <a:pt x="33025" y="89723"/>
                  </a:lnTo>
                  <a:lnTo>
                    <a:pt x="31101" y="86763"/>
                  </a:lnTo>
                  <a:lnTo>
                    <a:pt x="31101" y="82273"/>
                  </a:lnTo>
                  <a:lnTo>
                    <a:pt x="33025" y="80793"/>
                  </a:lnTo>
                  <a:lnTo>
                    <a:pt x="27253" y="77783"/>
                  </a:lnTo>
                  <a:lnTo>
                    <a:pt x="25279" y="82273"/>
                  </a:lnTo>
                  <a:lnTo>
                    <a:pt x="19457" y="79263"/>
                  </a:lnTo>
                  <a:lnTo>
                    <a:pt x="11711" y="79263"/>
                  </a:lnTo>
                  <a:lnTo>
                    <a:pt x="1842" y="68754"/>
                  </a:lnTo>
                  <a:lnTo>
                    <a:pt x="5740" y="58293"/>
                  </a:lnTo>
                  <a:lnTo>
                    <a:pt x="-82" y="5380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Graphic 2">
              <a:extLst>
                <a:ext uri="{FF2B5EF4-FFF2-40B4-BE49-F238E27FC236}">
                  <a16:creationId xmlns:a16="http://schemas.microsoft.com/office/drawing/2014/main" id="{CB80AAC2-BC8D-4F7C-AFFE-A4B459951E2D}"/>
                </a:ext>
              </a:extLst>
            </p:cNvPr>
            <p:cNvSpPr/>
            <p:nvPr/>
          </p:nvSpPr>
          <p:spPr>
            <a:xfrm>
              <a:off x="4994061" y="4353300"/>
              <a:ext cx="91490" cy="94802"/>
            </a:xfrm>
            <a:custGeom>
              <a:avLst/>
              <a:gdLst>
                <a:gd name="connsiteX0" fmla="*/ 27647 w 100703"/>
                <a:gd name="connsiteY0" fmla="*/ 88046 h 104354"/>
                <a:gd name="connsiteX1" fmla="*/ 25674 w 100703"/>
                <a:gd name="connsiteY1" fmla="*/ 83556 h 104354"/>
                <a:gd name="connsiteX2" fmla="*/ 23701 w 100703"/>
                <a:gd name="connsiteY2" fmla="*/ 80595 h 104354"/>
                <a:gd name="connsiteX3" fmla="*/ 17730 w 100703"/>
                <a:gd name="connsiteY3" fmla="*/ 80595 h 104354"/>
                <a:gd name="connsiteX4" fmla="*/ 15806 w 100703"/>
                <a:gd name="connsiteY4" fmla="*/ 82076 h 104354"/>
                <a:gd name="connsiteX5" fmla="*/ 17730 w 100703"/>
                <a:gd name="connsiteY5" fmla="*/ 85036 h 104354"/>
                <a:gd name="connsiteX6" fmla="*/ 23701 w 100703"/>
                <a:gd name="connsiteY6" fmla="*/ 88046 h 104354"/>
                <a:gd name="connsiteX7" fmla="*/ 3915 w 100703"/>
                <a:gd name="connsiteY7" fmla="*/ 25334 h 104354"/>
                <a:gd name="connsiteX8" fmla="*/ 7911 w 100703"/>
                <a:gd name="connsiteY8" fmla="*/ 25334 h 104354"/>
                <a:gd name="connsiteX9" fmla="*/ 19704 w 100703"/>
                <a:gd name="connsiteY9" fmla="*/ 20893 h 104354"/>
                <a:gd name="connsiteX10" fmla="*/ 19704 w 100703"/>
                <a:gd name="connsiteY10" fmla="*/ 16404 h 104354"/>
                <a:gd name="connsiteX11" fmla="*/ 29572 w 100703"/>
                <a:gd name="connsiteY11" fmla="*/ 7424 h 104354"/>
                <a:gd name="connsiteX12" fmla="*/ 35493 w 100703"/>
                <a:gd name="connsiteY12" fmla="*/ 2934 h 104354"/>
                <a:gd name="connsiteX13" fmla="*/ 45361 w 100703"/>
                <a:gd name="connsiteY13" fmla="*/ -27 h 104354"/>
                <a:gd name="connsiteX14" fmla="*/ 74965 w 100703"/>
                <a:gd name="connsiteY14" fmla="*/ -27 h 104354"/>
                <a:gd name="connsiteX15" fmla="*/ 80886 w 100703"/>
                <a:gd name="connsiteY15" fmla="*/ 7424 h 104354"/>
                <a:gd name="connsiteX16" fmla="*/ 84833 w 100703"/>
                <a:gd name="connsiteY16" fmla="*/ 11914 h 104354"/>
                <a:gd name="connsiteX17" fmla="*/ 94701 w 100703"/>
                <a:gd name="connsiteY17" fmla="*/ 26716 h 104354"/>
                <a:gd name="connsiteX18" fmla="*/ 92728 w 100703"/>
                <a:gd name="connsiteY18" fmla="*/ 31156 h 104354"/>
                <a:gd name="connsiteX19" fmla="*/ 100622 w 100703"/>
                <a:gd name="connsiteY19" fmla="*/ 35646 h 104354"/>
                <a:gd name="connsiteX20" fmla="*/ 100622 w 100703"/>
                <a:gd name="connsiteY20" fmla="*/ 41616 h 104354"/>
                <a:gd name="connsiteX21" fmla="*/ 94701 w 100703"/>
                <a:gd name="connsiteY21" fmla="*/ 43097 h 104354"/>
                <a:gd name="connsiteX22" fmla="*/ 94701 w 100703"/>
                <a:gd name="connsiteY22" fmla="*/ 49067 h 104354"/>
                <a:gd name="connsiteX23" fmla="*/ 98648 w 100703"/>
                <a:gd name="connsiteY23" fmla="*/ 50596 h 104354"/>
                <a:gd name="connsiteX24" fmla="*/ 96675 w 100703"/>
                <a:gd name="connsiteY24" fmla="*/ 55037 h 104354"/>
                <a:gd name="connsiteX25" fmla="*/ 94701 w 100703"/>
                <a:gd name="connsiteY25" fmla="*/ 95348 h 104354"/>
                <a:gd name="connsiteX26" fmla="*/ 78912 w 100703"/>
                <a:gd name="connsiteY26" fmla="*/ 104328 h 104354"/>
                <a:gd name="connsiteX27" fmla="*/ 74965 w 100703"/>
                <a:gd name="connsiteY27" fmla="*/ 101318 h 104354"/>
                <a:gd name="connsiteX28" fmla="*/ 61150 w 100703"/>
                <a:gd name="connsiteY28" fmla="*/ 101318 h 104354"/>
                <a:gd name="connsiteX29" fmla="*/ 41414 w 100703"/>
                <a:gd name="connsiteY29" fmla="*/ 93868 h 104354"/>
                <a:gd name="connsiteX30" fmla="*/ 33519 w 100703"/>
                <a:gd name="connsiteY30" fmla="*/ 92388 h 104354"/>
                <a:gd name="connsiteX31" fmla="*/ 35493 w 100703"/>
                <a:gd name="connsiteY31" fmla="*/ 87898 h 104354"/>
                <a:gd name="connsiteX32" fmla="*/ 29572 w 100703"/>
                <a:gd name="connsiteY32" fmla="*/ 83408 h 104354"/>
                <a:gd name="connsiteX33" fmla="*/ 25625 w 100703"/>
                <a:gd name="connsiteY33" fmla="*/ 78918 h 104354"/>
                <a:gd name="connsiteX34" fmla="*/ 29572 w 100703"/>
                <a:gd name="connsiteY34" fmla="*/ 74477 h 104354"/>
                <a:gd name="connsiteX35" fmla="*/ 27598 w 100703"/>
                <a:gd name="connsiteY35" fmla="*/ 72948 h 104354"/>
                <a:gd name="connsiteX36" fmla="*/ 19654 w 100703"/>
                <a:gd name="connsiteY36" fmla="*/ 75957 h 104354"/>
                <a:gd name="connsiteX37" fmla="*/ 11809 w 100703"/>
                <a:gd name="connsiteY37" fmla="*/ 68507 h 104354"/>
                <a:gd name="connsiteX38" fmla="*/ 11809 w 100703"/>
                <a:gd name="connsiteY38" fmla="*/ 61007 h 104354"/>
                <a:gd name="connsiteX39" fmla="*/ 7862 w 100703"/>
                <a:gd name="connsiteY39" fmla="*/ 52076 h 104354"/>
                <a:gd name="connsiteX40" fmla="*/ 1892 w 100703"/>
                <a:gd name="connsiteY40" fmla="*/ 50596 h 104354"/>
                <a:gd name="connsiteX41" fmla="*/ -82 w 100703"/>
                <a:gd name="connsiteY41" fmla="*/ 46107 h 104354"/>
                <a:gd name="connsiteX42" fmla="*/ 3866 w 100703"/>
                <a:gd name="connsiteY42" fmla="*/ 37127 h 104354"/>
                <a:gd name="connsiteX43" fmla="*/ -82 w 100703"/>
                <a:gd name="connsiteY43" fmla="*/ 35646 h 104354"/>
                <a:gd name="connsiteX44" fmla="*/ -82 w 100703"/>
                <a:gd name="connsiteY44" fmla="*/ 31156 h 104354"/>
                <a:gd name="connsiteX45" fmla="*/ 3866 w 100703"/>
                <a:gd name="connsiteY45" fmla="*/ 25186 h 10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00703" h="104354">
                  <a:moveTo>
                    <a:pt x="27647" y="88046"/>
                  </a:moveTo>
                  <a:lnTo>
                    <a:pt x="25674" y="83556"/>
                  </a:lnTo>
                  <a:lnTo>
                    <a:pt x="23701" y="80595"/>
                  </a:lnTo>
                  <a:lnTo>
                    <a:pt x="17730" y="80595"/>
                  </a:lnTo>
                  <a:lnTo>
                    <a:pt x="15806" y="82076"/>
                  </a:lnTo>
                  <a:lnTo>
                    <a:pt x="17730" y="85036"/>
                  </a:lnTo>
                  <a:lnTo>
                    <a:pt x="23701" y="88046"/>
                  </a:lnTo>
                  <a:close/>
                  <a:moveTo>
                    <a:pt x="3915" y="25334"/>
                  </a:moveTo>
                  <a:lnTo>
                    <a:pt x="7911" y="25334"/>
                  </a:lnTo>
                  <a:lnTo>
                    <a:pt x="19704" y="20893"/>
                  </a:lnTo>
                  <a:lnTo>
                    <a:pt x="19704" y="16404"/>
                  </a:lnTo>
                  <a:lnTo>
                    <a:pt x="29572" y="7424"/>
                  </a:lnTo>
                  <a:lnTo>
                    <a:pt x="35493" y="2934"/>
                  </a:lnTo>
                  <a:lnTo>
                    <a:pt x="45361" y="-27"/>
                  </a:lnTo>
                  <a:lnTo>
                    <a:pt x="74965" y="-27"/>
                  </a:lnTo>
                  <a:lnTo>
                    <a:pt x="80886" y="7424"/>
                  </a:lnTo>
                  <a:lnTo>
                    <a:pt x="84833" y="11914"/>
                  </a:lnTo>
                  <a:lnTo>
                    <a:pt x="94701" y="26716"/>
                  </a:lnTo>
                  <a:lnTo>
                    <a:pt x="92728" y="31156"/>
                  </a:lnTo>
                  <a:lnTo>
                    <a:pt x="100622" y="35646"/>
                  </a:lnTo>
                  <a:lnTo>
                    <a:pt x="100622" y="41616"/>
                  </a:lnTo>
                  <a:lnTo>
                    <a:pt x="94701" y="43097"/>
                  </a:lnTo>
                  <a:lnTo>
                    <a:pt x="94701" y="49067"/>
                  </a:lnTo>
                  <a:lnTo>
                    <a:pt x="98648" y="50596"/>
                  </a:lnTo>
                  <a:lnTo>
                    <a:pt x="96675" y="55037"/>
                  </a:lnTo>
                  <a:lnTo>
                    <a:pt x="94701" y="95348"/>
                  </a:lnTo>
                  <a:lnTo>
                    <a:pt x="78912" y="104328"/>
                  </a:lnTo>
                  <a:lnTo>
                    <a:pt x="74965" y="101318"/>
                  </a:lnTo>
                  <a:lnTo>
                    <a:pt x="61150" y="101318"/>
                  </a:lnTo>
                  <a:lnTo>
                    <a:pt x="41414" y="93868"/>
                  </a:lnTo>
                  <a:lnTo>
                    <a:pt x="33519" y="92388"/>
                  </a:lnTo>
                  <a:lnTo>
                    <a:pt x="35493" y="87898"/>
                  </a:lnTo>
                  <a:lnTo>
                    <a:pt x="29572" y="83408"/>
                  </a:lnTo>
                  <a:lnTo>
                    <a:pt x="25625" y="78918"/>
                  </a:lnTo>
                  <a:lnTo>
                    <a:pt x="29572" y="74477"/>
                  </a:lnTo>
                  <a:lnTo>
                    <a:pt x="27598" y="72948"/>
                  </a:lnTo>
                  <a:lnTo>
                    <a:pt x="19654" y="75957"/>
                  </a:lnTo>
                  <a:lnTo>
                    <a:pt x="11809" y="68507"/>
                  </a:lnTo>
                  <a:lnTo>
                    <a:pt x="11809" y="61007"/>
                  </a:lnTo>
                  <a:lnTo>
                    <a:pt x="7862" y="52076"/>
                  </a:lnTo>
                  <a:lnTo>
                    <a:pt x="1892" y="50596"/>
                  </a:lnTo>
                  <a:lnTo>
                    <a:pt x="-82" y="46107"/>
                  </a:lnTo>
                  <a:lnTo>
                    <a:pt x="3866" y="37127"/>
                  </a:lnTo>
                  <a:lnTo>
                    <a:pt x="-82" y="35646"/>
                  </a:lnTo>
                  <a:lnTo>
                    <a:pt x="-82" y="31156"/>
                  </a:lnTo>
                  <a:lnTo>
                    <a:pt x="3866" y="2518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Graphic 2">
              <a:extLst>
                <a:ext uri="{FF2B5EF4-FFF2-40B4-BE49-F238E27FC236}">
                  <a16:creationId xmlns:a16="http://schemas.microsoft.com/office/drawing/2014/main" id="{1D243045-2E67-4AFE-B821-1B47E753EA9F}"/>
                </a:ext>
              </a:extLst>
            </p:cNvPr>
            <p:cNvSpPr/>
            <p:nvPr/>
          </p:nvSpPr>
          <p:spPr>
            <a:xfrm>
              <a:off x="5051932" y="4397364"/>
              <a:ext cx="132328" cy="122055"/>
            </a:xfrm>
            <a:custGeom>
              <a:avLst/>
              <a:gdLst>
                <a:gd name="connsiteX0" fmla="*/ -82 w 145652"/>
                <a:gd name="connsiteY0" fmla="*/ 55876 h 134353"/>
                <a:gd name="connsiteX1" fmla="*/ 1892 w 145652"/>
                <a:gd name="connsiteY1" fmla="*/ 51287 h 134353"/>
                <a:gd name="connsiteX2" fmla="*/ 5839 w 145652"/>
                <a:gd name="connsiteY2" fmla="*/ 43738 h 134353"/>
                <a:gd name="connsiteX3" fmla="*/ 13684 w 145652"/>
                <a:gd name="connsiteY3" fmla="*/ 39248 h 134353"/>
                <a:gd name="connsiteX4" fmla="*/ 19605 w 145652"/>
                <a:gd name="connsiteY4" fmla="*/ 33179 h 134353"/>
                <a:gd name="connsiteX5" fmla="*/ 19605 w 145652"/>
                <a:gd name="connsiteY5" fmla="*/ 28689 h 134353"/>
                <a:gd name="connsiteX6" fmla="*/ 23503 w 145652"/>
                <a:gd name="connsiteY6" fmla="*/ 21091 h 134353"/>
                <a:gd name="connsiteX7" fmla="*/ 29424 w 145652"/>
                <a:gd name="connsiteY7" fmla="*/ 16601 h 134353"/>
                <a:gd name="connsiteX8" fmla="*/ 29424 w 145652"/>
                <a:gd name="connsiteY8" fmla="*/ 13591 h 134353"/>
                <a:gd name="connsiteX9" fmla="*/ 31397 w 145652"/>
                <a:gd name="connsiteY9" fmla="*/ 7522 h 134353"/>
                <a:gd name="connsiteX10" fmla="*/ 41265 w 145652"/>
                <a:gd name="connsiteY10" fmla="*/ 3032 h 134353"/>
                <a:gd name="connsiteX11" fmla="*/ 43239 w 145652"/>
                <a:gd name="connsiteY11" fmla="*/ 4512 h 134353"/>
                <a:gd name="connsiteX12" fmla="*/ 57005 w 145652"/>
                <a:gd name="connsiteY12" fmla="*/ -27 h 134353"/>
                <a:gd name="connsiteX13" fmla="*/ 66873 w 145652"/>
                <a:gd name="connsiteY13" fmla="*/ 3032 h 134353"/>
                <a:gd name="connsiteX14" fmla="*/ 70771 w 145652"/>
                <a:gd name="connsiteY14" fmla="*/ 10532 h 134353"/>
                <a:gd name="connsiteX15" fmla="*/ 76643 w 145652"/>
                <a:gd name="connsiteY15" fmla="*/ 13591 h 134353"/>
                <a:gd name="connsiteX16" fmla="*/ 76643 w 145652"/>
                <a:gd name="connsiteY16" fmla="*/ 25680 h 134353"/>
                <a:gd name="connsiteX17" fmla="*/ 74718 w 145652"/>
                <a:gd name="connsiteY17" fmla="*/ 31650 h 134353"/>
                <a:gd name="connsiteX18" fmla="*/ 84586 w 145652"/>
                <a:gd name="connsiteY18" fmla="*/ 40728 h 134353"/>
                <a:gd name="connsiteX19" fmla="*/ 88533 w 145652"/>
                <a:gd name="connsiteY19" fmla="*/ 39248 h 134353"/>
                <a:gd name="connsiteX20" fmla="*/ 100326 w 145652"/>
                <a:gd name="connsiteY20" fmla="*/ 33179 h 134353"/>
                <a:gd name="connsiteX21" fmla="*/ 104273 w 145652"/>
                <a:gd name="connsiteY21" fmla="*/ 33179 h 134353"/>
                <a:gd name="connsiteX22" fmla="*/ 108220 w 145652"/>
                <a:gd name="connsiteY22" fmla="*/ 37719 h 134353"/>
                <a:gd name="connsiteX23" fmla="*/ 110144 w 145652"/>
                <a:gd name="connsiteY23" fmla="*/ 40728 h 134353"/>
                <a:gd name="connsiteX24" fmla="*/ 108220 w 145652"/>
                <a:gd name="connsiteY24" fmla="*/ 43738 h 134353"/>
                <a:gd name="connsiteX25" fmla="*/ 112118 w 145652"/>
                <a:gd name="connsiteY25" fmla="*/ 51287 h 134353"/>
                <a:gd name="connsiteX26" fmla="*/ 106247 w 145652"/>
                <a:gd name="connsiteY26" fmla="*/ 61846 h 134353"/>
                <a:gd name="connsiteX27" fmla="*/ 100326 w 145652"/>
                <a:gd name="connsiteY27" fmla="*/ 66435 h 134353"/>
                <a:gd name="connsiteX28" fmla="*/ 102299 w 145652"/>
                <a:gd name="connsiteY28" fmla="*/ 70925 h 134353"/>
                <a:gd name="connsiteX29" fmla="*/ 108220 w 145652"/>
                <a:gd name="connsiteY29" fmla="*/ 75464 h 134353"/>
                <a:gd name="connsiteX30" fmla="*/ 110144 w 145652"/>
                <a:gd name="connsiteY30" fmla="*/ 73934 h 134353"/>
                <a:gd name="connsiteX31" fmla="*/ 116066 w 145652"/>
                <a:gd name="connsiteY31" fmla="*/ 73934 h 134353"/>
                <a:gd name="connsiteX32" fmla="*/ 120012 w 145652"/>
                <a:gd name="connsiteY32" fmla="*/ 76993 h 134353"/>
                <a:gd name="connsiteX33" fmla="*/ 125884 w 145652"/>
                <a:gd name="connsiteY33" fmla="*/ 76993 h 134353"/>
                <a:gd name="connsiteX34" fmla="*/ 131805 w 145652"/>
                <a:gd name="connsiteY34" fmla="*/ 78473 h 134353"/>
                <a:gd name="connsiteX35" fmla="*/ 133779 w 145652"/>
                <a:gd name="connsiteY35" fmla="*/ 84493 h 134353"/>
                <a:gd name="connsiteX36" fmla="*/ 137677 w 145652"/>
                <a:gd name="connsiteY36" fmla="*/ 87552 h 134353"/>
                <a:gd name="connsiteX37" fmla="*/ 143597 w 145652"/>
                <a:gd name="connsiteY37" fmla="*/ 87552 h 134353"/>
                <a:gd name="connsiteX38" fmla="*/ 145571 w 145652"/>
                <a:gd name="connsiteY38" fmla="*/ 93572 h 134353"/>
                <a:gd name="connsiteX39" fmla="*/ 139650 w 145652"/>
                <a:gd name="connsiteY39" fmla="*/ 96582 h 134353"/>
                <a:gd name="connsiteX40" fmla="*/ 143597 w 145652"/>
                <a:gd name="connsiteY40" fmla="*/ 101121 h 134353"/>
                <a:gd name="connsiteX41" fmla="*/ 139650 w 145652"/>
                <a:gd name="connsiteY41" fmla="*/ 104131 h 134353"/>
                <a:gd name="connsiteX42" fmla="*/ 137677 w 145652"/>
                <a:gd name="connsiteY42" fmla="*/ 110200 h 134353"/>
                <a:gd name="connsiteX43" fmla="*/ 139650 w 145652"/>
                <a:gd name="connsiteY43" fmla="*/ 114689 h 134353"/>
                <a:gd name="connsiteX44" fmla="*/ 137677 w 145652"/>
                <a:gd name="connsiteY44" fmla="*/ 120758 h 134353"/>
                <a:gd name="connsiteX45" fmla="*/ 141673 w 145652"/>
                <a:gd name="connsiteY45" fmla="*/ 126778 h 134353"/>
                <a:gd name="connsiteX46" fmla="*/ 141673 w 145652"/>
                <a:gd name="connsiteY46" fmla="*/ 134327 h 134353"/>
                <a:gd name="connsiteX47" fmla="*/ 106247 w 145652"/>
                <a:gd name="connsiteY47" fmla="*/ 122239 h 134353"/>
                <a:gd name="connsiteX48" fmla="*/ 76643 w 145652"/>
                <a:gd name="connsiteY48" fmla="*/ 105660 h 134353"/>
                <a:gd name="connsiteX49" fmla="*/ 70771 w 145652"/>
                <a:gd name="connsiteY49" fmla="*/ 105660 h 134353"/>
                <a:gd name="connsiteX50" fmla="*/ 47186 w 145652"/>
                <a:gd name="connsiteY50" fmla="*/ 85924 h 134353"/>
                <a:gd name="connsiteX51" fmla="*/ 33420 w 145652"/>
                <a:gd name="connsiteY51" fmla="*/ 76895 h 134353"/>
                <a:gd name="connsiteX52" fmla="*/ 27499 w 145652"/>
                <a:gd name="connsiteY52" fmla="*/ 76895 h 134353"/>
                <a:gd name="connsiteX53" fmla="*/ 17631 w 145652"/>
                <a:gd name="connsiteY53" fmla="*/ 64806 h 134353"/>
                <a:gd name="connsiteX54" fmla="*/ 11711 w 145652"/>
                <a:gd name="connsiteY54" fmla="*/ 63277 h 134353"/>
                <a:gd name="connsiteX55" fmla="*/ 13684 w 145652"/>
                <a:gd name="connsiteY55" fmla="*/ 58787 h 134353"/>
                <a:gd name="connsiteX56" fmla="*/ 9786 w 145652"/>
                <a:gd name="connsiteY56" fmla="*/ 55777 h 13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5652" h="134353">
                  <a:moveTo>
                    <a:pt x="-82" y="55876"/>
                  </a:moveTo>
                  <a:lnTo>
                    <a:pt x="1892" y="51287"/>
                  </a:lnTo>
                  <a:lnTo>
                    <a:pt x="5839" y="43738"/>
                  </a:lnTo>
                  <a:lnTo>
                    <a:pt x="13684" y="39248"/>
                  </a:lnTo>
                  <a:lnTo>
                    <a:pt x="19605" y="33179"/>
                  </a:lnTo>
                  <a:lnTo>
                    <a:pt x="19605" y="28689"/>
                  </a:lnTo>
                  <a:lnTo>
                    <a:pt x="23503" y="21091"/>
                  </a:lnTo>
                  <a:lnTo>
                    <a:pt x="29424" y="16601"/>
                  </a:lnTo>
                  <a:lnTo>
                    <a:pt x="29424" y="13591"/>
                  </a:lnTo>
                  <a:lnTo>
                    <a:pt x="31397" y="7522"/>
                  </a:lnTo>
                  <a:lnTo>
                    <a:pt x="41265" y="3032"/>
                  </a:lnTo>
                  <a:lnTo>
                    <a:pt x="43239" y="4512"/>
                  </a:lnTo>
                  <a:lnTo>
                    <a:pt x="57005" y="-27"/>
                  </a:lnTo>
                  <a:lnTo>
                    <a:pt x="66873" y="3032"/>
                  </a:lnTo>
                  <a:lnTo>
                    <a:pt x="70771" y="10532"/>
                  </a:lnTo>
                  <a:lnTo>
                    <a:pt x="76643" y="13591"/>
                  </a:lnTo>
                  <a:lnTo>
                    <a:pt x="76643" y="25680"/>
                  </a:lnTo>
                  <a:lnTo>
                    <a:pt x="74718" y="31650"/>
                  </a:lnTo>
                  <a:lnTo>
                    <a:pt x="84586" y="40728"/>
                  </a:lnTo>
                  <a:lnTo>
                    <a:pt x="88533" y="39248"/>
                  </a:lnTo>
                  <a:lnTo>
                    <a:pt x="100326" y="33179"/>
                  </a:lnTo>
                  <a:lnTo>
                    <a:pt x="104273" y="33179"/>
                  </a:lnTo>
                  <a:lnTo>
                    <a:pt x="108220" y="37719"/>
                  </a:lnTo>
                  <a:lnTo>
                    <a:pt x="110144" y="40728"/>
                  </a:lnTo>
                  <a:lnTo>
                    <a:pt x="108220" y="43738"/>
                  </a:lnTo>
                  <a:lnTo>
                    <a:pt x="112118" y="51287"/>
                  </a:lnTo>
                  <a:lnTo>
                    <a:pt x="106247" y="61846"/>
                  </a:lnTo>
                  <a:lnTo>
                    <a:pt x="100326" y="66435"/>
                  </a:lnTo>
                  <a:lnTo>
                    <a:pt x="102299" y="70925"/>
                  </a:lnTo>
                  <a:lnTo>
                    <a:pt x="108220" y="75464"/>
                  </a:lnTo>
                  <a:lnTo>
                    <a:pt x="110144" y="73934"/>
                  </a:lnTo>
                  <a:lnTo>
                    <a:pt x="116066" y="73934"/>
                  </a:lnTo>
                  <a:lnTo>
                    <a:pt x="120012" y="76993"/>
                  </a:lnTo>
                  <a:lnTo>
                    <a:pt x="125884" y="76993"/>
                  </a:lnTo>
                  <a:lnTo>
                    <a:pt x="131805" y="78473"/>
                  </a:lnTo>
                  <a:lnTo>
                    <a:pt x="133779" y="84493"/>
                  </a:lnTo>
                  <a:lnTo>
                    <a:pt x="137677" y="87552"/>
                  </a:lnTo>
                  <a:lnTo>
                    <a:pt x="143597" y="87552"/>
                  </a:lnTo>
                  <a:lnTo>
                    <a:pt x="145571" y="93572"/>
                  </a:lnTo>
                  <a:lnTo>
                    <a:pt x="139650" y="96582"/>
                  </a:lnTo>
                  <a:lnTo>
                    <a:pt x="143597" y="101121"/>
                  </a:lnTo>
                  <a:lnTo>
                    <a:pt x="139650" y="104131"/>
                  </a:lnTo>
                  <a:lnTo>
                    <a:pt x="137677" y="110200"/>
                  </a:lnTo>
                  <a:lnTo>
                    <a:pt x="139650" y="114689"/>
                  </a:lnTo>
                  <a:lnTo>
                    <a:pt x="137677" y="120758"/>
                  </a:lnTo>
                  <a:lnTo>
                    <a:pt x="141673" y="126778"/>
                  </a:lnTo>
                  <a:lnTo>
                    <a:pt x="141673" y="134327"/>
                  </a:lnTo>
                  <a:lnTo>
                    <a:pt x="106247" y="122239"/>
                  </a:lnTo>
                  <a:lnTo>
                    <a:pt x="76643" y="105660"/>
                  </a:lnTo>
                  <a:lnTo>
                    <a:pt x="70771" y="105660"/>
                  </a:lnTo>
                  <a:lnTo>
                    <a:pt x="47186" y="85924"/>
                  </a:lnTo>
                  <a:lnTo>
                    <a:pt x="33420" y="76895"/>
                  </a:lnTo>
                  <a:lnTo>
                    <a:pt x="27499" y="76895"/>
                  </a:lnTo>
                  <a:lnTo>
                    <a:pt x="17631" y="64806"/>
                  </a:lnTo>
                  <a:lnTo>
                    <a:pt x="11711" y="63277"/>
                  </a:lnTo>
                  <a:lnTo>
                    <a:pt x="13684" y="58787"/>
                  </a:lnTo>
                  <a:lnTo>
                    <a:pt x="9786" y="5577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Graphic 2">
              <a:extLst>
                <a:ext uri="{FF2B5EF4-FFF2-40B4-BE49-F238E27FC236}">
                  <a16:creationId xmlns:a16="http://schemas.microsoft.com/office/drawing/2014/main" id="{6BC17995-D683-400F-850F-4F13BDAC7630}"/>
                </a:ext>
              </a:extLst>
            </p:cNvPr>
            <p:cNvSpPr/>
            <p:nvPr/>
          </p:nvSpPr>
          <p:spPr>
            <a:xfrm>
              <a:off x="5143514" y="4336223"/>
              <a:ext cx="203689" cy="183288"/>
            </a:xfrm>
            <a:custGeom>
              <a:avLst/>
              <a:gdLst>
                <a:gd name="connsiteX0" fmla="*/ 40920 w 224202"/>
                <a:gd name="connsiteY0" fmla="*/ 201627 h 201752"/>
                <a:gd name="connsiteX1" fmla="*/ 40920 w 224202"/>
                <a:gd name="connsiteY1" fmla="*/ 194078 h 201752"/>
                <a:gd name="connsiteX2" fmla="*/ 37269 w 224202"/>
                <a:gd name="connsiteY2" fmla="*/ 187861 h 201752"/>
                <a:gd name="connsiteX3" fmla="*/ 39242 w 224202"/>
                <a:gd name="connsiteY3" fmla="*/ 181792 h 201752"/>
                <a:gd name="connsiteX4" fmla="*/ 37269 w 224202"/>
                <a:gd name="connsiteY4" fmla="*/ 177253 h 201752"/>
                <a:gd name="connsiteX5" fmla="*/ 39242 w 224202"/>
                <a:gd name="connsiteY5" fmla="*/ 171184 h 201752"/>
                <a:gd name="connsiteX6" fmla="*/ 43140 w 224202"/>
                <a:gd name="connsiteY6" fmla="*/ 168174 h 201752"/>
                <a:gd name="connsiteX7" fmla="*/ 39242 w 224202"/>
                <a:gd name="connsiteY7" fmla="*/ 163586 h 201752"/>
                <a:gd name="connsiteX8" fmla="*/ 45113 w 224202"/>
                <a:gd name="connsiteY8" fmla="*/ 160576 h 201752"/>
                <a:gd name="connsiteX9" fmla="*/ 43140 w 224202"/>
                <a:gd name="connsiteY9" fmla="*/ 154507 h 201752"/>
                <a:gd name="connsiteX10" fmla="*/ 37269 w 224202"/>
                <a:gd name="connsiteY10" fmla="*/ 154507 h 201752"/>
                <a:gd name="connsiteX11" fmla="*/ 33321 w 224202"/>
                <a:gd name="connsiteY11" fmla="*/ 151497 h 201752"/>
                <a:gd name="connsiteX12" fmla="*/ 31348 w 224202"/>
                <a:gd name="connsiteY12" fmla="*/ 145429 h 201752"/>
                <a:gd name="connsiteX13" fmla="*/ 25476 w 224202"/>
                <a:gd name="connsiteY13" fmla="*/ 143899 h 201752"/>
                <a:gd name="connsiteX14" fmla="*/ 19556 w 224202"/>
                <a:gd name="connsiteY14" fmla="*/ 143899 h 201752"/>
                <a:gd name="connsiteX15" fmla="*/ 15657 w 224202"/>
                <a:gd name="connsiteY15" fmla="*/ 140889 h 201752"/>
                <a:gd name="connsiteX16" fmla="*/ 9737 w 224202"/>
                <a:gd name="connsiteY16" fmla="*/ 140889 h 201752"/>
                <a:gd name="connsiteX17" fmla="*/ 7812 w 224202"/>
                <a:gd name="connsiteY17" fmla="*/ 142419 h 201752"/>
                <a:gd name="connsiteX18" fmla="*/ 1891 w 224202"/>
                <a:gd name="connsiteY18" fmla="*/ 137879 h 201752"/>
                <a:gd name="connsiteX19" fmla="*/ -82 w 224202"/>
                <a:gd name="connsiteY19" fmla="*/ 133291 h 201752"/>
                <a:gd name="connsiteX20" fmla="*/ 5839 w 224202"/>
                <a:gd name="connsiteY20" fmla="*/ 128752 h 201752"/>
                <a:gd name="connsiteX21" fmla="*/ 11710 w 224202"/>
                <a:gd name="connsiteY21" fmla="*/ 118143 h 201752"/>
                <a:gd name="connsiteX22" fmla="*/ 7812 w 224202"/>
                <a:gd name="connsiteY22" fmla="*/ 110594 h 201752"/>
                <a:gd name="connsiteX23" fmla="*/ 9737 w 224202"/>
                <a:gd name="connsiteY23" fmla="*/ 107535 h 201752"/>
                <a:gd name="connsiteX24" fmla="*/ 15657 w 224202"/>
                <a:gd name="connsiteY24" fmla="*/ 106005 h 201752"/>
                <a:gd name="connsiteX25" fmla="*/ 25526 w 224202"/>
                <a:gd name="connsiteY25" fmla="*/ 87848 h 201752"/>
                <a:gd name="connsiteX26" fmla="*/ 25526 w 224202"/>
                <a:gd name="connsiteY26" fmla="*/ 80250 h 201752"/>
                <a:gd name="connsiteX27" fmla="*/ 23552 w 224202"/>
                <a:gd name="connsiteY27" fmla="*/ 78720 h 201752"/>
                <a:gd name="connsiteX28" fmla="*/ 17681 w 224202"/>
                <a:gd name="connsiteY28" fmla="*/ 72701 h 201752"/>
                <a:gd name="connsiteX29" fmla="*/ 17681 w 224202"/>
                <a:gd name="connsiteY29" fmla="*/ 68161 h 201752"/>
                <a:gd name="connsiteX30" fmla="*/ 21578 w 224202"/>
                <a:gd name="connsiteY30" fmla="*/ 66632 h 201752"/>
                <a:gd name="connsiteX31" fmla="*/ 29424 w 224202"/>
                <a:gd name="connsiteY31" fmla="*/ 66632 h 201752"/>
                <a:gd name="connsiteX32" fmla="*/ 29424 w 224202"/>
                <a:gd name="connsiteY32" fmla="*/ 63573 h 201752"/>
                <a:gd name="connsiteX33" fmla="*/ 23552 w 224202"/>
                <a:gd name="connsiteY33" fmla="*/ 56024 h 201752"/>
                <a:gd name="connsiteX34" fmla="*/ 19605 w 224202"/>
                <a:gd name="connsiteY34" fmla="*/ 53014 h 201752"/>
                <a:gd name="connsiteX35" fmla="*/ 19605 w 224202"/>
                <a:gd name="connsiteY35" fmla="*/ 42406 h 201752"/>
                <a:gd name="connsiteX36" fmla="*/ 21578 w 224202"/>
                <a:gd name="connsiteY36" fmla="*/ 39396 h 201752"/>
                <a:gd name="connsiteX37" fmla="*/ 19605 w 224202"/>
                <a:gd name="connsiteY37" fmla="*/ 24199 h 201752"/>
                <a:gd name="connsiteX38" fmla="*/ 17681 w 224202"/>
                <a:gd name="connsiteY38" fmla="*/ 21140 h 201752"/>
                <a:gd name="connsiteX39" fmla="*/ 17681 w 224202"/>
                <a:gd name="connsiteY39" fmla="*/ 16650 h 201752"/>
                <a:gd name="connsiteX40" fmla="*/ 31397 w 224202"/>
                <a:gd name="connsiteY40" fmla="*/ 12111 h 201752"/>
                <a:gd name="connsiteX41" fmla="*/ 45163 w 224202"/>
                <a:gd name="connsiteY41" fmla="*/ 4513 h 201752"/>
                <a:gd name="connsiteX42" fmla="*/ 49110 w 224202"/>
                <a:gd name="connsiteY42" fmla="*/ 4513 h 201752"/>
                <a:gd name="connsiteX43" fmla="*/ 56955 w 224202"/>
                <a:gd name="connsiteY43" fmla="*/ 9052 h 201752"/>
                <a:gd name="connsiteX44" fmla="*/ 72646 w 224202"/>
                <a:gd name="connsiteY44" fmla="*/ 10581 h 201752"/>
                <a:gd name="connsiteX45" fmla="*/ 74619 w 224202"/>
                <a:gd name="connsiteY45" fmla="*/ 5993 h 201752"/>
                <a:gd name="connsiteX46" fmla="*/ 76593 w 224202"/>
                <a:gd name="connsiteY46" fmla="*/ 4513 h 201752"/>
                <a:gd name="connsiteX47" fmla="*/ 86461 w 224202"/>
                <a:gd name="connsiteY47" fmla="*/ 1503 h 201752"/>
                <a:gd name="connsiteX48" fmla="*/ 98253 w 224202"/>
                <a:gd name="connsiteY48" fmla="*/ 2983 h 201752"/>
                <a:gd name="connsiteX49" fmla="*/ 94306 w 224202"/>
                <a:gd name="connsiteY49" fmla="*/ 5993 h 201752"/>
                <a:gd name="connsiteX50" fmla="*/ 98253 w 224202"/>
                <a:gd name="connsiteY50" fmla="*/ 10581 h 201752"/>
                <a:gd name="connsiteX51" fmla="*/ 109996 w 224202"/>
                <a:gd name="connsiteY51" fmla="*/ 13591 h 201752"/>
                <a:gd name="connsiteX52" fmla="*/ 115917 w 224202"/>
                <a:gd name="connsiteY52" fmla="*/ 2983 h 201752"/>
                <a:gd name="connsiteX53" fmla="*/ 121789 w 224202"/>
                <a:gd name="connsiteY53" fmla="*/ -27 h 201752"/>
                <a:gd name="connsiteX54" fmla="*/ 133581 w 224202"/>
                <a:gd name="connsiteY54" fmla="*/ 9052 h 201752"/>
                <a:gd name="connsiteX55" fmla="*/ 145373 w 224202"/>
                <a:gd name="connsiteY55" fmla="*/ 13591 h 201752"/>
                <a:gd name="connsiteX56" fmla="*/ 151294 w 224202"/>
                <a:gd name="connsiteY56" fmla="*/ 13591 h 201752"/>
                <a:gd name="connsiteX57" fmla="*/ 155192 w 224202"/>
                <a:gd name="connsiteY57" fmla="*/ 16650 h 201752"/>
                <a:gd name="connsiteX58" fmla="*/ 159139 w 224202"/>
                <a:gd name="connsiteY58" fmla="*/ 16650 h 201752"/>
                <a:gd name="connsiteX59" fmla="*/ 169007 w 224202"/>
                <a:gd name="connsiteY59" fmla="*/ 19660 h 201752"/>
                <a:gd name="connsiteX60" fmla="*/ 172954 w 224202"/>
                <a:gd name="connsiteY60" fmla="*/ 24199 h 201752"/>
                <a:gd name="connsiteX61" fmla="*/ 182823 w 224202"/>
                <a:gd name="connsiteY61" fmla="*/ 28739 h 201752"/>
                <a:gd name="connsiteX62" fmla="*/ 190668 w 224202"/>
                <a:gd name="connsiteY62" fmla="*/ 27258 h 201752"/>
                <a:gd name="connsiteX63" fmla="*/ 200536 w 224202"/>
                <a:gd name="connsiteY63" fmla="*/ 22670 h 201752"/>
                <a:gd name="connsiteX64" fmla="*/ 204483 w 224202"/>
                <a:gd name="connsiteY64" fmla="*/ 24199 h 201752"/>
                <a:gd name="connsiteX65" fmla="*/ 208381 w 224202"/>
                <a:gd name="connsiteY65" fmla="*/ 25729 h 201752"/>
                <a:gd name="connsiteX66" fmla="*/ 216226 w 224202"/>
                <a:gd name="connsiteY66" fmla="*/ 27258 h 201752"/>
                <a:gd name="connsiteX67" fmla="*/ 216226 w 224202"/>
                <a:gd name="connsiteY67" fmla="*/ 30268 h 201752"/>
                <a:gd name="connsiteX68" fmla="*/ 214302 w 224202"/>
                <a:gd name="connsiteY68" fmla="*/ 40876 h 201752"/>
                <a:gd name="connsiteX69" fmla="*/ 216226 w 224202"/>
                <a:gd name="connsiteY69" fmla="*/ 46945 h 201752"/>
                <a:gd name="connsiteX70" fmla="*/ 216226 w 224202"/>
                <a:gd name="connsiteY70" fmla="*/ 51484 h 201752"/>
                <a:gd name="connsiteX71" fmla="*/ 222097 w 224202"/>
                <a:gd name="connsiteY71" fmla="*/ 56024 h 201752"/>
                <a:gd name="connsiteX72" fmla="*/ 224120 w 224202"/>
                <a:gd name="connsiteY72" fmla="*/ 63573 h 201752"/>
                <a:gd name="connsiteX73" fmla="*/ 222097 w 224202"/>
                <a:gd name="connsiteY73" fmla="*/ 71171 h 201752"/>
                <a:gd name="connsiteX74" fmla="*/ 222097 w 224202"/>
                <a:gd name="connsiteY74" fmla="*/ 77240 h 201752"/>
                <a:gd name="connsiteX75" fmla="*/ 214302 w 224202"/>
                <a:gd name="connsiteY75" fmla="*/ 80250 h 201752"/>
                <a:gd name="connsiteX76" fmla="*/ 204434 w 224202"/>
                <a:gd name="connsiteY76" fmla="*/ 95447 h 201752"/>
                <a:gd name="connsiteX77" fmla="*/ 204434 w 224202"/>
                <a:gd name="connsiteY77" fmla="*/ 101466 h 201752"/>
                <a:gd name="connsiteX78" fmla="*/ 202460 w 224202"/>
                <a:gd name="connsiteY78" fmla="*/ 106005 h 201752"/>
                <a:gd name="connsiteX79" fmla="*/ 202460 w 224202"/>
                <a:gd name="connsiteY79" fmla="*/ 113851 h 201752"/>
                <a:gd name="connsiteX80" fmla="*/ 196539 w 224202"/>
                <a:gd name="connsiteY80" fmla="*/ 118390 h 201752"/>
                <a:gd name="connsiteX81" fmla="*/ 196539 w 224202"/>
                <a:gd name="connsiteY81" fmla="*/ 130528 h 201752"/>
                <a:gd name="connsiteX82" fmla="*/ 194615 w 224202"/>
                <a:gd name="connsiteY82" fmla="*/ 132008 h 201752"/>
                <a:gd name="connsiteX83" fmla="*/ 194615 w 224202"/>
                <a:gd name="connsiteY83" fmla="*/ 135067 h 201752"/>
                <a:gd name="connsiteX84" fmla="*/ 200486 w 224202"/>
                <a:gd name="connsiteY84" fmla="*/ 141136 h 201752"/>
                <a:gd name="connsiteX85" fmla="*/ 204434 w 224202"/>
                <a:gd name="connsiteY85" fmla="*/ 151744 h 201752"/>
                <a:gd name="connsiteX86" fmla="*/ 206358 w 224202"/>
                <a:gd name="connsiteY86" fmla="*/ 157813 h 201752"/>
                <a:gd name="connsiteX87" fmla="*/ 214252 w 224202"/>
                <a:gd name="connsiteY87" fmla="*/ 160823 h 201752"/>
                <a:gd name="connsiteX88" fmla="*/ 216177 w 224202"/>
                <a:gd name="connsiteY88" fmla="*/ 166892 h 201752"/>
                <a:gd name="connsiteX89" fmla="*/ 216177 w 224202"/>
                <a:gd name="connsiteY89" fmla="*/ 174441 h 201752"/>
                <a:gd name="connsiteX90" fmla="*/ 210305 w 224202"/>
                <a:gd name="connsiteY90" fmla="*/ 175970 h 201752"/>
                <a:gd name="connsiteX91" fmla="*/ 204434 w 224202"/>
                <a:gd name="connsiteY91" fmla="*/ 175970 h 201752"/>
                <a:gd name="connsiteX92" fmla="*/ 202460 w 224202"/>
                <a:gd name="connsiteY92" fmla="*/ 177500 h 201752"/>
                <a:gd name="connsiteX93" fmla="*/ 196539 w 224202"/>
                <a:gd name="connsiteY93" fmla="*/ 169901 h 201752"/>
                <a:gd name="connsiteX94" fmla="*/ 188694 w 224202"/>
                <a:gd name="connsiteY94" fmla="*/ 171431 h 201752"/>
                <a:gd name="connsiteX95" fmla="*/ 188694 w 224202"/>
                <a:gd name="connsiteY95" fmla="*/ 179029 h 201752"/>
                <a:gd name="connsiteX96" fmla="*/ 173004 w 224202"/>
                <a:gd name="connsiteY96" fmla="*/ 172960 h 201752"/>
                <a:gd name="connsiteX97" fmla="*/ 153268 w 224202"/>
                <a:gd name="connsiteY97" fmla="*/ 177500 h 201752"/>
                <a:gd name="connsiteX98" fmla="*/ 106147 w 224202"/>
                <a:gd name="connsiteY98" fmla="*/ 177500 h 201752"/>
                <a:gd name="connsiteX99" fmla="*/ 92431 w 224202"/>
                <a:gd name="connsiteY99" fmla="*/ 179029 h 201752"/>
                <a:gd name="connsiteX100" fmla="*/ 90408 w 224202"/>
                <a:gd name="connsiteY100" fmla="*/ 182039 h 201752"/>
                <a:gd name="connsiteX101" fmla="*/ 68846 w 224202"/>
                <a:gd name="connsiteY101" fmla="*/ 189588 h 201752"/>
                <a:gd name="connsiteX102" fmla="*/ 64899 w 224202"/>
                <a:gd name="connsiteY102" fmla="*/ 194177 h 201752"/>
                <a:gd name="connsiteX103" fmla="*/ 55031 w 224202"/>
                <a:gd name="connsiteY103" fmla="*/ 194177 h 201752"/>
                <a:gd name="connsiteX104" fmla="*/ 43239 w 224202"/>
                <a:gd name="connsiteY104" fmla="*/ 201726 h 201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224202" h="201752">
                  <a:moveTo>
                    <a:pt x="40920" y="201627"/>
                  </a:moveTo>
                  <a:lnTo>
                    <a:pt x="40920" y="194078"/>
                  </a:lnTo>
                  <a:lnTo>
                    <a:pt x="37269" y="187861"/>
                  </a:lnTo>
                  <a:lnTo>
                    <a:pt x="39242" y="181792"/>
                  </a:lnTo>
                  <a:lnTo>
                    <a:pt x="37269" y="177253"/>
                  </a:lnTo>
                  <a:lnTo>
                    <a:pt x="39242" y="171184"/>
                  </a:lnTo>
                  <a:lnTo>
                    <a:pt x="43140" y="168174"/>
                  </a:lnTo>
                  <a:lnTo>
                    <a:pt x="39242" y="163586"/>
                  </a:lnTo>
                  <a:lnTo>
                    <a:pt x="45113" y="160576"/>
                  </a:lnTo>
                  <a:lnTo>
                    <a:pt x="43140" y="154507"/>
                  </a:lnTo>
                  <a:lnTo>
                    <a:pt x="37269" y="154507"/>
                  </a:lnTo>
                  <a:lnTo>
                    <a:pt x="33321" y="151497"/>
                  </a:lnTo>
                  <a:lnTo>
                    <a:pt x="31348" y="145429"/>
                  </a:lnTo>
                  <a:lnTo>
                    <a:pt x="25476" y="143899"/>
                  </a:lnTo>
                  <a:lnTo>
                    <a:pt x="19556" y="143899"/>
                  </a:lnTo>
                  <a:lnTo>
                    <a:pt x="15657" y="140889"/>
                  </a:lnTo>
                  <a:lnTo>
                    <a:pt x="9737" y="140889"/>
                  </a:lnTo>
                  <a:lnTo>
                    <a:pt x="7812" y="142419"/>
                  </a:lnTo>
                  <a:lnTo>
                    <a:pt x="1891" y="137879"/>
                  </a:lnTo>
                  <a:lnTo>
                    <a:pt x="-82" y="133291"/>
                  </a:lnTo>
                  <a:lnTo>
                    <a:pt x="5839" y="128752"/>
                  </a:lnTo>
                  <a:lnTo>
                    <a:pt x="11710" y="118143"/>
                  </a:lnTo>
                  <a:lnTo>
                    <a:pt x="7812" y="110594"/>
                  </a:lnTo>
                  <a:lnTo>
                    <a:pt x="9737" y="107535"/>
                  </a:lnTo>
                  <a:lnTo>
                    <a:pt x="15657" y="106005"/>
                  </a:lnTo>
                  <a:lnTo>
                    <a:pt x="25526" y="87848"/>
                  </a:lnTo>
                  <a:lnTo>
                    <a:pt x="25526" y="80250"/>
                  </a:lnTo>
                  <a:lnTo>
                    <a:pt x="23552" y="78720"/>
                  </a:lnTo>
                  <a:lnTo>
                    <a:pt x="17681" y="72701"/>
                  </a:lnTo>
                  <a:lnTo>
                    <a:pt x="17681" y="68161"/>
                  </a:lnTo>
                  <a:lnTo>
                    <a:pt x="21578" y="66632"/>
                  </a:lnTo>
                  <a:lnTo>
                    <a:pt x="29424" y="66632"/>
                  </a:lnTo>
                  <a:lnTo>
                    <a:pt x="29424" y="63573"/>
                  </a:lnTo>
                  <a:lnTo>
                    <a:pt x="23552" y="56024"/>
                  </a:lnTo>
                  <a:lnTo>
                    <a:pt x="19605" y="53014"/>
                  </a:lnTo>
                  <a:lnTo>
                    <a:pt x="19605" y="42406"/>
                  </a:lnTo>
                  <a:lnTo>
                    <a:pt x="21578" y="39396"/>
                  </a:lnTo>
                  <a:lnTo>
                    <a:pt x="19605" y="24199"/>
                  </a:lnTo>
                  <a:lnTo>
                    <a:pt x="17681" y="21140"/>
                  </a:lnTo>
                  <a:lnTo>
                    <a:pt x="17681" y="16650"/>
                  </a:lnTo>
                  <a:lnTo>
                    <a:pt x="31397" y="12111"/>
                  </a:lnTo>
                  <a:lnTo>
                    <a:pt x="45163" y="4513"/>
                  </a:lnTo>
                  <a:lnTo>
                    <a:pt x="49110" y="4513"/>
                  </a:lnTo>
                  <a:lnTo>
                    <a:pt x="56955" y="9052"/>
                  </a:lnTo>
                  <a:lnTo>
                    <a:pt x="72646" y="10581"/>
                  </a:lnTo>
                  <a:lnTo>
                    <a:pt x="74619" y="5993"/>
                  </a:lnTo>
                  <a:lnTo>
                    <a:pt x="76593" y="4513"/>
                  </a:lnTo>
                  <a:lnTo>
                    <a:pt x="86461" y="1503"/>
                  </a:lnTo>
                  <a:lnTo>
                    <a:pt x="98253" y="2983"/>
                  </a:lnTo>
                  <a:lnTo>
                    <a:pt x="94306" y="5993"/>
                  </a:lnTo>
                  <a:lnTo>
                    <a:pt x="98253" y="10581"/>
                  </a:lnTo>
                  <a:lnTo>
                    <a:pt x="109996" y="13591"/>
                  </a:lnTo>
                  <a:lnTo>
                    <a:pt x="115917" y="2983"/>
                  </a:lnTo>
                  <a:lnTo>
                    <a:pt x="121789" y="-27"/>
                  </a:lnTo>
                  <a:lnTo>
                    <a:pt x="133581" y="9052"/>
                  </a:lnTo>
                  <a:lnTo>
                    <a:pt x="145373" y="13591"/>
                  </a:lnTo>
                  <a:lnTo>
                    <a:pt x="151294" y="13591"/>
                  </a:lnTo>
                  <a:lnTo>
                    <a:pt x="155192" y="16650"/>
                  </a:lnTo>
                  <a:lnTo>
                    <a:pt x="159139" y="16650"/>
                  </a:lnTo>
                  <a:lnTo>
                    <a:pt x="169007" y="19660"/>
                  </a:lnTo>
                  <a:lnTo>
                    <a:pt x="172954" y="24199"/>
                  </a:lnTo>
                  <a:lnTo>
                    <a:pt x="182823" y="28739"/>
                  </a:lnTo>
                  <a:lnTo>
                    <a:pt x="190668" y="27258"/>
                  </a:lnTo>
                  <a:lnTo>
                    <a:pt x="200536" y="22670"/>
                  </a:lnTo>
                  <a:lnTo>
                    <a:pt x="204483" y="24199"/>
                  </a:lnTo>
                  <a:lnTo>
                    <a:pt x="208381" y="25729"/>
                  </a:lnTo>
                  <a:lnTo>
                    <a:pt x="216226" y="27258"/>
                  </a:lnTo>
                  <a:lnTo>
                    <a:pt x="216226" y="30268"/>
                  </a:lnTo>
                  <a:lnTo>
                    <a:pt x="214302" y="40876"/>
                  </a:lnTo>
                  <a:lnTo>
                    <a:pt x="216226" y="46945"/>
                  </a:lnTo>
                  <a:lnTo>
                    <a:pt x="216226" y="51484"/>
                  </a:lnTo>
                  <a:lnTo>
                    <a:pt x="222097" y="56024"/>
                  </a:lnTo>
                  <a:lnTo>
                    <a:pt x="224120" y="63573"/>
                  </a:lnTo>
                  <a:lnTo>
                    <a:pt x="222097" y="71171"/>
                  </a:lnTo>
                  <a:lnTo>
                    <a:pt x="222097" y="77240"/>
                  </a:lnTo>
                  <a:lnTo>
                    <a:pt x="214302" y="80250"/>
                  </a:lnTo>
                  <a:lnTo>
                    <a:pt x="204434" y="95447"/>
                  </a:lnTo>
                  <a:lnTo>
                    <a:pt x="204434" y="101466"/>
                  </a:lnTo>
                  <a:lnTo>
                    <a:pt x="202460" y="106005"/>
                  </a:lnTo>
                  <a:lnTo>
                    <a:pt x="202460" y="113851"/>
                  </a:lnTo>
                  <a:lnTo>
                    <a:pt x="196539" y="118390"/>
                  </a:lnTo>
                  <a:lnTo>
                    <a:pt x="196539" y="130528"/>
                  </a:lnTo>
                  <a:lnTo>
                    <a:pt x="194615" y="132008"/>
                  </a:lnTo>
                  <a:lnTo>
                    <a:pt x="194615" y="135067"/>
                  </a:lnTo>
                  <a:lnTo>
                    <a:pt x="200486" y="141136"/>
                  </a:lnTo>
                  <a:lnTo>
                    <a:pt x="204434" y="151744"/>
                  </a:lnTo>
                  <a:lnTo>
                    <a:pt x="206358" y="157813"/>
                  </a:lnTo>
                  <a:lnTo>
                    <a:pt x="214252" y="160823"/>
                  </a:lnTo>
                  <a:lnTo>
                    <a:pt x="216177" y="166892"/>
                  </a:lnTo>
                  <a:lnTo>
                    <a:pt x="216177" y="174441"/>
                  </a:lnTo>
                  <a:lnTo>
                    <a:pt x="210305" y="175970"/>
                  </a:lnTo>
                  <a:lnTo>
                    <a:pt x="204434" y="175970"/>
                  </a:lnTo>
                  <a:lnTo>
                    <a:pt x="202460" y="177500"/>
                  </a:lnTo>
                  <a:lnTo>
                    <a:pt x="196539" y="169901"/>
                  </a:lnTo>
                  <a:lnTo>
                    <a:pt x="188694" y="171431"/>
                  </a:lnTo>
                  <a:lnTo>
                    <a:pt x="188694" y="179029"/>
                  </a:lnTo>
                  <a:lnTo>
                    <a:pt x="173004" y="172960"/>
                  </a:lnTo>
                  <a:lnTo>
                    <a:pt x="153268" y="177500"/>
                  </a:lnTo>
                  <a:lnTo>
                    <a:pt x="106147" y="177500"/>
                  </a:lnTo>
                  <a:lnTo>
                    <a:pt x="92431" y="179029"/>
                  </a:lnTo>
                  <a:lnTo>
                    <a:pt x="90408" y="182039"/>
                  </a:lnTo>
                  <a:lnTo>
                    <a:pt x="68846" y="189588"/>
                  </a:lnTo>
                  <a:lnTo>
                    <a:pt x="64899" y="194177"/>
                  </a:lnTo>
                  <a:lnTo>
                    <a:pt x="55031" y="194177"/>
                  </a:lnTo>
                  <a:lnTo>
                    <a:pt x="43239" y="20172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Graphic 2">
              <a:extLst>
                <a:ext uri="{FF2B5EF4-FFF2-40B4-BE49-F238E27FC236}">
                  <a16:creationId xmlns:a16="http://schemas.microsoft.com/office/drawing/2014/main" id="{48A3D219-533F-40EC-B3AD-D8E3498FFD59}"/>
                </a:ext>
              </a:extLst>
            </p:cNvPr>
            <p:cNvSpPr/>
            <p:nvPr/>
          </p:nvSpPr>
          <p:spPr>
            <a:xfrm>
              <a:off x="5319455" y="4322775"/>
              <a:ext cx="135821" cy="183019"/>
            </a:xfrm>
            <a:custGeom>
              <a:avLst/>
              <a:gdLst>
                <a:gd name="connsiteX0" fmla="*/ 7862 w 149500"/>
                <a:gd name="connsiteY0" fmla="*/ 190970 h 201456"/>
                <a:gd name="connsiteX1" fmla="*/ 9786 w 149500"/>
                <a:gd name="connsiteY1" fmla="*/ 189490 h 201456"/>
                <a:gd name="connsiteX2" fmla="*/ 15608 w 149500"/>
                <a:gd name="connsiteY2" fmla="*/ 189490 h 201456"/>
                <a:gd name="connsiteX3" fmla="*/ 21233 w 149500"/>
                <a:gd name="connsiteY3" fmla="*/ 187861 h 201456"/>
                <a:gd name="connsiteX4" fmla="*/ 21233 w 149500"/>
                <a:gd name="connsiteY4" fmla="*/ 180460 h 201456"/>
                <a:gd name="connsiteX5" fmla="*/ 19309 w 149500"/>
                <a:gd name="connsiteY5" fmla="*/ 174441 h 201456"/>
                <a:gd name="connsiteX6" fmla="*/ 11562 w 149500"/>
                <a:gd name="connsiteY6" fmla="*/ 171431 h 201456"/>
                <a:gd name="connsiteX7" fmla="*/ 9638 w 149500"/>
                <a:gd name="connsiteY7" fmla="*/ 165411 h 201456"/>
                <a:gd name="connsiteX8" fmla="*/ 5740 w 149500"/>
                <a:gd name="connsiteY8" fmla="*/ 154902 h 201456"/>
                <a:gd name="connsiteX9" fmla="*/ -82 w 149500"/>
                <a:gd name="connsiteY9" fmla="*/ 148882 h 201456"/>
                <a:gd name="connsiteX10" fmla="*/ -82 w 149500"/>
                <a:gd name="connsiteY10" fmla="*/ 145873 h 201456"/>
                <a:gd name="connsiteX11" fmla="*/ 1891 w 149500"/>
                <a:gd name="connsiteY11" fmla="*/ 144392 h 201456"/>
                <a:gd name="connsiteX12" fmla="*/ 1891 w 149500"/>
                <a:gd name="connsiteY12" fmla="*/ 132304 h 201456"/>
                <a:gd name="connsiteX13" fmla="*/ 7714 w 149500"/>
                <a:gd name="connsiteY13" fmla="*/ 127814 h 201456"/>
                <a:gd name="connsiteX14" fmla="*/ 7714 w 149500"/>
                <a:gd name="connsiteY14" fmla="*/ 120314 h 201456"/>
                <a:gd name="connsiteX15" fmla="*/ 9638 w 149500"/>
                <a:gd name="connsiteY15" fmla="*/ 115775 h 201456"/>
                <a:gd name="connsiteX16" fmla="*/ 9638 w 149500"/>
                <a:gd name="connsiteY16" fmla="*/ 109755 h 201456"/>
                <a:gd name="connsiteX17" fmla="*/ 19506 w 149500"/>
                <a:gd name="connsiteY17" fmla="*/ 94953 h 201456"/>
                <a:gd name="connsiteX18" fmla="*/ 27252 w 149500"/>
                <a:gd name="connsiteY18" fmla="*/ 91894 h 201456"/>
                <a:gd name="connsiteX19" fmla="*/ 27252 w 149500"/>
                <a:gd name="connsiteY19" fmla="*/ 85727 h 201456"/>
                <a:gd name="connsiteX20" fmla="*/ 29226 w 149500"/>
                <a:gd name="connsiteY20" fmla="*/ 78227 h 201456"/>
                <a:gd name="connsiteX21" fmla="*/ 27252 w 149500"/>
                <a:gd name="connsiteY21" fmla="*/ 70678 h 201456"/>
                <a:gd name="connsiteX22" fmla="*/ 21430 w 149500"/>
                <a:gd name="connsiteY22" fmla="*/ 66139 h 201456"/>
                <a:gd name="connsiteX23" fmla="*/ 21430 w 149500"/>
                <a:gd name="connsiteY23" fmla="*/ 61649 h 201456"/>
                <a:gd name="connsiteX24" fmla="*/ 19506 w 149500"/>
                <a:gd name="connsiteY24" fmla="*/ 55629 h 201456"/>
                <a:gd name="connsiteX25" fmla="*/ 21430 w 149500"/>
                <a:gd name="connsiteY25" fmla="*/ 45120 h 201456"/>
                <a:gd name="connsiteX26" fmla="*/ 21430 w 149500"/>
                <a:gd name="connsiteY26" fmla="*/ 33081 h 201456"/>
                <a:gd name="connsiteX27" fmla="*/ 17582 w 149500"/>
                <a:gd name="connsiteY27" fmla="*/ 25531 h 201456"/>
                <a:gd name="connsiteX28" fmla="*/ 13733 w 149500"/>
                <a:gd name="connsiteY28" fmla="*/ 21042 h 201456"/>
                <a:gd name="connsiteX29" fmla="*/ 11759 w 149500"/>
                <a:gd name="connsiteY29" fmla="*/ 12012 h 201456"/>
                <a:gd name="connsiteX30" fmla="*/ 13733 w 149500"/>
                <a:gd name="connsiteY30" fmla="*/ 5993 h 201456"/>
                <a:gd name="connsiteX31" fmla="*/ 50541 w 149500"/>
                <a:gd name="connsiteY31" fmla="*/ 5993 h 201456"/>
                <a:gd name="connsiteX32" fmla="*/ 54439 w 149500"/>
                <a:gd name="connsiteY32" fmla="*/ 4513 h 201456"/>
                <a:gd name="connsiteX33" fmla="*/ 73781 w 149500"/>
                <a:gd name="connsiteY33" fmla="*/ 4513 h 201456"/>
                <a:gd name="connsiteX34" fmla="*/ 85425 w 149500"/>
                <a:gd name="connsiteY34" fmla="*/ 3032 h 201456"/>
                <a:gd name="connsiteX35" fmla="*/ 93220 w 149500"/>
                <a:gd name="connsiteY35" fmla="*/ 3032 h 201456"/>
                <a:gd name="connsiteX36" fmla="*/ 100918 w 149500"/>
                <a:gd name="connsiteY36" fmla="*/ -27 h 201456"/>
                <a:gd name="connsiteX37" fmla="*/ 104815 w 149500"/>
                <a:gd name="connsiteY37" fmla="*/ -27 h 201456"/>
                <a:gd name="connsiteX38" fmla="*/ 108713 w 149500"/>
                <a:gd name="connsiteY38" fmla="*/ 7473 h 201456"/>
                <a:gd name="connsiteX39" fmla="*/ 112562 w 149500"/>
                <a:gd name="connsiteY39" fmla="*/ 10532 h 201456"/>
                <a:gd name="connsiteX40" fmla="*/ 112562 w 149500"/>
                <a:gd name="connsiteY40" fmla="*/ 15170 h 201456"/>
                <a:gd name="connsiteX41" fmla="*/ 120358 w 149500"/>
                <a:gd name="connsiteY41" fmla="*/ 21189 h 201456"/>
                <a:gd name="connsiteX42" fmla="*/ 122282 w 149500"/>
                <a:gd name="connsiteY42" fmla="*/ 25680 h 201456"/>
                <a:gd name="connsiteX43" fmla="*/ 130029 w 149500"/>
                <a:gd name="connsiteY43" fmla="*/ 30219 h 201456"/>
                <a:gd name="connsiteX44" fmla="*/ 128104 w 149500"/>
                <a:gd name="connsiteY44" fmla="*/ 37719 h 201456"/>
                <a:gd name="connsiteX45" fmla="*/ 128104 w 149500"/>
                <a:gd name="connsiteY45" fmla="*/ 49708 h 201456"/>
                <a:gd name="connsiteX46" fmla="*/ 131952 w 149500"/>
                <a:gd name="connsiteY46" fmla="*/ 52718 h 201456"/>
                <a:gd name="connsiteX47" fmla="*/ 133877 w 149500"/>
                <a:gd name="connsiteY47" fmla="*/ 52718 h 201456"/>
                <a:gd name="connsiteX48" fmla="*/ 135850 w 149500"/>
                <a:gd name="connsiteY48" fmla="*/ 63277 h 201456"/>
                <a:gd name="connsiteX49" fmla="*/ 131952 w 149500"/>
                <a:gd name="connsiteY49" fmla="*/ 67767 h 201456"/>
                <a:gd name="connsiteX50" fmla="*/ 131952 w 149500"/>
                <a:gd name="connsiteY50" fmla="*/ 70777 h 201456"/>
                <a:gd name="connsiteX51" fmla="*/ 135850 w 149500"/>
                <a:gd name="connsiteY51" fmla="*/ 73786 h 201456"/>
                <a:gd name="connsiteX52" fmla="*/ 135850 w 149500"/>
                <a:gd name="connsiteY52" fmla="*/ 81286 h 201456"/>
                <a:gd name="connsiteX53" fmla="*/ 133877 w 149500"/>
                <a:gd name="connsiteY53" fmla="*/ 84296 h 201456"/>
                <a:gd name="connsiteX54" fmla="*/ 135850 w 149500"/>
                <a:gd name="connsiteY54" fmla="*/ 88835 h 201456"/>
                <a:gd name="connsiteX55" fmla="*/ 135850 w 149500"/>
                <a:gd name="connsiteY55" fmla="*/ 97815 h 201456"/>
                <a:gd name="connsiteX56" fmla="*/ 137775 w 149500"/>
                <a:gd name="connsiteY56" fmla="*/ 103884 h 201456"/>
                <a:gd name="connsiteX57" fmla="*/ 137775 w 149500"/>
                <a:gd name="connsiteY57" fmla="*/ 121893 h 201456"/>
                <a:gd name="connsiteX58" fmla="*/ 133877 w 149500"/>
                <a:gd name="connsiteY58" fmla="*/ 127913 h 201456"/>
                <a:gd name="connsiteX59" fmla="*/ 133877 w 149500"/>
                <a:gd name="connsiteY59" fmla="*/ 132403 h 201456"/>
                <a:gd name="connsiteX60" fmla="*/ 131952 w 149500"/>
                <a:gd name="connsiteY60" fmla="*/ 139952 h 201456"/>
                <a:gd name="connsiteX61" fmla="*/ 133877 w 149500"/>
                <a:gd name="connsiteY61" fmla="*/ 147451 h 201456"/>
                <a:gd name="connsiteX62" fmla="*/ 137775 w 149500"/>
                <a:gd name="connsiteY62" fmla="*/ 156481 h 201456"/>
                <a:gd name="connsiteX63" fmla="*/ 143597 w 149500"/>
                <a:gd name="connsiteY63" fmla="*/ 157961 h 201456"/>
                <a:gd name="connsiteX64" fmla="*/ 145521 w 149500"/>
                <a:gd name="connsiteY64" fmla="*/ 161020 h 201456"/>
                <a:gd name="connsiteX65" fmla="*/ 149419 w 149500"/>
                <a:gd name="connsiteY65" fmla="*/ 165510 h 201456"/>
                <a:gd name="connsiteX66" fmla="*/ 130029 w 149500"/>
                <a:gd name="connsiteY66" fmla="*/ 166990 h 201456"/>
                <a:gd name="connsiteX67" fmla="*/ 114536 w 149500"/>
                <a:gd name="connsiteY67" fmla="*/ 174539 h 201456"/>
                <a:gd name="connsiteX68" fmla="*/ 95243 w 149500"/>
                <a:gd name="connsiteY68" fmla="*/ 187861 h 201456"/>
                <a:gd name="connsiteX69" fmla="*/ 73929 w 149500"/>
                <a:gd name="connsiteY69" fmla="*/ 189391 h 201456"/>
                <a:gd name="connsiteX70" fmla="*/ 42943 w 149500"/>
                <a:gd name="connsiteY70" fmla="*/ 201430 h 201456"/>
                <a:gd name="connsiteX71" fmla="*/ 27400 w 149500"/>
                <a:gd name="connsiteY71" fmla="*/ 196891 h 201456"/>
                <a:gd name="connsiteX72" fmla="*/ 9983 w 149500"/>
                <a:gd name="connsiteY72" fmla="*/ 193881 h 20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49500" h="201456">
                  <a:moveTo>
                    <a:pt x="7862" y="190970"/>
                  </a:moveTo>
                  <a:lnTo>
                    <a:pt x="9786" y="189490"/>
                  </a:lnTo>
                  <a:lnTo>
                    <a:pt x="15608" y="189490"/>
                  </a:lnTo>
                  <a:lnTo>
                    <a:pt x="21233" y="187861"/>
                  </a:lnTo>
                  <a:lnTo>
                    <a:pt x="21233" y="180460"/>
                  </a:lnTo>
                  <a:lnTo>
                    <a:pt x="19309" y="174441"/>
                  </a:lnTo>
                  <a:lnTo>
                    <a:pt x="11562" y="171431"/>
                  </a:lnTo>
                  <a:lnTo>
                    <a:pt x="9638" y="165411"/>
                  </a:lnTo>
                  <a:lnTo>
                    <a:pt x="5740" y="154902"/>
                  </a:lnTo>
                  <a:lnTo>
                    <a:pt x="-82" y="148882"/>
                  </a:lnTo>
                  <a:lnTo>
                    <a:pt x="-82" y="145873"/>
                  </a:lnTo>
                  <a:lnTo>
                    <a:pt x="1891" y="144392"/>
                  </a:lnTo>
                  <a:lnTo>
                    <a:pt x="1891" y="132304"/>
                  </a:lnTo>
                  <a:lnTo>
                    <a:pt x="7714" y="127814"/>
                  </a:lnTo>
                  <a:lnTo>
                    <a:pt x="7714" y="120314"/>
                  </a:lnTo>
                  <a:lnTo>
                    <a:pt x="9638" y="115775"/>
                  </a:lnTo>
                  <a:lnTo>
                    <a:pt x="9638" y="109755"/>
                  </a:lnTo>
                  <a:lnTo>
                    <a:pt x="19506" y="94953"/>
                  </a:lnTo>
                  <a:lnTo>
                    <a:pt x="27252" y="91894"/>
                  </a:lnTo>
                  <a:lnTo>
                    <a:pt x="27252" y="85727"/>
                  </a:lnTo>
                  <a:lnTo>
                    <a:pt x="29226" y="78227"/>
                  </a:lnTo>
                  <a:lnTo>
                    <a:pt x="27252" y="70678"/>
                  </a:lnTo>
                  <a:lnTo>
                    <a:pt x="21430" y="66139"/>
                  </a:lnTo>
                  <a:lnTo>
                    <a:pt x="21430" y="61649"/>
                  </a:lnTo>
                  <a:lnTo>
                    <a:pt x="19506" y="55629"/>
                  </a:lnTo>
                  <a:lnTo>
                    <a:pt x="21430" y="45120"/>
                  </a:lnTo>
                  <a:lnTo>
                    <a:pt x="21430" y="33081"/>
                  </a:lnTo>
                  <a:lnTo>
                    <a:pt x="17582" y="25531"/>
                  </a:lnTo>
                  <a:lnTo>
                    <a:pt x="13733" y="21042"/>
                  </a:lnTo>
                  <a:lnTo>
                    <a:pt x="11759" y="12012"/>
                  </a:lnTo>
                  <a:lnTo>
                    <a:pt x="13733" y="5993"/>
                  </a:lnTo>
                  <a:lnTo>
                    <a:pt x="50541" y="5993"/>
                  </a:lnTo>
                  <a:lnTo>
                    <a:pt x="54439" y="4513"/>
                  </a:lnTo>
                  <a:lnTo>
                    <a:pt x="73781" y="4513"/>
                  </a:lnTo>
                  <a:lnTo>
                    <a:pt x="85425" y="3032"/>
                  </a:lnTo>
                  <a:lnTo>
                    <a:pt x="93220" y="3032"/>
                  </a:lnTo>
                  <a:lnTo>
                    <a:pt x="100918" y="-27"/>
                  </a:lnTo>
                  <a:lnTo>
                    <a:pt x="104815" y="-27"/>
                  </a:lnTo>
                  <a:lnTo>
                    <a:pt x="108713" y="7473"/>
                  </a:lnTo>
                  <a:lnTo>
                    <a:pt x="112562" y="10532"/>
                  </a:lnTo>
                  <a:lnTo>
                    <a:pt x="112562" y="15170"/>
                  </a:lnTo>
                  <a:lnTo>
                    <a:pt x="120358" y="21189"/>
                  </a:lnTo>
                  <a:lnTo>
                    <a:pt x="122282" y="25680"/>
                  </a:lnTo>
                  <a:lnTo>
                    <a:pt x="130029" y="30219"/>
                  </a:lnTo>
                  <a:lnTo>
                    <a:pt x="128104" y="37719"/>
                  </a:lnTo>
                  <a:lnTo>
                    <a:pt x="128104" y="49708"/>
                  </a:lnTo>
                  <a:lnTo>
                    <a:pt x="131952" y="52718"/>
                  </a:lnTo>
                  <a:lnTo>
                    <a:pt x="133877" y="52718"/>
                  </a:lnTo>
                  <a:lnTo>
                    <a:pt x="135850" y="63277"/>
                  </a:lnTo>
                  <a:lnTo>
                    <a:pt x="131952" y="67767"/>
                  </a:lnTo>
                  <a:lnTo>
                    <a:pt x="131952" y="70777"/>
                  </a:lnTo>
                  <a:lnTo>
                    <a:pt x="135850" y="73786"/>
                  </a:lnTo>
                  <a:lnTo>
                    <a:pt x="135850" y="81286"/>
                  </a:lnTo>
                  <a:lnTo>
                    <a:pt x="133877" y="84296"/>
                  </a:lnTo>
                  <a:lnTo>
                    <a:pt x="135850" y="88835"/>
                  </a:lnTo>
                  <a:lnTo>
                    <a:pt x="135850" y="97815"/>
                  </a:lnTo>
                  <a:lnTo>
                    <a:pt x="137775" y="103884"/>
                  </a:lnTo>
                  <a:lnTo>
                    <a:pt x="137775" y="121893"/>
                  </a:lnTo>
                  <a:lnTo>
                    <a:pt x="133877" y="127913"/>
                  </a:lnTo>
                  <a:lnTo>
                    <a:pt x="133877" y="132403"/>
                  </a:lnTo>
                  <a:lnTo>
                    <a:pt x="131952" y="139952"/>
                  </a:lnTo>
                  <a:lnTo>
                    <a:pt x="133877" y="147451"/>
                  </a:lnTo>
                  <a:lnTo>
                    <a:pt x="137775" y="156481"/>
                  </a:lnTo>
                  <a:lnTo>
                    <a:pt x="143597" y="157961"/>
                  </a:lnTo>
                  <a:lnTo>
                    <a:pt x="145521" y="161020"/>
                  </a:lnTo>
                  <a:lnTo>
                    <a:pt x="149419" y="165510"/>
                  </a:lnTo>
                  <a:lnTo>
                    <a:pt x="130029" y="166990"/>
                  </a:lnTo>
                  <a:lnTo>
                    <a:pt x="114536" y="174539"/>
                  </a:lnTo>
                  <a:lnTo>
                    <a:pt x="95243" y="187861"/>
                  </a:lnTo>
                  <a:lnTo>
                    <a:pt x="73929" y="189391"/>
                  </a:lnTo>
                  <a:lnTo>
                    <a:pt x="42943" y="201430"/>
                  </a:lnTo>
                  <a:lnTo>
                    <a:pt x="27400" y="196891"/>
                  </a:lnTo>
                  <a:lnTo>
                    <a:pt x="9983" y="19388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Graphic 2">
              <a:extLst>
                <a:ext uri="{FF2B5EF4-FFF2-40B4-BE49-F238E27FC236}">
                  <a16:creationId xmlns:a16="http://schemas.microsoft.com/office/drawing/2014/main" id="{7947ECD3-94F0-4813-B5D6-C3C14AB30861}"/>
                </a:ext>
              </a:extLst>
            </p:cNvPr>
            <p:cNvSpPr/>
            <p:nvPr/>
          </p:nvSpPr>
          <p:spPr>
            <a:xfrm>
              <a:off x="5414533" y="4322775"/>
              <a:ext cx="67820" cy="149400"/>
            </a:xfrm>
            <a:custGeom>
              <a:avLst/>
              <a:gdLst>
                <a:gd name="connsiteX0" fmla="*/ 41167 w 74651"/>
                <a:gd name="connsiteY0" fmla="*/ 7473 h 164451"/>
                <a:gd name="connsiteX1" fmla="*/ 3865 w 74651"/>
                <a:gd name="connsiteY1" fmla="*/ -27 h 164451"/>
                <a:gd name="connsiteX2" fmla="*/ -82 w 74651"/>
                <a:gd name="connsiteY2" fmla="*/ -27 h 164451"/>
                <a:gd name="connsiteX3" fmla="*/ 3865 w 74651"/>
                <a:gd name="connsiteY3" fmla="*/ 7473 h 164451"/>
                <a:gd name="connsiteX4" fmla="*/ 7812 w 74651"/>
                <a:gd name="connsiteY4" fmla="*/ 10433 h 164451"/>
                <a:gd name="connsiteX5" fmla="*/ 7812 w 74651"/>
                <a:gd name="connsiteY5" fmla="*/ 15170 h 164451"/>
                <a:gd name="connsiteX6" fmla="*/ 15657 w 74651"/>
                <a:gd name="connsiteY6" fmla="*/ 21140 h 164451"/>
                <a:gd name="connsiteX7" fmla="*/ 17631 w 74651"/>
                <a:gd name="connsiteY7" fmla="*/ 25630 h 164451"/>
                <a:gd name="connsiteX8" fmla="*/ 25476 w 74651"/>
                <a:gd name="connsiteY8" fmla="*/ 30071 h 164451"/>
                <a:gd name="connsiteX9" fmla="*/ 23503 w 74651"/>
                <a:gd name="connsiteY9" fmla="*/ 37570 h 164451"/>
                <a:gd name="connsiteX10" fmla="*/ 23503 w 74651"/>
                <a:gd name="connsiteY10" fmla="*/ 49511 h 164451"/>
                <a:gd name="connsiteX11" fmla="*/ 27450 w 74651"/>
                <a:gd name="connsiteY11" fmla="*/ 52471 h 164451"/>
                <a:gd name="connsiteX12" fmla="*/ 29374 w 74651"/>
                <a:gd name="connsiteY12" fmla="*/ 52471 h 164451"/>
                <a:gd name="connsiteX13" fmla="*/ 31348 w 74651"/>
                <a:gd name="connsiteY13" fmla="*/ 62931 h 164451"/>
                <a:gd name="connsiteX14" fmla="*/ 27450 w 74651"/>
                <a:gd name="connsiteY14" fmla="*/ 67422 h 164451"/>
                <a:gd name="connsiteX15" fmla="*/ 27450 w 74651"/>
                <a:gd name="connsiteY15" fmla="*/ 70382 h 164451"/>
                <a:gd name="connsiteX16" fmla="*/ 31348 w 74651"/>
                <a:gd name="connsiteY16" fmla="*/ 73392 h 164451"/>
                <a:gd name="connsiteX17" fmla="*/ 31348 w 74651"/>
                <a:gd name="connsiteY17" fmla="*/ 80842 h 164451"/>
                <a:gd name="connsiteX18" fmla="*/ 29374 w 74651"/>
                <a:gd name="connsiteY18" fmla="*/ 83852 h 164451"/>
                <a:gd name="connsiteX19" fmla="*/ 31348 w 74651"/>
                <a:gd name="connsiteY19" fmla="*/ 88292 h 164451"/>
                <a:gd name="connsiteX20" fmla="*/ 31348 w 74651"/>
                <a:gd name="connsiteY20" fmla="*/ 97272 h 164451"/>
                <a:gd name="connsiteX21" fmla="*/ 33322 w 74651"/>
                <a:gd name="connsiteY21" fmla="*/ 103242 h 164451"/>
                <a:gd name="connsiteX22" fmla="*/ 33322 w 74651"/>
                <a:gd name="connsiteY22" fmla="*/ 121153 h 164451"/>
                <a:gd name="connsiteX23" fmla="*/ 29374 w 74651"/>
                <a:gd name="connsiteY23" fmla="*/ 127123 h 164451"/>
                <a:gd name="connsiteX24" fmla="*/ 29374 w 74651"/>
                <a:gd name="connsiteY24" fmla="*/ 131613 h 164451"/>
                <a:gd name="connsiteX25" fmla="*/ 27450 w 74651"/>
                <a:gd name="connsiteY25" fmla="*/ 139064 h 164451"/>
                <a:gd name="connsiteX26" fmla="*/ 29374 w 74651"/>
                <a:gd name="connsiteY26" fmla="*/ 146514 h 164451"/>
                <a:gd name="connsiteX27" fmla="*/ 33322 w 74651"/>
                <a:gd name="connsiteY27" fmla="*/ 155494 h 164451"/>
                <a:gd name="connsiteX28" fmla="*/ 39242 w 74651"/>
                <a:gd name="connsiteY28" fmla="*/ 156974 h 164451"/>
                <a:gd name="connsiteX29" fmla="*/ 41167 w 74651"/>
                <a:gd name="connsiteY29" fmla="*/ 159935 h 164451"/>
                <a:gd name="connsiteX30" fmla="*/ 45114 w 74651"/>
                <a:gd name="connsiteY30" fmla="*/ 164425 h 164451"/>
                <a:gd name="connsiteX31" fmla="*/ 49061 w 74651"/>
                <a:gd name="connsiteY31" fmla="*/ 164425 h 164451"/>
                <a:gd name="connsiteX32" fmla="*/ 66676 w 74651"/>
                <a:gd name="connsiteY32" fmla="*/ 153964 h 164451"/>
                <a:gd name="connsiteX33" fmla="*/ 72596 w 74651"/>
                <a:gd name="connsiteY33" fmla="*/ 153964 h 164451"/>
                <a:gd name="connsiteX34" fmla="*/ 74570 w 74651"/>
                <a:gd name="connsiteY34" fmla="*/ 147994 h 164451"/>
                <a:gd name="connsiteX35" fmla="*/ 66676 w 74651"/>
                <a:gd name="connsiteY35" fmla="*/ 140544 h 164451"/>
                <a:gd name="connsiteX36" fmla="*/ 66676 w 74651"/>
                <a:gd name="connsiteY36" fmla="*/ 133094 h 164451"/>
                <a:gd name="connsiteX37" fmla="*/ 64603 w 74651"/>
                <a:gd name="connsiteY37" fmla="*/ 123719 h 164451"/>
                <a:gd name="connsiteX38" fmla="*/ 64603 w 74651"/>
                <a:gd name="connsiteY38" fmla="*/ 87898 h 164451"/>
                <a:gd name="connsiteX39" fmla="*/ 66528 w 74651"/>
                <a:gd name="connsiteY39" fmla="*/ 83457 h 164451"/>
                <a:gd name="connsiteX40" fmla="*/ 68501 w 74651"/>
                <a:gd name="connsiteY40" fmla="*/ 78967 h 164451"/>
                <a:gd name="connsiteX41" fmla="*/ 68501 w 74651"/>
                <a:gd name="connsiteY41" fmla="*/ 71467 h 164451"/>
                <a:gd name="connsiteX42" fmla="*/ 66528 w 74651"/>
                <a:gd name="connsiteY42" fmla="*/ 67027 h 164451"/>
                <a:gd name="connsiteX43" fmla="*/ 66528 w 74651"/>
                <a:gd name="connsiteY43" fmla="*/ 58047 h 164451"/>
                <a:gd name="connsiteX44" fmla="*/ 64603 w 74651"/>
                <a:gd name="connsiteY44" fmla="*/ 44774 h 164451"/>
                <a:gd name="connsiteX45" fmla="*/ 56709 w 74651"/>
                <a:gd name="connsiteY45" fmla="*/ 29972 h 164451"/>
                <a:gd name="connsiteX46" fmla="*/ 52811 w 74651"/>
                <a:gd name="connsiteY46" fmla="*/ 28492 h 164451"/>
                <a:gd name="connsiteX47" fmla="*/ 48913 w 74651"/>
                <a:gd name="connsiteY47" fmla="*/ 24002 h 164451"/>
                <a:gd name="connsiteX48" fmla="*/ 41018 w 74651"/>
                <a:gd name="connsiteY48" fmla="*/ 19561 h 164451"/>
                <a:gd name="connsiteX49" fmla="*/ 39094 w 74651"/>
                <a:gd name="connsiteY49" fmla="*/ 10581 h 16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74651" h="164451">
                  <a:moveTo>
                    <a:pt x="41167" y="7473"/>
                  </a:moveTo>
                  <a:lnTo>
                    <a:pt x="3865" y="-27"/>
                  </a:lnTo>
                  <a:lnTo>
                    <a:pt x="-82" y="-27"/>
                  </a:lnTo>
                  <a:lnTo>
                    <a:pt x="3865" y="7473"/>
                  </a:lnTo>
                  <a:lnTo>
                    <a:pt x="7812" y="10433"/>
                  </a:lnTo>
                  <a:lnTo>
                    <a:pt x="7812" y="15170"/>
                  </a:lnTo>
                  <a:lnTo>
                    <a:pt x="15657" y="21140"/>
                  </a:lnTo>
                  <a:lnTo>
                    <a:pt x="17631" y="25630"/>
                  </a:lnTo>
                  <a:lnTo>
                    <a:pt x="25476" y="30071"/>
                  </a:lnTo>
                  <a:lnTo>
                    <a:pt x="23503" y="37570"/>
                  </a:lnTo>
                  <a:lnTo>
                    <a:pt x="23503" y="49511"/>
                  </a:lnTo>
                  <a:lnTo>
                    <a:pt x="27450" y="52471"/>
                  </a:lnTo>
                  <a:lnTo>
                    <a:pt x="29374" y="52471"/>
                  </a:lnTo>
                  <a:lnTo>
                    <a:pt x="31348" y="62931"/>
                  </a:lnTo>
                  <a:lnTo>
                    <a:pt x="27450" y="67422"/>
                  </a:lnTo>
                  <a:lnTo>
                    <a:pt x="27450" y="70382"/>
                  </a:lnTo>
                  <a:lnTo>
                    <a:pt x="31348" y="73392"/>
                  </a:lnTo>
                  <a:lnTo>
                    <a:pt x="31348" y="80842"/>
                  </a:lnTo>
                  <a:lnTo>
                    <a:pt x="29374" y="83852"/>
                  </a:lnTo>
                  <a:lnTo>
                    <a:pt x="31348" y="88292"/>
                  </a:lnTo>
                  <a:lnTo>
                    <a:pt x="31348" y="97272"/>
                  </a:lnTo>
                  <a:lnTo>
                    <a:pt x="33322" y="103242"/>
                  </a:lnTo>
                  <a:lnTo>
                    <a:pt x="33322" y="121153"/>
                  </a:lnTo>
                  <a:lnTo>
                    <a:pt x="29374" y="127123"/>
                  </a:lnTo>
                  <a:lnTo>
                    <a:pt x="29374" y="131613"/>
                  </a:lnTo>
                  <a:lnTo>
                    <a:pt x="27450" y="139064"/>
                  </a:lnTo>
                  <a:lnTo>
                    <a:pt x="29374" y="146514"/>
                  </a:lnTo>
                  <a:lnTo>
                    <a:pt x="33322" y="155494"/>
                  </a:lnTo>
                  <a:lnTo>
                    <a:pt x="39242" y="156974"/>
                  </a:lnTo>
                  <a:lnTo>
                    <a:pt x="41167" y="159935"/>
                  </a:lnTo>
                  <a:lnTo>
                    <a:pt x="45114" y="164425"/>
                  </a:lnTo>
                  <a:lnTo>
                    <a:pt x="49061" y="164425"/>
                  </a:lnTo>
                  <a:lnTo>
                    <a:pt x="66676" y="153964"/>
                  </a:lnTo>
                  <a:lnTo>
                    <a:pt x="72596" y="153964"/>
                  </a:lnTo>
                  <a:lnTo>
                    <a:pt x="74570" y="147994"/>
                  </a:lnTo>
                  <a:lnTo>
                    <a:pt x="66676" y="140544"/>
                  </a:lnTo>
                  <a:lnTo>
                    <a:pt x="66676" y="133094"/>
                  </a:lnTo>
                  <a:lnTo>
                    <a:pt x="64603" y="123719"/>
                  </a:lnTo>
                  <a:lnTo>
                    <a:pt x="64603" y="87898"/>
                  </a:lnTo>
                  <a:lnTo>
                    <a:pt x="66528" y="83457"/>
                  </a:lnTo>
                  <a:lnTo>
                    <a:pt x="68501" y="78967"/>
                  </a:lnTo>
                  <a:lnTo>
                    <a:pt x="68501" y="71467"/>
                  </a:lnTo>
                  <a:lnTo>
                    <a:pt x="66528" y="67027"/>
                  </a:lnTo>
                  <a:lnTo>
                    <a:pt x="66528" y="58047"/>
                  </a:lnTo>
                  <a:lnTo>
                    <a:pt x="64603" y="44774"/>
                  </a:lnTo>
                  <a:lnTo>
                    <a:pt x="56709" y="29972"/>
                  </a:lnTo>
                  <a:lnTo>
                    <a:pt x="52811" y="28492"/>
                  </a:lnTo>
                  <a:lnTo>
                    <a:pt x="48913" y="24002"/>
                  </a:lnTo>
                  <a:lnTo>
                    <a:pt x="41018" y="19561"/>
                  </a:lnTo>
                  <a:lnTo>
                    <a:pt x="39094" y="1058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Graphic 2">
              <a:extLst>
                <a:ext uri="{FF2B5EF4-FFF2-40B4-BE49-F238E27FC236}">
                  <a16:creationId xmlns:a16="http://schemas.microsoft.com/office/drawing/2014/main" id="{4F14C8AA-9EF6-49E9-B53A-02BD07F4CCF4}"/>
                </a:ext>
              </a:extLst>
            </p:cNvPr>
            <p:cNvSpPr/>
            <p:nvPr/>
          </p:nvSpPr>
          <p:spPr>
            <a:xfrm>
              <a:off x="5452008" y="4281942"/>
              <a:ext cx="101666" cy="183108"/>
            </a:xfrm>
            <a:custGeom>
              <a:avLst/>
              <a:gdLst>
                <a:gd name="connsiteX0" fmla="*/ 52959 w 111904"/>
                <a:gd name="connsiteY0" fmla="*/ 10779 h 201555"/>
                <a:gd name="connsiteX1" fmla="*/ 52959 w 111904"/>
                <a:gd name="connsiteY1" fmla="*/ 16897 h 201555"/>
                <a:gd name="connsiteX2" fmla="*/ 45114 w 111904"/>
                <a:gd name="connsiteY2" fmla="*/ 24446 h 201555"/>
                <a:gd name="connsiteX3" fmla="*/ 39242 w 111904"/>
                <a:gd name="connsiteY3" fmla="*/ 24446 h 201555"/>
                <a:gd name="connsiteX4" fmla="*/ 25477 w 111904"/>
                <a:gd name="connsiteY4" fmla="*/ 28985 h 201555"/>
                <a:gd name="connsiteX5" fmla="*/ 21529 w 111904"/>
                <a:gd name="connsiteY5" fmla="*/ 27505 h 201555"/>
                <a:gd name="connsiteX6" fmla="*/ 15657 w 111904"/>
                <a:gd name="connsiteY6" fmla="*/ 30515 h 201555"/>
                <a:gd name="connsiteX7" fmla="*/ 15657 w 111904"/>
                <a:gd name="connsiteY7" fmla="*/ 36534 h 201555"/>
                <a:gd name="connsiteX8" fmla="*/ 9737 w 111904"/>
                <a:gd name="connsiteY8" fmla="*/ 41123 h 201555"/>
                <a:gd name="connsiteX9" fmla="*/ 11711 w 111904"/>
                <a:gd name="connsiteY9" fmla="*/ 47192 h 201555"/>
                <a:gd name="connsiteX10" fmla="*/ 3866 w 111904"/>
                <a:gd name="connsiteY10" fmla="*/ 48672 h 201555"/>
                <a:gd name="connsiteX11" fmla="*/ -82 w 111904"/>
                <a:gd name="connsiteY11" fmla="*/ 54741 h 201555"/>
                <a:gd name="connsiteX12" fmla="*/ 1892 w 111904"/>
                <a:gd name="connsiteY12" fmla="*/ 63820 h 201555"/>
                <a:gd name="connsiteX13" fmla="*/ 9737 w 111904"/>
                <a:gd name="connsiteY13" fmla="*/ 68359 h 201555"/>
                <a:gd name="connsiteX14" fmla="*/ 13684 w 111904"/>
                <a:gd name="connsiteY14" fmla="*/ 72947 h 201555"/>
                <a:gd name="connsiteX15" fmla="*/ 17631 w 111904"/>
                <a:gd name="connsiteY15" fmla="*/ 74428 h 201555"/>
                <a:gd name="connsiteX16" fmla="*/ 25477 w 111904"/>
                <a:gd name="connsiteY16" fmla="*/ 89575 h 201555"/>
                <a:gd name="connsiteX17" fmla="*/ 27450 w 111904"/>
                <a:gd name="connsiteY17" fmla="*/ 103242 h 201555"/>
                <a:gd name="connsiteX18" fmla="*/ 27450 w 111904"/>
                <a:gd name="connsiteY18" fmla="*/ 112321 h 201555"/>
                <a:gd name="connsiteX19" fmla="*/ 29374 w 111904"/>
                <a:gd name="connsiteY19" fmla="*/ 116860 h 201555"/>
                <a:gd name="connsiteX20" fmla="*/ 29374 w 111904"/>
                <a:gd name="connsiteY20" fmla="*/ 124261 h 201555"/>
                <a:gd name="connsiteX21" fmla="*/ 27450 w 111904"/>
                <a:gd name="connsiteY21" fmla="*/ 128801 h 201555"/>
                <a:gd name="connsiteX22" fmla="*/ 25477 w 111904"/>
                <a:gd name="connsiteY22" fmla="*/ 133340 h 201555"/>
                <a:gd name="connsiteX23" fmla="*/ 25477 w 111904"/>
                <a:gd name="connsiteY23" fmla="*/ 169704 h 201555"/>
                <a:gd name="connsiteX24" fmla="*/ 27450 w 111904"/>
                <a:gd name="connsiteY24" fmla="*/ 178782 h 201555"/>
                <a:gd name="connsiteX25" fmla="*/ 27450 w 111904"/>
                <a:gd name="connsiteY25" fmla="*/ 186381 h 201555"/>
                <a:gd name="connsiteX26" fmla="*/ 35295 w 111904"/>
                <a:gd name="connsiteY26" fmla="*/ 193930 h 201555"/>
                <a:gd name="connsiteX27" fmla="*/ 33322 w 111904"/>
                <a:gd name="connsiteY27" fmla="*/ 199999 h 201555"/>
                <a:gd name="connsiteX28" fmla="*/ 45114 w 111904"/>
                <a:gd name="connsiteY28" fmla="*/ 201528 h 201555"/>
                <a:gd name="connsiteX29" fmla="*/ 70672 w 111904"/>
                <a:gd name="connsiteY29" fmla="*/ 193930 h 201555"/>
                <a:gd name="connsiteX30" fmla="*/ 72596 w 111904"/>
                <a:gd name="connsiteY30" fmla="*/ 193930 h 201555"/>
                <a:gd name="connsiteX31" fmla="*/ 70672 w 111904"/>
                <a:gd name="connsiteY31" fmla="*/ 187911 h 201555"/>
                <a:gd name="connsiteX32" fmla="*/ 72596 w 111904"/>
                <a:gd name="connsiteY32" fmla="*/ 174243 h 201555"/>
                <a:gd name="connsiteX33" fmla="*/ 70672 w 111904"/>
                <a:gd name="connsiteY33" fmla="*/ 166694 h 201555"/>
                <a:gd name="connsiteX34" fmla="*/ 72596 w 111904"/>
                <a:gd name="connsiteY34" fmla="*/ 163635 h 201555"/>
                <a:gd name="connsiteX35" fmla="*/ 70672 w 111904"/>
                <a:gd name="connsiteY35" fmla="*/ 151497 h 201555"/>
                <a:gd name="connsiteX36" fmla="*/ 70672 w 111904"/>
                <a:gd name="connsiteY36" fmla="*/ 131761 h 201555"/>
                <a:gd name="connsiteX37" fmla="*/ 68650 w 111904"/>
                <a:gd name="connsiteY37" fmla="*/ 130281 h 201555"/>
                <a:gd name="connsiteX38" fmla="*/ 70672 w 111904"/>
                <a:gd name="connsiteY38" fmla="*/ 124212 h 201555"/>
                <a:gd name="connsiteX39" fmla="*/ 70672 w 111904"/>
                <a:gd name="connsiteY39" fmla="*/ 113604 h 201555"/>
                <a:gd name="connsiteX40" fmla="*/ 72596 w 111904"/>
                <a:gd name="connsiteY40" fmla="*/ 109015 h 201555"/>
                <a:gd name="connsiteX41" fmla="*/ 78468 w 111904"/>
                <a:gd name="connsiteY41" fmla="*/ 107535 h 201555"/>
                <a:gd name="connsiteX42" fmla="*/ 82464 w 111904"/>
                <a:gd name="connsiteY42" fmla="*/ 107535 h 201555"/>
                <a:gd name="connsiteX43" fmla="*/ 84389 w 111904"/>
                <a:gd name="connsiteY43" fmla="*/ 104525 h 201555"/>
                <a:gd name="connsiteX44" fmla="*/ 88287 w 111904"/>
                <a:gd name="connsiteY44" fmla="*/ 99986 h 201555"/>
                <a:gd name="connsiteX45" fmla="*/ 92283 w 111904"/>
                <a:gd name="connsiteY45" fmla="*/ 90858 h 201555"/>
                <a:gd name="connsiteX46" fmla="*/ 94207 w 111904"/>
                <a:gd name="connsiteY46" fmla="*/ 86319 h 201555"/>
                <a:gd name="connsiteX47" fmla="*/ 102052 w 111904"/>
                <a:gd name="connsiteY47" fmla="*/ 83309 h 201555"/>
                <a:gd name="connsiteX48" fmla="*/ 106000 w 111904"/>
                <a:gd name="connsiteY48" fmla="*/ 83309 h 201555"/>
                <a:gd name="connsiteX49" fmla="*/ 107974 w 111904"/>
                <a:gd name="connsiteY49" fmla="*/ 80250 h 201555"/>
                <a:gd name="connsiteX50" fmla="*/ 98106 w 111904"/>
                <a:gd name="connsiteY50" fmla="*/ 74181 h 201555"/>
                <a:gd name="connsiteX51" fmla="*/ 102003 w 111904"/>
                <a:gd name="connsiteY51" fmla="*/ 71171 h 201555"/>
                <a:gd name="connsiteX52" fmla="*/ 103977 w 111904"/>
                <a:gd name="connsiteY52" fmla="*/ 68112 h 201555"/>
                <a:gd name="connsiteX53" fmla="*/ 111822 w 111904"/>
                <a:gd name="connsiteY53" fmla="*/ 68112 h 201555"/>
                <a:gd name="connsiteX54" fmla="*/ 111822 w 111904"/>
                <a:gd name="connsiteY54" fmla="*/ 62093 h 201555"/>
                <a:gd name="connsiteX55" fmla="*/ 109849 w 111904"/>
                <a:gd name="connsiteY55" fmla="*/ 51435 h 201555"/>
                <a:gd name="connsiteX56" fmla="*/ 107924 w 111904"/>
                <a:gd name="connsiteY56" fmla="*/ 45416 h 201555"/>
                <a:gd name="connsiteX57" fmla="*/ 98056 w 111904"/>
                <a:gd name="connsiteY57" fmla="*/ 37817 h 201555"/>
                <a:gd name="connsiteX58" fmla="*/ 96082 w 111904"/>
                <a:gd name="connsiteY58" fmla="*/ 33278 h 201555"/>
                <a:gd name="connsiteX59" fmla="*/ 98056 w 111904"/>
                <a:gd name="connsiteY59" fmla="*/ 27258 h 201555"/>
                <a:gd name="connsiteX60" fmla="*/ 98056 w 111904"/>
                <a:gd name="connsiteY60" fmla="*/ 25680 h 201555"/>
                <a:gd name="connsiteX61" fmla="*/ 90162 w 111904"/>
                <a:gd name="connsiteY61" fmla="*/ 18130 h 201555"/>
                <a:gd name="connsiteX62" fmla="*/ 82366 w 111904"/>
                <a:gd name="connsiteY62" fmla="*/ 16650 h 201555"/>
                <a:gd name="connsiteX63" fmla="*/ 76445 w 111904"/>
                <a:gd name="connsiteY63" fmla="*/ 7522 h 201555"/>
                <a:gd name="connsiteX64" fmla="*/ 66577 w 111904"/>
                <a:gd name="connsiteY64" fmla="*/ -27 h 201555"/>
                <a:gd name="connsiteX65" fmla="*/ 60755 w 111904"/>
                <a:gd name="connsiteY65" fmla="*/ 4512 h 201555"/>
                <a:gd name="connsiteX66" fmla="*/ 62679 w 111904"/>
                <a:gd name="connsiteY66" fmla="*/ 9052 h 201555"/>
                <a:gd name="connsiteX67" fmla="*/ 54834 w 111904"/>
                <a:gd name="connsiteY67" fmla="*/ 10532 h 20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11904" h="201555">
                  <a:moveTo>
                    <a:pt x="52959" y="10779"/>
                  </a:moveTo>
                  <a:lnTo>
                    <a:pt x="52959" y="16897"/>
                  </a:lnTo>
                  <a:lnTo>
                    <a:pt x="45114" y="24446"/>
                  </a:lnTo>
                  <a:lnTo>
                    <a:pt x="39242" y="24446"/>
                  </a:lnTo>
                  <a:lnTo>
                    <a:pt x="25477" y="28985"/>
                  </a:lnTo>
                  <a:lnTo>
                    <a:pt x="21529" y="27505"/>
                  </a:lnTo>
                  <a:lnTo>
                    <a:pt x="15657" y="30515"/>
                  </a:lnTo>
                  <a:lnTo>
                    <a:pt x="15657" y="36534"/>
                  </a:lnTo>
                  <a:lnTo>
                    <a:pt x="9737" y="41123"/>
                  </a:lnTo>
                  <a:lnTo>
                    <a:pt x="11711" y="47192"/>
                  </a:lnTo>
                  <a:lnTo>
                    <a:pt x="3866" y="48672"/>
                  </a:lnTo>
                  <a:lnTo>
                    <a:pt x="-82" y="54741"/>
                  </a:lnTo>
                  <a:lnTo>
                    <a:pt x="1892" y="63820"/>
                  </a:lnTo>
                  <a:lnTo>
                    <a:pt x="9737" y="68359"/>
                  </a:lnTo>
                  <a:lnTo>
                    <a:pt x="13684" y="72947"/>
                  </a:lnTo>
                  <a:lnTo>
                    <a:pt x="17631" y="74428"/>
                  </a:lnTo>
                  <a:lnTo>
                    <a:pt x="25477" y="89575"/>
                  </a:lnTo>
                  <a:lnTo>
                    <a:pt x="27450" y="103242"/>
                  </a:lnTo>
                  <a:lnTo>
                    <a:pt x="27450" y="112321"/>
                  </a:lnTo>
                  <a:lnTo>
                    <a:pt x="29374" y="116860"/>
                  </a:lnTo>
                  <a:lnTo>
                    <a:pt x="29374" y="124261"/>
                  </a:lnTo>
                  <a:lnTo>
                    <a:pt x="27450" y="128801"/>
                  </a:lnTo>
                  <a:lnTo>
                    <a:pt x="25477" y="133340"/>
                  </a:lnTo>
                  <a:lnTo>
                    <a:pt x="25477" y="169704"/>
                  </a:lnTo>
                  <a:lnTo>
                    <a:pt x="27450" y="178782"/>
                  </a:lnTo>
                  <a:lnTo>
                    <a:pt x="27450" y="186381"/>
                  </a:lnTo>
                  <a:lnTo>
                    <a:pt x="35295" y="193930"/>
                  </a:lnTo>
                  <a:lnTo>
                    <a:pt x="33322" y="199999"/>
                  </a:lnTo>
                  <a:lnTo>
                    <a:pt x="45114" y="201528"/>
                  </a:lnTo>
                  <a:lnTo>
                    <a:pt x="70672" y="193930"/>
                  </a:lnTo>
                  <a:lnTo>
                    <a:pt x="72596" y="193930"/>
                  </a:lnTo>
                  <a:lnTo>
                    <a:pt x="70672" y="187911"/>
                  </a:lnTo>
                  <a:lnTo>
                    <a:pt x="72596" y="174243"/>
                  </a:lnTo>
                  <a:lnTo>
                    <a:pt x="70672" y="166694"/>
                  </a:lnTo>
                  <a:lnTo>
                    <a:pt x="72596" y="163635"/>
                  </a:lnTo>
                  <a:lnTo>
                    <a:pt x="70672" y="151497"/>
                  </a:lnTo>
                  <a:lnTo>
                    <a:pt x="70672" y="131761"/>
                  </a:lnTo>
                  <a:lnTo>
                    <a:pt x="68650" y="130281"/>
                  </a:lnTo>
                  <a:lnTo>
                    <a:pt x="70672" y="124212"/>
                  </a:lnTo>
                  <a:lnTo>
                    <a:pt x="70672" y="113604"/>
                  </a:lnTo>
                  <a:lnTo>
                    <a:pt x="72596" y="109015"/>
                  </a:lnTo>
                  <a:lnTo>
                    <a:pt x="78468" y="107535"/>
                  </a:lnTo>
                  <a:lnTo>
                    <a:pt x="82464" y="107535"/>
                  </a:lnTo>
                  <a:lnTo>
                    <a:pt x="84389" y="104525"/>
                  </a:lnTo>
                  <a:lnTo>
                    <a:pt x="88287" y="99986"/>
                  </a:lnTo>
                  <a:lnTo>
                    <a:pt x="92283" y="90858"/>
                  </a:lnTo>
                  <a:lnTo>
                    <a:pt x="94207" y="86319"/>
                  </a:lnTo>
                  <a:lnTo>
                    <a:pt x="102052" y="83309"/>
                  </a:lnTo>
                  <a:lnTo>
                    <a:pt x="106000" y="83309"/>
                  </a:lnTo>
                  <a:lnTo>
                    <a:pt x="107974" y="80250"/>
                  </a:lnTo>
                  <a:lnTo>
                    <a:pt x="98106" y="74181"/>
                  </a:lnTo>
                  <a:lnTo>
                    <a:pt x="102003" y="71171"/>
                  </a:lnTo>
                  <a:lnTo>
                    <a:pt x="103977" y="68112"/>
                  </a:lnTo>
                  <a:lnTo>
                    <a:pt x="111822" y="68112"/>
                  </a:lnTo>
                  <a:lnTo>
                    <a:pt x="111822" y="62093"/>
                  </a:lnTo>
                  <a:lnTo>
                    <a:pt x="109849" y="51435"/>
                  </a:lnTo>
                  <a:lnTo>
                    <a:pt x="107924" y="45416"/>
                  </a:lnTo>
                  <a:lnTo>
                    <a:pt x="98056" y="37817"/>
                  </a:lnTo>
                  <a:lnTo>
                    <a:pt x="96082" y="33278"/>
                  </a:lnTo>
                  <a:lnTo>
                    <a:pt x="98056" y="27258"/>
                  </a:lnTo>
                  <a:lnTo>
                    <a:pt x="98056" y="25680"/>
                  </a:lnTo>
                  <a:lnTo>
                    <a:pt x="90162" y="18130"/>
                  </a:lnTo>
                  <a:lnTo>
                    <a:pt x="82366" y="16650"/>
                  </a:lnTo>
                  <a:lnTo>
                    <a:pt x="76445" y="7522"/>
                  </a:lnTo>
                  <a:lnTo>
                    <a:pt x="66577" y="-27"/>
                  </a:lnTo>
                  <a:lnTo>
                    <a:pt x="60755" y="4512"/>
                  </a:lnTo>
                  <a:lnTo>
                    <a:pt x="62679" y="9052"/>
                  </a:lnTo>
                  <a:lnTo>
                    <a:pt x="54834" y="1053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Graphic 2">
              <a:extLst>
                <a:ext uri="{FF2B5EF4-FFF2-40B4-BE49-F238E27FC236}">
                  <a16:creationId xmlns:a16="http://schemas.microsoft.com/office/drawing/2014/main" id="{3128FAA6-C49B-4870-8104-1381EDEF79B8}"/>
                </a:ext>
              </a:extLst>
            </p:cNvPr>
            <p:cNvSpPr/>
            <p:nvPr/>
          </p:nvSpPr>
          <p:spPr>
            <a:xfrm>
              <a:off x="5811156" y="3963416"/>
              <a:ext cx="383263" cy="467789"/>
            </a:xfrm>
            <a:custGeom>
              <a:avLst/>
              <a:gdLst>
                <a:gd name="connsiteX0" fmla="*/ 88681 w 421859"/>
                <a:gd name="connsiteY0" fmla="*/ 13640 h 514915"/>
                <a:gd name="connsiteX1" fmla="*/ 128154 w 421859"/>
                <a:gd name="connsiteY1" fmla="*/ -27 h 514915"/>
                <a:gd name="connsiteX2" fmla="*/ 419804 w 421859"/>
                <a:gd name="connsiteY2" fmla="*/ 126432 h 514915"/>
                <a:gd name="connsiteX3" fmla="*/ 421778 w 421859"/>
                <a:gd name="connsiteY3" fmla="*/ 248303 h 514915"/>
                <a:gd name="connsiteX4" fmla="*/ 415858 w 421859"/>
                <a:gd name="connsiteY4" fmla="*/ 249833 h 514915"/>
                <a:gd name="connsiteX5" fmla="*/ 409936 w 421859"/>
                <a:gd name="connsiteY5" fmla="*/ 254421 h 514915"/>
                <a:gd name="connsiteX6" fmla="*/ 404016 w 421859"/>
                <a:gd name="connsiteY6" fmla="*/ 251362 h 514915"/>
                <a:gd name="connsiteX7" fmla="*/ 396171 w 421859"/>
                <a:gd name="connsiteY7" fmla="*/ 251362 h 514915"/>
                <a:gd name="connsiteX8" fmla="*/ 388226 w 421859"/>
                <a:gd name="connsiteY8" fmla="*/ 254421 h 514915"/>
                <a:gd name="connsiteX9" fmla="*/ 388226 w 421859"/>
                <a:gd name="connsiteY9" fmla="*/ 263549 h 514915"/>
                <a:gd name="connsiteX10" fmla="*/ 392223 w 421859"/>
                <a:gd name="connsiteY10" fmla="*/ 268138 h 514915"/>
                <a:gd name="connsiteX11" fmla="*/ 388226 w 421859"/>
                <a:gd name="connsiteY11" fmla="*/ 274207 h 514915"/>
                <a:gd name="connsiteX12" fmla="*/ 376435 w 421859"/>
                <a:gd name="connsiteY12" fmla="*/ 289453 h 514915"/>
                <a:gd name="connsiteX13" fmla="*/ 372487 w 421859"/>
                <a:gd name="connsiteY13" fmla="*/ 287973 h 514915"/>
                <a:gd name="connsiteX14" fmla="*/ 366615 w 421859"/>
                <a:gd name="connsiteY14" fmla="*/ 294041 h 514915"/>
                <a:gd name="connsiteX15" fmla="*/ 366615 w 421859"/>
                <a:gd name="connsiteY15" fmla="*/ 297249 h 514915"/>
                <a:gd name="connsiteX16" fmla="*/ 370513 w 421859"/>
                <a:gd name="connsiteY16" fmla="*/ 301788 h 514915"/>
                <a:gd name="connsiteX17" fmla="*/ 366615 w 421859"/>
                <a:gd name="connsiteY17" fmla="*/ 307906 h 514915"/>
                <a:gd name="connsiteX18" fmla="*/ 360695 w 421859"/>
                <a:gd name="connsiteY18" fmla="*/ 312495 h 514915"/>
                <a:gd name="connsiteX19" fmla="*/ 358672 w 421859"/>
                <a:gd name="connsiteY19" fmla="*/ 317034 h 514915"/>
                <a:gd name="connsiteX20" fmla="*/ 364642 w 421859"/>
                <a:gd name="connsiteY20" fmla="*/ 320093 h 514915"/>
                <a:gd name="connsiteX21" fmla="*/ 366615 w 421859"/>
                <a:gd name="connsiteY21" fmla="*/ 326162 h 514915"/>
                <a:gd name="connsiteX22" fmla="*/ 362669 w 421859"/>
                <a:gd name="connsiteY22" fmla="*/ 330751 h 514915"/>
                <a:gd name="connsiteX23" fmla="*/ 348853 w 421859"/>
                <a:gd name="connsiteY23" fmla="*/ 341408 h 514915"/>
                <a:gd name="connsiteX24" fmla="*/ 348853 w 421859"/>
                <a:gd name="connsiteY24" fmla="*/ 347527 h 514915"/>
                <a:gd name="connsiteX25" fmla="*/ 356699 w 421859"/>
                <a:gd name="connsiteY25" fmla="*/ 352066 h 514915"/>
                <a:gd name="connsiteX26" fmla="*/ 364642 w 421859"/>
                <a:gd name="connsiteY26" fmla="*/ 347527 h 514915"/>
                <a:gd name="connsiteX27" fmla="*/ 368540 w 421859"/>
                <a:gd name="connsiteY27" fmla="*/ 347527 h 514915"/>
                <a:gd name="connsiteX28" fmla="*/ 368540 w 421859"/>
                <a:gd name="connsiteY28" fmla="*/ 352066 h 514915"/>
                <a:gd name="connsiteX29" fmla="*/ 364642 w 421859"/>
                <a:gd name="connsiteY29" fmla="*/ 353595 h 514915"/>
                <a:gd name="connsiteX30" fmla="*/ 368540 w 421859"/>
                <a:gd name="connsiteY30" fmla="*/ 356654 h 514915"/>
                <a:gd name="connsiteX31" fmla="*/ 366615 w 421859"/>
                <a:gd name="connsiteY31" fmla="*/ 361194 h 514915"/>
                <a:gd name="connsiteX32" fmla="*/ 370513 w 421859"/>
                <a:gd name="connsiteY32" fmla="*/ 367312 h 514915"/>
                <a:gd name="connsiteX33" fmla="*/ 370513 w 421859"/>
                <a:gd name="connsiteY33" fmla="*/ 381127 h 514915"/>
                <a:gd name="connsiteX34" fmla="*/ 384329 w 421859"/>
                <a:gd name="connsiteY34" fmla="*/ 382657 h 514915"/>
                <a:gd name="connsiteX35" fmla="*/ 386303 w 421859"/>
                <a:gd name="connsiteY35" fmla="*/ 387196 h 514915"/>
                <a:gd name="connsiteX36" fmla="*/ 384329 w 421859"/>
                <a:gd name="connsiteY36" fmla="*/ 393314 h 514915"/>
                <a:gd name="connsiteX37" fmla="*/ 384329 w 421859"/>
                <a:gd name="connsiteY37" fmla="*/ 397903 h 514915"/>
                <a:gd name="connsiteX38" fmla="*/ 382355 w 421859"/>
                <a:gd name="connsiteY38" fmla="*/ 400962 h 514915"/>
                <a:gd name="connsiteX39" fmla="*/ 374461 w 421859"/>
                <a:gd name="connsiteY39" fmla="*/ 405501 h 514915"/>
                <a:gd name="connsiteX40" fmla="*/ 368540 w 421859"/>
                <a:gd name="connsiteY40" fmla="*/ 402492 h 514915"/>
                <a:gd name="connsiteX41" fmla="*/ 360695 w 421859"/>
                <a:gd name="connsiteY41" fmla="*/ 402492 h 514915"/>
                <a:gd name="connsiteX42" fmla="*/ 352800 w 421859"/>
                <a:gd name="connsiteY42" fmla="*/ 405501 h 514915"/>
                <a:gd name="connsiteX43" fmla="*/ 344906 w 421859"/>
                <a:gd name="connsiteY43" fmla="*/ 410090 h 514915"/>
                <a:gd name="connsiteX44" fmla="*/ 342932 w 421859"/>
                <a:gd name="connsiteY44" fmla="*/ 414629 h 514915"/>
                <a:gd name="connsiteX45" fmla="*/ 342932 w 421859"/>
                <a:gd name="connsiteY45" fmla="*/ 419218 h 514915"/>
                <a:gd name="connsiteX46" fmla="*/ 338985 w 421859"/>
                <a:gd name="connsiteY46" fmla="*/ 420748 h 514915"/>
                <a:gd name="connsiteX47" fmla="*/ 333114 w 421859"/>
                <a:gd name="connsiteY47" fmla="*/ 429925 h 514915"/>
                <a:gd name="connsiteX48" fmla="*/ 329117 w 421859"/>
                <a:gd name="connsiteY48" fmla="*/ 429925 h 514915"/>
                <a:gd name="connsiteX49" fmla="*/ 327143 w 421859"/>
                <a:gd name="connsiteY49" fmla="*/ 428395 h 514915"/>
                <a:gd name="connsiteX50" fmla="*/ 319298 w 421859"/>
                <a:gd name="connsiteY50" fmla="*/ 432935 h 514915"/>
                <a:gd name="connsiteX51" fmla="*/ 323246 w 421859"/>
                <a:gd name="connsiteY51" fmla="*/ 437523 h 514915"/>
                <a:gd name="connsiteX52" fmla="*/ 315351 w 421859"/>
                <a:gd name="connsiteY52" fmla="*/ 440533 h 514915"/>
                <a:gd name="connsiteX53" fmla="*/ 313378 w 421859"/>
                <a:gd name="connsiteY53" fmla="*/ 446651 h 514915"/>
                <a:gd name="connsiteX54" fmla="*/ 315351 w 421859"/>
                <a:gd name="connsiteY54" fmla="*/ 451191 h 514915"/>
                <a:gd name="connsiteX55" fmla="*/ 313378 w 421859"/>
                <a:gd name="connsiteY55" fmla="*/ 455779 h 514915"/>
                <a:gd name="connsiteX56" fmla="*/ 307456 w 421859"/>
                <a:gd name="connsiteY56" fmla="*/ 457309 h 514915"/>
                <a:gd name="connsiteX57" fmla="*/ 301536 w 421859"/>
                <a:gd name="connsiteY57" fmla="*/ 461897 h 514915"/>
                <a:gd name="connsiteX58" fmla="*/ 287770 w 421859"/>
                <a:gd name="connsiteY58" fmla="*/ 463427 h 514915"/>
                <a:gd name="connsiteX59" fmla="*/ 277902 w 421859"/>
                <a:gd name="connsiteY59" fmla="*/ 464956 h 514915"/>
                <a:gd name="connsiteX60" fmla="*/ 268033 w 421859"/>
                <a:gd name="connsiteY60" fmla="*/ 463427 h 514915"/>
                <a:gd name="connsiteX61" fmla="*/ 262162 w 421859"/>
                <a:gd name="connsiteY61" fmla="*/ 461897 h 514915"/>
                <a:gd name="connsiteX62" fmla="*/ 248347 w 421859"/>
                <a:gd name="connsiteY62" fmla="*/ 461897 h 514915"/>
                <a:gd name="connsiteX63" fmla="*/ 242426 w 421859"/>
                <a:gd name="connsiteY63" fmla="*/ 463427 h 514915"/>
                <a:gd name="connsiteX64" fmla="*/ 242426 w 421859"/>
                <a:gd name="connsiteY64" fmla="*/ 467966 h 514915"/>
                <a:gd name="connsiteX65" fmla="*/ 248347 w 421859"/>
                <a:gd name="connsiteY65" fmla="*/ 477094 h 514915"/>
                <a:gd name="connsiteX66" fmla="*/ 254268 w 421859"/>
                <a:gd name="connsiteY66" fmla="*/ 477094 h 514915"/>
                <a:gd name="connsiteX67" fmla="*/ 254268 w 421859"/>
                <a:gd name="connsiteY67" fmla="*/ 479808 h 514915"/>
                <a:gd name="connsiteX68" fmla="*/ 242426 w 421859"/>
                <a:gd name="connsiteY68" fmla="*/ 485926 h 514915"/>
                <a:gd name="connsiteX69" fmla="*/ 238479 w 421859"/>
                <a:gd name="connsiteY69" fmla="*/ 490515 h 514915"/>
                <a:gd name="connsiteX70" fmla="*/ 230634 w 421859"/>
                <a:gd name="connsiteY70" fmla="*/ 490515 h 514915"/>
                <a:gd name="connsiteX71" fmla="*/ 206950 w 421859"/>
                <a:gd name="connsiteY71" fmla="*/ 493525 h 514915"/>
                <a:gd name="connsiteX72" fmla="*/ 199056 w 421859"/>
                <a:gd name="connsiteY72" fmla="*/ 501172 h 514915"/>
                <a:gd name="connsiteX73" fmla="*/ 189188 w 421859"/>
                <a:gd name="connsiteY73" fmla="*/ 504182 h 514915"/>
                <a:gd name="connsiteX74" fmla="*/ 179320 w 421859"/>
                <a:gd name="connsiteY74" fmla="*/ 510300 h 514915"/>
                <a:gd name="connsiteX75" fmla="*/ 171475 w 421859"/>
                <a:gd name="connsiteY75" fmla="*/ 510300 h 514915"/>
                <a:gd name="connsiteX76" fmla="*/ 169452 w 421859"/>
                <a:gd name="connsiteY76" fmla="*/ 507241 h 514915"/>
                <a:gd name="connsiteX77" fmla="*/ 167478 w 421859"/>
                <a:gd name="connsiteY77" fmla="*/ 501172 h 514915"/>
                <a:gd name="connsiteX78" fmla="*/ 163580 w 421859"/>
                <a:gd name="connsiteY78" fmla="*/ 498113 h 514915"/>
                <a:gd name="connsiteX79" fmla="*/ 159633 w 421859"/>
                <a:gd name="connsiteY79" fmla="*/ 501172 h 514915"/>
                <a:gd name="connsiteX80" fmla="*/ 159633 w 421859"/>
                <a:gd name="connsiteY80" fmla="*/ 507241 h 514915"/>
                <a:gd name="connsiteX81" fmla="*/ 155685 w 421859"/>
                <a:gd name="connsiteY81" fmla="*/ 513359 h 514915"/>
                <a:gd name="connsiteX82" fmla="*/ 143894 w 421859"/>
                <a:gd name="connsiteY82" fmla="*/ 514889 h 514915"/>
                <a:gd name="connsiteX83" fmla="*/ 132052 w 421859"/>
                <a:gd name="connsiteY83" fmla="*/ 514889 h 514915"/>
                <a:gd name="connsiteX84" fmla="*/ 130078 w 421859"/>
                <a:gd name="connsiteY84" fmla="*/ 508771 h 514915"/>
                <a:gd name="connsiteX85" fmla="*/ 126131 w 421859"/>
                <a:gd name="connsiteY85" fmla="*/ 505712 h 514915"/>
                <a:gd name="connsiteX86" fmla="*/ 126131 w 421859"/>
                <a:gd name="connsiteY86" fmla="*/ 501172 h 514915"/>
                <a:gd name="connsiteX87" fmla="*/ 120210 w 421859"/>
                <a:gd name="connsiteY87" fmla="*/ 492044 h 514915"/>
                <a:gd name="connsiteX88" fmla="*/ 116509 w 421859"/>
                <a:gd name="connsiteY88" fmla="*/ 484742 h 514915"/>
                <a:gd name="connsiteX89" fmla="*/ 108615 w 421859"/>
                <a:gd name="connsiteY89" fmla="*/ 480153 h 514915"/>
                <a:gd name="connsiteX90" fmla="*/ 96773 w 421859"/>
                <a:gd name="connsiteY90" fmla="*/ 467966 h 514915"/>
                <a:gd name="connsiteX91" fmla="*/ 84981 w 421859"/>
                <a:gd name="connsiteY91" fmla="*/ 458838 h 514915"/>
                <a:gd name="connsiteX92" fmla="*/ 77087 w 421859"/>
                <a:gd name="connsiteY92" fmla="*/ 457309 h 514915"/>
                <a:gd name="connsiteX93" fmla="*/ 75162 w 421859"/>
                <a:gd name="connsiteY93" fmla="*/ 452720 h 514915"/>
                <a:gd name="connsiteX94" fmla="*/ 71215 w 421859"/>
                <a:gd name="connsiteY94" fmla="*/ 451191 h 514915"/>
                <a:gd name="connsiteX95" fmla="*/ 71215 w 421859"/>
                <a:gd name="connsiteY95" fmla="*/ 443592 h 514915"/>
                <a:gd name="connsiteX96" fmla="*/ 73188 w 421859"/>
                <a:gd name="connsiteY96" fmla="*/ 439053 h 514915"/>
                <a:gd name="connsiteX97" fmla="*/ 73188 w 421859"/>
                <a:gd name="connsiteY97" fmla="*/ 432935 h 514915"/>
                <a:gd name="connsiteX98" fmla="*/ 84981 w 421859"/>
                <a:gd name="connsiteY98" fmla="*/ 432935 h 514915"/>
                <a:gd name="connsiteX99" fmla="*/ 88928 w 421859"/>
                <a:gd name="connsiteY99" fmla="*/ 434464 h 514915"/>
                <a:gd name="connsiteX100" fmla="*/ 94849 w 421859"/>
                <a:gd name="connsiteY100" fmla="*/ 432935 h 514915"/>
                <a:gd name="connsiteX101" fmla="*/ 100770 w 421859"/>
                <a:gd name="connsiteY101" fmla="*/ 434464 h 514915"/>
                <a:gd name="connsiteX102" fmla="*/ 104717 w 421859"/>
                <a:gd name="connsiteY102" fmla="*/ 432935 h 514915"/>
                <a:gd name="connsiteX103" fmla="*/ 112562 w 421859"/>
                <a:gd name="connsiteY103" fmla="*/ 434464 h 514915"/>
                <a:gd name="connsiteX104" fmla="*/ 118483 w 421859"/>
                <a:gd name="connsiteY104" fmla="*/ 435994 h 514915"/>
                <a:gd name="connsiteX105" fmla="*/ 122430 w 421859"/>
                <a:gd name="connsiteY105" fmla="*/ 437523 h 514915"/>
                <a:gd name="connsiteX106" fmla="*/ 126377 w 421859"/>
                <a:gd name="connsiteY106" fmla="*/ 434464 h 514915"/>
                <a:gd name="connsiteX107" fmla="*/ 124404 w 421859"/>
                <a:gd name="connsiteY107" fmla="*/ 432935 h 514915"/>
                <a:gd name="connsiteX108" fmla="*/ 112562 w 421859"/>
                <a:gd name="connsiteY108" fmla="*/ 426866 h 514915"/>
                <a:gd name="connsiteX109" fmla="*/ 110589 w 421859"/>
                <a:gd name="connsiteY109" fmla="*/ 420748 h 514915"/>
                <a:gd name="connsiteX110" fmla="*/ 104717 w 421859"/>
                <a:gd name="connsiteY110" fmla="*/ 419218 h 514915"/>
                <a:gd name="connsiteX111" fmla="*/ 98796 w 421859"/>
                <a:gd name="connsiteY111" fmla="*/ 410090 h 514915"/>
                <a:gd name="connsiteX112" fmla="*/ 98796 w 421859"/>
                <a:gd name="connsiteY112" fmla="*/ 404021 h 514915"/>
                <a:gd name="connsiteX113" fmla="*/ 102743 w 421859"/>
                <a:gd name="connsiteY113" fmla="*/ 400962 h 514915"/>
                <a:gd name="connsiteX114" fmla="*/ 104717 w 421859"/>
                <a:gd name="connsiteY114" fmla="*/ 393314 h 514915"/>
                <a:gd name="connsiteX115" fmla="*/ 102743 w 421859"/>
                <a:gd name="connsiteY115" fmla="*/ 387196 h 514915"/>
                <a:gd name="connsiteX116" fmla="*/ 102743 w 421859"/>
                <a:gd name="connsiteY116" fmla="*/ 382657 h 514915"/>
                <a:gd name="connsiteX117" fmla="*/ 104717 w 421859"/>
                <a:gd name="connsiteY117" fmla="*/ 378068 h 514915"/>
                <a:gd name="connsiteX118" fmla="*/ 100770 w 421859"/>
                <a:gd name="connsiteY118" fmla="*/ 370470 h 514915"/>
                <a:gd name="connsiteX119" fmla="*/ 98796 w 421859"/>
                <a:gd name="connsiteY119" fmla="*/ 364351 h 514915"/>
                <a:gd name="connsiteX120" fmla="*/ 94849 w 421859"/>
                <a:gd name="connsiteY120" fmla="*/ 361292 h 514915"/>
                <a:gd name="connsiteX121" fmla="*/ 94849 w 421859"/>
                <a:gd name="connsiteY121" fmla="*/ 352165 h 514915"/>
                <a:gd name="connsiteX122" fmla="*/ 86955 w 421859"/>
                <a:gd name="connsiteY122" fmla="*/ 346096 h 514915"/>
                <a:gd name="connsiteX123" fmla="*/ 67218 w 421859"/>
                <a:gd name="connsiteY123" fmla="*/ 338448 h 514915"/>
                <a:gd name="connsiteX124" fmla="*/ 67218 w 421859"/>
                <a:gd name="connsiteY124" fmla="*/ 338448 h 514915"/>
                <a:gd name="connsiteX125" fmla="*/ 61347 w 421859"/>
                <a:gd name="connsiteY125" fmla="*/ 329320 h 514915"/>
                <a:gd name="connsiteX126" fmla="*/ 53452 w 421859"/>
                <a:gd name="connsiteY126" fmla="*/ 320192 h 514915"/>
                <a:gd name="connsiteX127" fmla="*/ 49505 w 421859"/>
                <a:gd name="connsiteY127" fmla="*/ 318663 h 514915"/>
                <a:gd name="connsiteX128" fmla="*/ 43634 w 421859"/>
                <a:gd name="connsiteY128" fmla="*/ 279190 h 514915"/>
                <a:gd name="connsiteX129" fmla="*/ 47532 w 421859"/>
                <a:gd name="connsiteY129" fmla="*/ 274601 h 514915"/>
                <a:gd name="connsiteX130" fmla="*/ 55426 w 421859"/>
                <a:gd name="connsiteY130" fmla="*/ 274601 h 514915"/>
                <a:gd name="connsiteX131" fmla="*/ 55426 w 421859"/>
                <a:gd name="connsiteY131" fmla="*/ 270062 h 514915"/>
                <a:gd name="connsiteX132" fmla="*/ 116509 w 421859"/>
                <a:gd name="connsiteY132" fmla="*/ 217811 h 514915"/>
                <a:gd name="connsiteX133" fmla="*/ 116509 w 421859"/>
                <a:gd name="connsiteY133" fmla="*/ 172171 h 514915"/>
                <a:gd name="connsiteX134" fmla="*/ 124404 w 421859"/>
                <a:gd name="connsiteY134" fmla="*/ 114245 h 514915"/>
                <a:gd name="connsiteX135" fmla="*/ 130325 w 421859"/>
                <a:gd name="connsiteY135" fmla="*/ 109657 h 514915"/>
                <a:gd name="connsiteX136" fmla="*/ 130325 w 421859"/>
                <a:gd name="connsiteY136" fmla="*/ 98999 h 514915"/>
                <a:gd name="connsiteX137" fmla="*/ 106641 w 421859"/>
                <a:gd name="connsiteY137" fmla="*/ 73096 h 514915"/>
                <a:gd name="connsiteX138" fmla="*/ 108615 w 421859"/>
                <a:gd name="connsiteY138" fmla="*/ 68507 h 514915"/>
                <a:gd name="connsiteX139" fmla="*/ 108615 w 421859"/>
                <a:gd name="connsiteY139" fmla="*/ 60908 h 514915"/>
                <a:gd name="connsiteX140" fmla="*/ 92875 w 421859"/>
                <a:gd name="connsiteY140" fmla="*/ 16502 h 514915"/>
                <a:gd name="connsiteX141" fmla="*/ 88928 w 421859"/>
                <a:gd name="connsiteY141" fmla="*/ 13443 h 514915"/>
                <a:gd name="connsiteX142" fmla="*/ 9737 w 421859"/>
                <a:gd name="connsiteY142" fmla="*/ 332132 h 514915"/>
                <a:gd name="connsiteX143" fmla="*/ 7763 w 421859"/>
                <a:gd name="connsiteY143" fmla="*/ 338201 h 514915"/>
                <a:gd name="connsiteX144" fmla="*/ 1892 w 421859"/>
                <a:gd name="connsiteY144" fmla="*/ 339731 h 514915"/>
                <a:gd name="connsiteX145" fmla="*/ -82 w 421859"/>
                <a:gd name="connsiteY145" fmla="*/ 338201 h 51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21859" h="514915">
                  <a:moveTo>
                    <a:pt x="88681" y="13640"/>
                  </a:moveTo>
                  <a:lnTo>
                    <a:pt x="128154" y="-27"/>
                  </a:lnTo>
                  <a:lnTo>
                    <a:pt x="419804" y="126432"/>
                  </a:lnTo>
                  <a:lnTo>
                    <a:pt x="421778" y="248303"/>
                  </a:lnTo>
                  <a:lnTo>
                    <a:pt x="415858" y="249833"/>
                  </a:lnTo>
                  <a:lnTo>
                    <a:pt x="409936" y="254421"/>
                  </a:lnTo>
                  <a:lnTo>
                    <a:pt x="404016" y="251362"/>
                  </a:lnTo>
                  <a:lnTo>
                    <a:pt x="396171" y="251362"/>
                  </a:lnTo>
                  <a:lnTo>
                    <a:pt x="388226" y="254421"/>
                  </a:lnTo>
                  <a:lnTo>
                    <a:pt x="388226" y="263549"/>
                  </a:lnTo>
                  <a:lnTo>
                    <a:pt x="392223" y="268138"/>
                  </a:lnTo>
                  <a:lnTo>
                    <a:pt x="388226" y="274207"/>
                  </a:lnTo>
                  <a:lnTo>
                    <a:pt x="376435" y="289453"/>
                  </a:lnTo>
                  <a:lnTo>
                    <a:pt x="372487" y="287973"/>
                  </a:lnTo>
                  <a:lnTo>
                    <a:pt x="366615" y="294041"/>
                  </a:lnTo>
                  <a:lnTo>
                    <a:pt x="366615" y="297249"/>
                  </a:lnTo>
                  <a:lnTo>
                    <a:pt x="370513" y="301788"/>
                  </a:lnTo>
                  <a:lnTo>
                    <a:pt x="366615" y="307906"/>
                  </a:lnTo>
                  <a:lnTo>
                    <a:pt x="360695" y="312495"/>
                  </a:lnTo>
                  <a:lnTo>
                    <a:pt x="358672" y="317034"/>
                  </a:lnTo>
                  <a:lnTo>
                    <a:pt x="364642" y="320093"/>
                  </a:lnTo>
                  <a:lnTo>
                    <a:pt x="366615" y="326162"/>
                  </a:lnTo>
                  <a:lnTo>
                    <a:pt x="362669" y="330751"/>
                  </a:lnTo>
                  <a:lnTo>
                    <a:pt x="348853" y="341408"/>
                  </a:lnTo>
                  <a:lnTo>
                    <a:pt x="348853" y="347527"/>
                  </a:lnTo>
                  <a:lnTo>
                    <a:pt x="356699" y="352066"/>
                  </a:lnTo>
                  <a:lnTo>
                    <a:pt x="364642" y="347527"/>
                  </a:lnTo>
                  <a:lnTo>
                    <a:pt x="368540" y="347527"/>
                  </a:lnTo>
                  <a:lnTo>
                    <a:pt x="368540" y="352066"/>
                  </a:lnTo>
                  <a:lnTo>
                    <a:pt x="364642" y="353595"/>
                  </a:lnTo>
                  <a:lnTo>
                    <a:pt x="368540" y="356654"/>
                  </a:lnTo>
                  <a:lnTo>
                    <a:pt x="366615" y="361194"/>
                  </a:lnTo>
                  <a:lnTo>
                    <a:pt x="370513" y="367312"/>
                  </a:lnTo>
                  <a:lnTo>
                    <a:pt x="370513" y="381127"/>
                  </a:lnTo>
                  <a:lnTo>
                    <a:pt x="384329" y="382657"/>
                  </a:lnTo>
                  <a:lnTo>
                    <a:pt x="386303" y="387196"/>
                  </a:lnTo>
                  <a:lnTo>
                    <a:pt x="384329" y="393314"/>
                  </a:lnTo>
                  <a:lnTo>
                    <a:pt x="384329" y="397903"/>
                  </a:lnTo>
                  <a:lnTo>
                    <a:pt x="382355" y="400962"/>
                  </a:lnTo>
                  <a:lnTo>
                    <a:pt x="374461" y="405501"/>
                  </a:lnTo>
                  <a:lnTo>
                    <a:pt x="368540" y="402492"/>
                  </a:lnTo>
                  <a:lnTo>
                    <a:pt x="360695" y="402492"/>
                  </a:lnTo>
                  <a:lnTo>
                    <a:pt x="352800" y="405501"/>
                  </a:lnTo>
                  <a:lnTo>
                    <a:pt x="344906" y="410090"/>
                  </a:lnTo>
                  <a:lnTo>
                    <a:pt x="342932" y="414629"/>
                  </a:lnTo>
                  <a:lnTo>
                    <a:pt x="342932" y="419218"/>
                  </a:lnTo>
                  <a:lnTo>
                    <a:pt x="338985" y="420748"/>
                  </a:lnTo>
                  <a:lnTo>
                    <a:pt x="333114" y="429925"/>
                  </a:lnTo>
                  <a:lnTo>
                    <a:pt x="329117" y="429925"/>
                  </a:lnTo>
                  <a:lnTo>
                    <a:pt x="327143" y="428395"/>
                  </a:lnTo>
                  <a:lnTo>
                    <a:pt x="319298" y="432935"/>
                  </a:lnTo>
                  <a:lnTo>
                    <a:pt x="323246" y="437523"/>
                  </a:lnTo>
                  <a:lnTo>
                    <a:pt x="315351" y="440533"/>
                  </a:lnTo>
                  <a:lnTo>
                    <a:pt x="313378" y="446651"/>
                  </a:lnTo>
                  <a:lnTo>
                    <a:pt x="315351" y="451191"/>
                  </a:lnTo>
                  <a:lnTo>
                    <a:pt x="313378" y="455779"/>
                  </a:lnTo>
                  <a:lnTo>
                    <a:pt x="307456" y="457309"/>
                  </a:lnTo>
                  <a:lnTo>
                    <a:pt x="301536" y="461897"/>
                  </a:lnTo>
                  <a:lnTo>
                    <a:pt x="287770" y="463427"/>
                  </a:lnTo>
                  <a:lnTo>
                    <a:pt x="277902" y="464956"/>
                  </a:lnTo>
                  <a:lnTo>
                    <a:pt x="268033" y="463427"/>
                  </a:lnTo>
                  <a:lnTo>
                    <a:pt x="262162" y="461897"/>
                  </a:lnTo>
                  <a:lnTo>
                    <a:pt x="248347" y="461897"/>
                  </a:lnTo>
                  <a:lnTo>
                    <a:pt x="242426" y="463427"/>
                  </a:lnTo>
                  <a:lnTo>
                    <a:pt x="242426" y="467966"/>
                  </a:lnTo>
                  <a:lnTo>
                    <a:pt x="248347" y="477094"/>
                  </a:lnTo>
                  <a:lnTo>
                    <a:pt x="254268" y="477094"/>
                  </a:lnTo>
                  <a:lnTo>
                    <a:pt x="254268" y="479808"/>
                  </a:lnTo>
                  <a:lnTo>
                    <a:pt x="242426" y="485926"/>
                  </a:lnTo>
                  <a:lnTo>
                    <a:pt x="238479" y="490515"/>
                  </a:lnTo>
                  <a:lnTo>
                    <a:pt x="230634" y="490515"/>
                  </a:lnTo>
                  <a:lnTo>
                    <a:pt x="206950" y="493525"/>
                  </a:lnTo>
                  <a:lnTo>
                    <a:pt x="199056" y="501172"/>
                  </a:lnTo>
                  <a:lnTo>
                    <a:pt x="189188" y="504182"/>
                  </a:lnTo>
                  <a:lnTo>
                    <a:pt x="179320" y="510300"/>
                  </a:lnTo>
                  <a:lnTo>
                    <a:pt x="171475" y="510300"/>
                  </a:lnTo>
                  <a:lnTo>
                    <a:pt x="169452" y="507241"/>
                  </a:lnTo>
                  <a:lnTo>
                    <a:pt x="167478" y="501172"/>
                  </a:lnTo>
                  <a:lnTo>
                    <a:pt x="163580" y="498113"/>
                  </a:lnTo>
                  <a:lnTo>
                    <a:pt x="159633" y="501172"/>
                  </a:lnTo>
                  <a:lnTo>
                    <a:pt x="159633" y="507241"/>
                  </a:lnTo>
                  <a:lnTo>
                    <a:pt x="155685" y="513359"/>
                  </a:lnTo>
                  <a:lnTo>
                    <a:pt x="143894" y="514889"/>
                  </a:lnTo>
                  <a:lnTo>
                    <a:pt x="132052" y="514889"/>
                  </a:lnTo>
                  <a:lnTo>
                    <a:pt x="130078" y="508771"/>
                  </a:lnTo>
                  <a:lnTo>
                    <a:pt x="126131" y="505712"/>
                  </a:lnTo>
                  <a:lnTo>
                    <a:pt x="126131" y="501172"/>
                  </a:lnTo>
                  <a:lnTo>
                    <a:pt x="120210" y="492044"/>
                  </a:lnTo>
                  <a:lnTo>
                    <a:pt x="116509" y="484742"/>
                  </a:lnTo>
                  <a:lnTo>
                    <a:pt x="108615" y="480153"/>
                  </a:lnTo>
                  <a:lnTo>
                    <a:pt x="96773" y="467966"/>
                  </a:lnTo>
                  <a:lnTo>
                    <a:pt x="84981" y="458838"/>
                  </a:lnTo>
                  <a:lnTo>
                    <a:pt x="77087" y="457309"/>
                  </a:lnTo>
                  <a:lnTo>
                    <a:pt x="75162" y="452720"/>
                  </a:lnTo>
                  <a:lnTo>
                    <a:pt x="71215" y="451191"/>
                  </a:lnTo>
                  <a:lnTo>
                    <a:pt x="71215" y="443592"/>
                  </a:lnTo>
                  <a:lnTo>
                    <a:pt x="73188" y="439053"/>
                  </a:lnTo>
                  <a:lnTo>
                    <a:pt x="73188" y="432935"/>
                  </a:lnTo>
                  <a:lnTo>
                    <a:pt x="84981" y="432935"/>
                  </a:lnTo>
                  <a:lnTo>
                    <a:pt x="88928" y="434464"/>
                  </a:lnTo>
                  <a:lnTo>
                    <a:pt x="94849" y="432935"/>
                  </a:lnTo>
                  <a:lnTo>
                    <a:pt x="100770" y="434464"/>
                  </a:lnTo>
                  <a:lnTo>
                    <a:pt x="104717" y="432935"/>
                  </a:lnTo>
                  <a:lnTo>
                    <a:pt x="112562" y="434464"/>
                  </a:lnTo>
                  <a:lnTo>
                    <a:pt x="118483" y="435994"/>
                  </a:lnTo>
                  <a:lnTo>
                    <a:pt x="122430" y="437523"/>
                  </a:lnTo>
                  <a:lnTo>
                    <a:pt x="126377" y="434464"/>
                  </a:lnTo>
                  <a:lnTo>
                    <a:pt x="124404" y="432935"/>
                  </a:lnTo>
                  <a:lnTo>
                    <a:pt x="112562" y="426866"/>
                  </a:lnTo>
                  <a:lnTo>
                    <a:pt x="110589" y="420748"/>
                  </a:lnTo>
                  <a:lnTo>
                    <a:pt x="104717" y="419218"/>
                  </a:lnTo>
                  <a:lnTo>
                    <a:pt x="98796" y="410090"/>
                  </a:lnTo>
                  <a:lnTo>
                    <a:pt x="98796" y="404021"/>
                  </a:lnTo>
                  <a:lnTo>
                    <a:pt x="102743" y="400962"/>
                  </a:lnTo>
                  <a:lnTo>
                    <a:pt x="104717" y="393314"/>
                  </a:lnTo>
                  <a:lnTo>
                    <a:pt x="102743" y="387196"/>
                  </a:lnTo>
                  <a:lnTo>
                    <a:pt x="102743" y="382657"/>
                  </a:lnTo>
                  <a:lnTo>
                    <a:pt x="104717" y="378068"/>
                  </a:lnTo>
                  <a:lnTo>
                    <a:pt x="100770" y="370470"/>
                  </a:lnTo>
                  <a:lnTo>
                    <a:pt x="98796" y="364351"/>
                  </a:lnTo>
                  <a:lnTo>
                    <a:pt x="94849" y="361292"/>
                  </a:lnTo>
                  <a:lnTo>
                    <a:pt x="94849" y="352165"/>
                  </a:lnTo>
                  <a:lnTo>
                    <a:pt x="86955" y="346096"/>
                  </a:lnTo>
                  <a:lnTo>
                    <a:pt x="67218" y="338448"/>
                  </a:lnTo>
                  <a:lnTo>
                    <a:pt x="67218" y="338448"/>
                  </a:lnTo>
                  <a:lnTo>
                    <a:pt x="61347" y="329320"/>
                  </a:lnTo>
                  <a:lnTo>
                    <a:pt x="53452" y="320192"/>
                  </a:lnTo>
                  <a:lnTo>
                    <a:pt x="49505" y="318663"/>
                  </a:lnTo>
                  <a:lnTo>
                    <a:pt x="43634" y="279190"/>
                  </a:lnTo>
                  <a:lnTo>
                    <a:pt x="47532" y="274601"/>
                  </a:lnTo>
                  <a:lnTo>
                    <a:pt x="55426" y="274601"/>
                  </a:lnTo>
                  <a:lnTo>
                    <a:pt x="55426" y="270062"/>
                  </a:lnTo>
                  <a:lnTo>
                    <a:pt x="116509" y="217811"/>
                  </a:lnTo>
                  <a:lnTo>
                    <a:pt x="116509" y="172171"/>
                  </a:lnTo>
                  <a:lnTo>
                    <a:pt x="124404" y="114245"/>
                  </a:lnTo>
                  <a:lnTo>
                    <a:pt x="130325" y="109657"/>
                  </a:lnTo>
                  <a:lnTo>
                    <a:pt x="130325" y="98999"/>
                  </a:lnTo>
                  <a:lnTo>
                    <a:pt x="106641" y="73096"/>
                  </a:lnTo>
                  <a:lnTo>
                    <a:pt x="108615" y="68507"/>
                  </a:lnTo>
                  <a:lnTo>
                    <a:pt x="108615" y="60908"/>
                  </a:lnTo>
                  <a:lnTo>
                    <a:pt x="92875" y="16502"/>
                  </a:lnTo>
                  <a:lnTo>
                    <a:pt x="88928" y="13443"/>
                  </a:lnTo>
                  <a:close/>
                  <a:moveTo>
                    <a:pt x="9737" y="332132"/>
                  </a:moveTo>
                  <a:lnTo>
                    <a:pt x="7763" y="338201"/>
                  </a:lnTo>
                  <a:lnTo>
                    <a:pt x="1892" y="339731"/>
                  </a:lnTo>
                  <a:lnTo>
                    <a:pt x="-82" y="33820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Graphic 2">
              <a:extLst>
                <a:ext uri="{FF2B5EF4-FFF2-40B4-BE49-F238E27FC236}">
                  <a16:creationId xmlns:a16="http://schemas.microsoft.com/office/drawing/2014/main" id="{29A21D22-D27A-4DE5-B1AB-64D4E621AA3C}"/>
                </a:ext>
              </a:extLst>
            </p:cNvPr>
            <p:cNvSpPr/>
            <p:nvPr/>
          </p:nvSpPr>
          <p:spPr>
            <a:xfrm>
              <a:off x="5428026" y="3970096"/>
              <a:ext cx="502102" cy="335735"/>
            </a:xfrm>
            <a:custGeom>
              <a:avLst/>
              <a:gdLst>
                <a:gd name="connsiteX0" fmla="*/ 123762 w 552661"/>
                <a:gd name="connsiteY0" fmla="*/ 369532 h 369559"/>
                <a:gd name="connsiteX1" fmla="*/ 115917 w 552661"/>
                <a:gd name="connsiteY1" fmla="*/ 361885 h 369559"/>
                <a:gd name="connsiteX2" fmla="*/ 108072 w 552661"/>
                <a:gd name="connsiteY2" fmla="*/ 360404 h 369559"/>
                <a:gd name="connsiteX3" fmla="*/ 102151 w 552661"/>
                <a:gd name="connsiteY3" fmla="*/ 351227 h 369559"/>
                <a:gd name="connsiteX4" fmla="*/ 92283 w 552661"/>
                <a:gd name="connsiteY4" fmla="*/ 343579 h 369559"/>
                <a:gd name="connsiteX5" fmla="*/ 86363 w 552661"/>
                <a:gd name="connsiteY5" fmla="*/ 348168 h 369559"/>
                <a:gd name="connsiteX6" fmla="*/ 88336 w 552661"/>
                <a:gd name="connsiteY6" fmla="*/ 352757 h 369559"/>
                <a:gd name="connsiteX7" fmla="*/ 80491 w 552661"/>
                <a:gd name="connsiteY7" fmla="*/ 354286 h 369559"/>
                <a:gd name="connsiteX8" fmla="*/ 74570 w 552661"/>
                <a:gd name="connsiteY8" fmla="*/ 354286 h 369559"/>
                <a:gd name="connsiteX9" fmla="*/ 68698 w 552661"/>
                <a:gd name="connsiteY9" fmla="*/ 345109 h 369559"/>
                <a:gd name="connsiteX10" fmla="*/ 72646 w 552661"/>
                <a:gd name="connsiteY10" fmla="*/ 342050 h 369559"/>
                <a:gd name="connsiteX11" fmla="*/ 70672 w 552661"/>
                <a:gd name="connsiteY11" fmla="*/ 335932 h 369559"/>
                <a:gd name="connsiteX12" fmla="*/ 68698 w 552661"/>
                <a:gd name="connsiteY12" fmla="*/ 332873 h 369559"/>
                <a:gd name="connsiteX13" fmla="*/ 66725 w 552661"/>
                <a:gd name="connsiteY13" fmla="*/ 328284 h 369559"/>
                <a:gd name="connsiteX14" fmla="*/ 64751 w 552661"/>
                <a:gd name="connsiteY14" fmla="*/ 326804 h 369559"/>
                <a:gd name="connsiteX15" fmla="*/ 47087 w 552661"/>
                <a:gd name="connsiteY15" fmla="*/ 334402 h 369559"/>
                <a:gd name="connsiteX16" fmla="*/ 35295 w 552661"/>
                <a:gd name="connsiteY16" fmla="*/ 325274 h 369559"/>
                <a:gd name="connsiteX17" fmla="*/ 35295 w 552661"/>
                <a:gd name="connsiteY17" fmla="*/ 313038 h 369559"/>
                <a:gd name="connsiteX18" fmla="*/ -82 w 552661"/>
                <a:gd name="connsiteY18" fmla="*/ 293302 h 369559"/>
                <a:gd name="connsiteX19" fmla="*/ -82 w 552661"/>
                <a:gd name="connsiteY19" fmla="*/ 285654 h 369559"/>
                <a:gd name="connsiteX20" fmla="*/ 3816 w 552661"/>
                <a:gd name="connsiteY20" fmla="*/ 279536 h 369559"/>
                <a:gd name="connsiteX21" fmla="*/ 5789 w 552661"/>
                <a:gd name="connsiteY21" fmla="*/ 270408 h 369559"/>
                <a:gd name="connsiteX22" fmla="*/ 7763 w 552661"/>
                <a:gd name="connsiteY22" fmla="*/ 265819 h 369559"/>
                <a:gd name="connsiteX23" fmla="*/ 15608 w 552661"/>
                <a:gd name="connsiteY23" fmla="*/ 267348 h 369559"/>
                <a:gd name="connsiteX24" fmla="*/ 41167 w 552661"/>
                <a:gd name="connsiteY24" fmla="*/ 265819 h 369559"/>
                <a:gd name="connsiteX25" fmla="*/ 49061 w 552661"/>
                <a:gd name="connsiteY25" fmla="*/ 265819 h 369559"/>
                <a:gd name="connsiteX26" fmla="*/ 60853 w 552661"/>
                <a:gd name="connsiteY26" fmla="*/ 262760 h 369559"/>
                <a:gd name="connsiteX27" fmla="*/ 82464 w 552661"/>
                <a:gd name="connsiteY27" fmla="*/ 262760 h 369559"/>
                <a:gd name="connsiteX28" fmla="*/ 94257 w 552661"/>
                <a:gd name="connsiteY28" fmla="*/ 256691 h 369559"/>
                <a:gd name="connsiteX29" fmla="*/ 104125 w 552661"/>
                <a:gd name="connsiteY29" fmla="*/ 256691 h 369559"/>
                <a:gd name="connsiteX30" fmla="*/ 113993 w 552661"/>
                <a:gd name="connsiteY30" fmla="*/ 250524 h 369559"/>
                <a:gd name="connsiteX31" fmla="*/ 133729 w 552661"/>
                <a:gd name="connsiteY31" fmla="*/ 241395 h 369559"/>
                <a:gd name="connsiteX32" fmla="*/ 135703 w 552661"/>
                <a:gd name="connsiteY32" fmla="*/ 235277 h 369559"/>
                <a:gd name="connsiteX33" fmla="*/ 135703 w 552661"/>
                <a:gd name="connsiteY33" fmla="*/ 226149 h 369559"/>
                <a:gd name="connsiteX34" fmla="*/ 141623 w 552661"/>
                <a:gd name="connsiteY34" fmla="*/ 221561 h 369559"/>
                <a:gd name="connsiteX35" fmla="*/ 143597 w 552661"/>
                <a:gd name="connsiteY35" fmla="*/ 192549 h 369559"/>
                <a:gd name="connsiteX36" fmla="*/ 145522 w 552661"/>
                <a:gd name="connsiteY36" fmla="*/ 132995 h 369559"/>
                <a:gd name="connsiteX37" fmla="*/ 202707 w 552661"/>
                <a:gd name="connsiteY37" fmla="*/ 122140 h 369559"/>
                <a:gd name="connsiteX38" fmla="*/ 245978 w 552661"/>
                <a:gd name="connsiteY38" fmla="*/ 87010 h 369559"/>
                <a:gd name="connsiteX39" fmla="*/ 409097 w 552661"/>
                <a:gd name="connsiteY39" fmla="*/ -27 h 369559"/>
                <a:gd name="connsiteX40" fmla="*/ 472006 w 552661"/>
                <a:gd name="connsiteY40" fmla="*/ 15219 h 369559"/>
                <a:gd name="connsiteX41" fmla="*/ 477927 w 552661"/>
                <a:gd name="connsiteY41" fmla="*/ 19808 h 369559"/>
                <a:gd name="connsiteX42" fmla="*/ 511282 w 552661"/>
                <a:gd name="connsiteY42" fmla="*/ 7621 h 369559"/>
                <a:gd name="connsiteX43" fmla="*/ 515228 w 552661"/>
                <a:gd name="connsiteY43" fmla="*/ 10631 h 369559"/>
                <a:gd name="connsiteX44" fmla="*/ 530968 w 552661"/>
                <a:gd name="connsiteY44" fmla="*/ 55037 h 369559"/>
                <a:gd name="connsiteX45" fmla="*/ 530968 w 552661"/>
                <a:gd name="connsiteY45" fmla="*/ 62635 h 369559"/>
                <a:gd name="connsiteX46" fmla="*/ 528995 w 552661"/>
                <a:gd name="connsiteY46" fmla="*/ 67224 h 369559"/>
                <a:gd name="connsiteX47" fmla="*/ 552579 w 552661"/>
                <a:gd name="connsiteY47" fmla="*/ 93177 h 369559"/>
                <a:gd name="connsiteX48" fmla="*/ 552579 w 552661"/>
                <a:gd name="connsiteY48" fmla="*/ 103884 h 369559"/>
                <a:gd name="connsiteX49" fmla="*/ 546708 w 552661"/>
                <a:gd name="connsiteY49" fmla="*/ 108472 h 369559"/>
                <a:gd name="connsiteX50" fmla="*/ 538813 w 552661"/>
                <a:gd name="connsiteY50" fmla="*/ 166497 h 369559"/>
                <a:gd name="connsiteX51" fmla="*/ 538813 w 552661"/>
                <a:gd name="connsiteY51" fmla="*/ 212285 h 369559"/>
                <a:gd name="connsiteX52" fmla="*/ 477927 w 552661"/>
                <a:gd name="connsiteY52" fmla="*/ 264191 h 369559"/>
                <a:gd name="connsiteX53" fmla="*/ 477927 w 552661"/>
                <a:gd name="connsiteY53" fmla="*/ 268779 h 369559"/>
                <a:gd name="connsiteX54" fmla="*/ 470033 w 552661"/>
                <a:gd name="connsiteY54" fmla="*/ 268779 h 369559"/>
                <a:gd name="connsiteX55" fmla="*/ 466135 w 552661"/>
                <a:gd name="connsiteY55" fmla="*/ 273368 h 369559"/>
                <a:gd name="connsiteX56" fmla="*/ 472006 w 552661"/>
                <a:gd name="connsiteY56" fmla="*/ 312840 h 369559"/>
                <a:gd name="connsiteX57" fmla="*/ 462138 w 552661"/>
                <a:gd name="connsiteY57" fmla="*/ 311311 h 369559"/>
                <a:gd name="connsiteX58" fmla="*/ 458241 w 552661"/>
                <a:gd name="connsiteY58" fmla="*/ 315900 h 369559"/>
                <a:gd name="connsiteX59" fmla="*/ 458241 w 552661"/>
                <a:gd name="connsiteY59" fmla="*/ 318959 h 369559"/>
                <a:gd name="connsiteX60" fmla="*/ 454343 w 552661"/>
                <a:gd name="connsiteY60" fmla="*/ 320488 h 369559"/>
                <a:gd name="connsiteX61" fmla="*/ 450346 w 552661"/>
                <a:gd name="connsiteY61" fmla="*/ 318959 h 369559"/>
                <a:gd name="connsiteX62" fmla="*/ 444475 w 552661"/>
                <a:gd name="connsiteY62" fmla="*/ 320488 h 369559"/>
                <a:gd name="connsiteX63" fmla="*/ 442550 w 552661"/>
                <a:gd name="connsiteY63" fmla="*/ 323547 h 369559"/>
                <a:gd name="connsiteX64" fmla="*/ 436630 w 552661"/>
                <a:gd name="connsiteY64" fmla="*/ 325077 h 369559"/>
                <a:gd name="connsiteX65" fmla="*/ 432682 w 552661"/>
                <a:gd name="connsiteY65" fmla="*/ 326606 h 369559"/>
                <a:gd name="connsiteX66" fmla="*/ 422814 w 552661"/>
                <a:gd name="connsiteY66" fmla="*/ 332675 h 369559"/>
                <a:gd name="connsiteX67" fmla="*/ 418867 w 552661"/>
                <a:gd name="connsiteY67" fmla="*/ 328086 h 369559"/>
                <a:gd name="connsiteX68" fmla="*/ 408999 w 552661"/>
                <a:gd name="connsiteY68" fmla="*/ 328086 h 369559"/>
                <a:gd name="connsiteX69" fmla="*/ 395233 w 552661"/>
                <a:gd name="connsiteY69" fmla="*/ 323547 h 369559"/>
                <a:gd name="connsiteX70" fmla="*/ 381467 w 552661"/>
                <a:gd name="connsiteY70" fmla="*/ 322018 h 369559"/>
                <a:gd name="connsiteX71" fmla="*/ 373622 w 552661"/>
                <a:gd name="connsiteY71" fmla="*/ 325077 h 369559"/>
                <a:gd name="connsiteX72" fmla="*/ 353886 w 552661"/>
                <a:gd name="connsiteY72" fmla="*/ 323547 h 369559"/>
                <a:gd name="connsiteX73" fmla="*/ 346041 w 552661"/>
                <a:gd name="connsiteY73" fmla="*/ 325077 h 369559"/>
                <a:gd name="connsiteX74" fmla="*/ 338195 w 552661"/>
                <a:gd name="connsiteY74" fmla="*/ 337264 h 369559"/>
                <a:gd name="connsiteX75" fmla="*/ 326403 w 552661"/>
                <a:gd name="connsiteY75" fmla="*/ 341853 h 369559"/>
                <a:gd name="connsiteX76" fmla="*/ 320482 w 552661"/>
                <a:gd name="connsiteY76" fmla="*/ 340323 h 369559"/>
                <a:gd name="connsiteX77" fmla="*/ 306716 w 552661"/>
                <a:gd name="connsiteY77" fmla="*/ 337264 h 369559"/>
                <a:gd name="connsiteX78" fmla="*/ 300845 w 552661"/>
                <a:gd name="connsiteY78" fmla="*/ 335734 h 369559"/>
                <a:gd name="connsiteX79" fmla="*/ 287079 w 552661"/>
                <a:gd name="connsiteY79" fmla="*/ 329616 h 369559"/>
                <a:gd name="connsiteX80" fmla="*/ 281208 w 552661"/>
                <a:gd name="connsiteY80" fmla="*/ 326606 h 369559"/>
                <a:gd name="connsiteX81" fmla="*/ 281208 w 552661"/>
                <a:gd name="connsiteY81" fmla="*/ 325077 h 369559"/>
                <a:gd name="connsiteX82" fmla="*/ 275286 w 552661"/>
                <a:gd name="connsiteY82" fmla="*/ 320488 h 369559"/>
                <a:gd name="connsiteX83" fmla="*/ 269415 w 552661"/>
                <a:gd name="connsiteY83" fmla="*/ 320488 h 369559"/>
                <a:gd name="connsiteX84" fmla="*/ 267441 w 552661"/>
                <a:gd name="connsiteY84" fmla="*/ 322018 h 369559"/>
                <a:gd name="connsiteX85" fmla="*/ 255649 w 552661"/>
                <a:gd name="connsiteY85" fmla="*/ 323547 h 369559"/>
                <a:gd name="connsiteX86" fmla="*/ 251702 w 552661"/>
                <a:gd name="connsiteY86" fmla="*/ 325077 h 369559"/>
                <a:gd name="connsiteX87" fmla="*/ 245830 w 552661"/>
                <a:gd name="connsiteY87" fmla="*/ 325077 h 369559"/>
                <a:gd name="connsiteX88" fmla="*/ 241883 w 552661"/>
                <a:gd name="connsiteY88" fmla="*/ 329616 h 369559"/>
                <a:gd name="connsiteX89" fmla="*/ 237936 w 552661"/>
                <a:gd name="connsiteY89" fmla="*/ 332675 h 369559"/>
                <a:gd name="connsiteX90" fmla="*/ 232064 w 552661"/>
                <a:gd name="connsiteY90" fmla="*/ 326606 h 369559"/>
                <a:gd name="connsiteX91" fmla="*/ 222196 w 552661"/>
                <a:gd name="connsiteY91" fmla="*/ 317429 h 369559"/>
                <a:gd name="connsiteX92" fmla="*/ 220223 w 552661"/>
                <a:gd name="connsiteY92" fmla="*/ 314370 h 369559"/>
                <a:gd name="connsiteX93" fmla="*/ 208431 w 552661"/>
                <a:gd name="connsiteY93" fmla="*/ 311311 h 369559"/>
                <a:gd name="connsiteX94" fmla="*/ 204483 w 552661"/>
                <a:gd name="connsiteY94" fmla="*/ 309830 h 369559"/>
                <a:gd name="connsiteX95" fmla="*/ 200536 w 552661"/>
                <a:gd name="connsiteY95" fmla="*/ 308301 h 369559"/>
                <a:gd name="connsiteX96" fmla="*/ 188744 w 552661"/>
                <a:gd name="connsiteY96" fmla="*/ 306771 h 369559"/>
                <a:gd name="connsiteX97" fmla="*/ 178876 w 552661"/>
                <a:gd name="connsiteY97" fmla="*/ 306771 h 369559"/>
                <a:gd name="connsiteX98" fmla="*/ 176902 w 552661"/>
                <a:gd name="connsiteY98" fmla="*/ 308301 h 369559"/>
                <a:gd name="connsiteX99" fmla="*/ 155291 w 552661"/>
                <a:gd name="connsiteY99" fmla="*/ 308301 h 369559"/>
                <a:gd name="connsiteX100" fmla="*/ 149419 w 552661"/>
                <a:gd name="connsiteY100" fmla="*/ 309830 h 369559"/>
                <a:gd name="connsiteX101" fmla="*/ 145423 w 552661"/>
                <a:gd name="connsiteY101" fmla="*/ 311311 h 369559"/>
                <a:gd name="connsiteX102" fmla="*/ 141525 w 552661"/>
                <a:gd name="connsiteY102" fmla="*/ 312840 h 369559"/>
                <a:gd name="connsiteX103" fmla="*/ 133630 w 552661"/>
                <a:gd name="connsiteY103" fmla="*/ 317429 h 369559"/>
                <a:gd name="connsiteX104" fmla="*/ 133630 w 552661"/>
                <a:gd name="connsiteY104" fmla="*/ 320488 h 369559"/>
                <a:gd name="connsiteX105" fmla="*/ 135604 w 552661"/>
                <a:gd name="connsiteY105" fmla="*/ 323547 h 369559"/>
                <a:gd name="connsiteX106" fmla="*/ 133630 w 552661"/>
                <a:gd name="connsiteY106" fmla="*/ 325077 h 369559"/>
                <a:gd name="connsiteX107" fmla="*/ 133630 w 552661"/>
                <a:gd name="connsiteY107" fmla="*/ 334303 h 369559"/>
                <a:gd name="connsiteX108" fmla="*/ 137627 w 552661"/>
                <a:gd name="connsiteY108" fmla="*/ 335833 h 369559"/>
                <a:gd name="connsiteX109" fmla="*/ 137627 w 552661"/>
                <a:gd name="connsiteY109" fmla="*/ 340422 h 369559"/>
                <a:gd name="connsiteX110" fmla="*/ 131706 w 552661"/>
                <a:gd name="connsiteY110" fmla="*/ 340422 h 369559"/>
                <a:gd name="connsiteX111" fmla="*/ 121838 w 552661"/>
                <a:gd name="connsiteY111" fmla="*/ 346540 h 369559"/>
                <a:gd name="connsiteX112" fmla="*/ 123812 w 552661"/>
                <a:gd name="connsiteY112" fmla="*/ 349599 h 369559"/>
                <a:gd name="connsiteX113" fmla="*/ 121838 w 552661"/>
                <a:gd name="connsiteY113" fmla="*/ 352658 h 369559"/>
                <a:gd name="connsiteX114" fmla="*/ 127759 w 552661"/>
                <a:gd name="connsiteY114" fmla="*/ 363316 h 369559"/>
                <a:gd name="connsiteX115" fmla="*/ 131706 w 552661"/>
                <a:gd name="connsiteY115" fmla="*/ 363316 h 369559"/>
                <a:gd name="connsiteX116" fmla="*/ 131706 w 552661"/>
                <a:gd name="connsiteY116" fmla="*/ 366375 h 369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552661" h="369559">
                  <a:moveTo>
                    <a:pt x="123762" y="369532"/>
                  </a:moveTo>
                  <a:lnTo>
                    <a:pt x="115917" y="361885"/>
                  </a:lnTo>
                  <a:lnTo>
                    <a:pt x="108072" y="360404"/>
                  </a:lnTo>
                  <a:lnTo>
                    <a:pt x="102151" y="351227"/>
                  </a:lnTo>
                  <a:lnTo>
                    <a:pt x="92283" y="343579"/>
                  </a:lnTo>
                  <a:lnTo>
                    <a:pt x="86363" y="348168"/>
                  </a:lnTo>
                  <a:lnTo>
                    <a:pt x="88336" y="352757"/>
                  </a:lnTo>
                  <a:lnTo>
                    <a:pt x="80491" y="354286"/>
                  </a:lnTo>
                  <a:lnTo>
                    <a:pt x="74570" y="354286"/>
                  </a:lnTo>
                  <a:lnTo>
                    <a:pt x="68698" y="345109"/>
                  </a:lnTo>
                  <a:lnTo>
                    <a:pt x="72646" y="342050"/>
                  </a:lnTo>
                  <a:lnTo>
                    <a:pt x="70672" y="335932"/>
                  </a:lnTo>
                  <a:lnTo>
                    <a:pt x="68698" y="332873"/>
                  </a:lnTo>
                  <a:lnTo>
                    <a:pt x="66725" y="328284"/>
                  </a:lnTo>
                  <a:lnTo>
                    <a:pt x="64751" y="326804"/>
                  </a:lnTo>
                  <a:lnTo>
                    <a:pt x="47087" y="334402"/>
                  </a:lnTo>
                  <a:lnTo>
                    <a:pt x="35295" y="325274"/>
                  </a:lnTo>
                  <a:lnTo>
                    <a:pt x="35295" y="313038"/>
                  </a:lnTo>
                  <a:lnTo>
                    <a:pt x="-82" y="293302"/>
                  </a:lnTo>
                  <a:lnTo>
                    <a:pt x="-82" y="285654"/>
                  </a:lnTo>
                  <a:lnTo>
                    <a:pt x="3816" y="279536"/>
                  </a:lnTo>
                  <a:lnTo>
                    <a:pt x="5789" y="270408"/>
                  </a:lnTo>
                  <a:lnTo>
                    <a:pt x="7763" y="265819"/>
                  </a:lnTo>
                  <a:lnTo>
                    <a:pt x="15608" y="267348"/>
                  </a:lnTo>
                  <a:lnTo>
                    <a:pt x="41167" y="265819"/>
                  </a:lnTo>
                  <a:lnTo>
                    <a:pt x="49061" y="265819"/>
                  </a:lnTo>
                  <a:lnTo>
                    <a:pt x="60853" y="262760"/>
                  </a:lnTo>
                  <a:lnTo>
                    <a:pt x="82464" y="262760"/>
                  </a:lnTo>
                  <a:lnTo>
                    <a:pt x="94257" y="256691"/>
                  </a:lnTo>
                  <a:lnTo>
                    <a:pt x="104125" y="256691"/>
                  </a:lnTo>
                  <a:lnTo>
                    <a:pt x="113993" y="250524"/>
                  </a:lnTo>
                  <a:lnTo>
                    <a:pt x="133729" y="241395"/>
                  </a:lnTo>
                  <a:lnTo>
                    <a:pt x="135703" y="235277"/>
                  </a:lnTo>
                  <a:lnTo>
                    <a:pt x="135703" y="226149"/>
                  </a:lnTo>
                  <a:lnTo>
                    <a:pt x="141623" y="221561"/>
                  </a:lnTo>
                  <a:lnTo>
                    <a:pt x="143597" y="192549"/>
                  </a:lnTo>
                  <a:lnTo>
                    <a:pt x="145522" y="132995"/>
                  </a:lnTo>
                  <a:lnTo>
                    <a:pt x="202707" y="122140"/>
                  </a:lnTo>
                  <a:lnTo>
                    <a:pt x="245978" y="87010"/>
                  </a:lnTo>
                  <a:lnTo>
                    <a:pt x="409097" y="-27"/>
                  </a:lnTo>
                  <a:lnTo>
                    <a:pt x="472006" y="15219"/>
                  </a:lnTo>
                  <a:lnTo>
                    <a:pt x="477927" y="19808"/>
                  </a:lnTo>
                  <a:lnTo>
                    <a:pt x="511282" y="7621"/>
                  </a:lnTo>
                  <a:lnTo>
                    <a:pt x="515228" y="10631"/>
                  </a:lnTo>
                  <a:lnTo>
                    <a:pt x="530968" y="55037"/>
                  </a:lnTo>
                  <a:lnTo>
                    <a:pt x="530968" y="62635"/>
                  </a:lnTo>
                  <a:lnTo>
                    <a:pt x="528995" y="67224"/>
                  </a:lnTo>
                  <a:lnTo>
                    <a:pt x="552579" y="93177"/>
                  </a:lnTo>
                  <a:lnTo>
                    <a:pt x="552579" y="103884"/>
                  </a:lnTo>
                  <a:lnTo>
                    <a:pt x="546708" y="108472"/>
                  </a:lnTo>
                  <a:lnTo>
                    <a:pt x="538813" y="166497"/>
                  </a:lnTo>
                  <a:lnTo>
                    <a:pt x="538813" y="212285"/>
                  </a:lnTo>
                  <a:lnTo>
                    <a:pt x="477927" y="264191"/>
                  </a:lnTo>
                  <a:lnTo>
                    <a:pt x="477927" y="268779"/>
                  </a:lnTo>
                  <a:lnTo>
                    <a:pt x="470033" y="268779"/>
                  </a:lnTo>
                  <a:lnTo>
                    <a:pt x="466135" y="273368"/>
                  </a:lnTo>
                  <a:lnTo>
                    <a:pt x="472006" y="312840"/>
                  </a:lnTo>
                  <a:lnTo>
                    <a:pt x="462138" y="311311"/>
                  </a:lnTo>
                  <a:lnTo>
                    <a:pt x="458241" y="315900"/>
                  </a:lnTo>
                  <a:lnTo>
                    <a:pt x="458241" y="318959"/>
                  </a:lnTo>
                  <a:lnTo>
                    <a:pt x="454343" y="320488"/>
                  </a:lnTo>
                  <a:lnTo>
                    <a:pt x="450346" y="318959"/>
                  </a:lnTo>
                  <a:lnTo>
                    <a:pt x="444475" y="320488"/>
                  </a:lnTo>
                  <a:lnTo>
                    <a:pt x="442550" y="323547"/>
                  </a:lnTo>
                  <a:lnTo>
                    <a:pt x="436630" y="325077"/>
                  </a:lnTo>
                  <a:lnTo>
                    <a:pt x="432682" y="326606"/>
                  </a:lnTo>
                  <a:lnTo>
                    <a:pt x="422814" y="332675"/>
                  </a:lnTo>
                  <a:lnTo>
                    <a:pt x="418867" y="328086"/>
                  </a:lnTo>
                  <a:lnTo>
                    <a:pt x="408999" y="328086"/>
                  </a:lnTo>
                  <a:lnTo>
                    <a:pt x="395233" y="323547"/>
                  </a:lnTo>
                  <a:lnTo>
                    <a:pt x="381467" y="322018"/>
                  </a:lnTo>
                  <a:lnTo>
                    <a:pt x="373622" y="325077"/>
                  </a:lnTo>
                  <a:lnTo>
                    <a:pt x="353886" y="323547"/>
                  </a:lnTo>
                  <a:lnTo>
                    <a:pt x="346041" y="325077"/>
                  </a:lnTo>
                  <a:lnTo>
                    <a:pt x="338195" y="337264"/>
                  </a:lnTo>
                  <a:lnTo>
                    <a:pt x="326403" y="341853"/>
                  </a:lnTo>
                  <a:lnTo>
                    <a:pt x="320482" y="340323"/>
                  </a:lnTo>
                  <a:lnTo>
                    <a:pt x="306716" y="337264"/>
                  </a:lnTo>
                  <a:lnTo>
                    <a:pt x="300845" y="335734"/>
                  </a:lnTo>
                  <a:lnTo>
                    <a:pt x="287079" y="329616"/>
                  </a:lnTo>
                  <a:lnTo>
                    <a:pt x="281208" y="326606"/>
                  </a:lnTo>
                  <a:lnTo>
                    <a:pt x="281208" y="325077"/>
                  </a:lnTo>
                  <a:lnTo>
                    <a:pt x="275286" y="320488"/>
                  </a:lnTo>
                  <a:lnTo>
                    <a:pt x="269415" y="320488"/>
                  </a:lnTo>
                  <a:lnTo>
                    <a:pt x="267441" y="322018"/>
                  </a:lnTo>
                  <a:lnTo>
                    <a:pt x="255649" y="323547"/>
                  </a:lnTo>
                  <a:lnTo>
                    <a:pt x="251702" y="325077"/>
                  </a:lnTo>
                  <a:lnTo>
                    <a:pt x="245830" y="325077"/>
                  </a:lnTo>
                  <a:lnTo>
                    <a:pt x="241883" y="329616"/>
                  </a:lnTo>
                  <a:lnTo>
                    <a:pt x="237936" y="332675"/>
                  </a:lnTo>
                  <a:lnTo>
                    <a:pt x="232064" y="326606"/>
                  </a:lnTo>
                  <a:lnTo>
                    <a:pt x="222196" y="317429"/>
                  </a:lnTo>
                  <a:lnTo>
                    <a:pt x="220223" y="314370"/>
                  </a:lnTo>
                  <a:lnTo>
                    <a:pt x="208431" y="311311"/>
                  </a:lnTo>
                  <a:lnTo>
                    <a:pt x="204483" y="309830"/>
                  </a:lnTo>
                  <a:lnTo>
                    <a:pt x="200536" y="308301"/>
                  </a:lnTo>
                  <a:lnTo>
                    <a:pt x="188744" y="306771"/>
                  </a:lnTo>
                  <a:lnTo>
                    <a:pt x="178876" y="306771"/>
                  </a:lnTo>
                  <a:lnTo>
                    <a:pt x="176902" y="308301"/>
                  </a:lnTo>
                  <a:lnTo>
                    <a:pt x="155291" y="308301"/>
                  </a:lnTo>
                  <a:lnTo>
                    <a:pt x="149419" y="309830"/>
                  </a:lnTo>
                  <a:lnTo>
                    <a:pt x="145423" y="311311"/>
                  </a:lnTo>
                  <a:lnTo>
                    <a:pt x="141525" y="312840"/>
                  </a:lnTo>
                  <a:lnTo>
                    <a:pt x="133630" y="317429"/>
                  </a:lnTo>
                  <a:lnTo>
                    <a:pt x="133630" y="320488"/>
                  </a:lnTo>
                  <a:lnTo>
                    <a:pt x="135604" y="323547"/>
                  </a:lnTo>
                  <a:lnTo>
                    <a:pt x="133630" y="325077"/>
                  </a:lnTo>
                  <a:lnTo>
                    <a:pt x="133630" y="334303"/>
                  </a:lnTo>
                  <a:lnTo>
                    <a:pt x="137627" y="335833"/>
                  </a:lnTo>
                  <a:lnTo>
                    <a:pt x="137627" y="340422"/>
                  </a:lnTo>
                  <a:lnTo>
                    <a:pt x="131706" y="340422"/>
                  </a:lnTo>
                  <a:lnTo>
                    <a:pt x="121838" y="346540"/>
                  </a:lnTo>
                  <a:lnTo>
                    <a:pt x="123812" y="349599"/>
                  </a:lnTo>
                  <a:lnTo>
                    <a:pt x="121838" y="352658"/>
                  </a:lnTo>
                  <a:lnTo>
                    <a:pt x="127759" y="363316"/>
                  </a:lnTo>
                  <a:lnTo>
                    <a:pt x="131706" y="363316"/>
                  </a:lnTo>
                  <a:lnTo>
                    <a:pt x="131706" y="36637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Graphic 2">
              <a:extLst>
                <a:ext uri="{FF2B5EF4-FFF2-40B4-BE49-F238E27FC236}">
                  <a16:creationId xmlns:a16="http://schemas.microsoft.com/office/drawing/2014/main" id="{675D8F4B-8A5A-4693-8FD7-6A0EF9A4C2CF}"/>
                </a:ext>
              </a:extLst>
            </p:cNvPr>
            <p:cNvSpPr/>
            <p:nvPr/>
          </p:nvSpPr>
          <p:spPr>
            <a:xfrm>
              <a:off x="5512971" y="4248322"/>
              <a:ext cx="376719" cy="274641"/>
            </a:xfrm>
            <a:custGeom>
              <a:avLst/>
              <a:gdLst>
                <a:gd name="connsiteX0" fmla="*/ 394444 w 414656"/>
                <a:gd name="connsiteY0" fmla="*/ 25680 h 302308"/>
                <a:gd name="connsiteX1" fmla="*/ 394444 w 414656"/>
                <a:gd name="connsiteY1" fmla="*/ 25680 h 302308"/>
                <a:gd name="connsiteX2" fmla="*/ 388523 w 414656"/>
                <a:gd name="connsiteY2" fmla="*/ 16551 h 302308"/>
                <a:gd name="connsiteX3" fmla="*/ 380678 w 414656"/>
                <a:gd name="connsiteY3" fmla="*/ 7473 h 302308"/>
                <a:gd name="connsiteX4" fmla="*/ 366912 w 414656"/>
                <a:gd name="connsiteY4" fmla="*/ 4414 h 302308"/>
                <a:gd name="connsiteX5" fmla="*/ 363014 w 414656"/>
                <a:gd name="connsiteY5" fmla="*/ 8953 h 302308"/>
                <a:gd name="connsiteX6" fmla="*/ 363014 w 414656"/>
                <a:gd name="connsiteY6" fmla="*/ 12012 h 302308"/>
                <a:gd name="connsiteX7" fmla="*/ 359067 w 414656"/>
                <a:gd name="connsiteY7" fmla="*/ 13492 h 302308"/>
                <a:gd name="connsiteX8" fmla="*/ 355169 w 414656"/>
                <a:gd name="connsiteY8" fmla="*/ 12012 h 302308"/>
                <a:gd name="connsiteX9" fmla="*/ 349248 w 414656"/>
                <a:gd name="connsiteY9" fmla="*/ 13492 h 302308"/>
                <a:gd name="connsiteX10" fmla="*/ 347274 w 414656"/>
                <a:gd name="connsiteY10" fmla="*/ 16551 h 302308"/>
                <a:gd name="connsiteX11" fmla="*/ 341452 w 414656"/>
                <a:gd name="connsiteY11" fmla="*/ 18032 h 302308"/>
                <a:gd name="connsiteX12" fmla="*/ 335531 w 414656"/>
                <a:gd name="connsiteY12" fmla="*/ 25680 h 302308"/>
                <a:gd name="connsiteX13" fmla="*/ 329611 w 414656"/>
                <a:gd name="connsiteY13" fmla="*/ 27209 h 302308"/>
                <a:gd name="connsiteX14" fmla="*/ 323739 w 414656"/>
                <a:gd name="connsiteY14" fmla="*/ 21091 h 302308"/>
                <a:gd name="connsiteX15" fmla="*/ 313871 w 414656"/>
                <a:gd name="connsiteY15" fmla="*/ 21091 h 302308"/>
                <a:gd name="connsiteX16" fmla="*/ 300154 w 414656"/>
                <a:gd name="connsiteY16" fmla="*/ 16551 h 302308"/>
                <a:gd name="connsiteX17" fmla="*/ 286389 w 414656"/>
                <a:gd name="connsiteY17" fmla="*/ 15022 h 302308"/>
                <a:gd name="connsiteX18" fmla="*/ 278543 w 414656"/>
                <a:gd name="connsiteY18" fmla="*/ 18032 h 302308"/>
                <a:gd name="connsiteX19" fmla="*/ 258807 w 414656"/>
                <a:gd name="connsiteY19" fmla="*/ 16551 h 302308"/>
                <a:gd name="connsiteX20" fmla="*/ 250962 w 414656"/>
                <a:gd name="connsiteY20" fmla="*/ 18032 h 302308"/>
                <a:gd name="connsiteX21" fmla="*/ 243117 w 414656"/>
                <a:gd name="connsiteY21" fmla="*/ 30219 h 302308"/>
                <a:gd name="connsiteX22" fmla="*/ 231325 w 414656"/>
                <a:gd name="connsiteY22" fmla="*/ 34758 h 302308"/>
                <a:gd name="connsiteX23" fmla="*/ 225453 w 414656"/>
                <a:gd name="connsiteY23" fmla="*/ 33228 h 302308"/>
                <a:gd name="connsiteX24" fmla="*/ 211687 w 414656"/>
                <a:gd name="connsiteY24" fmla="*/ 30219 h 302308"/>
                <a:gd name="connsiteX25" fmla="*/ 205815 w 414656"/>
                <a:gd name="connsiteY25" fmla="*/ 28689 h 302308"/>
                <a:gd name="connsiteX26" fmla="*/ 192050 w 414656"/>
                <a:gd name="connsiteY26" fmla="*/ 22620 h 302308"/>
                <a:gd name="connsiteX27" fmla="*/ 186178 w 414656"/>
                <a:gd name="connsiteY27" fmla="*/ 19561 h 302308"/>
                <a:gd name="connsiteX28" fmla="*/ 186178 w 414656"/>
                <a:gd name="connsiteY28" fmla="*/ 18180 h 302308"/>
                <a:gd name="connsiteX29" fmla="*/ 180307 w 414656"/>
                <a:gd name="connsiteY29" fmla="*/ 13640 h 302308"/>
                <a:gd name="connsiteX30" fmla="*/ 174386 w 414656"/>
                <a:gd name="connsiteY30" fmla="*/ 13640 h 302308"/>
                <a:gd name="connsiteX31" fmla="*/ 172412 w 414656"/>
                <a:gd name="connsiteY31" fmla="*/ 15170 h 302308"/>
                <a:gd name="connsiteX32" fmla="*/ 160669 w 414656"/>
                <a:gd name="connsiteY32" fmla="*/ 16700 h 302308"/>
                <a:gd name="connsiteX33" fmla="*/ 156722 w 414656"/>
                <a:gd name="connsiteY33" fmla="*/ 18180 h 302308"/>
                <a:gd name="connsiteX34" fmla="*/ 150850 w 414656"/>
                <a:gd name="connsiteY34" fmla="*/ 18180 h 302308"/>
                <a:gd name="connsiteX35" fmla="*/ 146903 w 414656"/>
                <a:gd name="connsiteY35" fmla="*/ 22768 h 302308"/>
                <a:gd name="connsiteX36" fmla="*/ 142956 w 414656"/>
                <a:gd name="connsiteY36" fmla="*/ 25827 h 302308"/>
                <a:gd name="connsiteX37" fmla="*/ 137085 w 414656"/>
                <a:gd name="connsiteY37" fmla="*/ 19709 h 302308"/>
                <a:gd name="connsiteX38" fmla="*/ 127216 w 414656"/>
                <a:gd name="connsiteY38" fmla="*/ 10630 h 302308"/>
                <a:gd name="connsiteX39" fmla="*/ 125243 w 414656"/>
                <a:gd name="connsiteY39" fmla="*/ 7621 h 302308"/>
                <a:gd name="connsiteX40" fmla="*/ 113450 w 414656"/>
                <a:gd name="connsiteY40" fmla="*/ 4562 h 302308"/>
                <a:gd name="connsiteX41" fmla="*/ 109552 w 414656"/>
                <a:gd name="connsiteY41" fmla="*/ 3032 h 302308"/>
                <a:gd name="connsiteX42" fmla="*/ 105655 w 414656"/>
                <a:gd name="connsiteY42" fmla="*/ 1503 h 302308"/>
                <a:gd name="connsiteX43" fmla="*/ 93862 w 414656"/>
                <a:gd name="connsiteY43" fmla="*/ -27 h 302308"/>
                <a:gd name="connsiteX44" fmla="*/ 83994 w 414656"/>
                <a:gd name="connsiteY44" fmla="*/ -27 h 302308"/>
                <a:gd name="connsiteX45" fmla="*/ 82021 w 414656"/>
                <a:gd name="connsiteY45" fmla="*/ 1503 h 302308"/>
                <a:gd name="connsiteX46" fmla="*/ 60409 w 414656"/>
                <a:gd name="connsiteY46" fmla="*/ 1503 h 302308"/>
                <a:gd name="connsiteX47" fmla="*/ 54538 w 414656"/>
                <a:gd name="connsiteY47" fmla="*/ 3032 h 302308"/>
                <a:gd name="connsiteX48" fmla="*/ 50591 w 414656"/>
                <a:gd name="connsiteY48" fmla="*/ 4562 h 302308"/>
                <a:gd name="connsiteX49" fmla="*/ 46693 w 414656"/>
                <a:gd name="connsiteY49" fmla="*/ 6091 h 302308"/>
                <a:gd name="connsiteX50" fmla="*/ 38798 w 414656"/>
                <a:gd name="connsiteY50" fmla="*/ 10630 h 302308"/>
                <a:gd name="connsiteX51" fmla="*/ 38798 w 414656"/>
                <a:gd name="connsiteY51" fmla="*/ 13640 h 302308"/>
                <a:gd name="connsiteX52" fmla="*/ 40821 w 414656"/>
                <a:gd name="connsiteY52" fmla="*/ 16700 h 302308"/>
                <a:gd name="connsiteX53" fmla="*/ 38798 w 414656"/>
                <a:gd name="connsiteY53" fmla="*/ 18180 h 302308"/>
                <a:gd name="connsiteX54" fmla="*/ 38798 w 414656"/>
                <a:gd name="connsiteY54" fmla="*/ 27357 h 302308"/>
                <a:gd name="connsiteX55" fmla="*/ 42746 w 414656"/>
                <a:gd name="connsiteY55" fmla="*/ 28837 h 302308"/>
                <a:gd name="connsiteX56" fmla="*/ 42746 w 414656"/>
                <a:gd name="connsiteY56" fmla="*/ 33377 h 302308"/>
                <a:gd name="connsiteX57" fmla="*/ 36874 w 414656"/>
                <a:gd name="connsiteY57" fmla="*/ 33377 h 302308"/>
                <a:gd name="connsiteX58" fmla="*/ 27006 w 414656"/>
                <a:gd name="connsiteY58" fmla="*/ 39445 h 302308"/>
                <a:gd name="connsiteX59" fmla="*/ 28980 w 414656"/>
                <a:gd name="connsiteY59" fmla="*/ 42504 h 302308"/>
                <a:gd name="connsiteX60" fmla="*/ 27006 w 414656"/>
                <a:gd name="connsiteY60" fmla="*/ 45564 h 302308"/>
                <a:gd name="connsiteX61" fmla="*/ 32927 w 414656"/>
                <a:gd name="connsiteY61" fmla="*/ 56172 h 302308"/>
                <a:gd name="connsiteX62" fmla="*/ 36874 w 414656"/>
                <a:gd name="connsiteY62" fmla="*/ 56172 h 302308"/>
                <a:gd name="connsiteX63" fmla="*/ 36874 w 414656"/>
                <a:gd name="connsiteY63" fmla="*/ 59231 h 302308"/>
                <a:gd name="connsiteX64" fmla="*/ 28980 w 414656"/>
                <a:gd name="connsiteY64" fmla="*/ 63820 h 302308"/>
                <a:gd name="connsiteX65" fmla="*/ 27006 w 414656"/>
                <a:gd name="connsiteY65" fmla="*/ 69839 h 302308"/>
                <a:gd name="connsiteX66" fmla="*/ 28980 w 414656"/>
                <a:gd name="connsiteY66" fmla="*/ 74378 h 302308"/>
                <a:gd name="connsiteX67" fmla="*/ 38848 w 414656"/>
                <a:gd name="connsiteY67" fmla="*/ 82026 h 302308"/>
                <a:gd name="connsiteX68" fmla="*/ 40871 w 414656"/>
                <a:gd name="connsiteY68" fmla="*/ 88095 h 302308"/>
                <a:gd name="connsiteX69" fmla="*/ 42795 w 414656"/>
                <a:gd name="connsiteY69" fmla="*/ 98753 h 302308"/>
                <a:gd name="connsiteX70" fmla="*/ 42795 w 414656"/>
                <a:gd name="connsiteY70" fmla="*/ 104821 h 302308"/>
                <a:gd name="connsiteX71" fmla="*/ 35197 w 414656"/>
                <a:gd name="connsiteY71" fmla="*/ 104821 h 302308"/>
                <a:gd name="connsiteX72" fmla="*/ 33223 w 414656"/>
                <a:gd name="connsiteY72" fmla="*/ 107831 h 302308"/>
                <a:gd name="connsiteX73" fmla="*/ 29276 w 414656"/>
                <a:gd name="connsiteY73" fmla="*/ 110841 h 302308"/>
                <a:gd name="connsiteX74" fmla="*/ 39144 w 414656"/>
                <a:gd name="connsiteY74" fmla="*/ 116959 h 302308"/>
                <a:gd name="connsiteX75" fmla="*/ 37220 w 414656"/>
                <a:gd name="connsiteY75" fmla="*/ 120018 h 302308"/>
                <a:gd name="connsiteX76" fmla="*/ 33272 w 414656"/>
                <a:gd name="connsiteY76" fmla="*/ 120018 h 302308"/>
                <a:gd name="connsiteX77" fmla="*/ 25427 w 414656"/>
                <a:gd name="connsiteY77" fmla="*/ 123028 h 302308"/>
                <a:gd name="connsiteX78" fmla="*/ 23454 w 414656"/>
                <a:gd name="connsiteY78" fmla="*/ 127567 h 302308"/>
                <a:gd name="connsiteX79" fmla="*/ 19556 w 414656"/>
                <a:gd name="connsiteY79" fmla="*/ 136695 h 302308"/>
                <a:gd name="connsiteX80" fmla="*/ 15609 w 414656"/>
                <a:gd name="connsiteY80" fmla="*/ 141235 h 302308"/>
                <a:gd name="connsiteX81" fmla="*/ 13635 w 414656"/>
                <a:gd name="connsiteY81" fmla="*/ 144294 h 302308"/>
                <a:gd name="connsiteX82" fmla="*/ 9737 w 414656"/>
                <a:gd name="connsiteY82" fmla="*/ 144294 h 302308"/>
                <a:gd name="connsiteX83" fmla="*/ 3816 w 414656"/>
                <a:gd name="connsiteY83" fmla="*/ 145823 h 302308"/>
                <a:gd name="connsiteX84" fmla="*/ 1892 w 414656"/>
                <a:gd name="connsiteY84" fmla="*/ 150362 h 302308"/>
                <a:gd name="connsiteX85" fmla="*/ 1892 w 414656"/>
                <a:gd name="connsiteY85" fmla="*/ 161020 h 302308"/>
                <a:gd name="connsiteX86" fmla="*/ -82 w 414656"/>
                <a:gd name="connsiteY86" fmla="*/ 167039 h 302308"/>
                <a:gd name="connsiteX87" fmla="*/ 1892 w 414656"/>
                <a:gd name="connsiteY87" fmla="*/ 168618 h 302308"/>
                <a:gd name="connsiteX88" fmla="*/ 1892 w 414656"/>
                <a:gd name="connsiteY88" fmla="*/ 188355 h 302308"/>
                <a:gd name="connsiteX89" fmla="*/ 3816 w 414656"/>
                <a:gd name="connsiteY89" fmla="*/ 200492 h 302308"/>
                <a:gd name="connsiteX90" fmla="*/ 1892 w 414656"/>
                <a:gd name="connsiteY90" fmla="*/ 203502 h 302308"/>
                <a:gd name="connsiteX91" fmla="*/ 3816 w 414656"/>
                <a:gd name="connsiteY91" fmla="*/ 211150 h 302308"/>
                <a:gd name="connsiteX92" fmla="*/ 1892 w 414656"/>
                <a:gd name="connsiteY92" fmla="*/ 224817 h 302308"/>
                <a:gd name="connsiteX93" fmla="*/ 3816 w 414656"/>
                <a:gd name="connsiteY93" fmla="*/ 230886 h 302308"/>
                <a:gd name="connsiteX94" fmla="*/ 17533 w 414656"/>
                <a:gd name="connsiteY94" fmla="*/ 233896 h 302308"/>
                <a:gd name="connsiteX95" fmla="*/ 27401 w 414656"/>
                <a:gd name="connsiteY95" fmla="*/ 229356 h 302308"/>
                <a:gd name="connsiteX96" fmla="*/ 54933 w 414656"/>
                <a:gd name="connsiteY96" fmla="*/ 243024 h 302308"/>
                <a:gd name="connsiteX97" fmla="*/ 70623 w 414656"/>
                <a:gd name="connsiteY97" fmla="*/ 253632 h 302308"/>
                <a:gd name="connsiteX98" fmla="*/ 78468 w 414656"/>
                <a:gd name="connsiteY98" fmla="*/ 270358 h 302308"/>
                <a:gd name="connsiteX99" fmla="*/ 78468 w 414656"/>
                <a:gd name="connsiteY99" fmla="*/ 279486 h 302308"/>
                <a:gd name="connsiteX100" fmla="*/ 82415 w 414656"/>
                <a:gd name="connsiteY100" fmla="*/ 281016 h 302308"/>
                <a:gd name="connsiteX101" fmla="*/ 86363 w 414656"/>
                <a:gd name="connsiteY101" fmla="*/ 293153 h 302308"/>
                <a:gd name="connsiteX102" fmla="*/ 96231 w 414656"/>
                <a:gd name="connsiteY102" fmla="*/ 299272 h 302308"/>
                <a:gd name="connsiteX103" fmla="*/ 109947 w 414656"/>
                <a:gd name="connsiteY103" fmla="*/ 302282 h 302308"/>
                <a:gd name="connsiteX104" fmla="*/ 145275 w 414656"/>
                <a:gd name="connsiteY104" fmla="*/ 300752 h 302308"/>
                <a:gd name="connsiteX105" fmla="*/ 151196 w 414656"/>
                <a:gd name="connsiteY105" fmla="*/ 297742 h 302308"/>
                <a:gd name="connsiteX106" fmla="*/ 157067 w 414656"/>
                <a:gd name="connsiteY106" fmla="*/ 299272 h 302308"/>
                <a:gd name="connsiteX107" fmla="*/ 174731 w 414656"/>
                <a:gd name="connsiteY107" fmla="*/ 294683 h 302308"/>
                <a:gd name="connsiteX108" fmla="*/ 178629 w 414656"/>
                <a:gd name="connsiteY108" fmla="*/ 296212 h 302308"/>
                <a:gd name="connsiteX109" fmla="*/ 188497 w 414656"/>
                <a:gd name="connsiteY109" fmla="*/ 294683 h 302308"/>
                <a:gd name="connsiteX110" fmla="*/ 192444 w 414656"/>
                <a:gd name="connsiteY110" fmla="*/ 285555 h 302308"/>
                <a:gd name="connsiteX111" fmla="*/ 198316 w 414656"/>
                <a:gd name="connsiteY111" fmla="*/ 291624 h 302308"/>
                <a:gd name="connsiteX112" fmla="*/ 200289 w 414656"/>
                <a:gd name="connsiteY112" fmla="*/ 290094 h 302308"/>
                <a:gd name="connsiteX113" fmla="*/ 200289 w 414656"/>
                <a:gd name="connsiteY113" fmla="*/ 290094 h 302308"/>
                <a:gd name="connsiteX114" fmla="*/ 200289 w 414656"/>
                <a:gd name="connsiteY114" fmla="*/ 285555 h 302308"/>
                <a:gd name="connsiteX115" fmla="*/ 212082 w 414656"/>
                <a:gd name="connsiteY115" fmla="*/ 276427 h 302308"/>
                <a:gd name="connsiteX116" fmla="*/ 216029 w 414656"/>
                <a:gd name="connsiteY116" fmla="*/ 268878 h 302308"/>
                <a:gd name="connsiteX117" fmla="*/ 214055 w 414656"/>
                <a:gd name="connsiteY117" fmla="*/ 262809 h 302308"/>
                <a:gd name="connsiteX118" fmla="*/ 214055 w 414656"/>
                <a:gd name="connsiteY118" fmla="*/ 255013 h 302308"/>
                <a:gd name="connsiteX119" fmla="*/ 217953 w 414656"/>
                <a:gd name="connsiteY119" fmla="*/ 252004 h 302308"/>
                <a:gd name="connsiteX120" fmla="*/ 217953 w 414656"/>
                <a:gd name="connsiteY120" fmla="*/ 248945 h 302308"/>
                <a:gd name="connsiteX121" fmla="*/ 223874 w 414656"/>
                <a:gd name="connsiteY121" fmla="*/ 244405 h 302308"/>
                <a:gd name="connsiteX122" fmla="*/ 229746 w 414656"/>
                <a:gd name="connsiteY122" fmla="*/ 239816 h 302308"/>
                <a:gd name="connsiteX123" fmla="*/ 231719 w 414656"/>
                <a:gd name="connsiteY123" fmla="*/ 236807 h 302308"/>
                <a:gd name="connsiteX124" fmla="*/ 243511 w 414656"/>
                <a:gd name="connsiteY124" fmla="*/ 229208 h 302308"/>
                <a:gd name="connsiteX125" fmla="*/ 243511 w 414656"/>
                <a:gd name="connsiteY125" fmla="*/ 223139 h 302308"/>
                <a:gd name="connsiteX126" fmla="*/ 245485 w 414656"/>
                <a:gd name="connsiteY126" fmla="*/ 220080 h 302308"/>
                <a:gd name="connsiteX127" fmla="*/ 251357 w 414656"/>
                <a:gd name="connsiteY127" fmla="*/ 220080 h 302308"/>
                <a:gd name="connsiteX128" fmla="*/ 255304 w 414656"/>
                <a:gd name="connsiteY128" fmla="*/ 217071 h 302308"/>
                <a:gd name="connsiteX129" fmla="*/ 257228 w 414656"/>
                <a:gd name="connsiteY129" fmla="*/ 218551 h 302308"/>
                <a:gd name="connsiteX130" fmla="*/ 267096 w 414656"/>
                <a:gd name="connsiteY130" fmla="*/ 220080 h 302308"/>
                <a:gd name="connsiteX131" fmla="*/ 269021 w 414656"/>
                <a:gd name="connsiteY131" fmla="*/ 220080 h 302308"/>
                <a:gd name="connsiteX132" fmla="*/ 278889 w 414656"/>
                <a:gd name="connsiteY132" fmla="*/ 223139 h 302308"/>
                <a:gd name="connsiteX133" fmla="*/ 282787 w 414656"/>
                <a:gd name="connsiteY133" fmla="*/ 229208 h 302308"/>
                <a:gd name="connsiteX134" fmla="*/ 288707 w 414656"/>
                <a:gd name="connsiteY134" fmla="*/ 232268 h 302308"/>
                <a:gd name="connsiteX135" fmla="*/ 292605 w 414656"/>
                <a:gd name="connsiteY135" fmla="*/ 233748 h 302308"/>
                <a:gd name="connsiteX136" fmla="*/ 298526 w 414656"/>
                <a:gd name="connsiteY136" fmla="*/ 230738 h 302308"/>
                <a:gd name="connsiteX137" fmla="*/ 306371 w 414656"/>
                <a:gd name="connsiteY137" fmla="*/ 223139 h 302308"/>
                <a:gd name="connsiteX138" fmla="*/ 306371 w 414656"/>
                <a:gd name="connsiteY138" fmla="*/ 221610 h 302308"/>
                <a:gd name="connsiteX139" fmla="*/ 308345 w 414656"/>
                <a:gd name="connsiteY139" fmla="*/ 218551 h 302308"/>
                <a:gd name="connsiteX140" fmla="*/ 314217 w 414656"/>
                <a:gd name="connsiteY140" fmla="*/ 217071 h 302308"/>
                <a:gd name="connsiteX141" fmla="*/ 318114 w 414656"/>
                <a:gd name="connsiteY141" fmla="*/ 211002 h 302308"/>
                <a:gd name="connsiteX142" fmla="*/ 316190 w 414656"/>
                <a:gd name="connsiteY142" fmla="*/ 204884 h 302308"/>
                <a:gd name="connsiteX143" fmla="*/ 320137 w 414656"/>
                <a:gd name="connsiteY143" fmla="*/ 198815 h 302308"/>
                <a:gd name="connsiteX144" fmla="*/ 330005 w 414656"/>
                <a:gd name="connsiteY144" fmla="*/ 189736 h 302308"/>
                <a:gd name="connsiteX145" fmla="*/ 332028 w 414656"/>
                <a:gd name="connsiteY145" fmla="*/ 185148 h 302308"/>
                <a:gd name="connsiteX146" fmla="*/ 330005 w 414656"/>
                <a:gd name="connsiteY146" fmla="*/ 179079 h 302308"/>
                <a:gd name="connsiteX147" fmla="*/ 333953 w 414656"/>
                <a:gd name="connsiteY147" fmla="*/ 174539 h 302308"/>
                <a:gd name="connsiteX148" fmla="*/ 343821 w 414656"/>
                <a:gd name="connsiteY148" fmla="*/ 166892 h 302308"/>
                <a:gd name="connsiteX149" fmla="*/ 351666 w 414656"/>
                <a:gd name="connsiteY149" fmla="*/ 162352 h 302308"/>
                <a:gd name="connsiteX150" fmla="*/ 351666 w 414656"/>
                <a:gd name="connsiteY150" fmla="*/ 154803 h 302308"/>
                <a:gd name="connsiteX151" fmla="*/ 353639 w 414656"/>
                <a:gd name="connsiteY151" fmla="*/ 150215 h 302308"/>
                <a:gd name="connsiteX152" fmla="*/ 353639 w 414656"/>
                <a:gd name="connsiteY152" fmla="*/ 141086 h 302308"/>
                <a:gd name="connsiteX153" fmla="*/ 357537 w 414656"/>
                <a:gd name="connsiteY153" fmla="*/ 138077 h 302308"/>
                <a:gd name="connsiteX154" fmla="*/ 367405 w 414656"/>
                <a:gd name="connsiteY154" fmla="*/ 135067 h 302308"/>
                <a:gd name="connsiteX155" fmla="*/ 375300 w 414656"/>
                <a:gd name="connsiteY155" fmla="*/ 127419 h 302308"/>
                <a:gd name="connsiteX156" fmla="*/ 375300 w 414656"/>
                <a:gd name="connsiteY156" fmla="*/ 109213 h 302308"/>
                <a:gd name="connsiteX157" fmla="*/ 379197 w 414656"/>
                <a:gd name="connsiteY157" fmla="*/ 101614 h 302308"/>
                <a:gd name="connsiteX158" fmla="*/ 385119 w 414656"/>
                <a:gd name="connsiteY158" fmla="*/ 92486 h 302308"/>
                <a:gd name="connsiteX159" fmla="*/ 389016 w 414656"/>
                <a:gd name="connsiteY159" fmla="*/ 89477 h 302308"/>
                <a:gd name="connsiteX160" fmla="*/ 389016 w 414656"/>
                <a:gd name="connsiteY160" fmla="*/ 86417 h 302308"/>
                <a:gd name="connsiteX161" fmla="*/ 394937 w 414656"/>
                <a:gd name="connsiteY161" fmla="*/ 81878 h 302308"/>
                <a:gd name="connsiteX162" fmla="*/ 398835 w 414656"/>
                <a:gd name="connsiteY162" fmla="*/ 83407 h 302308"/>
                <a:gd name="connsiteX163" fmla="*/ 404707 w 414656"/>
                <a:gd name="connsiteY163" fmla="*/ 78819 h 302308"/>
                <a:gd name="connsiteX164" fmla="*/ 414575 w 414656"/>
                <a:gd name="connsiteY164" fmla="*/ 74230 h 302308"/>
                <a:gd name="connsiteX165" fmla="*/ 414575 w 414656"/>
                <a:gd name="connsiteY165" fmla="*/ 69691 h 302308"/>
                <a:gd name="connsiteX166" fmla="*/ 412601 w 414656"/>
                <a:gd name="connsiteY166" fmla="*/ 62142 h 302308"/>
                <a:gd name="connsiteX167" fmla="*/ 412601 w 414656"/>
                <a:gd name="connsiteY167" fmla="*/ 59083 h 302308"/>
                <a:gd name="connsiteX168" fmla="*/ 406779 w 414656"/>
                <a:gd name="connsiteY168" fmla="*/ 54494 h 302308"/>
                <a:gd name="connsiteX169" fmla="*/ 400858 w 414656"/>
                <a:gd name="connsiteY169" fmla="*/ 53014 h 302308"/>
                <a:gd name="connsiteX170" fmla="*/ 398884 w 414656"/>
                <a:gd name="connsiteY170" fmla="*/ 46945 h 302308"/>
                <a:gd name="connsiteX171" fmla="*/ 398884 w 414656"/>
                <a:gd name="connsiteY171" fmla="*/ 33228 h 302308"/>
                <a:gd name="connsiteX172" fmla="*/ 394987 w 414656"/>
                <a:gd name="connsiteY172" fmla="*/ 25680 h 30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414656" h="302308">
                  <a:moveTo>
                    <a:pt x="394444" y="25680"/>
                  </a:moveTo>
                  <a:lnTo>
                    <a:pt x="394444" y="25680"/>
                  </a:lnTo>
                  <a:lnTo>
                    <a:pt x="388523" y="16551"/>
                  </a:lnTo>
                  <a:lnTo>
                    <a:pt x="380678" y="7473"/>
                  </a:lnTo>
                  <a:lnTo>
                    <a:pt x="366912" y="4414"/>
                  </a:lnTo>
                  <a:lnTo>
                    <a:pt x="363014" y="8953"/>
                  </a:lnTo>
                  <a:lnTo>
                    <a:pt x="363014" y="12012"/>
                  </a:lnTo>
                  <a:lnTo>
                    <a:pt x="359067" y="13492"/>
                  </a:lnTo>
                  <a:lnTo>
                    <a:pt x="355169" y="12012"/>
                  </a:lnTo>
                  <a:lnTo>
                    <a:pt x="349248" y="13492"/>
                  </a:lnTo>
                  <a:lnTo>
                    <a:pt x="347274" y="16551"/>
                  </a:lnTo>
                  <a:lnTo>
                    <a:pt x="341452" y="18032"/>
                  </a:lnTo>
                  <a:lnTo>
                    <a:pt x="335531" y="25680"/>
                  </a:lnTo>
                  <a:lnTo>
                    <a:pt x="329611" y="27209"/>
                  </a:lnTo>
                  <a:lnTo>
                    <a:pt x="323739" y="21091"/>
                  </a:lnTo>
                  <a:lnTo>
                    <a:pt x="313871" y="21091"/>
                  </a:lnTo>
                  <a:lnTo>
                    <a:pt x="300154" y="16551"/>
                  </a:lnTo>
                  <a:lnTo>
                    <a:pt x="286389" y="15022"/>
                  </a:lnTo>
                  <a:lnTo>
                    <a:pt x="278543" y="18032"/>
                  </a:lnTo>
                  <a:lnTo>
                    <a:pt x="258807" y="16551"/>
                  </a:lnTo>
                  <a:lnTo>
                    <a:pt x="250962" y="18032"/>
                  </a:lnTo>
                  <a:lnTo>
                    <a:pt x="243117" y="30219"/>
                  </a:lnTo>
                  <a:lnTo>
                    <a:pt x="231325" y="34758"/>
                  </a:lnTo>
                  <a:lnTo>
                    <a:pt x="225453" y="33228"/>
                  </a:lnTo>
                  <a:lnTo>
                    <a:pt x="211687" y="30219"/>
                  </a:lnTo>
                  <a:lnTo>
                    <a:pt x="205815" y="28689"/>
                  </a:lnTo>
                  <a:lnTo>
                    <a:pt x="192050" y="22620"/>
                  </a:lnTo>
                  <a:lnTo>
                    <a:pt x="186178" y="19561"/>
                  </a:lnTo>
                  <a:lnTo>
                    <a:pt x="186178" y="18180"/>
                  </a:lnTo>
                  <a:lnTo>
                    <a:pt x="180307" y="13640"/>
                  </a:lnTo>
                  <a:lnTo>
                    <a:pt x="174386" y="13640"/>
                  </a:lnTo>
                  <a:lnTo>
                    <a:pt x="172412" y="15170"/>
                  </a:lnTo>
                  <a:lnTo>
                    <a:pt x="160669" y="16700"/>
                  </a:lnTo>
                  <a:lnTo>
                    <a:pt x="156722" y="18180"/>
                  </a:lnTo>
                  <a:lnTo>
                    <a:pt x="150850" y="18180"/>
                  </a:lnTo>
                  <a:lnTo>
                    <a:pt x="146903" y="22768"/>
                  </a:lnTo>
                  <a:lnTo>
                    <a:pt x="142956" y="25827"/>
                  </a:lnTo>
                  <a:lnTo>
                    <a:pt x="137085" y="19709"/>
                  </a:lnTo>
                  <a:lnTo>
                    <a:pt x="127216" y="10630"/>
                  </a:lnTo>
                  <a:lnTo>
                    <a:pt x="125243" y="7621"/>
                  </a:lnTo>
                  <a:lnTo>
                    <a:pt x="113450" y="4562"/>
                  </a:lnTo>
                  <a:lnTo>
                    <a:pt x="109552" y="3032"/>
                  </a:lnTo>
                  <a:lnTo>
                    <a:pt x="105655" y="1503"/>
                  </a:lnTo>
                  <a:lnTo>
                    <a:pt x="93862" y="-27"/>
                  </a:lnTo>
                  <a:lnTo>
                    <a:pt x="83994" y="-27"/>
                  </a:lnTo>
                  <a:lnTo>
                    <a:pt x="82021" y="1503"/>
                  </a:lnTo>
                  <a:lnTo>
                    <a:pt x="60409" y="1503"/>
                  </a:lnTo>
                  <a:lnTo>
                    <a:pt x="54538" y="3032"/>
                  </a:lnTo>
                  <a:lnTo>
                    <a:pt x="50591" y="4562"/>
                  </a:lnTo>
                  <a:lnTo>
                    <a:pt x="46693" y="6091"/>
                  </a:lnTo>
                  <a:lnTo>
                    <a:pt x="38798" y="10630"/>
                  </a:lnTo>
                  <a:lnTo>
                    <a:pt x="38798" y="13640"/>
                  </a:lnTo>
                  <a:lnTo>
                    <a:pt x="40821" y="16700"/>
                  </a:lnTo>
                  <a:lnTo>
                    <a:pt x="38798" y="18180"/>
                  </a:lnTo>
                  <a:lnTo>
                    <a:pt x="38798" y="27357"/>
                  </a:lnTo>
                  <a:lnTo>
                    <a:pt x="42746" y="28837"/>
                  </a:lnTo>
                  <a:lnTo>
                    <a:pt x="42746" y="33377"/>
                  </a:lnTo>
                  <a:lnTo>
                    <a:pt x="36874" y="33377"/>
                  </a:lnTo>
                  <a:lnTo>
                    <a:pt x="27006" y="39445"/>
                  </a:lnTo>
                  <a:lnTo>
                    <a:pt x="28980" y="42504"/>
                  </a:lnTo>
                  <a:lnTo>
                    <a:pt x="27006" y="45564"/>
                  </a:lnTo>
                  <a:lnTo>
                    <a:pt x="32927" y="56172"/>
                  </a:lnTo>
                  <a:lnTo>
                    <a:pt x="36874" y="56172"/>
                  </a:lnTo>
                  <a:lnTo>
                    <a:pt x="36874" y="59231"/>
                  </a:lnTo>
                  <a:lnTo>
                    <a:pt x="28980" y="63820"/>
                  </a:lnTo>
                  <a:lnTo>
                    <a:pt x="27006" y="69839"/>
                  </a:lnTo>
                  <a:lnTo>
                    <a:pt x="28980" y="74378"/>
                  </a:lnTo>
                  <a:lnTo>
                    <a:pt x="38848" y="82026"/>
                  </a:lnTo>
                  <a:lnTo>
                    <a:pt x="40871" y="88095"/>
                  </a:lnTo>
                  <a:lnTo>
                    <a:pt x="42795" y="98753"/>
                  </a:lnTo>
                  <a:lnTo>
                    <a:pt x="42795" y="104821"/>
                  </a:lnTo>
                  <a:lnTo>
                    <a:pt x="35197" y="104821"/>
                  </a:lnTo>
                  <a:lnTo>
                    <a:pt x="33223" y="107831"/>
                  </a:lnTo>
                  <a:lnTo>
                    <a:pt x="29276" y="110841"/>
                  </a:lnTo>
                  <a:lnTo>
                    <a:pt x="39144" y="116959"/>
                  </a:lnTo>
                  <a:lnTo>
                    <a:pt x="37220" y="120018"/>
                  </a:lnTo>
                  <a:lnTo>
                    <a:pt x="33272" y="120018"/>
                  </a:lnTo>
                  <a:lnTo>
                    <a:pt x="25427" y="123028"/>
                  </a:lnTo>
                  <a:lnTo>
                    <a:pt x="23454" y="127567"/>
                  </a:lnTo>
                  <a:lnTo>
                    <a:pt x="19556" y="136695"/>
                  </a:lnTo>
                  <a:lnTo>
                    <a:pt x="15609" y="141235"/>
                  </a:lnTo>
                  <a:lnTo>
                    <a:pt x="13635" y="144294"/>
                  </a:lnTo>
                  <a:lnTo>
                    <a:pt x="9737" y="144294"/>
                  </a:lnTo>
                  <a:lnTo>
                    <a:pt x="3816" y="145823"/>
                  </a:lnTo>
                  <a:lnTo>
                    <a:pt x="1892" y="150362"/>
                  </a:lnTo>
                  <a:lnTo>
                    <a:pt x="1892" y="161020"/>
                  </a:lnTo>
                  <a:lnTo>
                    <a:pt x="-82" y="167039"/>
                  </a:lnTo>
                  <a:lnTo>
                    <a:pt x="1892" y="168618"/>
                  </a:lnTo>
                  <a:lnTo>
                    <a:pt x="1892" y="188355"/>
                  </a:lnTo>
                  <a:lnTo>
                    <a:pt x="3816" y="200492"/>
                  </a:lnTo>
                  <a:lnTo>
                    <a:pt x="1892" y="203502"/>
                  </a:lnTo>
                  <a:lnTo>
                    <a:pt x="3816" y="211150"/>
                  </a:lnTo>
                  <a:lnTo>
                    <a:pt x="1892" y="224817"/>
                  </a:lnTo>
                  <a:lnTo>
                    <a:pt x="3816" y="230886"/>
                  </a:lnTo>
                  <a:lnTo>
                    <a:pt x="17533" y="233896"/>
                  </a:lnTo>
                  <a:lnTo>
                    <a:pt x="27401" y="229356"/>
                  </a:lnTo>
                  <a:lnTo>
                    <a:pt x="54933" y="243024"/>
                  </a:lnTo>
                  <a:lnTo>
                    <a:pt x="70623" y="253632"/>
                  </a:lnTo>
                  <a:lnTo>
                    <a:pt x="78468" y="270358"/>
                  </a:lnTo>
                  <a:lnTo>
                    <a:pt x="78468" y="279486"/>
                  </a:lnTo>
                  <a:lnTo>
                    <a:pt x="82415" y="281016"/>
                  </a:lnTo>
                  <a:lnTo>
                    <a:pt x="86363" y="293153"/>
                  </a:lnTo>
                  <a:lnTo>
                    <a:pt x="96231" y="299272"/>
                  </a:lnTo>
                  <a:lnTo>
                    <a:pt x="109947" y="302282"/>
                  </a:lnTo>
                  <a:lnTo>
                    <a:pt x="145275" y="300752"/>
                  </a:lnTo>
                  <a:lnTo>
                    <a:pt x="151196" y="297742"/>
                  </a:lnTo>
                  <a:lnTo>
                    <a:pt x="157067" y="299272"/>
                  </a:lnTo>
                  <a:lnTo>
                    <a:pt x="174731" y="294683"/>
                  </a:lnTo>
                  <a:lnTo>
                    <a:pt x="178629" y="296212"/>
                  </a:lnTo>
                  <a:lnTo>
                    <a:pt x="188497" y="294683"/>
                  </a:lnTo>
                  <a:lnTo>
                    <a:pt x="192444" y="285555"/>
                  </a:lnTo>
                  <a:lnTo>
                    <a:pt x="198316" y="291624"/>
                  </a:lnTo>
                  <a:lnTo>
                    <a:pt x="200289" y="290094"/>
                  </a:lnTo>
                  <a:lnTo>
                    <a:pt x="200289" y="290094"/>
                  </a:lnTo>
                  <a:lnTo>
                    <a:pt x="200289" y="285555"/>
                  </a:lnTo>
                  <a:lnTo>
                    <a:pt x="212082" y="276427"/>
                  </a:lnTo>
                  <a:lnTo>
                    <a:pt x="216029" y="268878"/>
                  </a:lnTo>
                  <a:lnTo>
                    <a:pt x="214055" y="262809"/>
                  </a:lnTo>
                  <a:lnTo>
                    <a:pt x="214055" y="255013"/>
                  </a:lnTo>
                  <a:lnTo>
                    <a:pt x="217953" y="252004"/>
                  </a:lnTo>
                  <a:lnTo>
                    <a:pt x="217953" y="248945"/>
                  </a:lnTo>
                  <a:lnTo>
                    <a:pt x="223874" y="244405"/>
                  </a:lnTo>
                  <a:lnTo>
                    <a:pt x="229746" y="239816"/>
                  </a:lnTo>
                  <a:lnTo>
                    <a:pt x="231719" y="236807"/>
                  </a:lnTo>
                  <a:lnTo>
                    <a:pt x="243511" y="229208"/>
                  </a:lnTo>
                  <a:lnTo>
                    <a:pt x="243511" y="223139"/>
                  </a:lnTo>
                  <a:lnTo>
                    <a:pt x="245485" y="220080"/>
                  </a:lnTo>
                  <a:lnTo>
                    <a:pt x="251357" y="220080"/>
                  </a:lnTo>
                  <a:lnTo>
                    <a:pt x="255304" y="217071"/>
                  </a:lnTo>
                  <a:lnTo>
                    <a:pt x="257228" y="218551"/>
                  </a:lnTo>
                  <a:lnTo>
                    <a:pt x="267096" y="220080"/>
                  </a:lnTo>
                  <a:lnTo>
                    <a:pt x="269021" y="220080"/>
                  </a:lnTo>
                  <a:lnTo>
                    <a:pt x="278889" y="223139"/>
                  </a:lnTo>
                  <a:lnTo>
                    <a:pt x="282787" y="229208"/>
                  </a:lnTo>
                  <a:lnTo>
                    <a:pt x="288707" y="232268"/>
                  </a:lnTo>
                  <a:lnTo>
                    <a:pt x="292605" y="233748"/>
                  </a:lnTo>
                  <a:lnTo>
                    <a:pt x="298526" y="230738"/>
                  </a:lnTo>
                  <a:lnTo>
                    <a:pt x="306371" y="223139"/>
                  </a:lnTo>
                  <a:lnTo>
                    <a:pt x="306371" y="221610"/>
                  </a:lnTo>
                  <a:lnTo>
                    <a:pt x="308345" y="218551"/>
                  </a:lnTo>
                  <a:lnTo>
                    <a:pt x="314217" y="217071"/>
                  </a:lnTo>
                  <a:lnTo>
                    <a:pt x="318114" y="211002"/>
                  </a:lnTo>
                  <a:lnTo>
                    <a:pt x="316190" y="204884"/>
                  </a:lnTo>
                  <a:lnTo>
                    <a:pt x="320137" y="198815"/>
                  </a:lnTo>
                  <a:lnTo>
                    <a:pt x="330005" y="189736"/>
                  </a:lnTo>
                  <a:lnTo>
                    <a:pt x="332028" y="185148"/>
                  </a:lnTo>
                  <a:lnTo>
                    <a:pt x="330005" y="179079"/>
                  </a:lnTo>
                  <a:lnTo>
                    <a:pt x="333953" y="174539"/>
                  </a:lnTo>
                  <a:lnTo>
                    <a:pt x="343821" y="166892"/>
                  </a:lnTo>
                  <a:lnTo>
                    <a:pt x="351666" y="162352"/>
                  </a:lnTo>
                  <a:lnTo>
                    <a:pt x="351666" y="154803"/>
                  </a:lnTo>
                  <a:lnTo>
                    <a:pt x="353639" y="150215"/>
                  </a:lnTo>
                  <a:lnTo>
                    <a:pt x="353639" y="141086"/>
                  </a:lnTo>
                  <a:lnTo>
                    <a:pt x="357537" y="138077"/>
                  </a:lnTo>
                  <a:lnTo>
                    <a:pt x="367405" y="135067"/>
                  </a:lnTo>
                  <a:lnTo>
                    <a:pt x="375300" y="127419"/>
                  </a:lnTo>
                  <a:lnTo>
                    <a:pt x="375300" y="109213"/>
                  </a:lnTo>
                  <a:lnTo>
                    <a:pt x="379197" y="101614"/>
                  </a:lnTo>
                  <a:lnTo>
                    <a:pt x="385119" y="92486"/>
                  </a:lnTo>
                  <a:lnTo>
                    <a:pt x="389016" y="89477"/>
                  </a:lnTo>
                  <a:lnTo>
                    <a:pt x="389016" y="86417"/>
                  </a:lnTo>
                  <a:lnTo>
                    <a:pt x="394937" y="81878"/>
                  </a:lnTo>
                  <a:lnTo>
                    <a:pt x="398835" y="83407"/>
                  </a:lnTo>
                  <a:lnTo>
                    <a:pt x="404707" y="78819"/>
                  </a:lnTo>
                  <a:lnTo>
                    <a:pt x="414575" y="74230"/>
                  </a:lnTo>
                  <a:lnTo>
                    <a:pt x="414575" y="69691"/>
                  </a:lnTo>
                  <a:lnTo>
                    <a:pt x="412601" y="62142"/>
                  </a:lnTo>
                  <a:lnTo>
                    <a:pt x="412601" y="59083"/>
                  </a:lnTo>
                  <a:lnTo>
                    <a:pt x="406779" y="54494"/>
                  </a:lnTo>
                  <a:lnTo>
                    <a:pt x="400858" y="53014"/>
                  </a:lnTo>
                  <a:lnTo>
                    <a:pt x="398884" y="46945"/>
                  </a:lnTo>
                  <a:lnTo>
                    <a:pt x="398884" y="33228"/>
                  </a:lnTo>
                  <a:lnTo>
                    <a:pt x="394987" y="2568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Graphic 2">
              <a:extLst>
                <a:ext uri="{FF2B5EF4-FFF2-40B4-BE49-F238E27FC236}">
                  <a16:creationId xmlns:a16="http://schemas.microsoft.com/office/drawing/2014/main" id="{2DDD1627-2612-497D-B0F6-6EE38BC6367E}"/>
                </a:ext>
              </a:extLst>
            </p:cNvPr>
            <p:cNvSpPr/>
            <p:nvPr/>
          </p:nvSpPr>
          <p:spPr>
            <a:xfrm>
              <a:off x="5695954" y="4271854"/>
              <a:ext cx="248786" cy="322063"/>
            </a:xfrm>
            <a:custGeom>
              <a:avLst/>
              <a:gdLst>
                <a:gd name="connsiteX0" fmla="*/ -82 w 273838"/>
                <a:gd name="connsiteY0" fmla="*/ 264783 h 354510"/>
                <a:gd name="connsiteX1" fmla="*/ -82 w 273838"/>
                <a:gd name="connsiteY1" fmla="*/ 260243 h 354510"/>
                <a:gd name="connsiteX2" fmla="*/ 11612 w 273838"/>
                <a:gd name="connsiteY2" fmla="*/ 251116 h 354510"/>
                <a:gd name="connsiteX3" fmla="*/ 15509 w 273838"/>
                <a:gd name="connsiteY3" fmla="*/ 243517 h 354510"/>
                <a:gd name="connsiteX4" fmla="*/ 13536 w 273838"/>
                <a:gd name="connsiteY4" fmla="*/ 237448 h 354510"/>
                <a:gd name="connsiteX5" fmla="*/ 13536 w 273838"/>
                <a:gd name="connsiteY5" fmla="*/ 229850 h 354510"/>
                <a:gd name="connsiteX6" fmla="*/ 17434 w 273838"/>
                <a:gd name="connsiteY6" fmla="*/ 226791 h 354510"/>
                <a:gd name="connsiteX7" fmla="*/ 17434 w 273838"/>
                <a:gd name="connsiteY7" fmla="*/ 223731 h 354510"/>
                <a:gd name="connsiteX8" fmla="*/ 23305 w 273838"/>
                <a:gd name="connsiteY8" fmla="*/ 219143 h 354510"/>
                <a:gd name="connsiteX9" fmla="*/ 29127 w 273838"/>
                <a:gd name="connsiteY9" fmla="*/ 214604 h 354510"/>
                <a:gd name="connsiteX10" fmla="*/ 31052 w 273838"/>
                <a:gd name="connsiteY10" fmla="*/ 211545 h 354510"/>
                <a:gd name="connsiteX11" fmla="*/ 42745 w 273838"/>
                <a:gd name="connsiteY11" fmla="*/ 203946 h 354510"/>
                <a:gd name="connsiteX12" fmla="*/ 42745 w 273838"/>
                <a:gd name="connsiteY12" fmla="*/ 197828 h 354510"/>
                <a:gd name="connsiteX13" fmla="*/ 44670 w 273838"/>
                <a:gd name="connsiteY13" fmla="*/ 194818 h 354510"/>
                <a:gd name="connsiteX14" fmla="*/ 50541 w 273838"/>
                <a:gd name="connsiteY14" fmla="*/ 194818 h 354510"/>
                <a:gd name="connsiteX15" fmla="*/ 54389 w 273838"/>
                <a:gd name="connsiteY15" fmla="*/ 191759 h 354510"/>
                <a:gd name="connsiteX16" fmla="*/ 56363 w 273838"/>
                <a:gd name="connsiteY16" fmla="*/ 193289 h 354510"/>
                <a:gd name="connsiteX17" fmla="*/ 66231 w 273838"/>
                <a:gd name="connsiteY17" fmla="*/ 194818 h 354510"/>
                <a:gd name="connsiteX18" fmla="*/ 68156 w 273838"/>
                <a:gd name="connsiteY18" fmla="*/ 194818 h 354510"/>
                <a:gd name="connsiteX19" fmla="*/ 78024 w 273838"/>
                <a:gd name="connsiteY19" fmla="*/ 197828 h 354510"/>
                <a:gd name="connsiteX20" fmla="*/ 81922 w 273838"/>
                <a:gd name="connsiteY20" fmla="*/ 203946 h 354510"/>
                <a:gd name="connsiteX21" fmla="*/ 87744 w 273838"/>
                <a:gd name="connsiteY21" fmla="*/ 207005 h 354510"/>
                <a:gd name="connsiteX22" fmla="*/ 91642 w 273838"/>
                <a:gd name="connsiteY22" fmla="*/ 208535 h 354510"/>
                <a:gd name="connsiteX23" fmla="*/ 97464 w 273838"/>
                <a:gd name="connsiteY23" fmla="*/ 205476 h 354510"/>
                <a:gd name="connsiteX24" fmla="*/ 105260 w 273838"/>
                <a:gd name="connsiteY24" fmla="*/ 197828 h 354510"/>
                <a:gd name="connsiteX25" fmla="*/ 105260 w 273838"/>
                <a:gd name="connsiteY25" fmla="*/ 196348 h 354510"/>
                <a:gd name="connsiteX26" fmla="*/ 107184 w 273838"/>
                <a:gd name="connsiteY26" fmla="*/ 193289 h 354510"/>
                <a:gd name="connsiteX27" fmla="*/ 113006 w 273838"/>
                <a:gd name="connsiteY27" fmla="*/ 191759 h 354510"/>
                <a:gd name="connsiteX28" fmla="*/ 116953 w 273838"/>
                <a:gd name="connsiteY28" fmla="*/ 185690 h 354510"/>
                <a:gd name="connsiteX29" fmla="*/ 114980 w 273838"/>
                <a:gd name="connsiteY29" fmla="*/ 179621 h 354510"/>
                <a:gd name="connsiteX30" fmla="*/ 118878 w 273838"/>
                <a:gd name="connsiteY30" fmla="*/ 173503 h 354510"/>
                <a:gd name="connsiteX31" fmla="*/ 128746 w 273838"/>
                <a:gd name="connsiteY31" fmla="*/ 164375 h 354510"/>
                <a:gd name="connsiteX32" fmla="*/ 130719 w 273838"/>
                <a:gd name="connsiteY32" fmla="*/ 159836 h 354510"/>
                <a:gd name="connsiteX33" fmla="*/ 128746 w 273838"/>
                <a:gd name="connsiteY33" fmla="*/ 153717 h 354510"/>
                <a:gd name="connsiteX34" fmla="*/ 132643 w 273838"/>
                <a:gd name="connsiteY34" fmla="*/ 149178 h 354510"/>
                <a:gd name="connsiteX35" fmla="*/ 142511 w 273838"/>
                <a:gd name="connsiteY35" fmla="*/ 141580 h 354510"/>
                <a:gd name="connsiteX36" fmla="*/ 150307 w 273838"/>
                <a:gd name="connsiteY36" fmla="*/ 137041 h 354510"/>
                <a:gd name="connsiteX37" fmla="*/ 150307 w 273838"/>
                <a:gd name="connsiteY37" fmla="*/ 129393 h 354510"/>
                <a:gd name="connsiteX38" fmla="*/ 152232 w 273838"/>
                <a:gd name="connsiteY38" fmla="*/ 124804 h 354510"/>
                <a:gd name="connsiteX39" fmla="*/ 152232 w 273838"/>
                <a:gd name="connsiteY39" fmla="*/ 115627 h 354510"/>
                <a:gd name="connsiteX40" fmla="*/ 156129 w 273838"/>
                <a:gd name="connsiteY40" fmla="*/ 112568 h 354510"/>
                <a:gd name="connsiteX41" fmla="*/ 165997 w 273838"/>
                <a:gd name="connsiteY41" fmla="*/ 109509 h 354510"/>
                <a:gd name="connsiteX42" fmla="*/ 173793 w 273838"/>
                <a:gd name="connsiteY42" fmla="*/ 101910 h 354510"/>
                <a:gd name="connsiteX43" fmla="*/ 173793 w 273838"/>
                <a:gd name="connsiteY43" fmla="*/ 83605 h 354510"/>
                <a:gd name="connsiteX44" fmla="*/ 177691 w 273838"/>
                <a:gd name="connsiteY44" fmla="*/ 76056 h 354510"/>
                <a:gd name="connsiteX45" fmla="*/ 183513 w 273838"/>
                <a:gd name="connsiteY45" fmla="*/ 66928 h 354510"/>
                <a:gd name="connsiteX46" fmla="*/ 187411 w 273838"/>
                <a:gd name="connsiteY46" fmla="*/ 63869 h 354510"/>
                <a:gd name="connsiteX47" fmla="*/ 187411 w 273838"/>
                <a:gd name="connsiteY47" fmla="*/ 60810 h 354510"/>
                <a:gd name="connsiteX48" fmla="*/ 193233 w 273838"/>
                <a:gd name="connsiteY48" fmla="*/ 56270 h 354510"/>
                <a:gd name="connsiteX49" fmla="*/ 197131 w 273838"/>
                <a:gd name="connsiteY49" fmla="*/ 57751 h 354510"/>
                <a:gd name="connsiteX50" fmla="*/ 203003 w 273838"/>
                <a:gd name="connsiteY50" fmla="*/ 53211 h 354510"/>
                <a:gd name="connsiteX51" fmla="*/ 212871 w 273838"/>
                <a:gd name="connsiteY51" fmla="*/ 48672 h 354510"/>
                <a:gd name="connsiteX52" fmla="*/ 212871 w 273838"/>
                <a:gd name="connsiteY52" fmla="*/ 44083 h 354510"/>
                <a:gd name="connsiteX53" fmla="*/ 210898 w 273838"/>
                <a:gd name="connsiteY53" fmla="*/ 36485 h 354510"/>
                <a:gd name="connsiteX54" fmla="*/ 210898 w 273838"/>
                <a:gd name="connsiteY54" fmla="*/ 33426 h 354510"/>
                <a:gd name="connsiteX55" fmla="*/ 205075 w 273838"/>
                <a:gd name="connsiteY55" fmla="*/ 28886 h 354510"/>
                <a:gd name="connsiteX56" fmla="*/ 199253 w 273838"/>
                <a:gd name="connsiteY56" fmla="*/ 27357 h 354510"/>
                <a:gd name="connsiteX57" fmla="*/ 197280 w 273838"/>
                <a:gd name="connsiteY57" fmla="*/ 21288 h 354510"/>
                <a:gd name="connsiteX58" fmla="*/ 197280 w 273838"/>
                <a:gd name="connsiteY58" fmla="*/ 7571 h 354510"/>
                <a:gd name="connsiteX59" fmla="*/ 193381 w 273838"/>
                <a:gd name="connsiteY59" fmla="*/ -27 h 354510"/>
                <a:gd name="connsiteX60" fmla="*/ 213118 w 273838"/>
                <a:gd name="connsiteY60" fmla="*/ 7571 h 354510"/>
                <a:gd name="connsiteX61" fmla="*/ 220913 w 273838"/>
                <a:gd name="connsiteY61" fmla="*/ 13640 h 354510"/>
                <a:gd name="connsiteX62" fmla="*/ 220913 w 273838"/>
                <a:gd name="connsiteY62" fmla="*/ 22818 h 354510"/>
                <a:gd name="connsiteX63" fmla="*/ 224762 w 273838"/>
                <a:gd name="connsiteY63" fmla="*/ 25827 h 354510"/>
                <a:gd name="connsiteX64" fmla="*/ 226736 w 273838"/>
                <a:gd name="connsiteY64" fmla="*/ 31896 h 354510"/>
                <a:gd name="connsiteX65" fmla="*/ 230634 w 273838"/>
                <a:gd name="connsiteY65" fmla="*/ 39495 h 354510"/>
                <a:gd name="connsiteX66" fmla="*/ 228709 w 273838"/>
                <a:gd name="connsiteY66" fmla="*/ 44083 h 354510"/>
                <a:gd name="connsiteX67" fmla="*/ 228709 w 273838"/>
                <a:gd name="connsiteY67" fmla="*/ 48672 h 354510"/>
                <a:gd name="connsiteX68" fmla="*/ 230634 w 273838"/>
                <a:gd name="connsiteY68" fmla="*/ 54741 h 354510"/>
                <a:gd name="connsiteX69" fmla="*/ 228709 w 273838"/>
                <a:gd name="connsiteY69" fmla="*/ 62339 h 354510"/>
                <a:gd name="connsiteX70" fmla="*/ 224762 w 273838"/>
                <a:gd name="connsiteY70" fmla="*/ 65398 h 354510"/>
                <a:gd name="connsiteX71" fmla="*/ 224762 w 273838"/>
                <a:gd name="connsiteY71" fmla="*/ 71467 h 354510"/>
                <a:gd name="connsiteX72" fmla="*/ 230634 w 273838"/>
                <a:gd name="connsiteY72" fmla="*/ 80595 h 354510"/>
                <a:gd name="connsiteX73" fmla="*/ 236455 w 273838"/>
                <a:gd name="connsiteY73" fmla="*/ 82125 h 354510"/>
                <a:gd name="connsiteX74" fmla="*/ 238380 w 273838"/>
                <a:gd name="connsiteY74" fmla="*/ 88243 h 354510"/>
                <a:gd name="connsiteX75" fmla="*/ 250073 w 273838"/>
                <a:gd name="connsiteY75" fmla="*/ 94312 h 354510"/>
                <a:gd name="connsiteX76" fmla="*/ 251998 w 273838"/>
                <a:gd name="connsiteY76" fmla="*/ 95841 h 354510"/>
                <a:gd name="connsiteX77" fmla="*/ 248149 w 273838"/>
                <a:gd name="connsiteY77" fmla="*/ 98851 h 354510"/>
                <a:gd name="connsiteX78" fmla="*/ 244251 w 273838"/>
                <a:gd name="connsiteY78" fmla="*/ 97322 h 354510"/>
                <a:gd name="connsiteX79" fmla="*/ 238380 w 273838"/>
                <a:gd name="connsiteY79" fmla="*/ 95841 h 354510"/>
                <a:gd name="connsiteX80" fmla="*/ 230634 w 273838"/>
                <a:gd name="connsiteY80" fmla="*/ 94312 h 354510"/>
                <a:gd name="connsiteX81" fmla="*/ 226736 w 273838"/>
                <a:gd name="connsiteY81" fmla="*/ 95841 h 354510"/>
                <a:gd name="connsiteX82" fmla="*/ 220913 w 273838"/>
                <a:gd name="connsiteY82" fmla="*/ 94312 h 354510"/>
                <a:gd name="connsiteX83" fmla="*/ 215091 w 273838"/>
                <a:gd name="connsiteY83" fmla="*/ 95841 h 354510"/>
                <a:gd name="connsiteX84" fmla="*/ 211144 w 273838"/>
                <a:gd name="connsiteY84" fmla="*/ 94312 h 354510"/>
                <a:gd name="connsiteX85" fmla="*/ 199500 w 273838"/>
                <a:gd name="connsiteY85" fmla="*/ 94312 h 354510"/>
                <a:gd name="connsiteX86" fmla="*/ 199500 w 273838"/>
                <a:gd name="connsiteY86" fmla="*/ 100381 h 354510"/>
                <a:gd name="connsiteX87" fmla="*/ 197526 w 273838"/>
                <a:gd name="connsiteY87" fmla="*/ 104920 h 354510"/>
                <a:gd name="connsiteX88" fmla="*/ 197526 w 273838"/>
                <a:gd name="connsiteY88" fmla="*/ 112568 h 354510"/>
                <a:gd name="connsiteX89" fmla="*/ 201473 w 273838"/>
                <a:gd name="connsiteY89" fmla="*/ 114097 h 354510"/>
                <a:gd name="connsiteX90" fmla="*/ 203398 w 273838"/>
                <a:gd name="connsiteY90" fmla="*/ 118637 h 354510"/>
                <a:gd name="connsiteX91" fmla="*/ 211144 w 273838"/>
                <a:gd name="connsiteY91" fmla="*/ 120166 h 354510"/>
                <a:gd name="connsiteX92" fmla="*/ 222838 w 273838"/>
                <a:gd name="connsiteY92" fmla="*/ 129294 h 354510"/>
                <a:gd name="connsiteX93" fmla="*/ 234531 w 273838"/>
                <a:gd name="connsiteY93" fmla="*/ 141481 h 354510"/>
                <a:gd name="connsiteX94" fmla="*/ 242327 w 273838"/>
                <a:gd name="connsiteY94" fmla="*/ 146020 h 354510"/>
                <a:gd name="connsiteX95" fmla="*/ 246175 w 273838"/>
                <a:gd name="connsiteY95" fmla="*/ 153619 h 354510"/>
                <a:gd name="connsiteX96" fmla="*/ 251998 w 273838"/>
                <a:gd name="connsiteY96" fmla="*/ 162796 h 354510"/>
                <a:gd name="connsiteX97" fmla="*/ 254021 w 273838"/>
                <a:gd name="connsiteY97" fmla="*/ 168865 h 354510"/>
                <a:gd name="connsiteX98" fmla="*/ 246175 w 273838"/>
                <a:gd name="connsiteY98" fmla="*/ 176464 h 354510"/>
                <a:gd name="connsiteX99" fmla="*/ 242327 w 273838"/>
                <a:gd name="connsiteY99" fmla="*/ 177993 h 354510"/>
                <a:gd name="connsiteX100" fmla="*/ 236455 w 273838"/>
                <a:gd name="connsiteY100" fmla="*/ 185591 h 354510"/>
                <a:gd name="connsiteX101" fmla="*/ 230634 w 273838"/>
                <a:gd name="connsiteY101" fmla="*/ 196249 h 354510"/>
                <a:gd name="connsiteX102" fmla="*/ 226736 w 273838"/>
                <a:gd name="connsiteY102" fmla="*/ 203847 h 354510"/>
                <a:gd name="connsiteX103" fmla="*/ 220913 w 273838"/>
                <a:gd name="connsiteY103" fmla="*/ 212975 h 354510"/>
                <a:gd name="connsiteX104" fmla="*/ 217016 w 273838"/>
                <a:gd name="connsiteY104" fmla="*/ 214505 h 354510"/>
                <a:gd name="connsiteX105" fmla="*/ 213118 w 273838"/>
                <a:gd name="connsiteY105" fmla="*/ 217515 h 354510"/>
                <a:gd name="connsiteX106" fmla="*/ 215091 w 273838"/>
                <a:gd name="connsiteY106" fmla="*/ 223633 h 354510"/>
                <a:gd name="connsiteX107" fmla="*/ 217016 w 273838"/>
                <a:gd name="connsiteY107" fmla="*/ 231231 h 354510"/>
                <a:gd name="connsiteX108" fmla="*/ 215091 w 273838"/>
                <a:gd name="connsiteY108" fmla="*/ 240359 h 354510"/>
                <a:gd name="connsiteX109" fmla="*/ 218940 w 273838"/>
                <a:gd name="connsiteY109" fmla="*/ 248007 h 354510"/>
                <a:gd name="connsiteX110" fmla="*/ 218940 w 273838"/>
                <a:gd name="connsiteY110" fmla="*/ 267743 h 354510"/>
                <a:gd name="connsiteX111" fmla="*/ 222838 w 273838"/>
                <a:gd name="connsiteY111" fmla="*/ 270802 h 354510"/>
                <a:gd name="connsiteX112" fmla="*/ 232706 w 273838"/>
                <a:gd name="connsiteY112" fmla="*/ 273861 h 354510"/>
                <a:gd name="connsiteX113" fmla="*/ 238528 w 273838"/>
                <a:gd name="connsiteY113" fmla="*/ 279930 h 354510"/>
                <a:gd name="connsiteX114" fmla="*/ 242475 w 273838"/>
                <a:gd name="connsiteY114" fmla="*/ 285999 h 354510"/>
                <a:gd name="connsiteX115" fmla="*/ 250222 w 273838"/>
                <a:gd name="connsiteY115" fmla="*/ 298186 h 354510"/>
                <a:gd name="connsiteX116" fmla="*/ 256093 w 273838"/>
                <a:gd name="connsiteY116" fmla="*/ 307314 h 354510"/>
                <a:gd name="connsiteX117" fmla="*/ 259991 w 273838"/>
                <a:gd name="connsiteY117" fmla="*/ 310373 h 354510"/>
                <a:gd name="connsiteX118" fmla="*/ 269859 w 273838"/>
                <a:gd name="connsiteY118" fmla="*/ 319501 h 354510"/>
                <a:gd name="connsiteX119" fmla="*/ 271783 w 273838"/>
                <a:gd name="connsiteY119" fmla="*/ 324090 h 354510"/>
                <a:gd name="connsiteX120" fmla="*/ 271783 w 273838"/>
                <a:gd name="connsiteY120" fmla="*/ 331639 h 354510"/>
                <a:gd name="connsiteX121" fmla="*/ 273757 w 273838"/>
                <a:gd name="connsiteY121" fmla="*/ 331639 h 354510"/>
                <a:gd name="connsiteX122" fmla="*/ 271783 w 273838"/>
                <a:gd name="connsiteY122" fmla="*/ 333169 h 354510"/>
                <a:gd name="connsiteX123" fmla="*/ 269859 w 273838"/>
                <a:gd name="connsiteY123" fmla="*/ 337757 h 354510"/>
                <a:gd name="connsiteX124" fmla="*/ 265961 w 273838"/>
                <a:gd name="connsiteY124" fmla="*/ 343875 h 354510"/>
                <a:gd name="connsiteX125" fmla="*/ 265961 w 273838"/>
                <a:gd name="connsiteY125" fmla="*/ 345356 h 354510"/>
                <a:gd name="connsiteX126" fmla="*/ 267935 w 273838"/>
                <a:gd name="connsiteY126" fmla="*/ 349944 h 354510"/>
                <a:gd name="connsiteX127" fmla="*/ 267935 w 273838"/>
                <a:gd name="connsiteY127" fmla="*/ 352954 h 354510"/>
                <a:gd name="connsiteX128" fmla="*/ 263987 w 273838"/>
                <a:gd name="connsiteY128" fmla="*/ 354483 h 354510"/>
                <a:gd name="connsiteX129" fmla="*/ 262063 w 273838"/>
                <a:gd name="connsiteY129" fmla="*/ 352954 h 354510"/>
                <a:gd name="connsiteX130" fmla="*/ 260139 w 273838"/>
                <a:gd name="connsiteY130" fmla="*/ 352954 h 354510"/>
                <a:gd name="connsiteX131" fmla="*/ 256241 w 273838"/>
                <a:gd name="connsiteY131" fmla="*/ 351424 h 354510"/>
                <a:gd name="connsiteX132" fmla="*/ 243314 w 273838"/>
                <a:gd name="connsiteY132" fmla="*/ 351424 h 354510"/>
                <a:gd name="connsiteX133" fmla="*/ 235518 w 273838"/>
                <a:gd name="connsiteY133" fmla="*/ 348415 h 354510"/>
                <a:gd name="connsiteX134" fmla="*/ 233446 w 273838"/>
                <a:gd name="connsiteY134" fmla="*/ 348415 h 354510"/>
                <a:gd name="connsiteX135" fmla="*/ 233446 w 273838"/>
                <a:gd name="connsiteY135" fmla="*/ 349944 h 354510"/>
                <a:gd name="connsiteX136" fmla="*/ 229548 w 273838"/>
                <a:gd name="connsiteY136" fmla="*/ 349944 h 354510"/>
                <a:gd name="connsiteX137" fmla="*/ 227623 w 273838"/>
                <a:gd name="connsiteY137" fmla="*/ 348415 h 354510"/>
                <a:gd name="connsiteX138" fmla="*/ 223677 w 273838"/>
                <a:gd name="connsiteY138" fmla="*/ 346885 h 354510"/>
                <a:gd name="connsiteX139" fmla="*/ 219828 w 273838"/>
                <a:gd name="connsiteY139" fmla="*/ 348415 h 354510"/>
                <a:gd name="connsiteX140" fmla="*/ 215930 w 273838"/>
                <a:gd name="connsiteY140" fmla="*/ 343875 h 354510"/>
                <a:gd name="connsiteX141" fmla="*/ 214006 w 273838"/>
                <a:gd name="connsiteY141" fmla="*/ 343875 h 354510"/>
                <a:gd name="connsiteX142" fmla="*/ 212032 w 273838"/>
                <a:gd name="connsiteY142" fmla="*/ 345356 h 354510"/>
                <a:gd name="connsiteX143" fmla="*/ 208134 w 273838"/>
                <a:gd name="connsiteY143" fmla="*/ 345356 h 354510"/>
                <a:gd name="connsiteX144" fmla="*/ 161458 w 273838"/>
                <a:gd name="connsiteY144" fmla="*/ 343875 h 354510"/>
                <a:gd name="connsiteX145" fmla="*/ 159485 w 273838"/>
                <a:gd name="connsiteY145" fmla="*/ 342346 h 354510"/>
                <a:gd name="connsiteX146" fmla="*/ 145867 w 273838"/>
                <a:gd name="connsiteY146" fmla="*/ 342346 h 354510"/>
                <a:gd name="connsiteX147" fmla="*/ 145867 w 273838"/>
                <a:gd name="connsiteY147" fmla="*/ 339287 h 354510"/>
                <a:gd name="connsiteX148" fmla="*/ 140044 w 273838"/>
                <a:gd name="connsiteY148" fmla="*/ 339287 h 354510"/>
                <a:gd name="connsiteX149" fmla="*/ 132249 w 273838"/>
                <a:gd name="connsiteY149" fmla="*/ 342346 h 354510"/>
                <a:gd name="connsiteX150" fmla="*/ 130324 w 273838"/>
                <a:gd name="connsiteY150" fmla="*/ 339287 h 354510"/>
                <a:gd name="connsiteX151" fmla="*/ 106937 w 273838"/>
                <a:gd name="connsiteY151" fmla="*/ 339287 h 354510"/>
                <a:gd name="connsiteX152" fmla="*/ 101115 w 273838"/>
                <a:gd name="connsiteY152" fmla="*/ 342346 h 354510"/>
                <a:gd name="connsiteX153" fmla="*/ 99142 w 273838"/>
                <a:gd name="connsiteY153" fmla="*/ 342346 h 354510"/>
                <a:gd name="connsiteX154" fmla="*/ 95293 w 273838"/>
                <a:gd name="connsiteY154" fmla="*/ 343875 h 354510"/>
                <a:gd name="connsiteX155" fmla="*/ 42745 w 273838"/>
                <a:gd name="connsiteY155" fmla="*/ 343875 h 354510"/>
                <a:gd name="connsiteX156" fmla="*/ 46594 w 273838"/>
                <a:gd name="connsiteY156" fmla="*/ 337757 h 354510"/>
                <a:gd name="connsiteX157" fmla="*/ 42745 w 273838"/>
                <a:gd name="connsiteY157" fmla="*/ 333169 h 354510"/>
                <a:gd name="connsiteX158" fmla="*/ 46594 w 273838"/>
                <a:gd name="connsiteY158" fmla="*/ 324090 h 354510"/>
                <a:gd name="connsiteX159" fmla="*/ 46594 w 273838"/>
                <a:gd name="connsiteY159" fmla="*/ 310373 h 354510"/>
                <a:gd name="connsiteX160" fmla="*/ 38848 w 273838"/>
                <a:gd name="connsiteY160" fmla="*/ 302775 h 354510"/>
                <a:gd name="connsiteX161" fmla="*/ 38848 w 273838"/>
                <a:gd name="connsiteY161" fmla="*/ 295176 h 354510"/>
                <a:gd name="connsiteX162" fmla="*/ 42745 w 273838"/>
                <a:gd name="connsiteY162" fmla="*/ 290588 h 354510"/>
                <a:gd name="connsiteX163" fmla="*/ 36923 w 273838"/>
                <a:gd name="connsiteY163" fmla="*/ 282989 h 354510"/>
                <a:gd name="connsiteX164" fmla="*/ 25230 w 273838"/>
                <a:gd name="connsiteY164" fmla="*/ 285999 h 354510"/>
                <a:gd name="connsiteX165" fmla="*/ 21332 w 273838"/>
                <a:gd name="connsiteY165" fmla="*/ 282989 h 354510"/>
                <a:gd name="connsiteX166" fmla="*/ 15509 w 273838"/>
                <a:gd name="connsiteY166" fmla="*/ 282989 h 354510"/>
                <a:gd name="connsiteX167" fmla="*/ 11612 w 273838"/>
                <a:gd name="connsiteY167" fmla="*/ 264684 h 354510"/>
                <a:gd name="connsiteX168" fmla="*/ 5740 w 273838"/>
                <a:gd name="connsiteY168" fmla="*/ 267743 h 35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73838" h="354510">
                  <a:moveTo>
                    <a:pt x="-82" y="264783"/>
                  </a:moveTo>
                  <a:lnTo>
                    <a:pt x="-82" y="260243"/>
                  </a:lnTo>
                  <a:lnTo>
                    <a:pt x="11612" y="251116"/>
                  </a:lnTo>
                  <a:lnTo>
                    <a:pt x="15509" y="243517"/>
                  </a:lnTo>
                  <a:lnTo>
                    <a:pt x="13536" y="237448"/>
                  </a:lnTo>
                  <a:lnTo>
                    <a:pt x="13536" y="229850"/>
                  </a:lnTo>
                  <a:lnTo>
                    <a:pt x="17434" y="226791"/>
                  </a:lnTo>
                  <a:lnTo>
                    <a:pt x="17434" y="223731"/>
                  </a:lnTo>
                  <a:lnTo>
                    <a:pt x="23305" y="219143"/>
                  </a:lnTo>
                  <a:lnTo>
                    <a:pt x="29127" y="214604"/>
                  </a:lnTo>
                  <a:lnTo>
                    <a:pt x="31052" y="211545"/>
                  </a:lnTo>
                  <a:lnTo>
                    <a:pt x="42745" y="203946"/>
                  </a:lnTo>
                  <a:lnTo>
                    <a:pt x="42745" y="197828"/>
                  </a:lnTo>
                  <a:lnTo>
                    <a:pt x="44670" y="194818"/>
                  </a:lnTo>
                  <a:lnTo>
                    <a:pt x="50541" y="194818"/>
                  </a:lnTo>
                  <a:lnTo>
                    <a:pt x="54389" y="191759"/>
                  </a:lnTo>
                  <a:lnTo>
                    <a:pt x="56363" y="193289"/>
                  </a:lnTo>
                  <a:lnTo>
                    <a:pt x="66231" y="194818"/>
                  </a:lnTo>
                  <a:lnTo>
                    <a:pt x="68156" y="194818"/>
                  </a:lnTo>
                  <a:lnTo>
                    <a:pt x="78024" y="197828"/>
                  </a:lnTo>
                  <a:lnTo>
                    <a:pt x="81922" y="203946"/>
                  </a:lnTo>
                  <a:lnTo>
                    <a:pt x="87744" y="207005"/>
                  </a:lnTo>
                  <a:lnTo>
                    <a:pt x="91642" y="208535"/>
                  </a:lnTo>
                  <a:lnTo>
                    <a:pt x="97464" y="205476"/>
                  </a:lnTo>
                  <a:lnTo>
                    <a:pt x="105260" y="197828"/>
                  </a:lnTo>
                  <a:lnTo>
                    <a:pt x="105260" y="196348"/>
                  </a:lnTo>
                  <a:lnTo>
                    <a:pt x="107184" y="193289"/>
                  </a:lnTo>
                  <a:lnTo>
                    <a:pt x="113006" y="191759"/>
                  </a:lnTo>
                  <a:lnTo>
                    <a:pt x="116953" y="185690"/>
                  </a:lnTo>
                  <a:lnTo>
                    <a:pt x="114980" y="179621"/>
                  </a:lnTo>
                  <a:lnTo>
                    <a:pt x="118878" y="173503"/>
                  </a:lnTo>
                  <a:lnTo>
                    <a:pt x="128746" y="164375"/>
                  </a:lnTo>
                  <a:lnTo>
                    <a:pt x="130719" y="159836"/>
                  </a:lnTo>
                  <a:lnTo>
                    <a:pt x="128746" y="153717"/>
                  </a:lnTo>
                  <a:lnTo>
                    <a:pt x="132643" y="149178"/>
                  </a:lnTo>
                  <a:lnTo>
                    <a:pt x="142511" y="141580"/>
                  </a:lnTo>
                  <a:lnTo>
                    <a:pt x="150307" y="137041"/>
                  </a:lnTo>
                  <a:lnTo>
                    <a:pt x="150307" y="129393"/>
                  </a:lnTo>
                  <a:lnTo>
                    <a:pt x="152232" y="124804"/>
                  </a:lnTo>
                  <a:lnTo>
                    <a:pt x="152232" y="115627"/>
                  </a:lnTo>
                  <a:lnTo>
                    <a:pt x="156129" y="112568"/>
                  </a:lnTo>
                  <a:lnTo>
                    <a:pt x="165997" y="109509"/>
                  </a:lnTo>
                  <a:lnTo>
                    <a:pt x="173793" y="101910"/>
                  </a:lnTo>
                  <a:lnTo>
                    <a:pt x="173793" y="83605"/>
                  </a:lnTo>
                  <a:lnTo>
                    <a:pt x="177691" y="76056"/>
                  </a:lnTo>
                  <a:lnTo>
                    <a:pt x="183513" y="66928"/>
                  </a:lnTo>
                  <a:lnTo>
                    <a:pt x="187411" y="63869"/>
                  </a:lnTo>
                  <a:lnTo>
                    <a:pt x="187411" y="60810"/>
                  </a:lnTo>
                  <a:lnTo>
                    <a:pt x="193233" y="56270"/>
                  </a:lnTo>
                  <a:lnTo>
                    <a:pt x="197131" y="57751"/>
                  </a:lnTo>
                  <a:lnTo>
                    <a:pt x="203003" y="53211"/>
                  </a:lnTo>
                  <a:lnTo>
                    <a:pt x="212871" y="48672"/>
                  </a:lnTo>
                  <a:lnTo>
                    <a:pt x="212871" y="44083"/>
                  </a:lnTo>
                  <a:lnTo>
                    <a:pt x="210898" y="36485"/>
                  </a:lnTo>
                  <a:lnTo>
                    <a:pt x="210898" y="33426"/>
                  </a:lnTo>
                  <a:lnTo>
                    <a:pt x="205075" y="28886"/>
                  </a:lnTo>
                  <a:lnTo>
                    <a:pt x="199253" y="27357"/>
                  </a:lnTo>
                  <a:lnTo>
                    <a:pt x="197280" y="21288"/>
                  </a:lnTo>
                  <a:lnTo>
                    <a:pt x="197280" y="7571"/>
                  </a:lnTo>
                  <a:lnTo>
                    <a:pt x="193381" y="-27"/>
                  </a:lnTo>
                  <a:lnTo>
                    <a:pt x="213118" y="7571"/>
                  </a:lnTo>
                  <a:lnTo>
                    <a:pt x="220913" y="13640"/>
                  </a:lnTo>
                  <a:lnTo>
                    <a:pt x="220913" y="22818"/>
                  </a:lnTo>
                  <a:lnTo>
                    <a:pt x="224762" y="25827"/>
                  </a:lnTo>
                  <a:lnTo>
                    <a:pt x="226736" y="31896"/>
                  </a:lnTo>
                  <a:lnTo>
                    <a:pt x="230634" y="39495"/>
                  </a:lnTo>
                  <a:lnTo>
                    <a:pt x="228709" y="44083"/>
                  </a:lnTo>
                  <a:lnTo>
                    <a:pt x="228709" y="48672"/>
                  </a:lnTo>
                  <a:lnTo>
                    <a:pt x="230634" y="54741"/>
                  </a:lnTo>
                  <a:lnTo>
                    <a:pt x="228709" y="62339"/>
                  </a:lnTo>
                  <a:lnTo>
                    <a:pt x="224762" y="65398"/>
                  </a:lnTo>
                  <a:lnTo>
                    <a:pt x="224762" y="71467"/>
                  </a:lnTo>
                  <a:lnTo>
                    <a:pt x="230634" y="80595"/>
                  </a:lnTo>
                  <a:lnTo>
                    <a:pt x="236455" y="82125"/>
                  </a:lnTo>
                  <a:lnTo>
                    <a:pt x="238380" y="88243"/>
                  </a:lnTo>
                  <a:lnTo>
                    <a:pt x="250073" y="94312"/>
                  </a:lnTo>
                  <a:lnTo>
                    <a:pt x="251998" y="95841"/>
                  </a:lnTo>
                  <a:lnTo>
                    <a:pt x="248149" y="98851"/>
                  </a:lnTo>
                  <a:lnTo>
                    <a:pt x="244251" y="97322"/>
                  </a:lnTo>
                  <a:lnTo>
                    <a:pt x="238380" y="95841"/>
                  </a:lnTo>
                  <a:lnTo>
                    <a:pt x="230634" y="94312"/>
                  </a:lnTo>
                  <a:lnTo>
                    <a:pt x="226736" y="95841"/>
                  </a:lnTo>
                  <a:lnTo>
                    <a:pt x="220913" y="94312"/>
                  </a:lnTo>
                  <a:lnTo>
                    <a:pt x="215091" y="95841"/>
                  </a:lnTo>
                  <a:lnTo>
                    <a:pt x="211144" y="94312"/>
                  </a:lnTo>
                  <a:lnTo>
                    <a:pt x="199500" y="94312"/>
                  </a:lnTo>
                  <a:lnTo>
                    <a:pt x="199500" y="100381"/>
                  </a:lnTo>
                  <a:lnTo>
                    <a:pt x="197526" y="104920"/>
                  </a:lnTo>
                  <a:lnTo>
                    <a:pt x="197526" y="112568"/>
                  </a:lnTo>
                  <a:lnTo>
                    <a:pt x="201473" y="114097"/>
                  </a:lnTo>
                  <a:lnTo>
                    <a:pt x="203398" y="118637"/>
                  </a:lnTo>
                  <a:lnTo>
                    <a:pt x="211144" y="120166"/>
                  </a:lnTo>
                  <a:lnTo>
                    <a:pt x="222838" y="129294"/>
                  </a:lnTo>
                  <a:lnTo>
                    <a:pt x="234531" y="141481"/>
                  </a:lnTo>
                  <a:lnTo>
                    <a:pt x="242327" y="146020"/>
                  </a:lnTo>
                  <a:lnTo>
                    <a:pt x="246175" y="153619"/>
                  </a:lnTo>
                  <a:lnTo>
                    <a:pt x="251998" y="162796"/>
                  </a:lnTo>
                  <a:lnTo>
                    <a:pt x="254021" y="168865"/>
                  </a:lnTo>
                  <a:lnTo>
                    <a:pt x="246175" y="176464"/>
                  </a:lnTo>
                  <a:lnTo>
                    <a:pt x="242327" y="177993"/>
                  </a:lnTo>
                  <a:lnTo>
                    <a:pt x="236455" y="185591"/>
                  </a:lnTo>
                  <a:lnTo>
                    <a:pt x="230634" y="196249"/>
                  </a:lnTo>
                  <a:lnTo>
                    <a:pt x="226736" y="203847"/>
                  </a:lnTo>
                  <a:lnTo>
                    <a:pt x="220913" y="212975"/>
                  </a:lnTo>
                  <a:lnTo>
                    <a:pt x="217016" y="214505"/>
                  </a:lnTo>
                  <a:lnTo>
                    <a:pt x="213118" y="217515"/>
                  </a:lnTo>
                  <a:lnTo>
                    <a:pt x="215091" y="223633"/>
                  </a:lnTo>
                  <a:lnTo>
                    <a:pt x="217016" y="231231"/>
                  </a:lnTo>
                  <a:lnTo>
                    <a:pt x="215091" y="240359"/>
                  </a:lnTo>
                  <a:lnTo>
                    <a:pt x="218940" y="248007"/>
                  </a:lnTo>
                  <a:lnTo>
                    <a:pt x="218940" y="267743"/>
                  </a:lnTo>
                  <a:lnTo>
                    <a:pt x="222838" y="270802"/>
                  </a:lnTo>
                  <a:lnTo>
                    <a:pt x="232706" y="273861"/>
                  </a:lnTo>
                  <a:lnTo>
                    <a:pt x="238528" y="279930"/>
                  </a:lnTo>
                  <a:lnTo>
                    <a:pt x="242475" y="285999"/>
                  </a:lnTo>
                  <a:lnTo>
                    <a:pt x="250222" y="298186"/>
                  </a:lnTo>
                  <a:lnTo>
                    <a:pt x="256093" y="307314"/>
                  </a:lnTo>
                  <a:lnTo>
                    <a:pt x="259991" y="310373"/>
                  </a:lnTo>
                  <a:lnTo>
                    <a:pt x="269859" y="319501"/>
                  </a:lnTo>
                  <a:lnTo>
                    <a:pt x="271783" y="324090"/>
                  </a:lnTo>
                  <a:lnTo>
                    <a:pt x="271783" y="331639"/>
                  </a:lnTo>
                  <a:lnTo>
                    <a:pt x="273757" y="331639"/>
                  </a:lnTo>
                  <a:lnTo>
                    <a:pt x="271783" y="333169"/>
                  </a:lnTo>
                  <a:lnTo>
                    <a:pt x="269859" y="337757"/>
                  </a:lnTo>
                  <a:lnTo>
                    <a:pt x="265961" y="343875"/>
                  </a:lnTo>
                  <a:lnTo>
                    <a:pt x="265961" y="345356"/>
                  </a:lnTo>
                  <a:lnTo>
                    <a:pt x="267935" y="349944"/>
                  </a:lnTo>
                  <a:lnTo>
                    <a:pt x="267935" y="352954"/>
                  </a:lnTo>
                  <a:lnTo>
                    <a:pt x="263987" y="354483"/>
                  </a:lnTo>
                  <a:lnTo>
                    <a:pt x="262063" y="352954"/>
                  </a:lnTo>
                  <a:lnTo>
                    <a:pt x="260139" y="352954"/>
                  </a:lnTo>
                  <a:lnTo>
                    <a:pt x="256241" y="351424"/>
                  </a:lnTo>
                  <a:lnTo>
                    <a:pt x="243314" y="351424"/>
                  </a:lnTo>
                  <a:lnTo>
                    <a:pt x="235518" y="348415"/>
                  </a:lnTo>
                  <a:lnTo>
                    <a:pt x="233446" y="348415"/>
                  </a:lnTo>
                  <a:lnTo>
                    <a:pt x="233446" y="349944"/>
                  </a:lnTo>
                  <a:lnTo>
                    <a:pt x="229548" y="349944"/>
                  </a:lnTo>
                  <a:lnTo>
                    <a:pt x="227623" y="348415"/>
                  </a:lnTo>
                  <a:lnTo>
                    <a:pt x="223677" y="346885"/>
                  </a:lnTo>
                  <a:lnTo>
                    <a:pt x="219828" y="348415"/>
                  </a:lnTo>
                  <a:lnTo>
                    <a:pt x="215930" y="343875"/>
                  </a:lnTo>
                  <a:lnTo>
                    <a:pt x="214006" y="343875"/>
                  </a:lnTo>
                  <a:lnTo>
                    <a:pt x="212032" y="345356"/>
                  </a:lnTo>
                  <a:lnTo>
                    <a:pt x="208134" y="345356"/>
                  </a:lnTo>
                  <a:lnTo>
                    <a:pt x="161458" y="343875"/>
                  </a:lnTo>
                  <a:lnTo>
                    <a:pt x="159485" y="342346"/>
                  </a:lnTo>
                  <a:lnTo>
                    <a:pt x="145867" y="342346"/>
                  </a:lnTo>
                  <a:lnTo>
                    <a:pt x="145867" y="339287"/>
                  </a:lnTo>
                  <a:lnTo>
                    <a:pt x="140044" y="339287"/>
                  </a:lnTo>
                  <a:lnTo>
                    <a:pt x="132249" y="342346"/>
                  </a:lnTo>
                  <a:lnTo>
                    <a:pt x="130324" y="339287"/>
                  </a:lnTo>
                  <a:lnTo>
                    <a:pt x="106937" y="339287"/>
                  </a:lnTo>
                  <a:lnTo>
                    <a:pt x="101115" y="342346"/>
                  </a:lnTo>
                  <a:lnTo>
                    <a:pt x="99142" y="342346"/>
                  </a:lnTo>
                  <a:lnTo>
                    <a:pt x="95293" y="343875"/>
                  </a:lnTo>
                  <a:lnTo>
                    <a:pt x="42745" y="343875"/>
                  </a:lnTo>
                  <a:lnTo>
                    <a:pt x="46594" y="337757"/>
                  </a:lnTo>
                  <a:lnTo>
                    <a:pt x="42745" y="333169"/>
                  </a:lnTo>
                  <a:lnTo>
                    <a:pt x="46594" y="324090"/>
                  </a:lnTo>
                  <a:lnTo>
                    <a:pt x="46594" y="310373"/>
                  </a:lnTo>
                  <a:lnTo>
                    <a:pt x="38848" y="302775"/>
                  </a:lnTo>
                  <a:lnTo>
                    <a:pt x="38848" y="295176"/>
                  </a:lnTo>
                  <a:lnTo>
                    <a:pt x="42745" y="290588"/>
                  </a:lnTo>
                  <a:lnTo>
                    <a:pt x="36923" y="282989"/>
                  </a:lnTo>
                  <a:lnTo>
                    <a:pt x="25230" y="285999"/>
                  </a:lnTo>
                  <a:lnTo>
                    <a:pt x="21332" y="282989"/>
                  </a:lnTo>
                  <a:lnTo>
                    <a:pt x="15509" y="282989"/>
                  </a:lnTo>
                  <a:lnTo>
                    <a:pt x="11612" y="264684"/>
                  </a:lnTo>
                  <a:lnTo>
                    <a:pt x="5740" y="26774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Graphic 2">
              <a:extLst>
                <a:ext uri="{FF2B5EF4-FFF2-40B4-BE49-F238E27FC236}">
                  <a16:creationId xmlns:a16="http://schemas.microsoft.com/office/drawing/2014/main" id="{C7E02DFD-1442-4D77-A011-1C4946E56503}"/>
                </a:ext>
              </a:extLst>
            </p:cNvPr>
            <p:cNvSpPr/>
            <p:nvPr/>
          </p:nvSpPr>
          <p:spPr>
            <a:xfrm>
              <a:off x="5699406" y="4580472"/>
              <a:ext cx="186431" cy="176027"/>
            </a:xfrm>
            <a:custGeom>
              <a:avLst/>
              <a:gdLst>
                <a:gd name="connsiteX0" fmla="*/ 91741 w 205206"/>
                <a:gd name="connsiteY0" fmla="*/ 4562 h 193759"/>
                <a:gd name="connsiteX1" fmla="*/ 91741 w 205206"/>
                <a:gd name="connsiteY1" fmla="*/ 4562 h 193759"/>
                <a:gd name="connsiteX2" fmla="*/ 95639 w 205206"/>
                <a:gd name="connsiteY2" fmla="*/ 3032 h 193759"/>
                <a:gd name="connsiteX3" fmla="*/ 97612 w 205206"/>
                <a:gd name="connsiteY3" fmla="*/ 3032 h 193759"/>
                <a:gd name="connsiteX4" fmla="*/ 103435 w 205206"/>
                <a:gd name="connsiteY4" fmla="*/ -27 h 193759"/>
                <a:gd name="connsiteX5" fmla="*/ 126921 w 205206"/>
                <a:gd name="connsiteY5" fmla="*/ -27 h 193759"/>
                <a:gd name="connsiteX6" fmla="*/ 128894 w 205206"/>
                <a:gd name="connsiteY6" fmla="*/ 3032 h 193759"/>
                <a:gd name="connsiteX7" fmla="*/ 136690 w 205206"/>
                <a:gd name="connsiteY7" fmla="*/ -27 h 193759"/>
                <a:gd name="connsiteX8" fmla="*/ 142561 w 205206"/>
                <a:gd name="connsiteY8" fmla="*/ -27 h 193759"/>
                <a:gd name="connsiteX9" fmla="*/ 142561 w 205206"/>
                <a:gd name="connsiteY9" fmla="*/ 2884 h 193759"/>
                <a:gd name="connsiteX10" fmla="*/ 156229 w 205206"/>
                <a:gd name="connsiteY10" fmla="*/ 2884 h 193759"/>
                <a:gd name="connsiteX11" fmla="*/ 158202 w 205206"/>
                <a:gd name="connsiteY11" fmla="*/ 4414 h 193759"/>
                <a:gd name="connsiteX12" fmla="*/ 158202 w 205206"/>
                <a:gd name="connsiteY12" fmla="*/ 4414 h 193759"/>
                <a:gd name="connsiteX13" fmla="*/ 156229 w 205206"/>
                <a:gd name="connsiteY13" fmla="*/ 10532 h 193759"/>
                <a:gd name="connsiteX14" fmla="*/ 158202 w 205206"/>
                <a:gd name="connsiteY14" fmla="*/ 16601 h 193759"/>
                <a:gd name="connsiteX15" fmla="*/ 158202 w 205206"/>
                <a:gd name="connsiteY15" fmla="*/ 22719 h 193759"/>
                <a:gd name="connsiteX16" fmla="*/ 160127 w 205206"/>
                <a:gd name="connsiteY16" fmla="*/ 30367 h 193759"/>
                <a:gd name="connsiteX17" fmla="*/ 158202 w 205206"/>
                <a:gd name="connsiteY17" fmla="*/ 33426 h 193759"/>
                <a:gd name="connsiteX18" fmla="*/ 162100 w 205206"/>
                <a:gd name="connsiteY18" fmla="*/ 34956 h 193759"/>
                <a:gd name="connsiteX19" fmla="*/ 165998 w 205206"/>
                <a:gd name="connsiteY19" fmla="*/ 31896 h 193759"/>
                <a:gd name="connsiteX20" fmla="*/ 173843 w 205206"/>
                <a:gd name="connsiteY20" fmla="*/ 33426 h 193759"/>
                <a:gd name="connsiteX21" fmla="*/ 181639 w 205206"/>
                <a:gd name="connsiteY21" fmla="*/ 31896 h 193759"/>
                <a:gd name="connsiteX22" fmla="*/ 187560 w 205206"/>
                <a:gd name="connsiteY22" fmla="*/ 27308 h 193759"/>
                <a:gd name="connsiteX23" fmla="*/ 199253 w 205206"/>
                <a:gd name="connsiteY23" fmla="*/ 27308 h 193759"/>
                <a:gd name="connsiteX24" fmla="*/ 205125 w 205206"/>
                <a:gd name="connsiteY24" fmla="*/ 31896 h 193759"/>
                <a:gd name="connsiteX25" fmla="*/ 205125 w 205206"/>
                <a:gd name="connsiteY25" fmla="*/ 41074 h 193759"/>
                <a:gd name="connsiteX26" fmla="*/ 201178 w 205206"/>
                <a:gd name="connsiteY26" fmla="*/ 44083 h 193759"/>
                <a:gd name="connsiteX27" fmla="*/ 205125 w 205206"/>
                <a:gd name="connsiteY27" fmla="*/ 47142 h 193759"/>
                <a:gd name="connsiteX28" fmla="*/ 201178 w 205206"/>
                <a:gd name="connsiteY28" fmla="*/ 53310 h 193759"/>
                <a:gd name="connsiteX29" fmla="*/ 195356 w 205206"/>
                <a:gd name="connsiteY29" fmla="*/ 53310 h 193759"/>
                <a:gd name="connsiteX30" fmla="*/ 189484 w 205206"/>
                <a:gd name="connsiteY30" fmla="*/ 59428 h 193759"/>
                <a:gd name="connsiteX31" fmla="*/ 187560 w 205206"/>
                <a:gd name="connsiteY31" fmla="*/ 62488 h 193759"/>
                <a:gd name="connsiteX32" fmla="*/ 189484 w 205206"/>
                <a:gd name="connsiteY32" fmla="*/ 64017 h 193759"/>
                <a:gd name="connsiteX33" fmla="*/ 191408 w 205206"/>
                <a:gd name="connsiteY33" fmla="*/ 68606 h 193759"/>
                <a:gd name="connsiteX34" fmla="*/ 189484 w 205206"/>
                <a:gd name="connsiteY34" fmla="*/ 68606 h 193759"/>
                <a:gd name="connsiteX35" fmla="*/ 187560 w 205206"/>
                <a:gd name="connsiteY35" fmla="*/ 70086 h 193759"/>
                <a:gd name="connsiteX36" fmla="*/ 183613 w 205206"/>
                <a:gd name="connsiteY36" fmla="*/ 71615 h 193759"/>
                <a:gd name="connsiteX37" fmla="*/ 183613 w 205206"/>
                <a:gd name="connsiteY37" fmla="*/ 74674 h 193759"/>
                <a:gd name="connsiteX38" fmla="*/ 185537 w 205206"/>
                <a:gd name="connsiteY38" fmla="*/ 76204 h 193759"/>
                <a:gd name="connsiteX39" fmla="*/ 187560 w 205206"/>
                <a:gd name="connsiteY39" fmla="*/ 79263 h 193759"/>
                <a:gd name="connsiteX40" fmla="*/ 191408 w 205206"/>
                <a:gd name="connsiteY40" fmla="*/ 80793 h 193759"/>
                <a:gd name="connsiteX41" fmla="*/ 193382 w 205206"/>
                <a:gd name="connsiteY41" fmla="*/ 85381 h 193759"/>
                <a:gd name="connsiteX42" fmla="*/ 197280 w 205206"/>
                <a:gd name="connsiteY42" fmla="*/ 88441 h 193759"/>
                <a:gd name="connsiteX43" fmla="*/ 199253 w 205206"/>
                <a:gd name="connsiteY43" fmla="*/ 91500 h 193759"/>
                <a:gd name="connsiteX44" fmla="*/ 205125 w 205206"/>
                <a:gd name="connsiteY44" fmla="*/ 94559 h 193759"/>
                <a:gd name="connsiteX45" fmla="*/ 205125 w 205206"/>
                <a:gd name="connsiteY45" fmla="*/ 100628 h 193759"/>
                <a:gd name="connsiteX46" fmla="*/ 199253 w 205206"/>
                <a:gd name="connsiteY46" fmla="*/ 114393 h 193759"/>
                <a:gd name="connsiteX47" fmla="*/ 191408 w 205206"/>
                <a:gd name="connsiteY47" fmla="*/ 137337 h 193759"/>
                <a:gd name="connsiteX48" fmla="*/ 193382 w 205206"/>
                <a:gd name="connsiteY48" fmla="*/ 141925 h 193759"/>
                <a:gd name="connsiteX49" fmla="*/ 191408 w 205206"/>
                <a:gd name="connsiteY49" fmla="*/ 148044 h 193759"/>
                <a:gd name="connsiteX50" fmla="*/ 189484 w 205206"/>
                <a:gd name="connsiteY50" fmla="*/ 148044 h 193759"/>
                <a:gd name="connsiteX51" fmla="*/ 187560 w 205206"/>
                <a:gd name="connsiteY51" fmla="*/ 143455 h 193759"/>
                <a:gd name="connsiteX52" fmla="*/ 179715 w 205206"/>
                <a:gd name="connsiteY52" fmla="*/ 141925 h 193759"/>
                <a:gd name="connsiteX53" fmla="*/ 173843 w 205206"/>
                <a:gd name="connsiteY53" fmla="*/ 141925 h 193759"/>
                <a:gd name="connsiteX54" fmla="*/ 169945 w 205206"/>
                <a:gd name="connsiteY54" fmla="*/ 143455 h 193759"/>
                <a:gd name="connsiteX55" fmla="*/ 162100 w 205206"/>
                <a:gd name="connsiteY55" fmla="*/ 143455 h 193759"/>
                <a:gd name="connsiteX56" fmla="*/ 154304 w 205206"/>
                <a:gd name="connsiteY56" fmla="*/ 144984 h 193759"/>
                <a:gd name="connsiteX57" fmla="*/ 150357 w 205206"/>
                <a:gd name="connsiteY57" fmla="*/ 140396 h 193759"/>
                <a:gd name="connsiteX58" fmla="*/ 144486 w 205206"/>
                <a:gd name="connsiteY58" fmla="*/ 126630 h 193759"/>
                <a:gd name="connsiteX59" fmla="*/ 138664 w 205206"/>
                <a:gd name="connsiteY59" fmla="*/ 126630 h 193759"/>
                <a:gd name="connsiteX60" fmla="*/ 132792 w 205206"/>
                <a:gd name="connsiteY60" fmla="*/ 129689 h 193759"/>
                <a:gd name="connsiteX61" fmla="*/ 136690 w 205206"/>
                <a:gd name="connsiteY61" fmla="*/ 138866 h 193759"/>
                <a:gd name="connsiteX62" fmla="*/ 132792 w 205206"/>
                <a:gd name="connsiteY62" fmla="*/ 143455 h 193759"/>
                <a:gd name="connsiteX63" fmla="*/ 115178 w 205206"/>
                <a:gd name="connsiteY63" fmla="*/ 143455 h 193759"/>
                <a:gd name="connsiteX64" fmla="*/ 113253 w 205206"/>
                <a:gd name="connsiteY64" fmla="*/ 146514 h 193759"/>
                <a:gd name="connsiteX65" fmla="*/ 111280 w 205206"/>
                <a:gd name="connsiteY65" fmla="*/ 149573 h 193759"/>
                <a:gd name="connsiteX66" fmla="*/ 103435 w 205206"/>
                <a:gd name="connsiteY66" fmla="*/ 146514 h 193759"/>
                <a:gd name="connsiteX67" fmla="*/ 95639 w 205206"/>
                <a:gd name="connsiteY67" fmla="*/ 146514 h 193759"/>
                <a:gd name="connsiteX68" fmla="*/ 91741 w 205206"/>
                <a:gd name="connsiteY68" fmla="*/ 149573 h 193759"/>
                <a:gd name="connsiteX69" fmla="*/ 93665 w 205206"/>
                <a:gd name="connsiteY69" fmla="*/ 154113 h 193759"/>
                <a:gd name="connsiteX70" fmla="*/ 93665 w 205206"/>
                <a:gd name="connsiteY70" fmla="*/ 158701 h 193759"/>
                <a:gd name="connsiteX71" fmla="*/ 97612 w 205206"/>
                <a:gd name="connsiteY71" fmla="*/ 158701 h 193759"/>
                <a:gd name="connsiteX72" fmla="*/ 105457 w 205206"/>
                <a:gd name="connsiteY72" fmla="*/ 157172 h 193759"/>
                <a:gd name="connsiteX73" fmla="*/ 109306 w 205206"/>
                <a:gd name="connsiteY73" fmla="*/ 158701 h 193759"/>
                <a:gd name="connsiteX74" fmla="*/ 115178 w 205206"/>
                <a:gd name="connsiteY74" fmla="*/ 164819 h 193759"/>
                <a:gd name="connsiteX75" fmla="*/ 115178 w 205206"/>
                <a:gd name="connsiteY75" fmla="*/ 184556 h 193759"/>
                <a:gd name="connsiteX76" fmla="*/ 105310 w 205206"/>
                <a:gd name="connsiteY76" fmla="*/ 176908 h 193759"/>
                <a:gd name="connsiteX77" fmla="*/ 103287 w 205206"/>
                <a:gd name="connsiteY77" fmla="*/ 176908 h 193759"/>
                <a:gd name="connsiteX78" fmla="*/ 101362 w 205206"/>
                <a:gd name="connsiteY78" fmla="*/ 179967 h 193759"/>
                <a:gd name="connsiteX79" fmla="*/ 93517 w 205206"/>
                <a:gd name="connsiteY79" fmla="*/ 181496 h 193759"/>
                <a:gd name="connsiteX80" fmla="*/ 89669 w 205206"/>
                <a:gd name="connsiteY80" fmla="*/ 181496 h 193759"/>
                <a:gd name="connsiteX81" fmla="*/ 89669 w 205206"/>
                <a:gd name="connsiteY81" fmla="*/ 186085 h 193759"/>
                <a:gd name="connsiteX82" fmla="*/ 83748 w 205206"/>
                <a:gd name="connsiteY82" fmla="*/ 193733 h 193759"/>
                <a:gd name="connsiteX83" fmla="*/ 81824 w 205206"/>
                <a:gd name="connsiteY83" fmla="*/ 192203 h 193759"/>
                <a:gd name="connsiteX84" fmla="*/ 75952 w 205206"/>
                <a:gd name="connsiteY84" fmla="*/ 190674 h 193759"/>
                <a:gd name="connsiteX85" fmla="*/ 75952 w 205206"/>
                <a:gd name="connsiteY85" fmla="*/ 184556 h 193759"/>
                <a:gd name="connsiteX86" fmla="*/ 62235 w 205206"/>
                <a:gd name="connsiteY86" fmla="*/ 178437 h 193759"/>
                <a:gd name="connsiteX87" fmla="*/ 58338 w 205206"/>
                <a:gd name="connsiteY87" fmla="*/ 172319 h 193759"/>
                <a:gd name="connsiteX88" fmla="*/ 42696 w 205206"/>
                <a:gd name="connsiteY88" fmla="*/ 160083 h 193759"/>
                <a:gd name="connsiteX89" fmla="*/ 32828 w 205206"/>
                <a:gd name="connsiteY89" fmla="*/ 152435 h 193759"/>
                <a:gd name="connsiteX90" fmla="*/ 36726 w 205206"/>
                <a:gd name="connsiteY90" fmla="*/ 150955 h 193759"/>
                <a:gd name="connsiteX91" fmla="*/ 25033 w 205206"/>
                <a:gd name="connsiteY91" fmla="*/ 144837 h 193759"/>
                <a:gd name="connsiteX92" fmla="*/ 21085 w 205206"/>
                <a:gd name="connsiteY92" fmla="*/ 137189 h 193759"/>
                <a:gd name="connsiteX93" fmla="*/ 17484 w 205206"/>
                <a:gd name="connsiteY93" fmla="*/ 131169 h 193759"/>
                <a:gd name="connsiteX94" fmla="*/ 17484 w 205206"/>
                <a:gd name="connsiteY94" fmla="*/ 121992 h 193759"/>
                <a:gd name="connsiteX95" fmla="*/ 11612 w 205206"/>
                <a:gd name="connsiteY95" fmla="*/ 115874 h 193759"/>
                <a:gd name="connsiteX96" fmla="*/ 11612 w 205206"/>
                <a:gd name="connsiteY96" fmla="*/ 111433 h 193759"/>
                <a:gd name="connsiteX97" fmla="*/ 7764 w 205206"/>
                <a:gd name="connsiteY97" fmla="*/ 106844 h 193759"/>
                <a:gd name="connsiteX98" fmla="*/ -82 w 205206"/>
                <a:gd name="connsiteY98" fmla="*/ 94657 h 193759"/>
                <a:gd name="connsiteX99" fmla="*/ -82 w 205206"/>
                <a:gd name="connsiteY99" fmla="*/ 91697 h 193759"/>
                <a:gd name="connsiteX100" fmla="*/ 7764 w 205206"/>
                <a:gd name="connsiteY100" fmla="*/ 93226 h 193759"/>
                <a:gd name="connsiteX101" fmla="*/ 15559 w 205206"/>
                <a:gd name="connsiteY101" fmla="*/ 88638 h 193759"/>
                <a:gd name="connsiteX102" fmla="*/ 17484 w 205206"/>
                <a:gd name="connsiteY102" fmla="*/ 71961 h 193759"/>
                <a:gd name="connsiteX103" fmla="*/ 17484 w 205206"/>
                <a:gd name="connsiteY103" fmla="*/ 62833 h 193759"/>
                <a:gd name="connsiteX104" fmla="*/ 21382 w 205206"/>
                <a:gd name="connsiteY104" fmla="*/ 65892 h 193759"/>
                <a:gd name="connsiteX105" fmla="*/ 38996 w 205206"/>
                <a:gd name="connsiteY105" fmla="*/ 62833 h 193759"/>
                <a:gd name="connsiteX106" fmla="*/ 25329 w 205206"/>
                <a:gd name="connsiteY106" fmla="*/ 61303 h 193759"/>
                <a:gd name="connsiteX107" fmla="*/ 19457 w 205206"/>
                <a:gd name="connsiteY107" fmla="*/ 50547 h 193759"/>
                <a:gd name="connsiteX108" fmla="*/ 25329 w 205206"/>
                <a:gd name="connsiteY108" fmla="*/ 49017 h 193759"/>
                <a:gd name="connsiteX109" fmla="*/ 27253 w 205206"/>
                <a:gd name="connsiteY109" fmla="*/ 42899 h 193759"/>
                <a:gd name="connsiteX110" fmla="*/ 33125 w 205206"/>
                <a:gd name="connsiteY110" fmla="*/ 42899 h 193759"/>
                <a:gd name="connsiteX111" fmla="*/ 37022 w 205206"/>
                <a:gd name="connsiteY111" fmla="*/ 41419 h 193759"/>
                <a:gd name="connsiteX112" fmla="*/ 40970 w 205206"/>
                <a:gd name="connsiteY112" fmla="*/ 39890 h 193759"/>
                <a:gd name="connsiteX113" fmla="*/ 42894 w 205206"/>
                <a:gd name="connsiteY113" fmla="*/ 41419 h 193759"/>
                <a:gd name="connsiteX114" fmla="*/ 91790 w 205206"/>
                <a:gd name="connsiteY114" fmla="*/ 41419 h 193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205206" h="193759">
                  <a:moveTo>
                    <a:pt x="91741" y="4562"/>
                  </a:moveTo>
                  <a:lnTo>
                    <a:pt x="91741" y="4562"/>
                  </a:lnTo>
                  <a:lnTo>
                    <a:pt x="95639" y="3032"/>
                  </a:lnTo>
                  <a:lnTo>
                    <a:pt x="97612" y="3032"/>
                  </a:lnTo>
                  <a:lnTo>
                    <a:pt x="103435" y="-27"/>
                  </a:lnTo>
                  <a:lnTo>
                    <a:pt x="126921" y="-27"/>
                  </a:lnTo>
                  <a:lnTo>
                    <a:pt x="128894" y="3032"/>
                  </a:lnTo>
                  <a:lnTo>
                    <a:pt x="136690" y="-27"/>
                  </a:lnTo>
                  <a:lnTo>
                    <a:pt x="142561" y="-27"/>
                  </a:lnTo>
                  <a:lnTo>
                    <a:pt x="142561" y="2884"/>
                  </a:lnTo>
                  <a:lnTo>
                    <a:pt x="156229" y="2884"/>
                  </a:lnTo>
                  <a:lnTo>
                    <a:pt x="158202" y="4414"/>
                  </a:lnTo>
                  <a:lnTo>
                    <a:pt x="158202" y="4414"/>
                  </a:lnTo>
                  <a:lnTo>
                    <a:pt x="156229" y="10532"/>
                  </a:lnTo>
                  <a:lnTo>
                    <a:pt x="158202" y="16601"/>
                  </a:lnTo>
                  <a:lnTo>
                    <a:pt x="158202" y="22719"/>
                  </a:lnTo>
                  <a:lnTo>
                    <a:pt x="160127" y="30367"/>
                  </a:lnTo>
                  <a:lnTo>
                    <a:pt x="158202" y="33426"/>
                  </a:lnTo>
                  <a:lnTo>
                    <a:pt x="162100" y="34956"/>
                  </a:lnTo>
                  <a:lnTo>
                    <a:pt x="165998" y="31896"/>
                  </a:lnTo>
                  <a:lnTo>
                    <a:pt x="173843" y="33426"/>
                  </a:lnTo>
                  <a:lnTo>
                    <a:pt x="181639" y="31896"/>
                  </a:lnTo>
                  <a:lnTo>
                    <a:pt x="187560" y="27308"/>
                  </a:lnTo>
                  <a:lnTo>
                    <a:pt x="199253" y="27308"/>
                  </a:lnTo>
                  <a:lnTo>
                    <a:pt x="205125" y="31896"/>
                  </a:lnTo>
                  <a:lnTo>
                    <a:pt x="205125" y="41074"/>
                  </a:lnTo>
                  <a:lnTo>
                    <a:pt x="201178" y="44083"/>
                  </a:lnTo>
                  <a:lnTo>
                    <a:pt x="205125" y="47142"/>
                  </a:lnTo>
                  <a:lnTo>
                    <a:pt x="201178" y="53310"/>
                  </a:lnTo>
                  <a:lnTo>
                    <a:pt x="195356" y="53310"/>
                  </a:lnTo>
                  <a:lnTo>
                    <a:pt x="189484" y="59428"/>
                  </a:lnTo>
                  <a:lnTo>
                    <a:pt x="187560" y="62488"/>
                  </a:lnTo>
                  <a:lnTo>
                    <a:pt x="189484" y="64017"/>
                  </a:lnTo>
                  <a:lnTo>
                    <a:pt x="191408" y="68606"/>
                  </a:lnTo>
                  <a:lnTo>
                    <a:pt x="189484" y="68606"/>
                  </a:lnTo>
                  <a:lnTo>
                    <a:pt x="187560" y="70086"/>
                  </a:lnTo>
                  <a:lnTo>
                    <a:pt x="183613" y="71615"/>
                  </a:lnTo>
                  <a:lnTo>
                    <a:pt x="183613" y="74674"/>
                  </a:lnTo>
                  <a:lnTo>
                    <a:pt x="185537" y="76204"/>
                  </a:lnTo>
                  <a:lnTo>
                    <a:pt x="187560" y="79263"/>
                  </a:lnTo>
                  <a:lnTo>
                    <a:pt x="191408" y="80793"/>
                  </a:lnTo>
                  <a:lnTo>
                    <a:pt x="193382" y="85381"/>
                  </a:lnTo>
                  <a:lnTo>
                    <a:pt x="197280" y="88441"/>
                  </a:lnTo>
                  <a:lnTo>
                    <a:pt x="199253" y="91500"/>
                  </a:lnTo>
                  <a:lnTo>
                    <a:pt x="205125" y="94559"/>
                  </a:lnTo>
                  <a:lnTo>
                    <a:pt x="205125" y="100628"/>
                  </a:lnTo>
                  <a:lnTo>
                    <a:pt x="199253" y="114393"/>
                  </a:lnTo>
                  <a:lnTo>
                    <a:pt x="191408" y="137337"/>
                  </a:lnTo>
                  <a:lnTo>
                    <a:pt x="193382" y="141925"/>
                  </a:lnTo>
                  <a:lnTo>
                    <a:pt x="191408" y="148044"/>
                  </a:lnTo>
                  <a:lnTo>
                    <a:pt x="189484" y="148044"/>
                  </a:lnTo>
                  <a:lnTo>
                    <a:pt x="187560" y="143455"/>
                  </a:lnTo>
                  <a:lnTo>
                    <a:pt x="179715" y="141925"/>
                  </a:lnTo>
                  <a:lnTo>
                    <a:pt x="173843" y="141925"/>
                  </a:lnTo>
                  <a:lnTo>
                    <a:pt x="169945" y="143455"/>
                  </a:lnTo>
                  <a:lnTo>
                    <a:pt x="162100" y="143455"/>
                  </a:lnTo>
                  <a:lnTo>
                    <a:pt x="154304" y="144984"/>
                  </a:lnTo>
                  <a:lnTo>
                    <a:pt x="150357" y="140396"/>
                  </a:lnTo>
                  <a:lnTo>
                    <a:pt x="144486" y="126630"/>
                  </a:lnTo>
                  <a:lnTo>
                    <a:pt x="138664" y="126630"/>
                  </a:lnTo>
                  <a:lnTo>
                    <a:pt x="132792" y="129689"/>
                  </a:lnTo>
                  <a:lnTo>
                    <a:pt x="136690" y="138866"/>
                  </a:lnTo>
                  <a:lnTo>
                    <a:pt x="132792" y="143455"/>
                  </a:lnTo>
                  <a:lnTo>
                    <a:pt x="115178" y="143455"/>
                  </a:lnTo>
                  <a:lnTo>
                    <a:pt x="113253" y="146514"/>
                  </a:lnTo>
                  <a:lnTo>
                    <a:pt x="111280" y="149573"/>
                  </a:lnTo>
                  <a:lnTo>
                    <a:pt x="103435" y="146514"/>
                  </a:lnTo>
                  <a:lnTo>
                    <a:pt x="95639" y="146514"/>
                  </a:lnTo>
                  <a:lnTo>
                    <a:pt x="91741" y="149573"/>
                  </a:lnTo>
                  <a:lnTo>
                    <a:pt x="93665" y="154113"/>
                  </a:lnTo>
                  <a:lnTo>
                    <a:pt x="93665" y="158701"/>
                  </a:lnTo>
                  <a:lnTo>
                    <a:pt x="97612" y="158701"/>
                  </a:lnTo>
                  <a:lnTo>
                    <a:pt x="105457" y="157172"/>
                  </a:lnTo>
                  <a:lnTo>
                    <a:pt x="109306" y="158701"/>
                  </a:lnTo>
                  <a:lnTo>
                    <a:pt x="115178" y="164819"/>
                  </a:lnTo>
                  <a:lnTo>
                    <a:pt x="115178" y="184556"/>
                  </a:lnTo>
                  <a:lnTo>
                    <a:pt x="105310" y="176908"/>
                  </a:lnTo>
                  <a:lnTo>
                    <a:pt x="103287" y="176908"/>
                  </a:lnTo>
                  <a:lnTo>
                    <a:pt x="101362" y="179967"/>
                  </a:lnTo>
                  <a:lnTo>
                    <a:pt x="93517" y="181496"/>
                  </a:lnTo>
                  <a:lnTo>
                    <a:pt x="89669" y="181496"/>
                  </a:lnTo>
                  <a:lnTo>
                    <a:pt x="89669" y="186085"/>
                  </a:lnTo>
                  <a:lnTo>
                    <a:pt x="83748" y="193733"/>
                  </a:lnTo>
                  <a:lnTo>
                    <a:pt x="81824" y="192203"/>
                  </a:lnTo>
                  <a:lnTo>
                    <a:pt x="75952" y="190674"/>
                  </a:lnTo>
                  <a:lnTo>
                    <a:pt x="75952" y="184556"/>
                  </a:lnTo>
                  <a:lnTo>
                    <a:pt x="62235" y="178437"/>
                  </a:lnTo>
                  <a:lnTo>
                    <a:pt x="58338" y="172319"/>
                  </a:lnTo>
                  <a:lnTo>
                    <a:pt x="42696" y="160083"/>
                  </a:lnTo>
                  <a:lnTo>
                    <a:pt x="32828" y="152435"/>
                  </a:lnTo>
                  <a:lnTo>
                    <a:pt x="36726" y="150955"/>
                  </a:lnTo>
                  <a:lnTo>
                    <a:pt x="25033" y="144837"/>
                  </a:lnTo>
                  <a:lnTo>
                    <a:pt x="21085" y="137189"/>
                  </a:lnTo>
                  <a:lnTo>
                    <a:pt x="17484" y="131169"/>
                  </a:lnTo>
                  <a:lnTo>
                    <a:pt x="17484" y="121992"/>
                  </a:lnTo>
                  <a:lnTo>
                    <a:pt x="11612" y="115874"/>
                  </a:lnTo>
                  <a:lnTo>
                    <a:pt x="11612" y="111433"/>
                  </a:lnTo>
                  <a:lnTo>
                    <a:pt x="7764" y="106844"/>
                  </a:lnTo>
                  <a:lnTo>
                    <a:pt x="-82" y="94657"/>
                  </a:lnTo>
                  <a:lnTo>
                    <a:pt x="-82" y="91697"/>
                  </a:lnTo>
                  <a:lnTo>
                    <a:pt x="7764" y="93226"/>
                  </a:lnTo>
                  <a:lnTo>
                    <a:pt x="15559" y="88638"/>
                  </a:lnTo>
                  <a:lnTo>
                    <a:pt x="17484" y="71961"/>
                  </a:lnTo>
                  <a:lnTo>
                    <a:pt x="17484" y="62833"/>
                  </a:lnTo>
                  <a:lnTo>
                    <a:pt x="21382" y="65892"/>
                  </a:lnTo>
                  <a:lnTo>
                    <a:pt x="38996" y="62833"/>
                  </a:lnTo>
                  <a:lnTo>
                    <a:pt x="25329" y="61303"/>
                  </a:lnTo>
                  <a:lnTo>
                    <a:pt x="19457" y="50547"/>
                  </a:lnTo>
                  <a:lnTo>
                    <a:pt x="25329" y="49017"/>
                  </a:lnTo>
                  <a:lnTo>
                    <a:pt x="27253" y="42899"/>
                  </a:lnTo>
                  <a:lnTo>
                    <a:pt x="33125" y="42899"/>
                  </a:lnTo>
                  <a:lnTo>
                    <a:pt x="37022" y="41419"/>
                  </a:lnTo>
                  <a:lnTo>
                    <a:pt x="40970" y="39890"/>
                  </a:lnTo>
                  <a:lnTo>
                    <a:pt x="42894" y="41419"/>
                  </a:lnTo>
                  <a:lnTo>
                    <a:pt x="91790" y="4141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Graphic 2">
              <a:extLst>
                <a:ext uri="{FF2B5EF4-FFF2-40B4-BE49-F238E27FC236}">
                  <a16:creationId xmlns:a16="http://schemas.microsoft.com/office/drawing/2014/main" id="{E6657DC6-0D23-4EEA-AC55-5F4A14175692}"/>
                </a:ext>
              </a:extLst>
            </p:cNvPr>
            <p:cNvSpPr/>
            <p:nvPr/>
          </p:nvSpPr>
          <p:spPr>
            <a:xfrm>
              <a:off x="5716439" y="4583836"/>
              <a:ext cx="67868" cy="33933"/>
            </a:xfrm>
            <a:custGeom>
              <a:avLst/>
              <a:gdLst>
                <a:gd name="connsiteX0" fmla="*/ 9589 w 74701"/>
                <a:gd name="connsiteY0" fmla="*/ 37324 h 37350"/>
                <a:gd name="connsiteX1" fmla="*/ 15460 w 74701"/>
                <a:gd name="connsiteY1" fmla="*/ 37324 h 37350"/>
                <a:gd name="connsiteX2" fmla="*/ 19407 w 74701"/>
                <a:gd name="connsiteY2" fmla="*/ 35794 h 37350"/>
                <a:gd name="connsiteX3" fmla="*/ 23355 w 74701"/>
                <a:gd name="connsiteY3" fmla="*/ 34314 h 37350"/>
                <a:gd name="connsiteX4" fmla="*/ 25279 w 74701"/>
                <a:gd name="connsiteY4" fmla="*/ 35794 h 37350"/>
                <a:gd name="connsiteX5" fmla="*/ 74620 w 74701"/>
                <a:gd name="connsiteY5" fmla="*/ 35794 h 37350"/>
                <a:gd name="connsiteX6" fmla="*/ 74620 w 74701"/>
                <a:gd name="connsiteY6" fmla="*/ -27 h 37350"/>
                <a:gd name="connsiteX7" fmla="*/ 21579 w 74701"/>
                <a:gd name="connsiteY7" fmla="*/ -27 h 37350"/>
                <a:gd name="connsiteX8" fmla="*/ 19605 w 74701"/>
                <a:gd name="connsiteY8" fmla="*/ 1503 h 37350"/>
                <a:gd name="connsiteX9" fmla="*/ 21579 w 74701"/>
                <a:gd name="connsiteY9" fmla="*/ 5943 h 37350"/>
                <a:gd name="connsiteX10" fmla="*/ 9786 w 74701"/>
                <a:gd name="connsiteY10" fmla="*/ 16404 h 37350"/>
                <a:gd name="connsiteX11" fmla="*/ -82 w 74701"/>
                <a:gd name="connsiteY11" fmla="*/ 31206 h 37350"/>
                <a:gd name="connsiteX12" fmla="*/ 9786 w 74701"/>
                <a:gd name="connsiteY12" fmla="*/ 35646 h 3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701" h="37350">
                  <a:moveTo>
                    <a:pt x="9589" y="37324"/>
                  </a:moveTo>
                  <a:lnTo>
                    <a:pt x="15460" y="37324"/>
                  </a:lnTo>
                  <a:lnTo>
                    <a:pt x="19407" y="35794"/>
                  </a:lnTo>
                  <a:lnTo>
                    <a:pt x="23355" y="34314"/>
                  </a:lnTo>
                  <a:lnTo>
                    <a:pt x="25279" y="35794"/>
                  </a:lnTo>
                  <a:lnTo>
                    <a:pt x="74620" y="35794"/>
                  </a:lnTo>
                  <a:lnTo>
                    <a:pt x="74620" y="-27"/>
                  </a:lnTo>
                  <a:lnTo>
                    <a:pt x="21579" y="-27"/>
                  </a:lnTo>
                  <a:lnTo>
                    <a:pt x="19605" y="1503"/>
                  </a:lnTo>
                  <a:lnTo>
                    <a:pt x="21579" y="5943"/>
                  </a:lnTo>
                  <a:lnTo>
                    <a:pt x="9786" y="16404"/>
                  </a:lnTo>
                  <a:lnTo>
                    <a:pt x="-82" y="31206"/>
                  </a:lnTo>
                  <a:lnTo>
                    <a:pt x="9786" y="3564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Graphic 2">
              <a:extLst>
                <a:ext uri="{FF2B5EF4-FFF2-40B4-BE49-F238E27FC236}">
                  <a16:creationId xmlns:a16="http://schemas.microsoft.com/office/drawing/2014/main" id="{4E9BDBBC-7C4F-426F-8CAC-533EF42D60F5}"/>
                </a:ext>
              </a:extLst>
            </p:cNvPr>
            <p:cNvSpPr/>
            <p:nvPr/>
          </p:nvSpPr>
          <p:spPr>
            <a:xfrm>
              <a:off x="5777314" y="4536275"/>
              <a:ext cx="251252" cy="250837"/>
            </a:xfrm>
            <a:custGeom>
              <a:avLst/>
              <a:gdLst>
                <a:gd name="connsiteX0" fmla="*/ -82 w 276552"/>
                <a:gd name="connsiteY0" fmla="*/ 240063 h 276108"/>
                <a:gd name="connsiteX1" fmla="*/ 5790 w 276552"/>
                <a:gd name="connsiteY1" fmla="*/ 232465 h 276108"/>
                <a:gd name="connsiteX2" fmla="*/ 5790 w 276552"/>
                <a:gd name="connsiteY2" fmla="*/ 227975 h 276108"/>
                <a:gd name="connsiteX3" fmla="*/ 9737 w 276552"/>
                <a:gd name="connsiteY3" fmla="*/ 227975 h 276108"/>
                <a:gd name="connsiteX4" fmla="*/ 17533 w 276552"/>
                <a:gd name="connsiteY4" fmla="*/ 226445 h 276108"/>
                <a:gd name="connsiteX5" fmla="*/ 19507 w 276552"/>
                <a:gd name="connsiteY5" fmla="*/ 223436 h 276108"/>
                <a:gd name="connsiteX6" fmla="*/ 21480 w 276552"/>
                <a:gd name="connsiteY6" fmla="*/ 223436 h 276108"/>
                <a:gd name="connsiteX7" fmla="*/ 31348 w 276552"/>
                <a:gd name="connsiteY7" fmla="*/ 230985 h 276108"/>
                <a:gd name="connsiteX8" fmla="*/ 31348 w 276552"/>
                <a:gd name="connsiteY8" fmla="*/ 211249 h 276108"/>
                <a:gd name="connsiteX9" fmla="*/ 25427 w 276552"/>
                <a:gd name="connsiteY9" fmla="*/ 205229 h 276108"/>
                <a:gd name="connsiteX10" fmla="*/ 21529 w 276552"/>
                <a:gd name="connsiteY10" fmla="*/ 203700 h 276108"/>
                <a:gd name="connsiteX11" fmla="*/ 13684 w 276552"/>
                <a:gd name="connsiteY11" fmla="*/ 205229 h 276108"/>
                <a:gd name="connsiteX12" fmla="*/ 9786 w 276552"/>
                <a:gd name="connsiteY12" fmla="*/ 205229 h 276108"/>
                <a:gd name="connsiteX13" fmla="*/ 9786 w 276552"/>
                <a:gd name="connsiteY13" fmla="*/ 200690 h 276108"/>
                <a:gd name="connsiteX14" fmla="*/ 7813 w 276552"/>
                <a:gd name="connsiteY14" fmla="*/ 196200 h 276108"/>
                <a:gd name="connsiteX15" fmla="*/ 11760 w 276552"/>
                <a:gd name="connsiteY15" fmla="*/ 193141 h 276108"/>
                <a:gd name="connsiteX16" fmla="*/ 19556 w 276552"/>
                <a:gd name="connsiteY16" fmla="*/ 193141 h 276108"/>
                <a:gd name="connsiteX17" fmla="*/ 27401 w 276552"/>
                <a:gd name="connsiteY17" fmla="*/ 196200 h 276108"/>
                <a:gd name="connsiteX18" fmla="*/ 29375 w 276552"/>
                <a:gd name="connsiteY18" fmla="*/ 193141 h 276108"/>
                <a:gd name="connsiteX19" fmla="*/ 31348 w 276552"/>
                <a:gd name="connsiteY19" fmla="*/ 190131 h 276108"/>
                <a:gd name="connsiteX20" fmla="*/ 48963 w 276552"/>
                <a:gd name="connsiteY20" fmla="*/ 190131 h 276108"/>
                <a:gd name="connsiteX21" fmla="*/ 52861 w 276552"/>
                <a:gd name="connsiteY21" fmla="*/ 185641 h 276108"/>
                <a:gd name="connsiteX22" fmla="*/ 48963 w 276552"/>
                <a:gd name="connsiteY22" fmla="*/ 176562 h 276108"/>
                <a:gd name="connsiteX23" fmla="*/ 54834 w 276552"/>
                <a:gd name="connsiteY23" fmla="*/ 173503 h 276108"/>
                <a:gd name="connsiteX24" fmla="*/ 60706 w 276552"/>
                <a:gd name="connsiteY24" fmla="*/ 173503 h 276108"/>
                <a:gd name="connsiteX25" fmla="*/ 66577 w 276552"/>
                <a:gd name="connsiteY25" fmla="*/ 187121 h 276108"/>
                <a:gd name="connsiteX26" fmla="*/ 70475 w 276552"/>
                <a:gd name="connsiteY26" fmla="*/ 191661 h 276108"/>
                <a:gd name="connsiteX27" fmla="*/ 78320 w 276552"/>
                <a:gd name="connsiteY27" fmla="*/ 190131 h 276108"/>
                <a:gd name="connsiteX28" fmla="*/ 86166 w 276552"/>
                <a:gd name="connsiteY28" fmla="*/ 190131 h 276108"/>
                <a:gd name="connsiteX29" fmla="*/ 90063 w 276552"/>
                <a:gd name="connsiteY29" fmla="*/ 188651 h 276108"/>
                <a:gd name="connsiteX30" fmla="*/ 95984 w 276552"/>
                <a:gd name="connsiteY30" fmla="*/ 188651 h 276108"/>
                <a:gd name="connsiteX31" fmla="*/ 103829 w 276552"/>
                <a:gd name="connsiteY31" fmla="*/ 190131 h 276108"/>
                <a:gd name="connsiteX32" fmla="*/ 105754 w 276552"/>
                <a:gd name="connsiteY32" fmla="*/ 194670 h 276108"/>
                <a:gd name="connsiteX33" fmla="*/ 107727 w 276552"/>
                <a:gd name="connsiteY33" fmla="*/ 194670 h 276108"/>
                <a:gd name="connsiteX34" fmla="*/ 109652 w 276552"/>
                <a:gd name="connsiteY34" fmla="*/ 188651 h 276108"/>
                <a:gd name="connsiteX35" fmla="*/ 107727 w 276552"/>
                <a:gd name="connsiteY35" fmla="*/ 184111 h 276108"/>
                <a:gd name="connsiteX36" fmla="*/ 115523 w 276552"/>
                <a:gd name="connsiteY36" fmla="*/ 161464 h 276108"/>
                <a:gd name="connsiteX37" fmla="*/ 121443 w 276552"/>
                <a:gd name="connsiteY37" fmla="*/ 147896 h 276108"/>
                <a:gd name="connsiteX38" fmla="*/ 121443 w 276552"/>
                <a:gd name="connsiteY38" fmla="*/ 141827 h 276108"/>
                <a:gd name="connsiteX39" fmla="*/ 115523 w 276552"/>
                <a:gd name="connsiteY39" fmla="*/ 138817 h 276108"/>
                <a:gd name="connsiteX40" fmla="*/ 113599 w 276552"/>
                <a:gd name="connsiteY40" fmla="*/ 135807 h 276108"/>
                <a:gd name="connsiteX41" fmla="*/ 109652 w 276552"/>
                <a:gd name="connsiteY41" fmla="*/ 132797 h 276108"/>
                <a:gd name="connsiteX42" fmla="*/ 107727 w 276552"/>
                <a:gd name="connsiteY42" fmla="*/ 128258 h 276108"/>
                <a:gd name="connsiteX43" fmla="*/ 103829 w 276552"/>
                <a:gd name="connsiteY43" fmla="*/ 126778 h 276108"/>
                <a:gd name="connsiteX44" fmla="*/ 101855 w 276552"/>
                <a:gd name="connsiteY44" fmla="*/ 123719 h 276108"/>
                <a:gd name="connsiteX45" fmla="*/ 99882 w 276552"/>
                <a:gd name="connsiteY45" fmla="*/ 122189 h 276108"/>
                <a:gd name="connsiteX46" fmla="*/ 99882 w 276552"/>
                <a:gd name="connsiteY46" fmla="*/ 119229 h 276108"/>
                <a:gd name="connsiteX47" fmla="*/ 103829 w 276552"/>
                <a:gd name="connsiteY47" fmla="*/ 117699 h 276108"/>
                <a:gd name="connsiteX48" fmla="*/ 105754 w 276552"/>
                <a:gd name="connsiteY48" fmla="*/ 116219 h 276108"/>
                <a:gd name="connsiteX49" fmla="*/ 107727 w 276552"/>
                <a:gd name="connsiteY49" fmla="*/ 116219 h 276108"/>
                <a:gd name="connsiteX50" fmla="*/ 105754 w 276552"/>
                <a:gd name="connsiteY50" fmla="*/ 111630 h 276108"/>
                <a:gd name="connsiteX51" fmla="*/ 103829 w 276552"/>
                <a:gd name="connsiteY51" fmla="*/ 110150 h 276108"/>
                <a:gd name="connsiteX52" fmla="*/ 105754 w 276552"/>
                <a:gd name="connsiteY52" fmla="*/ 107140 h 276108"/>
                <a:gd name="connsiteX53" fmla="*/ 111625 w 276552"/>
                <a:gd name="connsiteY53" fmla="*/ 101071 h 276108"/>
                <a:gd name="connsiteX54" fmla="*/ 117497 w 276552"/>
                <a:gd name="connsiteY54" fmla="*/ 101071 h 276108"/>
                <a:gd name="connsiteX55" fmla="*/ 121443 w 276552"/>
                <a:gd name="connsiteY55" fmla="*/ 95101 h 276108"/>
                <a:gd name="connsiteX56" fmla="*/ 117497 w 276552"/>
                <a:gd name="connsiteY56" fmla="*/ 92042 h 276108"/>
                <a:gd name="connsiteX57" fmla="*/ 121443 w 276552"/>
                <a:gd name="connsiteY57" fmla="*/ 89032 h 276108"/>
                <a:gd name="connsiteX58" fmla="*/ 121443 w 276552"/>
                <a:gd name="connsiteY58" fmla="*/ 79954 h 276108"/>
                <a:gd name="connsiteX59" fmla="*/ 115523 w 276552"/>
                <a:gd name="connsiteY59" fmla="*/ 75464 h 276108"/>
                <a:gd name="connsiteX60" fmla="*/ 103829 w 276552"/>
                <a:gd name="connsiteY60" fmla="*/ 75464 h 276108"/>
                <a:gd name="connsiteX61" fmla="*/ 97909 w 276552"/>
                <a:gd name="connsiteY61" fmla="*/ 79954 h 276108"/>
                <a:gd name="connsiteX62" fmla="*/ 90063 w 276552"/>
                <a:gd name="connsiteY62" fmla="*/ 81483 h 276108"/>
                <a:gd name="connsiteX63" fmla="*/ 82218 w 276552"/>
                <a:gd name="connsiteY63" fmla="*/ 79954 h 276108"/>
                <a:gd name="connsiteX64" fmla="*/ 78320 w 276552"/>
                <a:gd name="connsiteY64" fmla="*/ 83013 h 276108"/>
                <a:gd name="connsiteX65" fmla="*/ 74423 w 276552"/>
                <a:gd name="connsiteY65" fmla="*/ 81483 h 276108"/>
                <a:gd name="connsiteX66" fmla="*/ 76396 w 276552"/>
                <a:gd name="connsiteY66" fmla="*/ 78474 h 276108"/>
                <a:gd name="connsiteX67" fmla="*/ 74423 w 276552"/>
                <a:gd name="connsiteY67" fmla="*/ 70925 h 276108"/>
                <a:gd name="connsiteX68" fmla="*/ 74423 w 276552"/>
                <a:gd name="connsiteY68" fmla="*/ 64905 h 276108"/>
                <a:gd name="connsiteX69" fmla="*/ 72449 w 276552"/>
                <a:gd name="connsiteY69" fmla="*/ 58836 h 276108"/>
                <a:gd name="connsiteX70" fmla="*/ 74423 w 276552"/>
                <a:gd name="connsiteY70" fmla="*/ 52817 h 276108"/>
                <a:gd name="connsiteX71" fmla="*/ 121443 w 276552"/>
                <a:gd name="connsiteY71" fmla="*/ 54346 h 276108"/>
                <a:gd name="connsiteX72" fmla="*/ 125342 w 276552"/>
                <a:gd name="connsiteY72" fmla="*/ 54346 h 276108"/>
                <a:gd name="connsiteX73" fmla="*/ 127266 w 276552"/>
                <a:gd name="connsiteY73" fmla="*/ 52817 h 276108"/>
                <a:gd name="connsiteX74" fmla="*/ 129240 w 276552"/>
                <a:gd name="connsiteY74" fmla="*/ 52817 h 276108"/>
                <a:gd name="connsiteX75" fmla="*/ 133186 w 276552"/>
                <a:gd name="connsiteY75" fmla="*/ 57356 h 276108"/>
                <a:gd name="connsiteX76" fmla="*/ 137085 w 276552"/>
                <a:gd name="connsiteY76" fmla="*/ 55826 h 276108"/>
                <a:gd name="connsiteX77" fmla="*/ 141032 w 276552"/>
                <a:gd name="connsiteY77" fmla="*/ 57356 h 276108"/>
                <a:gd name="connsiteX78" fmla="*/ 142956 w 276552"/>
                <a:gd name="connsiteY78" fmla="*/ 58836 h 276108"/>
                <a:gd name="connsiteX79" fmla="*/ 146854 w 276552"/>
                <a:gd name="connsiteY79" fmla="*/ 58836 h 276108"/>
                <a:gd name="connsiteX80" fmla="*/ 146854 w 276552"/>
                <a:gd name="connsiteY80" fmla="*/ 57356 h 276108"/>
                <a:gd name="connsiteX81" fmla="*/ 148877 w 276552"/>
                <a:gd name="connsiteY81" fmla="*/ 57356 h 276108"/>
                <a:gd name="connsiteX82" fmla="*/ 156673 w 276552"/>
                <a:gd name="connsiteY82" fmla="*/ 60317 h 276108"/>
                <a:gd name="connsiteX83" fmla="*/ 168564 w 276552"/>
                <a:gd name="connsiteY83" fmla="*/ 60317 h 276108"/>
                <a:gd name="connsiteX84" fmla="*/ 172462 w 276552"/>
                <a:gd name="connsiteY84" fmla="*/ 61846 h 276108"/>
                <a:gd name="connsiteX85" fmla="*/ 174435 w 276552"/>
                <a:gd name="connsiteY85" fmla="*/ 61846 h 276108"/>
                <a:gd name="connsiteX86" fmla="*/ 176409 w 276552"/>
                <a:gd name="connsiteY86" fmla="*/ 63376 h 276108"/>
                <a:gd name="connsiteX87" fmla="*/ 180307 w 276552"/>
                <a:gd name="connsiteY87" fmla="*/ 61846 h 276108"/>
                <a:gd name="connsiteX88" fmla="*/ 180307 w 276552"/>
                <a:gd name="connsiteY88" fmla="*/ 58836 h 276108"/>
                <a:gd name="connsiteX89" fmla="*/ 178382 w 276552"/>
                <a:gd name="connsiteY89" fmla="*/ 54346 h 276108"/>
                <a:gd name="connsiteX90" fmla="*/ 178382 w 276552"/>
                <a:gd name="connsiteY90" fmla="*/ 52817 h 276108"/>
                <a:gd name="connsiteX91" fmla="*/ 182280 w 276552"/>
                <a:gd name="connsiteY91" fmla="*/ 46797 h 276108"/>
                <a:gd name="connsiteX92" fmla="*/ 184254 w 276552"/>
                <a:gd name="connsiteY92" fmla="*/ 42258 h 276108"/>
                <a:gd name="connsiteX93" fmla="*/ 203990 w 276552"/>
                <a:gd name="connsiteY93" fmla="*/ 18081 h 276108"/>
                <a:gd name="connsiteX94" fmla="*/ 211786 w 276552"/>
                <a:gd name="connsiteY94" fmla="*/ 10532 h 276108"/>
                <a:gd name="connsiteX95" fmla="*/ 217707 w 276552"/>
                <a:gd name="connsiteY95" fmla="*/ 10532 h 276108"/>
                <a:gd name="connsiteX96" fmla="*/ 219631 w 276552"/>
                <a:gd name="connsiteY96" fmla="*/ 7522 h 276108"/>
                <a:gd name="connsiteX97" fmla="*/ 237246 w 276552"/>
                <a:gd name="connsiteY97" fmla="*/ 1503 h 276108"/>
                <a:gd name="connsiteX98" fmla="*/ 241193 w 276552"/>
                <a:gd name="connsiteY98" fmla="*/ 1503 h 276108"/>
                <a:gd name="connsiteX99" fmla="*/ 245091 w 276552"/>
                <a:gd name="connsiteY99" fmla="*/ -27 h 276108"/>
                <a:gd name="connsiteX100" fmla="*/ 256834 w 276552"/>
                <a:gd name="connsiteY100" fmla="*/ -27 h 276108"/>
                <a:gd name="connsiteX101" fmla="*/ 260781 w 276552"/>
                <a:gd name="connsiteY101" fmla="*/ 3032 h 276108"/>
                <a:gd name="connsiteX102" fmla="*/ 266652 w 276552"/>
                <a:gd name="connsiteY102" fmla="*/ 6042 h 276108"/>
                <a:gd name="connsiteX103" fmla="*/ 268626 w 276552"/>
                <a:gd name="connsiteY103" fmla="*/ 4512 h 276108"/>
                <a:gd name="connsiteX104" fmla="*/ 272524 w 276552"/>
                <a:gd name="connsiteY104" fmla="*/ 3032 h 276108"/>
                <a:gd name="connsiteX105" fmla="*/ 272524 w 276552"/>
                <a:gd name="connsiteY105" fmla="*/ 4512 h 276108"/>
                <a:gd name="connsiteX106" fmla="*/ 276471 w 276552"/>
                <a:gd name="connsiteY106" fmla="*/ 10532 h 276108"/>
                <a:gd name="connsiteX107" fmla="*/ 276471 w 276552"/>
                <a:gd name="connsiteY107" fmla="*/ 22620 h 276108"/>
                <a:gd name="connsiteX108" fmla="*/ 270600 w 276552"/>
                <a:gd name="connsiteY108" fmla="*/ 27160 h 276108"/>
                <a:gd name="connsiteX109" fmla="*/ 268626 w 276552"/>
                <a:gd name="connsiteY109" fmla="*/ 31699 h 276108"/>
                <a:gd name="connsiteX110" fmla="*/ 252936 w 276552"/>
                <a:gd name="connsiteY110" fmla="*/ 48277 h 276108"/>
                <a:gd name="connsiteX111" fmla="*/ 256834 w 276552"/>
                <a:gd name="connsiteY111" fmla="*/ 58836 h 276108"/>
                <a:gd name="connsiteX112" fmla="*/ 252442 w 276552"/>
                <a:gd name="connsiteY112" fmla="*/ 66336 h 276108"/>
                <a:gd name="connsiteX113" fmla="*/ 252442 w 276552"/>
                <a:gd name="connsiteY113" fmla="*/ 72355 h 276108"/>
                <a:gd name="connsiteX114" fmla="*/ 246571 w 276552"/>
                <a:gd name="connsiteY114" fmla="*/ 78424 h 276108"/>
                <a:gd name="connsiteX115" fmla="*/ 246571 w 276552"/>
                <a:gd name="connsiteY115" fmla="*/ 90463 h 276108"/>
                <a:gd name="connsiteX116" fmla="*/ 244597 w 276552"/>
                <a:gd name="connsiteY116" fmla="*/ 99542 h 276108"/>
                <a:gd name="connsiteX117" fmla="*/ 246571 w 276552"/>
                <a:gd name="connsiteY117" fmla="*/ 101022 h 276108"/>
                <a:gd name="connsiteX118" fmla="*/ 246571 w 276552"/>
                <a:gd name="connsiteY118" fmla="*/ 111581 h 276108"/>
                <a:gd name="connsiteX119" fmla="*/ 240699 w 276552"/>
                <a:gd name="connsiteY119" fmla="*/ 113110 h 276108"/>
                <a:gd name="connsiteX120" fmla="*/ 238726 w 276552"/>
                <a:gd name="connsiteY120" fmla="*/ 122140 h 276108"/>
                <a:gd name="connsiteX121" fmla="*/ 236752 w 276552"/>
                <a:gd name="connsiteY121" fmla="*/ 134278 h 276108"/>
                <a:gd name="connsiteX122" fmla="*/ 226884 w 276552"/>
                <a:gd name="connsiteY122" fmla="*/ 149326 h 276108"/>
                <a:gd name="connsiteX123" fmla="*/ 219039 w 276552"/>
                <a:gd name="connsiteY123" fmla="*/ 150856 h 276108"/>
                <a:gd name="connsiteX124" fmla="*/ 213217 w 276552"/>
                <a:gd name="connsiteY124" fmla="*/ 156875 h 276108"/>
                <a:gd name="connsiteX125" fmla="*/ 207296 w 276552"/>
                <a:gd name="connsiteY125" fmla="*/ 153866 h 276108"/>
                <a:gd name="connsiteX126" fmla="*/ 199451 w 276552"/>
                <a:gd name="connsiteY126" fmla="*/ 159885 h 276108"/>
                <a:gd name="connsiteX127" fmla="*/ 193579 w 276552"/>
                <a:gd name="connsiteY127" fmla="*/ 165954 h 276108"/>
                <a:gd name="connsiteX128" fmla="*/ 193579 w 276552"/>
                <a:gd name="connsiteY128" fmla="*/ 173454 h 276108"/>
                <a:gd name="connsiteX129" fmla="*/ 181836 w 276552"/>
                <a:gd name="connsiteY129" fmla="*/ 184062 h 276108"/>
                <a:gd name="connsiteX130" fmla="*/ 177939 w 276552"/>
                <a:gd name="connsiteY130" fmla="*/ 190082 h 276108"/>
                <a:gd name="connsiteX131" fmla="*/ 179863 w 276552"/>
                <a:gd name="connsiteY131" fmla="*/ 197631 h 276108"/>
                <a:gd name="connsiteX132" fmla="*/ 181836 w 276552"/>
                <a:gd name="connsiteY132" fmla="*/ 200640 h 276108"/>
                <a:gd name="connsiteX133" fmla="*/ 179863 w 276552"/>
                <a:gd name="connsiteY133" fmla="*/ 217268 h 276108"/>
                <a:gd name="connsiteX134" fmla="*/ 177939 w 276552"/>
                <a:gd name="connsiteY134" fmla="*/ 224768 h 276108"/>
                <a:gd name="connsiteX135" fmla="*/ 177939 w 276552"/>
                <a:gd name="connsiteY135" fmla="*/ 230837 h 276108"/>
                <a:gd name="connsiteX136" fmla="*/ 172017 w 276552"/>
                <a:gd name="connsiteY136" fmla="*/ 239915 h 276108"/>
                <a:gd name="connsiteX137" fmla="*/ 166195 w 276552"/>
                <a:gd name="connsiteY137" fmla="*/ 241395 h 276108"/>
                <a:gd name="connsiteX138" fmla="*/ 160324 w 276552"/>
                <a:gd name="connsiteY138" fmla="*/ 244405 h 276108"/>
                <a:gd name="connsiteX139" fmla="*/ 158351 w 276552"/>
                <a:gd name="connsiteY139" fmla="*/ 248945 h 276108"/>
                <a:gd name="connsiteX140" fmla="*/ 142660 w 276552"/>
                <a:gd name="connsiteY140" fmla="*/ 261033 h 276108"/>
                <a:gd name="connsiteX141" fmla="*/ 136789 w 276552"/>
                <a:gd name="connsiteY141" fmla="*/ 268582 h 276108"/>
                <a:gd name="connsiteX142" fmla="*/ 128943 w 276552"/>
                <a:gd name="connsiteY142" fmla="*/ 271592 h 276108"/>
                <a:gd name="connsiteX143" fmla="*/ 121148 w 276552"/>
                <a:gd name="connsiteY143" fmla="*/ 267052 h 276108"/>
                <a:gd name="connsiteX144" fmla="*/ 117200 w 276552"/>
                <a:gd name="connsiteY144" fmla="*/ 262513 h 276108"/>
                <a:gd name="connsiteX145" fmla="*/ 115227 w 276552"/>
                <a:gd name="connsiteY145" fmla="*/ 261033 h 276108"/>
                <a:gd name="connsiteX146" fmla="*/ 121148 w 276552"/>
                <a:gd name="connsiteY146" fmla="*/ 251954 h 276108"/>
                <a:gd name="connsiteX147" fmla="*/ 123072 w 276552"/>
                <a:gd name="connsiteY147" fmla="*/ 250474 h 276108"/>
                <a:gd name="connsiteX148" fmla="*/ 109355 w 276552"/>
                <a:gd name="connsiteY148" fmla="*/ 253434 h 276108"/>
                <a:gd name="connsiteX149" fmla="*/ 103533 w 276552"/>
                <a:gd name="connsiteY149" fmla="*/ 258023 h 276108"/>
                <a:gd name="connsiteX150" fmla="*/ 97612 w 276552"/>
                <a:gd name="connsiteY150" fmla="*/ 256494 h 276108"/>
                <a:gd name="connsiteX151" fmla="*/ 93714 w 276552"/>
                <a:gd name="connsiteY151" fmla="*/ 258023 h 276108"/>
                <a:gd name="connsiteX152" fmla="*/ 93714 w 276552"/>
                <a:gd name="connsiteY152" fmla="*/ 265523 h 276108"/>
                <a:gd name="connsiteX153" fmla="*/ 89767 w 276552"/>
                <a:gd name="connsiteY153" fmla="*/ 268582 h 276108"/>
                <a:gd name="connsiteX154" fmla="*/ 81922 w 276552"/>
                <a:gd name="connsiteY154" fmla="*/ 268582 h 276108"/>
                <a:gd name="connsiteX155" fmla="*/ 81922 w 276552"/>
                <a:gd name="connsiteY155" fmla="*/ 265523 h 276108"/>
                <a:gd name="connsiteX156" fmla="*/ 79998 w 276552"/>
                <a:gd name="connsiteY156" fmla="*/ 262513 h 276108"/>
                <a:gd name="connsiteX157" fmla="*/ 74126 w 276552"/>
                <a:gd name="connsiteY157" fmla="*/ 265523 h 276108"/>
                <a:gd name="connsiteX158" fmla="*/ 68255 w 276552"/>
                <a:gd name="connsiteY158" fmla="*/ 265523 h 276108"/>
                <a:gd name="connsiteX159" fmla="*/ 68255 w 276552"/>
                <a:gd name="connsiteY159" fmla="*/ 261033 h 276108"/>
                <a:gd name="connsiteX160" fmla="*/ 66281 w 276552"/>
                <a:gd name="connsiteY160" fmla="*/ 256494 h 276108"/>
                <a:gd name="connsiteX161" fmla="*/ 62334 w 276552"/>
                <a:gd name="connsiteY161" fmla="*/ 253434 h 276108"/>
                <a:gd name="connsiteX162" fmla="*/ 58436 w 276552"/>
                <a:gd name="connsiteY162" fmla="*/ 253434 h 276108"/>
                <a:gd name="connsiteX163" fmla="*/ 52565 w 276552"/>
                <a:gd name="connsiteY163" fmla="*/ 256494 h 276108"/>
                <a:gd name="connsiteX164" fmla="*/ 46693 w 276552"/>
                <a:gd name="connsiteY164" fmla="*/ 258023 h 276108"/>
                <a:gd name="connsiteX165" fmla="*/ 44720 w 276552"/>
                <a:gd name="connsiteY165" fmla="*/ 264043 h 276108"/>
                <a:gd name="connsiteX166" fmla="*/ 38897 w 276552"/>
                <a:gd name="connsiteY166" fmla="*/ 267052 h 276108"/>
                <a:gd name="connsiteX167" fmla="*/ 36875 w 276552"/>
                <a:gd name="connsiteY167" fmla="*/ 267052 h 276108"/>
                <a:gd name="connsiteX168" fmla="*/ 32977 w 276552"/>
                <a:gd name="connsiteY168" fmla="*/ 274602 h 276108"/>
                <a:gd name="connsiteX169" fmla="*/ 31052 w 276552"/>
                <a:gd name="connsiteY169" fmla="*/ 276082 h 276108"/>
                <a:gd name="connsiteX170" fmla="*/ 27105 w 276552"/>
                <a:gd name="connsiteY170" fmla="*/ 271592 h 276108"/>
                <a:gd name="connsiteX171" fmla="*/ 27105 w 276552"/>
                <a:gd name="connsiteY171" fmla="*/ 267052 h 276108"/>
                <a:gd name="connsiteX172" fmla="*/ 21234 w 276552"/>
                <a:gd name="connsiteY172" fmla="*/ 261033 h 276108"/>
                <a:gd name="connsiteX173" fmla="*/ 21234 w 276552"/>
                <a:gd name="connsiteY173" fmla="*/ 254964 h 276108"/>
                <a:gd name="connsiteX174" fmla="*/ 9490 w 276552"/>
                <a:gd name="connsiteY174" fmla="*/ 248945 h 276108"/>
                <a:gd name="connsiteX175" fmla="*/ 7517 w 276552"/>
                <a:gd name="connsiteY175" fmla="*/ 245935 h 27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76552" h="276108">
                  <a:moveTo>
                    <a:pt x="-82" y="240063"/>
                  </a:moveTo>
                  <a:lnTo>
                    <a:pt x="5790" y="232465"/>
                  </a:lnTo>
                  <a:lnTo>
                    <a:pt x="5790" y="227975"/>
                  </a:lnTo>
                  <a:lnTo>
                    <a:pt x="9737" y="227975"/>
                  </a:lnTo>
                  <a:lnTo>
                    <a:pt x="17533" y="226445"/>
                  </a:lnTo>
                  <a:lnTo>
                    <a:pt x="19507" y="223436"/>
                  </a:lnTo>
                  <a:lnTo>
                    <a:pt x="21480" y="223436"/>
                  </a:lnTo>
                  <a:lnTo>
                    <a:pt x="31348" y="230985"/>
                  </a:lnTo>
                  <a:lnTo>
                    <a:pt x="31348" y="211249"/>
                  </a:lnTo>
                  <a:lnTo>
                    <a:pt x="25427" y="205229"/>
                  </a:lnTo>
                  <a:lnTo>
                    <a:pt x="21529" y="203700"/>
                  </a:lnTo>
                  <a:lnTo>
                    <a:pt x="13684" y="205229"/>
                  </a:lnTo>
                  <a:lnTo>
                    <a:pt x="9786" y="205229"/>
                  </a:lnTo>
                  <a:lnTo>
                    <a:pt x="9786" y="200690"/>
                  </a:lnTo>
                  <a:lnTo>
                    <a:pt x="7813" y="196200"/>
                  </a:lnTo>
                  <a:lnTo>
                    <a:pt x="11760" y="193141"/>
                  </a:lnTo>
                  <a:lnTo>
                    <a:pt x="19556" y="193141"/>
                  </a:lnTo>
                  <a:lnTo>
                    <a:pt x="27401" y="196200"/>
                  </a:lnTo>
                  <a:lnTo>
                    <a:pt x="29375" y="193141"/>
                  </a:lnTo>
                  <a:lnTo>
                    <a:pt x="31348" y="190131"/>
                  </a:lnTo>
                  <a:lnTo>
                    <a:pt x="48963" y="190131"/>
                  </a:lnTo>
                  <a:lnTo>
                    <a:pt x="52861" y="185641"/>
                  </a:lnTo>
                  <a:lnTo>
                    <a:pt x="48963" y="176562"/>
                  </a:lnTo>
                  <a:lnTo>
                    <a:pt x="54834" y="173503"/>
                  </a:lnTo>
                  <a:lnTo>
                    <a:pt x="60706" y="173503"/>
                  </a:lnTo>
                  <a:lnTo>
                    <a:pt x="66577" y="187121"/>
                  </a:lnTo>
                  <a:lnTo>
                    <a:pt x="70475" y="191661"/>
                  </a:lnTo>
                  <a:lnTo>
                    <a:pt x="78320" y="190131"/>
                  </a:lnTo>
                  <a:lnTo>
                    <a:pt x="86166" y="190131"/>
                  </a:lnTo>
                  <a:lnTo>
                    <a:pt x="90063" y="188651"/>
                  </a:lnTo>
                  <a:lnTo>
                    <a:pt x="95984" y="188651"/>
                  </a:lnTo>
                  <a:lnTo>
                    <a:pt x="103829" y="190131"/>
                  </a:lnTo>
                  <a:lnTo>
                    <a:pt x="105754" y="194670"/>
                  </a:lnTo>
                  <a:lnTo>
                    <a:pt x="107727" y="194670"/>
                  </a:lnTo>
                  <a:lnTo>
                    <a:pt x="109652" y="188651"/>
                  </a:lnTo>
                  <a:lnTo>
                    <a:pt x="107727" y="184111"/>
                  </a:lnTo>
                  <a:lnTo>
                    <a:pt x="115523" y="161464"/>
                  </a:lnTo>
                  <a:lnTo>
                    <a:pt x="121443" y="147896"/>
                  </a:lnTo>
                  <a:lnTo>
                    <a:pt x="121443" y="141827"/>
                  </a:lnTo>
                  <a:lnTo>
                    <a:pt x="115523" y="138817"/>
                  </a:lnTo>
                  <a:lnTo>
                    <a:pt x="113599" y="135807"/>
                  </a:lnTo>
                  <a:lnTo>
                    <a:pt x="109652" y="132797"/>
                  </a:lnTo>
                  <a:lnTo>
                    <a:pt x="107727" y="128258"/>
                  </a:lnTo>
                  <a:lnTo>
                    <a:pt x="103829" y="126778"/>
                  </a:lnTo>
                  <a:lnTo>
                    <a:pt x="101855" y="123719"/>
                  </a:lnTo>
                  <a:lnTo>
                    <a:pt x="99882" y="122189"/>
                  </a:lnTo>
                  <a:lnTo>
                    <a:pt x="99882" y="119229"/>
                  </a:lnTo>
                  <a:lnTo>
                    <a:pt x="103829" y="117699"/>
                  </a:lnTo>
                  <a:lnTo>
                    <a:pt x="105754" y="116219"/>
                  </a:lnTo>
                  <a:lnTo>
                    <a:pt x="107727" y="116219"/>
                  </a:lnTo>
                  <a:lnTo>
                    <a:pt x="105754" y="111630"/>
                  </a:lnTo>
                  <a:lnTo>
                    <a:pt x="103829" y="110150"/>
                  </a:lnTo>
                  <a:lnTo>
                    <a:pt x="105754" y="107140"/>
                  </a:lnTo>
                  <a:lnTo>
                    <a:pt x="111625" y="101071"/>
                  </a:lnTo>
                  <a:lnTo>
                    <a:pt x="117497" y="101071"/>
                  </a:lnTo>
                  <a:lnTo>
                    <a:pt x="121443" y="95101"/>
                  </a:lnTo>
                  <a:lnTo>
                    <a:pt x="117497" y="92042"/>
                  </a:lnTo>
                  <a:lnTo>
                    <a:pt x="121443" y="89032"/>
                  </a:lnTo>
                  <a:lnTo>
                    <a:pt x="121443" y="79954"/>
                  </a:lnTo>
                  <a:lnTo>
                    <a:pt x="115523" y="75464"/>
                  </a:lnTo>
                  <a:lnTo>
                    <a:pt x="103829" y="75464"/>
                  </a:lnTo>
                  <a:lnTo>
                    <a:pt x="97909" y="79954"/>
                  </a:lnTo>
                  <a:lnTo>
                    <a:pt x="90063" y="81483"/>
                  </a:lnTo>
                  <a:lnTo>
                    <a:pt x="82218" y="79954"/>
                  </a:lnTo>
                  <a:lnTo>
                    <a:pt x="78320" y="83013"/>
                  </a:lnTo>
                  <a:lnTo>
                    <a:pt x="74423" y="81483"/>
                  </a:lnTo>
                  <a:lnTo>
                    <a:pt x="76396" y="78474"/>
                  </a:lnTo>
                  <a:lnTo>
                    <a:pt x="74423" y="70925"/>
                  </a:lnTo>
                  <a:lnTo>
                    <a:pt x="74423" y="64905"/>
                  </a:lnTo>
                  <a:lnTo>
                    <a:pt x="72449" y="58836"/>
                  </a:lnTo>
                  <a:lnTo>
                    <a:pt x="74423" y="52817"/>
                  </a:lnTo>
                  <a:lnTo>
                    <a:pt x="121443" y="54346"/>
                  </a:lnTo>
                  <a:lnTo>
                    <a:pt x="125342" y="54346"/>
                  </a:lnTo>
                  <a:lnTo>
                    <a:pt x="127266" y="52817"/>
                  </a:lnTo>
                  <a:lnTo>
                    <a:pt x="129240" y="52817"/>
                  </a:lnTo>
                  <a:lnTo>
                    <a:pt x="133186" y="57356"/>
                  </a:lnTo>
                  <a:lnTo>
                    <a:pt x="137085" y="55826"/>
                  </a:lnTo>
                  <a:lnTo>
                    <a:pt x="141032" y="57356"/>
                  </a:lnTo>
                  <a:lnTo>
                    <a:pt x="142956" y="58836"/>
                  </a:lnTo>
                  <a:lnTo>
                    <a:pt x="146854" y="58836"/>
                  </a:lnTo>
                  <a:lnTo>
                    <a:pt x="146854" y="57356"/>
                  </a:lnTo>
                  <a:lnTo>
                    <a:pt x="148877" y="57356"/>
                  </a:lnTo>
                  <a:lnTo>
                    <a:pt x="156673" y="60317"/>
                  </a:lnTo>
                  <a:lnTo>
                    <a:pt x="168564" y="60317"/>
                  </a:lnTo>
                  <a:lnTo>
                    <a:pt x="172462" y="61846"/>
                  </a:lnTo>
                  <a:lnTo>
                    <a:pt x="174435" y="61846"/>
                  </a:lnTo>
                  <a:lnTo>
                    <a:pt x="176409" y="63376"/>
                  </a:lnTo>
                  <a:lnTo>
                    <a:pt x="180307" y="61846"/>
                  </a:lnTo>
                  <a:lnTo>
                    <a:pt x="180307" y="58836"/>
                  </a:lnTo>
                  <a:lnTo>
                    <a:pt x="178382" y="54346"/>
                  </a:lnTo>
                  <a:lnTo>
                    <a:pt x="178382" y="52817"/>
                  </a:lnTo>
                  <a:lnTo>
                    <a:pt x="182280" y="46797"/>
                  </a:lnTo>
                  <a:lnTo>
                    <a:pt x="184254" y="42258"/>
                  </a:lnTo>
                  <a:lnTo>
                    <a:pt x="203990" y="18081"/>
                  </a:lnTo>
                  <a:lnTo>
                    <a:pt x="211786" y="10532"/>
                  </a:lnTo>
                  <a:lnTo>
                    <a:pt x="217707" y="10532"/>
                  </a:lnTo>
                  <a:lnTo>
                    <a:pt x="219631" y="7522"/>
                  </a:lnTo>
                  <a:lnTo>
                    <a:pt x="237246" y="1503"/>
                  </a:lnTo>
                  <a:lnTo>
                    <a:pt x="241193" y="1503"/>
                  </a:lnTo>
                  <a:lnTo>
                    <a:pt x="245091" y="-27"/>
                  </a:lnTo>
                  <a:lnTo>
                    <a:pt x="256834" y="-27"/>
                  </a:lnTo>
                  <a:lnTo>
                    <a:pt x="260781" y="3032"/>
                  </a:lnTo>
                  <a:lnTo>
                    <a:pt x="266652" y="6042"/>
                  </a:lnTo>
                  <a:lnTo>
                    <a:pt x="268626" y="4512"/>
                  </a:lnTo>
                  <a:lnTo>
                    <a:pt x="272524" y="3032"/>
                  </a:lnTo>
                  <a:lnTo>
                    <a:pt x="272524" y="4512"/>
                  </a:lnTo>
                  <a:lnTo>
                    <a:pt x="276471" y="10532"/>
                  </a:lnTo>
                  <a:lnTo>
                    <a:pt x="276471" y="22620"/>
                  </a:lnTo>
                  <a:lnTo>
                    <a:pt x="270600" y="27160"/>
                  </a:lnTo>
                  <a:lnTo>
                    <a:pt x="268626" y="31699"/>
                  </a:lnTo>
                  <a:lnTo>
                    <a:pt x="252936" y="48277"/>
                  </a:lnTo>
                  <a:lnTo>
                    <a:pt x="256834" y="58836"/>
                  </a:lnTo>
                  <a:lnTo>
                    <a:pt x="252442" y="66336"/>
                  </a:lnTo>
                  <a:lnTo>
                    <a:pt x="252442" y="72355"/>
                  </a:lnTo>
                  <a:lnTo>
                    <a:pt x="246571" y="78424"/>
                  </a:lnTo>
                  <a:lnTo>
                    <a:pt x="246571" y="90463"/>
                  </a:lnTo>
                  <a:lnTo>
                    <a:pt x="244597" y="99542"/>
                  </a:lnTo>
                  <a:lnTo>
                    <a:pt x="246571" y="101022"/>
                  </a:lnTo>
                  <a:lnTo>
                    <a:pt x="246571" y="111581"/>
                  </a:lnTo>
                  <a:lnTo>
                    <a:pt x="240699" y="113110"/>
                  </a:lnTo>
                  <a:lnTo>
                    <a:pt x="238726" y="122140"/>
                  </a:lnTo>
                  <a:lnTo>
                    <a:pt x="236752" y="134278"/>
                  </a:lnTo>
                  <a:lnTo>
                    <a:pt x="226884" y="149326"/>
                  </a:lnTo>
                  <a:lnTo>
                    <a:pt x="219039" y="150856"/>
                  </a:lnTo>
                  <a:lnTo>
                    <a:pt x="213217" y="156875"/>
                  </a:lnTo>
                  <a:lnTo>
                    <a:pt x="207296" y="153866"/>
                  </a:lnTo>
                  <a:lnTo>
                    <a:pt x="199451" y="159885"/>
                  </a:lnTo>
                  <a:lnTo>
                    <a:pt x="193579" y="165954"/>
                  </a:lnTo>
                  <a:lnTo>
                    <a:pt x="193579" y="173454"/>
                  </a:lnTo>
                  <a:lnTo>
                    <a:pt x="181836" y="184062"/>
                  </a:lnTo>
                  <a:lnTo>
                    <a:pt x="177939" y="190082"/>
                  </a:lnTo>
                  <a:lnTo>
                    <a:pt x="179863" y="197631"/>
                  </a:lnTo>
                  <a:lnTo>
                    <a:pt x="181836" y="200640"/>
                  </a:lnTo>
                  <a:lnTo>
                    <a:pt x="179863" y="217268"/>
                  </a:lnTo>
                  <a:lnTo>
                    <a:pt x="177939" y="224768"/>
                  </a:lnTo>
                  <a:lnTo>
                    <a:pt x="177939" y="230837"/>
                  </a:lnTo>
                  <a:lnTo>
                    <a:pt x="172017" y="239915"/>
                  </a:lnTo>
                  <a:lnTo>
                    <a:pt x="166195" y="241395"/>
                  </a:lnTo>
                  <a:lnTo>
                    <a:pt x="160324" y="244405"/>
                  </a:lnTo>
                  <a:lnTo>
                    <a:pt x="158351" y="248945"/>
                  </a:lnTo>
                  <a:lnTo>
                    <a:pt x="142660" y="261033"/>
                  </a:lnTo>
                  <a:lnTo>
                    <a:pt x="136789" y="268582"/>
                  </a:lnTo>
                  <a:lnTo>
                    <a:pt x="128943" y="271592"/>
                  </a:lnTo>
                  <a:lnTo>
                    <a:pt x="121148" y="267052"/>
                  </a:lnTo>
                  <a:lnTo>
                    <a:pt x="117200" y="262513"/>
                  </a:lnTo>
                  <a:lnTo>
                    <a:pt x="115227" y="261033"/>
                  </a:lnTo>
                  <a:lnTo>
                    <a:pt x="121148" y="251954"/>
                  </a:lnTo>
                  <a:lnTo>
                    <a:pt x="123072" y="250474"/>
                  </a:lnTo>
                  <a:lnTo>
                    <a:pt x="109355" y="253434"/>
                  </a:lnTo>
                  <a:lnTo>
                    <a:pt x="103533" y="258023"/>
                  </a:lnTo>
                  <a:lnTo>
                    <a:pt x="97612" y="256494"/>
                  </a:lnTo>
                  <a:lnTo>
                    <a:pt x="93714" y="258023"/>
                  </a:lnTo>
                  <a:lnTo>
                    <a:pt x="93714" y="265523"/>
                  </a:lnTo>
                  <a:lnTo>
                    <a:pt x="89767" y="268582"/>
                  </a:lnTo>
                  <a:lnTo>
                    <a:pt x="81922" y="268582"/>
                  </a:lnTo>
                  <a:lnTo>
                    <a:pt x="81922" y="265523"/>
                  </a:lnTo>
                  <a:lnTo>
                    <a:pt x="79998" y="262513"/>
                  </a:lnTo>
                  <a:lnTo>
                    <a:pt x="74126" y="265523"/>
                  </a:lnTo>
                  <a:lnTo>
                    <a:pt x="68255" y="265523"/>
                  </a:lnTo>
                  <a:lnTo>
                    <a:pt x="68255" y="261033"/>
                  </a:lnTo>
                  <a:lnTo>
                    <a:pt x="66281" y="256494"/>
                  </a:lnTo>
                  <a:lnTo>
                    <a:pt x="62334" y="253434"/>
                  </a:lnTo>
                  <a:lnTo>
                    <a:pt x="58436" y="253434"/>
                  </a:lnTo>
                  <a:lnTo>
                    <a:pt x="52565" y="256494"/>
                  </a:lnTo>
                  <a:lnTo>
                    <a:pt x="46693" y="258023"/>
                  </a:lnTo>
                  <a:lnTo>
                    <a:pt x="44720" y="264043"/>
                  </a:lnTo>
                  <a:lnTo>
                    <a:pt x="38897" y="267052"/>
                  </a:lnTo>
                  <a:lnTo>
                    <a:pt x="36875" y="267052"/>
                  </a:lnTo>
                  <a:lnTo>
                    <a:pt x="32977" y="274602"/>
                  </a:lnTo>
                  <a:lnTo>
                    <a:pt x="31052" y="276082"/>
                  </a:lnTo>
                  <a:lnTo>
                    <a:pt x="27105" y="271592"/>
                  </a:lnTo>
                  <a:lnTo>
                    <a:pt x="27105" y="267052"/>
                  </a:lnTo>
                  <a:lnTo>
                    <a:pt x="21234" y="261033"/>
                  </a:lnTo>
                  <a:lnTo>
                    <a:pt x="21234" y="254964"/>
                  </a:lnTo>
                  <a:lnTo>
                    <a:pt x="9490" y="248945"/>
                  </a:lnTo>
                  <a:lnTo>
                    <a:pt x="7517" y="24593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Graphic 2">
              <a:extLst>
                <a:ext uri="{FF2B5EF4-FFF2-40B4-BE49-F238E27FC236}">
                  <a16:creationId xmlns:a16="http://schemas.microsoft.com/office/drawing/2014/main" id="{450EEAAD-81BF-4459-9442-30BBE37EBD93}"/>
                </a:ext>
              </a:extLst>
            </p:cNvPr>
            <p:cNvSpPr/>
            <p:nvPr/>
          </p:nvSpPr>
          <p:spPr>
            <a:xfrm>
              <a:off x="5804432" y="4766943"/>
              <a:ext cx="33934" cy="40657"/>
            </a:xfrm>
            <a:custGeom>
              <a:avLst/>
              <a:gdLst>
                <a:gd name="connsiteX0" fmla="*/ 37269 w 37350"/>
                <a:gd name="connsiteY0" fmla="*/ 11913 h 44751"/>
                <a:gd name="connsiteX1" fmla="*/ 37269 w 37350"/>
                <a:gd name="connsiteY1" fmla="*/ 7424 h 44751"/>
                <a:gd name="connsiteX2" fmla="*/ 35295 w 37350"/>
                <a:gd name="connsiteY2" fmla="*/ 2933 h 44751"/>
                <a:gd name="connsiteX3" fmla="*/ 31348 w 37350"/>
                <a:gd name="connsiteY3" fmla="*/ -27 h 44751"/>
                <a:gd name="connsiteX4" fmla="*/ 27450 w 37350"/>
                <a:gd name="connsiteY4" fmla="*/ -27 h 44751"/>
                <a:gd name="connsiteX5" fmla="*/ 21529 w 37350"/>
                <a:gd name="connsiteY5" fmla="*/ 2933 h 44751"/>
                <a:gd name="connsiteX6" fmla="*/ 15658 w 37350"/>
                <a:gd name="connsiteY6" fmla="*/ 4414 h 44751"/>
                <a:gd name="connsiteX7" fmla="*/ 13684 w 37350"/>
                <a:gd name="connsiteY7" fmla="*/ 10384 h 44751"/>
                <a:gd name="connsiteX8" fmla="*/ 7812 w 37350"/>
                <a:gd name="connsiteY8" fmla="*/ 13394 h 44751"/>
                <a:gd name="connsiteX9" fmla="*/ 5839 w 37350"/>
                <a:gd name="connsiteY9" fmla="*/ 13394 h 44751"/>
                <a:gd name="connsiteX10" fmla="*/ 1941 w 37350"/>
                <a:gd name="connsiteY10" fmla="*/ 20844 h 44751"/>
                <a:gd name="connsiteX11" fmla="*/ -82 w 37350"/>
                <a:gd name="connsiteY11" fmla="*/ 22324 h 44751"/>
                <a:gd name="connsiteX12" fmla="*/ 3866 w 37350"/>
                <a:gd name="connsiteY12" fmla="*/ 25334 h 44751"/>
                <a:gd name="connsiteX13" fmla="*/ 5839 w 37350"/>
                <a:gd name="connsiteY13" fmla="*/ 35794 h 44751"/>
                <a:gd name="connsiteX14" fmla="*/ 1941 w 37350"/>
                <a:gd name="connsiteY14" fmla="*/ 41764 h 44751"/>
                <a:gd name="connsiteX15" fmla="*/ 3866 w 37350"/>
                <a:gd name="connsiteY15" fmla="*/ 44725 h 44751"/>
                <a:gd name="connsiteX16" fmla="*/ 9737 w 37350"/>
                <a:gd name="connsiteY16" fmla="*/ 41764 h 44751"/>
                <a:gd name="connsiteX17" fmla="*/ 15658 w 37350"/>
                <a:gd name="connsiteY17" fmla="*/ 40284 h 44751"/>
                <a:gd name="connsiteX18" fmla="*/ 21529 w 37350"/>
                <a:gd name="connsiteY18" fmla="*/ 37274 h 44751"/>
                <a:gd name="connsiteX19" fmla="*/ 21529 w 37350"/>
                <a:gd name="connsiteY19" fmla="*/ 25334 h 44751"/>
                <a:gd name="connsiteX20" fmla="*/ 23552 w 37350"/>
                <a:gd name="connsiteY20" fmla="*/ 22324 h 44751"/>
                <a:gd name="connsiteX21" fmla="*/ 31348 w 37350"/>
                <a:gd name="connsiteY21" fmla="*/ 17884 h 4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350" h="44751">
                  <a:moveTo>
                    <a:pt x="37269" y="11913"/>
                  </a:moveTo>
                  <a:lnTo>
                    <a:pt x="37269" y="7424"/>
                  </a:lnTo>
                  <a:lnTo>
                    <a:pt x="35295" y="2933"/>
                  </a:lnTo>
                  <a:lnTo>
                    <a:pt x="31348" y="-27"/>
                  </a:lnTo>
                  <a:lnTo>
                    <a:pt x="27450" y="-27"/>
                  </a:lnTo>
                  <a:lnTo>
                    <a:pt x="21529" y="2933"/>
                  </a:lnTo>
                  <a:lnTo>
                    <a:pt x="15658" y="4414"/>
                  </a:lnTo>
                  <a:lnTo>
                    <a:pt x="13684" y="10384"/>
                  </a:lnTo>
                  <a:lnTo>
                    <a:pt x="7812" y="13394"/>
                  </a:lnTo>
                  <a:lnTo>
                    <a:pt x="5839" y="13394"/>
                  </a:lnTo>
                  <a:lnTo>
                    <a:pt x="1941" y="20844"/>
                  </a:lnTo>
                  <a:lnTo>
                    <a:pt x="-82" y="22324"/>
                  </a:lnTo>
                  <a:lnTo>
                    <a:pt x="3866" y="25334"/>
                  </a:lnTo>
                  <a:lnTo>
                    <a:pt x="5839" y="35794"/>
                  </a:lnTo>
                  <a:lnTo>
                    <a:pt x="1941" y="41764"/>
                  </a:lnTo>
                  <a:lnTo>
                    <a:pt x="3866" y="44725"/>
                  </a:lnTo>
                  <a:lnTo>
                    <a:pt x="9737" y="41764"/>
                  </a:lnTo>
                  <a:lnTo>
                    <a:pt x="15658" y="40284"/>
                  </a:lnTo>
                  <a:lnTo>
                    <a:pt x="21529" y="37274"/>
                  </a:lnTo>
                  <a:lnTo>
                    <a:pt x="21529" y="25334"/>
                  </a:lnTo>
                  <a:lnTo>
                    <a:pt x="23552" y="22324"/>
                  </a:lnTo>
                  <a:lnTo>
                    <a:pt x="31348" y="1788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Graphic 2">
              <a:extLst>
                <a:ext uri="{FF2B5EF4-FFF2-40B4-BE49-F238E27FC236}">
                  <a16:creationId xmlns:a16="http://schemas.microsoft.com/office/drawing/2014/main" id="{8F33BC83-F6C4-4547-9429-78D074E81B28}"/>
                </a:ext>
              </a:extLst>
            </p:cNvPr>
            <p:cNvSpPr/>
            <p:nvPr/>
          </p:nvSpPr>
          <p:spPr>
            <a:xfrm>
              <a:off x="6373909" y="4668598"/>
              <a:ext cx="366141" cy="322287"/>
            </a:xfrm>
            <a:custGeom>
              <a:avLst/>
              <a:gdLst>
                <a:gd name="connsiteX0" fmla="*/ 47038 w 403011"/>
                <a:gd name="connsiteY0" fmla="*/ 7571 h 354756"/>
                <a:gd name="connsiteX1" fmla="*/ 49012 w 403011"/>
                <a:gd name="connsiteY1" fmla="*/ 6042 h 354756"/>
                <a:gd name="connsiteX2" fmla="*/ 50936 w 403011"/>
                <a:gd name="connsiteY2" fmla="*/ 6042 h 354756"/>
                <a:gd name="connsiteX3" fmla="*/ 54883 w 403011"/>
                <a:gd name="connsiteY3" fmla="*/ 4512 h 354756"/>
                <a:gd name="connsiteX4" fmla="*/ 97908 w 403011"/>
                <a:gd name="connsiteY4" fmla="*/ 2983 h 354756"/>
                <a:gd name="connsiteX5" fmla="*/ 170290 w 403011"/>
                <a:gd name="connsiteY5" fmla="*/ -27 h 354756"/>
                <a:gd name="connsiteX6" fmla="*/ 303509 w 403011"/>
                <a:gd name="connsiteY6" fmla="*/ 66632 h 354756"/>
                <a:gd name="connsiteX7" fmla="*/ 311354 w 403011"/>
                <a:gd name="connsiteY7" fmla="*/ 77289 h 354756"/>
                <a:gd name="connsiteX8" fmla="*/ 309331 w 403011"/>
                <a:gd name="connsiteY8" fmla="*/ 80299 h 354756"/>
                <a:gd name="connsiteX9" fmla="*/ 309331 w 403011"/>
                <a:gd name="connsiteY9" fmla="*/ 83506 h 354756"/>
                <a:gd name="connsiteX10" fmla="*/ 313279 w 403011"/>
                <a:gd name="connsiteY10" fmla="*/ 86516 h 354756"/>
                <a:gd name="connsiteX11" fmla="*/ 358277 w 403011"/>
                <a:gd name="connsiteY11" fmla="*/ 113801 h 354756"/>
                <a:gd name="connsiteX12" fmla="*/ 358277 w 403011"/>
                <a:gd name="connsiteY12" fmla="*/ 113801 h 354756"/>
                <a:gd name="connsiteX13" fmla="*/ 360250 w 403011"/>
                <a:gd name="connsiteY13" fmla="*/ 116860 h 354756"/>
                <a:gd name="connsiteX14" fmla="*/ 360250 w 403011"/>
                <a:gd name="connsiteY14" fmla="*/ 121400 h 354756"/>
                <a:gd name="connsiteX15" fmla="*/ 358277 w 403011"/>
                <a:gd name="connsiteY15" fmla="*/ 124409 h 354756"/>
                <a:gd name="connsiteX16" fmla="*/ 348409 w 403011"/>
                <a:gd name="connsiteY16" fmla="*/ 145626 h 354756"/>
                <a:gd name="connsiteX17" fmla="*/ 342537 w 403011"/>
                <a:gd name="connsiteY17" fmla="*/ 157763 h 354756"/>
                <a:gd name="connsiteX18" fmla="*/ 342537 w 403011"/>
                <a:gd name="connsiteY18" fmla="*/ 163833 h 354756"/>
                <a:gd name="connsiteX19" fmla="*/ 354280 w 403011"/>
                <a:gd name="connsiteY19" fmla="*/ 172911 h 354756"/>
                <a:gd name="connsiteX20" fmla="*/ 362076 w 403011"/>
                <a:gd name="connsiteY20" fmla="*/ 178980 h 354756"/>
                <a:gd name="connsiteX21" fmla="*/ 366023 w 403011"/>
                <a:gd name="connsiteY21" fmla="*/ 178980 h 354756"/>
                <a:gd name="connsiteX22" fmla="*/ 369921 w 403011"/>
                <a:gd name="connsiteY22" fmla="*/ 189588 h 354756"/>
                <a:gd name="connsiteX23" fmla="*/ 369921 w 403011"/>
                <a:gd name="connsiteY23" fmla="*/ 192598 h 354756"/>
                <a:gd name="connsiteX24" fmla="*/ 366023 w 403011"/>
                <a:gd name="connsiteY24" fmla="*/ 192598 h 354756"/>
                <a:gd name="connsiteX25" fmla="*/ 362076 w 403011"/>
                <a:gd name="connsiteY25" fmla="*/ 195607 h 354756"/>
                <a:gd name="connsiteX26" fmla="*/ 360152 w 403011"/>
                <a:gd name="connsiteY26" fmla="*/ 203206 h 354756"/>
                <a:gd name="connsiteX27" fmla="*/ 360152 w 403011"/>
                <a:gd name="connsiteY27" fmla="*/ 213814 h 354756"/>
                <a:gd name="connsiteX28" fmla="*/ 366023 w 403011"/>
                <a:gd name="connsiteY28" fmla="*/ 218354 h 354756"/>
                <a:gd name="connsiteX29" fmla="*/ 364050 w 403011"/>
                <a:gd name="connsiteY29" fmla="*/ 225902 h 354756"/>
                <a:gd name="connsiteX30" fmla="*/ 360152 w 403011"/>
                <a:gd name="connsiteY30" fmla="*/ 228962 h 354756"/>
                <a:gd name="connsiteX31" fmla="*/ 362076 w 403011"/>
                <a:gd name="connsiteY31" fmla="*/ 236511 h 354756"/>
                <a:gd name="connsiteX32" fmla="*/ 366023 w 403011"/>
                <a:gd name="connsiteY32" fmla="*/ 244109 h 354756"/>
                <a:gd name="connsiteX33" fmla="*/ 364050 w 403011"/>
                <a:gd name="connsiteY33" fmla="*/ 244109 h 354756"/>
                <a:gd name="connsiteX34" fmla="*/ 366023 w 403011"/>
                <a:gd name="connsiteY34" fmla="*/ 248648 h 354756"/>
                <a:gd name="connsiteX35" fmla="*/ 366023 w 403011"/>
                <a:gd name="connsiteY35" fmla="*/ 254717 h 354756"/>
                <a:gd name="connsiteX36" fmla="*/ 369921 w 403011"/>
                <a:gd name="connsiteY36" fmla="*/ 257776 h 354756"/>
                <a:gd name="connsiteX37" fmla="*/ 367948 w 403011"/>
                <a:gd name="connsiteY37" fmla="*/ 262316 h 354756"/>
                <a:gd name="connsiteX38" fmla="*/ 369921 w 403011"/>
                <a:gd name="connsiteY38" fmla="*/ 265325 h 354756"/>
                <a:gd name="connsiteX39" fmla="*/ 373868 w 403011"/>
                <a:gd name="connsiteY39" fmla="*/ 275934 h 354756"/>
                <a:gd name="connsiteX40" fmla="*/ 371895 w 403011"/>
                <a:gd name="connsiteY40" fmla="*/ 280473 h 354756"/>
                <a:gd name="connsiteX41" fmla="*/ 387536 w 403011"/>
                <a:gd name="connsiteY41" fmla="*/ 291081 h 354756"/>
                <a:gd name="connsiteX42" fmla="*/ 395085 w 403011"/>
                <a:gd name="connsiteY42" fmla="*/ 291081 h 354756"/>
                <a:gd name="connsiteX43" fmla="*/ 402930 w 403011"/>
                <a:gd name="connsiteY43" fmla="*/ 297150 h 354756"/>
                <a:gd name="connsiteX44" fmla="*/ 402930 w 403011"/>
                <a:gd name="connsiteY44" fmla="*/ 301689 h 354756"/>
                <a:gd name="connsiteX45" fmla="*/ 402930 w 403011"/>
                <a:gd name="connsiteY45" fmla="*/ 301689 h 354756"/>
                <a:gd name="connsiteX46" fmla="*/ 399032 w 403011"/>
                <a:gd name="connsiteY46" fmla="*/ 304699 h 354756"/>
                <a:gd name="connsiteX47" fmla="*/ 393160 w 403011"/>
                <a:gd name="connsiteY47" fmla="*/ 303219 h 354756"/>
                <a:gd name="connsiteX48" fmla="*/ 389262 w 403011"/>
                <a:gd name="connsiteY48" fmla="*/ 307709 h 354756"/>
                <a:gd name="connsiteX49" fmla="*/ 381417 w 403011"/>
                <a:gd name="connsiteY49" fmla="*/ 312297 h 354756"/>
                <a:gd name="connsiteX50" fmla="*/ 375546 w 403011"/>
                <a:gd name="connsiteY50" fmla="*/ 312297 h 354756"/>
                <a:gd name="connsiteX51" fmla="*/ 369674 w 403011"/>
                <a:gd name="connsiteY51" fmla="*/ 316837 h 354756"/>
                <a:gd name="connsiteX52" fmla="*/ 361829 w 403011"/>
                <a:gd name="connsiteY52" fmla="*/ 316837 h 354756"/>
                <a:gd name="connsiteX53" fmla="*/ 359905 w 403011"/>
                <a:gd name="connsiteY53" fmla="*/ 319847 h 354756"/>
                <a:gd name="connsiteX54" fmla="*/ 354034 w 403011"/>
                <a:gd name="connsiteY54" fmla="*/ 321376 h 354756"/>
                <a:gd name="connsiteX55" fmla="*/ 348162 w 403011"/>
                <a:gd name="connsiteY55" fmla="*/ 319847 h 354756"/>
                <a:gd name="connsiteX56" fmla="*/ 334445 w 403011"/>
                <a:gd name="connsiteY56" fmla="*/ 322856 h 354756"/>
                <a:gd name="connsiteX57" fmla="*/ 332521 w 403011"/>
                <a:gd name="connsiteY57" fmla="*/ 327445 h 354756"/>
                <a:gd name="connsiteX58" fmla="*/ 326600 w 403011"/>
                <a:gd name="connsiteY58" fmla="*/ 327445 h 354756"/>
                <a:gd name="connsiteX59" fmla="*/ 320778 w 403011"/>
                <a:gd name="connsiteY59" fmla="*/ 322856 h 354756"/>
                <a:gd name="connsiteX60" fmla="*/ 314907 w 403011"/>
                <a:gd name="connsiteY60" fmla="*/ 324435 h 354756"/>
                <a:gd name="connsiteX61" fmla="*/ 308986 w 403011"/>
                <a:gd name="connsiteY61" fmla="*/ 322856 h 354756"/>
                <a:gd name="connsiteX62" fmla="*/ 307062 w 403011"/>
                <a:gd name="connsiteY62" fmla="*/ 324435 h 354756"/>
                <a:gd name="connsiteX63" fmla="*/ 307062 w 403011"/>
                <a:gd name="connsiteY63" fmla="*/ 328975 h 354756"/>
                <a:gd name="connsiteX64" fmla="*/ 305137 w 403011"/>
                <a:gd name="connsiteY64" fmla="*/ 333514 h 354756"/>
                <a:gd name="connsiteX65" fmla="*/ 295269 w 403011"/>
                <a:gd name="connsiteY65" fmla="*/ 333514 h 354756"/>
                <a:gd name="connsiteX66" fmla="*/ 289348 w 403011"/>
                <a:gd name="connsiteY66" fmla="*/ 336524 h 354756"/>
                <a:gd name="connsiteX67" fmla="*/ 285451 w 403011"/>
                <a:gd name="connsiteY67" fmla="*/ 333514 h 354756"/>
                <a:gd name="connsiteX68" fmla="*/ 277655 w 403011"/>
                <a:gd name="connsiteY68" fmla="*/ 333514 h 354756"/>
                <a:gd name="connsiteX69" fmla="*/ 277655 w 403011"/>
                <a:gd name="connsiteY69" fmla="*/ 331984 h 354756"/>
                <a:gd name="connsiteX70" fmla="*/ 273708 w 403011"/>
                <a:gd name="connsiteY70" fmla="*/ 330455 h 354756"/>
                <a:gd name="connsiteX71" fmla="*/ 271734 w 403011"/>
                <a:gd name="connsiteY71" fmla="*/ 331984 h 354756"/>
                <a:gd name="connsiteX72" fmla="*/ 267836 w 403011"/>
                <a:gd name="connsiteY72" fmla="*/ 333514 h 354756"/>
                <a:gd name="connsiteX73" fmla="*/ 260040 w 403011"/>
                <a:gd name="connsiteY73" fmla="*/ 338053 h 354756"/>
                <a:gd name="connsiteX74" fmla="*/ 250172 w 403011"/>
                <a:gd name="connsiteY74" fmla="*/ 339583 h 354756"/>
                <a:gd name="connsiteX75" fmla="*/ 250172 w 403011"/>
                <a:gd name="connsiteY75" fmla="*/ 338053 h 354756"/>
                <a:gd name="connsiteX76" fmla="*/ 246274 w 403011"/>
                <a:gd name="connsiteY76" fmla="*/ 334994 h 354756"/>
                <a:gd name="connsiteX77" fmla="*/ 240403 w 403011"/>
                <a:gd name="connsiteY77" fmla="*/ 333514 h 354756"/>
                <a:gd name="connsiteX78" fmla="*/ 236505 w 403011"/>
                <a:gd name="connsiteY78" fmla="*/ 331984 h 354756"/>
                <a:gd name="connsiteX79" fmla="*/ 232558 w 403011"/>
                <a:gd name="connsiteY79" fmla="*/ 330455 h 354756"/>
                <a:gd name="connsiteX80" fmla="*/ 232558 w 403011"/>
                <a:gd name="connsiteY80" fmla="*/ 327445 h 354756"/>
                <a:gd name="connsiteX81" fmla="*/ 226736 w 403011"/>
                <a:gd name="connsiteY81" fmla="*/ 328975 h 354756"/>
                <a:gd name="connsiteX82" fmla="*/ 226736 w 403011"/>
                <a:gd name="connsiteY82" fmla="*/ 330455 h 354756"/>
                <a:gd name="connsiteX83" fmla="*/ 220815 w 403011"/>
                <a:gd name="connsiteY83" fmla="*/ 331984 h 354756"/>
                <a:gd name="connsiteX84" fmla="*/ 185635 w 403011"/>
                <a:gd name="connsiteY84" fmla="*/ 331984 h 354756"/>
                <a:gd name="connsiteX85" fmla="*/ 177790 w 403011"/>
                <a:gd name="connsiteY85" fmla="*/ 354730 h 354756"/>
                <a:gd name="connsiteX86" fmla="*/ 177790 w 403011"/>
                <a:gd name="connsiteY86" fmla="*/ 303021 h 354756"/>
                <a:gd name="connsiteX87" fmla="*/ 175817 w 403011"/>
                <a:gd name="connsiteY87" fmla="*/ 289354 h 354756"/>
                <a:gd name="connsiteX88" fmla="*/ 164122 w 403011"/>
                <a:gd name="connsiteY88" fmla="*/ 278746 h 354756"/>
                <a:gd name="connsiteX89" fmla="*/ 162100 w 403011"/>
                <a:gd name="connsiteY89" fmla="*/ 275736 h 354756"/>
                <a:gd name="connsiteX90" fmla="*/ 158251 w 403011"/>
                <a:gd name="connsiteY90" fmla="*/ 272726 h 354756"/>
                <a:gd name="connsiteX91" fmla="*/ 156277 w 403011"/>
                <a:gd name="connsiteY91" fmla="*/ 271197 h 354756"/>
                <a:gd name="connsiteX92" fmla="*/ 154304 w 403011"/>
                <a:gd name="connsiteY92" fmla="*/ 269667 h 354756"/>
                <a:gd name="connsiteX93" fmla="*/ 150406 w 403011"/>
                <a:gd name="connsiteY93" fmla="*/ 268138 h 354756"/>
                <a:gd name="connsiteX94" fmla="*/ 148432 w 403011"/>
                <a:gd name="connsiteY94" fmla="*/ 268138 h 354756"/>
                <a:gd name="connsiteX95" fmla="*/ 142561 w 403011"/>
                <a:gd name="connsiteY95" fmla="*/ 269667 h 354756"/>
                <a:gd name="connsiteX96" fmla="*/ 142561 w 403011"/>
                <a:gd name="connsiteY96" fmla="*/ 268138 h 354756"/>
                <a:gd name="connsiteX97" fmla="*/ 136689 w 403011"/>
                <a:gd name="connsiteY97" fmla="*/ 266608 h 354756"/>
                <a:gd name="connsiteX98" fmla="*/ 134716 w 403011"/>
                <a:gd name="connsiteY98" fmla="*/ 263599 h 354756"/>
                <a:gd name="connsiteX99" fmla="*/ 132791 w 403011"/>
                <a:gd name="connsiteY99" fmla="*/ 263599 h 354756"/>
                <a:gd name="connsiteX100" fmla="*/ 130867 w 403011"/>
                <a:gd name="connsiteY100" fmla="*/ 265128 h 354756"/>
                <a:gd name="connsiteX101" fmla="*/ 130867 w 403011"/>
                <a:gd name="connsiteY101" fmla="*/ 263599 h 354756"/>
                <a:gd name="connsiteX102" fmla="*/ 128845 w 403011"/>
                <a:gd name="connsiteY102" fmla="*/ 263599 h 354756"/>
                <a:gd name="connsiteX103" fmla="*/ 121048 w 403011"/>
                <a:gd name="connsiteY103" fmla="*/ 259059 h 354756"/>
                <a:gd name="connsiteX104" fmla="*/ 119075 w 403011"/>
                <a:gd name="connsiteY104" fmla="*/ 254520 h 354756"/>
                <a:gd name="connsiteX105" fmla="*/ 115177 w 403011"/>
                <a:gd name="connsiteY105" fmla="*/ 252990 h 354756"/>
                <a:gd name="connsiteX106" fmla="*/ 113253 w 403011"/>
                <a:gd name="connsiteY106" fmla="*/ 249981 h 354756"/>
                <a:gd name="connsiteX107" fmla="*/ 107332 w 403011"/>
                <a:gd name="connsiteY107" fmla="*/ 249981 h 354756"/>
                <a:gd name="connsiteX108" fmla="*/ 91691 w 403011"/>
                <a:gd name="connsiteY108" fmla="*/ 243912 h 354756"/>
                <a:gd name="connsiteX109" fmla="*/ 85819 w 403011"/>
                <a:gd name="connsiteY109" fmla="*/ 243912 h 354756"/>
                <a:gd name="connsiteX110" fmla="*/ 79997 w 403011"/>
                <a:gd name="connsiteY110" fmla="*/ 240902 h 354756"/>
                <a:gd name="connsiteX111" fmla="*/ 79997 w 403011"/>
                <a:gd name="connsiteY111" fmla="*/ 239373 h 354756"/>
                <a:gd name="connsiteX112" fmla="*/ 74373 w 403011"/>
                <a:gd name="connsiteY112" fmla="*/ 236461 h 354756"/>
                <a:gd name="connsiteX113" fmla="*/ 70474 w 403011"/>
                <a:gd name="connsiteY113" fmla="*/ 236461 h 354756"/>
                <a:gd name="connsiteX114" fmla="*/ 64603 w 403011"/>
                <a:gd name="connsiteY114" fmla="*/ 234981 h 354756"/>
                <a:gd name="connsiteX115" fmla="*/ 60705 w 403011"/>
                <a:gd name="connsiteY115" fmla="*/ 234981 h 354756"/>
                <a:gd name="connsiteX116" fmla="*/ 48962 w 403011"/>
                <a:gd name="connsiteY116" fmla="*/ 228912 h 354756"/>
                <a:gd name="connsiteX117" fmla="*/ 39094 w 403011"/>
                <a:gd name="connsiteY117" fmla="*/ 204686 h 354756"/>
                <a:gd name="connsiteX118" fmla="*/ 15559 w 403011"/>
                <a:gd name="connsiteY118" fmla="*/ 175871 h 354756"/>
                <a:gd name="connsiteX119" fmla="*/ 3865 w 403011"/>
                <a:gd name="connsiteY119" fmla="*/ 137978 h 354756"/>
                <a:gd name="connsiteX120" fmla="*/ -82 w 403011"/>
                <a:gd name="connsiteY120" fmla="*/ 112222 h 354756"/>
                <a:gd name="connsiteX121" fmla="*/ 19654 w 403011"/>
                <a:gd name="connsiteY121" fmla="*/ 112222 h 354756"/>
                <a:gd name="connsiteX122" fmla="*/ 31397 w 403011"/>
                <a:gd name="connsiteY122" fmla="*/ 109213 h 354756"/>
                <a:gd name="connsiteX123" fmla="*/ 37269 w 403011"/>
                <a:gd name="connsiteY123" fmla="*/ 103193 h 354756"/>
                <a:gd name="connsiteX124" fmla="*/ 47137 w 403011"/>
                <a:gd name="connsiteY124" fmla="*/ 94065 h 354756"/>
                <a:gd name="connsiteX125" fmla="*/ 51035 w 403011"/>
                <a:gd name="connsiteY125" fmla="*/ 91055 h 354756"/>
                <a:gd name="connsiteX126" fmla="*/ 56906 w 403011"/>
                <a:gd name="connsiteY126" fmla="*/ 84986 h 354756"/>
                <a:gd name="connsiteX127" fmla="*/ 60853 w 403011"/>
                <a:gd name="connsiteY127" fmla="*/ 80447 h 354756"/>
                <a:gd name="connsiteX128" fmla="*/ 62827 w 403011"/>
                <a:gd name="connsiteY128" fmla="*/ 75908 h 354756"/>
                <a:gd name="connsiteX129" fmla="*/ 60853 w 403011"/>
                <a:gd name="connsiteY129" fmla="*/ 68309 h 354756"/>
                <a:gd name="connsiteX130" fmla="*/ 56906 w 403011"/>
                <a:gd name="connsiteY130" fmla="*/ 66780 h 354756"/>
                <a:gd name="connsiteX131" fmla="*/ 54982 w 403011"/>
                <a:gd name="connsiteY131" fmla="*/ 62290 h 354756"/>
                <a:gd name="connsiteX132" fmla="*/ 49110 w 403011"/>
                <a:gd name="connsiteY132" fmla="*/ 60760 h 354756"/>
                <a:gd name="connsiteX133" fmla="*/ 49110 w 403011"/>
                <a:gd name="connsiteY133" fmla="*/ 56172 h 354756"/>
                <a:gd name="connsiteX134" fmla="*/ 47137 w 403011"/>
                <a:gd name="connsiteY134" fmla="*/ 53162 h 354756"/>
                <a:gd name="connsiteX135" fmla="*/ 47137 w 403011"/>
                <a:gd name="connsiteY135" fmla="*/ 50152 h 354756"/>
                <a:gd name="connsiteX136" fmla="*/ 49110 w 403011"/>
                <a:gd name="connsiteY136" fmla="*/ 51632 h 354756"/>
                <a:gd name="connsiteX137" fmla="*/ 53008 w 403011"/>
                <a:gd name="connsiteY137" fmla="*/ 53162 h 354756"/>
                <a:gd name="connsiteX138" fmla="*/ 56906 w 403011"/>
                <a:gd name="connsiteY138" fmla="*/ 51632 h 354756"/>
                <a:gd name="connsiteX139" fmla="*/ 58880 w 403011"/>
                <a:gd name="connsiteY139" fmla="*/ 48623 h 354756"/>
                <a:gd name="connsiteX140" fmla="*/ 60853 w 403011"/>
                <a:gd name="connsiteY140" fmla="*/ 45564 h 354756"/>
                <a:gd name="connsiteX141" fmla="*/ 62827 w 403011"/>
                <a:gd name="connsiteY141" fmla="*/ 41024 h 354756"/>
                <a:gd name="connsiteX142" fmla="*/ 60853 w 403011"/>
                <a:gd name="connsiteY142" fmla="*/ 33475 h 354756"/>
                <a:gd name="connsiteX143" fmla="*/ 58880 w 403011"/>
                <a:gd name="connsiteY143" fmla="*/ 24397 h 354756"/>
                <a:gd name="connsiteX144" fmla="*/ 54982 w 403011"/>
                <a:gd name="connsiteY144" fmla="*/ 21338 h 354756"/>
                <a:gd name="connsiteX145" fmla="*/ 54982 w 403011"/>
                <a:gd name="connsiteY145" fmla="*/ 18328 h 354756"/>
                <a:gd name="connsiteX146" fmla="*/ 51035 w 403011"/>
                <a:gd name="connsiteY146" fmla="*/ 15268 h 35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403011" h="354756">
                  <a:moveTo>
                    <a:pt x="47038" y="7571"/>
                  </a:moveTo>
                  <a:lnTo>
                    <a:pt x="49012" y="6042"/>
                  </a:lnTo>
                  <a:lnTo>
                    <a:pt x="50936" y="6042"/>
                  </a:lnTo>
                  <a:lnTo>
                    <a:pt x="54883" y="4512"/>
                  </a:lnTo>
                  <a:lnTo>
                    <a:pt x="97908" y="2983"/>
                  </a:lnTo>
                  <a:lnTo>
                    <a:pt x="170290" y="-27"/>
                  </a:lnTo>
                  <a:lnTo>
                    <a:pt x="303509" y="66632"/>
                  </a:lnTo>
                  <a:lnTo>
                    <a:pt x="311354" y="77289"/>
                  </a:lnTo>
                  <a:lnTo>
                    <a:pt x="309331" y="80299"/>
                  </a:lnTo>
                  <a:lnTo>
                    <a:pt x="309331" y="83506"/>
                  </a:lnTo>
                  <a:lnTo>
                    <a:pt x="313279" y="86516"/>
                  </a:lnTo>
                  <a:lnTo>
                    <a:pt x="358277" y="113801"/>
                  </a:lnTo>
                  <a:lnTo>
                    <a:pt x="358277" y="113801"/>
                  </a:lnTo>
                  <a:lnTo>
                    <a:pt x="360250" y="116860"/>
                  </a:lnTo>
                  <a:lnTo>
                    <a:pt x="360250" y="121400"/>
                  </a:lnTo>
                  <a:lnTo>
                    <a:pt x="358277" y="124409"/>
                  </a:lnTo>
                  <a:lnTo>
                    <a:pt x="348409" y="145626"/>
                  </a:lnTo>
                  <a:lnTo>
                    <a:pt x="342537" y="157763"/>
                  </a:lnTo>
                  <a:lnTo>
                    <a:pt x="342537" y="163833"/>
                  </a:lnTo>
                  <a:lnTo>
                    <a:pt x="354280" y="172911"/>
                  </a:lnTo>
                  <a:lnTo>
                    <a:pt x="362076" y="178980"/>
                  </a:lnTo>
                  <a:lnTo>
                    <a:pt x="366023" y="178980"/>
                  </a:lnTo>
                  <a:lnTo>
                    <a:pt x="369921" y="189588"/>
                  </a:lnTo>
                  <a:lnTo>
                    <a:pt x="369921" y="192598"/>
                  </a:lnTo>
                  <a:lnTo>
                    <a:pt x="366023" y="192598"/>
                  </a:lnTo>
                  <a:lnTo>
                    <a:pt x="362076" y="195607"/>
                  </a:lnTo>
                  <a:lnTo>
                    <a:pt x="360152" y="203206"/>
                  </a:lnTo>
                  <a:lnTo>
                    <a:pt x="360152" y="213814"/>
                  </a:lnTo>
                  <a:lnTo>
                    <a:pt x="366023" y="218354"/>
                  </a:lnTo>
                  <a:lnTo>
                    <a:pt x="364050" y="225902"/>
                  </a:lnTo>
                  <a:lnTo>
                    <a:pt x="360152" y="228962"/>
                  </a:lnTo>
                  <a:lnTo>
                    <a:pt x="362076" y="236511"/>
                  </a:lnTo>
                  <a:lnTo>
                    <a:pt x="366023" y="244109"/>
                  </a:lnTo>
                  <a:lnTo>
                    <a:pt x="364050" y="244109"/>
                  </a:lnTo>
                  <a:lnTo>
                    <a:pt x="366023" y="248648"/>
                  </a:lnTo>
                  <a:lnTo>
                    <a:pt x="366023" y="254717"/>
                  </a:lnTo>
                  <a:lnTo>
                    <a:pt x="369921" y="257776"/>
                  </a:lnTo>
                  <a:lnTo>
                    <a:pt x="367948" y="262316"/>
                  </a:lnTo>
                  <a:lnTo>
                    <a:pt x="369921" y="265325"/>
                  </a:lnTo>
                  <a:lnTo>
                    <a:pt x="373868" y="275934"/>
                  </a:lnTo>
                  <a:lnTo>
                    <a:pt x="371895" y="280473"/>
                  </a:lnTo>
                  <a:lnTo>
                    <a:pt x="387536" y="291081"/>
                  </a:lnTo>
                  <a:lnTo>
                    <a:pt x="395085" y="291081"/>
                  </a:lnTo>
                  <a:lnTo>
                    <a:pt x="402930" y="297150"/>
                  </a:lnTo>
                  <a:lnTo>
                    <a:pt x="402930" y="301689"/>
                  </a:lnTo>
                  <a:lnTo>
                    <a:pt x="402930" y="301689"/>
                  </a:lnTo>
                  <a:lnTo>
                    <a:pt x="399032" y="304699"/>
                  </a:lnTo>
                  <a:lnTo>
                    <a:pt x="393160" y="303219"/>
                  </a:lnTo>
                  <a:lnTo>
                    <a:pt x="389262" y="307709"/>
                  </a:lnTo>
                  <a:lnTo>
                    <a:pt x="381417" y="312297"/>
                  </a:lnTo>
                  <a:lnTo>
                    <a:pt x="375546" y="312297"/>
                  </a:lnTo>
                  <a:lnTo>
                    <a:pt x="369674" y="316837"/>
                  </a:lnTo>
                  <a:lnTo>
                    <a:pt x="361829" y="316837"/>
                  </a:lnTo>
                  <a:lnTo>
                    <a:pt x="359905" y="319847"/>
                  </a:lnTo>
                  <a:lnTo>
                    <a:pt x="354034" y="321376"/>
                  </a:lnTo>
                  <a:lnTo>
                    <a:pt x="348162" y="319847"/>
                  </a:lnTo>
                  <a:lnTo>
                    <a:pt x="334445" y="322856"/>
                  </a:lnTo>
                  <a:lnTo>
                    <a:pt x="332521" y="327445"/>
                  </a:lnTo>
                  <a:lnTo>
                    <a:pt x="326600" y="327445"/>
                  </a:lnTo>
                  <a:lnTo>
                    <a:pt x="320778" y="322856"/>
                  </a:lnTo>
                  <a:lnTo>
                    <a:pt x="314907" y="324435"/>
                  </a:lnTo>
                  <a:lnTo>
                    <a:pt x="308986" y="322856"/>
                  </a:lnTo>
                  <a:lnTo>
                    <a:pt x="307062" y="324435"/>
                  </a:lnTo>
                  <a:lnTo>
                    <a:pt x="307062" y="328975"/>
                  </a:lnTo>
                  <a:lnTo>
                    <a:pt x="305137" y="333514"/>
                  </a:lnTo>
                  <a:lnTo>
                    <a:pt x="295269" y="333514"/>
                  </a:lnTo>
                  <a:lnTo>
                    <a:pt x="289348" y="336524"/>
                  </a:lnTo>
                  <a:lnTo>
                    <a:pt x="285451" y="333514"/>
                  </a:lnTo>
                  <a:lnTo>
                    <a:pt x="277655" y="333514"/>
                  </a:lnTo>
                  <a:lnTo>
                    <a:pt x="277655" y="331984"/>
                  </a:lnTo>
                  <a:lnTo>
                    <a:pt x="273708" y="330455"/>
                  </a:lnTo>
                  <a:lnTo>
                    <a:pt x="271734" y="331984"/>
                  </a:lnTo>
                  <a:lnTo>
                    <a:pt x="267836" y="333514"/>
                  </a:lnTo>
                  <a:lnTo>
                    <a:pt x="260040" y="338053"/>
                  </a:lnTo>
                  <a:lnTo>
                    <a:pt x="250172" y="339583"/>
                  </a:lnTo>
                  <a:lnTo>
                    <a:pt x="250172" y="338053"/>
                  </a:lnTo>
                  <a:lnTo>
                    <a:pt x="246274" y="334994"/>
                  </a:lnTo>
                  <a:lnTo>
                    <a:pt x="240403" y="333514"/>
                  </a:lnTo>
                  <a:lnTo>
                    <a:pt x="236505" y="331984"/>
                  </a:lnTo>
                  <a:lnTo>
                    <a:pt x="232558" y="330455"/>
                  </a:lnTo>
                  <a:lnTo>
                    <a:pt x="232558" y="327445"/>
                  </a:lnTo>
                  <a:lnTo>
                    <a:pt x="226736" y="328975"/>
                  </a:lnTo>
                  <a:lnTo>
                    <a:pt x="226736" y="330455"/>
                  </a:lnTo>
                  <a:lnTo>
                    <a:pt x="220815" y="331984"/>
                  </a:lnTo>
                  <a:lnTo>
                    <a:pt x="185635" y="331984"/>
                  </a:lnTo>
                  <a:lnTo>
                    <a:pt x="177790" y="354730"/>
                  </a:lnTo>
                  <a:lnTo>
                    <a:pt x="177790" y="303021"/>
                  </a:lnTo>
                  <a:lnTo>
                    <a:pt x="175817" y="289354"/>
                  </a:lnTo>
                  <a:lnTo>
                    <a:pt x="164122" y="278746"/>
                  </a:lnTo>
                  <a:lnTo>
                    <a:pt x="162100" y="275736"/>
                  </a:lnTo>
                  <a:lnTo>
                    <a:pt x="158251" y="272726"/>
                  </a:lnTo>
                  <a:lnTo>
                    <a:pt x="156277" y="271197"/>
                  </a:lnTo>
                  <a:lnTo>
                    <a:pt x="154304" y="269667"/>
                  </a:lnTo>
                  <a:lnTo>
                    <a:pt x="150406" y="268138"/>
                  </a:lnTo>
                  <a:lnTo>
                    <a:pt x="148432" y="268138"/>
                  </a:lnTo>
                  <a:lnTo>
                    <a:pt x="142561" y="269667"/>
                  </a:lnTo>
                  <a:lnTo>
                    <a:pt x="142561" y="268138"/>
                  </a:lnTo>
                  <a:lnTo>
                    <a:pt x="136689" y="266608"/>
                  </a:lnTo>
                  <a:lnTo>
                    <a:pt x="134716" y="263599"/>
                  </a:lnTo>
                  <a:lnTo>
                    <a:pt x="132791" y="263599"/>
                  </a:lnTo>
                  <a:lnTo>
                    <a:pt x="130867" y="265128"/>
                  </a:lnTo>
                  <a:lnTo>
                    <a:pt x="130867" y="263599"/>
                  </a:lnTo>
                  <a:lnTo>
                    <a:pt x="128845" y="263599"/>
                  </a:lnTo>
                  <a:lnTo>
                    <a:pt x="121048" y="259059"/>
                  </a:lnTo>
                  <a:lnTo>
                    <a:pt x="119075" y="254520"/>
                  </a:lnTo>
                  <a:lnTo>
                    <a:pt x="115177" y="252990"/>
                  </a:lnTo>
                  <a:lnTo>
                    <a:pt x="113253" y="249981"/>
                  </a:lnTo>
                  <a:lnTo>
                    <a:pt x="107332" y="249981"/>
                  </a:lnTo>
                  <a:lnTo>
                    <a:pt x="91691" y="243912"/>
                  </a:lnTo>
                  <a:lnTo>
                    <a:pt x="85819" y="243912"/>
                  </a:lnTo>
                  <a:lnTo>
                    <a:pt x="79997" y="240902"/>
                  </a:lnTo>
                  <a:lnTo>
                    <a:pt x="79997" y="239373"/>
                  </a:lnTo>
                  <a:lnTo>
                    <a:pt x="74373" y="236461"/>
                  </a:lnTo>
                  <a:lnTo>
                    <a:pt x="70474" y="236461"/>
                  </a:lnTo>
                  <a:lnTo>
                    <a:pt x="64603" y="234981"/>
                  </a:lnTo>
                  <a:lnTo>
                    <a:pt x="60705" y="234981"/>
                  </a:lnTo>
                  <a:lnTo>
                    <a:pt x="48962" y="228912"/>
                  </a:lnTo>
                  <a:lnTo>
                    <a:pt x="39094" y="204686"/>
                  </a:lnTo>
                  <a:lnTo>
                    <a:pt x="15559" y="175871"/>
                  </a:lnTo>
                  <a:lnTo>
                    <a:pt x="3865" y="137978"/>
                  </a:lnTo>
                  <a:lnTo>
                    <a:pt x="-82" y="112222"/>
                  </a:lnTo>
                  <a:lnTo>
                    <a:pt x="19654" y="112222"/>
                  </a:lnTo>
                  <a:lnTo>
                    <a:pt x="31397" y="109213"/>
                  </a:lnTo>
                  <a:lnTo>
                    <a:pt x="37269" y="103193"/>
                  </a:lnTo>
                  <a:lnTo>
                    <a:pt x="47137" y="94065"/>
                  </a:lnTo>
                  <a:lnTo>
                    <a:pt x="51035" y="91055"/>
                  </a:lnTo>
                  <a:lnTo>
                    <a:pt x="56906" y="84986"/>
                  </a:lnTo>
                  <a:lnTo>
                    <a:pt x="60853" y="80447"/>
                  </a:lnTo>
                  <a:lnTo>
                    <a:pt x="62827" y="75908"/>
                  </a:lnTo>
                  <a:lnTo>
                    <a:pt x="60853" y="68309"/>
                  </a:lnTo>
                  <a:lnTo>
                    <a:pt x="56906" y="66780"/>
                  </a:lnTo>
                  <a:lnTo>
                    <a:pt x="54982" y="62290"/>
                  </a:lnTo>
                  <a:lnTo>
                    <a:pt x="49110" y="60760"/>
                  </a:lnTo>
                  <a:lnTo>
                    <a:pt x="49110" y="56172"/>
                  </a:lnTo>
                  <a:lnTo>
                    <a:pt x="47137" y="53162"/>
                  </a:lnTo>
                  <a:lnTo>
                    <a:pt x="47137" y="50152"/>
                  </a:lnTo>
                  <a:lnTo>
                    <a:pt x="49110" y="51632"/>
                  </a:lnTo>
                  <a:lnTo>
                    <a:pt x="53008" y="53162"/>
                  </a:lnTo>
                  <a:lnTo>
                    <a:pt x="56906" y="51632"/>
                  </a:lnTo>
                  <a:lnTo>
                    <a:pt x="58880" y="48623"/>
                  </a:lnTo>
                  <a:lnTo>
                    <a:pt x="60853" y="45564"/>
                  </a:lnTo>
                  <a:lnTo>
                    <a:pt x="62827" y="41024"/>
                  </a:lnTo>
                  <a:lnTo>
                    <a:pt x="60853" y="33475"/>
                  </a:lnTo>
                  <a:lnTo>
                    <a:pt x="58880" y="24397"/>
                  </a:lnTo>
                  <a:lnTo>
                    <a:pt x="54982" y="21338"/>
                  </a:lnTo>
                  <a:lnTo>
                    <a:pt x="54982" y="18328"/>
                  </a:lnTo>
                  <a:lnTo>
                    <a:pt x="51035" y="1526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Graphic 2">
              <a:extLst>
                <a:ext uri="{FF2B5EF4-FFF2-40B4-BE49-F238E27FC236}">
                  <a16:creationId xmlns:a16="http://schemas.microsoft.com/office/drawing/2014/main" id="{64F85A9C-679A-4EFB-8865-2174540002FA}"/>
                </a:ext>
              </a:extLst>
            </p:cNvPr>
            <p:cNvSpPr/>
            <p:nvPr/>
          </p:nvSpPr>
          <p:spPr>
            <a:xfrm>
              <a:off x="6363957" y="4672006"/>
              <a:ext cx="64593" cy="51098"/>
            </a:xfrm>
            <a:custGeom>
              <a:avLst/>
              <a:gdLst>
                <a:gd name="connsiteX0" fmla="*/ 21184 w 71099"/>
                <a:gd name="connsiteY0" fmla="*/ 9545 h 56247"/>
                <a:gd name="connsiteX1" fmla="*/ 23059 w 71099"/>
                <a:gd name="connsiteY1" fmla="*/ 11173 h 56247"/>
                <a:gd name="connsiteX2" fmla="*/ 28832 w 71099"/>
                <a:gd name="connsiteY2" fmla="*/ 9545 h 56247"/>
                <a:gd name="connsiteX3" fmla="*/ 32680 w 71099"/>
                <a:gd name="connsiteY3" fmla="*/ 6338 h 56247"/>
                <a:gd name="connsiteX4" fmla="*/ 36529 w 71099"/>
                <a:gd name="connsiteY4" fmla="*/ 7966 h 56247"/>
                <a:gd name="connsiteX5" fmla="*/ 40328 w 71099"/>
                <a:gd name="connsiteY5" fmla="*/ 9545 h 56247"/>
                <a:gd name="connsiteX6" fmla="*/ 44177 w 71099"/>
                <a:gd name="connsiteY6" fmla="*/ 9545 h 56247"/>
                <a:gd name="connsiteX7" fmla="*/ 46052 w 71099"/>
                <a:gd name="connsiteY7" fmla="*/ 7966 h 56247"/>
                <a:gd name="connsiteX8" fmla="*/ 48025 w 71099"/>
                <a:gd name="connsiteY8" fmla="*/ 1552 h 56247"/>
                <a:gd name="connsiteX9" fmla="*/ 53749 w 71099"/>
                <a:gd name="connsiteY9" fmla="*/ -27 h 56247"/>
                <a:gd name="connsiteX10" fmla="*/ 59522 w 71099"/>
                <a:gd name="connsiteY10" fmla="*/ 9545 h 56247"/>
                <a:gd name="connsiteX11" fmla="*/ 63370 w 71099"/>
                <a:gd name="connsiteY11" fmla="*/ 12752 h 56247"/>
                <a:gd name="connsiteX12" fmla="*/ 63370 w 71099"/>
                <a:gd name="connsiteY12" fmla="*/ 15959 h 56247"/>
                <a:gd name="connsiteX13" fmla="*/ 67169 w 71099"/>
                <a:gd name="connsiteY13" fmla="*/ 19166 h 56247"/>
                <a:gd name="connsiteX14" fmla="*/ 69093 w 71099"/>
                <a:gd name="connsiteY14" fmla="*/ 28738 h 56247"/>
                <a:gd name="connsiteX15" fmla="*/ 71018 w 71099"/>
                <a:gd name="connsiteY15" fmla="*/ 36781 h 56247"/>
                <a:gd name="connsiteX16" fmla="*/ 69093 w 71099"/>
                <a:gd name="connsiteY16" fmla="*/ 41715 h 56247"/>
                <a:gd name="connsiteX17" fmla="*/ 67169 w 71099"/>
                <a:gd name="connsiteY17" fmla="*/ 44922 h 56247"/>
                <a:gd name="connsiteX18" fmla="*/ 65245 w 71099"/>
                <a:gd name="connsiteY18" fmla="*/ 48178 h 56247"/>
                <a:gd name="connsiteX19" fmla="*/ 61397 w 71099"/>
                <a:gd name="connsiteY19" fmla="*/ 49757 h 56247"/>
                <a:gd name="connsiteX20" fmla="*/ 57597 w 71099"/>
                <a:gd name="connsiteY20" fmla="*/ 48178 h 56247"/>
                <a:gd name="connsiteX21" fmla="*/ 55673 w 71099"/>
                <a:gd name="connsiteY21" fmla="*/ 46550 h 56247"/>
                <a:gd name="connsiteX22" fmla="*/ 55673 w 71099"/>
                <a:gd name="connsiteY22" fmla="*/ 44922 h 56247"/>
                <a:gd name="connsiteX23" fmla="*/ 49900 w 71099"/>
                <a:gd name="connsiteY23" fmla="*/ 43343 h 56247"/>
                <a:gd name="connsiteX24" fmla="*/ 49900 w 71099"/>
                <a:gd name="connsiteY24" fmla="*/ 38409 h 56247"/>
                <a:gd name="connsiteX25" fmla="*/ 45854 w 71099"/>
                <a:gd name="connsiteY25" fmla="*/ 38409 h 56247"/>
                <a:gd name="connsiteX26" fmla="*/ 42055 w 71099"/>
                <a:gd name="connsiteY26" fmla="*/ 35202 h 56247"/>
                <a:gd name="connsiteX27" fmla="*/ 40131 w 71099"/>
                <a:gd name="connsiteY27" fmla="*/ 35202 h 56247"/>
                <a:gd name="connsiteX28" fmla="*/ 40131 w 71099"/>
                <a:gd name="connsiteY28" fmla="*/ 41567 h 56247"/>
                <a:gd name="connsiteX29" fmla="*/ 36331 w 71099"/>
                <a:gd name="connsiteY29" fmla="*/ 51435 h 56247"/>
                <a:gd name="connsiteX30" fmla="*/ 36331 w 71099"/>
                <a:gd name="connsiteY30" fmla="*/ 54642 h 56247"/>
                <a:gd name="connsiteX31" fmla="*/ 28635 w 71099"/>
                <a:gd name="connsiteY31" fmla="*/ 56221 h 56247"/>
                <a:gd name="connsiteX32" fmla="*/ 26710 w 71099"/>
                <a:gd name="connsiteY32" fmla="*/ 53014 h 56247"/>
                <a:gd name="connsiteX33" fmla="*/ 22862 w 71099"/>
                <a:gd name="connsiteY33" fmla="*/ 53014 h 56247"/>
                <a:gd name="connsiteX34" fmla="*/ 20987 w 71099"/>
                <a:gd name="connsiteY34" fmla="*/ 56221 h 56247"/>
                <a:gd name="connsiteX35" fmla="*/ 13290 w 71099"/>
                <a:gd name="connsiteY35" fmla="*/ 53014 h 56247"/>
                <a:gd name="connsiteX36" fmla="*/ 11415 w 71099"/>
                <a:gd name="connsiteY36" fmla="*/ 48080 h 56247"/>
                <a:gd name="connsiteX37" fmla="*/ 7566 w 71099"/>
                <a:gd name="connsiteY37" fmla="*/ 46452 h 56247"/>
                <a:gd name="connsiteX38" fmla="*/ 1793 w 71099"/>
                <a:gd name="connsiteY38" fmla="*/ 46452 h 56247"/>
                <a:gd name="connsiteX39" fmla="*/ -82 w 71099"/>
                <a:gd name="connsiteY39" fmla="*/ 48080 h 56247"/>
                <a:gd name="connsiteX40" fmla="*/ -82 w 71099"/>
                <a:gd name="connsiteY40" fmla="*/ 43146 h 56247"/>
                <a:gd name="connsiteX41" fmla="*/ 5642 w 71099"/>
                <a:gd name="connsiteY41" fmla="*/ 22374 h 56247"/>
                <a:gd name="connsiteX42" fmla="*/ 11415 w 71099"/>
                <a:gd name="connsiteY42" fmla="*/ 15959 h 5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1099" h="56247">
                  <a:moveTo>
                    <a:pt x="21184" y="9545"/>
                  </a:moveTo>
                  <a:lnTo>
                    <a:pt x="23059" y="11173"/>
                  </a:lnTo>
                  <a:lnTo>
                    <a:pt x="28832" y="9545"/>
                  </a:lnTo>
                  <a:lnTo>
                    <a:pt x="32680" y="6338"/>
                  </a:lnTo>
                  <a:lnTo>
                    <a:pt x="36529" y="7966"/>
                  </a:lnTo>
                  <a:lnTo>
                    <a:pt x="40328" y="9545"/>
                  </a:lnTo>
                  <a:lnTo>
                    <a:pt x="44177" y="9545"/>
                  </a:lnTo>
                  <a:lnTo>
                    <a:pt x="46052" y="7966"/>
                  </a:lnTo>
                  <a:lnTo>
                    <a:pt x="48025" y="1552"/>
                  </a:lnTo>
                  <a:lnTo>
                    <a:pt x="53749" y="-27"/>
                  </a:lnTo>
                  <a:lnTo>
                    <a:pt x="59522" y="9545"/>
                  </a:lnTo>
                  <a:lnTo>
                    <a:pt x="63370" y="12752"/>
                  </a:lnTo>
                  <a:lnTo>
                    <a:pt x="63370" y="15959"/>
                  </a:lnTo>
                  <a:lnTo>
                    <a:pt x="67169" y="19166"/>
                  </a:lnTo>
                  <a:lnTo>
                    <a:pt x="69093" y="28738"/>
                  </a:lnTo>
                  <a:lnTo>
                    <a:pt x="71018" y="36781"/>
                  </a:lnTo>
                  <a:lnTo>
                    <a:pt x="69093" y="41715"/>
                  </a:lnTo>
                  <a:lnTo>
                    <a:pt x="67169" y="44922"/>
                  </a:lnTo>
                  <a:lnTo>
                    <a:pt x="65245" y="48178"/>
                  </a:lnTo>
                  <a:lnTo>
                    <a:pt x="61397" y="49757"/>
                  </a:lnTo>
                  <a:lnTo>
                    <a:pt x="57597" y="48178"/>
                  </a:lnTo>
                  <a:lnTo>
                    <a:pt x="55673" y="46550"/>
                  </a:lnTo>
                  <a:lnTo>
                    <a:pt x="55673" y="44922"/>
                  </a:lnTo>
                  <a:lnTo>
                    <a:pt x="49900" y="43343"/>
                  </a:lnTo>
                  <a:lnTo>
                    <a:pt x="49900" y="38409"/>
                  </a:lnTo>
                  <a:lnTo>
                    <a:pt x="45854" y="38409"/>
                  </a:lnTo>
                  <a:lnTo>
                    <a:pt x="42055" y="35202"/>
                  </a:lnTo>
                  <a:lnTo>
                    <a:pt x="40131" y="35202"/>
                  </a:lnTo>
                  <a:lnTo>
                    <a:pt x="40131" y="41567"/>
                  </a:lnTo>
                  <a:lnTo>
                    <a:pt x="36331" y="51435"/>
                  </a:lnTo>
                  <a:lnTo>
                    <a:pt x="36331" y="54642"/>
                  </a:lnTo>
                  <a:lnTo>
                    <a:pt x="28635" y="56221"/>
                  </a:lnTo>
                  <a:lnTo>
                    <a:pt x="26710" y="53014"/>
                  </a:lnTo>
                  <a:lnTo>
                    <a:pt x="22862" y="53014"/>
                  </a:lnTo>
                  <a:lnTo>
                    <a:pt x="20987" y="56221"/>
                  </a:lnTo>
                  <a:lnTo>
                    <a:pt x="13290" y="53014"/>
                  </a:lnTo>
                  <a:lnTo>
                    <a:pt x="11415" y="48080"/>
                  </a:lnTo>
                  <a:lnTo>
                    <a:pt x="7566" y="46452"/>
                  </a:lnTo>
                  <a:lnTo>
                    <a:pt x="1793" y="46452"/>
                  </a:lnTo>
                  <a:lnTo>
                    <a:pt x="-82" y="48080"/>
                  </a:lnTo>
                  <a:lnTo>
                    <a:pt x="-82" y="43146"/>
                  </a:lnTo>
                  <a:lnTo>
                    <a:pt x="5642" y="22374"/>
                  </a:lnTo>
                  <a:lnTo>
                    <a:pt x="11415" y="1595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Graphic 2">
              <a:extLst>
                <a:ext uri="{FF2B5EF4-FFF2-40B4-BE49-F238E27FC236}">
                  <a16:creationId xmlns:a16="http://schemas.microsoft.com/office/drawing/2014/main" id="{1770325D-A355-443F-A2AB-C6E87FC4D394}"/>
                </a:ext>
              </a:extLst>
            </p:cNvPr>
            <p:cNvSpPr/>
            <p:nvPr/>
          </p:nvSpPr>
          <p:spPr>
            <a:xfrm>
              <a:off x="6363957" y="4702081"/>
              <a:ext cx="64593" cy="68222"/>
            </a:xfrm>
            <a:custGeom>
              <a:avLst/>
              <a:gdLst>
                <a:gd name="connsiteX0" fmla="*/ 9441 w 71099"/>
                <a:gd name="connsiteY0" fmla="*/ 75069 h 75096"/>
                <a:gd name="connsiteX1" fmla="*/ 28585 w 71099"/>
                <a:gd name="connsiteY1" fmla="*/ 75069 h 75096"/>
                <a:gd name="connsiteX2" fmla="*/ 40081 w 71099"/>
                <a:gd name="connsiteY2" fmla="*/ 72010 h 75096"/>
                <a:gd name="connsiteX3" fmla="*/ 45805 w 71099"/>
                <a:gd name="connsiteY3" fmla="*/ 65744 h 75096"/>
                <a:gd name="connsiteX4" fmla="*/ 55673 w 71099"/>
                <a:gd name="connsiteY4" fmla="*/ 56418 h 75096"/>
                <a:gd name="connsiteX5" fmla="*/ 59522 w 71099"/>
                <a:gd name="connsiteY5" fmla="*/ 53310 h 75096"/>
                <a:gd name="connsiteX6" fmla="*/ 65245 w 71099"/>
                <a:gd name="connsiteY6" fmla="*/ 47093 h 75096"/>
                <a:gd name="connsiteX7" fmla="*/ 69093 w 71099"/>
                <a:gd name="connsiteY7" fmla="*/ 42159 h 75096"/>
                <a:gd name="connsiteX8" fmla="*/ 71018 w 71099"/>
                <a:gd name="connsiteY8" fmla="*/ 37521 h 75096"/>
                <a:gd name="connsiteX9" fmla="*/ 69093 w 71099"/>
                <a:gd name="connsiteY9" fmla="*/ 29775 h 75096"/>
                <a:gd name="connsiteX10" fmla="*/ 65245 w 71099"/>
                <a:gd name="connsiteY10" fmla="*/ 28196 h 75096"/>
                <a:gd name="connsiteX11" fmla="*/ 63370 w 71099"/>
                <a:gd name="connsiteY11" fmla="*/ 23509 h 75096"/>
                <a:gd name="connsiteX12" fmla="*/ 57597 w 71099"/>
                <a:gd name="connsiteY12" fmla="*/ 21979 h 75096"/>
                <a:gd name="connsiteX13" fmla="*/ 57597 w 71099"/>
                <a:gd name="connsiteY13" fmla="*/ 17292 h 75096"/>
                <a:gd name="connsiteX14" fmla="*/ 55673 w 71099"/>
                <a:gd name="connsiteY14" fmla="*/ 14183 h 75096"/>
                <a:gd name="connsiteX15" fmla="*/ 55673 w 71099"/>
                <a:gd name="connsiteY15" fmla="*/ 9545 h 75096"/>
                <a:gd name="connsiteX16" fmla="*/ 49900 w 71099"/>
                <a:gd name="connsiteY16" fmla="*/ 7966 h 75096"/>
                <a:gd name="connsiteX17" fmla="*/ 49900 w 71099"/>
                <a:gd name="connsiteY17" fmla="*/ 3032 h 75096"/>
                <a:gd name="connsiteX18" fmla="*/ 45854 w 71099"/>
                <a:gd name="connsiteY18" fmla="*/ 3032 h 75096"/>
                <a:gd name="connsiteX19" fmla="*/ 42055 w 71099"/>
                <a:gd name="connsiteY19" fmla="*/ -27 h 75096"/>
                <a:gd name="connsiteX20" fmla="*/ 40131 w 71099"/>
                <a:gd name="connsiteY20" fmla="*/ -27 h 75096"/>
                <a:gd name="connsiteX21" fmla="*/ 40131 w 71099"/>
                <a:gd name="connsiteY21" fmla="*/ 6190 h 75096"/>
                <a:gd name="connsiteX22" fmla="*/ 36331 w 71099"/>
                <a:gd name="connsiteY22" fmla="*/ 15515 h 75096"/>
                <a:gd name="connsiteX23" fmla="*/ 36331 w 71099"/>
                <a:gd name="connsiteY23" fmla="*/ 18624 h 75096"/>
                <a:gd name="connsiteX24" fmla="*/ 28635 w 71099"/>
                <a:gd name="connsiteY24" fmla="*/ 20203 h 75096"/>
                <a:gd name="connsiteX25" fmla="*/ 26710 w 71099"/>
                <a:gd name="connsiteY25" fmla="*/ 17045 h 75096"/>
                <a:gd name="connsiteX26" fmla="*/ 22862 w 71099"/>
                <a:gd name="connsiteY26" fmla="*/ 17045 h 75096"/>
                <a:gd name="connsiteX27" fmla="*/ 20987 w 71099"/>
                <a:gd name="connsiteY27" fmla="*/ 20203 h 75096"/>
                <a:gd name="connsiteX28" fmla="*/ 13290 w 71099"/>
                <a:gd name="connsiteY28" fmla="*/ 17045 h 75096"/>
                <a:gd name="connsiteX29" fmla="*/ 11415 w 71099"/>
                <a:gd name="connsiteY29" fmla="*/ 12111 h 75096"/>
                <a:gd name="connsiteX30" fmla="*/ 7566 w 71099"/>
                <a:gd name="connsiteY30" fmla="*/ 10581 h 75096"/>
                <a:gd name="connsiteX31" fmla="*/ 1793 w 71099"/>
                <a:gd name="connsiteY31" fmla="*/ 10581 h 75096"/>
                <a:gd name="connsiteX32" fmla="*/ -82 w 71099"/>
                <a:gd name="connsiteY32" fmla="*/ 12111 h 75096"/>
                <a:gd name="connsiteX33" fmla="*/ -82 w 71099"/>
                <a:gd name="connsiteY33" fmla="*/ 15269 h 75096"/>
                <a:gd name="connsiteX34" fmla="*/ 3717 w 71099"/>
                <a:gd name="connsiteY34" fmla="*/ 21486 h 75096"/>
                <a:gd name="connsiteX35" fmla="*/ 3717 w 71099"/>
                <a:gd name="connsiteY35" fmla="*/ 37028 h 75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1099" h="75096">
                  <a:moveTo>
                    <a:pt x="9441" y="75069"/>
                  </a:moveTo>
                  <a:lnTo>
                    <a:pt x="28585" y="75069"/>
                  </a:lnTo>
                  <a:lnTo>
                    <a:pt x="40081" y="72010"/>
                  </a:lnTo>
                  <a:lnTo>
                    <a:pt x="45805" y="65744"/>
                  </a:lnTo>
                  <a:lnTo>
                    <a:pt x="55673" y="56418"/>
                  </a:lnTo>
                  <a:lnTo>
                    <a:pt x="59522" y="53310"/>
                  </a:lnTo>
                  <a:lnTo>
                    <a:pt x="65245" y="47093"/>
                  </a:lnTo>
                  <a:lnTo>
                    <a:pt x="69093" y="42159"/>
                  </a:lnTo>
                  <a:lnTo>
                    <a:pt x="71018" y="37521"/>
                  </a:lnTo>
                  <a:lnTo>
                    <a:pt x="69093" y="29775"/>
                  </a:lnTo>
                  <a:lnTo>
                    <a:pt x="65245" y="28196"/>
                  </a:lnTo>
                  <a:lnTo>
                    <a:pt x="63370" y="23509"/>
                  </a:lnTo>
                  <a:lnTo>
                    <a:pt x="57597" y="21979"/>
                  </a:lnTo>
                  <a:lnTo>
                    <a:pt x="57597" y="17292"/>
                  </a:lnTo>
                  <a:lnTo>
                    <a:pt x="55673" y="14183"/>
                  </a:lnTo>
                  <a:lnTo>
                    <a:pt x="55673" y="9545"/>
                  </a:lnTo>
                  <a:lnTo>
                    <a:pt x="49900" y="7966"/>
                  </a:lnTo>
                  <a:lnTo>
                    <a:pt x="49900" y="3032"/>
                  </a:lnTo>
                  <a:lnTo>
                    <a:pt x="45854" y="3032"/>
                  </a:lnTo>
                  <a:lnTo>
                    <a:pt x="42055" y="-27"/>
                  </a:lnTo>
                  <a:lnTo>
                    <a:pt x="40131" y="-27"/>
                  </a:lnTo>
                  <a:lnTo>
                    <a:pt x="40131" y="6190"/>
                  </a:lnTo>
                  <a:lnTo>
                    <a:pt x="36331" y="15515"/>
                  </a:lnTo>
                  <a:lnTo>
                    <a:pt x="36331" y="18624"/>
                  </a:lnTo>
                  <a:lnTo>
                    <a:pt x="28635" y="20203"/>
                  </a:lnTo>
                  <a:lnTo>
                    <a:pt x="26710" y="17045"/>
                  </a:lnTo>
                  <a:lnTo>
                    <a:pt x="22862" y="17045"/>
                  </a:lnTo>
                  <a:lnTo>
                    <a:pt x="20987" y="20203"/>
                  </a:lnTo>
                  <a:lnTo>
                    <a:pt x="13290" y="17045"/>
                  </a:lnTo>
                  <a:lnTo>
                    <a:pt x="11415" y="12111"/>
                  </a:lnTo>
                  <a:lnTo>
                    <a:pt x="7566" y="10581"/>
                  </a:lnTo>
                  <a:lnTo>
                    <a:pt x="1793" y="10581"/>
                  </a:lnTo>
                  <a:lnTo>
                    <a:pt x="-82" y="12111"/>
                  </a:lnTo>
                  <a:lnTo>
                    <a:pt x="-82" y="15269"/>
                  </a:lnTo>
                  <a:lnTo>
                    <a:pt x="3717" y="21486"/>
                  </a:lnTo>
                  <a:lnTo>
                    <a:pt x="3717" y="3702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Graphic 2">
              <a:extLst>
                <a:ext uri="{FF2B5EF4-FFF2-40B4-BE49-F238E27FC236}">
                  <a16:creationId xmlns:a16="http://schemas.microsoft.com/office/drawing/2014/main" id="{DFADA4FD-1EFF-4B5C-9E88-B1D10FD96081}"/>
                </a:ext>
              </a:extLst>
            </p:cNvPr>
            <p:cNvSpPr/>
            <p:nvPr/>
          </p:nvSpPr>
          <p:spPr>
            <a:xfrm>
              <a:off x="5807840" y="4492302"/>
              <a:ext cx="627434" cy="532246"/>
            </a:xfrm>
            <a:custGeom>
              <a:avLst/>
              <a:gdLst>
                <a:gd name="connsiteX0" fmla="*/ -82 w 690616"/>
                <a:gd name="connsiteY0" fmla="*/ 349105 h 585867"/>
                <a:gd name="connsiteX1" fmla="*/ 5839 w 690616"/>
                <a:gd name="connsiteY1" fmla="*/ 346096 h 585867"/>
                <a:gd name="connsiteX2" fmla="*/ 11711 w 690616"/>
                <a:gd name="connsiteY2" fmla="*/ 344566 h 585867"/>
                <a:gd name="connsiteX3" fmla="*/ 17631 w 690616"/>
                <a:gd name="connsiteY3" fmla="*/ 341507 h 585867"/>
                <a:gd name="connsiteX4" fmla="*/ 17631 w 690616"/>
                <a:gd name="connsiteY4" fmla="*/ 329369 h 585867"/>
                <a:gd name="connsiteX5" fmla="*/ 19605 w 690616"/>
                <a:gd name="connsiteY5" fmla="*/ 326360 h 585867"/>
                <a:gd name="connsiteX6" fmla="*/ 27450 w 690616"/>
                <a:gd name="connsiteY6" fmla="*/ 321771 h 585867"/>
                <a:gd name="connsiteX7" fmla="*/ 35345 w 690616"/>
                <a:gd name="connsiteY7" fmla="*/ 315702 h 585867"/>
                <a:gd name="connsiteX8" fmla="*/ 39242 w 690616"/>
                <a:gd name="connsiteY8" fmla="*/ 315702 h 585867"/>
                <a:gd name="connsiteX9" fmla="*/ 45163 w 690616"/>
                <a:gd name="connsiteY9" fmla="*/ 312692 h 585867"/>
                <a:gd name="connsiteX10" fmla="*/ 47137 w 690616"/>
                <a:gd name="connsiteY10" fmla="*/ 315702 h 585867"/>
                <a:gd name="connsiteX11" fmla="*/ 47137 w 690616"/>
                <a:gd name="connsiteY11" fmla="*/ 318712 h 585867"/>
                <a:gd name="connsiteX12" fmla="*/ 55032 w 690616"/>
                <a:gd name="connsiteY12" fmla="*/ 318712 h 585867"/>
                <a:gd name="connsiteX13" fmla="*/ 58929 w 690616"/>
                <a:gd name="connsiteY13" fmla="*/ 315702 h 585867"/>
                <a:gd name="connsiteX14" fmla="*/ 58929 w 690616"/>
                <a:gd name="connsiteY14" fmla="*/ 308104 h 585867"/>
                <a:gd name="connsiteX15" fmla="*/ 62876 w 690616"/>
                <a:gd name="connsiteY15" fmla="*/ 306574 h 585867"/>
                <a:gd name="connsiteX16" fmla="*/ 68797 w 690616"/>
                <a:gd name="connsiteY16" fmla="*/ 308104 h 585867"/>
                <a:gd name="connsiteX17" fmla="*/ 74669 w 690616"/>
                <a:gd name="connsiteY17" fmla="*/ 303564 h 585867"/>
                <a:gd name="connsiteX18" fmla="*/ 88434 w 690616"/>
                <a:gd name="connsiteY18" fmla="*/ 300505 h 585867"/>
                <a:gd name="connsiteX19" fmla="*/ 86461 w 690616"/>
                <a:gd name="connsiteY19" fmla="*/ 302035 h 585867"/>
                <a:gd name="connsiteX20" fmla="*/ 80590 w 690616"/>
                <a:gd name="connsiteY20" fmla="*/ 311163 h 585867"/>
                <a:gd name="connsiteX21" fmla="*/ 82563 w 690616"/>
                <a:gd name="connsiteY21" fmla="*/ 312692 h 585867"/>
                <a:gd name="connsiteX22" fmla="*/ 86461 w 690616"/>
                <a:gd name="connsiteY22" fmla="*/ 317231 h 585867"/>
                <a:gd name="connsiteX23" fmla="*/ 94356 w 690616"/>
                <a:gd name="connsiteY23" fmla="*/ 321771 h 585867"/>
                <a:gd name="connsiteX24" fmla="*/ 102201 w 690616"/>
                <a:gd name="connsiteY24" fmla="*/ 318712 h 585867"/>
                <a:gd name="connsiteX25" fmla="*/ 108122 w 690616"/>
                <a:gd name="connsiteY25" fmla="*/ 311163 h 585867"/>
                <a:gd name="connsiteX26" fmla="*/ 123812 w 690616"/>
                <a:gd name="connsiteY26" fmla="*/ 299025 h 585867"/>
                <a:gd name="connsiteX27" fmla="*/ 125785 w 690616"/>
                <a:gd name="connsiteY27" fmla="*/ 294486 h 585867"/>
                <a:gd name="connsiteX28" fmla="*/ 131706 w 690616"/>
                <a:gd name="connsiteY28" fmla="*/ 291427 h 585867"/>
                <a:gd name="connsiteX29" fmla="*/ 137578 w 690616"/>
                <a:gd name="connsiteY29" fmla="*/ 289897 h 585867"/>
                <a:gd name="connsiteX30" fmla="*/ 143548 w 690616"/>
                <a:gd name="connsiteY30" fmla="*/ 280818 h 585867"/>
                <a:gd name="connsiteX31" fmla="*/ 143548 w 690616"/>
                <a:gd name="connsiteY31" fmla="*/ 274700 h 585867"/>
                <a:gd name="connsiteX32" fmla="*/ 145472 w 690616"/>
                <a:gd name="connsiteY32" fmla="*/ 267151 h 585867"/>
                <a:gd name="connsiteX33" fmla="*/ 147446 w 690616"/>
                <a:gd name="connsiteY33" fmla="*/ 250425 h 585867"/>
                <a:gd name="connsiteX34" fmla="*/ 145472 w 690616"/>
                <a:gd name="connsiteY34" fmla="*/ 247415 h 585867"/>
                <a:gd name="connsiteX35" fmla="*/ 143548 w 690616"/>
                <a:gd name="connsiteY35" fmla="*/ 239767 h 585867"/>
                <a:gd name="connsiteX36" fmla="*/ 147446 w 690616"/>
                <a:gd name="connsiteY36" fmla="*/ 233748 h 585867"/>
                <a:gd name="connsiteX37" fmla="*/ 159238 w 690616"/>
                <a:gd name="connsiteY37" fmla="*/ 223090 h 585867"/>
                <a:gd name="connsiteX38" fmla="*/ 159238 w 690616"/>
                <a:gd name="connsiteY38" fmla="*/ 215541 h 585867"/>
                <a:gd name="connsiteX39" fmla="*/ 165159 w 690616"/>
                <a:gd name="connsiteY39" fmla="*/ 209472 h 585867"/>
                <a:gd name="connsiteX40" fmla="*/ 173004 w 690616"/>
                <a:gd name="connsiteY40" fmla="*/ 203354 h 585867"/>
                <a:gd name="connsiteX41" fmla="*/ 178925 w 690616"/>
                <a:gd name="connsiteY41" fmla="*/ 206413 h 585867"/>
                <a:gd name="connsiteX42" fmla="*/ 184796 w 690616"/>
                <a:gd name="connsiteY42" fmla="*/ 200344 h 585867"/>
                <a:gd name="connsiteX43" fmla="*/ 192691 w 690616"/>
                <a:gd name="connsiteY43" fmla="*/ 198815 h 585867"/>
                <a:gd name="connsiteX44" fmla="*/ 202559 w 690616"/>
                <a:gd name="connsiteY44" fmla="*/ 183618 h 585867"/>
                <a:gd name="connsiteX45" fmla="*/ 204532 w 690616"/>
                <a:gd name="connsiteY45" fmla="*/ 171480 h 585867"/>
                <a:gd name="connsiteX46" fmla="*/ 206506 w 690616"/>
                <a:gd name="connsiteY46" fmla="*/ 162401 h 585867"/>
                <a:gd name="connsiteX47" fmla="*/ 212377 w 690616"/>
                <a:gd name="connsiteY47" fmla="*/ 160872 h 585867"/>
                <a:gd name="connsiteX48" fmla="*/ 212377 w 690616"/>
                <a:gd name="connsiteY48" fmla="*/ 150264 h 585867"/>
                <a:gd name="connsiteX49" fmla="*/ 210454 w 690616"/>
                <a:gd name="connsiteY49" fmla="*/ 148734 h 585867"/>
                <a:gd name="connsiteX50" fmla="*/ 212377 w 690616"/>
                <a:gd name="connsiteY50" fmla="*/ 139606 h 585867"/>
                <a:gd name="connsiteX51" fmla="*/ 212377 w 690616"/>
                <a:gd name="connsiteY51" fmla="*/ 127518 h 585867"/>
                <a:gd name="connsiteX52" fmla="*/ 218299 w 690616"/>
                <a:gd name="connsiteY52" fmla="*/ 121400 h 585867"/>
                <a:gd name="connsiteX53" fmla="*/ 218299 w 690616"/>
                <a:gd name="connsiteY53" fmla="*/ 115331 h 585867"/>
                <a:gd name="connsiteX54" fmla="*/ 222245 w 690616"/>
                <a:gd name="connsiteY54" fmla="*/ 107733 h 585867"/>
                <a:gd name="connsiteX55" fmla="*/ 218299 w 690616"/>
                <a:gd name="connsiteY55" fmla="*/ 97124 h 585867"/>
                <a:gd name="connsiteX56" fmla="*/ 234038 w 690616"/>
                <a:gd name="connsiteY56" fmla="*/ 80447 h 585867"/>
                <a:gd name="connsiteX57" fmla="*/ 236012 w 690616"/>
                <a:gd name="connsiteY57" fmla="*/ 75908 h 585867"/>
                <a:gd name="connsiteX58" fmla="*/ 241933 w 690616"/>
                <a:gd name="connsiteY58" fmla="*/ 71319 h 585867"/>
                <a:gd name="connsiteX59" fmla="*/ 241933 w 690616"/>
                <a:gd name="connsiteY59" fmla="*/ 59182 h 585867"/>
                <a:gd name="connsiteX60" fmla="*/ 237936 w 690616"/>
                <a:gd name="connsiteY60" fmla="*/ 53113 h 585867"/>
                <a:gd name="connsiteX61" fmla="*/ 239959 w 690616"/>
                <a:gd name="connsiteY61" fmla="*/ 45514 h 585867"/>
                <a:gd name="connsiteX62" fmla="*/ 241933 w 690616"/>
                <a:gd name="connsiteY62" fmla="*/ 40975 h 585867"/>
                <a:gd name="connsiteX63" fmla="*/ 243906 w 690616"/>
                <a:gd name="connsiteY63" fmla="*/ 39445 h 585867"/>
                <a:gd name="connsiteX64" fmla="*/ 237936 w 690616"/>
                <a:gd name="connsiteY64" fmla="*/ 33377 h 585867"/>
                <a:gd name="connsiteX65" fmla="*/ 237936 w 690616"/>
                <a:gd name="connsiteY65" fmla="*/ 30318 h 585867"/>
                <a:gd name="connsiteX66" fmla="*/ 241933 w 690616"/>
                <a:gd name="connsiteY66" fmla="*/ 28837 h 585867"/>
                <a:gd name="connsiteX67" fmla="*/ 245830 w 690616"/>
                <a:gd name="connsiteY67" fmla="*/ 27308 h 585867"/>
                <a:gd name="connsiteX68" fmla="*/ 245830 w 690616"/>
                <a:gd name="connsiteY68" fmla="*/ 24248 h 585867"/>
                <a:gd name="connsiteX69" fmla="*/ 247804 w 690616"/>
                <a:gd name="connsiteY69" fmla="*/ 21189 h 585867"/>
                <a:gd name="connsiteX70" fmla="*/ 249778 w 690616"/>
                <a:gd name="connsiteY70" fmla="*/ 15170 h 585867"/>
                <a:gd name="connsiteX71" fmla="*/ 251751 w 690616"/>
                <a:gd name="connsiteY71" fmla="*/ 13640 h 585867"/>
                <a:gd name="connsiteX72" fmla="*/ 257672 w 690616"/>
                <a:gd name="connsiteY72" fmla="*/ 13640 h 585867"/>
                <a:gd name="connsiteX73" fmla="*/ 263544 w 690616"/>
                <a:gd name="connsiteY73" fmla="*/ 9101 h 585867"/>
                <a:gd name="connsiteX74" fmla="*/ 269465 w 690616"/>
                <a:gd name="connsiteY74" fmla="*/ 10631 h 585867"/>
                <a:gd name="connsiteX75" fmla="*/ 269465 w 690616"/>
                <a:gd name="connsiteY75" fmla="*/ 7572 h 585867"/>
                <a:gd name="connsiteX76" fmla="*/ 273363 w 690616"/>
                <a:gd name="connsiteY76" fmla="*/ 7572 h 585867"/>
                <a:gd name="connsiteX77" fmla="*/ 277309 w 690616"/>
                <a:gd name="connsiteY77" fmla="*/ 10631 h 585867"/>
                <a:gd name="connsiteX78" fmla="*/ 281257 w 690616"/>
                <a:gd name="connsiteY78" fmla="*/ 10631 h 585867"/>
                <a:gd name="connsiteX79" fmla="*/ 293049 w 690616"/>
                <a:gd name="connsiteY79" fmla="*/ 18180 h 585867"/>
                <a:gd name="connsiteX80" fmla="*/ 298921 w 690616"/>
                <a:gd name="connsiteY80" fmla="*/ 21189 h 585867"/>
                <a:gd name="connsiteX81" fmla="*/ 308789 w 690616"/>
                <a:gd name="connsiteY81" fmla="*/ 27308 h 585867"/>
                <a:gd name="connsiteX82" fmla="*/ 310762 w 690616"/>
                <a:gd name="connsiteY82" fmla="*/ 28837 h 585867"/>
                <a:gd name="connsiteX83" fmla="*/ 316683 w 690616"/>
                <a:gd name="connsiteY83" fmla="*/ 28837 h 585867"/>
                <a:gd name="connsiteX84" fmla="*/ 326551 w 690616"/>
                <a:gd name="connsiteY84" fmla="*/ 31847 h 585867"/>
                <a:gd name="connsiteX85" fmla="*/ 334397 w 690616"/>
                <a:gd name="connsiteY85" fmla="*/ 33377 h 585867"/>
                <a:gd name="connsiteX86" fmla="*/ 340317 w 690616"/>
                <a:gd name="connsiteY86" fmla="*/ 33377 h 585867"/>
                <a:gd name="connsiteX87" fmla="*/ 344265 w 690616"/>
                <a:gd name="connsiteY87" fmla="*/ 31847 h 585867"/>
                <a:gd name="connsiteX88" fmla="*/ 348162 w 690616"/>
                <a:gd name="connsiteY88" fmla="*/ 31847 h 585867"/>
                <a:gd name="connsiteX89" fmla="*/ 354083 w 690616"/>
                <a:gd name="connsiteY89" fmla="*/ 33377 h 585867"/>
                <a:gd name="connsiteX90" fmla="*/ 363951 w 690616"/>
                <a:gd name="connsiteY90" fmla="*/ 34857 h 585867"/>
                <a:gd name="connsiteX91" fmla="*/ 367898 w 690616"/>
                <a:gd name="connsiteY91" fmla="*/ 36386 h 585867"/>
                <a:gd name="connsiteX92" fmla="*/ 375744 w 690616"/>
                <a:gd name="connsiteY92" fmla="*/ 34857 h 585867"/>
                <a:gd name="connsiteX93" fmla="*/ 377766 w 690616"/>
                <a:gd name="connsiteY93" fmla="*/ 33377 h 585867"/>
                <a:gd name="connsiteX94" fmla="*/ 373770 w 690616"/>
                <a:gd name="connsiteY94" fmla="*/ 30318 h 585867"/>
                <a:gd name="connsiteX95" fmla="*/ 371846 w 690616"/>
                <a:gd name="connsiteY95" fmla="*/ 27308 h 585867"/>
                <a:gd name="connsiteX96" fmla="*/ 377766 w 690616"/>
                <a:gd name="connsiteY96" fmla="*/ 22719 h 585867"/>
                <a:gd name="connsiteX97" fmla="*/ 383638 w 690616"/>
                <a:gd name="connsiteY97" fmla="*/ 15170 h 585867"/>
                <a:gd name="connsiteX98" fmla="*/ 389559 w 690616"/>
                <a:gd name="connsiteY98" fmla="*/ 16650 h 585867"/>
                <a:gd name="connsiteX99" fmla="*/ 397404 w 690616"/>
                <a:gd name="connsiteY99" fmla="*/ 16650 h 585867"/>
                <a:gd name="connsiteX100" fmla="*/ 401351 w 690616"/>
                <a:gd name="connsiteY100" fmla="*/ 22719 h 585867"/>
                <a:gd name="connsiteX101" fmla="*/ 407223 w 690616"/>
                <a:gd name="connsiteY101" fmla="*/ 21189 h 585867"/>
                <a:gd name="connsiteX102" fmla="*/ 420989 w 690616"/>
                <a:gd name="connsiteY102" fmla="*/ 18180 h 585867"/>
                <a:gd name="connsiteX103" fmla="*/ 422962 w 690616"/>
                <a:gd name="connsiteY103" fmla="*/ 15170 h 585867"/>
                <a:gd name="connsiteX104" fmla="*/ 430857 w 690616"/>
                <a:gd name="connsiteY104" fmla="*/ 13640 h 585867"/>
                <a:gd name="connsiteX105" fmla="*/ 444623 w 690616"/>
                <a:gd name="connsiteY105" fmla="*/ 7572 h 585867"/>
                <a:gd name="connsiteX106" fmla="*/ 450494 w 690616"/>
                <a:gd name="connsiteY106" fmla="*/ 7572 h 585867"/>
                <a:gd name="connsiteX107" fmla="*/ 450494 w 690616"/>
                <a:gd name="connsiteY107" fmla="*/ 10631 h 585867"/>
                <a:gd name="connsiteX108" fmla="*/ 452468 w 690616"/>
                <a:gd name="connsiteY108" fmla="*/ 10631 h 585867"/>
                <a:gd name="connsiteX109" fmla="*/ 454441 w 690616"/>
                <a:gd name="connsiteY109" fmla="*/ 13640 h 585867"/>
                <a:gd name="connsiteX110" fmla="*/ 456415 w 690616"/>
                <a:gd name="connsiteY110" fmla="*/ 13640 h 585867"/>
                <a:gd name="connsiteX111" fmla="*/ 464309 w 690616"/>
                <a:gd name="connsiteY111" fmla="*/ 12111 h 585867"/>
                <a:gd name="connsiteX112" fmla="*/ 472154 w 690616"/>
                <a:gd name="connsiteY112" fmla="*/ 10631 h 585867"/>
                <a:gd name="connsiteX113" fmla="*/ 480000 w 690616"/>
                <a:gd name="connsiteY113" fmla="*/ 10631 h 585867"/>
                <a:gd name="connsiteX114" fmla="*/ 483947 w 690616"/>
                <a:gd name="connsiteY114" fmla="*/ 4512 h 585867"/>
                <a:gd name="connsiteX115" fmla="*/ 483947 w 690616"/>
                <a:gd name="connsiteY115" fmla="*/ -27 h 585867"/>
                <a:gd name="connsiteX116" fmla="*/ 487894 w 690616"/>
                <a:gd name="connsiteY116" fmla="*/ -27 h 585867"/>
                <a:gd name="connsiteX117" fmla="*/ 491841 w 690616"/>
                <a:gd name="connsiteY117" fmla="*/ 2983 h 585867"/>
                <a:gd name="connsiteX118" fmla="*/ 501709 w 690616"/>
                <a:gd name="connsiteY118" fmla="*/ 4512 h 585867"/>
                <a:gd name="connsiteX119" fmla="*/ 505657 w 690616"/>
                <a:gd name="connsiteY119" fmla="*/ 2983 h 585867"/>
                <a:gd name="connsiteX120" fmla="*/ 507581 w 690616"/>
                <a:gd name="connsiteY120" fmla="*/ 4512 h 585867"/>
                <a:gd name="connsiteX121" fmla="*/ 513502 w 690616"/>
                <a:gd name="connsiteY121" fmla="*/ 6042 h 585867"/>
                <a:gd name="connsiteX122" fmla="*/ 517449 w 690616"/>
                <a:gd name="connsiteY122" fmla="*/ 9101 h 585867"/>
                <a:gd name="connsiteX123" fmla="*/ 535113 w 690616"/>
                <a:gd name="connsiteY123" fmla="*/ 9101 h 585867"/>
                <a:gd name="connsiteX124" fmla="*/ 544981 w 690616"/>
                <a:gd name="connsiteY124" fmla="*/ 6042 h 585867"/>
                <a:gd name="connsiteX125" fmla="*/ 552875 w 690616"/>
                <a:gd name="connsiteY125" fmla="*/ 6042 h 585867"/>
                <a:gd name="connsiteX126" fmla="*/ 558747 w 690616"/>
                <a:gd name="connsiteY126" fmla="*/ 9101 h 585867"/>
                <a:gd name="connsiteX127" fmla="*/ 562694 w 690616"/>
                <a:gd name="connsiteY127" fmla="*/ 10631 h 585867"/>
                <a:gd name="connsiteX128" fmla="*/ 562694 w 690616"/>
                <a:gd name="connsiteY128" fmla="*/ 15170 h 585867"/>
                <a:gd name="connsiteX129" fmla="*/ 568566 w 690616"/>
                <a:gd name="connsiteY129" fmla="*/ 18180 h 585867"/>
                <a:gd name="connsiteX130" fmla="*/ 572513 w 690616"/>
                <a:gd name="connsiteY130" fmla="*/ 21189 h 585867"/>
                <a:gd name="connsiteX131" fmla="*/ 576460 w 690616"/>
                <a:gd name="connsiteY131" fmla="*/ 24248 h 585867"/>
                <a:gd name="connsiteX132" fmla="*/ 584305 w 690616"/>
                <a:gd name="connsiteY132" fmla="*/ 28837 h 585867"/>
                <a:gd name="connsiteX133" fmla="*/ 590226 w 690616"/>
                <a:gd name="connsiteY133" fmla="*/ 31847 h 585867"/>
                <a:gd name="connsiteX134" fmla="*/ 594124 w 690616"/>
                <a:gd name="connsiteY134" fmla="*/ 30318 h 585867"/>
                <a:gd name="connsiteX135" fmla="*/ 596097 w 690616"/>
                <a:gd name="connsiteY135" fmla="*/ 27308 h 585867"/>
                <a:gd name="connsiteX136" fmla="*/ 602019 w 690616"/>
                <a:gd name="connsiteY136" fmla="*/ 25778 h 585867"/>
                <a:gd name="connsiteX137" fmla="*/ 615784 w 690616"/>
                <a:gd name="connsiteY137" fmla="*/ 25778 h 585867"/>
                <a:gd name="connsiteX138" fmla="*/ 615784 w 690616"/>
                <a:gd name="connsiteY138" fmla="*/ 27308 h 585867"/>
                <a:gd name="connsiteX139" fmla="*/ 619732 w 690616"/>
                <a:gd name="connsiteY139" fmla="*/ 27308 h 585867"/>
                <a:gd name="connsiteX140" fmla="*/ 625652 w 690616"/>
                <a:gd name="connsiteY140" fmla="*/ 25778 h 585867"/>
                <a:gd name="connsiteX141" fmla="*/ 629550 w 690616"/>
                <a:gd name="connsiteY141" fmla="*/ 22719 h 585867"/>
                <a:gd name="connsiteX142" fmla="*/ 635471 w 690616"/>
                <a:gd name="connsiteY142" fmla="*/ 16650 h 585867"/>
                <a:gd name="connsiteX143" fmla="*/ 643168 w 690616"/>
                <a:gd name="connsiteY143" fmla="*/ 16650 h 585867"/>
                <a:gd name="connsiteX144" fmla="*/ 645142 w 690616"/>
                <a:gd name="connsiteY144" fmla="*/ 18180 h 585867"/>
                <a:gd name="connsiteX145" fmla="*/ 649089 w 690616"/>
                <a:gd name="connsiteY145" fmla="*/ 27308 h 585867"/>
                <a:gd name="connsiteX146" fmla="*/ 653036 w 690616"/>
                <a:gd name="connsiteY146" fmla="*/ 31847 h 585867"/>
                <a:gd name="connsiteX147" fmla="*/ 654961 w 690616"/>
                <a:gd name="connsiteY147" fmla="*/ 33377 h 585867"/>
                <a:gd name="connsiteX148" fmla="*/ 662855 w 690616"/>
                <a:gd name="connsiteY148" fmla="*/ 36386 h 585867"/>
                <a:gd name="connsiteX149" fmla="*/ 668727 w 690616"/>
                <a:gd name="connsiteY149" fmla="*/ 39445 h 585867"/>
                <a:gd name="connsiteX150" fmla="*/ 672674 w 690616"/>
                <a:gd name="connsiteY150" fmla="*/ 44034 h 585867"/>
                <a:gd name="connsiteX151" fmla="*/ 674647 w 690616"/>
                <a:gd name="connsiteY151" fmla="*/ 48574 h 585867"/>
                <a:gd name="connsiteX152" fmla="*/ 676621 w 690616"/>
                <a:gd name="connsiteY152" fmla="*/ 51583 h 585867"/>
                <a:gd name="connsiteX153" fmla="*/ 676621 w 690616"/>
                <a:gd name="connsiteY153" fmla="*/ 54593 h 585867"/>
                <a:gd name="connsiteX154" fmla="*/ 678595 w 690616"/>
                <a:gd name="connsiteY154" fmla="*/ 56122 h 585867"/>
                <a:gd name="connsiteX155" fmla="*/ 686440 w 690616"/>
                <a:gd name="connsiteY155" fmla="*/ 54593 h 585867"/>
                <a:gd name="connsiteX156" fmla="*/ 688414 w 690616"/>
                <a:gd name="connsiteY156" fmla="*/ 56122 h 585867"/>
                <a:gd name="connsiteX157" fmla="*/ 686440 w 690616"/>
                <a:gd name="connsiteY157" fmla="*/ 62241 h 585867"/>
                <a:gd name="connsiteX158" fmla="*/ 684466 w 690616"/>
                <a:gd name="connsiteY158" fmla="*/ 65250 h 585867"/>
                <a:gd name="connsiteX159" fmla="*/ 684466 w 690616"/>
                <a:gd name="connsiteY159" fmla="*/ 75908 h 585867"/>
                <a:gd name="connsiteX160" fmla="*/ 682641 w 690616"/>
                <a:gd name="connsiteY160" fmla="*/ 85135 h 585867"/>
                <a:gd name="connsiteX161" fmla="*/ 680667 w 690616"/>
                <a:gd name="connsiteY161" fmla="*/ 92733 h 585867"/>
                <a:gd name="connsiteX162" fmla="*/ 684614 w 690616"/>
                <a:gd name="connsiteY162" fmla="*/ 95743 h 585867"/>
                <a:gd name="connsiteX163" fmla="*/ 688561 w 690616"/>
                <a:gd name="connsiteY163" fmla="*/ 100282 h 585867"/>
                <a:gd name="connsiteX164" fmla="*/ 690535 w 690616"/>
                <a:gd name="connsiteY164" fmla="*/ 104821 h 585867"/>
                <a:gd name="connsiteX165" fmla="*/ 690535 w 690616"/>
                <a:gd name="connsiteY165" fmla="*/ 109410 h 585867"/>
                <a:gd name="connsiteX166" fmla="*/ 672772 w 690616"/>
                <a:gd name="connsiteY166" fmla="*/ 130528 h 585867"/>
                <a:gd name="connsiteX167" fmla="*/ 659006 w 690616"/>
                <a:gd name="connsiteY167" fmla="*/ 139606 h 585867"/>
                <a:gd name="connsiteX168" fmla="*/ 657033 w 690616"/>
                <a:gd name="connsiteY168" fmla="*/ 144195 h 585867"/>
                <a:gd name="connsiteX169" fmla="*/ 643267 w 690616"/>
                <a:gd name="connsiteY169" fmla="*/ 166941 h 585867"/>
                <a:gd name="connsiteX170" fmla="*/ 641293 w 690616"/>
                <a:gd name="connsiteY170" fmla="*/ 169951 h 585867"/>
                <a:gd name="connsiteX171" fmla="*/ 641293 w 690616"/>
                <a:gd name="connsiteY171" fmla="*/ 177598 h 585867"/>
                <a:gd name="connsiteX172" fmla="*/ 639369 w 690616"/>
                <a:gd name="connsiteY172" fmla="*/ 189687 h 585867"/>
                <a:gd name="connsiteX173" fmla="*/ 635422 w 690616"/>
                <a:gd name="connsiteY173" fmla="*/ 200344 h 585867"/>
                <a:gd name="connsiteX174" fmla="*/ 637395 w 690616"/>
                <a:gd name="connsiteY174" fmla="*/ 207943 h 585867"/>
                <a:gd name="connsiteX175" fmla="*/ 625603 w 690616"/>
                <a:gd name="connsiteY175" fmla="*/ 215541 h 585867"/>
                <a:gd name="connsiteX176" fmla="*/ 619682 w 690616"/>
                <a:gd name="connsiteY176" fmla="*/ 221561 h 585867"/>
                <a:gd name="connsiteX177" fmla="*/ 613762 w 690616"/>
                <a:gd name="connsiteY177" fmla="*/ 241297 h 585867"/>
                <a:gd name="connsiteX178" fmla="*/ 613762 w 690616"/>
                <a:gd name="connsiteY178" fmla="*/ 248846 h 585867"/>
                <a:gd name="connsiteX179" fmla="*/ 617708 w 690616"/>
                <a:gd name="connsiteY179" fmla="*/ 254915 h 585867"/>
                <a:gd name="connsiteX180" fmla="*/ 617708 w 690616"/>
                <a:gd name="connsiteY180" fmla="*/ 270112 h 585867"/>
                <a:gd name="connsiteX181" fmla="*/ 627577 w 690616"/>
                <a:gd name="connsiteY181" fmla="*/ 332379 h 585867"/>
                <a:gd name="connsiteX182" fmla="*/ 639418 w 690616"/>
                <a:gd name="connsiteY182" fmla="*/ 370272 h 585867"/>
                <a:gd name="connsiteX183" fmla="*/ 663003 w 690616"/>
                <a:gd name="connsiteY183" fmla="*/ 399137 h 585867"/>
                <a:gd name="connsiteX184" fmla="*/ 672871 w 690616"/>
                <a:gd name="connsiteY184" fmla="*/ 423412 h 585867"/>
                <a:gd name="connsiteX185" fmla="*/ 668924 w 690616"/>
                <a:gd name="connsiteY185" fmla="*/ 421882 h 585867"/>
                <a:gd name="connsiteX186" fmla="*/ 607939 w 690616"/>
                <a:gd name="connsiteY186" fmla="*/ 434069 h 585867"/>
                <a:gd name="connsiteX187" fmla="*/ 592249 w 690616"/>
                <a:gd name="connsiteY187" fmla="*/ 458345 h 585867"/>
                <a:gd name="connsiteX188" fmla="*/ 594173 w 690616"/>
                <a:gd name="connsiteY188" fmla="*/ 464414 h 585867"/>
                <a:gd name="connsiteX189" fmla="*/ 600094 w 690616"/>
                <a:gd name="connsiteY189" fmla="*/ 467424 h 585867"/>
                <a:gd name="connsiteX190" fmla="*/ 604041 w 690616"/>
                <a:gd name="connsiteY190" fmla="*/ 470483 h 585867"/>
                <a:gd name="connsiteX191" fmla="*/ 604041 w 690616"/>
                <a:gd name="connsiteY191" fmla="*/ 473493 h 585867"/>
                <a:gd name="connsiteX192" fmla="*/ 602068 w 690616"/>
                <a:gd name="connsiteY192" fmla="*/ 475022 h 585867"/>
                <a:gd name="connsiteX193" fmla="*/ 602068 w 690616"/>
                <a:gd name="connsiteY193" fmla="*/ 488689 h 585867"/>
                <a:gd name="connsiteX194" fmla="*/ 600094 w 690616"/>
                <a:gd name="connsiteY194" fmla="*/ 496288 h 585867"/>
                <a:gd name="connsiteX195" fmla="*/ 596147 w 690616"/>
                <a:gd name="connsiteY195" fmla="*/ 496288 h 585867"/>
                <a:gd name="connsiteX196" fmla="*/ 600094 w 690616"/>
                <a:gd name="connsiteY196" fmla="*/ 499347 h 585867"/>
                <a:gd name="connsiteX197" fmla="*/ 594173 w 690616"/>
                <a:gd name="connsiteY197" fmla="*/ 502357 h 585867"/>
                <a:gd name="connsiteX198" fmla="*/ 588302 w 690616"/>
                <a:gd name="connsiteY198" fmla="*/ 506896 h 585867"/>
                <a:gd name="connsiteX199" fmla="*/ 588302 w 690616"/>
                <a:gd name="connsiteY199" fmla="*/ 535760 h 585867"/>
                <a:gd name="connsiteX200" fmla="*/ 592249 w 690616"/>
                <a:gd name="connsiteY200" fmla="*/ 538770 h 585867"/>
                <a:gd name="connsiteX201" fmla="*/ 604041 w 690616"/>
                <a:gd name="connsiteY201" fmla="*/ 549427 h 585867"/>
                <a:gd name="connsiteX202" fmla="*/ 606015 w 690616"/>
                <a:gd name="connsiteY202" fmla="*/ 553967 h 585867"/>
                <a:gd name="connsiteX203" fmla="*/ 609913 w 690616"/>
                <a:gd name="connsiteY203" fmla="*/ 556976 h 585867"/>
                <a:gd name="connsiteX204" fmla="*/ 625702 w 690616"/>
                <a:gd name="connsiteY204" fmla="*/ 556976 h 585867"/>
                <a:gd name="connsiteX205" fmla="*/ 623728 w 690616"/>
                <a:gd name="connsiteY205" fmla="*/ 553967 h 585867"/>
                <a:gd name="connsiteX206" fmla="*/ 621705 w 690616"/>
                <a:gd name="connsiteY206" fmla="*/ 550957 h 585867"/>
                <a:gd name="connsiteX207" fmla="*/ 629600 w 690616"/>
                <a:gd name="connsiteY207" fmla="*/ 549427 h 585867"/>
                <a:gd name="connsiteX208" fmla="*/ 635520 w 690616"/>
                <a:gd name="connsiteY208" fmla="*/ 550957 h 585867"/>
                <a:gd name="connsiteX209" fmla="*/ 637494 w 690616"/>
                <a:gd name="connsiteY209" fmla="*/ 582831 h 585867"/>
                <a:gd name="connsiteX210" fmla="*/ 635520 w 690616"/>
                <a:gd name="connsiteY210" fmla="*/ 585840 h 585867"/>
                <a:gd name="connsiteX211" fmla="*/ 627626 w 690616"/>
                <a:gd name="connsiteY211" fmla="*/ 584311 h 585867"/>
                <a:gd name="connsiteX212" fmla="*/ 627626 w 690616"/>
                <a:gd name="connsiteY212" fmla="*/ 582831 h 585867"/>
                <a:gd name="connsiteX213" fmla="*/ 625702 w 690616"/>
                <a:gd name="connsiteY213" fmla="*/ 582831 h 585867"/>
                <a:gd name="connsiteX214" fmla="*/ 619781 w 690616"/>
                <a:gd name="connsiteY214" fmla="*/ 584311 h 585867"/>
                <a:gd name="connsiteX215" fmla="*/ 613860 w 690616"/>
                <a:gd name="connsiteY215" fmla="*/ 585840 h 585867"/>
                <a:gd name="connsiteX216" fmla="*/ 609913 w 690616"/>
                <a:gd name="connsiteY216" fmla="*/ 585840 h 585867"/>
                <a:gd name="connsiteX217" fmla="*/ 604041 w 690616"/>
                <a:gd name="connsiteY217" fmla="*/ 579772 h 585867"/>
                <a:gd name="connsiteX218" fmla="*/ 594173 w 690616"/>
                <a:gd name="connsiteY218" fmla="*/ 572173 h 585867"/>
                <a:gd name="connsiteX219" fmla="*/ 588302 w 690616"/>
                <a:gd name="connsiteY219" fmla="*/ 567634 h 585867"/>
                <a:gd name="connsiteX220" fmla="*/ 582381 w 690616"/>
                <a:gd name="connsiteY220" fmla="*/ 558506 h 585867"/>
                <a:gd name="connsiteX221" fmla="*/ 574536 w 690616"/>
                <a:gd name="connsiteY221" fmla="*/ 555496 h 585867"/>
                <a:gd name="connsiteX222" fmla="*/ 558796 w 690616"/>
                <a:gd name="connsiteY222" fmla="*/ 550957 h 585867"/>
                <a:gd name="connsiteX223" fmla="*/ 550951 w 690616"/>
                <a:gd name="connsiteY223" fmla="*/ 546368 h 585867"/>
                <a:gd name="connsiteX224" fmla="*/ 550951 w 690616"/>
                <a:gd name="connsiteY224" fmla="*/ 543358 h 585867"/>
                <a:gd name="connsiteX225" fmla="*/ 545030 w 690616"/>
                <a:gd name="connsiteY225" fmla="*/ 537240 h 585867"/>
                <a:gd name="connsiteX226" fmla="*/ 545030 w 690616"/>
                <a:gd name="connsiteY226" fmla="*/ 529691 h 585867"/>
                <a:gd name="connsiteX227" fmla="*/ 543057 w 690616"/>
                <a:gd name="connsiteY227" fmla="*/ 528161 h 585867"/>
                <a:gd name="connsiteX228" fmla="*/ 539159 w 690616"/>
                <a:gd name="connsiteY228" fmla="*/ 529691 h 585867"/>
                <a:gd name="connsiteX229" fmla="*/ 535162 w 690616"/>
                <a:gd name="connsiteY229" fmla="*/ 529691 h 585867"/>
                <a:gd name="connsiteX230" fmla="*/ 529291 w 690616"/>
                <a:gd name="connsiteY230" fmla="*/ 537240 h 585867"/>
                <a:gd name="connsiteX231" fmla="*/ 529291 w 690616"/>
                <a:gd name="connsiteY231" fmla="*/ 540299 h 585867"/>
                <a:gd name="connsiteX232" fmla="*/ 519423 w 690616"/>
                <a:gd name="connsiteY232" fmla="*/ 543358 h 585867"/>
                <a:gd name="connsiteX233" fmla="*/ 513502 w 690616"/>
                <a:gd name="connsiteY233" fmla="*/ 543358 h 585867"/>
                <a:gd name="connsiteX234" fmla="*/ 513502 w 690616"/>
                <a:gd name="connsiteY234" fmla="*/ 541829 h 585867"/>
                <a:gd name="connsiteX235" fmla="*/ 505657 w 690616"/>
                <a:gd name="connsiteY235" fmla="*/ 540299 h 585867"/>
                <a:gd name="connsiteX236" fmla="*/ 497762 w 690616"/>
                <a:gd name="connsiteY236" fmla="*/ 540299 h 585867"/>
                <a:gd name="connsiteX237" fmla="*/ 487894 w 690616"/>
                <a:gd name="connsiteY237" fmla="*/ 535760 h 585867"/>
                <a:gd name="connsiteX238" fmla="*/ 483947 w 690616"/>
                <a:gd name="connsiteY238" fmla="*/ 535760 h 585867"/>
                <a:gd name="connsiteX239" fmla="*/ 478076 w 690616"/>
                <a:gd name="connsiteY239" fmla="*/ 532701 h 585867"/>
                <a:gd name="connsiteX240" fmla="*/ 476102 w 690616"/>
                <a:gd name="connsiteY240" fmla="*/ 532701 h 585867"/>
                <a:gd name="connsiteX241" fmla="*/ 476102 w 690616"/>
                <a:gd name="connsiteY241" fmla="*/ 526632 h 585867"/>
                <a:gd name="connsiteX242" fmla="*/ 474128 w 690616"/>
                <a:gd name="connsiteY242" fmla="*/ 523573 h 585867"/>
                <a:gd name="connsiteX243" fmla="*/ 474128 w 690616"/>
                <a:gd name="connsiteY243" fmla="*/ 516024 h 585867"/>
                <a:gd name="connsiteX244" fmla="*/ 472154 w 690616"/>
                <a:gd name="connsiteY244" fmla="*/ 516024 h 585867"/>
                <a:gd name="connsiteX245" fmla="*/ 460313 w 690616"/>
                <a:gd name="connsiteY245" fmla="*/ 517553 h 585867"/>
                <a:gd name="connsiteX246" fmla="*/ 458389 w 690616"/>
                <a:gd name="connsiteY246" fmla="*/ 522093 h 585867"/>
                <a:gd name="connsiteX247" fmla="*/ 452468 w 690616"/>
                <a:gd name="connsiteY247" fmla="*/ 522093 h 585867"/>
                <a:gd name="connsiteX248" fmla="*/ 448521 w 690616"/>
                <a:gd name="connsiteY248" fmla="*/ 523573 h 585867"/>
                <a:gd name="connsiteX249" fmla="*/ 444623 w 690616"/>
                <a:gd name="connsiteY249" fmla="*/ 526632 h 585867"/>
                <a:gd name="connsiteX250" fmla="*/ 442649 w 690616"/>
                <a:gd name="connsiteY250" fmla="*/ 525102 h 585867"/>
                <a:gd name="connsiteX251" fmla="*/ 440675 w 690616"/>
                <a:gd name="connsiteY251" fmla="*/ 523573 h 585867"/>
                <a:gd name="connsiteX252" fmla="*/ 440675 w 690616"/>
                <a:gd name="connsiteY252" fmla="*/ 517553 h 585867"/>
                <a:gd name="connsiteX253" fmla="*/ 438702 w 690616"/>
                <a:gd name="connsiteY253" fmla="*/ 514494 h 585867"/>
                <a:gd name="connsiteX254" fmla="*/ 432781 w 690616"/>
                <a:gd name="connsiteY254" fmla="*/ 513014 h 585867"/>
                <a:gd name="connsiteX255" fmla="*/ 430857 w 690616"/>
                <a:gd name="connsiteY255" fmla="*/ 513014 h 585867"/>
                <a:gd name="connsiteX256" fmla="*/ 424936 w 690616"/>
                <a:gd name="connsiteY256" fmla="*/ 511484 h 585867"/>
                <a:gd name="connsiteX257" fmla="*/ 419015 w 690616"/>
                <a:gd name="connsiteY257" fmla="*/ 511484 h 585867"/>
                <a:gd name="connsiteX258" fmla="*/ 413144 w 690616"/>
                <a:gd name="connsiteY258" fmla="*/ 513014 h 585867"/>
                <a:gd name="connsiteX259" fmla="*/ 407223 w 690616"/>
                <a:gd name="connsiteY259" fmla="*/ 516024 h 585867"/>
                <a:gd name="connsiteX260" fmla="*/ 405299 w 690616"/>
                <a:gd name="connsiteY260" fmla="*/ 517553 h 585867"/>
                <a:gd name="connsiteX261" fmla="*/ 387536 w 690616"/>
                <a:gd name="connsiteY261" fmla="*/ 517553 h 585867"/>
                <a:gd name="connsiteX262" fmla="*/ 383638 w 690616"/>
                <a:gd name="connsiteY262" fmla="*/ 516024 h 585867"/>
                <a:gd name="connsiteX263" fmla="*/ 377766 w 690616"/>
                <a:gd name="connsiteY263" fmla="*/ 513014 h 585867"/>
                <a:gd name="connsiteX264" fmla="*/ 375744 w 690616"/>
                <a:gd name="connsiteY264" fmla="*/ 513014 h 585867"/>
                <a:gd name="connsiteX265" fmla="*/ 373770 w 690616"/>
                <a:gd name="connsiteY265" fmla="*/ 514494 h 585867"/>
                <a:gd name="connsiteX266" fmla="*/ 369872 w 690616"/>
                <a:gd name="connsiteY266" fmla="*/ 514494 h 585867"/>
                <a:gd name="connsiteX267" fmla="*/ 367898 w 690616"/>
                <a:gd name="connsiteY267" fmla="*/ 517553 h 585867"/>
                <a:gd name="connsiteX268" fmla="*/ 363951 w 690616"/>
                <a:gd name="connsiteY268" fmla="*/ 517553 h 585867"/>
                <a:gd name="connsiteX269" fmla="*/ 363951 w 690616"/>
                <a:gd name="connsiteY269" fmla="*/ 509955 h 585867"/>
                <a:gd name="connsiteX270" fmla="*/ 365925 w 690616"/>
                <a:gd name="connsiteY270" fmla="*/ 508425 h 585867"/>
                <a:gd name="connsiteX271" fmla="*/ 365925 w 690616"/>
                <a:gd name="connsiteY271" fmla="*/ 506896 h 585867"/>
                <a:gd name="connsiteX272" fmla="*/ 367898 w 690616"/>
                <a:gd name="connsiteY272" fmla="*/ 502357 h 585867"/>
                <a:gd name="connsiteX273" fmla="*/ 363951 w 690616"/>
                <a:gd name="connsiteY273" fmla="*/ 499347 h 585867"/>
                <a:gd name="connsiteX274" fmla="*/ 361978 w 690616"/>
                <a:gd name="connsiteY274" fmla="*/ 491699 h 585867"/>
                <a:gd name="connsiteX275" fmla="*/ 363951 w 690616"/>
                <a:gd name="connsiteY275" fmla="*/ 490219 h 585867"/>
                <a:gd name="connsiteX276" fmla="*/ 363951 w 690616"/>
                <a:gd name="connsiteY276" fmla="*/ 487160 h 585867"/>
                <a:gd name="connsiteX277" fmla="*/ 360004 w 690616"/>
                <a:gd name="connsiteY277" fmla="*/ 482620 h 585867"/>
                <a:gd name="connsiteX278" fmla="*/ 360004 w 690616"/>
                <a:gd name="connsiteY278" fmla="*/ 471963 h 585867"/>
                <a:gd name="connsiteX279" fmla="*/ 356106 w 690616"/>
                <a:gd name="connsiteY279" fmla="*/ 471963 h 585867"/>
                <a:gd name="connsiteX280" fmla="*/ 354133 w 690616"/>
                <a:gd name="connsiteY280" fmla="*/ 467424 h 585867"/>
                <a:gd name="connsiteX281" fmla="*/ 352159 w 690616"/>
                <a:gd name="connsiteY281" fmla="*/ 465943 h 585867"/>
                <a:gd name="connsiteX282" fmla="*/ 352159 w 690616"/>
                <a:gd name="connsiteY282" fmla="*/ 462884 h 585867"/>
                <a:gd name="connsiteX283" fmla="*/ 348212 w 690616"/>
                <a:gd name="connsiteY283" fmla="*/ 459875 h 585867"/>
                <a:gd name="connsiteX284" fmla="*/ 348212 w 690616"/>
                <a:gd name="connsiteY284" fmla="*/ 456816 h 585867"/>
                <a:gd name="connsiteX285" fmla="*/ 346238 w 690616"/>
                <a:gd name="connsiteY285" fmla="*/ 453756 h 585867"/>
                <a:gd name="connsiteX286" fmla="*/ 348212 w 690616"/>
                <a:gd name="connsiteY286" fmla="*/ 447737 h 585867"/>
                <a:gd name="connsiteX287" fmla="*/ 348212 w 690616"/>
                <a:gd name="connsiteY287" fmla="*/ 435451 h 585867"/>
                <a:gd name="connsiteX288" fmla="*/ 346238 w 690616"/>
                <a:gd name="connsiteY288" fmla="*/ 432441 h 585867"/>
                <a:gd name="connsiteX289" fmla="*/ 348212 w 690616"/>
                <a:gd name="connsiteY289" fmla="*/ 429432 h 585867"/>
                <a:gd name="connsiteX290" fmla="*/ 348212 w 690616"/>
                <a:gd name="connsiteY290" fmla="*/ 423313 h 585867"/>
                <a:gd name="connsiteX291" fmla="*/ 346238 w 690616"/>
                <a:gd name="connsiteY291" fmla="*/ 418774 h 585867"/>
                <a:gd name="connsiteX292" fmla="*/ 346238 w 690616"/>
                <a:gd name="connsiteY292" fmla="*/ 412705 h 585867"/>
                <a:gd name="connsiteX293" fmla="*/ 350185 w 690616"/>
                <a:gd name="connsiteY293" fmla="*/ 408117 h 585867"/>
                <a:gd name="connsiteX294" fmla="*/ 350185 w 690616"/>
                <a:gd name="connsiteY294" fmla="*/ 395979 h 585867"/>
                <a:gd name="connsiteX295" fmla="*/ 306914 w 690616"/>
                <a:gd name="connsiteY295" fmla="*/ 392920 h 585867"/>
                <a:gd name="connsiteX296" fmla="*/ 306914 w 690616"/>
                <a:gd name="connsiteY296" fmla="*/ 389861 h 585867"/>
                <a:gd name="connsiteX297" fmla="*/ 308887 w 690616"/>
                <a:gd name="connsiteY297" fmla="*/ 385321 h 585867"/>
                <a:gd name="connsiteX298" fmla="*/ 308887 w 690616"/>
                <a:gd name="connsiteY298" fmla="*/ 382311 h 585867"/>
                <a:gd name="connsiteX299" fmla="*/ 299019 w 690616"/>
                <a:gd name="connsiteY299" fmla="*/ 380782 h 585867"/>
                <a:gd name="connsiteX300" fmla="*/ 299019 w 690616"/>
                <a:gd name="connsiteY300" fmla="*/ 383792 h 585867"/>
                <a:gd name="connsiteX301" fmla="*/ 263642 w 690616"/>
                <a:gd name="connsiteY301" fmla="*/ 385321 h 585867"/>
                <a:gd name="connsiteX302" fmla="*/ 261669 w 690616"/>
                <a:gd name="connsiteY302" fmla="*/ 394449 h 585867"/>
                <a:gd name="connsiteX303" fmla="*/ 259695 w 690616"/>
                <a:gd name="connsiteY303" fmla="*/ 398988 h 585867"/>
                <a:gd name="connsiteX304" fmla="*/ 257771 w 690616"/>
                <a:gd name="connsiteY304" fmla="*/ 400518 h 585867"/>
                <a:gd name="connsiteX305" fmla="*/ 257771 w 690616"/>
                <a:gd name="connsiteY305" fmla="*/ 414185 h 585867"/>
                <a:gd name="connsiteX306" fmla="*/ 230239 w 690616"/>
                <a:gd name="connsiteY306" fmla="*/ 417195 h 585867"/>
                <a:gd name="connsiteX307" fmla="*/ 226242 w 690616"/>
                <a:gd name="connsiteY307" fmla="*/ 418725 h 585867"/>
                <a:gd name="connsiteX308" fmla="*/ 212476 w 690616"/>
                <a:gd name="connsiteY308" fmla="*/ 418725 h 585867"/>
                <a:gd name="connsiteX309" fmla="*/ 208579 w 690616"/>
                <a:gd name="connsiteY309" fmla="*/ 417195 h 585867"/>
                <a:gd name="connsiteX310" fmla="*/ 202657 w 690616"/>
                <a:gd name="connsiteY310" fmla="*/ 418725 h 585867"/>
                <a:gd name="connsiteX311" fmla="*/ 192789 w 690616"/>
                <a:gd name="connsiteY311" fmla="*/ 418725 h 585867"/>
                <a:gd name="connsiteX312" fmla="*/ 188843 w 690616"/>
                <a:gd name="connsiteY312" fmla="*/ 417195 h 585867"/>
                <a:gd name="connsiteX313" fmla="*/ 184895 w 690616"/>
                <a:gd name="connsiteY313" fmla="*/ 405058 h 585867"/>
                <a:gd name="connsiteX314" fmla="*/ 180997 w 690616"/>
                <a:gd name="connsiteY314" fmla="*/ 400518 h 585867"/>
                <a:gd name="connsiteX315" fmla="*/ 179024 w 690616"/>
                <a:gd name="connsiteY315" fmla="*/ 395979 h 585867"/>
                <a:gd name="connsiteX316" fmla="*/ 175076 w 690616"/>
                <a:gd name="connsiteY316" fmla="*/ 394449 h 585867"/>
                <a:gd name="connsiteX317" fmla="*/ 175076 w 690616"/>
                <a:gd name="connsiteY317" fmla="*/ 391390 h 585867"/>
                <a:gd name="connsiteX318" fmla="*/ 173103 w 690616"/>
                <a:gd name="connsiteY318" fmla="*/ 386851 h 585867"/>
                <a:gd name="connsiteX319" fmla="*/ 171129 w 690616"/>
                <a:gd name="connsiteY319" fmla="*/ 379252 h 585867"/>
                <a:gd name="connsiteX320" fmla="*/ 167231 w 690616"/>
                <a:gd name="connsiteY320" fmla="*/ 374713 h 585867"/>
                <a:gd name="connsiteX321" fmla="*/ 167231 w 690616"/>
                <a:gd name="connsiteY321" fmla="*/ 370124 h 585867"/>
                <a:gd name="connsiteX322" fmla="*/ 169205 w 690616"/>
                <a:gd name="connsiteY322" fmla="*/ 367115 h 585867"/>
                <a:gd name="connsiteX323" fmla="*/ 169205 w 690616"/>
                <a:gd name="connsiteY323" fmla="*/ 364105 h 585867"/>
                <a:gd name="connsiteX324" fmla="*/ 167231 w 690616"/>
                <a:gd name="connsiteY324" fmla="*/ 359516 h 585867"/>
                <a:gd name="connsiteX325" fmla="*/ 165258 w 690616"/>
                <a:gd name="connsiteY325" fmla="*/ 356457 h 585867"/>
                <a:gd name="connsiteX326" fmla="*/ 165258 w 690616"/>
                <a:gd name="connsiteY326" fmla="*/ 350438 h 585867"/>
                <a:gd name="connsiteX327" fmla="*/ 102299 w 690616"/>
                <a:gd name="connsiteY327" fmla="*/ 350438 h 585867"/>
                <a:gd name="connsiteX328" fmla="*/ 90507 w 690616"/>
                <a:gd name="connsiteY328" fmla="*/ 351918 h 585867"/>
                <a:gd name="connsiteX329" fmla="*/ 78715 w 690616"/>
                <a:gd name="connsiteY329" fmla="*/ 350438 h 585867"/>
                <a:gd name="connsiteX330" fmla="*/ 35443 w 690616"/>
                <a:gd name="connsiteY330" fmla="*/ 350438 h 585867"/>
                <a:gd name="connsiteX331" fmla="*/ 31496 w 690616"/>
                <a:gd name="connsiteY331" fmla="*/ 351918 h 585867"/>
                <a:gd name="connsiteX332" fmla="*/ 25575 w 690616"/>
                <a:gd name="connsiteY332" fmla="*/ 351918 h 585867"/>
                <a:gd name="connsiteX333" fmla="*/ 21677 w 690616"/>
                <a:gd name="connsiteY333" fmla="*/ 353447 h 585867"/>
                <a:gd name="connsiteX334" fmla="*/ 19704 w 690616"/>
                <a:gd name="connsiteY334" fmla="*/ 353447 h 585867"/>
                <a:gd name="connsiteX335" fmla="*/ 19704 w 690616"/>
                <a:gd name="connsiteY335" fmla="*/ 354977 h 585867"/>
                <a:gd name="connsiteX336" fmla="*/ 17730 w 690616"/>
                <a:gd name="connsiteY336" fmla="*/ 354977 h 585867"/>
                <a:gd name="connsiteX337" fmla="*/ 11809 w 690616"/>
                <a:gd name="connsiteY337" fmla="*/ 351918 h 585867"/>
                <a:gd name="connsiteX338" fmla="*/ 1941 w 690616"/>
                <a:gd name="connsiteY338" fmla="*/ 351918 h 58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</a:cxnLst>
              <a:rect l="l" t="t" r="r" b="b"/>
              <a:pathLst>
                <a:path w="690616" h="585867">
                  <a:moveTo>
                    <a:pt x="-82" y="349105"/>
                  </a:moveTo>
                  <a:lnTo>
                    <a:pt x="5839" y="346096"/>
                  </a:lnTo>
                  <a:lnTo>
                    <a:pt x="11711" y="344566"/>
                  </a:lnTo>
                  <a:lnTo>
                    <a:pt x="17631" y="341507"/>
                  </a:lnTo>
                  <a:lnTo>
                    <a:pt x="17631" y="329369"/>
                  </a:lnTo>
                  <a:lnTo>
                    <a:pt x="19605" y="326360"/>
                  </a:lnTo>
                  <a:lnTo>
                    <a:pt x="27450" y="321771"/>
                  </a:lnTo>
                  <a:lnTo>
                    <a:pt x="35345" y="315702"/>
                  </a:lnTo>
                  <a:lnTo>
                    <a:pt x="39242" y="315702"/>
                  </a:lnTo>
                  <a:lnTo>
                    <a:pt x="45163" y="312692"/>
                  </a:lnTo>
                  <a:lnTo>
                    <a:pt x="47137" y="315702"/>
                  </a:lnTo>
                  <a:lnTo>
                    <a:pt x="47137" y="318712"/>
                  </a:lnTo>
                  <a:lnTo>
                    <a:pt x="55032" y="318712"/>
                  </a:lnTo>
                  <a:lnTo>
                    <a:pt x="58929" y="315702"/>
                  </a:lnTo>
                  <a:lnTo>
                    <a:pt x="58929" y="308104"/>
                  </a:lnTo>
                  <a:lnTo>
                    <a:pt x="62876" y="306574"/>
                  </a:lnTo>
                  <a:lnTo>
                    <a:pt x="68797" y="308104"/>
                  </a:lnTo>
                  <a:lnTo>
                    <a:pt x="74669" y="303564"/>
                  </a:lnTo>
                  <a:lnTo>
                    <a:pt x="88434" y="300505"/>
                  </a:lnTo>
                  <a:lnTo>
                    <a:pt x="86461" y="302035"/>
                  </a:lnTo>
                  <a:lnTo>
                    <a:pt x="80590" y="311163"/>
                  </a:lnTo>
                  <a:lnTo>
                    <a:pt x="82563" y="312692"/>
                  </a:lnTo>
                  <a:lnTo>
                    <a:pt x="86461" y="317231"/>
                  </a:lnTo>
                  <a:lnTo>
                    <a:pt x="94356" y="321771"/>
                  </a:lnTo>
                  <a:lnTo>
                    <a:pt x="102201" y="318712"/>
                  </a:lnTo>
                  <a:lnTo>
                    <a:pt x="108122" y="311163"/>
                  </a:lnTo>
                  <a:lnTo>
                    <a:pt x="123812" y="299025"/>
                  </a:lnTo>
                  <a:lnTo>
                    <a:pt x="125785" y="294486"/>
                  </a:lnTo>
                  <a:lnTo>
                    <a:pt x="131706" y="291427"/>
                  </a:lnTo>
                  <a:lnTo>
                    <a:pt x="137578" y="289897"/>
                  </a:lnTo>
                  <a:lnTo>
                    <a:pt x="143548" y="280818"/>
                  </a:lnTo>
                  <a:lnTo>
                    <a:pt x="143548" y="274700"/>
                  </a:lnTo>
                  <a:lnTo>
                    <a:pt x="145472" y="267151"/>
                  </a:lnTo>
                  <a:lnTo>
                    <a:pt x="147446" y="250425"/>
                  </a:lnTo>
                  <a:lnTo>
                    <a:pt x="145472" y="247415"/>
                  </a:lnTo>
                  <a:lnTo>
                    <a:pt x="143548" y="239767"/>
                  </a:lnTo>
                  <a:lnTo>
                    <a:pt x="147446" y="233748"/>
                  </a:lnTo>
                  <a:lnTo>
                    <a:pt x="159238" y="223090"/>
                  </a:lnTo>
                  <a:lnTo>
                    <a:pt x="159238" y="215541"/>
                  </a:lnTo>
                  <a:lnTo>
                    <a:pt x="165159" y="209472"/>
                  </a:lnTo>
                  <a:lnTo>
                    <a:pt x="173004" y="203354"/>
                  </a:lnTo>
                  <a:lnTo>
                    <a:pt x="178925" y="206413"/>
                  </a:lnTo>
                  <a:lnTo>
                    <a:pt x="184796" y="200344"/>
                  </a:lnTo>
                  <a:lnTo>
                    <a:pt x="192691" y="198815"/>
                  </a:lnTo>
                  <a:lnTo>
                    <a:pt x="202559" y="183618"/>
                  </a:lnTo>
                  <a:lnTo>
                    <a:pt x="204532" y="171480"/>
                  </a:lnTo>
                  <a:lnTo>
                    <a:pt x="206506" y="162401"/>
                  </a:lnTo>
                  <a:lnTo>
                    <a:pt x="212377" y="160872"/>
                  </a:lnTo>
                  <a:lnTo>
                    <a:pt x="212377" y="150264"/>
                  </a:lnTo>
                  <a:lnTo>
                    <a:pt x="210454" y="148734"/>
                  </a:lnTo>
                  <a:lnTo>
                    <a:pt x="212377" y="139606"/>
                  </a:lnTo>
                  <a:lnTo>
                    <a:pt x="212377" y="127518"/>
                  </a:lnTo>
                  <a:lnTo>
                    <a:pt x="218299" y="121400"/>
                  </a:lnTo>
                  <a:lnTo>
                    <a:pt x="218299" y="115331"/>
                  </a:lnTo>
                  <a:lnTo>
                    <a:pt x="222245" y="107733"/>
                  </a:lnTo>
                  <a:lnTo>
                    <a:pt x="218299" y="97124"/>
                  </a:lnTo>
                  <a:lnTo>
                    <a:pt x="234038" y="80447"/>
                  </a:lnTo>
                  <a:lnTo>
                    <a:pt x="236012" y="75908"/>
                  </a:lnTo>
                  <a:lnTo>
                    <a:pt x="241933" y="71319"/>
                  </a:lnTo>
                  <a:lnTo>
                    <a:pt x="241933" y="59182"/>
                  </a:lnTo>
                  <a:lnTo>
                    <a:pt x="237936" y="53113"/>
                  </a:lnTo>
                  <a:lnTo>
                    <a:pt x="239959" y="45514"/>
                  </a:lnTo>
                  <a:lnTo>
                    <a:pt x="241933" y="40975"/>
                  </a:lnTo>
                  <a:lnTo>
                    <a:pt x="243906" y="39445"/>
                  </a:lnTo>
                  <a:lnTo>
                    <a:pt x="237936" y="33377"/>
                  </a:lnTo>
                  <a:lnTo>
                    <a:pt x="237936" y="30318"/>
                  </a:lnTo>
                  <a:lnTo>
                    <a:pt x="241933" y="28837"/>
                  </a:lnTo>
                  <a:lnTo>
                    <a:pt x="245830" y="27308"/>
                  </a:lnTo>
                  <a:lnTo>
                    <a:pt x="245830" y="24248"/>
                  </a:lnTo>
                  <a:lnTo>
                    <a:pt x="247804" y="21189"/>
                  </a:lnTo>
                  <a:lnTo>
                    <a:pt x="249778" y="15170"/>
                  </a:lnTo>
                  <a:lnTo>
                    <a:pt x="251751" y="13640"/>
                  </a:lnTo>
                  <a:lnTo>
                    <a:pt x="257672" y="13640"/>
                  </a:lnTo>
                  <a:lnTo>
                    <a:pt x="263544" y="9101"/>
                  </a:lnTo>
                  <a:lnTo>
                    <a:pt x="269465" y="10631"/>
                  </a:lnTo>
                  <a:lnTo>
                    <a:pt x="269465" y="7572"/>
                  </a:lnTo>
                  <a:lnTo>
                    <a:pt x="273363" y="7572"/>
                  </a:lnTo>
                  <a:lnTo>
                    <a:pt x="277309" y="10631"/>
                  </a:lnTo>
                  <a:lnTo>
                    <a:pt x="281257" y="10631"/>
                  </a:lnTo>
                  <a:lnTo>
                    <a:pt x="293049" y="18180"/>
                  </a:lnTo>
                  <a:lnTo>
                    <a:pt x="298921" y="21189"/>
                  </a:lnTo>
                  <a:lnTo>
                    <a:pt x="308789" y="27308"/>
                  </a:lnTo>
                  <a:lnTo>
                    <a:pt x="310762" y="28837"/>
                  </a:lnTo>
                  <a:lnTo>
                    <a:pt x="316683" y="28837"/>
                  </a:lnTo>
                  <a:lnTo>
                    <a:pt x="326551" y="31847"/>
                  </a:lnTo>
                  <a:lnTo>
                    <a:pt x="334397" y="33377"/>
                  </a:lnTo>
                  <a:lnTo>
                    <a:pt x="340317" y="33377"/>
                  </a:lnTo>
                  <a:lnTo>
                    <a:pt x="344265" y="31847"/>
                  </a:lnTo>
                  <a:lnTo>
                    <a:pt x="348162" y="31847"/>
                  </a:lnTo>
                  <a:lnTo>
                    <a:pt x="354083" y="33377"/>
                  </a:lnTo>
                  <a:lnTo>
                    <a:pt x="363951" y="34857"/>
                  </a:lnTo>
                  <a:lnTo>
                    <a:pt x="367898" y="36386"/>
                  </a:lnTo>
                  <a:lnTo>
                    <a:pt x="375744" y="34857"/>
                  </a:lnTo>
                  <a:lnTo>
                    <a:pt x="377766" y="33377"/>
                  </a:lnTo>
                  <a:lnTo>
                    <a:pt x="373770" y="30318"/>
                  </a:lnTo>
                  <a:lnTo>
                    <a:pt x="371846" y="27308"/>
                  </a:lnTo>
                  <a:lnTo>
                    <a:pt x="377766" y="22719"/>
                  </a:lnTo>
                  <a:lnTo>
                    <a:pt x="383638" y="15170"/>
                  </a:lnTo>
                  <a:lnTo>
                    <a:pt x="389559" y="16650"/>
                  </a:lnTo>
                  <a:lnTo>
                    <a:pt x="397404" y="16650"/>
                  </a:lnTo>
                  <a:lnTo>
                    <a:pt x="401351" y="22719"/>
                  </a:lnTo>
                  <a:lnTo>
                    <a:pt x="407223" y="21189"/>
                  </a:lnTo>
                  <a:lnTo>
                    <a:pt x="420989" y="18180"/>
                  </a:lnTo>
                  <a:lnTo>
                    <a:pt x="422962" y="15170"/>
                  </a:lnTo>
                  <a:lnTo>
                    <a:pt x="430857" y="13640"/>
                  </a:lnTo>
                  <a:lnTo>
                    <a:pt x="444623" y="7572"/>
                  </a:lnTo>
                  <a:lnTo>
                    <a:pt x="450494" y="7572"/>
                  </a:lnTo>
                  <a:lnTo>
                    <a:pt x="450494" y="10631"/>
                  </a:lnTo>
                  <a:lnTo>
                    <a:pt x="452468" y="10631"/>
                  </a:lnTo>
                  <a:lnTo>
                    <a:pt x="454441" y="13640"/>
                  </a:lnTo>
                  <a:lnTo>
                    <a:pt x="456415" y="13640"/>
                  </a:lnTo>
                  <a:lnTo>
                    <a:pt x="464309" y="12111"/>
                  </a:lnTo>
                  <a:lnTo>
                    <a:pt x="472154" y="10631"/>
                  </a:lnTo>
                  <a:lnTo>
                    <a:pt x="480000" y="10631"/>
                  </a:lnTo>
                  <a:lnTo>
                    <a:pt x="483947" y="4512"/>
                  </a:lnTo>
                  <a:lnTo>
                    <a:pt x="483947" y="-27"/>
                  </a:lnTo>
                  <a:lnTo>
                    <a:pt x="487894" y="-27"/>
                  </a:lnTo>
                  <a:lnTo>
                    <a:pt x="491841" y="2983"/>
                  </a:lnTo>
                  <a:lnTo>
                    <a:pt x="501709" y="4512"/>
                  </a:lnTo>
                  <a:lnTo>
                    <a:pt x="505657" y="2983"/>
                  </a:lnTo>
                  <a:lnTo>
                    <a:pt x="507581" y="4512"/>
                  </a:lnTo>
                  <a:lnTo>
                    <a:pt x="513502" y="6042"/>
                  </a:lnTo>
                  <a:lnTo>
                    <a:pt x="517449" y="9101"/>
                  </a:lnTo>
                  <a:lnTo>
                    <a:pt x="535113" y="9101"/>
                  </a:lnTo>
                  <a:lnTo>
                    <a:pt x="544981" y="6042"/>
                  </a:lnTo>
                  <a:lnTo>
                    <a:pt x="552875" y="6042"/>
                  </a:lnTo>
                  <a:lnTo>
                    <a:pt x="558747" y="9101"/>
                  </a:lnTo>
                  <a:lnTo>
                    <a:pt x="562694" y="10631"/>
                  </a:lnTo>
                  <a:lnTo>
                    <a:pt x="562694" y="15170"/>
                  </a:lnTo>
                  <a:lnTo>
                    <a:pt x="568566" y="18180"/>
                  </a:lnTo>
                  <a:lnTo>
                    <a:pt x="572513" y="21189"/>
                  </a:lnTo>
                  <a:lnTo>
                    <a:pt x="576460" y="24248"/>
                  </a:lnTo>
                  <a:lnTo>
                    <a:pt x="584305" y="28837"/>
                  </a:lnTo>
                  <a:lnTo>
                    <a:pt x="590226" y="31847"/>
                  </a:lnTo>
                  <a:lnTo>
                    <a:pt x="594124" y="30318"/>
                  </a:lnTo>
                  <a:lnTo>
                    <a:pt x="596097" y="27308"/>
                  </a:lnTo>
                  <a:lnTo>
                    <a:pt x="602019" y="25778"/>
                  </a:lnTo>
                  <a:lnTo>
                    <a:pt x="615784" y="25778"/>
                  </a:lnTo>
                  <a:lnTo>
                    <a:pt x="615784" y="27308"/>
                  </a:lnTo>
                  <a:lnTo>
                    <a:pt x="619732" y="27308"/>
                  </a:lnTo>
                  <a:lnTo>
                    <a:pt x="625652" y="25778"/>
                  </a:lnTo>
                  <a:lnTo>
                    <a:pt x="629550" y="22719"/>
                  </a:lnTo>
                  <a:lnTo>
                    <a:pt x="635471" y="16650"/>
                  </a:lnTo>
                  <a:lnTo>
                    <a:pt x="643168" y="16650"/>
                  </a:lnTo>
                  <a:lnTo>
                    <a:pt x="645142" y="18180"/>
                  </a:lnTo>
                  <a:lnTo>
                    <a:pt x="649089" y="27308"/>
                  </a:lnTo>
                  <a:lnTo>
                    <a:pt x="653036" y="31847"/>
                  </a:lnTo>
                  <a:lnTo>
                    <a:pt x="654961" y="33377"/>
                  </a:lnTo>
                  <a:lnTo>
                    <a:pt x="662855" y="36386"/>
                  </a:lnTo>
                  <a:lnTo>
                    <a:pt x="668727" y="39445"/>
                  </a:lnTo>
                  <a:lnTo>
                    <a:pt x="672674" y="44034"/>
                  </a:lnTo>
                  <a:lnTo>
                    <a:pt x="674647" y="48574"/>
                  </a:lnTo>
                  <a:lnTo>
                    <a:pt x="676621" y="51583"/>
                  </a:lnTo>
                  <a:lnTo>
                    <a:pt x="676621" y="54593"/>
                  </a:lnTo>
                  <a:lnTo>
                    <a:pt x="678595" y="56122"/>
                  </a:lnTo>
                  <a:lnTo>
                    <a:pt x="686440" y="54593"/>
                  </a:lnTo>
                  <a:lnTo>
                    <a:pt x="688414" y="56122"/>
                  </a:lnTo>
                  <a:lnTo>
                    <a:pt x="686440" y="62241"/>
                  </a:lnTo>
                  <a:lnTo>
                    <a:pt x="684466" y="65250"/>
                  </a:lnTo>
                  <a:lnTo>
                    <a:pt x="684466" y="75908"/>
                  </a:lnTo>
                  <a:lnTo>
                    <a:pt x="682641" y="85135"/>
                  </a:lnTo>
                  <a:lnTo>
                    <a:pt x="680667" y="92733"/>
                  </a:lnTo>
                  <a:lnTo>
                    <a:pt x="684614" y="95743"/>
                  </a:lnTo>
                  <a:lnTo>
                    <a:pt x="688561" y="100282"/>
                  </a:lnTo>
                  <a:lnTo>
                    <a:pt x="690535" y="104821"/>
                  </a:lnTo>
                  <a:lnTo>
                    <a:pt x="690535" y="109410"/>
                  </a:lnTo>
                  <a:lnTo>
                    <a:pt x="672772" y="130528"/>
                  </a:lnTo>
                  <a:lnTo>
                    <a:pt x="659006" y="139606"/>
                  </a:lnTo>
                  <a:lnTo>
                    <a:pt x="657033" y="144195"/>
                  </a:lnTo>
                  <a:lnTo>
                    <a:pt x="643267" y="166941"/>
                  </a:lnTo>
                  <a:lnTo>
                    <a:pt x="641293" y="169951"/>
                  </a:lnTo>
                  <a:lnTo>
                    <a:pt x="641293" y="177598"/>
                  </a:lnTo>
                  <a:lnTo>
                    <a:pt x="639369" y="189687"/>
                  </a:lnTo>
                  <a:lnTo>
                    <a:pt x="635422" y="200344"/>
                  </a:lnTo>
                  <a:lnTo>
                    <a:pt x="637395" y="207943"/>
                  </a:lnTo>
                  <a:lnTo>
                    <a:pt x="625603" y="215541"/>
                  </a:lnTo>
                  <a:lnTo>
                    <a:pt x="619682" y="221561"/>
                  </a:lnTo>
                  <a:lnTo>
                    <a:pt x="613762" y="241297"/>
                  </a:lnTo>
                  <a:lnTo>
                    <a:pt x="613762" y="248846"/>
                  </a:lnTo>
                  <a:lnTo>
                    <a:pt x="617708" y="254915"/>
                  </a:lnTo>
                  <a:lnTo>
                    <a:pt x="617708" y="270112"/>
                  </a:lnTo>
                  <a:lnTo>
                    <a:pt x="627577" y="332379"/>
                  </a:lnTo>
                  <a:lnTo>
                    <a:pt x="639418" y="370272"/>
                  </a:lnTo>
                  <a:lnTo>
                    <a:pt x="663003" y="399137"/>
                  </a:lnTo>
                  <a:lnTo>
                    <a:pt x="672871" y="423412"/>
                  </a:lnTo>
                  <a:lnTo>
                    <a:pt x="668924" y="421882"/>
                  </a:lnTo>
                  <a:lnTo>
                    <a:pt x="607939" y="434069"/>
                  </a:lnTo>
                  <a:lnTo>
                    <a:pt x="592249" y="458345"/>
                  </a:lnTo>
                  <a:lnTo>
                    <a:pt x="594173" y="464414"/>
                  </a:lnTo>
                  <a:lnTo>
                    <a:pt x="600094" y="467424"/>
                  </a:lnTo>
                  <a:lnTo>
                    <a:pt x="604041" y="470483"/>
                  </a:lnTo>
                  <a:lnTo>
                    <a:pt x="604041" y="473493"/>
                  </a:lnTo>
                  <a:lnTo>
                    <a:pt x="602068" y="475022"/>
                  </a:lnTo>
                  <a:lnTo>
                    <a:pt x="602068" y="488689"/>
                  </a:lnTo>
                  <a:lnTo>
                    <a:pt x="600094" y="496288"/>
                  </a:lnTo>
                  <a:lnTo>
                    <a:pt x="596147" y="496288"/>
                  </a:lnTo>
                  <a:lnTo>
                    <a:pt x="600094" y="499347"/>
                  </a:lnTo>
                  <a:lnTo>
                    <a:pt x="594173" y="502357"/>
                  </a:lnTo>
                  <a:lnTo>
                    <a:pt x="588302" y="506896"/>
                  </a:lnTo>
                  <a:lnTo>
                    <a:pt x="588302" y="535760"/>
                  </a:lnTo>
                  <a:lnTo>
                    <a:pt x="592249" y="538770"/>
                  </a:lnTo>
                  <a:lnTo>
                    <a:pt x="604041" y="549427"/>
                  </a:lnTo>
                  <a:lnTo>
                    <a:pt x="606015" y="553967"/>
                  </a:lnTo>
                  <a:lnTo>
                    <a:pt x="609913" y="556976"/>
                  </a:lnTo>
                  <a:lnTo>
                    <a:pt x="625702" y="556976"/>
                  </a:lnTo>
                  <a:lnTo>
                    <a:pt x="623728" y="553967"/>
                  </a:lnTo>
                  <a:lnTo>
                    <a:pt x="621705" y="550957"/>
                  </a:lnTo>
                  <a:lnTo>
                    <a:pt x="629600" y="549427"/>
                  </a:lnTo>
                  <a:lnTo>
                    <a:pt x="635520" y="550957"/>
                  </a:lnTo>
                  <a:lnTo>
                    <a:pt x="637494" y="582831"/>
                  </a:lnTo>
                  <a:lnTo>
                    <a:pt x="635520" y="585840"/>
                  </a:lnTo>
                  <a:lnTo>
                    <a:pt x="627626" y="584311"/>
                  </a:lnTo>
                  <a:lnTo>
                    <a:pt x="627626" y="582831"/>
                  </a:lnTo>
                  <a:lnTo>
                    <a:pt x="625702" y="582831"/>
                  </a:lnTo>
                  <a:lnTo>
                    <a:pt x="619781" y="584311"/>
                  </a:lnTo>
                  <a:lnTo>
                    <a:pt x="613860" y="585840"/>
                  </a:lnTo>
                  <a:lnTo>
                    <a:pt x="609913" y="585840"/>
                  </a:lnTo>
                  <a:lnTo>
                    <a:pt x="604041" y="579772"/>
                  </a:lnTo>
                  <a:lnTo>
                    <a:pt x="594173" y="572173"/>
                  </a:lnTo>
                  <a:lnTo>
                    <a:pt x="588302" y="567634"/>
                  </a:lnTo>
                  <a:lnTo>
                    <a:pt x="582381" y="558506"/>
                  </a:lnTo>
                  <a:lnTo>
                    <a:pt x="574536" y="555496"/>
                  </a:lnTo>
                  <a:lnTo>
                    <a:pt x="558796" y="550957"/>
                  </a:lnTo>
                  <a:lnTo>
                    <a:pt x="550951" y="546368"/>
                  </a:lnTo>
                  <a:lnTo>
                    <a:pt x="550951" y="543358"/>
                  </a:lnTo>
                  <a:lnTo>
                    <a:pt x="545030" y="537240"/>
                  </a:lnTo>
                  <a:lnTo>
                    <a:pt x="545030" y="529691"/>
                  </a:lnTo>
                  <a:lnTo>
                    <a:pt x="543057" y="528161"/>
                  </a:lnTo>
                  <a:lnTo>
                    <a:pt x="539159" y="529691"/>
                  </a:lnTo>
                  <a:lnTo>
                    <a:pt x="535162" y="529691"/>
                  </a:lnTo>
                  <a:lnTo>
                    <a:pt x="529291" y="537240"/>
                  </a:lnTo>
                  <a:lnTo>
                    <a:pt x="529291" y="540299"/>
                  </a:lnTo>
                  <a:lnTo>
                    <a:pt x="519423" y="543358"/>
                  </a:lnTo>
                  <a:lnTo>
                    <a:pt x="513502" y="543358"/>
                  </a:lnTo>
                  <a:lnTo>
                    <a:pt x="513502" y="541829"/>
                  </a:lnTo>
                  <a:lnTo>
                    <a:pt x="505657" y="540299"/>
                  </a:lnTo>
                  <a:lnTo>
                    <a:pt x="497762" y="540299"/>
                  </a:lnTo>
                  <a:lnTo>
                    <a:pt x="487894" y="535760"/>
                  </a:lnTo>
                  <a:lnTo>
                    <a:pt x="483947" y="535760"/>
                  </a:lnTo>
                  <a:lnTo>
                    <a:pt x="478076" y="532701"/>
                  </a:lnTo>
                  <a:lnTo>
                    <a:pt x="476102" y="532701"/>
                  </a:lnTo>
                  <a:lnTo>
                    <a:pt x="476102" y="526632"/>
                  </a:lnTo>
                  <a:lnTo>
                    <a:pt x="474128" y="523573"/>
                  </a:lnTo>
                  <a:lnTo>
                    <a:pt x="474128" y="516024"/>
                  </a:lnTo>
                  <a:lnTo>
                    <a:pt x="472154" y="516024"/>
                  </a:lnTo>
                  <a:lnTo>
                    <a:pt x="460313" y="517553"/>
                  </a:lnTo>
                  <a:lnTo>
                    <a:pt x="458389" y="522093"/>
                  </a:lnTo>
                  <a:lnTo>
                    <a:pt x="452468" y="522093"/>
                  </a:lnTo>
                  <a:lnTo>
                    <a:pt x="448521" y="523573"/>
                  </a:lnTo>
                  <a:lnTo>
                    <a:pt x="444623" y="526632"/>
                  </a:lnTo>
                  <a:lnTo>
                    <a:pt x="442649" y="525102"/>
                  </a:lnTo>
                  <a:lnTo>
                    <a:pt x="440675" y="523573"/>
                  </a:lnTo>
                  <a:lnTo>
                    <a:pt x="440675" y="517553"/>
                  </a:lnTo>
                  <a:lnTo>
                    <a:pt x="438702" y="514494"/>
                  </a:lnTo>
                  <a:lnTo>
                    <a:pt x="432781" y="513014"/>
                  </a:lnTo>
                  <a:lnTo>
                    <a:pt x="430857" y="513014"/>
                  </a:lnTo>
                  <a:lnTo>
                    <a:pt x="424936" y="511484"/>
                  </a:lnTo>
                  <a:lnTo>
                    <a:pt x="419015" y="511484"/>
                  </a:lnTo>
                  <a:lnTo>
                    <a:pt x="413144" y="513014"/>
                  </a:lnTo>
                  <a:lnTo>
                    <a:pt x="407223" y="516024"/>
                  </a:lnTo>
                  <a:lnTo>
                    <a:pt x="405299" y="517553"/>
                  </a:lnTo>
                  <a:lnTo>
                    <a:pt x="387536" y="517553"/>
                  </a:lnTo>
                  <a:lnTo>
                    <a:pt x="383638" y="516024"/>
                  </a:lnTo>
                  <a:lnTo>
                    <a:pt x="377766" y="513014"/>
                  </a:lnTo>
                  <a:lnTo>
                    <a:pt x="375744" y="513014"/>
                  </a:lnTo>
                  <a:lnTo>
                    <a:pt x="373770" y="514494"/>
                  </a:lnTo>
                  <a:lnTo>
                    <a:pt x="369872" y="514494"/>
                  </a:lnTo>
                  <a:lnTo>
                    <a:pt x="367898" y="517553"/>
                  </a:lnTo>
                  <a:lnTo>
                    <a:pt x="363951" y="517553"/>
                  </a:lnTo>
                  <a:lnTo>
                    <a:pt x="363951" y="509955"/>
                  </a:lnTo>
                  <a:lnTo>
                    <a:pt x="365925" y="508425"/>
                  </a:lnTo>
                  <a:lnTo>
                    <a:pt x="365925" y="506896"/>
                  </a:lnTo>
                  <a:lnTo>
                    <a:pt x="367898" y="502357"/>
                  </a:lnTo>
                  <a:lnTo>
                    <a:pt x="363951" y="499347"/>
                  </a:lnTo>
                  <a:lnTo>
                    <a:pt x="361978" y="491699"/>
                  </a:lnTo>
                  <a:lnTo>
                    <a:pt x="363951" y="490219"/>
                  </a:lnTo>
                  <a:lnTo>
                    <a:pt x="363951" y="487160"/>
                  </a:lnTo>
                  <a:lnTo>
                    <a:pt x="360004" y="482620"/>
                  </a:lnTo>
                  <a:lnTo>
                    <a:pt x="360004" y="471963"/>
                  </a:lnTo>
                  <a:lnTo>
                    <a:pt x="356106" y="471963"/>
                  </a:lnTo>
                  <a:lnTo>
                    <a:pt x="354133" y="467424"/>
                  </a:lnTo>
                  <a:lnTo>
                    <a:pt x="352159" y="465943"/>
                  </a:lnTo>
                  <a:lnTo>
                    <a:pt x="352159" y="462884"/>
                  </a:lnTo>
                  <a:lnTo>
                    <a:pt x="348212" y="459875"/>
                  </a:lnTo>
                  <a:lnTo>
                    <a:pt x="348212" y="456816"/>
                  </a:lnTo>
                  <a:lnTo>
                    <a:pt x="346238" y="453756"/>
                  </a:lnTo>
                  <a:lnTo>
                    <a:pt x="348212" y="447737"/>
                  </a:lnTo>
                  <a:lnTo>
                    <a:pt x="348212" y="435451"/>
                  </a:lnTo>
                  <a:lnTo>
                    <a:pt x="346238" y="432441"/>
                  </a:lnTo>
                  <a:lnTo>
                    <a:pt x="348212" y="429432"/>
                  </a:lnTo>
                  <a:lnTo>
                    <a:pt x="348212" y="423313"/>
                  </a:lnTo>
                  <a:lnTo>
                    <a:pt x="346238" y="418774"/>
                  </a:lnTo>
                  <a:lnTo>
                    <a:pt x="346238" y="412705"/>
                  </a:lnTo>
                  <a:lnTo>
                    <a:pt x="350185" y="408117"/>
                  </a:lnTo>
                  <a:lnTo>
                    <a:pt x="350185" y="395979"/>
                  </a:lnTo>
                  <a:lnTo>
                    <a:pt x="306914" y="392920"/>
                  </a:lnTo>
                  <a:lnTo>
                    <a:pt x="306914" y="389861"/>
                  </a:lnTo>
                  <a:lnTo>
                    <a:pt x="308887" y="385321"/>
                  </a:lnTo>
                  <a:lnTo>
                    <a:pt x="308887" y="382311"/>
                  </a:lnTo>
                  <a:lnTo>
                    <a:pt x="299019" y="380782"/>
                  </a:lnTo>
                  <a:lnTo>
                    <a:pt x="299019" y="383792"/>
                  </a:lnTo>
                  <a:lnTo>
                    <a:pt x="263642" y="385321"/>
                  </a:lnTo>
                  <a:lnTo>
                    <a:pt x="261669" y="394449"/>
                  </a:lnTo>
                  <a:lnTo>
                    <a:pt x="259695" y="398988"/>
                  </a:lnTo>
                  <a:lnTo>
                    <a:pt x="257771" y="400518"/>
                  </a:lnTo>
                  <a:lnTo>
                    <a:pt x="257771" y="414185"/>
                  </a:lnTo>
                  <a:lnTo>
                    <a:pt x="230239" y="417195"/>
                  </a:lnTo>
                  <a:lnTo>
                    <a:pt x="226242" y="418725"/>
                  </a:lnTo>
                  <a:lnTo>
                    <a:pt x="212476" y="418725"/>
                  </a:lnTo>
                  <a:lnTo>
                    <a:pt x="208579" y="417195"/>
                  </a:lnTo>
                  <a:lnTo>
                    <a:pt x="202657" y="418725"/>
                  </a:lnTo>
                  <a:lnTo>
                    <a:pt x="192789" y="418725"/>
                  </a:lnTo>
                  <a:lnTo>
                    <a:pt x="188843" y="417195"/>
                  </a:lnTo>
                  <a:lnTo>
                    <a:pt x="184895" y="405058"/>
                  </a:lnTo>
                  <a:lnTo>
                    <a:pt x="180997" y="400518"/>
                  </a:lnTo>
                  <a:lnTo>
                    <a:pt x="179024" y="395979"/>
                  </a:lnTo>
                  <a:lnTo>
                    <a:pt x="175076" y="394449"/>
                  </a:lnTo>
                  <a:lnTo>
                    <a:pt x="175076" y="391390"/>
                  </a:lnTo>
                  <a:lnTo>
                    <a:pt x="173103" y="386851"/>
                  </a:lnTo>
                  <a:lnTo>
                    <a:pt x="171129" y="379252"/>
                  </a:lnTo>
                  <a:lnTo>
                    <a:pt x="167231" y="374713"/>
                  </a:lnTo>
                  <a:lnTo>
                    <a:pt x="167231" y="370124"/>
                  </a:lnTo>
                  <a:lnTo>
                    <a:pt x="169205" y="367115"/>
                  </a:lnTo>
                  <a:lnTo>
                    <a:pt x="169205" y="364105"/>
                  </a:lnTo>
                  <a:lnTo>
                    <a:pt x="167231" y="359516"/>
                  </a:lnTo>
                  <a:lnTo>
                    <a:pt x="165258" y="356457"/>
                  </a:lnTo>
                  <a:lnTo>
                    <a:pt x="165258" y="350438"/>
                  </a:lnTo>
                  <a:lnTo>
                    <a:pt x="102299" y="350438"/>
                  </a:lnTo>
                  <a:lnTo>
                    <a:pt x="90507" y="351918"/>
                  </a:lnTo>
                  <a:lnTo>
                    <a:pt x="78715" y="350438"/>
                  </a:lnTo>
                  <a:lnTo>
                    <a:pt x="35443" y="350438"/>
                  </a:lnTo>
                  <a:lnTo>
                    <a:pt x="31496" y="351918"/>
                  </a:lnTo>
                  <a:lnTo>
                    <a:pt x="25575" y="351918"/>
                  </a:lnTo>
                  <a:lnTo>
                    <a:pt x="21677" y="353447"/>
                  </a:lnTo>
                  <a:lnTo>
                    <a:pt x="19704" y="353447"/>
                  </a:lnTo>
                  <a:lnTo>
                    <a:pt x="19704" y="354977"/>
                  </a:lnTo>
                  <a:lnTo>
                    <a:pt x="17730" y="354977"/>
                  </a:lnTo>
                  <a:lnTo>
                    <a:pt x="11809" y="351918"/>
                  </a:lnTo>
                  <a:lnTo>
                    <a:pt x="1941" y="35191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Graphic 2">
              <a:extLst>
                <a:ext uri="{FF2B5EF4-FFF2-40B4-BE49-F238E27FC236}">
                  <a16:creationId xmlns:a16="http://schemas.microsoft.com/office/drawing/2014/main" id="{6E0FD2F4-5764-42AF-902E-039EEE2DB415}"/>
                </a:ext>
              </a:extLst>
            </p:cNvPr>
            <p:cNvSpPr/>
            <p:nvPr/>
          </p:nvSpPr>
          <p:spPr>
            <a:xfrm>
              <a:off x="6482523" y="4909306"/>
              <a:ext cx="105207" cy="227169"/>
            </a:xfrm>
            <a:custGeom>
              <a:avLst/>
              <a:gdLst>
                <a:gd name="connsiteX0" fmla="*/ 11711 w 115801"/>
                <a:gd name="connsiteY0" fmla="*/ 1503 h 250056"/>
                <a:gd name="connsiteX1" fmla="*/ 13684 w 115801"/>
                <a:gd name="connsiteY1" fmla="*/ -27 h 250056"/>
                <a:gd name="connsiteX2" fmla="*/ 15657 w 115801"/>
                <a:gd name="connsiteY2" fmla="*/ -27 h 250056"/>
                <a:gd name="connsiteX3" fmla="*/ 17631 w 115801"/>
                <a:gd name="connsiteY3" fmla="*/ 3032 h 250056"/>
                <a:gd name="connsiteX4" fmla="*/ 23503 w 115801"/>
                <a:gd name="connsiteY4" fmla="*/ 4562 h 250056"/>
                <a:gd name="connsiteX5" fmla="*/ 23503 w 115801"/>
                <a:gd name="connsiteY5" fmla="*/ 6042 h 250056"/>
                <a:gd name="connsiteX6" fmla="*/ 29374 w 115801"/>
                <a:gd name="connsiteY6" fmla="*/ 4562 h 250056"/>
                <a:gd name="connsiteX7" fmla="*/ 31348 w 115801"/>
                <a:gd name="connsiteY7" fmla="*/ 4562 h 250056"/>
                <a:gd name="connsiteX8" fmla="*/ 35246 w 115801"/>
                <a:gd name="connsiteY8" fmla="*/ 6042 h 250056"/>
                <a:gd name="connsiteX9" fmla="*/ 37219 w 115801"/>
                <a:gd name="connsiteY9" fmla="*/ 7571 h 250056"/>
                <a:gd name="connsiteX10" fmla="*/ 39193 w 115801"/>
                <a:gd name="connsiteY10" fmla="*/ 9101 h 250056"/>
                <a:gd name="connsiteX11" fmla="*/ 43091 w 115801"/>
                <a:gd name="connsiteY11" fmla="*/ 12111 h 250056"/>
                <a:gd name="connsiteX12" fmla="*/ 45065 w 115801"/>
                <a:gd name="connsiteY12" fmla="*/ 15121 h 250056"/>
                <a:gd name="connsiteX13" fmla="*/ 56857 w 115801"/>
                <a:gd name="connsiteY13" fmla="*/ 25729 h 250056"/>
                <a:gd name="connsiteX14" fmla="*/ 58781 w 115801"/>
                <a:gd name="connsiteY14" fmla="*/ 39396 h 250056"/>
                <a:gd name="connsiteX15" fmla="*/ 58781 w 115801"/>
                <a:gd name="connsiteY15" fmla="*/ 90907 h 250056"/>
                <a:gd name="connsiteX16" fmla="*/ 56857 w 115801"/>
                <a:gd name="connsiteY16" fmla="*/ 95447 h 250056"/>
                <a:gd name="connsiteX17" fmla="*/ 64653 w 115801"/>
                <a:gd name="connsiteY17" fmla="*/ 124261 h 250056"/>
                <a:gd name="connsiteX18" fmla="*/ 74521 w 115801"/>
                <a:gd name="connsiteY18" fmla="*/ 128801 h 250056"/>
                <a:gd name="connsiteX19" fmla="*/ 80392 w 115801"/>
                <a:gd name="connsiteY19" fmla="*/ 133340 h 250056"/>
                <a:gd name="connsiteX20" fmla="*/ 82366 w 115801"/>
                <a:gd name="connsiteY20" fmla="*/ 136399 h 250056"/>
                <a:gd name="connsiteX21" fmla="*/ 86313 w 115801"/>
                <a:gd name="connsiteY21" fmla="*/ 136399 h 250056"/>
                <a:gd name="connsiteX22" fmla="*/ 100030 w 115801"/>
                <a:gd name="connsiteY22" fmla="*/ 148487 h 250056"/>
                <a:gd name="connsiteX23" fmla="*/ 101954 w 115801"/>
                <a:gd name="connsiteY23" fmla="*/ 153027 h 250056"/>
                <a:gd name="connsiteX24" fmla="*/ 109799 w 115801"/>
                <a:gd name="connsiteY24" fmla="*/ 162155 h 250056"/>
                <a:gd name="connsiteX25" fmla="*/ 111773 w 115801"/>
                <a:gd name="connsiteY25" fmla="*/ 169704 h 250056"/>
                <a:gd name="connsiteX26" fmla="*/ 113697 w 115801"/>
                <a:gd name="connsiteY26" fmla="*/ 174292 h 250056"/>
                <a:gd name="connsiteX27" fmla="*/ 115720 w 115801"/>
                <a:gd name="connsiteY27" fmla="*/ 177302 h 250056"/>
                <a:gd name="connsiteX28" fmla="*/ 109799 w 115801"/>
                <a:gd name="connsiteY28" fmla="*/ 178832 h 250056"/>
                <a:gd name="connsiteX29" fmla="*/ 109799 w 115801"/>
                <a:gd name="connsiteY29" fmla="*/ 181842 h 250056"/>
                <a:gd name="connsiteX30" fmla="*/ 105901 w 115801"/>
                <a:gd name="connsiteY30" fmla="*/ 181842 h 250056"/>
                <a:gd name="connsiteX31" fmla="*/ 103927 w 115801"/>
                <a:gd name="connsiteY31" fmla="*/ 184851 h 250056"/>
                <a:gd name="connsiteX32" fmla="*/ 105901 w 115801"/>
                <a:gd name="connsiteY32" fmla="*/ 186381 h 250056"/>
                <a:gd name="connsiteX33" fmla="*/ 105901 w 115801"/>
                <a:gd name="connsiteY33" fmla="*/ 189440 h 250056"/>
                <a:gd name="connsiteX34" fmla="*/ 107875 w 115801"/>
                <a:gd name="connsiteY34" fmla="*/ 192450 h 250056"/>
                <a:gd name="connsiteX35" fmla="*/ 107875 w 115801"/>
                <a:gd name="connsiteY35" fmla="*/ 204587 h 250056"/>
                <a:gd name="connsiteX36" fmla="*/ 105901 w 115801"/>
                <a:gd name="connsiteY36" fmla="*/ 209127 h 250056"/>
                <a:gd name="connsiteX37" fmla="*/ 101954 w 115801"/>
                <a:gd name="connsiteY37" fmla="*/ 212137 h 250056"/>
                <a:gd name="connsiteX38" fmla="*/ 92086 w 115801"/>
                <a:gd name="connsiteY38" fmla="*/ 213666 h 250056"/>
                <a:gd name="connsiteX39" fmla="*/ 88188 w 115801"/>
                <a:gd name="connsiteY39" fmla="*/ 224274 h 250056"/>
                <a:gd name="connsiteX40" fmla="*/ 88188 w 115801"/>
                <a:gd name="connsiteY40" fmla="*/ 228814 h 250056"/>
                <a:gd name="connsiteX41" fmla="*/ 84241 w 115801"/>
                <a:gd name="connsiteY41" fmla="*/ 233353 h 250056"/>
                <a:gd name="connsiteX42" fmla="*/ 86264 w 115801"/>
                <a:gd name="connsiteY42" fmla="*/ 240951 h 250056"/>
                <a:gd name="connsiteX43" fmla="*/ 86264 w 115801"/>
                <a:gd name="connsiteY43" fmla="*/ 248500 h 250056"/>
                <a:gd name="connsiteX44" fmla="*/ 78419 w 115801"/>
                <a:gd name="connsiteY44" fmla="*/ 250030 h 250056"/>
                <a:gd name="connsiteX45" fmla="*/ 76445 w 115801"/>
                <a:gd name="connsiteY45" fmla="*/ 244010 h 250056"/>
                <a:gd name="connsiteX46" fmla="*/ 80343 w 115801"/>
                <a:gd name="connsiteY46" fmla="*/ 239422 h 250056"/>
                <a:gd name="connsiteX47" fmla="*/ 74471 w 115801"/>
                <a:gd name="connsiteY47" fmla="*/ 234882 h 250056"/>
                <a:gd name="connsiteX48" fmla="*/ 70573 w 115801"/>
                <a:gd name="connsiteY48" fmla="*/ 231873 h 250056"/>
                <a:gd name="connsiteX49" fmla="*/ 66626 w 115801"/>
                <a:gd name="connsiteY49" fmla="*/ 230343 h 250056"/>
                <a:gd name="connsiteX50" fmla="*/ 58781 w 115801"/>
                <a:gd name="connsiteY50" fmla="*/ 225755 h 250056"/>
                <a:gd name="connsiteX51" fmla="*/ 52910 w 115801"/>
                <a:gd name="connsiteY51" fmla="*/ 218205 h 250056"/>
                <a:gd name="connsiteX52" fmla="*/ 52910 w 115801"/>
                <a:gd name="connsiteY52" fmla="*/ 213666 h 250056"/>
                <a:gd name="connsiteX53" fmla="*/ 49012 w 115801"/>
                <a:gd name="connsiteY53" fmla="*/ 206068 h 250056"/>
                <a:gd name="connsiteX54" fmla="*/ 49012 w 115801"/>
                <a:gd name="connsiteY54" fmla="*/ 201578 h 250056"/>
                <a:gd name="connsiteX55" fmla="*/ 52910 w 115801"/>
                <a:gd name="connsiteY55" fmla="*/ 196989 h 250056"/>
                <a:gd name="connsiteX56" fmla="*/ 54834 w 115801"/>
                <a:gd name="connsiteY56" fmla="*/ 187910 h 250056"/>
                <a:gd name="connsiteX57" fmla="*/ 64702 w 115801"/>
                <a:gd name="connsiteY57" fmla="*/ 181842 h 250056"/>
                <a:gd name="connsiteX58" fmla="*/ 64702 w 115801"/>
                <a:gd name="connsiteY58" fmla="*/ 165164 h 250056"/>
                <a:gd name="connsiteX59" fmla="*/ 58830 w 115801"/>
                <a:gd name="connsiteY59" fmla="*/ 160625 h 250056"/>
                <a:gd name="connsiteX60" fmla="*/ 50985 w 115801"/>
                <a:gd name="connsiteY60" fmla="*/ 159145 h 250056"/>
                <a:gd name="connsiteX61" fmla="*/ 43140 w 115801"/>
                <a:gd name="connsiteY61" fmla="*/ 159145 h 250056"/>
                <a:gd name="connsiteX62" fmla="*/ 41167 w 115801"/>
                <a:gd name="connsiteY62" fmla="*/ 162155 h 250056"/>
                <a:gd name="connsiteX63" fmla="*/ 37269 w 115801"/>
                <a:gd name="connsiteY63" fmla="*/ 162155 h 250056"/>
                <a:gd name="connsiteX64" fmla="*/ 33322 w 115801"/>
                <a:gd name="connsiteY64" fmla="*/ 163635 h 250056"/>
                <a:gd name="connsiteX65" fmla="*/ 25476 w 115801"/>
                <a:gd name="connsiteY65" fmla="*/ 160625 h 250056"/>
                <a:gd name="connsiteX66" fmla="*/ 25476 w 115801"/>
                <a:gd name="connsiteY66" fmla="*/ 157615 h 250056"/>
                <a:gd name="connsiteX67" fmla="*/ 23552 w 115801"/>
                <a:gd name="connsiteY67" fmla="*/ 154556 h 250056"/>
                <a:gd name="connsiteX68" fmla="*/ 21579 w 115801"/>
                <a:gd name="connsiteY68" fmla="*/ 151547 h 250056"/>
                <a:gd name="connsiteX69" fmla="*/ 19605 w 115801"/>
                <a:gd name="connsiteY69" fmla="*/ 148487 h 250056"/>
                <a:gd name="connsiteX70" fmla="*/ 9737 w 115801"/>
                <a:gd name="connsiteY70" fmla="*/ 150017 h 250056"/>
                <a:gd name="connsiteX71" fmla="*/ 9737 w 115801"/>
                <a:gd name="connsiteY71" fmla="*/ 147007 h 250056"/>
                <a:gd name="connsiteX72" fmla="*/ 5789 w 115801"/>
                <a:gd name="connsiteY72" fmla="*/ 142419 h 250056"/>
                <a:gd name="connsiteX73" fmla="*/ 1892 w 115801"/>
                <a:gd name="connsiteY73" fmla="*/ 134869 h 250056"/>
                <a:gd name="connsiteX74" fmla="*/ -82 w 115801"/>
                <a:gd name="connsiteY74" fmla="*/ 133340 h 250056"/>
                <a:gd name="connsiteX75" fmla="*/ 3816 w 115801"/>
                <a:gd name="connsiteY75" fmla="*/ 131860 h 250056"/>
                <a:gd name="connsiteX76" fmla="*/ 9737 w 115801"/>
                <a:gd name="connsiteY76" fmla="*/ 125742 h 250056"/>
                <a:gd name="connsiteX77" fmla="*/ 9737 w 115801"/>
                <a:gd name="connsiteY77" fmla="*/ 110594 h 250056"/>
                <a:gd name="connsiteX78" fmla="*/ 11661 w 115801"/>
                <a:gd name="connsiteY78" fmla="*/ 109114 h 250056"/>
                <a:gd name="connsiteX79" fmla="*/ 17582 w 115801"/>
                <a:gd name="connsiteY79" fmla="*/ 103045 h 250056"/>
                <a:gd name="connsiteX80" fmla="*/ 23454 w 115801"/>
                <a:gd name="connsiteY80" fmla="*/ 101515 h 250056"/>
                <a:gd name="connsiteX81" fmla="*/ 25378 w 115801"/>
                <a:gd name="connsiteY81" fmla="*/ 98456 h 250056"/>
                <a:gd name="connsiteX82" fmla="*/ 29325 w 115801"/>
                <a:gd name="connsiteY82" fmla="*/ 98456 h 250056"/>
                <a:gd name="connsiteX83" fmla="*/ 29325 w 115801"/>
                <a:gd name="connsiteY83" fmla="*/ 95447 h 250056"/>
                <a:gd name="connsiteX84" fmla="*/ 23454 w 115801"/>
                <a:gd name="connsiteY84" fmla="*/ 93966 h 250056"/>
                <a:gd name="connsiteX85" fmla="*/ 23454 w 115801"/>
                <a:gd name="connsiteY85" fmla="*/ 90907 h 250056"/>
                <a:gd name="connsiteX86" fmla="*/ 21480 w 115801"/>
                <a:gd name="connsiteY86" fmla="*/ 86368 h 250056"/>
                <a:gd name="connsiteX87" fmla="*/ 23454 w 115801"/>
                <a:gd name="connsiteY87" fmla="*/ 84838 h 250056"/>
                <a:gd name="connsiteX88" fmla="*/ 25378 w 115801"/>
                <a:gd name="connsiteY88" fmla="*/ 81829 h 250056"/>
                <a:gd name="connsiteX89" fmla="*/ 21480 w 115801"/>
                <a:gd name="connsiteY89" fmla="*/ 77289 h 250056"/>
                <a:gd name="connsiteX90" fmla="*/ 25378 w 115801"/>
                <a:gd name="connsiteY90" fmla="*/ 72750 h 250056"/>
                <a:gd name="connsiteX91" fmla="*/ 23454 w 115801"/>
                <a:gd name="connsiteY91" fmla="*/ 69691 h 250056"/>
                <a:gd name="connsiteX92" fmla="*/ 23454 w 115801"/>
                <a:gd name="connsiteY92" fmla="*/ 65250 h 250056"/>
                <a:gd name="connsiteX93" fmla="*/ 21480 w 115801"/>
                <a:gd name="connsiteY93" fmla="*/ 59182 h 250056"/>
                <a:gd name="connsiteX94" fmla="*/ 21480 w 115801"/>
                <a:gd name="connsiteY94" fmla="*/ 54642 h 250056"/>
                <a:gd name="connsiteX95" fmla="*/ 31348 w 115801"/>
                <a:gd name="connsiteY95" fmla="*/ 47093 h 250056"/>
                <a:gd name="connsiteX96" fmla="*/ 31348 w 115801"/>
                <a:gd name="connsiteY96" fmla="*/ 45514 h 250056"/>
                <a:gd name="connsiteX97" fmla="*/ 33272 w 115801"/>
                <a:gd name="connsiteY97" fmla="*/ 43985 h 250056"/>
                <a:gd name="connsiteX98" fmla="*/ 33272 w 115801"/>
                <a:gd name="connsiteY98" fmla="*/ 37916 h 250056"/>
                <a:gd name="connsiteX99" fmla="*/ 31348 w 115801"/>
                <a:gd name="connsiteY99" fmla="*/ 31896 h 250056"/>
                <a:gd name="connsiteX100" fmla="*/ 23503 w 115801"/>
                <a:gd name="connsiteY100" fmla="*/ 28837 h 250056"/>
                <a:gd name="connsiteX101" fmla="*/ 21529 w 115801"/>
                <a:gd name="connsiteY101" fmla="*/ 25778 h 250056"/>
                <a:gd name="connsiteX102" fmla="*/ 25427 w 115801"/>
                <a:gd name="connsiteY102" fmla="*/ 18229 h 250056"/>
                <a:gd name="connsiteX103" fmla="*/ 25427 w 115801"/>
                <a:gd name="connsiteY103" fmla="*/ 15170 h 250056"/>
                <a:gd name="connsiteX104" fmla="*/ 21529 w 115801"/>
                <a:gd name="connsiteY104" fmla="*/ 15170 h 250056"/>
                <a:gd name="connsiteX105" fmla="*/ 17631 w 115801"/>
                <a:gd name="connsiteY105" fmla="*/ 12160 h 250056"/>
                <a:gd name="connsiteX106" fmla="*/ 15657 w 115801"/>
                <a:gd name="connsiteY106" fmla="*/ 6091 h 250056"/>
                <a:gd name="connsiteX107" fmla="*/ 13684 w 115801"/>
                <a:gd name="connsiteY107" fmla="*/ 4611 h 25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5801" h="250056">
                  <a:moveTo>
                    <a:pt x="11711" y="1503"/>
                  </a:moveTo>
                  <a:lnTo>
                    <a:pt x="13684" y="-27"/>
                  </a:lnTo>
                  <a:lnTo>
                    <a:pt x="15657" y="-27"/>
                  </a:lnTo>
                  <a:lnTo>
                    <a:pt x="17631" y="3032"/>
                  </a:lnTo>
                  <a:lnTo>
                    <a:pt x="23503" y="4562"/>
                  </a:lnTo>
                  <a:lnTo>
                    <a:pt x="23503" y="6042"/>
                  </a:lnTo>
                  <a:lnTo>
                    <a:pt x="29374" y="4562"/>
                  </a:lnTo>
                  <a:lnTo>
                    <a:pt x="31348" y="4562"/>
                  </a:lnTo>
                  <a:lnTo>
                    <a:pt x="35246" y="6042"/>
                  </a:lnTo>
                  <a:lnTo>
                    <a:pt x="37219" y="7571"/>
                  </a:lnTo>
                  <a:lnTo>
                    <a:pt x="39193" y="9101"/>
                  </a:lnTo>
                  <a:lnTo>
                    <a:pt x="43091" y="12111"/>
                  </a:lnTo>
                  <a:lnTo>
                    <a:pt x="45065" y="15121"/>
                  </a:lnTo>
                  <a:lnTo>
                    <a:pt x="56857" y="25729"/>
                  </a:lnTo>
                  <a:lnTo>
                    <a:pt x="58781" y="39396"/>
                  </a:lnTo>
                  <a:lnTo>
                    <a:pt x="58781" y="90907"/>
                  </a:lnTo>
                  <a:lnTo>
                    <a:pt x="56857" y="95447"/>
                  </a:lnTo>
                  <a:lnTo>
                    <a:pt x="64653" y="124261"/>
                  </a:lnTo>
                  <a:lnTo>
                    <a:pt x="74521" y="128801"/>
                  </a:lnTo>
                  <a:lnTo>
                    <a:pt x="80392" y="133340"/>
                  </a:lnTo>
                  <a:lnTo>
                    <a:pt x="82366" y="136399"/>
                  </a:lnTo>
                  <a:lnTo>
                    <a:pt x="86313" y="136399"/>
                  </a:lnTo>
                  <a:lnTo>
                    <a:pt x="100030" y="148487"/>
                  </a:lnTo>
                  <a:lnTo>
                    <a:pt x="101954" y="153027"/>
                  </a:lnTo>
                  <a:lnTo>
                    <a:pt x="109799" y="162155"/>
                  </a:lnTo>
                  <a:lnTo>
                    <a:pt x="111773" y="169704"/>
                  </a:lnTo>
                  <a:lnTo>
                    <a:pt x="113697" y="174292"/>
                  </a:lnTo>
                  <a:lnTo>
                    <a:pt x="115720" y="177302"/>
                  </a:lnTo>
                  <a:lnTo>
                    <a:pt x="109799" y="178832"/>
                  </a:lnTo>
                  <a:lnTo>
                    <a:pt x="109799" y="181842"/>
                  </a:lnTo>
                  <a:lnTo>
                    <a:pt x="105901" y="181842"/>
                  </a:lnTo>
                  <a:lnTo>
                    <a:pt x="103927" y="184851"/>
                  </a:lnTo>
                  <a:lnTo>
                    <a:pt x="105901" y="186381"/>
                  </a:lnTo>
                  <a:lnTo>
                    <a:pt x="105901" y="189440"/>
                  </a:lnTo>
                  <a:lnTo>
                    <a:pt x="107875" y="192450"/>
                  </a:lnTo>
                  <a:lnTo>
                    <a:pt x="107875" y="204587"/>
                  </a:lnTo>
                  <a:lnTo>
                    <a:pt x="105901" y="209127"/>
                  </a:lnTo>
                  <a:lnTo>
                    <a:pt x="101954" y="212137"/>
                  </a:lnTo>
                  <a:lnTo>
                    <a:pt x="92086" y="213666"/>
                  </a:lnTo>
                  <a:lnTo>
                    <a:pt x="88188" y="224274"/>
                  </a:lnTo>
                  <a:lnTo>
                    <a:pt x="88188" y="228814"/>
                  </a:lnTo>
                  <a:lnTo>
                    <a:pt x="84241" y="233353"/>
                  </a:lnTo>
                  <a:lnTo>
                    <a:pt x="86264" y="240951"/>
                  </a:lnTo>
                  <a:lnTo>
                    <a:pt x="86264" y="248500"/>
                  </a:lnTo>
                  <a:lnTo>
                    <a:pt x="78419" y="250030"/>
                  </a:lnTo>
                  <a:lnTo>
                    <a:pt x="76445" y="244010"/>
                  </a:lnTo>
                  <a:lnTo>
                    <a:pt x="80343" y="239422"/>
                  </a:lnTo>
                  <a:lnTo>
                    <a:pt x="74471" y="234882"/>
                  </a:lnTo>
                  <a:lnTo>
                    <a:pt x="70573" y="231873"/>
                  </a:lnTo>
                  <a:lnTo>
                    <a:pt x="66626" y="230343"/>
                  </a:lnTo>
                  <a:lnTo>
                    <a:pt x="58781" y="225755"/>
                  </a:lnTo>
                  <a:lnTo>
                    <a:pt x="52910" y="218205"/>
                  </a:lnTo>
                  <a:lnTo>
                    <a:pt x="52910" y="213666"/>
                  </a:lnTo>
                  <a:lnTo>
                    <a:pt x="49012" y="206068"/>
                  </a:lnTo>
                  <a:lnTo>
                    <a:pt x="49012" y="201578"/>
                  </a:lnTo>
                  <a:lnTo>
                    <a:pt x="52910" y="196989"/>
                  </a:lnTo>
                  <a:lnTo>
                    <a:pt x="54834" y="187910"/>
                  </a:lnTo>
                  <a:lnTo>
                    <a:pt x="64702" y="181842"/>
                  </a:lnTo>
                  <a:lnTo>
                    <a:pt x="64702" y="165164"/>
                  </a:lnTo>
                  <a:lnTo>
                    <a:pt x="58830" y="160625"/>
                  </a:lnTo>
                  <a:lnTo>
                    <a:pt x="50985" y="159145"/>
                  </a:lnTo>
                  <a:lnTo>
                    <a:pt x="43140" y="159145"/>
                  </a:lnTo>
                  <a:lnTo>
                    <a:pt x="41167" y="162155"/>
                  </a:lnTo>
                  <a:lnTo>
                    <a:pt x="37269" y="162155"/>
                  </a:lnTo>
                  <a:lnTo>
                    <a:pt x="33322" y="163635"/>
                  </a:lnTo>
                  <a:lnTo>
                    <a:pt x="25476" y="160625"/>
                  </a:lnTo>
                  <a:lnTo>
                    <a:pt x="25476" y="157615"/>
                  </a:lnTo>
                  <a:lnTo>
                    <a:pt x="23552" y="154556"/>
                  </a:lnTo>
                  <a:lnTo>
                    <a:pt x="21579" y="151547"/>
                  </a:lnTo>
                  <a:lnTo>
                    <a:pt x="19605" y="148487"/>
                  </a:lnTo>
                  <a:lnTo>
                    <a:pt x="9737" y="150017"/>
                  </a:lnTo>
                  <a:lnTo>
                    <a:pt x="9737" y="147007"/>
                  </a:lnTo>
                  <a:lnTo>
                    <a:pt x="5789" y="142419"/>
                  </a:lnTo>
                  <a:lnTo>
                    <a:pt x="1892" y="134869"/>
                  </a:lnTo>
                  <a:lnTo>
                    <a:pt x="-82" y="133340"/>
                  </a:lnTo>
                  <a:lnTo>
                    <a:pt x="3816" y="131860"/>
                  </a:lnTo>
                  <a:lnTo>
                    <a:pt x="9737" y="125742"/>
                  </a:lnTo>
                  <a:lnTo>
                    <a:pt x="9737" y="110594"/>
                  </a:lnTo>
                  <a:lnTo>
                    <a:pt x="11661" y="109114"/>
                  </a:lnTo>
                  <a:lnTo>
                    <a:pt x="17582" y="103045"/>
                  </a:lnTo>
                  <a:lnTo>
                    <a:pt x="23454" y="101515"/>
                  </a:lnTo>
                  <a:lnTo>
                    <a:pt x="25378" y="98456"/>
                  </a:lnTo>
                  <a:lnTo>
                    <a:pt x="29325" y="98456"/>
                  </a:lnTo>
                  <a:lnTo>
                    <a:pt x="29325" y="95447"/>
                  </a:lnTo>
                  <a:lnTo>
                    <a:pt x="23454" y="93966"/>
                  </a:lnTo>
                  <a:lnTo>
                    <a:pt x="23454" y="90907"/>
                  </a:lnTo>
                  <a:lnTo>
                    <a:pt x="21480" y="86368"/>
                  </a:lnTo>
                  <a:lnTo>
                    <a:pt x="23454" y="84838"/>
                  </a:lnTo>
                  <a:lnTo>
                    <a:pt x="25378" y="81829"/>
                  </a:lnTo>
                  <a:lnTo>
                    <a:pt x="21480" y="77289"/>
                  </a:lnTo>
                  <a:lnTo>
                    <a:pt x="25378" y="72750"/>
                  </a:lnTo>
                  <a:lnTo>
                    <a:pt x="23454" y="69691"/>
                  </a:lnTo>
                  <a:lnTo>
                    <a:pt x="23454" y="65250"/>
                  </a:lnTo>
                  <a:lnTo>
                    <a:pt x="21480" y="59182"/>
                  </a:lnTo>
                  <a:lnTo>
                    <a:pt x="21480" y="54642"/>
                  </a:lnTo>
                  <a:lnTo>
                    <a:pt x="31348" y="47093"/>
                  </a:lnTo>
                  <a:lnTo>
                    <a:pt x="31348" y="45514"/>
                  </a:lnTo>
                  <a:lnTo>
                    <a:pt x="33272" y="43985"/>
                  </a:lnTo>
                  <a:lnTo>
                    <a:pt x="33272" y="37916"/>
                  </a:lnTo>
                  <a:lnTo>
                    <a:pt x="31348" y="31896"/>
                  </a:lnTo>
                  <a:lnTo>
                    <a:pt x="23503" y="28837"/>
                  </a:lnTo>
                  <a:lnTo>
                    <a:pt x="21529" y="25778"/>
                  </a:lnTo>
                  <a:lnTo>
                    <a:pt x="25427" y="18229"/>
                  </a:lnTo>
                  <a:lnTo>
                    <a:pt x="25427" y="15170"/>
                  </a:lnTo>
                  <a:lnTo>
                    <a:pt x="21529" y="15170"/>
                  </a:lnTo>
                  <a:lnTo>
                    <a:pt x="17631" y="12160"/>
                  </a:lnTo>
                  <a:lnTo>
                    <a:pt x="15657" y="6091"/>
                  </a:lnTo>
                  <a:lnTo>
                    <a:pt x="13684" y="461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Graphic 2">
              <a:extLst>
                <a:ext uri="{FF2B5EF4-FFF2-40B4-BE49-F238E27FC236}">
                  <a16:creationId xmlns:a16="http://schemas.microsoft.com/office/drawing/2014/main" id="{08557DE9-07F1-44C8-95FE-28C85A359C99}"/>
                </a:ext>
              </a:extLst>
            </p:cNvPr>
            <p:cNvSpPr/>
            <p:nvPr/>
          </p:nvSpPr>
          <p:spPr>
            <a:xfrm>
              <a:off x="6123283" y="4875149"/>
              <a:ext cx="389630" cy="285083"/>
            </a:xfrm>
            <a:custGeom>
              <a:avLst/>
              <a:gdLst>
                <a:gd name="connsiteX0" fmla="*/ 76544 w 428866"/>
                <a:gd name="connsiteY0" fmla="*/ 90513 h 313804"/>
                <a:gd name="connsiteX1" fmla="*/ 82464 w 428866"/>
                <a:gd name="connsiteY1" fmla="*/ 92042 h 313804"/>
                <a:gd name="connsiteX2" fmla="*/ 84438 w 428866"/>
                <a:gd name="connsiteY2" fmla="*/ 92042 h 313804"/>
                <a:gd name="connsiteX3" fmla="*/ 90359 w 428866"/>
                <a:gd name="connsiteY3" fmla="*/ 93572 h 313804"/>
                <a:gd name="connsiteX4" fmla="*/ 92283 w 428866"/>
                <a:gd name="connsiteY4" fmla="*/ 96581 h 313804"/>
                <a:gd name="connsiteX5" fmla="*/ 92283 w 428866"/>
                <a:gd name="connsiteY5" fmla="*/ 102848 h 313804"/>
                <a:gd name="connsiteX6" fmla="*/ 94257 w 428866"/>
                <a:gd name="connsiteY6" fmla="*/ 104377 h 313804"/>
                <a:gd name="connsiteX7" fmla="*/ 96280 w 428866"/>
                <a:gd name="connsiteY7" fmla="*/ 105907 h 313804"/>
                <a:gd name="connsiteX8" fmla="*/ 100177 w 428866"/>
                <a:gd name="connsiteY8" fmla="*/ 102848 h 313804"/>
                <a:gd name="connsiteX9" fmla="*/ 104125 w 428866"/>
                <a:gd name="connsiteY9" fmla="*/ 101318 h 313804"/>
                <a:gd name="connsiteX10" fmla="*/ 110046 w 428866"/>
                <a:gd name="connsiteY10" fmla="*/ 101318 h 313804"/>
                <a:gd name="connsiteX11" fmla="*/ 112019 w 428866"/>
                <a:gd name="connsiteY11" fmla="*/ 96729 h 313804"/>
                <a:gd name="connsiteX12" fmla="*/ 123812 w 428866"/>
                <a:gd name="connsiteY12" fmla="*/ 95200 h 313804"/>
                <a:gd name="connsiteX13" fmla="*/ 125785 w 428866"/>
                <a:gd name="connsiteY13" fmla="*/ 95200 h 313804"/>
                <a:gd name="connsiteX14" fmla="*/ 125785 w 428866"/>
                <a:gd name="connsiteY14" fmla="*/ 102848 h 313804"/>
                <a:gd name="connsiteX15" fmla="*/ 127759 w 428866"/>
                <a:gd name="connsiteY15" fmla="*/ 105907 h 313804"/>
                <a:gd name="connsiteX16" fmla="*/ 127759 w 428866"/>
                <a:gd name="connsiteY16" fmla="*/ 112025 h 313804"/>
                <a:gd name="connsiteX17" fmla="*/ 129733 w 428866"/>
                <a:gd name="connsiteY17" fmla="*/ 112025 h 313804"/>
                <a:gd name="connsiteX18" fmla="*/ 135654 w 428866"/>
                <a:gd name="connsiteY18" fmla="*/ 115084 h 313804"/>
                <a:gd name="connsiteX19" fmla="*/ 139552 w 428866"/>
                <a:gd name="connsiteY19" fmla="*/ 115084 h 313804"/>
                <a:gd name="connsiteX20" fmla="*/ 149420 w 428866"/>
                <a:gd name="connsiteY20" fmla="*/ 119673 h 313804"/>
                <a:gd name="connsiteX21" fmla="*/ 157265 w 428866"/>
                <a:gd name="connsiteY21" fmla="*/ 119673 h 313804"/>
                <a:gd name="connsiteX22" fmla="*/ 165159 w 428866"/>
                <a:gd name="connsiteY22" fmla="*/ 121202 h 313804"/>
                <a:gd name="connsiteX23" fmla="*/ 165159 w 428866"/>
                <a:gd name="connsiteY23" fmla="*/ 122584 h 313804"/>
                <a:gd name="connsiteX24" fmla="*/ 171031 w 428866"/>
                <a:gd name="connsiteY24" fmla="*/ 122584 h 313804"/>
                <a:gd name="connsiteX25" fmla="*/ 180899 w 428866"/>
                <a:gd name="connsiteY25" fmla="*/ 119525 h 313804"/>
                <a:gd name="connsiteX26" fmla="*/ 180899 w 428866"/>
                <a:gd name="connsiteY26" fmla="*/ 116466 h 313804"/>
                <a:gd name="connsiteX27" fmla="*/ 186770 w 428866"/>
                <a:gd name="connsiteY27" fmla="*/ 108818 h 313804"/>
                <a:gd name="connsiteX28" fmla="*/ 190767 w 428866"/>
                <a:gd name="connsiteY28" fmla="*/ 108818 h 313804"/>
                <a:gd name="connsiteX29" fmla="*/ 194664 w 428866"/>
                <a:gd name="connsiteY29" fmla="*/ 107288 h 313804"/>
                <a:gd name="connsiteX30" fmla="*/ 196638 w 428866"/>
                <a:gd name="connsiteY30" fmla="*/ 108818 h 313804"/>
                <a:gd name="connsiteX31" fmla="*/ 196638 w 428866"/>
                <a:gd name="connsiteY31" fmla="*/ 116466 h 313804"/>
                <a:gd name="connsiteX32" fmla="*/ 202559 w 428866"/>
                <a:gd name="connsiteY32" fmla="*/ 122584 h 313804"/>
                <a:gd name="connsiteX33" fmla="*/ 202559 w 428866"/>
                <a:gd name="connsiteY33" fmla="*/ 125643 h 313804"/>
                <a:gd name="connsiteX34" fmla="*/ 210404 w 428866"/>
                <a:gd name="connsiteY34" fmla="*/ 130231 h 313804"/>
                <a:gd name="connsiteX35" fmla="*/ 226193 w 428866"/>
                <a:gd name="connsiteY35" fmla="*/ 134820 h 313804"/>
                <a:gd name="connsiteX36" fmla="*/ 234087 w 428866"/>
                <a:gd name="connsiteY36" fmla="*/ 137929 h 313804"/>
                <a:gd name="connsiteX37" fmla="*/ 239959 w 428866"/>
                <a:gd name="connsiteY37" fmla="*/ 147106 h 313804"/>
                <a:gd name="connsiteX38" fmla="*/ 245880 w 428866"/>
                <a:gd name="connsiteY38" fmla="*/ 151695 h 313804"/>
                <a:gd name="connsiteX39" fmla="*/ 255748 w 428866"/>
                <a:gd name="connsiteY39" fmla="*/ 159293 h 313804"/>
                <a:gd name="connsiteX40" fmla="*/ 261620 w 428866"/>
                <a:gd name="connsiteY40" fmla="*/ 165411 h 313804"/>
                <a:gd name="connsiteX41" fmla="*/ 265566 w 428866"/>
                <a:gd name="connsiteY41" fmla="*/ 165411 h 313804"/>
                <a:gd name="connsiteX42" fmla="*/ 271488 w 428866"/>
                <a:gd name="connsiteY42" fmla="*/ 163882 h 313804"/>
                <a:gd name="connsiteX43" fmla="*/ 277359 w 428866"/>
                <a:gd name="connsiteY43" fmla="*/ 162352 h 313804"/>
                <a:gd name="connsiteX44" fmla="*/ 279333 w 428866"/>
                <a:gd name="connsiteY44" fmla="*/ 162352 h 313804"/>
                <a:gd name="connsiteX45" fmla="*/ 279333 w 428866"/>
                <a:gd name="connsiteY45" fmla="*/ 163882 h 313804"/>
                <a:gd name="connsiteX46" fmla="*/ 287227 w 428866"/>
                <a:gd name="connsiteY46" fmla="*/ 165411 h 313804"/>
                <a:gd name="connsiteX47" fmla="*/ 289201 w 428866"/>
                <a:gd name="connsiteY47" fmla="*/ 162352 h 313804"/>
                <a:gd name="connsiteX48" fmla="*/ 287227 w 428866"/>
                <a:gd name="connsiteY48" fmla="*/ 130231 h 313804"/>
                <a:gd name="connsiteX49" fmla="*/ 281306 w 428866"/>
                <a:gd name="connsiteY49" fmla="*/ 128702 h 313804"/>
                <a:gd name="connsiteX50" fmla="*/ 273461 w 428866"/>
                <a:gd name="connsiteY50" fmla="*/ 130231 h 313804"/>
                <a:gd name="connsiteX51" fmla="*/ 275385 w 428866"/>
                <a:gd name="connsiteY51" fmla="*/ 133291 h 313804"/>
                <a:gd name="connsiteX52" fmla="*/ 277359 w 428866"/>
                <a:gd name="connsiteY52" fmla="*/ 136399 h 313804"/>
                <a:gd name="connsiteX53" fmla="*/ 261422 w 428866"/>
                <a:gd name="connsiteY53" fmla="*/ 136399 h 313804"/>
                <a:gd name="connsiteX54" fmla="*/ 257524 w 428866"/>
                <a:gd name="connsiteY54" fmla="*/ 133291 h 313804"/>
                <a:gd name="connsiteX55" fmla="*/ 255551 w 428866"/>
                <a:gd name="connsiteY55" fmla="*/ 128702 h 313804"/>
                <a:gd name="connsiteX56" fmla="*/ 243709 w 428866"/>
                <a:gd name="connsiteY56" fmla="*/ 117995 h 313804"/>
                <a:gd name="connsiteX57" fmla="*/ 239762 w 428866"/>
                <a:gd name="connsiteY57" fmla="*/ 114936 h 313804"/>
                <a:gd name="connsiteX58" fmla="*/ 239762 w 428866"/>
                <a:gd name="connsiteY58" fmla="*/ 85924 h 313804"/>
                <a:gd name="connsiteX59" fmla="*/ 245683 w 428866"/>
                <a:gd name="connsiteY59" fmla="*/ 81335 h 313804"/>
                <a:gd name="connsiteX60" fmla="*/ 251554 w 428866"/>
                <a:gd name="connsiteY60" fmla="*/ 78177 h 313804"/>
                <a:gd name="connsiteX61" fmla="*/ 247656 w 428866"/>
                <a:gd name="connsiteY61" fmla="*/ 75118 h 313804"/>
                <a:gd name="connsiteX62" fmla="*/ 251554 w 428866"/>
                <a:gd name="connsiteY62" fmla="*/ 75118 h 313804"/>
                <a:gd name="connsiteX63" fmla="*/ 253528 w 428866"/>
                <a:gd name="connsiteY63" fmla="*/ 67471 h 313804"/>
                <a:gd name="connsiteX64" fmla="*/ 253528 w 428866"/>
                <a:gd name="connsiteY64" fmla="*/ 53705 h 313804"/>
                <a:gd name="connsiteX65" fmla="*/ 255551 w 428866"/>
                <a:gd name="connsiteY65" fmla="*/ 52175 h 313804"/>
                <a:gd name="connsiteX66" fmla="*/ 255551 w 428866"/>
                <a:gd name="connsiteY66" fmla="*/ 49116 h 313804"/>
                <a:gd name="connsiteX67" fmla="*/ 251554 w 428866"/>
                <a:gd name="connsiteY67" fmla="*/ 46057 h 313804"/>
                <a:gd name="connsiteX68" fmla="*/ 245683 w 428866"/>
                <a:gd name="connsiteY68" fmla="*/ 42998 h 313804"/>
                <a:gd name="connsiteX69" fmla="*/ 243709 w 428866"/>
                <a:gd name="connsiteY69" fmla="*/ 36880 h 313804"/>
                <a:gd name="connsiteX70" fmla="*/ 259448 w 428866"/>
                <a:gd name="connsiteY70" fmla="*/ 12209 h 313804"/>
                <a:gd name="connsiteX71" fmla="*/ 320482 w 428866"/>
                <a:gd name="connsiteY71" fmla="*/ -27 h 313804"/>
                <a:gd name="connsiteX72" fmla="*/ 336272 w 428866"/>
                <a:gd name="connsiteY72" fmla="*/ 7621 h 313804"/>
                <a:gd name="connsiteX73" fmla="*/ 340169 w 428866"/>
                <a:gd name="connsiteY73" fmla="*/ 7621 h 313804"/>
                <a:gd name="connsiteX74" fmla="*/ 346041 w 428866"/>
                <a:gd name="connsiteY74" fmla="*/ 9150 h 313804"/>
                <a:gd name="connsiteX75" fmla="*/ 350037 w 428866"/>
                <a:gd name="connsiteY75" fmla="*/ 9150 h 313804"/>
                <a:gd name="connsiteX76" fmla="*/ 355909 w 428866"/>
                <a:gd name="connsiteY76" fmla="*/ 12209 h 313804"/>
                <a:gd name="connsiteX77" fmla="*/ 355909 w 428866"/>
                <a:gd name="connsiteY77" fmla="*/ 14035 h 313804"/>
                <a:gd name="connsiteX78" fmla="*/ 361829 w 428866"/>
                <a:gd name="connsiteY78" fmla="*/ 17094 h 313804"/>
                <a:gd name="connsiteX79" fmla="*/ 367751 w 428866"/>
                <a:gd name="connsiteY79" fmla="*/ 17094 h 313804"/>
                <a:gd name="connsiteX80" fmla="*/ 383490 w 428866"/>
                <a:gd name="connsiteY80" fmla="*/ 23212 h 313804"/>
                <a:gd name="connsiteX81" fmla="*/ 389411 w 428866"/>
                <a:gd name="connsiteY81" fmla="*/ 23212 h 313804"/>
                <a:gd name="connsiteX82" fmla="*/ 391384 w 428866"/>
                <a:gd name="connsiteY82" fmla="*/ 26271 h 313804"/>
                <a:gd name="connsiteX83" fmla="*/ 395282 w 428866"/>
                <a:gd name="connsiteY83" fmla="*/ 27801 h 313804"/>
                <a:gd name="connsiteX84" fmla="*/ 397256 w 428866"/>
                <a:gd name="connsiteY84" fmla="*/ 32389 h 313804"/>
                <a:gd name="connsiteX85" fmla="*/ 405150 w 428866"/>
                <a:gd name="connsiteY85" fmla="*/ 36978 h 313804"/>
                <a:gd name="connsiteX86" fmla="*/ 407124 w 428866"/>
                <a:gd name="connsiteY86" fmla="*/ 36978 h 313804"/>
                <a:gd name="connsiteX87" fmla="*/ 409049 w 428866"/>
                <a:gd name="connsiteY87" fmla="*/ 41567 h 313804"/>
                <a:gd name="connsiteX88" fmla="*/ 411022 w 428866"/>
                <a:gd name="connsiteY88" fmla="*/ 43097 h 313804"/>
                <a:gd name="connsiteX89" fmla="*/ 412995 w 428866"/>
                <a:gd name="connsiteY89" fmla="*/ 49215 h 313804"/>
                <a:gd name="connsiteX90" fmla="*/ 416943 w 428866"/>
                <a:gd name="connsiteY90" fmla="*/ 52274 h 313804"/>
                <a:gd name="connsiteX91" fmla="*/ 420890 w 428866"/>
                <a:gd name="connsiteY91" fmla="*/ 52274 h 313804"/>
                <a:gd name="connsiteX92" fmla="*/ 420890 w 428866"/>
                <a:gd name="connsiteY92" fmla="*/ 55333 h 313804"/>
                <a:gd name="connsiteX93" fmla="*/ 416943 w 428866"/>
                <a:gd name="connsiteY93" fmla="*/ 62981 h 313804"/>
                <a:gd name="connsiteX94" fmla="*/ 418917 w 428866"/>
                <a:gd name="connsiteY94" fmla="*/ 66040 h 313804"/>
                <a:gd name="connsiteX95" fmla="*/ 426762 w 428866"/>
                <a:gd name="connsiteY95" fmla="*/ 69099 h 313804"/>
                <a:gd name="connsiteX96" fmla="*/ 428785 w 428866"/>
                <a:gd name="connsiteY96" fmla="*/ 75217 h 313804"/>
                <a:gd name="connsiteX97" fmla="*/ 428785 w 428866"/>
                <a:gd name="connsiteY97" fmla="*/ 81335 h 313804"/>
                <a:gd name="connsiteX98" fmla="*/ 426762 w 428866"/>
                <a:gd name="connsiteY98" fmla="*/ 82865 h 313804"/>
                <a:gd name="connsiteX99" fmla="*/ 426762 w 428866"/>
                <a:gd name="connsiteY99" fmla="*/ 84394 h 313804"/>
                <a:gd name="connsiteX100" fmla="*/ 416893 w 428866"/>
                <a:gd name="connsiteY100" fmla="*/ 92042 h 313804"/>
                <a:gd name="connsiteX101" fmla="*/ 416893 w 428866"/>
                <a:gd name="connsiteY101" fmla="*/ 96581 h 313804"/>
                <a:gd name="connsiteX102" fmla="*/ 418867 w 428866"/>
                <a:gd name="connsiteY102" fmla="*/ 102699 h 313804"/>
                <a:gd name="connsiteX103" fmla="*/ 418867 w 428866"/>
                <a:gd name="connsiteY103" fmla="*/ 107288 h 313804"/>
                <a:gd name="connsiteX104" fmla="*/ 420841 w 428866"/>
                <a:gd name="connsiteY104" fmla="*/ 110347 h 313804"/>
                <a:gd name="connsiteX105" fmla="*/ 416893 w 428866"/>
                <a:gd name="connsiteY105" fmla="*/ 114936 h 313804"/>
                <a:gd name="connsiteX106" fmla="*/ 420841 w 428866"/>
                <a:gd name="connsiteY106" fmla="*/ 119525 h 313804"/>
                <a:gd name="connsiteX107" fmla="*/ 418867 w 428866"/>
                <a:gd name="connsiteY107" fmla="*/ 122584 h 313804"/>
                <a:gd name="connsiteX108" fmla="*/ 416893 w 428866"/>
                <a:gd name="connsiteY108" fmla="*/ 124113 h 313804"/>
                <a:gd name="connsiteX109" fmla="*/ 418867 w 428866"/>
                <a:gd name="connsiteY109" fmla="*/ 128702 h 313804"/>
                <a:gd name="connsiteX110" fmla="*/ 418867 w 428866"/>
                <a:gd name="connsiteY110" fmla="*/ 131761 h 313804"/>
                <a:gd name="connsiteX111" fmla="*/ 424738 w 428866"/>
                <a:gd name="connsiteY111" fmla="*/ 133291 h 313804"/>
                <a:gd name="connsiteX112" fmla="*/ 424738 w 428866"/>
                <a:gd name="connsiteY112" fmla="*/ 136399 h 313804"/>
                <a:gd name="connsiteX113" fmla="*/ 420841 w 428866"/>
                <a:gd name="connsiteY113" fmla="*/ 136399 h 313804"/>
                <a:gd name="connsiteX114" fmla="*/ 418867 w 428866"/>
                <a:gd name="connsiteY114" fmla="*/ 139458 h 313804"/>
                <a:gd name="connsiteX115" fmla="*/ 412946 w 428866"/>
                <a:gd name="connsiteY115" fmla="*/ 140988 h 313804"/>
                <a:gd name="connsiteX116" fmla="*/ 407075 w 428866"/>
                <a:gd name="connsiteY116" fmla="*/ 147106 h 313804"/>
                <a:gd name="connsiteX117" fmla="*/ 405101 w 428866"/>
                <a:gd name="connsiteY117" fmla="*/ 148636 h 313804"/>
                <a:gd name="connsiteX118" fmla="*/ 405101 w 428866"/>
                <a:gd name="connsiteY118" fmla="*/ 163882 h 313804"/>
                <a:gd name="connsiteX119" fmla="*/ 399180 w 428866"/>
                <a:gd name="connsiteY119" fmla="*/ 170000 h 313804"/>
                <a:gd name="connsiteX120" fmla="*/ 395233 w 428866"/>
                <a:gd name="connsiteY120" fmla="*/ 171529 h 313804"/>
                <a:gd name="connsiteX121" fmla="*/ 397207 w 428866"/>
                <a:gd name="connsiteY121" fmla="*/ 173059 h 313804"/>
                <a:gd name="connsiteX122" fmla="*/ 401154 w 428866"/>
                <a:gd name="connsiteY122" fmla="*/ 180707 h 313804"/>
                <a:gd name="connsiteX123" fmla="*/ 405101 w 428866"/>
                <a:gd name="connsiteY123" fmla="*/ 185295 h 313804"/>
                <a:gd name="connsiteX124" fmla="*/ 405101 w 428866"/>
                <a:gd name="connsiteY124" fmla="*/ 188355 h 313804"/>
                <a:gd name="connsiteX125" fmla="*/ 405101 w 428866"/>
                <a:gd name="connsiteY125" fmla="*/ 188355 h 313804"/>
                <a:gd name="connsiteX126" fmla="*/ 395233 w 428866"/>
                <a:gd name="connsiteY126" fmla="*/ 191414 h 313804"/>
                <a:gd name="connsiteX127" fmla="*/ 373573 w 428866"/>
                <a:gd name="connsiteY127" fmla="*/ 199061 h 313804"/>
                <a:gd name="connsiteX128" fmla="*/ 367701 w 428866"/>
                <a:gd name="connsiteY128" fmla="*/ 199061 h 313804"/>
                <a:gd name="connsiteX129" fmla="*/ 330252 w 428866"/>
                <a:gd name="connsiteY129" fmla="*/ 212827 h 313804"/>
                <a:gd name="connsiteX130" fmla="*/ 322407 w 428866"/>
                <a:gd name="connsiteY130" fmla="*/ 212827 h 313804"/>
                <a:gd name="connsiteX131" fmla="*/ 308640 w 428866"/>
                <a:gd name="connsiteY131" fmla="*/ 218946 h 313804"/>
                <a:gd name="connsiteX132" fmla="*/ 304694 w 428866"/>
                <a:gd name="connsiteY132" fmla="*/ 223534 h 313804"/>
                <a:gd name="connsiteX133" fmla="*/ 306618 w 428866"/>
                <a:gd name="connsiteY133" fmla="*/ 234241 h 313804"/>
                <a:gd name="connsiteX134" fmla="*/ 308640 w 428866"/>
                <a:gd name="connsiteY134" fmla="*/ 237300 h 313804"/>
                <a:gd name="connsiteX135" fmla="*/ 306618 w 428866"/>
                <a:gd name="connsiteY135" fmla="*/ 237300 h 313804"/>
                <a:gd name="connsiteX136" fmla="*/ 302720 w 428866"/>
                <a:gd name="connsiteY136" fmla="*/ 238830 h 313804"/>
                <a:gd name="connsiteX137" fmla="*/ 296849 w 428866"/>
                <a:gd name="connsiteY137" fmla="*/ 237300 h 313804"/>
                <a:gd name="connsiteX138" fmla="*/ 292852 w 428866"/>
                <a:gd name="connsiteY138" fmla="*/ 237300 h 313804"/>
                <a:gd name="connsiteX139" fmla="*/ 290878 w 428866"/>
                <a:gd name="connsiteY139" fmla="*/ 235771 h 313804"/>
                <a:gd name="connsiteX140" fmla="*/ 281010 w 428866"/>
                <a:gd name="connsiteY140" fmla="*/ 235771 h 313804"/>
                <a:gd name="connsiteX141" fmla="*/ 273165 w 428866"/>
                <a:gd name="connsiteY141" fmla="*/ 237300 h 313804"/>
                <a:gd name="connsiteX142" fmla="*/ 269218 w 428866"/>
                <a:gd name="connsiteY142" fmla="*/ 240359 h 313804"/>
                <a:gd name="connsiteX143" fmla="*/ 263297 w 428866"/>
                <a:gd name="connsiteY143" fmla="*/ 241889 h 313804"/>
                <a:gd name="connsiteX144" fmla="*/ 253429 w 428866"/>
                <a:gd name="connsiteY144" fmla="*/ 244948 h 313804"/>
                <a:gd name="connsiteX145" fmla="*/ 251455 w 428866"/>
                <a:gd name="connsiteY145" fmla="*/ 249536 h 313804"/>
                <a:gd name="connsiteX146" fmla="*/ 251455 w 428866"/>
                <a:gd name="connsiteY146" fmla="*/ 252595 h 313804"/>
                <a:gd name="connsiteX147" fmla="*/ 247557 w 428866"/>
                <a:gd name="connsiteY147" fmla="*/ 255655 h 313804"/>
                <a:gd name="connsiteX148" fmla="*/ 251455 w 428866"/>
                <a:gd name="connsiteY148" fmla="*/ 258714 h 313804"/>
                <a:gd name="connsiteX149" fmla="*/ 247557 w 428866"/>
                <a:gd name="connsiteY149" fmla="*/ 261773 h 313804"/>
                <a:gd name="connsiteX150" fmla="*/ 245584 w 428866"/>
                <a:gd name="connsiteY150" fmla="*/ 263303 h 313804"/>
                <a:gd name="connsiteX151" fmla="*/ 233792 w 428866"/>
                <a:gd name="connsiteY151" fmla="*/ 267891 h 313804"/>
                <a:gd name="connsiteX152" fmla="*/ 212082 w 428866"/>
                <a:gd name="connsiteY152" fmla="*/ 278598 h 313804"/>
                <a:gd name="connsiteX153" fmla="*/ 196342 w 428866"/>
                <a:gd name="connsiteY153" fmla="*/ 296903 h 313804"/>
                <a:gd name="connsiteX154" fmla="*/ 186474 w 428866"/>
                <a:gd name="connsiteY154" fmla="*/ 310669 h 313804"/>
                <a:gd name="connsiteX155" fmla="*/ 174682 w 428866"/>
                <a:gd name="connsiteY155" fmla="*/ 313778 h 313804"/>
                <a:gd name="connsiteX156" fmla="*/ 168810 w 428866"/>
                <a:gd name="connsiteY156" fmla="*/ 310669 h 313804"/>
                <a:gd name="connsiteX157" fmla="*/ 162889 w 428866"/>
                <a:gd name="connsiteY157" fmla="*/ 307610 h 313804"/>
                <a:gd name="connsiteX158" fmla="*/ 158942 w 428866"/>
                <a:gd name="connsiteY158" fmla="*/ 307610 h 313804"/>
                <a:gd name="connsiteX159" fmla="*/ 154995 w 428866"/>
                <a:gd name="connsiteY159" fmla="*/ 306081 h 313804"/>
                <a:gd name="connsiteX160" fmla="*/ 145127 w 428866"/>
                <a:gd name="connsiteY160" fmla="*/ 306081 h 313804"/>
                <a:gd name="connsiteX161" fmla="*/ 139206 w 428866"/>
                <a:gd name="connsiteY161" fmla="*/ 310669 h 313804"/>
                <a:gd name="connsiteX162" fmla="*/ 135308 w 428866"/>
                <a:gd name="connsiteY162" fmla="*/ 310669 h 313804"/>
                <a:gd name="connsiteX163" fmla="*/ 133285 w 428866"/>
                <a:gd name="connsiteY163" fmla="*/ 307610 h 313804"/>
                <a:gd name="connsiteX164" fmla="*/ 127413 w 428866"/>
                <a:gd name="connsiteY164" fmla="*/ 304551 h 313804"/>
                <a:gd name="connsiteX165" fmla="*/ 117545 w 428866"/>
                <a:gd name="connsiteY165" fmla="*/ 304551 h 313804"/>
                <a:gd name="connsiteX166" fmla="*/ 115572 w 428866"/>
                <a:gd name="connsiteY166" fmla="*/ 303021 h 313804"/>
                <a:gd name="connsiteX167" fmla="*/ 107727 w 428866"/>
                <a:gd name="connsiteY167" fmla="*/ 298433 h 313804"/>
                <a:gd name="connsiteX168" fmla="*/ 105753 w 428866"/>
                <a:gd name="connsiteY168" fmla="*/ 298433 h 313804"/>
                <a:gd name="connsiteX169" fmla="*/ 103780 w 428866"/>
                <a:gd name="connsiteY169" fmla="*/ 296903 h 313804"/>
                <a:gd name="connsiteX170" fmla="*/ 101806 w 428866"/>
                <a:gd name="connsiteY170" fmla="*/ 296903 h 313804"/>
                <a:gd name="connsiteX171" fmla="*/ 97908 w 428866"/>
                <a:gd name="connsiteY171" fmla="*/ 295374 h 313804"/>
                <a:gd name="connsiteX172" fmla="*/ 93912 w 428866"/>
                <a:gd name="connsiteY172" fmla="*/ 295374 h 313804"/>
                <a:gd name="connsiteX173" fmla="*/ 88040 w 428866"/>
                <a:gd name="connsiteY173" fmla="*/ 296903 h 313804"/>
                <a:gd name="connsiteX174" fmla="*/ 84093 w 428866"/>
                <a:gd name="connsiteY174" fmla="*/ 295374 h 313804"/>
                <a:gd name="connsiteX175" fmla="*/ 48666 w 428866"/>
                <a:gd name="connsiteY175" fmla="*/ 303021 h 313804"/>
                <a:gd name="connsiteX176" fmla="*/ 46693 w 428866"/>
                <a:gd name="connsiteY176" fmla="*/ 298433 h 313804"/>
                <a:gd name="connsiteX177" fmla="*/ 40772 w 428866"/>
                <a:gd name="connsiteY177" fmla="*/ 295374 h 313804"/>
                <a:gd name="connsiteX178" fmla="*/ 36825 w 428866"/>
                <a:gd name="connsiteY178" fmla="*/ 292315 h 313804"/>
                <a:gd name="connsiteX179" fmla="*/ 34900 w 428866"/>
                <a:gd name="connsiteY179" fmla="*/ 289256 h 313804"/>
                <a:gd name="connsiteX180" fmla="*/ 28980 w 428866"/>
                <a:gd name="connsiteY180" fmla="*/ 284667 h 313804"/>
                <a:gd name="connsiteX181" fmla="*/ 25032 w 428866"/>
                <a:gd name="connsiteY181" fmla="*/ 281657 h 313804"/>
                <a:gd name="connsiteX182" fmla="*/ 19654 w 428866"/>
                <a:gd name="connsiteY182" fmla="*/ 275539 h 313804"/>
                <a:gd name="connsiteX183" fmla="*/ 13684 w 428866"/>
                <a:gd name="connsiteY183" fmla="*/ 272480 h 313804"/>
                <a:gd name="connsiteX184" fmla="*/ 11760 w 428866"/>
                <a:gd name="connsiteY184" fmla="*/ 269421 h 313804"/>
                <a:gd name="connsiteX185" fmla="*/ 5839 w 428866"/>
                <a:gd name="connsiteY185" fmla="*/ 266362 h 313804"/>
                <a:gd name="connsiteX186" fmla="*/ -82 w 428866"/>
                <a:gd name="connsiteY186" fmla="*/ 261773 h 313804"/>
                <a:gd name="connsiteX187" fmla="*/ -82 w 428866"/>
                <a:gd name="connsiteY187" fmla="*/ 255803 h 313804"/>
                <a:gd name="connsiteX188" fmla="*/ 1892 w 428866"/>
                <a:gd name="connsiteY188" fmla="*/ 154902 h 313804"/>
                <a:gd name="connsiteX189" fmla="*/ 80836 w 428866"/>
                <a:gd name="connsiteY189" fmla="*/ 154902 h 313804"/>
                <a:gd name="connsiteX190" fmla="*/ 76889 w 428866"/>
                <a:gd name="connsiteY190" fmla="*/ 148783 h 313804"/>
                <a:gd name="connsiteX191" fmla="*/ 80836 w 428866"/>
                <a:gd name="connsiteY191" fmla="*/ 141136 h 313804"/>
                <a:gd name="connsiteX192" fmla="*/ 82810 w 428866"/>
                <a:gd name="connsiteY192" fmla="*/ 139606 h 313804"/>
                <a:gd name="connsiteX193" fmla="*/ 82810 w 428866"/>
                <a:gd name="connsiteY193" fmla="*/ 133439 h 313804"/>
                <a:gd name="connsiteX194" fmla="*/ 76889 w 428866"/>
                <a:gd name="connsiteY194" fmla="*/ 128850 h 313804"/>
                <a:gd name="connsiteX195" fmla="*/ 76889 w 428866"/>
                <a:gd name="connsiteY195" fmla="*/ 110495 h 313804"/>
                <a:gd name="connsiteX196" fmla="*/ 74965 w 428866"/>
                <a:gd name="connsiteY196" fmla="*/ 96729 h 313804"/>
                <a:gd name="connsiteX197" fmla="*/ 76889 w 428866"/>
                <a:gd name="connsiteY197" fmla="*/ 93720 h 313804"/>
                <a:gd name="connsiteX198" fmla="*/ 76889 w 428866"/>
                <a:gd name="connsiteY198" fmla="*/ 90661 h 31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428866" h="313804">
                  <a:moveTo>
                    <a:pt x="76544" y="90513"/>
                  </a:moveTo>
                  <a:lnTo>
                    <a:pt x="82464" y="92042"/>
                  </a:lnTo>
                  <a:lnTo>
                    <a:pt x="84438" y="92042"/>
                  </a:lnTo>
                  <a:lnTo>
                    <a:pt x="90359" y="93572"/>
                  </a:lnTo>
                  <a:lnTo>
                    <a:pt x="92283" y="96581"/>
                  </a:lnTo>
                  <a:lnTo>
                    <a:pt x="92283" y="102848"/>
                  </a:lnTo>
                  <a:lnTo>
                    <a:pt x="94257" y="104377"/>
                  </a:lnTo>
                  <a:lnTo>
                    <a:pt x="96280" y="105907"/>
                  </a:lnTo>
                  <a:lnTo>
                    <a:pt x="100177" y="102848"/>
                  </a:lnTo>
                  <a:lnTo>
                    <a:pt x="104125" y="101318"/>
                  </a:lnTo>
                  <a:lnTo>
                    <a:pt x="110046" y="101318"/>
                  </a:lnTo>
                  <a:lnTo>
                    <a:pt x="112019" y="96729"/>
                  </a:lnTo>
                  <a:lnTo>
                    <a:pt x="123812" y="95200"/>
                  </a:lnTo>
                  <a:lnTo>
                    <a:pt x="125785" y="95200"/>
                  </a:lnTo>
                  <a:lnTo>
                    <a:pt x="125785" y="102848"/>
                  </a:lnTo>
                  <a:lnTo>
                    <a:pt x="127759" y="105907"/>
                  </a:lnTo>
                  <a:lnTo>
                    <a:pt x="127759" y="112025"/>
                  </a:lnTo>
                  <a:lnTo>
                    <a:pt x="129733" y="112025"/>
                  </a:lnTo>
                  <a:lnTo>
                    <a:pt x="135654" y="115084"/>
                  </a:lnTo>
                  <a:lnTo>
                    <a:pt x="139552" y="115084"/>
                  </a:lnTo>
                  <a:lnTo>
                    <a:pt x="149420" y="119673"/>
                  </a:lnTo>
                  <a:lnTo>
                    <a:pt x="157265" y="119673"/>
                  </a:lnTo>
                  <a:lnTo>
                    <a:pt x="165159" y="121202"/>
                  </a:lnTo>
                  <a:lnTo>
                    <a:pt x="165159" y="122584"/>
                  </a:lnTo>
                  <a:lnTo>
                    <a:pt x="171031" y="122584"/>
                  </a:lnTo>
                  <a:lnTo>
                    <a:pt x="180899" y="119525"/>
                  </a:lnTo>
                  <a:lnTo>
                    <a:pt x="180899" y="116466"/>
                  </a:lnTo>
                  <a:lnTo>
                    <a:pt x="186770" y="108818"/>
                  </a:lnTo>
                  <a:lnTo>
                    <a:pt x="190767" y="108818"/>
                  </a:lnTo>
                  <a:lnTo>
                    <a:pt x="194664" y="107288"/>
                  </a:lnTo>
                  <a:lnTo>
                    <a:pt x="196638" y="108818"/>
                  </a:lnTo>
                  <a:lnTo>
                    <a:pt x="196638" y="116466"/>
                  </a:lnTo>
                  <a:lnTo>
                    <a:pt x="202559" y="122584"/>
                  </a:lnTo>
                  <a:lnTo>
                    <a:pt x="202559" y="125643"/>
                  </a:lnTo>
                  <a:lnTo>
                    <a:pt x="210404" y="130231"/>
                  </a:lnTo>
                  <a:lnTo>
                    <a:pt x="226193" y="134820"/>
                  </a:lnTo>
                  <a:lnTo>
                    <a:pt x="234087" y="137929"/>
                  </a:lnTo>
                  <a:lnTo>
                    <a:pt x="239959" y="147106"/>
                  </a:lnTo>
                  <a:lnTo>
                    <a:pt x="245880" y="151695"/>
                  </a:lnTo>
                  <a:lnTo>
                    <a:pt x="255748" y="159293"/>
                  </a:lnTo>
                  <a:lnTo>
                    <a:pt x="261620" y="165411"/>
                  </a:lnTo>
                  <a:lnTo>
                    <a:pt x="265566" y="165411"/>
                  </a:lnTo>
                  <a:lnTo>
                    <a:pt x="271488" y="163882"/>
                  </a:lnTo>
                  <a:lnTo>
                    <a:pt x="277359" y="162352"/>
                  </a:lnTo>
                  <a:lnTo>
                    <a:pt x="279333" y="162352"/>
                  </a:lnTo>
                  <a:lnTo>
                    <a:pt x="279333" y="163882"/>
                  </a:lnTo>
                  <a:lnTo>
                    <a:pt x="287227" y="165411"/>
                  </a:lnTo>
                  <a:lnTo>
                    <a:pt x="289201" y="162352"/>
                  </a:lnTo>
                  <a:lnTo>
                    <a:pt x="287227" y="130231"/>
                  </a:lnTo>
                  <a:lnTo>
                    <a:pt x="281306" y="128702"/>
                  </a:lnTo>
                  <a:lnTo>
                    <a:pt x="273461" y="130231"/>
                  </a:lnTo>
                  <a:lnTo>
                    <a:pt x="275385" y="133291"/>
                  </a:lnTo>
                  <a:lnTo>
                    <a:pt x="277359" y="136399"/>
                  </a:lnTo>
                  <a:lnTo>
                    <a:pt x="261422" y="136399"/>
                  </a:lnTo>
                  <a:lnTo>
                    <a:pt x="257524" y="133291"/>
                  </a:lnTo>
                  <a:lnTo>
                    <a:pt x="255551" y="128702"/>
                  </a:lnTo>
                  <a:lnTo>
                    <a:pt x="243709" y="117995"/>
                  </a:lnTo>
                  <a:lnTo>
                    <a:pt x="239762" y="114936"/>
                  </a:lnTo>
                  <a:lnTo>
                    <a:pt x="239762" y="85924"/>
                  </a:lnTo>
                  <a:lnTo>
                    <a:pt x="245683" y="81335"/>
                  </a:lnTo>
                  <a:lnTo>
                    <a:pt x="251554" y="78177"/>
                  </a:lnTo>
                  <a:lnTo>
                    <a:pt x="247656" y="75118"/>
                  </a:lnTo>
                  <a:lnTo>
                    <a:pt x="251554" y="75118"/>
                  </a:lnTo>
                  <a:lnTo>
                    <a:pt x="253528" y="67471"/>
                  </a:lnTo>
                  <a:lnTo>
                    <a:pt x="253528" y="53705"/>
                  </a:lnTo>
                  <a:lnTo>
                    <a:pt x="255551" y="52175"/>
                  </a:lnTo>
                  <a:lnTo>
                    <a:pt x="255551" y="49116"/>
                  </a:lnTo>
                  <a:lnTo>
                    <a:pt x="251554" y="46057"/>
                  </a:lnTo>
                  <a:lnTo>
                    <a:pt x="245683" y="42998"/>
                  </a:lnTo>
                  <a:lnTo>
                    <a:pt x="243709" y="36880"/>
                  </a:lnTo>
                  <a:lnTo>
                    <a:pt x="259448" y="12209"/>
                  </a:lnTo>
                  <a:lnTo>
                    <a:pt x="320482" y="-27"/>
                  </a:lnTo>
                  <a:lnTo>
                    <a:pt x="336272" y="7621"/>
                  </a:lnTo>
                  <a:lnTo>
                    <a:pt x="340169" y="7621"/>
                  </a:lnTo>
                  <a:lnTo>
                    <a:pt x="346041" y="9150"/>
                  </a:lnTo>
                  <a:lnTo>
                    <a:pt x="350037" y="9150"/>
                  </a:lnTo>
                  <a:lnTo>
                    <a:pt x="355909" y="12209"/>
                  </a:lnTo>
                  <a:lnTo>
                    <a:pt x="355909" y="14035"/>
                  </a:lnTo>
                  <a:lnTo>
                    <a:pt x="361829" y="17094"/>
                  </a:lnTo>
                  <a:lnTo>
                    <a:pt x="367751" y="17094"/>
                  </a:lnTo>
                  <a:lnTo>
                    <a:pt x="383490" y="23212"/>
                  </a:lnTo>
                  <a:lnTo>
                    <a:pt x="389411" y="23212"/>
                  </a:lnTo>
                  <a:lnTo>
                    <a:pt x="391384" y="26271"/>
                  </a:lnTo>
                  <a:lnTo>
                    <a:pt x="395282" y="27801"/>
                  </a:lnTo>
                  <a:lnTo>
                    <a:pt x="397256" y="32389"/>
                  </a:lnTo>
                  <a:lnTo>
                    <a:pt x="405150" y="36978"/>
                  </a:lnTo>
                  <a:lnTo>
                    <a:pt x="407124" y="36978"/>
                  </a:lnTo>
                  <a:lnTo>
                    <a:pt x="409049" y="41567"/>
                  </a:lnTo>
                  <a:lnTo>
                    <a:pt x="411022" y="43097"/>
                  </a:lnTo>
                  <a:lnTo>
                    <a:pt x="412995" y="49215"/>
                  </a:lnTo>
                  <a:lnTo>
                    <a:pt x="416943" y="52274"/>
                  </a:lnTo>
                  <a:lnTo>
                    <a:pt x="420890" y="52274"/>
                  </a:lnTo>
                  <a:lnTo>
                    <a:pt x="420890" y="55333"/>
                  </a:lnTo>
                  <a:lnTo>
                    <a:pt x="416943" y="62981"/>
                  </a:lnTo>
                  <a:lnTo>
                    <a:pt x="418917" y="66040"/>
                  </a:lnTo>
                  <a:lnTo>
                    <a:pt x="426762" y="69099"/>
                  </a:lnTo>
                  <a:lnTo>
                    <a:pt x="428785" y="75217"/>
                  </a:lnTo>
                  <a:lnTo>
                    <a:pt x="428785" y="81335"/>
                  </a:lnTo>
                  <a:lnTo>
                    <a:pt x="426762" y="82865"/>
                  </a:lnTo>
                  <a:lnTo>
                    <a:pt x="426762" y="84394"/>
                  </a:lnTo>
                  <a:lnTo>
                    <a:pt x="416893" y="92042"/>
                  </a:lnTo>
                  <a:lnTo>
                    <a:pt x="416893" y="96581"/>
                  </a:lnTo>
                  <a:lnTo>
                    <a:pt x="418867" y="102699"/>
                  </a:lnTo>
                  <a:lnTo>
                    <a:pt x="418867" y="107288"/>
                  </a:lnTo>
                  <a:lnTo>
                    <a:pt x="420841" y="110347"/>
                  </a:lnTo>
                  <a:lnTo>
                    <a:pt x="416893" y="114936"/>
                  </a:lnTo>
                  <a:lnTo>
                    <a:pt x="420841" y="119525"/>
                  </a:lnTo>
                  <a:lnTo>
                    <a:pt x="418867" y="122584"/>
                  </a:lnTo>
                  <a:lnTo>
                    <a:pt x="416893" y="124113"/>
                  </a:lnTo>
                  <a:lnTo>
                    <a:pt x="418867" y="128702"/>
                  </a:lnTo>
                  <a:lnTo>
                    <a:pt x="418867" y="131761"/>
                  </a:lnTo>
                  <a:lnTo>
                    <a:pt x="424738" y="133291"/>
                  </a:lnTo>
                  <a:lnTo>
                    <a:pt x="424738" y="136399"/>
                  </a:lnTo>
                  <a:lnTo>
                    <a:pt x="420841" y="136399"/>
                  </a:lnTo>
                  <a:lnTo>
                    <a:pt x="418867" y="139458"/>
                  </a:lnTo>
                  <a:lnTo>
                    <a:pt x="412946" y="140988"/>
                  </a:lnTo>
                  <a:lnTo>
                    <a:pt x="407075" y="147106"/>
                  </a:lnTo>
                  <a:lnTo>
                    <a:pt x="405101" y="148636"/>
                  </a:lnTo>
                  <a:lnTo>
                    <a:pt x="405101" y="163882"/>
                  </a:lnTo>
                  <a:lnTo>
                    <a:pt x="399180" y="170000"/>
                  </a:lnTo>
                  <a:lnTo>
                    <a:pt x="395233" y="171529"/>
                  </a:lnTo>
                  <a:lnTo>
                    <a:pt x="397207" y="173059"/>
                  </a:lnTo>
                  <a:lnTo>
                    <a:pt x="401154" y="180707"/>
                  </a:lnTo>
                  <a:lnTo>
                    <a:pt x="405101" y="185295"/>
                  </a:lnTo>
                  <a:lnTo>
                    <a:pt x="405101" y="188355"/>
                  </a:lnTo>
                  <a:lnTo>
                    <a:pt x="405101" y="188355"/>
                  </a:lnTo>
                  <a:lnTo>
                    <a:pt x="395233" y="191414"/>
                  </a:lnTo>
                  <a:lnTo>
                    <a:pt x="373573" y="199061"/>
                  </a:lnTo>
                  <a:lnTo>
                    <a:pt x="367701" y="199061"/>
                  </a:lnTo>
                  <a:lnTo>
                    <a:pt x="330252" y="212827"/>
                  </a:lnTo>
                  <a:lnTo>
                    <a:pt x="322407" y="212827"/>
                  </a:lnTo>
                  <a:lnTo>
                    <a:pt x="308640" y="218946"/>
                  </a:lnTo>
                  <a:lnTo>
                    <a:pt x="304694" y="223534"/>
                  </a:lnTo>
                  <a:lnTo>
                    <a:pt x="306618" y="234241"/>
                  </a:lnTo>
                  <a:lnTo>
                    <a:pt x="308640" y="237300"/>
                  </a:lnTo>
                  <a:lnTo>
                    <a:pt x="306618" y="237300"/>
                  </a:lnTo>
                  <a:lnTo>
                    <a:pt x="302720" y="238830"/>
                  </a:lnTo>
                  <a:lnTo>
                    <a:pt x="296849" y="237300"/>
                  </a:lnTo>
                  <a:lnTo>
                    <a:pt x="292852" y="237300"/>
                  </a:lnTo>
                  <a:lnTo>
                    <a:pt x="290878" y="235771"/>
                  </a:lnTo>
                  <a:lnTo>
                    <a:pt x="281010" y="235771"/>
                  </a:lnTo>
                  <a:lnTo>
                    <a:pt x="273165" y="237300"/>
                  </a:lnTo>
                  <a:lnTo>
                    <a:pt x="269218" y="240359"/>
                  </a:lnTo>
                  <a:lnTo>
                    <a:pt x="263297" y="241889"/>
                  </a:lnTo>
                  <a:lnTo>
                    <a:pt x="253429" y="244948"/>
                  </a:lnTo>
                  <a:lnTo>
                    <a:pt x="251455" y="249536"/>
                  </a:lnTo>
                  <a:lnTo>
                    <a:pt x="251455" y="252595"/>
                  </a:lnTo>
                  <a:lnTo>
                    <a:pt x="247557" y="255655"/>
                  </a:lnTo>
                  <a:lnTo>
                    <a:pt x="251455" y="258714"/>
                  </a:lnTo>
                  <a:lnTo>
                    <a:pt x="247557" y="261773"/>
                  </a:lnTo>
                  <a:lnTo>
                    <a:pt x="245584" y="263303"/>
                  </a:lnTo>
                  <a:lnTo>
                    <a:pt x="233792" y="267891"/>
                  </a:lnTo>
                  <a:lnTo>
                    <a:pt x="212082" y="278598"/>
                  </a:lnTo>
                  <a:lnTo>
                    <a:pt x="196342" y="296903"/>
                  </a:lnTo>
                  <a:lnTo>
                    <a:pt x="186474" y="310669"/>
                  </a:lnTo>
                  <a:lnTo>
                    <a:pt x="174682" y="313778"/>
                  </a:lnTo>
                  <a:lnTo>
                    <a:pt x="168810" y="310669"/>
                  </a:lnTo>
                  <a:lnTo>
                    <a:pt x="162889" y="307610"/>
                  </a:lnTo>
                  <a:lnTo>
                    <a:pt x="158942" y="307610"/>
                  </a:lnTo>
                  <a:lnTo>
                    <a:pt x="154995" y="306081"/>
                  </a:lnTo>
                  <a:lnTo>
                    <a:pt x="145127" y="306081"/>
                  </a:lnTo>
                  <a:lnTo>
                    <a:pt x="139206" y="310669"/>
                  </a:lnTo>
                  <a:lnTo>
                    <a:pt x="135308" y="310669"/>
                  </a:lnTo>
                  <a:lnTo>
                    <a:pt x="133285" y="307610"/>
                  </a:lnTo>
                  <a:lnTo>
                    <a:pt x="127413" y="304551"/>
                  </a:lnTo>
                  <a:lnTo>
                    <a:pt x="117545" y="304551"/>
                  </a:lnTo>
                  <a:lnTo>
                    <a:pt x="115572" y="303021"/>
                  </a:lnTo>
                  <a:lnTo>
                    <a:pt x="107727" y="298433"/>
                  </a:lnTo>
                  <a:lnTo>
                    <a:pt x="105753" y="298433"/>
                  </a:lnTo>
                  <a:lnTo>
                    <a:pt x="103780" y="296903"/>
                  </a:lnTo>
                  <a:lnTo>
                    <a:pt x="101806" y="296903"/>
                  </a:lnTo>
                  <a:lnTo>
                    <a:pt x="97908" y="295374"/>
                  </a:lnTo>
                  <a:lnTo>
                    <a:pt x="93912" y="295374"/>
                  </a:lnTo>
                  <a:lnTo>
                    <a:pt x="88040" y="296903"/>
                  </a:lnTo>
                  <a:lnTo>
                    <a:pt x="84093" y="295374"/>
                  </a:lnTo>
                  <a:lnTo>
                    <a:pt x="48666" y="303021"/>
                  </a:lnTo>
                  <a:lnTo>
                    <a:pt x="46693" y="298433"/>
                  </a:lnTo>
                  <a:lnTo>
                    <a:pt x="40772" y="295374"/>
                  </a:lnTo>
                  <a:lnTo>
                    <a:pt x="36825" y="292315"/>
                  </a:lnTo>
                  <a:lnTo>
                    <a:pt x="34900" y="289256"/>
                  </a:lnTo>
                  <a:lnTo>
                    <a:pt x="28980" y="284667"/>
                  </a:lnTo>
                  <a:lnTo>
                    <a:pt x="25032" y="281657"/>
                  </a:lnTo>
                  <a:lnTo>
                    <a:pt x="19654" y="275539"/>
                  </a:lnTo>
                  <a:lnTo>
                    <a:pt x="13684" y="272480"/>
                  </a:lnTo>
                  <a:lnTo>
                    <a:pt x="11760" y="269421"/>
                  </a:lnTo>
                  <a:lnTo>
                    <a:pt x="5839" y="266362"/>
                  </a:lnTo>
                  <a:lnTo>
                    <a:pt x="-82" y="261773"/>
                  </a:lnTo>
                  <a:lnTo>
                    <a:pt x="-82" y="255803"/>
                  </a:lnTo>
                  <a:lnTo>
                    <a:pt x="1892" y="154902"/>
                  </a:lnTo>
                  <a:lnTo>
                    <a:pt x="80836" y="154902"/>
                  </a:lnTo>
                  <a:lnTo>
                    <a:pt x="76889" y="148783"/>
                  </a:lnTo>
                  <a:lnTo>
                    <a:pt x="80836" y="141136"/>
                  </a:lnTo>
                  <a:lnTo>
                    <a:pt x="82810" y="139606"/>
                  </a:lnTo>
                  <a:lnTo>
                    <a:pt x="82810" y="133439"/>
                  </a:lnTo>
                  <a:lnTo>
                    <a:pt x="76889" y="128850"/>
                  </a:lnTo>
                  <a:lnTo>
                    <a:pt x="76889" y="110495"/>
                  </a:lnTo>
                  <a:lnTo>
                    <a:pt x="74965" y="96729"/>
                  </a:lnTo>
                  <a:lnTo>
                    <a:pt x="76889" y="93720"/>
                  </a:lnTo>
                  <a:lnTo>
                    <a:pt x="76889" y="9066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Graphic 2">
              <a:extLst>
                <a:ext uri="{FF2B5EF4-FFF2-40B4-BE49-F238E27FC236}">
                  <a16:creationId xmlns:a16="http://schemas.microsoft.com/office/drawing/2014/main" id="{8C0671C0-0C5D-4ABA-80C8-805F898CE638}"/>
                </a:ext>
              </a:extLst>
            </p:cNvPr>
            <p:cNvSpPr/>
            <p:nvPr/>
          </p:nvSpPr>
          <p:spPr>
            <a:xfrm>
              <a:off x="5783994" y="4811005"/>
              <a:ext cx="413745" cy="349363"/>
            </a:xfrm>
            <a:custGeom>
              <a:avLst/>
              <a:gdLst>
                <a:gd name="connsiteX0" fmla="*/ 421975 w 455411"/>
                <a:gd name="connsiteY0" fmla="*/ 373677 h 384558"/>
                <a:gd name="connsiteX1" fmla="*/ 420001 w 455411"/>
                <a:gd name="connsiteY1" fmla="*/ 369088 h 384558"/>
                <a:gd name="connsiteX2" fmla="*/ 414130 w 455411"/>
                <a:gd name="connsiteY2" fmla="*/ 366078 h 384558"/>
                <a:gd name="connsiteX3" fmla="*/ 410232 w 455411"/>
                <a:gd name="connsiteY3" fmla="*/ 363019 h 384558"/>
                <a:gd name="connsiteX4" fmla="*/ 408258 w 455411"/>
                <a:gd name="connsiteY4" fmla="*/ 359960 h 384558"/>
                <a:gd name="connsiteX5" fmla="*/ 402338 w 455411"/>
                <a:gd name="connsiteY5" fmla="*/ 355371 h 384558"/>
                <a:gd name="connsiteX6" fmla="*/ 398440 w 455411"/>
                <a:gd name="connsiteY6" fmla="*/ 352362 h 384558"/>
                <a:gd name="connsiteX7" fmla="*/ 392519 w 455411"/>
                <a:gd name="connsiteY7" fmla="*/ 346244 h 384558"/>
                <a:gd name="connsiteX8" fmla="*/ 386647 w 455411"/>
                <a:gd name="connsiteY8" fmla="*/ 343135 h 384558"/>
                <a:gd name="connsiteX9" fmla="*/ 384723 w 455411"/>
                <a:gd name="connsiteY9" fmla="*/ 340125 h 384558"/>
                <a:gd name="connsiteX10" fmla="*/ 378802 w 455411"/>
                <a:gd name="connsiteY10" fmla="*/ 337066 h 384558"/>
                <a:gd name="connsiteX11" fmla="*/ 372931 w 455411"/>
                <a:gd name="connsiteY11" fmla="*/ 332477 h 384558"/>
                <a:gd name="connsiteX12" fmla="*/ 372931 w 455411"/>
                <a:gd name="connsiteY12" fmla="*/ 326409 h 384558"/>
                <a:gd name="connsiteX13" fmla="*/ 374905 w 455411"/>
                <a:gd name="connsiteY13" fmla="*/ 225705 h 384558"/>
                <a:gd name="connsiteX14" fmla="*/ 453355 w 455411"/>
                <a:gd name="connsiteY14" fmla="*/ 225705 h 384558"/>
                <a:gd name="connsiteX15" fmla="*/ 449458 w 455411"/>
                <a:gd name="connsiteY15" fmla="*/ 219636 h 384558"/>
                <a:gd name="connsiteX16" fmla="*/ 453355 w 455411"/>
                <a:gd name="connsiteY16" fmla="*/ 211988 h 384558"/>
                <a:gd name="connsiteX17" fmla="*/ 455329 w 455411"/>
                <a:gd name="connsiteY17" fmla="*/ 210459 h 384558"/>
                <a:gd name="connsiteX18" fmla="*/ 455329 w 455411"/>
                <a:gd name="connsiteY18" fmla="*/ 204390 h 384558"/>
                <a:gd name="connsiteX19" fmla="*/ 449458 w 455411"/>
                <a:gd name="connsiteY19" fmla="*/ 199802 h 384558"/>
                <a:gd name="connsiteX20" fmla="*/ 449458 w 455411"/>
                <a:gd name="connsiteY20" fmla="*/ 181496 h 384558"/>
                <a:gd name="connsiteX21" fmla="*/ 447534 w 455411"/>
                <a:gd name="connsiteY21" fmla="*/ 167779 h 384558"/>
                <a:gd name="connsiteX22" fmla="*/ 449458 w 455411"/>
                <a:gd name="connsiteY22" fmla="*/ 164720 h 384558"/>
                <a:gd name="connsiteX23" fmla="*/ 449458 w 455411"/>
                <a:gd name="connsiteY23" fmla="*/ 161661 h 384558"/>
                <a:gd name="connsiteX24" fmla="*/ 443537 w 455411"/>
                <a:gd name="connsiteY24" fmla="*/ 161661 h 384558"/>
                <a:gd name="connsiteX25" fmla="*/ 437715 w 455411"/>
                <a:gd name="connsiteY25" fmla="*/ 163191 h 384558"/>
                <a:gd name="connsiteX26" fmla="*/ 431794 w 455411"/>
                <a:gd name="connsiteY26" fmla="*/ 166250 h 384558"/>
                <a:gd name="connsiteX27" fmla="*/ 429820 w 455411"/>
                <a:gd name="connsiteY27" fmla="*/ 167779 h 384558"/>
                <a:gd name="connsiteX28" fmla="*/ 412156 w 455411"/>
                <a:gd name="connsiteY28" fmla="*/ 167779 h 384558"/>
                <a:gd name="connsiteX29" fmla="*/ 408258 w 455411"/>
                <a:gd name="connsiteY29" fmla="*/ 166250 h 384558"/>
                <a:gd name="connsiteX30" fmla="*/ 402338 w 455411"/>
                <a:gd name="connsiteY30" fmla="*/ 163191 h 384558"/>
                <a:gd name="connsiteX31" fmla="*/ 400413 w 455411"/>
                <a:gd name="connsiteY31" fmla="*/ 163191 h 384558"/>
                <a:gd name="connsiteX32" fmla="*/ 398440 w 455411"/>
                <a:gd name="connsiteY32" fmla="*/ 164720 h 384558"/>
                <a:gd name="connsiteX33" fmla="*/ 394493 w 455411"/>
                <a:gd name="connsiteY33" fmla="*/ 164720 h 384558"/>
                <a:gd name="connsiteX34" fmla="*/ 392519 w 455411"/>
                <a:gd name="connsiteY34" fmla="*/ 167779 h 384558"/>
                <a:gd name="connsiteX35" fmla="*/ 388621 w 455411"/>
                <a:gd name="connsiteY35" fmla="*/ 167779 h 384558"/>
                <a:gd name="connsiteX36" fmla="*/ 388621 w 455411"/>
                <a:gd name="connsiteY36" fmla="*/ 160132 h 384558"/>
                <a:gd name="connsiteX37" fmla="*/ 390595 w 455411"/>
                <a:gd name="connsiteY37" fmla="*/ 158602 h 384558"/>
                <a:gd name="connsiteX38" fmla="*/ 390595 w 455411"/>
                <a:gd name="connsiteY38" fmla="*/ 157073 h 384558"/>
                <a:gd name="connsiteX39" fmla="*/ 392519 w 455411"/>
                <a:gd name="connsiteY39" fmla="*/ 152484 h 384558"/>
                <a:gd name="connsiteX40" fmla="*/ 388621 w 455411"/>
                <a:gd name="connsiteY40" fmla="*/ 149474 h 384558"/>
                <a:gd name="connsiteX41" fmla="*/ 386647 w 455411"/>
                <a:gd name="connsiteY41" fmla="*/ 141827 h 384558"/>
                <a:gd name="connsiteX42" fmla="*/ 388621 w 455411"/>
                <a:gd name="connsiteY42" fmla="*/ 140297 h 384558"/>
                <a:gd name="connsiteX43" fmla="*/ 388621 w 455411"/>
                <a:gd name="connsiteY43" fmla="*/ 137287 h 384558"/>
                <a:gd name="connsiteX44" fmla="*/ 384723 w 455411"/>
                <a:gd name="connsiteY44" fmla="*/ 132698 h 384558"/>
                <a:gd name="connsiteX45" fmla="*/ 384723 w 455411"/>
                <a:gd name="connsiteY45" fmla="*/ 121992 h 384558"/>
                <a:gd name="connsiteX46" fmla="*/ 380776 w 455411"/>
                <a:gd name="connsiteY46" fmla="*/ 121992 h 384558"/>
                <a:gd name="connsiteX47" fmla="*/ 378802 w 455411"/>
                <a:gd name="connsiteY47" fmla="*/ 117403 h 384558"/>
                <a:gd name="connsiteX48" fmla="*/ 376878 w 455411"/>
                <a:gd name="connsiteY48" fmla="*/ 115874 h 384558"/>
                <a:gd name="connsiteX49" fmla="*/ 376878 w 455411"/>
                <a:gd name="connsiteY49" fmla="*/ 112864 h 384558"/>
                <a:gd name="connsiteX50" fmla="*/ 372931 w 455411"/>
                <a:gd name="connsiteY50" fmla="*/ 109804 h 384558"/>
                <a:gd name="connsiteX51" fmla="*/ 372931 w 455411"/>
                <a:gd name="connsiteY51" fmla="*/ 106745 h 384558"/>
                <a:gd name="connsiteX52" fmla="*/ 370957 w 455411"/>
                <a:gd name="connsiteY52" fmla="*/ 103686 h 384558"/>
                <a:gd name="connsiteX53" fmla="*/ 372931 w 455411"/>
                <a:gd name="connsiteY53" fmla="*/ 97618 h 384558"/>
                <a:gd name="connsiteX54" fmla="*/ 372931 w 455411"/>
                <a:gd name="connsiteY54" fmla="*/ 85381 h 384558"/>
                <a:gd name="connsiteX55" fmla="*/ 370957 w 455411"/>
                <a:gd name="connsiteY55" fmla="*/ 82322 h 384558"/>
                <a:gd name="connsiteX56" fmla="*/ 372931 w 455411"/>
                <a:gd name="connsiteY56" fmla="*/ 79263 h 384558"/>
                <a:gd name="connsiteX57" fmla="*/ 372931 w 455411"/>
                <a:gd name="connsiteY57" fmla="*/ 73194 h 384558"/>
                <a:gd name="connsiteX58" fmla="*/ 370957 w 455411"/>
                <a:gd name="connsiteY58" fmla="*/ 68605 h 384558"/>
                <a:gd name="connsiteX59" fmla="*/ 370957 w 455411"/>
                <a:gd name="connsiteY59" fmla="*/ 62537 h 384558"/>
                <a:gd name="connsiteX60" fmla="*/ 374905 w 455411"/>
                <a:gd name="connsiteY60" fmla="*/ 57948 h 384558"/>
                <a:gd name="connsiteX61" fmla="*/ 374905 w 455411"/>
                <a:gd name="connsiteY61" fmla="*/ 45711 h 384558"/>
                <a:gd name="connsiteX62" fmla="*/ 331683 w 455411"/>
                <a:gd name="connsiteY62" fmla="*/ 42652 h 384558"/>
                <a:gd name="connsiteX63" fmla="*/ 331683 w 455411"/>
                <a:gd name="connsiteY63" fmla="*/ 39643 h 384558"/>
                <a:gd name="connsiteX64" fmla="*/ 333705 w 455411"/>
                <a:gd name="connsiteY64" fmla="*/ 35054 h 384558"/>
                <a:gd name="connsiteX65" fmla="*/ 333705 w 455411"/>
                <a:gd name="connsiteY65" fmla="*/ 31995 h 384558"/>
                <a:gd name="connsiteX66" fmla="*/ 323837 w 455411"/>
                <a:gd name="connsiteY66" fmla="*/ 30465 h 384558"/>
                <a:gd name="connsiteX67" fmla="*/ 323837 w 455411"/>
                <a:gd name="connsiteY67" fmla="*/ 33524 h 384558"/>
                <a:gd name="connsiteX68" fmla="*/ 288460 w 455411"/>
                <a:gd name="connsiteY68" fmla="*/ 35054 h 384558"/>
                <a:gd name="connsiteX69" fmla="*/ 286536 w 455411"/>
                <a:gd name="connsiteY69" fmla="*/ 44182 h 384558"/>
                <a:gd name="connsiteX70" fmla="*/ 284562 w 455411"/>
                <a:gd name="connsiteY70" fmla="*/ 48770 h 384558"/>
                <a:gd name="connsiteX71" fmla="*/ 282589 w 455411"/>
                <a:gd name="connsiteY71" fmla="*/ 50300 h 384558"/>
                <a:gd name="connsiteX72" fmla="*/ 282589 w 455411"/>
                <a:gd name="connsiteY72" fmla="*/ 64066 h 384558"/>
                <a:gd name="connsiteX73" fmla="*/ 255106 w 455411"/>
                <a:gd name="connsiteY73" fmla="*/ 67076 h 384558"/>
                <a:gd name="connsiteX74" fmla="*/ 251208 w 455411"/>
                <a:gd name="connsiteY74" fmla="*/ 68605 h 384558"/>
                <a:gd name="connsiteX75" fmla="*/ 237442 w 455411"/>
                <a:gd name="connsiteY75" fmla="*/ 68605 h 384558"/>
                <a:gd name="connsiteX76" fmla="*/ 233545 w 455411"/>
                <a:gd name="connsiteY76" fmla="*/ 67076 h 384558"/>
                <a:gd name="connsiteX77" fmla="*/ 227673 w 455411"/>
                <a:gd name="connsiteY77" fmla="*/ 68605 h 384558"/>
                <a:gd name="connsiteX78" fmla="*/ 217805 w 455411"/>
                <a:gd name="connsiteY78" fmla="*/ 68605 h 384558"/>
                <a:gd name="connsiteX79" fmla="*/ 213858 w 455411"/>
                <a:gd name="connsiteY79" fmla="*/ 67076 h 384558"/>
                <a:gd name="connsiteX80" fmla="*/ 209960 w 455411"/>
                <a:gd name="connsiteY80" fmla="*/ 54889 h 384558"/>
                <a:gd name="connsiteX81" fmla="*/ 206012 w 455411"/>
                <a:gd name="connsiteY81" fmla="*/ 50300 h 384558"/>
                <a:gd name="connsiteX82" fmla="*/ 204039 w 455411"/>
                <a:gd name="connsiteY82" fmla="*/ 45711 h 384558"/>
                <a:gd name="connsiteX83" fmla="*/ 200141 w 455411"/>
                <a:gd name="connsiteY83" fmla="*/ 44182 h 384558"/>
                <a:gd name="connsiteX84" fmla="*/ 200141 w 455411"/>
                <a:gd name="connsiteY84" fmla="*/ 41172 h 384558"/>
                <a:gd name="connsiteX85" fmla="*/ 198167 w 455411"/>
                <a:gd name="connsiteY85" fmla="*/ 36584 h 384558"/>
                <a:gd name="connsiteX86" fmla="*/ 196194 w 455411"/>
                <a:gd name="connsiteY86" fmla="*/ 28985 h 384558"/>
                <a:gd name="connsiteX87" fmla="*/ 192247 w 455411"/>
                <a:gd name="connsiteY87" fmla="*/ 24396 h 384558"/>
                <a:gd name="connsiteX88" fmla="*/ 192247 w 455411"/>
                <a:gd name="connsiteY88" fmla="*/ 19808 h 384558"/>
                <a:gd name="connsiteX89" fmla="*/ 194220 w 455411"/>
                <a:gd name="connsiteY89" fmla="*/ 16749 h 384558"/>
                <a:gd name="connsiteX90" fmla="*/ 194220 w 455411"/>
                <a:gd name="connsiteY90" fmla="*/ 13690 h 384558"/>
                <a:gd name="connsiteX91" fmla="*/ 192247 w 455411"/>
                <a:gd name="connsiteY91" fmla="*/ 9101 h 384558"/>
                <a:gd name="connsiteX92" fmla="*/ 190322 w 455411"/>
                <a:gd name="connsiteY92" fmla="*/ 6042 h 384558"/>
                <a:gd name="connsiteX93" fmla="*/ 190322 w 455411"/>
                <a:gd name="connsiteY93" fmla="*/ -27 h 384558"/>
                <a:gd name="connsiteX94" fmla="*/ 127512 w 455411"/>
                <a:gd name="connsiteY94" fmla="*/ -27 h 384558"/>
                <a:gd name="connsiteX95" fmla="*/ 115769 w 455411"/>
                <a:gd name="connsiteY95" fmla="*/ 1503 h 384558"/>
                <a:gd name="connsiteX96" fmla="*/ 103977 w 455411"/>
                <a:gd name="connsiteY96" fmla="*/ -27 h 384558"/>
                <a:gd name="connsiteX97" fmla="*/ 60804 w 455411"/>
                <a:gd name="connsiteY97" fmla="*/ -27 h 384558"/>
                <a:gd name="connsiteX98" fmla="*/ 56857 w 455411"/>
                <a:gd name="connsiteY98" fmla="*/ 1503 h 384558"/>
                <a:gd name="connsiteX99" fmla="*/ 50985 w 455411"/>
                <a:gd name="connsiteY99" fmla="*/ 1503 h 384558"/>
                <a:gd name="connsiteX100" fmla="*/ 47038 w 455411"/>
                <a:gd name="connsiteY100" fmla="*/ 3032 h 384558"/>
                <a:gd name="connsiteX101" fmla="*/ 45064 w 455411"/>
                <a:gd name="connsiteY101" fmla="*/ 3032 h 384558"/>
                <a:gd name="connsiteX102" fmla="*/ 45064 w 455411"/>
                <a:gd name="connsiteY102" fmla="*/ 4562 h 384558"/>
                <a:gd name="connsiteX103" fmla="*/ 43140 w 455411"/>
                <a:gd name="connsiteY103" fmla="*/ 4562 h 384558"/>
                <a:gd name="connsiteX104" fmla="*/ 31348 w 455411"/>
                <a:gd name="connsiteY104" fmla="*/ 9101 h 384558"/>
                <a:gd name="connsiteX105" fmla="*/ 35295 w 455411"/>
                <a:gd name="connsiteY105" fmla="*/ 15219 h 384558"/>
                <a:gd name="connsiteX106" fmla="*/ 35295 w 455411"/>
                <a:gd name="connsiteY106" fmla="*/ 18278 h 384558"/>
                <a:gd name="connsiteX107" fmla="*/ 55031 w 455411"/>
                <a:gd name="connsiteY107" fmla="*/ 36584 h 384558"/>
                <a:gd name="connsiteX108" fmla="*/ 57005 w 455411"/>
                <a:gd name="connsiteY108" fmla="*/ 61254 h 384558"/>
                <a:gd name="connsiteX109" fmla="*/ 66873 w 455411"/>
                <a:gd name="connsiteY109" fmla="*/ 74970 h 384558"/>
                <a:gd name="connsiteX110" fmla="*/ 64899 w 455411"/>
                <a:gd name="connsiteY110" fmla="*/ 87157 h 384558"/>
                <a:gd name="connsiteX111" fmla="*/ 55031 w 455411"/>
                <a:gd name="connsiteY111" fmla="*/ 100923 h 384558"/>
                <a:gd name="connsiteX112" fmla="*/ 60952 w 455411"/>
                <a:gd name="connsiteY112" fmla="*/ 103933 h 384558"/>
                <a:gd name="connsiteX113" fmla="*/ 60952 w 455411"/>
                <a:gd name="connsiteY113" fmla="*/ 113110 h 384558"/>
                <a:gd name="connsiteX114" fmla="*/ 64850 w 455411"/>
                <a:gd name="connsiteY114" fmla="*/ 122238 h 384558"/>
                <a:gd name="connsiteX115" fmla="*/ 64850 w 455411"/>
                <a:gd name="connsiteY115" fmla="*/ 129886 h 384558"/>
                <a:gd name="connsiteX116" fmla="*/ 80540 w 455411"/>
                <a:gd name="connsiteY116" fmla="*/ 149622 h 384558"/>
                <a:gd name="connsiteX117" fmla="*/ 80540 w 455411"/>
                <a:gd name="connsiteY117" fmla="*/ 154162 h 384558"/>
                <a:gd name="connsiteX118" fmla="*/ 84487 w 455411"/>
                <a:gd name="connsiteY118" fmla="*/ 158750 h 384558"/>
                <a:gd name="connsiteX119" fmla="*/ 84487 w 455411"/>
                <a:gd name="connsiteY119" fmla="*/ 186233 h 384558"/>
                <a:gd name="connsiteX120" fmla="*/ 68797 w 455411"/>
                <a:gd name="connsiteY120" fmla="*/ 209127 h 384558"/>
                <a:gd name="connsiteX121" fmla="*/ 64850 w 455411"/>
                <a:gd name="connsiteY121" fmla="*/ 209127 h 384558"/>
                <a:gd name="connsiteX122" fmla="*/ 49160 w 455411"/>
                <a:gd name="connsiteY122" fmla="*/ 219784 h 384558"/>
                <a:gd name="connsiteX123" fmla="*/ 49160 w 455411"/>
                <a:gd name="connsiteY123" fmla="*/ 227383 h 384558"/>
                <a:gd name="connsiteX124" fmla="*/ 29424 w 455411"/>
                <a:gd name="connsiteY124" fmla="*/ 241148 h 384558"/>
                <a:gd name="connsiteX125" fmla="*/ 27450 w 455411"/>
                <a:gd name="connsiteY125" fmla="*/ 253336 h 384558"/>
                <a:gd name="connsiteX126" fmla="*/ 25526 w 455411"/>
                <a:gd name="connsiteY126" fmla="*/ 254865 h 384558"/>
                <a:gd name="connsiteX127" fmla="*/ 25526 w 455411"/>
                <a:gd name="connsiteY127" fmla="*/ 280818 h 384558"/>
                <a:gd name="connsiteX128" fmla="*/ 15657 w 455411"/>
                <a:gd name="connsiteY128" fmla="*/ 289946 h 384558"/>
                <a:gd name="connsiteX129" fmla="*/ 13684 w 455411"/>
                <a:gd name="connsiteY129" fmla="*/ 300604 h 384558"/>
                <a:gd name="connsiteX130" fmla="*/ 3816 w 455411"/>
                <a:gd name="connsiteY130" fmla="*/ 311311 h 384558"/>
                <a:gd name="connsiteX131" fmla="*/ 3816 w 455411"/>
                <a:gd name="connsiteY131" fmla="*/ 321968 h 384558"/>
                <a:gd name="connsiteX132" fmla="*/ 1891 w 455411"/>
                <a:gd name="connsiteY132" fmla="*/ 334155 h 384558"/>
                <a:gd name="connsiteX133" fmla="*/ 1891 w 455411"/>
                <a:gd name="connsiteY133" fmla="*/ 347921 h 384558"/>
                <a:gd name="connsiteX134" fmla="*/ -82 w 455411"/>
                <a:gd name="connsiteY134" fmla="*/ 358579 h 384558"/>
                <a:gd name="connsiteX135" fmla="*/ -82 w 455411"/>
                <a:gd name="connsiteY135" fmla="*/ 361638 h 384558"/>
                <a:gd name="connsiteX136" fmla="*/ -82 w 455411"/>
                <a:gd name="connsiteY136" fmla="*/ 361638 h 384558"/>
                <a:gd name="connsiteX137" fmla="*/ 7714 w 455411"/>
                <a:gd name="connsiteY137" fmla="*/ 363167 h 384558"/>
                <a:gd name="connsiteX138" fmla="*/ 13634 w 455411"/>
                <a:gd name="connsiteY138" fmla="*/ 363167 h 384558"/>
                <a:gd name="connsiteX139" fmla="*/ 13634 w 455411"/>
                <a:gd name="connsiteY139" fmla="*/ 358579 h 384558"/>
                <a:gd name="connsiteX140" fmla="*/ 25427 w 455411"/>
                <a:gd name="connsiteY140" fmla="*/ 358579 h 384558"/>
                <a:gd name="connsiteX141" fmla="*/ 29325 w 455411"/>
                <a:gd name="connsiteY141" fmla="*/ 361638 h 384558"/>
                <a:gd name="connsiteX142" fmla="*/ 31299 w 455411"/>
                <a:gd name="connsiteY142" fmla="*/ 360108 h 384558"/>
                <a:gd name="connsiteX143" fmla="*/ 33272 w 455411"/>
                <a:gd name="connsiteY143" fmla="*/ 354039 h 384558"/>
                <a:gd name="connsiteX144" fmla="*/ 45015 w 455411"/>
                <a:gd name="connsiteY144" fmla="*/ 347921 h 384558"/>
                <a:gd name="connsiteX145" fmla="*/ 48962 w 455411"/>
                <a:gd name="connsiteY145" fmla="*/ 347921 h 384558"/>
                <a:gd name="connsiteX146" fmla="*/ 54833 w 455411"/>
                <a:gd name="connsiteY146" fmla="*/ 349451 h 384558"/>
                <a:gd name="connsiteX147" fmla="*/ 56807 w 455411"/>
                <a:gd name="connsiteY147" fmla="*/ 350980 h 384558"/>
                <a:gd name="connsiteX148" fmla="*/ 58781 w 455411"/>
                <a:gd name="connsiteY148" fmla="*/ 349451 h 384558"/>
                <a:gd name="connsiteX149" fmla="*/ 60755 w 455411"/>
                <a:gd name="connsiteY149" fmla="*/ 347921 h 384558"/>
                <a:gd name="connsiteX150" fmla="*/ 64653 w 455411"/>
                <a:gd name="connsiteY150" fmla="*/ 350980 h 384558"/>
                <a:gd name="connsiteX151" fmla="*/ 66626 w 455411"/>
                <a:gd name="connsiteY151" fmla="*/ 352510 h 384558"/>
                <a:gd name="connsiteX152" fmla="*/ 70524 w 455411"/>
                <a:gd name="connsiteY152" fmla="*/ 354039 h 384558"/>
                <a:gd name="connsiteX153" fmla="*/ 68600 w 455411"/>
                <a:gd name="connsiteY153" fmla="*/ 355520 h 384558"/>
                <a:gd name="connsiteX154" fmla="*/ 70524 w 455411"/>
                <a:gd name="connsiteY154" fmla="*/ 358579 h 384558"/>
                <a:gd name="connsiteX155" fmla="*/ 80392 w 455411"/>
                <a:gd name="connsiteY155" fmla="*/ 364697 h 384558"/>
                <a:gd name="connsiteX156" fmla="*/ 88237 w 455411"/>
                <a:gd name="connsiteY156" fmla="*/ 366226 h 384558"/>
                <a:gd name="connsiteX157" fmla="*/ 94158 w 455411"/>
                <a:gd name="connsiteY157" fmla="*/ 364697 h 384558"/>
                <a:gd name="connsiteX158" fmla="*/ 94158 w 455411"/>
                <a:gd name="connsiteY158" fmla="*/ 364697 h 384558"/>
                <a:gd name="connsiteX159" fmla="*/ 100029 w 455411"/>
                <a:gd name="connsiteY159" fmla="*/ 361638 h 384558"/>
                <a:gd name="connsiteX160" fmla="*/ 103977 w 455411"/>
                <a:gd name="connsiteY160" fmla="*/ 361638 h 384558"/>
                <a:gd name="connsiteX161" fmla="*/ 105951 w 455411"/>
                <a:gd name="connsiteY161" fmla="*/ 363167 h 384558"/>
                <a:gd name="connsiteX162" fmla="*/ 241340 w 455411"/>
                <a:gd name="connsiteY162" fmla="*/ 363167 h 384558"/>
                <a:gd name="connsiteX163" fmla="*/ 247212 w 455411"/>
                <a:gd name="connsiteY163" fmla="*/ 369236 h 384558"/>
                <a:gd name="connsiteX164" fmla="*/ 251159 w 455411"/>
                <a:gd name="connsiteY164" fmla="*/ 370766 h 384558"/>
                <a:gd name="connsiteX165" fmla="*/ 257031 w 455411"/>
                <a:gd name="connsiteY165" fmla="*/ 373825 h 384558"/>
                <a:gd name="connsiteX166" fmla="*/ 264876 w 455411"/>
                <a:gd name="connsiteY166" fmla="*/ 375354 h 384558"/>
                <a:gd name="connsiteX167" fmla="*/ 272721 w 455411"/>
                <a:gd name="connsiteY167" fmla="*/ 375354 h 384558"/>
                <a:gd name="connsiteX168" fmla="*/ 274694 w 455411"/>
                <a:gd name="connsiteY168" fmla="*/ 378413 h 384558"/>
                <a:gd name="connsiteX169" fmla="*/ 278592 w 455411"/>
                <a:gd name="connsiteY169" fmla="*/ 379894 h 384558"/>
                <a:gd name="connsiteX170" fmla="*/ 286487 w 455411"/>
                <a:gd name="connsiteY170" fmla="*/ 376884 h 384558"/>
                <a:gd name="connsiteX171" fmla="*/ 292358 w 455411"/>
                <a:gd name="connsiteY171" fmla="*/ 375354 h 384558"/>
                <a:gd name="connsiteX172" fmla="*/ 300203 w 455411"/>
                <a:gd name="connsiteY172" fmla="*/ 376884 h 384558"/>
                <a:gd name="connsiteX173" fmla="*/ 304150 w 455411"/>
                <a:gd name="connsiteY173" fmla="*/ 376884 h 384558"/>
                <a:gd name="connsiteX174" fmla="*/ 306075 w 455411"/>
                <a:gd name="connsiteY174" fmla="*/ 373825 h 384558"/>
                <a:gd name="connsiteX175" fmla="*/ 308048 w 455411"/>
                <a:gd name="connsiteY175" fmla="*/ 373825 h 384558"/>
                <a:gd name="connsiteX176" fmla="*/ 311996 w 455411"/>
                <a:gd name="connsiteY176" fmla="*/ 375354 h 384558"/>
                <a:gd name="connsiteX177" fmla="*/ 321864 w 455411"/>
                <a:gd name="connsiteY177" fmla="*/ 379894 h 384558"/>
                <a:gd name="connsiteX178" fmla="*/ 325761 w 455411"/>
                <a:gd name="connsiteY178" fmla="*/ 384532 h 384558"/>
                <a:gd name="connsiteX179" fmla="*/ 333656 w 455411"/>
                <a:gd name="connsiteY179" fmla="*/ 384532 h 384558"/>
                <a:gd name="connsiteX180" fmla="*/ 335580 w 455411"/>
                <a:gd name="connsiteY180" fmla="*/ 381423 h 384558"/>
                <a:gd name="connsiteX181" fmla="*/ 335580 w 455411"/>
                <a:gd name="connsiteY181" fmla="*/ 379894 h 384558"/>
                <a:gd name="connsiteX182" fmla="*/ 339478 w 455411"/>
                <a:gd name="connsiteY182" fmla="*/ 378413 h 384558"/>
                <a:gd name="connsiteX183" fmla="*/ 343474 w 455411"/>
                <a:gd name="connsiteY183" fmla="*/ 379894 h 384558"/>
                <a:gd name="connsiteX184" fmla="*/ 345399 w 455411"/>
                <a:gd name="connsiteY184" fmla="*/ 381423 h 384558"/>
                <a:gd name="connsiteX185" fmla="*/ 351271 w 455411"/>
                <a:gd name="connsiteY185" fmla="*/ 379894 h 384558"/>
                <a:gd name="connsiteX186" fmla="*/ 353244 w 455411"/>
                <a:gd name="connsiteY186" fmla="*/ 384532 h 384558"/>
                <a:gd name="connsiteX187" fmla="*/ 365037 w 455411"/>
                <a:gd name="connsiteY187" fmla="*/ 384532 h 38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455411" h="384558">
                  <a:moveTo>
                    <a:pt x="421975" y="373677"/>
                  </a:moveTo>
                  <a:lnTo>
                    <a:pt x="420001" y="369088"/>
                  </a:lnTo>
                  <a:lnTo>
                    <a:pt x="414130" y="366078"/>
                  </a:lnTo>
                  <a:lnTo>
                    <a:pt x="410232" y="363019"/>
                  </a:lnTo>
                  <a:lnTo>
                    <a:pt x="408258" y="359960"/>
                  </a:lnTo>
                  <a:lnTo>
                    <a:pt x="402338" y="355371"/>
                  </a:lnTo>
                  <a:lnTo>
                    <a:pt x="398440" y="352362"/>
                  </a:lnTo>
                  <a:lnTo>
                    <a:pt x="392519" y="346244"/>
                  </a:lnTo>
                  <a:lnTo>
                    <a:pt x="386647" y="343135"/>
                  </a:lnTo>
                  <a:lnTo>
                    <a:pt x="384723" y="340125"/>
                  </a:lnTo>
                  <a:lnTo>
                    <a:pt x="378802" y="337066"/>
                  </a:lnTo>
                  <a:lnTo>
                    <a:pt x="372931" y="332477"/>
                  </a:lnTo>
                  <a:lnTo>
                    <a:pt x="372931" y="326409"/>
                  </a:lnTo>
                  <a:lnTo>
                    <a:pt x="374905" y="225705"/>
                  </a:lnTo>
                  <a:lnTo>
                    <a:pt x="453355" y="225705"/>
                  </a:lnTo>
                  <a:lnTo>
                    <a:pt x="449458" y="219636"/>
                  </a:lnTo>
                  <a:lnTo>
                    <a:pt x="453355" y="211988"/>
                  </a:lnTo>
                  <a:lnTo>
                    <a:pt x="455329" y="210459"/>
                  </a:lnTo>
                  <a:lnTo>
                    <a:pt x="455329" y="204390"/>
                  </a:lnTo>
                  <a:lnTo>
                    <a:pt x="449458" y="199802"/>
                  </a:lnTo>
                  <a:lnTo>
                    <a:pt x="449458" y="181496"/>
                  </a:lnTo>
                  <a:lnTo>
                    <a:pt x="447534" y="167779"/>
                  </a:lnTo>
                  <a:lnTo>
                    <a:pt x="449458" y="164720"/>
                  </a:lnTo>
                  <a:lnTo>
                    <a:pt x="449458" y="161661"/>
                  </a:lnTo>
                  <a:lnTo>
                    <a:pt x="443537" y="161661"/>
                  </a:lnTo>
                  <a:lnTo>
                    <a:pt x="437715" y="163191"/>
                  </a:lnTo>
                  <a:lnTo>
                    <a:pt x="431794" y="166250"/>
                  </a:lnTo>
                  <a:lnTo>
                    <a:pt x="429820" y="167779"/>
                  </a:lnTo>
                  <a:lnTo>
                    <a:pt x="412156" y="167779"/>
                  </a:lnTo>
                  <a:lnTo>
                    <a:pt x="408258" y="166250"/>
                  </a:lnTo>
                  <a:lnTo>
                    <a:pt x="402338" y="163191"/>
                  </a:lnTo>
                  <a:lnTo>
                    <a:pt x="400413" y="163191"/>
                  </a:lnTo>
                  <a:lnTo>
                    <a:pt x="398440" y="164720"/>
                  </a:lnTo>
                  <a:lnTo>
                    <a:pt x="394493" y="164720"/>
                  </a:lnTo>
                  <a:lnTo>
                    <a:pt x="392519" y="167779"/>
                  </a:lnTo>
                  <a:lnTo>
                    <a:pt x="388621" y="167779"/>
                  </a:lnTo>
                  <a:lnTo>
                    <a:pt x="388621" y="160132"/>
                  </a:lnTo>
                  <a:lnTo>
                    <a:pt x="390595" y="158602"/>
                  </a:lnTo>
                  <a:lnTo>
                    <a:pt x="390595" y="157073"/>
                  </a:lnTo>
                  <a:lnTo>
                    <a:pt x="392519" y="152484"/>
                  </a:lnTo>
                  <a:lnTo>
                    <a:pt x="388621" y="149474"/>
                  </a:lnTo>
                  <a:lnTo>
                    <a:pt x="386647" y="141827"/>
                  </a:lnTo>
                  <a:lnTo>
                    <a:pt x="388621" y="140297"/>
                  </a:lnTo>
                  <a:lnTo>
                    <a:pt x="388621" y="137287"/>
                  </a:lnTo>
                  <a:lnTo>
                    <a:pt x="384723" y="132698"/>
                  </a:lnTo>
                  <a:lnTo>
                    <a:pt x="384723" y="121992"/>
                  </a:lnTo>
                  <a:lnTo>
                    <a:pt x="380776" y="121992"/>
                  </a:lnTo>
                  <a:lnTo>
                    <a:pt x="378802" y="117403"/>
                  </a:lnTo>
                  <a:lnTo>
                    <a:pt x="376878" y="115874"/>
                  </a:lnTo>
                  <a:lnTo>
                    <a:pt x="376878" y="112864"/>
                  </a:lnTo>
                  <a:lnTo>
                    <a:pt x="372931" y="109804"/>
                  </a:lnTo>
                  <a:lnTo>
                    <a:pt x="372931" y="106745"/>
                  </a:lnTo>
                  <a:lnTo>
                    <a:pt x="370957" y="103686"/>
                  </a:lnTo>
                  <a:lnTo>
                    <a:pt x="372931" y="97618"/>
                  </a:lnTo>
                  <a:lnTo>
                    <a:pt x="372931" y="85381"/>
                  </a:lnTo>
                  <a:lnTo>
                    <a:pt x="370957" y="82322"/>
                  </a:lnTo>
                  <a:lnTo>
                    <a:pt x="372931" y="79263"/>
                  </a:lnTo>
                  <a:lnTo>
                    <a:pt x="372931" y="73194"/>
                  </a:lnTo>
                  <a:lnTo>
                    <a:pt x="370957" y="68605"/>
                  </a:lnTo>
                  <a:lnTo>
                    <a:pt x="370957" y="62537"/>
                  </a:lnTo>
                  <a:lnTo>
                    <a:pt x="374905" y="57948"/>
                  </a:lnTo>
                  <a:lnTo>
                    <a:pt x="374905" y="45711"/>
                  </a:lnTo>
                  <a:lnTo>
                    <a:pt x="331683" y="42652"/>
                  </a:lnTo>
                  <a:lnTo>
                    <a:pt x="331683" y="39643"/>
                  </a:lnTo>
                  <a:lnTo>
                    <a:pt x="333705" y="35054"/>
                  </a:lnTo>
                  <a:lnTo>
                    <a:pt x="333705" y="31995"/>
                  </a:lnTo>
                  <a:lnTo>
                    <a:pt x="323837" y="30465"/>
                  </a:lnTo>
                  <a:lnTo>
                    <a:pt x="323837" y="33524"/>
                  </a:lnTo>
                  <a:lnTo>
                    <a:pt x="288460" y="35054"/>
                  </a:lnTo>
                  <a:lnTo>
                    <a:pt x="286536" y="44182"/>
                  </a:lnTo>
                  <a:lnTo>
                    <a:pt x="284562" y="48770"/>
                  </a:lnTo>
                  <a:lnTo>
                    <a:pt x="282589" y="50300"/>
                  </a:lnTo>
                  <a:lnTo>
                    <a:pt x="282589" y="64066"/>
                  </a:lnTo>
                  <a:lnTo>
                    <a:pt x="255106" y="67076"/>
                  </a:lnTo>
                  <a:lnTo>
                    <a:pt x="251208" y="68605"/>
                  </a:lnTo>
                  <a:lnTo>
                    <a:pt x="237442" y="68605"/>
                  </a:lnTo>
                  <a:lnTo>
                    <a:pt x="233545" y="67076"/>
                  </a:lnTo>
                  <a:lnTo>
                    <a:pt x="227673" y="68605"/>
                  </a:lnTo>
                  <a:lnTo>
                    <a:pt x="217805" y="68605"/>
                  </a:lnTo>
                  <a:lnTo>
                    <a:pt x="213858" y="67076"/>
                  </a:lnTo>
                  <a:lnTo>
                    <a:pt x="209960" y="54889"/>
                  </a:lnTo>
                  <a:lnTo>
                    <a:pt x="206012" y="50300"/>
                  </a:lnTo>
                  <a:lnTo>
                    <a:pt x="204039" y="45711"/>
                  </a:lnTo>
                  <a:lnTo>
                    <a:pt x="200141" y="44182"/>
                  </a:lnTo>
                  <a:lnTo>
                    <a:pt x="200141" y="41172"/>
                  </a:lnTo>
                  <a:lnTo>
                    <a:pt x="198167" y="36584"/>
                  </a:lnTo>
                  <a:lnTo>
                    <a:pt x="196194" y="28985"/>
                  </a:lnTo>
                  <a:lnTo>
                    <a:pt x="192247" y="24396"/>
                  </a:lnTo>
                  <a:lnTo>
                    <a:pt x="192247" y="19808"/>
                  </a:lnTo>
                  <a:lnTo>
                    <a:pt x="194220" y="16749"/>
                  </a:lnTo>
                  <a:lnTo>
                    <a:pt x="194220" y="13690"/>
                  </a:lnTo>
                  <a:lnTo>
                    <a:pt x="192247" y="9101"/>
                  </a:lnTo>
                  <a:lnTo>
                    <a:pt x="190322" y="6042"/>
                  </a:lnTo>
                  <a:lnTo>
                    <a:pt x="190322" y="-27"/>
                  </a:lnTo>
                  <a:lnTo>
                    <a:pt x="127512" y="-27"/>
                  </a:lnTo>
                  <a:lnTo>
                    <a:pt x="115769" y="1503"/>
                  </a:lnTo>
                  <a:lnTo>
                    <a:pt x="103977" y="-27"/>
                  </a:lnTo>
                  <a:lnTo>
                    <a:pt x="60804" y="-27"/>
                  </a:lnTo>
                  <a:lnTo>
                    <a:pt x="56857" y="1503"/>
                  </a:lnTo>
                  <a:lnTo>
                    <a:pt x="50985" y="1503"/>
                  </a:lnTo>
                  <a:lnTo>
                    <a:pt x="47038" y="3032"/>
                  </a:lnTo>
                  <a:lnTo>
                    <a:pt x="45064" y="3032"/>
                  </a:lnTo>
                  <a:lnTo>
                    <a:pt x="45064" y="4562"/>
                  </a:lnTo>
                  <a:lnTo>
                    <a:pt x="43140" y="4562"/>
                  </a:lnTo>
                  <a:lnTo>
                    <a:pt x="31348" y="9101"/>
                  </a:lnTo>
                  <a:lnTo>
                    <a:pt x="35295" y="15219"/>
                  </a:lnTo>
                  <a:lnTo>
                    <a:pt x="35295" y="18278"/>
                  </a:lnTo>
                  <a:lnTo>
                    <a:pt x="55031" y="36584"/>
                  </a:lnTo>
                  <a:lnTo>
                    <a:pt x="57005" y="61254"/>
                  </a:lnTo>
                  <a:lnTo>
                    <a:pt x="66873" y="74970"/>
                  </a:lnTo>
                  <a:lnTo>
                    <a:pt x="64899" y="87157"/>
                  </a:lnTo>
                  <a:lnTo>
                    <a:pt x="55031" y="100923"/>
                  </a:lnTo>
                  <a:lnTo>
                    <a:pt x="60952" y="103933"/>
                  </a:lnTo>
                  <a:lnTo>
                    <a:pt x="60952" y="113110"/>
                  </a:lnTo>
                  <a:lnTo>
                    <a:pt x="64850" y="122238"/>
                  </a:lnTo>
                  <a:lnTo>
                    <a:pt x="64850" y="129886"/>
                  </a:lnTo>
                  <a:lnTo>
                    <a:pt x="80540" y="149622"/>
                  </a:lnTo>
                  <a:lnTo>
                    <a:pt x="80540" y="154162"/>
                  </a:lnTo>
                  <a:lnTo>
                    <a:pt x="84487" y="158750"/>
                  </a:lnTo>
                  <a:lnTo>
                    <a:pt x="84487" y="186233"/>
                  </a:lnTo>
                  <a:lnTo>
                    <a:pt x="68797" y="209127"/>
                  </a:lnTo>
                  <a:lnTo>
                    <a:pt x="64850" y="209127"/>
                  </a:lnTo>
                  <a:lnTo>
                    <a:pt x="49160" y="219784"/>
                  </a:lnTo>
                  <a:lnTo>
                    <a:pt x="49160" y="227383"/>
                  </a:lnTo>
                  <a:lnTo>
                    <a:pt x="29424" y="241148"/>
                  </a:lnTo>
                  <a:lnTo>
                    <a:pt x="27450" y="253336"/>
                  </a:lnTo>
                  <a:lnTo>
                    <a:pt x="25526" y="254865"/>
                  </a:lnTo>
                  <a:lnTo>
                    <a:pt x="25526" y="280818"/>
                  </a:lnTo>
                  <a:lnTo>
                    <a:pt x="15657" y="289946"/>
                  </a:lnTo>
                  <a:lnTo>
                    <a:pt x="13684" y="300604"/>
                  </a:lnTo>
                  <a:lnTo>
                    <a:pt x="3816" y="311311"/>
                  </a:lnTo>
                  <a:lnTo>
                    <a:pt x="3816" y="321968"/>
                  </a:lnTo>
                  <a:lnTo>
                    <a:pt x="1891" y="334155"/>
                  </a:lnTo>
                  <a:lnTo>
                    <a:pt x="1891" y="347921"/>
                  </a:lnTo>
                  <a:lnTo>
                    <a:pt x="-82" y="358579"/>
                  </a:lnTo>
                  <a:lnTo>
                    <a:pt x="-82" y="361638"/>
                  </a:lnTo>
                  <a:lnTo>
                    <a:pt x="-82" y="361638"/>
                  </a:lnTo>
                  <a:lnTo>
                    <a:pt x="7714" y="363167"/>
                  </a:lnTo>
                  <a:lnTo>
                    <a:pt x="13634" y="363167"/>
                  </a:lnTo>
                  <a:lnTo>
                    <a:pt x="13634" y="358579"/>
                  </a:lnTo>
                  <a:lnTo>
                    <a:pt x="25427" y="358579"/>
                  </a:lnTo>
                  <a:lnTo>
                    <a:pt x="29325" y="361638"/>
                  </a:lnTo>
                  <a:lnTo>
                    <a:pt x="31299" y="360108"/>
                  </a:lnTo>
                  <a:lnTo>
                    <a:pt x="33272" y="354039"/>
                  </a:lnTo>
                  <a:lnTo>
                    <a:pt x="45015" y="347921"/>
                  </a:lnTo>
                  <a:lnTo>
                    <a:pt x="48962" y="347921"/>
                  </a:lnTo>
                  <a:lnTo>
                    <a:pt x="54833" y="349451"/>
                  </a:lnTo>
                  <a:lnTo>
                    <a:pt x="56807" y="350980"/>
                  </a:lnTo>
                  <a:lnTo>
                    <a:pt x="58781" y="349451"/>
                  </a:lnTo>
                  <a:lnTo>
                    <a:pt x="60755" y="347921"/>
                  </a:lnTo>
                  <a:lnTo>
                    <a:pt x="64653" y="350980"/>
                  </a:lnTo>
                  <a:lnTo>
                    <a:pt x="66626" y="352510"/>
                  </a:lnTo>
                  <a:lnTo>
                    <a:pt x="70524" y="354039"/>
                  </a:lnTo>
                  <a:lnTo>
                    <a:pt x="68600" y="355520"/>
                  </a:lnTo>
                  <a:lnTo>
                    <a:pt x="70524" y="358579"/>
                  </a:lnTo>
                  <a:lnTo>
                    <a:pt x="80392" y="364697"/>
                  </a:lnTo>
                  <a:lnTo>
                    <a:pt x="88237" y="366226"/>
                  </a:lnTo>
                  <a:lnTo>
                    <a:pt x="94158" y="364697"/>
                  </a:lnTo>
                  <a:lnTo>
                    <a:pt x="94158" y="364697"/>
                  </a:lnTo>
                  <a:lnTo>
                    <a:pt x="100029" y="361638"/>
                  </a:lnTo>
                  <a:lnTo>
                    <a:pt x="103977" y="361638"/>
                  </a:lnTo>
                  <a:lnTo>
                    <a:pt x="105951" y="363167"/>
                  </a:lnTo>
                  <a:lnTo>
                    <a:pt x="241340" y="363167"/>
                  </a:lnTo>
                  <a:lnTo>
                    <a:pt x="247212" y="369236"/>
                  </a:lnTo>
                  <a:lnTo>
                    <a:pt x="251159" y="370766"/>
                  </a:lnTo>
                  <a:lnTo>
                    <a:pt x="257031" y="373825"/>
                  </a:lnTo>
                  <a:lnTo>
                    <a:pt x="264876" y="375354"/>
                  </a:lnTo>
                  <a:lnTo>
                    <a:pt x="272721" y="375354"/>
                  </a:lnTo>
                  <a:lnTo>
                    <a:pt x="274694" y="378413"/>
                  </a:lnTo>
                  <a:lnTo>
                    <a:pt x="278592" y="379894"/>
                  </a:lnTo>
                  <a:lnTo>
                    <a:pt x="286487" y="376884"/>
                  </a:lnTo>
                  <a:lnTo>
                    <a:pt x="292358" y="375354"/>
                  </a:lnTo>
                  <a:lnTo>
                    <a:pt x="300203" y="376884"/>
                  </a:lnTo>
                  <a:lnTo>
                    <a:pt x="304150" y="376884"/>
                  </a:lnTo>
                  <a:lnTo>
                    <a:pt x="306075" y="373825"/>
                  </a:lnTo>
                  <a:lnTo>
                    <a:pt x="308048" y="373825"/>
                  </a:lnTo>
                  <a:lnTo>
                    <a:pt x="311996" y="375354"/>
                  </a:lnTo>
                  <a:lnTo>
                    <a:pt x="321864" y="379894"/>
                  </a:lnTo>
                  <a:lnTo>
                    <a:pt x="325761" y="384532"/>
                  </a:lnTo>
                  <a:lnTo>
                    <a:pt x="333656" y="384532"/>
                  </a:lnTo>
                  <a:lnTo>
                    <a:pt x="335580" y="381423"/>
                  </a:lnTo>
                  <a:lnTo>
                    <a:pt x="335580" y="379894"/>
                  </a:lnTo>
                  <a:lnTo>
                    <a:pt x="339478" y="378413"/>
                  </a:lnTo>
                  <a:lnTo>
                    <a:pt x="343474" y="379894"/>
                  </a:lnTo>
                  <a:lnTo>
                    <a:pt x="345399" y="381423"/>
                  </a:lnTo>
                  <a:lnTo>
                    <a:pt x="351271" y="379894"/>
                  </a:lnTo>
                  <a:lnTo>
                    <a:pt x="353244" y="384532"/>
                  </a:lnTo>
                  <a:lnTo>
                    <a:pt x="365037" y="38453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Graphic 2">
              <a:extLst>
                <a:ext uri="{FF2B5EF4-FFF2-40B4-BE49-F238E27FC236}">
                  <a16:creationId xmlns:a16="http://schemas.microsoft.com/office/drawing/2014/main" id="{04EFC5A4-E280-4E91-880C-18700FA18422}"/>
                </a:ext>
              </a:extLst>
            </p:cNvPr>
            <p:cNvSpPr/>
            <p:nvPr/>
          </p:nvSpPr>
          <p:spPr>
            <a:xfrm>
              <a:off x="6228221" y="5089006"/>
              <a:ext cx="257707" cy="200276"/>
            </a:xfrm>
            <a:custGeom>
              <a:avLst/>
              <a:gdLst>
                <a:gd name="connsiteX0" fmla="*/ -32 w 283657"/>
                <a:gd name="connsiteY0" fmla="*/ 66780 h 220452"/>
                <a:gd name="connsiteX1" fmla="*/ 1941 w 283657"/>
                <a:gd name="connsiteY1" fmla="*/ 68310 h 220452"/>
                <a:gd name="connsiteX2" fmla="*/ 11809 w 283657"/>
                <a:gd name="connsiteY2" fmla="*/ 68310 h 220452"/>
                <a:gd name="connsiteX3" fmla="*/ 17681 w 283657"/>
                <a:gd name="connsiteY3" fmla="*/ 71319 h 220452"/>
                <a:gd name="connsiteX4" fmla="*/ 19654 w 283657"/>
                <a:gd name="connsiteY4" fmla="*/ 74378 h 220452"/>
                <a:gd name="connsiteX5" fmla="*/ 23601 w 283657"/>
                <a:gd name="connsiteY5" fmla="*/ 74378 h 220452"/>
                <a:gd name="connsiteX6" fmla="*/ 29522 w 283657"/>
                <a:gd name="connsiteY6" fmla="*/ 69839 h 220452"/>
                <a:gd name="connsiteX7" fmla="*/ 39390 w 283657"/>
                <a:gd name="connsiteY7" fmla="*/ 69839 h 220452"/>
                <a:gd name="connsiteX8" fmla="*/ 43288 w 283657"/>
                <a:gd name="connsiteY8" fmla="*/ 71319 h 220452"/>
                <a:gd name="connsiteX9" fmla="*/ 47235 w 283657"/>
                <a:gd name="connsiteY9" fmla="*/ 71319 h 220452"/>
                <a:gd name="connsiteX10" fmla="*/ 53156 w 283657"/>
                <a:gd name="connsiteY10" fmla="*/ 74378 h 220452"/>
                <a:gd name="connsiteX11" fmla="*/ 59028 w 283657"/>
                <a:gd name="connsiteY11" fmla="*/ 77438 h 220452"/>
                <a:gd name="connsiteX12" fmla="*/ 70870 w 283657"/>
                <a:gd name="connsiteY12" fmla="*/ 74378 h 220452"/>
                <a:gd name="connsiteX13" fmla="*/ 80738 w 283657"/>
                <a:gd name="connsiteY13" fmla="*/ 60760 h 220452"/>
                <a:gd name="connsiteX14" fmla="*/ 96477 w 283657"/>
                <a:gd name="connsiteY14" fmla="*/ 42504 h 220452"/>
                <a:gd name="connsiteX15" fmla="*/ 118137 w 283657"/>
                <a:gd name="connsiteY15" fmla="*/ 31847 h 220452"/>
                <a:gd name="connsiteX16" fmla="*/ 129930 w 283657"/>
                <a:gd name="connsiteY16" fmla="*/ 27308 h 220452"/>
                <a:gd name="connsiteX17" fmla="*/ 131953 w 283657"/>
                <a:gd name="connsiteY17" fmla="*/ 25827 h 220452"/>
                <a:gd name="connsiteX18" fmla="*/ 135900 w 283657"/>
                <a:gd name="connsiteY18" fmla="*/ 22768 h 220452"/>
                <a:gd name="connsiteX19" fmla="*/ 131953 w 283657"/>
                <a:gd name="connsiteY19" fmla="*/ 19709 h 220452"/>
                <a:gd name="connsiteX20" fmla="*/ 135900 w 283657"/>
                <a:gd name="connsiteY20" fmla="*/ 16700 h 220452"/>
                <a:gd name="connsiteX21" fmla="*/ 135900 w 283657"/>
                <a:gd name="connsiteY21" fmla="*/ 13640 h 220452"/>
                <a:gd name="connsiteX22" fmla="*/ 137824 w 283657"/>
                <a:gd name="connsiteY22" fmla="*/ 9101 h 220452"/>
                <a:gd name="connsiteX23" fmla="*/ 147692 w 283657"/>
                <a:gd name="connsiteY23" fmla="*/ 6042 h 220452"/>
                <a:gd name="connsiteX24" fmla="*/ 153613 w 283657"/>
                <a:gd name="connsiteY24" fmla="*/ 4513 h 220452"/>
                <a:gd name="connsiteX25" fmla="*/ 157511 w 283657"/>
                <a:gd name="connsiteY25" fmla="*/ 1503 h 220452"/>
                <a:gd name="connsiteX26" fmla="*/ 165405 w 283657"/>
                <a:gd name="connsiteY26" fmla="*/ -27 h 220452"/>
                <a:gd name="connsiteX27" fmla="*/ 175273 w 283657"/>
                <a:gd name="connsiteY27" fmla="*/ -27 h 220452"/>
                <a:gd name="connsiteX28" fmla="*/ 177247 w 283657"/>
                <a:gd name="connsiteY28" fmla="*/ 1503 h 220452"/>
                <a:gd name="connsiteX29" fmla="*/ 181195 w 283657"/>
                <a:gd name="connsiteY29" fmla="*/ 1503 h 220452"/>
                <a:gd name="connsiteX30" fmla="*/ 187066 w 283657"/>
                <a:gd name="connsiteY30" fmla="*/ 2983 h 220452"/>
                <a:gd name="connsiteX31" fmla="*/ 191013 w 283657"/>
                <a:gd name="connsiteY31" fmla="*/ 1503 h 220452"/>
                <a:gd name="connsiteX32" fmla="*/ 192987 w 283657"/>
                <a:gd name="connsiteY32" fmla="*/ 1503 h 220452"/>
                <a:gd name="connsiteX33" fmla="*/ 192987 w 283657"/>
                <a:gd name="connsiteY33" fmla="*/ 12160 h 220452"/>
                <a:gd name="connsiteX34" fmla="*/ 206802 w 283657"/>
                <a:gd name="connsiteY34" fmla="*/ 12160 h 220452"/>
                <a:gd name="connsiteX35" fmla="*/ 212674 w 283657"/>
                <a:gd name="connsiteY35" fmla="*/ 13640 h 220452"/>
                <a:gd name="connsiteX36" fmla="*/ 212674 w 283657"/>
                <a:gd name="connsiteY36" fmla="*/ 16700 h 220452"/>
                <a:gd name="connsiteX37" fmla="*/ 216670 w 283657"/>
                <a:gd name="connsiteY37" fmla="*/ 15170 h 220452"/>
                <a:gd name="connsiteX38" fmla="*/ 220568 w 283657"/>
                <a:gd name="connsiteY38" fmla="*/ 12160 h 220452"/>
                <a:gd name="connsiteX39" fmla="*/ 228462 w 283657"/>
                <a:gd name="connsiteY39" fmla="*/ 15170 h 220452"/>
                <a:gd name="connsiteX40" fmla="*/ 240255 w 283657"/>
                <a:gd name="connsiteY40" fmla="*/ 19709 h 220452"/>
                <a:gd name="connsiteX41" fmla="*/ 246175 w 283657"/>
                <a:gd name="connsiteY41" fmla="*/ 27308 h 220452"/>
                <a:gd name="connsiteX42" fmla="*/ 252097 w 283657"/>
                <a:gd name="connsiteY42" fmla="*/ 28837 h 220452"/>
                <a:gd name="connsiteX43" fmla="*/ 263889 w 283657"/>
                <a:gd name="connsiteY43" fmla="*/ 28837 h 220452"/>
                <a:gd name="connsiteX44" fmla="*/ 269810 w 283657"/>
                <a:gd name="connsiteY44" fmla="*/ 33377 h 220452"/>
                <a:gd name="connsiteX45" fmla="*/ 275731 w 283657"/>
                <a:gd name="connsiteY45" fmla="*/ 37916 h 220452"/>
                <a:gd name="connsiteX46" fmla="*/ 283576 w 283657"/>
                <a:gd name="connsiteY46" fmla="*/ 37916 h 220452"/>
                <a:gd name="connsiteX47" fmla="*/ 283576 w 283657"/>
                <a:gd name="connsiteY47" fmla="*/ 42504 h 220452"/>
                <a:gd name="connsiteX48" fmla="*/ 279628 w 283657"/>
                <a:gd name="connsiteY48" fmla="*/ 47044 h 220452"/>
                <a:gd name="connsiteX49" fmla="*/ 281602 w 283657"/>
                <a:gd name="connsiteY49" fmla="*/ 53113 h 220452"/>
                <a:gd name="connsiteX50" fmla="*/ 279628 w 283657"/>
                <a:gd name="connsiteY50" fmla="*/ 57652 h 220452"/>
                <a:gd name="connsiteX51" fmla="*/ 279628 w 283657"/>
                <a:gd name="connsiteY51" fmla="*/ 63770 h 220452"/>
                <a:gd name="connsiteX52" fmla="*/ 277704 w 283657"/>
                <a:gd name="connsiteY52" fmla="*/ 68310 h 220452"/>
                <a:gd name="connsiteX53" fmla="*/ 277704 w 283657"/>
                <a:gd name="connsiteY53" fmla="*/ 78967 h 220452"/>
                <a:gd name="connsiteX54" fmla="*/ 273757 w 283657"/>
                <a:gd name="connsiteY54" fmla="*/ 83506 h 220452"/>
                <a:gd name="connsiteX55" fmla="*/ 275731 w 283657"/>
                <a:gd name="connsiteY55" fmla="*/ 86516 h 220452"/>
                <a:gd name="connsiteX56" fmla="*/ 281602 w 283657"/>
                <a:gd name="connsiteY56" fmla="*/ 85036 h 220452"/>
                <a:gd name="connsiteX57" fmla="*/ 279628 w 283657"/>
                <a:gd name="connsiteY57" fmla="*/ 89575 h 220452"/>
                <a:gd name="connsiteX58" fmla="*/ 273757 w 283657"/>
                <a:gd name="connsiteY58" fmla="*/ 92585 h 220452"/>
                <a:gd name="connsiteX59" fmla="*/ 273757 w 283657"/>
                <a:gd name="connsiteY59" fmla="*/ 106252 h 220452"/>
                <a:gd name="connsiteX60" fmla="*/ 267836 w 283657"/>
                <a:gd name="connsiteY60" fmla="*/ 106252 h 220452"/>
                <a:gd name="connsiteX61" fmla="*/ 267836 w 283657"/>
                <a:gd name="connsiteY61" fmla="*/ 110841 h 220452"/>
                <a:gd name="connsiteX62" fmla="*/ 275731 w 283657"/>
                <a:gd name="connsiteY62" fmla="*/ 115380 h 220452"/>
                <a:gd name="connsiteX63" fmla="*/ 275731 w 283657"/>
                <a:gd name="connsiteY63" fmla="*/ 119919 h 220452"/>
                <a:gd name="connsiteX64" fmla="*/ 269810 w 283657"/>
                <a:gd name="connsiteY64" fmla="*/ 121449 h 220452"/>
                <a:gd name="connsiteX65" fmla="*/ 269810 w 283657"/>
                <a:gd name="connsiteY65" fmla="*/ 127518 h 220452"/>
                <a:gd name="connsiteX66" fmla="*/ 275731 w 283657"/>
                <a:gd name="connsiteY66" fmla="*/ 132107 h 220452"/>
                <a:gd name="connsiteX67" fmla="*/ 277704 w 283657"/>
                <a:gd name="connsiteY67" fmla="*/ 135116 h 220452"/>
                <a:gd name="connsiteX68" fmla="*/ 273757 w 283657"/>
                <a:gd name="connsiteY68" fmla="*/ 141185 h 220452"/>
                <a:gd name="connsiteX69" fmla="*/ 265863 w 283657"/>
                <a:gd name="connsiteY69" fmla="*/ 145774 h 220452"/>
                <a:gd name="connsiteX70" fmla="*/ 263889 w 283657"/>
                <a:gd name="connsiteY70" fmla="*/ 148833 h 220452"/>
                <a:gd name="connsiteX71" fmla="*/ 258017 w 283657"/>
                <a:gd name="connsiteY71" fmla="*/ 148833 h 220452"/>
                <a:gd name="connsiteX72" fmla="*/ 258017 w 283657"/>
                <a:gd name="connsiteY72" fmla="*/ 153619 h 220452"/>
                <a:gd name="connsiteX73" fmla="*/ 259991 w 283657"/>
                <a:gd name="connsiteY73" fmla="*/ 159638 h 220452"/>
                <a:gd name="connsiteX74" fmla="*/ 256043 w 283657"/>
                <a:gd name="connsiteY74" fmla="*/ 162698 h 220452"/>
                <a:gd name="connsiteX75" fmla="*/ 256043 w 283657"/>
                <a:gd name="connsiteY75" fmla="*/ 171826 h 220452"/>
                <a:gd name="connsiteX76" fmla="*/ 254021 w 283657"/>
                <a:gd name="connsiteY76" fmla="*/ 174835 h 220452"/>
                <a:gd name="connsiteX77" fmla="*/ 254021 w 283657"/>
                <a:gd name="connsiteY77" fmla="*/ 187023 h 220452"/>
                <a:gd name="connsiteX78" fmla="*/ 214549 w 283657"/>
                <a:gd name="connsiteY78" fmla="*/ 220426 h 220452"/>
                <a:gd name="connsiteX79" fmla="*/ 208627 w 283657"/>
                <a:gd name="connsiteY79" fmla="*/ 215837 h 220452"/>
                <a:gd name="connsiteX80" fmla="*/ 194862 w 283657"/>
                <a:gd name="connsiteY80" fmla="*/ 214308 h 220452"/>
                <a:gd name="connsiteX81" fmla="*/ 186967 w 283657"/>
                <a:gd name="connsiteY81" fmla="*/ 215837 h 220452"/>
                <a:gd name="connsiteX82" fmla="*/ 181096 w 283657"/>
                <a:gd name="connsiteY82" fmla="*/ 217367 h 220452"/>
                <a:gd name="connsiteX83" fmla="*/ 179122 w 283657"/>
                <a:gd name="connsiteY83" fmla="*/ 215837 h 220452"/>
                <a:gd name="connsiteX84" fmla="*/ 171228 w 283657"/>
                <a:gd name="connsiteY84" fmla="*/ 212827 h 220452"/>
                <a:gd name="connsiteX85" fmla="*/ 165652 w 283657"/>
                <a:gd name="connsiteY85" fmla="*/ 212827 h 220452"/>
                <a:gd name="connsiteX86" fmla="*/ 161754 w 283657"/>
                <a:gd name="connsiteY86" fmla="*/ 206759 h 220452"/>
                <a:gd name="connsiteX87" fmla="*/ 153860 w 283657"/>
                <a:gd name="connsiteY87" fmla="*/ 206759 h 220452"/>
                <a:gd name="connsiteX88" fmla="*/ 143992 w 283657"/>
                <a:gd name="connsiteY88" fmla="*/ 209768 h 220452"/>
                <a:gd name="connsiteX89" fmla="*/ 140045 w 283657"/>
                <a:gd name="connsiteY89" fmla="*/ 205229 h 220452"/>
                <a:gd name="connsiteX90" fmla="*/ 138071 w 283657"/>
                <a:gd name="connsiteY90" fmla="*/ 202219 h 220452"/>
                <a:gd name="connsiteX91" fmla="*/ 138071 w 283657"/>
                <a:gd name="connsiteY91" fmla="*/ 199160 h 220452"/>
                <a:gd name="connsiteX92" fmla="*/ 132199 w 283657"/>
                <a:gd name="connsiteY92" fmla="*/ 196101 h 220452"/>
                <a:gd name="connsiteX93" fmla="*/ 128252 w 283657"/>
                <a:gd name="connsiteY93" fmla="*/ 196101 h 220452"/>
                <a:gd name="connsiteX94" fmla="*/ 122331 w 283657"/>
                <a:gd name="connsiteY94" fmla="*/ 193091 h 220452"/>
                <a:gd name="connsiteX95" fmla="*/ 116312 w 283657"/>
                <a:gd name="connsiteY95" fmla="*/ 193091 h 220452"/>
                <a:gd name="connsiteX96" fmla="*/ 108467 w 283657"/>
                <a:gd name="connsiteY96" fmla="*/ 190032 h 220452"/>
                <a:gd name="connsiteX97" fmla="*/ 104519 w 283657"/>
                <a:gd name="connsiteY97" fmla="*/ 191562 h 220452"/>
                <a:gd name="connsiteX98" fmla="*/ 94651 w 283657"/>
                <a:gd name="connsiteY98" fmla="*/ 190032 h 220452"/>
                <a:gd name="connsiteX99" fmla="*/ 90753 w 283657"/>
                <a:gd name="connsiteY99" fmla="*/ 185493 h 220452"/>
                <a:gd name="connsiteX100" fmla="*/ 84783 w 283657"/>
                <a:gd name="connsiteY100" fmla="*/ 179375 h 220452"/>
                <a:gd name="connsiteX101" fmla="*/ 82859 w 283657"/>
                <a:gd name="connsiteY101" fmla="*/ 174835 h 220452"/>
                <a:gd name="connsiteX102" fmla="*/ 82859 w 283657"/>
                <a:gd name="connsiteY102" fmla="*/ 170296 h 220452"/>
                <a:gd name="connsiteX103" fmla="*/ 80885 w 283657"/>
                <a:gd name="connsiteY103" fmla="*/ 164227 h 220452"/>
                <a:gd name="connsiteX104" fmla="*/ 82859 w 283657"/>
                <a:gd name="connsiteY104" fmla="*/ 159638 h 220452"/>
                <a:gd name="connsiteX105" fmla="*/ 76938 w 283657"/>
                <a:gd name="connsiteY105" fmla="*/ 156629 h 220452"/>
                <a:gd name="connsiteX106" fmla="*/ 71017 w 283657"/>
                <a:gd name="connsiteY106" fmla="*/ 152089 h 220452"/>
                <a:gd name="connsiteX107" fmla="*/ 69044 w 283657"/>
                <a:gd name="connsiteY107" fmla="*/ 150560 h 220452"/>
                <a:gd name="connsiteX108" fmla="*/ 71017 w 283657"/>
                <a:gd name="connsiteY108" fmla="*/ 147550 h 220452"/>
                <a:gd name="connsiteX109" fmla="*/ 69044 w 283657"/>
                <a:gd name="connsiteY109" fmla="*/ 146021 h 220452"/>
                <a:gd name="connsiteX110" fmla="*/ 63172 w 283657"/>
                <a:gd name="connsiteY110" fmla="*/ 144491 h 220452"/>
                <a:gd name="connsiteX111" fmla="*/ 59176 w 283657"/>
                <a:gd name="connsiteY111" fmla="*/ 141432 h 220452"/>
                <a:gd name="connsiteX112" fmla="*/ 53304 w 283657"/>
                <a:gd name="connsiteY112" fmla="*/ 138422 h 220452"/>
                <a:gd name="connsiteX113" fmla="*/ 47235 w 283657"/>
                <a:gd name="connsiteY113" fmla="*/ 133883 h 220452"/>
                <a:gd name="connsiteX114" fmla="*/ 37367 w 283657"/>
                <a:gd name="connsiteY114" fmla="*/ 120166 h 220452"/>
                <a:gd name="connsiteX115" fmla="*/ 35394 w 283657"/>
                <a:gd name="connsiteY115" fmla="*/ 115627 h 220452"/>
                <a:gd name="connsiteX116" fmla="*/ 33420 w 283657"/>
                <a:gd name="connsiteY116" fmla="*/ 115627 h 220452"/>
                <a:gd name="connsiteX117" fmla="*/ 27499 w 283657"/>
                <a:gd name="connsiteY117" fmla="*/ 114147 h 220452"/>
                <a:gd name="connsiteX118" fmla="*/ 25526 w 283657"/>
                <a:gd name="connsiteY118" fmla="*/ 109558 h 220452"/>
                <a:gd name="connsiteX119" fmla="*/ 23552 w 283657"/>
                <a:gd name="connsiteY119" fmla="*/ 106499 h 220452"/>
                <a:gd name="connsiteX120" fmla="*/ 21628 w 283657"/>
                <a:gd name="connsiteY120" fmla="*/ 100479 h 220452"/>
                <a:gd name="connsiteX121" fmla="*/ 17631 w 283657"/>
                <a:gd name="connsiteY121" fmla="*/ 94361 h 220452"/>
                <a:gd name="connsiteX122" fmla="*/ 15657 w 283657"/>
                <a:gd name="connsiteY122" fmla="*/ 94361 h 220452"/>
                <a:gd name="connsiteX123" fmla="*/ 15657 w 283657"/>
                <a:gd name="connsiteY123" fmla="*/ 91302 h 220452"/>
                <a:gd name="connsiteX124" fmla="*/ 11760 w 283657"/>
                <a:gd name="connsiteY124" fmla="*/ 88292 h 220452"/>
                <a:gd name="connsiteX125" fmla="*/ 7812 w 283657"/>
                <a:gd name="connsiteY125" fmla="*/ 85283 h 220452"/>
                <a:gd name="connsiteX126" fmla="*/ 5839 w 283657"/>
                <a:gd name="connsiteY126" fmla="*/ 83753 h 220452"/>
                <a:gd name="connsiteX127" fmla="*/ -82 w 283657"/>
                <a:gd name="connsiteY127" fmla="*/ 79214 h 220452"/>
                <a:gd name="connsiteX128" fmla="*/ -82 w 283657"/>
                <a:gd name="connsiteY128" fmla="*/ 66780 h 22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83657" h="220452">
                  <a:moveTo>
                    <a:pt x="-32" y="66780"/>
                  </a:moveTo>
                  <a:lnTo>
                    <a:pt x="1941" y="68310"/>
                  </a:lnTo>
                  <a:lnTo>
                    <a:pt x="11809" y="68310"/>
                  </a:lnTo>
                  <a:lnTo>
                    <a:pt x="17681" y="71319"/>
                  </a:lnTo>
                  <a:lnTo>
                    <a:pt x="19654" y="74378"/>
                  </a:lnTo>
                  <a:lnTo>
                    <a:pt x="23601" y="74378"/>
                  </a:lnTo>
                  <a:lnTo>
                    <a:pt x="29522" y="69839"/>
                  </a:lnTo>
                  <a:lnTo>
                    <a:pt x="39390" y="69839"/>
                  </a:lnTo>
                  <a:lnTo>
                    <a:pt x="43288" y="71319"/>
                  </a:lnTo>
                  <a:lnTo>
                    <a:pt x="47235" y="71319"/>
                  </a:lnTo>
                  <a:lnTo>
                    <a:pt x="53156" y="74378"/>
                  </a:lnTo>
                  <a:lnTo>
                    <a:pt x="59028" y="77438"/>
                  </a:lnTo>
                  <a:lnTo>
                    <a:pt x="70870" y="74378"/>
                  </a:lnTo>
                  <a:lnTo>
                    <a:pt x="80738" y="60760"/>
                  </a:lnTo>
                  <a:lnTo>
                    <a:pt x="96477" y="42504"/>
                  </a:lnTo>
                  <a:lnTo>
                    <a:pt x="118137" y="31847"/>
                  </a:lnTo>
                  <a:lnTo>
                    <a:pt x="129930" y="27308"/>
                  </a:lnTo>
                  <a:lnTo>
                    <a:pt x="131953" y="25827"/>
                  </a:lnTo>
                  <a:lnTo>
                    <a:pt x="135900" y="22768"/>
                  </a:lnTo>
                  <a:lnTo>
                    <a:pt x="131953" y="19709"/>
                  </a:lnTo>
                  <a:lnTo>
                    <a:pt x="135900" y="16700"/>
                  </a:lnTo>
                  <a:lnTo>
                    <a:pt x="135900" y="13640"/>
                  </a:lnTo>
                  <a:lnTo>
                    <a:pt x="137824" y="9101"/>
                  </a:lnTo>
                  <a:lnTo>
                    <a:pt x="147692" y="6042"/>
                  </a:lnTo>
                  <a:lnTo>
                    <a:pt x="153613" y="4513"/>
                  </a:lnTo>
                  <a:lnTo>
                    <a:pt x="157511" y="1503"/>
                  </a:lnTo>
                  <a:lnTo>
                    <a:pt x="165405" y="-27"/>
                  </a:lnTo>
                  <a:lnTo>
                    <a:pt x="175273" y="-27"/>
                  </a:lnTo>
                  <a:lnTo>
                    <a:pt x="177247" y="1503"/>
                  </a:lnTo>
                  <a:lnTo>
                    <a:pt x="181195" y="1503"/>
                  </a:lnTo>
                  <a:lnTo>
                    <a:pt x="187066" y="2983"/>
                  </a:lnTo>
                  <a:lnTo>
                    <a:pt x="191013" y="1503"/>
                  </a:lnTo>
                  <a:lnTo>
                    <a:pt x="192987" y="1503"/>
                  </a:lnTo>
                  <a:lnTo>
                    <a:pt x="192987" y="12160"/>
                  </a:lnTo>
                  <a:lnTo>
                    <a:pt x="206802" y="12160"/>
                  </a:lnTo>
                  <a:lnTo>
                    <a:pt x="212674" y="13640"/>
                  </a:lnTo>
                  <a:lnTo>
                    <a:pt x="212674" y="16700"/>
                  </a:lnTo>
                  <a:lnTo>
                    <a:pt x="216670" y="15170"/>
                  </a:lnTo>
                  <a:lnTo>
                    <a:pt x="220568" y="12160"/>
                  </a:lnTo>
                  <a:lnTo>
                    <a:pt x="228462" y="15170"/>
                  </a:lnTo>
                  <a:lnTo>
                    <a:pt x="240255" y="19709"/>
                  </a:lnTo>
                  <a:lnTo>
                    <a:pt x="246175" y="27308"/>
                  </a:lnTo>
                  <a:lnTo>
                    <a:pt x="252097" y="28837"/>
                  </a:lnTo>
                  <a:lnTo>
                    <a:pt x="263889" y="28837"/>
                  </a:lnTo>
                  <a:lnTo>
                    <a:pt x="269810" y="33377"/>
                  </a:lnTo>
                  <a:lnTo>
                    <a:pt x="275731" y="37916"/>
                  </a:lnTo>
                  <a:lnTo>
                    <a:pt x="283576" y="37916"/>
                  </a:lnTo>
                  <a:lnTo>
                    <a:pt x="283576" y="42504"/>
                  </a:lnTo>
                  <a:lnTo>
                    <a:pt x="279628" y="47044"/>
                  </a:lnTo>
                  <a:lnTo>
                    <a:pt x="281602" y="53113"/>
                  </a:lnTo>
                  <a:lnTo>
                    <a:pt x="279628" y="57652"/>
                  </a:lnTo>
                  <a:lnTo>
                    <a:pt x="279628" y="63770"/>
                  </a:lnTo>
                  <a:lnTo>
                    <a:pt x="277704" y="68310"/>
                  </a:lnTo>
                  <a:lnTo>
                    <a:pt x="277704" y="78967"/>
                  </a:lnTo>
                  <a:lnTo>
                    <a:pt x="273757" y="83506"/>
                  </a:lnTo>
                  <a:lnTo>
                    <a:pt x="275731" y="86516"/>
                  </a:lnTo>
                  <a:lnTo>
                    <a:pt x="281602" y="85036"/>
                  </a:lnTo>
                  <a:lnTo>
                    <a:pt x="279628" y="89575"/>
                  </a:lnTo>
                  <a:lnTo>
                    <a:pt x="273757" y="92585"/>
                  </a:lnTo>
                  <a:lnTo>
                    <a:pt x="273757" y="106252"/>
                  </a:lnTo>
                  <a:lnTo>
                    <a:pt x="267836" y="106252"/>
                  </a:lnTo>
                  <a:lnTo>
                    <a:pt x="267836" y="110841"/>
                  </a:lnTo>
                  <a:lnTo>
                    <a:pt x="275731" y="115380"/>
                  </a:lnTo>
                  <a:lnTo>
                    <a:pt x="275731" y="119919"/>
                  </a:lnTo>
                  <a:lnTo>
                    <a:pt x="269810" y="121449"/>
                  </a:lnTo>
                  <a:lnTo>
                    <a:pt x="269810" y="127518"/>
                  </a:lnTo>
                  <a:lnTo>
                    <a:pt x="275731" y="132107"/>
                  </a:lnTo>
                  <a:lnTo>
                    <a:pt x="277704" y="135116"/>
                  </a:lnTo>
                  <a:lnTo>
                    <a:pt x="273757" y="141185"/>
                  </a:lnTo>
                  <a:lnTo>
                    <a:pt x="265863" y="145774"/>
                  </a:lnTo>
                  <a:lnTo>
                    <a:pt x="263889" y="148833"/>
                  </a:lnTo>
                  <a:lnTo>
                    <a:pt x="258017" y="148833"/>
                  </a:lnTo>
                  <a:lnTo>
                    <a:pt x="258017" y="153619"/>
                  </a:lnTo>
                  <a:lnTo>
                    <a:pt x="259991" y="159638"/>
                  </a:lnTo>
                  <a:lnTo>
                    <a:pt x="256043" y="162698"/>
                  </a:lnTo>
                  <a:lnTo>
                    <a:pt x="256043" y="171826"/>
                  </a:lnTo>
                  <a:lnTo>
                    <a:pt x="254021" y="174835"/>
                  </a:lnTo>
                  <a:lnTo>
                    <a:pt x="254021" y="187023"/>
                  </a:lnTo>
                  <a:lnTo>
                    <a:pt x="214549" y="220426"/>
                  </a:lnTo>
                  <a:lnTo>
                    <a:pt x="208627" y="215837"/>
                  </a:lnTo>
                  <a:lnTo>
                    <a:pt x="194862" y="214308"/>
                  </a:lnTo>
                  <a:lnTo>
                    <a:pt x="186967" y="215837"/>
                  </a:lnTo>
                  <a:lnTo>
                    <a:pt x="181096" y="217367"/>
                  </a:lnTo>
                  <a:lnTo>
                    <a:pt x="179122" y="215837"/>
                  </a:lnTo>
                  <a:lnTo>
                    <a:pt x="171228" y="212827"/>
                  </a:lnTo>
                  <a:lnTo>
                    <a:pt x="165652" y="212827"/>
                  </a:lnTo>
                  <a:lnTo>
                    <a:pt x="161754" y="206759"/>
                  </a:lnTo>
                  <a:lnTo>
                    <a:pt x="153860" y="206759"/>
                  </a:lnTo>
                  <a:lnTo>
                    <a:pt x="143992" y="209768"/>
                  </a:lnTo>
                  <a:lnTo>
                    <a:pt x="140045" y="205229"/>
                  </a:lnTo>
                  <a:lnTo>
                    <a:pt x="138071" y="202219"/>
                  </a:lnTo>
                  <a:lnTo>
                    <a:pt x="138071" y="199160"/>
                  </a:lnTo>
                  <a:lnTo>
                    <a:pt x="132199" y="196101"/>
                  </a:lnTo>
                  <a:lnTo>
                    <a:pt x="128252" y="196101"/>
                  </a:lnTo>
                  <a:lnTo>
                    <a:pt x="122331" y="193091"/>
                  </a:lnTo>
                  <a:lnTo>
                    <a:pt x="116312" y="193091"/>
                  </a:lnTo>
                  <a:lnTo>
                    <a:pt x="108467" y="190032"/>
                  </a:lnTo>
                  <a:lnTo>
                    <a:pt x="104519" y="191562"/>
                  </a:lnTo>
                  <a:lnTo>
                    <a:pt x="94651" y="190032"/>
                  </a:lnTo>
                  <a:lnTo>
                    <a:pt x="90753" y="185493"/>
                  </a:lnTo>
                  <a:lnTo>
                    <a:pt x="84783" y="179375"/>
                  </a:lnTo>
                  <a:lnTo>
                    <a:pt x="82859" y="174835"/>
                  </a:lnTo>
                  <a:lnTo>
                    <a:pt x="82859" y="170296"/>
                  </a:lnTo>
                  <a:lnTo>
                    <a:pt x="80885" y="164227"/>
                  </a:lnTo>
                  <a:lnTo>
                    <a:pt x="82859" y="159638"/>
                  </a:lnTo>
                  <a:lnTo>
                    <a:pt x="76938" y="156629"/>
                  </a:lnTo>
                  <a:lnTo>
                    <a:pt x="71017" y="152089"/>
                  </a:lnTo>
                  <a:lnTo>
                    <a:pt x="69044" y="150560"/>
                  </a:lnTo>
                  <a:lnTo>
                    <a:pt x="71017" y="147550"/>
                  </a:lnTo>
                  <a:lnTo>
                    <a:pt x="69044" y="146021"/>
                  </a:lnTo>
                  <a:lnTo>
                    <a:pt x="63172" y="144491"/>
                  </a:lnTo>
                  <a:lnTo>
                    <a:pt x="59176" y="141432"/>
                  </a:lnTo>
                  <a:lnTo>
                    <a:pt x="53304" y="138422"/>
                  </a:lnTo>
                  <a:lnTo>
                    <a:pt x="47235" y="133883"/>
                  </a:lnTo>
                  <a:lnTo>
                    <a:pt x="37367" y="120166"/>
                  </a:lnTo>
                  <a:lnTo>
                    <a:pt x="35394" y="115627"/>
                  </a:lnTo>
                  <a:lnTo>
                    <a:pt x="33420" y="115627"/>
                  </a:lnTo>
                  <a:lnTo>
                    <a:pt x="27499" y="114147"/>
                  </a:lnTo>
                  <a:lnTo>
                    <a:pt x="25526" y="109558"/>
                  </a:lnTo>
                  <a:lnTo>
                    <a:pt x="23552" y="106499"/>
                  </a:lnTo>
                  <a:lnTo>
                    <a:pt x="21628" y="100479"/>
                  </a:lnTo>
                  <a:lnTo>
                    <a:pt x="17631" y="94361"/>
                  </a:lnTo>
                  <a:lnTo>
                    <a:pt x="15657" y="94361"/>
                  </a:lnTo>
                  <a:lnTo>
                    <a:pt x="15657" y="91302"/>
                  </a:lnTo>
                  <a:lnTo>
                    <a:pt x="11760" y="88292"/>
                  </a:lnTo>
                  <a:lnTo>
                    <a:pt x="7812" y="85283"/>
                  </a:lnTo>
                  <a:lnTo>
                    <a:pt x="5839" y="83753"/>
                  </a:lnTo>
                  <a:lnTo>
                    <a:pt x="-82" y="79214"/>
                  </a:lnTo>
                  <a:lnTo>
                    <a:pt x="-82" y="6678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Graphic 2">
              <a:extLst>
                <a:ext uri="{FF2B5EF4-FFF2-40B4-BE49-F238E27FC236}">
                  <a16:creationId xmlns:a16="http://schemas.microsoft.com/office/drawing/2014/main" id="{36A4A59B-2794-4D53-A503-1E50B70D945D}"/>
                </a:ext>
              </a:extLst>
            </p:cNvPr>
            <p:cNvSpPr/>
            <p:nvPr/>
          </p:nvSpPr>
          <p:spPr>
            <a:xfrm>
              <a:off x="6048153" y="5151270"/>
              <a:ext cx="309032" cy="263343"/>
            </a:xfrm>
            <a:custGeom>
              <a:avLst/>
              <a:gdLst>
                <a:gd name="connsiteX0" fmla="*/ 196687 w 340152"/>
                <a:gd name="connsiteY0" fmla="*/ 170 h 289874"/>
                <a:gd name="connsiteX1" fmla="*/ 196687 w 340152"/>
                <a:gd name="connsiteY1" fmla="*/ 11075 h 289874"/>
                <a:gd name="connsiteX2" fmla="*/ 202559 w 340152"/>
                <a:gd name="connsiteY2" fmla="*/ 15614 h 289874"/>
                <a:gd name="connsiteX3" fmla="*/ 204532 w 340152"/>
                <a:gd name="connsiteY3" fmla="*/ 17143 h 289874"/>
                <a:gd name="connsiteX4" fmla="*/ 208480 w 340152"/>
                <a:gd name="connsiteY4" fmla="*/ 20203 h 289874"/>
                <a:gd name="connsiteX5" fmla="*/ 212378 w 340152"/>
                <a:gd name="connsiteY5" fmla="*/ 23262 h 289874"/>
                <a:gd name="connsiteX6" fmla="*/ 212378 w 340152"/>
                <a:gd name="connsiteY6" fmla="*/ 25877 h 289874"/>
                <a:gd name="connsiteX7" fmla="*/ 214351 w 340152"/>
                <a:gd name="connsiteY7" fmla="*/ 25877 h 289874"/>
                <a:gd name="connsiteX8" fmla="*/ 218299 w 340152"/>
                <a:gd name="connsiteY8" fmla="*/ 31946 h 289874"/>
                <a:gd name="connsiteX9" fmla="*/ 220223 w 340152"/>
                <a:gd name="connsiteY9" fmla="*/ 38064 h 289874"/>
                <a:gd name="connsiteX10" fmla="*/ 222197 w 340152"/>
                <a:gd name="connsiteY10" fmla="*/ 41074 h 289874"/>
                <a:gd name="connsiteX11" fmla="*/ 224170 w 340152"/>
                <a:gd name="connsiteY11" fmla="*/ 45662 h 289874"/>
                <a:gd name="connsiteX12" fmla="*/ 230042 w 340152"/>
                <a:gd name="connsiteY12" fmla="*/ 47192 h 289874"/>
                <a:gd name="connsiteX13" fmla="*/ 232015 w 340152"/>
                <a:gd name="connsiteY13" fmla="*/ 47192 h 289874"/>
                <a:gd name="connsiteX14" fmla="*/ 233989 w 340152"/>
                <a:gd name="connsiteY14" fmla="*/ 51731 h 289874"/>
                <a:gd name="connsiteX15" fmla="*/ 243857 w 340152"/>
                <a:gd name="connsiteY15" fmla="*/ 65497 h 289874"/>
                <a:gd name="connsiteX16" fmla="*/ 249728 w 340152"/>
                <a:gd name="connsiteY16" fmla="*/ 70036 h 289874"/>
                <a:gd name="connsiteX17" fmla="*/ 255600 w 340152"/>
                <a:gd name="connsiteY17" fmla="*/ 73096 h 289874"/>
                <a:gd name="connsiteX18" fmla="*/ 259547 w 340152"/>
                <a:gd name="connsiteY18" fmla="*/ 76155 h 289874"/>
                <a:gd name="connsiteX19" fmla="*/ 265419 w 340152"/>
                <a:gd name="connsiteY19" fmla="*/ 77684 h 289874"/>
                <a:gd name="connsiteX20" fmla="*/ 267392 w 340152"/>
                <a:gd name="connsiteY20" fmla="*/ 79164 h 289874"/>
                <a:gd name="connsiteX21" fmla="*/ 265419 w 340152"/>
                <a:gd name="connsiteY21" fmla="*/ 82223 h 289874"/>
                <a:gd name="connsiteX22" fmla="*/ 267392 w 340152"/>
                <a:gd name="connsiteY22" fmla="*/ 83753 h 289874"/>
                <a:gd name="connsiteX23" fmla="*/ 273313 w 340152"/>
                <a:gd name="connsiteY23" fmla="*/ 88342 h 289874"/>
                <a:gd name="connsiteX24" fmla="*/ 279184 w 340152"/>
                <a:gd name="connsiteY24" fmla="*/ 91401 h 289874"/>
                <a:gd name="connsiteX25" fmla="*/ 277211 w 340152"/>
                <a:gd name="connsiteY25" fmla="*/ 95990 h 289874"/>
                <a:gd name="connsiteX26" fmla="*/ 279184 w 340152"/>
                <a:gd name="connsiteY26" fmla="*/ 102058 h 289874"/>
                <a:gd name="connsiteX27" fmla="*/ 279184 w 340152"/>
                <a:gd name="connsiteY27" fmla="*/ 106598 h 289874"/>
                <a:gd name="connsiteX28" fmla="*/ 281158 w 340152"/>
                <a:gd name="connsiteY28" fmla="*/ 111186 h 289874"/>
                <a:gd name="connsiteX29" fmla="*/ 287030 w 340152"/>
                <a:gd name="connsiteY29" fmla="*/ 117305 h 289874"/>
                <a:gd name="connsiteX30" fmla="*/ 290977 w 340152"/>
                <a:gd name="connsiteY30" fmla="*/ 121893 h 289874"/>
                <a:gd name="connsiteX31" fmla="*/ 300845 w 340152"/>
                <a:gd name="connsiteY31" fmla="*/ 123423 h 289874"/>
                <a:gd name="connsiteX32" fmla="*/ 304743 w 340152"/>
                <a:gd name="connsiteY32" fmla="*/ 121893 h 289874"/>
                <a:gd name="connsiteX33" fmla="*/ 312637 w 340152"/>
                <a:gd name="connsiteY33" fmla="*/ 124952 h 289874"/>
                <a:gd name="connsiteX34" fmla="*/ 318460 w 340152"/>
                <a:gd name="connsiteY34" fmla="*/ 124952 h 289874"/>
                <a:gd name="connsiteX35" fmla="*/ 324380 w 340152"/>
                <a:gd name="connsiteY35" fmla="*/ 127962 h 289874"/>
                <a:gd name="connsiteX36" fmla="*/ 328278 w 340152"/>
                <a:gd name="connsiteY36" fmla="*/ 127962 h 289874"/>
                <a:gd name="connsiteX37" fmla="*/ 334199 w 340152"/>
                <a:gd name="connsiteY37" fmla="*/ 131021 h 289874"/>
                <a:gd name="connsiteX38" fmla="*/ 334199 w 340152"/>
                <a:gd name="connsiteY38" fmla="*/ 134426 h 289874"/>
                <a:gd name="connsiteX39" fmla="*/ 336173 w 340152"/>
                <a:gd name="connsiteY39" fmla="*/ 137435 h 289874"/>
                <a:gd name="connsiteX40" fmla="*/ 340071 w 340152"/>
                <a:gd name="connsiteY40" fmla="*/ 142024 h 289874"/>
                <a:gd name="connsiteX41" fmla="*/ 334248 w 340152"/>
                <a:gd name="connsiteY41" fmla="*/ 142024 h 289874"/>
                <a:gd name="connsiteX42" fmla="*/ 332275 w 340152"/>
                <a:gd name="connsiteY42" fmla="*/ 143553 h 289874"/>
                <a:gd name="connsiteX43" fmla="*/ 324380 w 340152"/>
                <a:gd name="connsiteY43" fmla="*/ 143553 h 289874"/>
                <a:gd name="connsiteX44" fmla="*/ 320433 w 340152"/>
                <a:gd name="connsiteY44" fmla="*/ 146612 h 289874"/>
                <a:gd name="connsiteX45" fmla="*/ 320433 w 340152"/>
                <a:gd name="connsiteY45" fmla="*/ 149672 h 289874"/>
                <a:gd name="connsiteX46" fmla="*/ 318460 w 340152"/>
                <a:gd name="connsiteY46" fmla="*/ 154211 h 289874"/>
                <a:gd name="connsiteX47" fmla="*/ 314562 w 340152"/>
                <a:gd name="connsiteY47" fmla="*/ 155741 h 289874"/>
                <a:gd name="connsiteX48" fmla="*/ 308641 w 340152"/>
                <a:gd name="connsiteY48" fmla="*/ 158800 h 289874"/>
                <a:gd name="connsiteX49" fmla="*/ 304644 w 340152"/>
                <a:gd name="connsiteY49" fmla="*/ 158800 h 289874"/>
                <a:gd name="connsiteX50" fmla="*/ 300746 w 340152"/>
                <a:gd name="connsiteY50" fmla="*/ 160329 h 289874"/>
                <a:gd name="connsiteX51" fmla="*/ 298724 w 340152"/>
                <a:gd name="connsiteY51" fmla="*/ 158800 h 289874"/>
                <a:gd name="connsiteX52" fmla="*/ 288856 w 340152"/>
                <a:gd name="connsiteY52" fmla="*/ 158800 h 289874"/>
                <a:gd name="connsiteX53" fmla="*/ 282984 w 340152"/>
                <a:gd name="connsiteY53" fmla="*/ 164868 h 289874"/>
                <a:gd name="connsiteX54" fmla="*/ 279037 w 340152"/>
                <a:gd name="connsiteY54" fmla="*/ 169457 h 289874"/>
                <a:gd name="connsiteX55" fmla="*/ 275089 w 340152"/>
                <a:gd name="connsiteY55" fmla="*/ 170987 h 289874"/>
                <a:gd name="connsiteX56" fmla="*/ 273165 w 340152"/>
                <a:gd name="connsiteY56" fmla="*/ 174046 h 289874"/>
                <a:gd name="connsiteX57" fmla="*/ 269218 w 340152"/>
                <a:gd name="connsiteY57" fmla="*/ 175576 h 289874"/>
                <a:gd name="connsiteX58" fmla="*/ 265271 w 340152"/>
                <a:gd name="connsiteY58" fmla="*/ 178635 h 289874"/>
                <a:gd name="connsiteX59" fmla="*/ 259399 w 340152"/>
                <a:gd name="connsiteY59" fmla="*/ 178635 h 289874"/>
                <a:gd name="connsiteX60" fmla="*/ 255452 w 340152"/>
                <a:gd name="connsiteY60" fmla="*/ 181694 h 289874"/>
                <a:gd name="connsiteX61" fmla="*/ 245584 w 340152"/>
                <a:gd name="connsiteY61" fmla="*/ 190822 h 289874"/>
                <a:gd name="connsiteX62" fmla="*/ 245584 w 340152"/>
                <a:gd name="connsiteY62" fmla="*/ 199950 h 289874"/>
                <a:gd name="connsiteX63" fmla="*/ 247606 w 340152"/>
                <a:gd name="connsiteY63" fmla="*/ 202959 h 289874"/>
                <a:gd name="connsiteX64" fmla="*/ 247606 w 340152"/>
                <a:gd name="connsiteY64" fmla="*/ 207548 h 289874"/>
                <a:gd name="connsiteX65" fmla="*/ 241686 w 340152"/>
                <a:gd name="connsiteY65" fmla="*/ 207548 h 289874"/>
                <a:gd name="connsiteX66" fmla="*/ 239712 w 340152"/>
                <a:gd name="connsiteY66" fmla="*/ 210607 h 289874"/>
                <a:gd name="connsiteX67" fmla="*/ 235815 w 340152"/>
                <a:gd name="connsiteY67" fmla="*/ 210607 h 289874"/>
                <a:gd name="connsiteX68" fmla="*/ 231867 w 340152"/>
                <a:gd name="connsiteY68" fmla="*/ 215196 h 289874"/>
                <a:gd name="connsiteX69" fmla="*/ 229893 w 340152"/>
                <a:gd name="connsiteY69" fmla="*/ 218255 h 289874"/>
                <a:gd name="connsiteX70" fmla="*/ 225996 w 340152"/>
                <a:gd name="connsiteY70" fmla="*/ 221264 h 289874"/>
                <a:gd name="connsiteX71" fmla="*/ 224022 w 340152"/>
                <a:gd name="connsiteY71" fmla="*/ 224324 h 289874"/>
                <a:gd name="connsiteX72" fmla="*/ 218150 w 340152"/>
                <a:gd name="connsiteY72" fmla="*/ 224324 h 289874"/>
                <a:gd name="connsiteX73" fmla="*/ 214204 w 340152"/>
                <a:gd name="connsiteY73" fmla="*/ 227383 h 289874"/>
                <a:gd name="connsiteX74" fmla="*/ 206358 w 340152"/>
                <a:gd name="connsiteY74" fmla="*/ 228912 h 289874"/>
                <a:gd name="connsiteX75" fmla="*/ 204385 w 340152"/>
                <a:gd name="connsiteY75" fmla="*/ 233452 h 289874"/>
                <a:gd name="connsiteX76" fmla="*/ 204385 w 340152"/>
                <a:gd name="connsiteY76" fmla="*/ 241099 h 289874"/>
                <a:gd name="connsiteX77" fmla="*/ 202411 w 340152"/>
                <a:gd name="connsiteY77" fmla="*/ 244158 h 289874"/>
                <a:gd name="connsiteX78" fmla="*/ 202411 w 340152"/>
                <a:gd name="connsiteY78" fmla="*/ 248698 h 289874"/>
                <a:gd name="connsiteX79" fmla="*/ 200437 w 340152"/>
                <a:gd name="connsiteY79" fmla="*/ 254816 h 289874"/>
                <a:gd name="connsiteX80" fmla="*/ 202411 w 340152"/>
                <a:gd name="connsiteY80" fmla="*/ 256346 h 289874"/>
                <a:gd name="connsiteX81" fmla="*/ 192543 w 340152"/>
                <a:gd name="connsiteY81" fmla="*/ 260885 h 289874"/>
                <a:gd name="connsiteX82" fmla="*/ 188645 w 340152"/>
                <a:gd name="connsiteY82" fmla="*/ 259355 h 289874"/>
                <a:gd name="connsiteX83" fmla="*/ 184747 w 340152"/>
                <a:gd name="connsiteY83" fmla="*/ 256346 h 289874"/>
                <a:gd name="connsiteX84" fmla="*/ 170932 w 340152"/>
                <a:gd name="connsiteY84" fmla="*/ 256346 h 289874"/>
                <a:gd name="connsiteX85" fmla="*/ 165060 w 340152"/>
                <a:gd name="connsiteY85" fmla="*/ 257826 h 289874"/>
                <a:gd name="connsiteX86" fmla="*/ 157215 w 340152"/>
                <a:gd name="connsiteY86" fmla="*/ 256346 h 289874"/>
                <a:gd name="connsiteX87" fmla="*/ 151344 w 340152"/>
                <a:gd name="connsiteY87" fmla="*/ 257826 h 289874"/>
                <a:gd name="connsiteX88" fmla="*/ 139552 w 340152"/>
                <a:gd name="connsiteY88" fmla="*/ 251757 h 289874"/>
                <a:gd name="connsiteX89" fmla="*/ 135604 w 340152"/>
                <a:gd name="connsiteY89" fmla="*/ 251757 h 289874"/>
                <a:gd name="connsiteX90" fmla="*/ 131706 w 340152"/>
                <a:gd name="connsiteY90" fmla="*/ 245688 h 289874"/>
                <a:gd name="connsiteX91" fmla="*/ 117940 w 340152"/>
                <a:gd name="connsiteY91" fmla="*/ 244158 h 289874"/>
                <a:gd name="connsiteX92" fmla="*/ 110144 w 340152"/>
                <a:gd name="connsiteY92" fmla="*/ 245688 h 289874"/>
                <a:gd name="connsiteX93" fmla="*/ 100276 w 340152"/>
                <a:gd name="connsiteY93" fmla="*/ 253287 h 289874"/>
                <a:gd name="connsiteX94" fmla="*/ 94356 w 340152"/>
                <a:gd name="connsiteY94" fmla="*/ 265474 h 289874"/>
                <a:gd name="connsiteX95" fmla="*/ 86511 w 340152"/>
                <a:gd name="connsiteY95" fmla="*/ 271592 h 289874"/>
                <a:gd name="connsiteX96" fmla="*/ 76643 w 340152"/>
                <a:gd name="connsiteY96" fmla="*/ 276131 h 289874"/>
                <a:gd name="connsiteX97" fmla="*/ 72695 w 340152"/>
                <a:gd name="connsiteY97" fmla="*/ 279190 h 289874"/>
                <a:gd name="connsiteX98" fmla="*/ 66824 w 340152"/>
                <a:gd name="connsiteY98" fmla="*/ 283779 h 289874"/>
                <a:gd name="connsiteX99" fmla="*/ 58978 w 340152"/>
                <a:gd name="connsiteY99" fmla="*/ 285308 h 289874"/>
                <a:gd name="connsiteX100" fmla="*/ 53058 w 340152"/>
                <a:gd name="connsiteY100" fmla="*/ 288318 h 289874"/>
                <a:gd name="connsiteX101" fmla="*/ 43190 w 340152"/>
                <a:gd name="connsiteY101" fmla="*/ 288318 h 289874"/>
                <a:gd name="connsiteX102" fmla="*/ 39292 w 340152"/>
                <a:gd name="connsiteY102" fmla="*/ 289848 h 289874"/>
                <a:gd name="connsiteX103" fmla="*/ 29424 w 340152"/>
                <a:gd name="connsiteY103" fmla="*/ 288318 h 289874"/>
                <a:gd name="connsiteX104" fmla="*/ 17631 w 340152"/>
                <a:gd name="connsiteY104" fmla="*/ 289848 h 289874"/>
                <a:gd name="connsiteX105" fmla="*/ 19605 w 340152"/>
                <a:gd name="connsiteY105" fmla="*/ 283779 h 289874"/>
                <a:gd name="connsiteX106" fmla="*/ 25526 w 340152"/>
                <a:gd name="connsiteY106" fmla="*/ 274651 h 289874"/>
                <a:gd name="connsiteX107" fmla="*/ 25526 w 340152"/>
                <a:gd name="connsiteY107" fmla="*/ 265474 h 289874"/>
                <a:gd name="connsiteX108" fmla="*/ 15658 w 340152"/>
                <a:gd name="connsiteY108" fmla="*/ 248698 h 289874"/>
                <a:gd name="connsiteX109" fmla="*/ 11711 w 340152"/>
                <a:gd name="connsiteY109" fmla="*/ 239570 h 289874"/>
                <a:gd name="connsiteX110" fmla="*/ -82 w 340152"/>
                <a:gd name="connsiteY110" fmla="*/ 231922 h 289874"/>
                <a:gd name="connsiteX111" fmla="*/ -82 w 340152"/>
                <a:gd name="connsiteY111" fmla="*/ 231922 h 289874"/>
                <a:gd name="connsiteX112" fmla="*/ 5839 w 340152"/>
                <a:gd name="connsiteY112" fmla="*/ 132896 h 289874"/>
                <a:gd name="connsiteX113" fmla="*/ 39193 w 340152"/>
                <a:gd name="connsiteY113" fmla="*/ 132896 h 289874"/>
                <a:gd name="connsiteX114" fmla="*/ 45114 w 340152"/>
                <a:gd name="connsiteY114" fmla="*/ 21634 h 289874"/>
                <a:gd name="connsiteX115" fmla="*/ 72547 w 340152"/>
                <a:gd name="connsiteY115" fmla="*/ 23163 h 289874"/>
                <a:gd name="connsiteX116" fmla="*/ 105901 w 340152"/>
                <a:gd name="connsiteY116" fmla="*/ 15515 h 289874"/>
                <a:gd name="connsiteX117" fmla="*/ 117694 w 340152"/>
                <a:gd name="connsiteY117" fmla="*/ 13986 h 289874"/>
                <a:gd name="connsiteX118" fmla="*/ 121641 w 340152"/>
                <a:gd name="connsiteY118" fmla="*/ 12505 h 289874"/>
                <a:gd name="connsiteX119" fmla="*/ 123615 w 340152"/>
                <a:gd name="connsiteY119" fmla="*/ 12505 h 289874"/>
                <a:gd name="connsiteX120" fmla="*/ 127512 w 340152"/>
                <a:gd name="connsiteY120" fmla="*/ 13986 h 289874"/>
                <a:gd name="connsiteX121" fmla="*/ 129486 w 340152"/>
                <a:gd name="connsiteY121" fmla="*/ 17045 h 289874"/>
                <a:gd name="connsiteX122" fmla="*/ 131460 w 340152"/>
                <a:gd name="connsiteY122" fmla="*/ 20104 h 289874"/>
                <a:gd name="connsiteX123" fmla="*/ 129486 w 340152"/>
                <a:gd name="connsiteY123" fmla="*/ 21634 h 289874"/>
                <a:gd name="connsiteX124" fmla="*/ 129486 w 340152"/>
                <a:gd name="connsiteY124" fmla="*/ 25877 h 289874"/>
                <a:gd name="connsiteX125" fmla="*/ 131460 w 340152"/>
                <a:gd name="connsiteY125" fmla="*/ 25877 h 289874"/>
                <a:gd name="connsiteX126" fmla="*/ 143252 w 340152"/>
                <a:gd name="connsiteY126" fmla="*/ 19759 h 289874"/>
                <a:gd name="connsiteX127" fmla="*/ 149123 w 340152"/>
                <a:gd name="connsiteY127" fmla="*/ 12160 h 289874"/>
                <a:gd name="connsiteX128" fmla="*/ 154995 w 340152"/>
                <a:gd name="connsiteY128" fmla="*/ 4512 h 289874"/>
                <a:gd name="connsiteX129" fmla="*/ 164863 w 340152"/>
                <a:gd name="connsiteY129" fmla="*/ 4512 h 289874"/>
                <a:gd name="connsiteX130" fmla="*/ 166836 w 340152"/>
                <a:gd name="connsiteY130" fmla="*/ 6042 h 289874"/>
                <a:gd name="connsiteX131" fmla="*/ 170734 w 340152"/>
                <a:gd name="connsiteY131" fmla="*/ 9101 h 289874"/>
                <a:gd name="connsiteX132" fmla="*/ 174731 w 340152"/>
                <a:gd name="connsiteY132" fmla="*/ 4512 h 289874"/>
                <a:gd name="connsiteX133" fmla="*/ 186474 w 340152"/>
                <a:gd name="connsiteY133" fmla="*/ 1503 h 289874"/>
                <a:gd name="connsiteX134" fmla="*/ 196342 w 340152"/>
                <a:gd name="connsiteY134" fmla="*/ -27 h 289874"/>
                <a:gd name="connsiteX135" fmla="*/ 196342 w 340152"/>
                <a:gd name="connsiteY135" fmla="*/ -27 h 289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340152" h="289874">
                  <a:moveTo>
                    <a:pt x="196687" y="170"/>
                  </a:moveTo>
                  <a:lnTo>
                    <a:pt x="196687" y="11075"/>
                  </a:lnTo>
                  <a:lnTo>
                    <a:pt x="202559" y="15614"/>
                  </a:lnTo>
                  <a:lnTo>
                    <a:pt x="204532" y="17143"/>
                  </a:lnTo>
                  <a:lnTo>
                    <a:pt x="208480" y="20203"/>
                  </a:lnTo>
                  <a:lnTo>
                    <a:pt x="212378" y="23262"/>
                  </a:lnTo>
                  <a:lnTo>
                    <a:pt x="212378" y="25877"/>
                  </a:lnTo>
                  <a:lnTo>
                    <a:pt x="214351" y="25877"/>
                  </a:lnTo>
                  <a:lnTo>
                    <a:pt x="218299" y="31946"/>
                  </a:lnTo>
                  <a:lnTo>
                    <a:pt x="220223" y="38064"/>
                  </a:lnTo>
                  <a:lnTo>
                    <a:pt x="222197" y="41074"/>
                  </a:lnTo>
                  <a:lnTo>
                    <a:pt x="224170" y="45662"/>
                  </a:lnTo>
                  <a:lnTo>
                    <a:pt x="230042" y="47192"/>
                  </a:lnTo>
                  <a:lnTo>
                    <a:pt x="232015" y="47192"/>
                  </a:lnTo>
                  <a:lnTo>
                    <a:pt x="233989" y="51731"/>
                  </a:lnTo>
                  <a:lnTo>
                    <a:pt x="243857" y="65497"/>
                  </a:lnTo>
                  <a:lnTo>
                    <a:pt x="249728" y="70036"/>
                  </a:lnTo>
                  <a:lnTo>
                    <a:pt x="255600" y="73096"/>
                  </a:lnTo>
                  <a:lnTo>
                    <a:pt x="259547" y="76155"/>
                  </a:lnTo>
                  <a:lnTo>
                    <a:pt x="265419" y="77684"/>
                  </a:lnTo>
                  <a:lnTo>
                    <a:pt x="267392" y="79164"/>
                  </a:lnTo>
                  <a:lnTo>
                    <a:pt x="265419" y="82223"/>
                  </a:lnTo>
                  <a:lnTo>
                    <a:pt x="267392" y="83753"/>
                  </a:lnTo>
                  <a:lnTo>
                    <a:pt x="273313" y="88342"/>
                  </a:lnTo>
                  <a:lnTo>
                    <a:pt x="279184" y="91401"/>
                  </a:lnTo>
                  <a:lnTo>
                    <a:pt x="277211" y="95990"/>
                  </a:lnTo>
                  <a:lnTo>
                    <a:pt x="279184" y="102058"/>
                  </a:lnTo>
                  <a:lnTo>
                    <a:pt x="279184" y="106598"/>
                  </a:lnTo>
                  <a:lnTo>
                    <a:pt x="281158" y="111186"/>
                  </a:lnTo>
                  <a:lnTo>
                    <a:pt x="287030" y="117305"/>
                  </a:lnTo>
                  <a:lnTo>
                    <a:pt x="290977" y="121893"/>
                  </a:lnTo>
                  <a:lnTo>
                    <a:pt x="300845" y="123423"/>
                  </a:lnTo>
                  <a:lnTo>
                    <a:pt x="304743" y="121893"/>
                  </a:lnTo>
                  <a:lnTo>
                    <a:pt x="312637" y="124952"/>
                  </a:lnTo>
                  <a:lnTo>
                    <a:pt x="318460" y="124952"/>
                  </a:lnTo>
                  <a:lnTo>
                    <a:pt x="324380" y="127962"/>
                  </a:lnTo>
                  <a:lnTo>
                    <a:pt x="328278" y="127962"/>
                  </a:lnTo>
                  <a:lnTo>
                    <a:pt x="334199" y="131021"/>
                  </a:lnTo>
                  <a:lnTo>
                    <a:pt x="334199" y="134426"/>
                  </a:lnTo>
                  <a:lnTo>
                    <a:pt x="336173" y="137435"/>
                  </a:lnTo>
                  <a:lnTo>
                    <a:pt x="340071" y="142024"/>
                  </a:lnTo>
                  <a:lnTo>
                    <a:pt x="334248" y="142024"/>
                  </a:lnTo>
                  <a:lnTo>
                    <a:pt x="332275" y="143553"/>
                  </a:lnTo>
                  <a:lnTo>
                    <a:pt x="324380" y="143553"/>
                  </a:lnTo>
                  <a:lnTo>
                    <a:pt x="320433" y="146612"/>
                  </a:lnTo>
                  <a:lnTo>
                    <a:pt x="320433" y="149672"/>
                  </a:lnTo>
                  <a:lnTo>
                    <a:pt x="318460" y="154211"/>
                  </a:lnTo>
                  <a:lnTo>
                    <a:pt x="314562" y="155741"/>
                  </a:lnTo>
                  <a:lnTo>
                    <a:pt x="308641" y="158800"/>
                  </a:lnTo>
                  <a:lnTo>
                    <a:pt x="304644" y="158800"/>
                  </a:lnTo>
                  <a:lnTo>
                    <a:pt x="300746" y="160329"/>
                  </a:lnTo>
                  <a:lnTo>
                    <a:pt x="298724" y="158800"/>
                  </a:lnTo>
                  <a:lnTo>
                    <a:pt x="288856" y="158800"/>
                  </a:lnTo>
                  <a:lnTo>
                    <a:pt x="282984" y="164868"/>
                  </a:lnTo>
                  <a:lnTo>
                    <a:pt x="279037" y="169457"/>
                  </a:lnTo>
                  <a:lnTo>
                    <a:pt x="275089" y="170987"/>
                  </a:lnTo>
                  <a:lnTo>
                    <a:pt x="273165" y="174046"/>
                  </a:lnTo>
                  <a:lnTo>
                    <a:pt x="269218" y="175576"/>
                  </a:lnTo>
                  <a:lnTo>
                    <a:pt x="265271" y="178635"/>
                  </a:lnTo>
                  <a:lnTo>
                    <a:pt x="259399" y="178635"/>
                  </a:lnTo>
                  <a:lnTo>
                    <a:pt x="255452" y="181694"/>
                  </a:lnTo>
                  <a:lnTo>
                    <a:pt x="245584" y="190822"/>
                  </a:lnTo>
                  <a:lnTo>
                    <a:pt x="245584" y="199950"/>
                  </a:lnTo>
                  <a:lnTo>
                    <a:pt x="247606" y="202959"/>
                  </a:lnTo>
                  <a:lnTo>
                    <a:pt x="247606" y="207548"/>
                  </a:lnTo>
                  <a:lnTo>
                    <a:pt x="241686" y="207548"/>
                  </a:lnTo>
                  <a:lnTo>
                    <a:pt x="239712" y="210607"/>
                  </a:lnTo>
                  <a:lnTo>
                    <a:pt x="235815" y="210607"/>
                  </a:lnTo>
                  <a:lnTo>
                    <a:pt x="231867" y="215196"/>
                  </a:lnTo>
                  <a:lnTo>
                    <a:pt x="229893" y="218255"/>
                  </a:lnTo>
                  <a:lnTo>
                    <a:pt x="225996" y="221264"/>
                  </a:lnTo>
                  <a:lnTo>
                    <a:pt x="224022" y="224324"/>
                  </a:lnTo>
                  <a:lnTo>
                    <a:pt x="218150" y="224324"/>
                  </a:lnTo>
                  <a:lnTo>
                    <a:pt x="214204" y="227383"/>
                  </a:lnTo>
                  <a:lnTo>
                    <a:pt x="206358" y="228912"/>
                  </a:lnTo>
                  <a:lnTo>
                    <a:pt x="204385" y="233452"/>
                  </a:lnTo>
                  <a:lnTo>
                    <a:pt x="204385" y="241099"/>
                  </a:lnTo>
                  <a:lnTo>
                    <a:pt x="202411" y="244158"/>
                  </a:lnTo>
                  <a:lnTo>
                    <a:pt x="202411" y="248698"/>
                  </a:lnTo>
                  <a:lnTo>
                    <a:pt x="200437" y="254816"/>
                  </a:lnTo>
                  <a:lnTo>
                    <a:pt x="202411" y="256346"/>
                  </a:lnTo>
                  <a:lnTo>
                    <a:pt x="192543" y="260885"/>
                  </a:lnTo>
                  <a:lnTo>
                    <a:pt x="188645" y="259355"/>
                  </a:lnTo>
                  <a:lnTo>
                    <a:pt x="184747" y="256346"/>
                  </a:lnTo>
                  <a:lnTo>
                    <a:pt x="170932" y="256346"/>
                  </a:lnTo>
                  <a:lnTo>
                    <a:pt x="165060" y="257826"/>
                  </a:lnTo>
                  <a:lnTo>
                    <a:pt x="157215" y="256346"/>
                  </a:lnTo>
                  <a:lnTo>
                    <a:pt x="151344" y="257826"/>
                  </a:lnTo>
                  <a:lnTo>
                    <a:pt x="139552" y="251757"/>
                  </a:lnTo>
                  <a:lnTo>
                    <a:pt x="135604" y="251757"/>
                  </a:lnTo>
                  <a:lnTo>
                    <a:pt x="131706" y="245688"/>
                  </a:lnTo>
                  <a:lnTo>
                    <a:pt x="117940" y="244158"/>
                  </a:lnTo>
                  <a:lnTo>
                    <a:pt x="110144" y="245688"/>
                  </a:lnTo>
                  <a:lnTo>
                    <a:pt x="100276" y="253287"/>
                  </a:lnTo>
                  <a:lnTo>
                    <a:pt x="94356" y="265474"/>
                  </a:lnTo>
                  <a:lnTo>
                    <a:pt x="86511" y="271592"/>
                  </a:lnTo>
                  <a:lnTo>
                    <a:pt x="76643" y="276131"/>
                  </a:lnTo>
                  <a:lnTo>
                    <a:pt x="72695" y="279190"/>
                  </a:lnTo>
                  <a:lnTo>
                    <a:pt x="66824" y="283779"/>
                  </a:lnTo>
                  <a:lnTo>
                    <a:pt x="58978" y="285308"/>
                  </a:lnTo>
                  <a:lnTo>
                    <a:pt x="53058" y="288318"/>
                  </a:lnTo>
                  <a:lnTo>
                    <a:pt x="43190" y="288318"/>
                  </a:lnTo>
                  <a:lnTo>
                    <a:pt x="39292" y="289848"/>
                  </a:lnTo>
                  <a:lnTo>
                    <a:pt x="29424" y="288318"/>
                  </a:lnTo>
                  <a:lnTo>
                    <a:pt x="17631" y="289848"/>
                  </a:lnTo>
                  <a:lnTo>
                    <a:pt x="19605" y="283779"/>
                  </a:lnTo>
                  <a:lnTo>
                    <a:pt x="25526" y="274651"/>
                  </a:lnTo>
                  <a:lnTo>
                    <a:pt x="25526" y="265474"/>
                  </a:lnTo>
                  <a:lnTo>
                    <a:pt x="15658" y="248698"/>
                  </a:lnTo>
                  <a:lnTo>
                    <a:pt x="11711" y="239570"/>
                  </a:lnTo>
                  <a:lnTo>
                    <a:pt x="-82" y="231922"/>
                  </a:lnTo>
                  <a:lnTo>
                    <a:pt x="-82" y="231922"/>
                  </a:lnTo>
                  <a:lnTo>
                    <a:pt x="5839" y="132896"/>
                  </a:lnTo>
                  <a:lnTo>
                    <a:pt x="39193" y="132896"/>
                  </a:lnTo>
                  <a:lnTo>
                    <a:pt x="45114" y="21634"/>
                  </a:lnTo>
                  <a:lnTo>
                    <a:pt x="72547" y="23163"/>
                  </a:lnTo>
                  <a:lnTo>
                    <a:pt x="105901" y="15515"/>
                  </a:lnTo>
                  <a:lnTo>
                    <a:pt x="117694" y="13986"/>
                  </a:lnTo>
                  <a:lnTo>
                    <a:pt x="121641" y="12505"/>
                  </a:lnTo>
                  <a:lnTo>
                    <a:pt x="123615" y="12505"/>
                  </a:lnTo>
                  <a:lnTo>
                    <a:pt x="127512" y="13986"/>
                  </a:lnTo>
                  <a:lnTo>
                    <a:pt x="129486" y="17045"/>
                  </a:lnTo>
                  <a:lnTo>
                    <a:pt x="131460" y="20104"/>
                  </a:lnTo>
                  <a:lnTo>
                    <a:pt x="129486" y="21634"/>
                  </a:lnTo>
                  <a:lnTo>
                    <a:pt x="129486" y="25877"/>
                  </a:lnTo>
                  <a:lnTo>
                    <a:pt x="131460" y="25877"/>
                  </a:lnTo>
                  <a:lnTo>
                    <a:pt x="143252" y="19759"/>
                  </a:lnTo>
                  <a:lnTo>
                    <a:pt x="149123" y="12160"/>
                  </a:lnTo>
                  <a:lnTo>
                    <a:pt x="154995" y="4512"/>
                  </a:lnTo>
                  <a:lnTo>
                    <a:pt x="164863" y="4512"/>
                  </a:lnTo>
                  <a:lnTo>
                    <a:pt x="166836" y="6042"/>
                  </a:lnTo>
                  <a:lnTo>
                    <a:pt x="170734" y="9101"/>
                  </a:lnTo>
                  <a:lnTo>
                    <a:pt x="174731" y="4512"/>
                  </a:lnTo>
                  <a:lnTo>
                    <a:pt x="186474" y="1503"/>
                  </a:lnTo>
                  <a:lnTo>
                    <a:pt x="196342" y="-27"/>
                  </a:lnTo>
                  <a:lnTo>
                    <a:pt x="196342" y="-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Graphic 2">
              <a:extLst>
                <a:ext uri="{FF2B5EF4-FFF2-40B4-BE49-F238E27FC236}">
                  <a16:creationId xmlns:a16="http://schemas.microsoft.com/office/drawing/2014/main" id="{A37037B0-7161-4816-AF6A-03E03D58F876}"/>
                </a:ext>
              </a:extLst>
            </p:cNvPr>
            <p:cNvSpPr/>
            <p:nvPr/>
          </p:nvSpPr>
          <p:spPr>
            <a:xfrm>
              <a:off x="5784215" y="5126302"/>
              <a:ext cx="444138" cy="352186"/>
            </a:xfrm>
            <a:custGeom>
              <a:avLst/>
              <a:gdLst>
                <a:gd name="connsiteX0" fmla="*/ 292359 w 488863"/>
                <a:gd name="connsiteY0" fmla="*/ 256691 h 387667"/>
                <a:gd name="connsiteX1" fmla="*/ 292359 w 488863"/>
                <a:gd name="connsiteY1" fmla="*/ 256691 h 387667"/>
                <a:gd name="connsiteX2" fmla="*/ 298230 w 488863"/>
                <a:gd name="connsiteY2" fmla="*/ 158553 h 387667"/>
                <a:gd name="connsiteX3" fmla="*/ 331633 w 488863"/>
                <a:gd name="connsiteY3" fmla="*/ 158553 h 387667"/>
                <a:gd name="connsiteX4" fmla="*/ 337505 w 488863"/>
                <a:gd name="connsiteY4" fmla="*/ 48327 h 387667"/>
                <a:gd name="connsiteX5" fmla="*/ 364987 w 488863"/>
                <a:gd name="connsiteY5" fmla="*/ 49807 h 387667"/>
                <a:gd name="connsiteX6" fmla="*/ 398391 w 488863"/>
                <a:gd name="connsiteY6" fmla="*/ 42258 h 387667"/>
                <a:gd name="connsiteX7" fmla="*/ 410183 w 488863"/>
                <a:gd name="connsiteY7" fmla="*/ 40778 h 387667"/>
                <a:gd name="connsiteX8" fmla="*/ 414081 w 488863"/>
                <a:gd name="connsiteY8" fmla="*/ 39248 h 387667"/>
                <a:gd name="connsiteX9" fmla="*/ 416005 w 488863"/>
                <a:gd name="connsiteY9" fmla="*/ 39248 h 387667"/>
                <a:gd name="connsiteX10" fmla="*/ 420002 w 488863"/>
                <a:gd name="connsiteY10" fmla="*/ 40778 h 387667"/>
                <a:gd name="connsiteX11" fmla="*/ 421926 w 488863"/>
                <a:gd name="connsiteY11" fmla="*/ 43787 h 387667"/>
                <a:gd name="connsiteX12" fmla="*/ 423900 w 488863"/>
                <a:gd name="connsiteY12" fmla="*/ 46797 h 387667"/>
                <a:gd name="connsiteX13" fmla="*/ 421926 w 488863"/>
                <a:gd name="connsiteY13" fmla="*/ 48327 h 387667"/>
                <a:gd name="connsiteX14" fmla="*/ 421926 w 488863"/>
                <a:gd name="connsiteY14" fmla="*/ 52817 h 387667"/>
                <a:gd name="connsiteX15" fmla="*/ 423900 w 488863"/>
                <a:gd name="connsiteY15" fmla="*/ 52817 h 387667"/>
                <a:gd name="connsiteX16" fmla="*/ 435692 w 488863"/>
                <a:gd name="connsiteY16" fmla="*/ 46797 h 387667"/>
                <a:gd name="connsiteX17" fmla="*/ 441564 w 488863"/>
                <a:gd name="connsiteY17" fmla="*/ 39248 h 387667"/>
                <a:gd name="connsiteX18" fmla="*/ 447435 w 488863"/>
                <a:gd name="connsiteY18" fmla="*/ 31699 h 387667"/>
                <a:gd name="connsiteX19" fmla="*/ 457304 w 488863"/>
                <a:gd name="connsiteY19" fmla="*/ 31699 h 387667"/>
                <a:gd name="connsiteX20" fmla="*/ 459277 w 488863"/>
                <a:gd name="connsiteY20" fmla="*/ 33179 h 387667"/>
                <a:gd name="connsiteX21" fmla="*/ 463224 w 488863"/>
                <a:gd name="connsiteY21" fmla="*/ 36238 h 387667"/>
                <a:gd name="connsiteX22" fmla="*/ 467122 w 488863"/>
                <a:gd name="connsiteY22" fmla="*/ 31699 h 387667"/>
                <a:gd name="connsiteX23" fmla="*/ 478914 w 488863"/>
                <a:gd name="connsiteY23" fmla="*/ 28689 h 387667"/>
                <a:gd name="connsiteX24" fmla="*/ 488782 w 488863"/>
                <a:gd name="connsiteY24" fmla="*/ 27160 h 387667"/>
                <a:gd name="connsiteX25" fmla="*/ 480937 w 488863"/>
                <a:gd name="connsiteY25" fmla="*/ 21140 h 387667"/>
                <a:gd name="connsiteX26" fmla="*/ 478963 w 488863"/>
                <a:gd name="connsiteY26" fmla="*/ 21140 h 387667"/>
                <a:gd name="connsiteX27" fmla="*/ 476990 w 488863"/>
                <a:gd name="connsiteY27" fmla="*/ 19610 h 387667"/>
                <a:gd name="connsiteX28" fmla="*/ 475066 w 488863"/>
                <a:gd name="connsiteY28" fmla="*/ 19610 h 387667"/>
                <a:gd name="connsiteX29" fmla="*/ 471118 w 488863"/>
                <a:gd name="connsiteY29" fmla="*/ 18130 h 387667"/>
                <a:gd name="connsiteX30" fmla="*/ 467172 w 488863"/>
                <a:gd name="connsiteY30" fmla="*/ 18130 h 387667"/>
                <a:gd name="connsiteX31" fmla="*/ 461300 w 488863"/>
                <a:gd name="connsiteY31" fmla="*/ 19610 h 387667"/>
                <a:gd name="connsiteX32" fmla="*/ 457352 w 488863"/>
                <a:gd name="connsiteY32" fmla="*/ 18130 h 387667"/>
                <a:gd name="connsiteX33" fmla="*/ 365086 w 488863"/>
                <a:gd name="connsiteY33" fmla="*/ 36238 h 387667"/>
                <a:gd name="connsiteX34" fmla="*/ 353392 w 488863"/>
                <a:gd name="connsiteY34" fmla="*/ 36238 h 387667"/>
                <a:gd name="connsiteX35" fmla="*/ 351419 w 488863"/>
                <a:gd name="connsiteY35" fmla="*/ 31699 h 387667"/>
                <a:gd name="connsiteX36" fmla="*/ 345548 w 488863"/>
                <a:gd name="connsiteY36" fmla="*/ 33179 h 387667"/>
                <a:gd name="connsiteX37" fmla="*/ 343623 w 488863"/>
                <a:gd name="connsiteY37" fmla="*/ 31699 h 387667"/>
                <a:gd name="connsiteX38" fmla="*/ 339676 w 488863"/>
                <a:gd name="connsiteY38" fmla="*/ 30169 h 387667"/>
                <a:gd name="connsiteX39" fmla="*/ 335729 w 488863"/>
                <a:gd name="connsiteY39" fmla="*/ 31699 h 387667"/>
                <a:gd name="connsiteX40" fmla="*/ 335729 w 488863"/>
                <a:gd name="connsiteY40" fmla="*/ 33179 h 387667"/>
                <a:gd name="connsiteX41" fmla="*/ 333805 w 488863"/>
                <a:gd name="connsiteY41" fmla="*/ 36238 h 387667"/>
                <a:gd name="connsiteX42" fmla="*/ 325910 w 488863"/>
                <a:gd name="connsiteY42" fmla="*/ 36238 h 387667"/>
                <a:gd name="connsiteX43" fmla="*/ 322012 w 488863"/>
                <a:gd name="connsiteY43" fmla="*/ 31699 h 387667"/>
                <a:gd name="connsiteX44" fmla="*/ 312144 w 488863"/>
                <a:gd name="connsiteY44" fmla="*/ 27160 h 387667"/>
                <a:gd name="connsiteX45" fmla="*/ 308197 w 488863"/>
                <a:gd name="connsiteY45" fmla="*/ 25680 h 387667"/>
                <a:gd name="connsiteX46" fmla="*/ 306223 w 488863"/>
                <a:gd name="connsiteY46" fmla="*/ 25680 h 387667"/>
                <a:gd name="connsiteX47" fmla="*/ 304299 w 488863"/>
                <a:gd name="connsiteY47" fmla="*/ 28689 h 387667"/>
                <a:gd name="connsiteX48" fmla="*/ 300352 w 488863"/>
                <a:gd name="connsiteY48" fmla="*/ 28689 h 387667"/>
                <a:gd name="connsiteX49" fmla="*/ 292507 w 488863"/>
                <a:gd name="connsiteY49" fmla="*/ 27160 h 387667"/>
                <a:gd name="connsiteX50" fmla="*/ 286585 w 488863"/>
                <a:gd name="connsiteY50" fmla="*/ 28689 h 387667"/>
                <a:gd name="connsiteX51" fmla="*/ 278741 w 488863"/>
                <a:gd name="connsiteY51" fmla="*/ 31699 h 387667"/>
                <a:gd name="connsiteX52" fmla="*/ 274793 w 488863"/>
                <a:gd name="connsiteY52" fmla="*/ 30169 h 387667"/>
                <a:gd name="connsiteX53" fmla="*/ 272869 w 488863"/>
                <a:gd name="connsiteY53" fmla="*/ 27160 h 387667"/>
                <a:gd name="connsiteX54" fmla="*/ 264974 w 488863"/>
                <a:gd name="connsiteY54" fmla="*/ 27160 h 387667"/>
                <a:gd name="connsiteX55" fmla="*/ 257179 w 488863"/>
                <a:gd name="connsiteY55" fmla="*/ 25680 h 387667"/>
                <a:gd name="connsiteX56" fmla="*/ 251258 w 488863"/>
                <a:gd name="connsiteY56" fmla="*/ 22620 h 387667"/>
                <a:gd name="connsiteX57" fmla="*/ 247360 w 488863"/>
                <a:gd name="connsiteY57" fmla="*/ 21140 h 387667"/>
                <a:gd name="connsiteX58" fmla="*/ 241440 w 488863"/>
                <a:gd name="connsiteY58" fmla="*/ 15071 h 387667"/>
                <a:gd name="connsiteX59" fmla="*/ 106000 w 488863"/>
                <a:gd name="connsiteY59" fmla="*/ 15071 h 387667"/>
                <a:gd name="connsiteX60" fmla="*/ 103977 w 488863"/>
                <a:gd name="connsiteY60" fmla="*/ 13542 h 387667"/>
                <a:gd name="connsiteX61" fmla="*/ 100079 w 488863"/>
                <a:gd name="connsiteY61" fmla="*/ 13542 h 387667"/>
                <a:gd name="connsiteX62" fmla="*/ 94158 w 488863"/>
                <a:gd name="connsiteY62" fmla="*/ 16601 h 387667"/>
                <a:gd name="connsiteX63" fmla="*/ 94158 w 488863"/>
                <a:gd name="connsiteY63" fmla="*/ 16601 h 387667"/>
                <a:gd name="connsiteX64" fmla="*/ 88287 w 488863"/>
                <a:gd name="connsiteY64" fmla="*/ 18130 h 387667"/>
                <a:gd name="connsiteX65" fmla="*/ 80442 w 488863"/>
                <a:gd name="connsiteY65" fmla="*/ 16601 h 387667"/>
                <a:gd name="connsiteX66" fmla="*/ 70574 w 488863"/>
                <a:gd name="connsiteY66" fmla="*/ 10532 h 387667"/>
                <a:gd name="connsiteX67" fmla="*/ 68600 w 488863"/>
                <a:gd name="connsiteY67" fmla="*/ 7522 h 387667"/>
                <a:gd name="connsiteX68" fmla="*/ 70574 w 488863"/>
                <a:gd name="connsiteY68" fmla="*/ 6042 h 387667"/>
                <a:gd name="connsiteX69" fmla="*/ 66676 w 488863"/>
                <a:gd name="connsiteY69" fmla="*/ 4512 h 387667"/>
                <a:gd name="connsiteX70" fmla="*/ 64702 w 488863"/>
                <a:gd name="connsiteY70" fmla="*/ 2983 h 387667"/>
                <a:gd name="connsiteX71" fmla="*/ 60755 w 488863"/>
                <a:gd name="connsiteY71" fmla="*/ -27 h 387667"/>
                <a:gd name="connsiteX72" fmla="*/ 58781 w 488863"/>
                <a:gd name="connsiteY72" fmla="*/ 1453 h 387667"/>
                <a:gd name="connsiteX73" fmla="*/ 56857 w 488863"/>
                <a:gd name="connsiteY73" fmla="*/ 2983 h 387667"/>
                <a:gd name="connsiteX74" fmla="*/ 54883 w 488863"/>
                <a:gd name="connsiteY74" fmla="*/ 1453 h 387667"/>
                <a:gd name="connsiteX75" fmla="*/ 48963 w 488863"/>
                <a:gd name="connsiteY75" fmla="*/ -27 h 387667"/>
                <a:gd name="connsiteX76" fmla="*/ 45065 w 488863"/>
                <a:gd name="connsiteY76" fmla="*/ -27 h 387667"/>
                <a:gd name="connsiteX77" fmla="*/ 33272 w 488863"/>
                <a:gd name="connsiteY77" fmla="*/ 6042 h 387667"/>
                <a:gd name="connsiteX78" fmla="*/ 31348 w 488863"/>
                <a:gd name="connsiteY78" fmla="*/ 12062 h 387667"/>
                <a:gd name="connsiteX79" fmla="*/ 29325 w 488863"/>
                <a:gd name="connsiteY79" fmla="*/ 13542 h 387667"/>
                <a:gd name="connsiteX80" fmla="*/ 25427 w 488863"/>
                <a:gd name="connsiteY80" fmla="*/ 10532 h 387667"/>
                <a:gd name="connsiteX81" fmla="*/ 13635 w 488863"/>
                <a:gd name="connsiteY81" fmla="*/ 10532 h 387667"/>
                <a:gd name="connsiteX82" fmla="*/ 13635 w 488863"/>
                <a:gd name="connsiteY82" fmla="*/ 15071 h 387667"/>
                <a:gd name="connsiteX83" fmla="*/ 7714 w 488863"/>
                <a:gd name="connsiteY83" fmla="*/ 15071 h 387667"/>
                <a:gd name="connsiteX84" fmla="*/ -82 w 488863"/>
                <a:gd name="connsiteY84" fmla="*/ 13542 h 387667"/>
                <a:gd name="connsiteX85" fmla="*/ -82 w 488863"/>
                <a:gd name="connsiteY85" fmla="*/ 13542 h 387667"/>
                <a:gd name="connsiteX86" fmla="*/ 1892 w 488863"/>
                <a:gd name="connsiteY86" fmla="*/ 39248 h 387667"/>
                <a:gd name="connsiteX87" fmla="*/ 25427 w 488863"/>
                <a:gd name="connsiteY87" fmla="*/ 57356 h 387667"/>
                <a:gd name="connsiteX88" fmla="*/ 35295 w 488863"/>
                <a:gd name="connsiteY88" fmla="*/ 73984 h 387667"/>
                <a:gd name="connsiteX89" fmla="*/ 55032 w 488863"/>
                <a:gd name="connsiteY89" fmla="*/ 108522 h 387667"/>
                <a:gd name="connsiteX90" fmla="*/ 57005 w 488863"/>
                <a:gd name="connsiteY90" fmla="*/ 122140 h 387667"/>
                <a:gd name="connsiteX91" fmla="*/ 76741 w 488863"/>
                <a:gd name="connsiteY91" fmla="*/ 144787 h 387667"/>
                <a:gd name="connsiteX92" fmla="*/ 76741 w 488863"/>
                <a:gd name="connsiteY92" fmla="*/ 152287 h 387667"/>
                <a:gd name="connsiteX93" fmla="*/ 94356 w 488863"/>
                <a:gd name="connsiteY93" fmla="*/ 176513 h 387667"/>
                <a:gd name="connsiteX94" fmla="*/ 94356 w 488863"/>
                <a:gd name="connsiteY94" fmla="*/ 188552 h 387667"/>
                <a:gd name="connsiteX95" fmla="*/ 90458 w 488863"/>
                <a:gd name="connsiteY95" fmla="*/ 190082 h 387667"/>
                <a:gd name="connsiteX96" fmla="*/ 94356 w 488863"/>
                <a:gd name="connsiteY96" fmla="*/ 206660 h 387667"/>
                <a:gd name="connsiteX97" fmla="*/ 96379 w 488863"/>
                <a:gd name="connsiteY97" fmla="*/ 229356 h 387667"/>
                <a:gd name="connsiteX98" fmla="*/ 106247 w 488863"/>
                <a:gd name="connsiteY98" fmla="*/ 253484 h 387667"/>
                <a:gd name="connsiteX99" fmla="*/ 104224 w 488863"/>
                <a:gd name="connsiteY99" fmla="*/ 267102 h 387667"/>
                <a:gd name="connsiteX100" fmla="*/ 108221 w 488863"/>
                <a:gd name="connsiteY100" fmla="*/ 276131 h 387667"/>
                <a:gd name="connsiteX101" fmla="*/ 102299 w 488863"/>
                <a:gd name="connsiteY101" fmla="*/ 279141 h 387667"/>
                <a:gd name="connsiteX102" fmla="*/ 106247 w 488863"/>
                <a:gd name="connsiteY102" fmla="*/ 283729 h 387667"/>
                <a:gd name="connsiteX103" fmla="*/ 112118 w 488863"/>
                <a:gd name="connsiteY103" fmla="*/ 300308 h 387667"/>
                <a:gd name="connsiteX104" fmla="*/ 116016 w 488863"/>
                <a:gd name="connsiteY104" fmla="*/ 301788 h 387667"/>
                <a:gd name="connsiteX105" fmla="*/ 119963 w 488863"/>
                <a:gd name="connsiteY105" fmla="*/ 307857 h 387667"/>
                <a:gd name="connsiteX106" fmla="*/ 116016 w 488863"/>
                <a:gd name="connsiteY106" fmla="*/ 309387 h 387667"/>
                <a:gd name="connsiteX107" fmla="*/ 116016 w 488863"/>
                <a:gd name="connsiteY107" fmla="*/ 315455 h 387667"/>
                <a:gd name="connsiteX108" fmla="*/ 119963 w 488863"/>
                <a:gd name="connsiteY108" fmla="*/ 319945 h 387667"/>
                <a:gd name="connsiteX109" fmla="*/ 121937 w 488863"/>
                <a:gd name="connsiteY109" fmla="*/ 333514 h 387667"/>
                <a:gd name="connsiteX110" fmla="*/ 127809 w 488863"/>
                <a:gd name="connsiteY110" fmla="*/ 341112 h 387667"/>
                <a:gd name="connsiteX111" fmla="*/ 135654 w 488863"/>
                <a:gd name="connsiteY111" fmla="*/ 355914 h 387667"/>
                <a:gd name="connsiteX112" fmla="*/ 145522 w 488863"/>
                <a:gd name="connsiteY112" fmla="*/ 361983 h 387667"/>
                <a:gd name="connsiteX113" fmla="*/ 147495 w 488863"/>
                <a:gd name="connsiteY113" fmla="*/ 366522 h 387667"/>
                <a:gd name="connsiteX114" fmla="*/ 159288 w 488863"/>
                <a:gd name="connsiteY114" fmla="*/ 374072 h 387667"/>
                <a:gd name="connsiteX115" fmla="*/ 165159 w 488863"/>
                <a:gd name="connsiteY115" fmla="*/ 371062 h 387667"/>
                <a:gd name="connsiteX116" fmla="*/ 171080 w 488863"/>
                <a:gd name="connsiteY116" fmla="*/ 369532 h 387667"/>
                <a:gd name="connsiteX117" fmla="*/ 171080 w 488863"/>
                <a:gd name="connsiteY117" fmla="*/ 366522 h 387667"/>
                <a:gd name="connsiteX118" fmla="*/ 169106 w 488863"/>
                <a:gd name="connsiteY118" fmla="*/ 364993 h 387667"/>
                <a:gd name="connsiteX119" fmla="*/ 173053 w 488863"/>
                <a:gd name="connsiteY119" fmla="*/ 358974 h 387667"/>
                <a:gd name="connsiteX120" fmla="*/ 182921 w 488863"/>
                <a:gd name="connsiteY120" fmla="*/ 355914 h 387667"/>
                <a:gd name="connsiteX121" fmla="*/ 186819 w 488863"/>
                <a:gd name="connsiteY121" fmla="*/ 361983 h 387667"/>
                <a:gd name="connsiteX122" fmla="*/ 194664 w 488863"/>
                <a:gd name="connsiteY122" fmla="*/ 363513 h 387667"/>
                <a:gd name="connsiteX123" fmla="*/ 190718 w 488863"/>
                <a:gd name="connsiteY123" fmla="*/ 369532 h 387667"/>
                <a:gd name="connsiteX124" fmla="*/ 196638 w 488863"/>
                <a:gd name="connsiteY124" fmla="*/ 378611 h 387667"/>
                <a:gd name="connsiteX125" fmla="*/ 206506 w 488863"/>
                <a:gd name="connsiteY125" fmla="*/ 381621 h 387667"/>
                <a:gd name="connsiteX126" fmla="*/ 216374 w 488863"/>
                <a:gd name="connsiteY126" fmla="*/ 384631 h 387667"/>
                <a:gd name="connsiteX127" fmla="*/ 222246 w 488863"/>
                <a:gd name="connsiteY127" fmla="*/ 383150 h 387667"/>
                <a:gd name="connsiteX128" fmla="*/ 226193 w 488863"/>
                <a:gd name="connsiteY128" fmla="*/ 384631 h 387667"/>
                <a:gd name="connsiteX129" fmla="*/ 232065 w 488863"/>
                <a:gd name="connsiteY129" fmla="*/ 386160 h 387667"/>
                <a:gd name="connsiteX130" fmla="*/ 234038 w 488863"/>
                <a:gd name="connsiteY130" fmla="*/ 383150 h 387667"/>
                <a:gd name="connsiteX131" fmla="*/ 239910 w 488863"/>
                <a:gd name="connsiteY131" fmla="*/ 383150 h 387667"/>
                <a:gd name="connsiteX132" fmla="*/ 241883 w 488863"/>
                <a:gd name="connsiteY132" fmla="*/ 387640 h 387667"/>
                <a:gd name="connsiteX133" fmla="*/ 247804 w 488863"/>
                <a:gd name="connsiteY133" fmla="*/ 386160 h 387667"/>
                <a:gd name="connsiteX134" fmla="*/ 253676 w 488863"/>
                <a:gd name="connsiteY134" fmla="*/ 387640 h 387667"/>
                <a:gd name="connsiteX135" fmla="*/ 253676 w 488863"/>
                <a:gd name="connsiteY135" fmla="*/ 381621 h 387667"/>
                <a:gd name="connsiteX136" fmla="*/ 255600 w 488863"/>
                <a:gd name="connsiteY136" fmla="*/ 378611 h 387667"/>
                <a:gd name="connsiteX137" fmla="*/ 259596 w 488863"/>
                <a:gd name="connsiteY137" fmla="*/ 377081 h 387667"/>
                <a:gd name="connsiteX138" fmla="*/ 263495 w 488863"/>
                <a:gd name="connsiteY138" fmla="*/ 371062 h 387667"/>
                <a:gd name="connsiteX139" fmla="*/ 273363 w 488863"/>
                <a:gd name="connsiteY139" fmla="*/ 366522 h 387667"/>
                <a:gd name="connsiteX140" fmla="*/ 289052 w 488863"/>
                <a:gd name="connsiteY140" fmla="*/ 366522 h 387667"/>
                <a:gd name="connsiteX141" fmla="*/ 293000 w 488863"/>
                <a:gd name="connsiteY141" fmla="*/ 256247 h 387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488863" h="387667">
                  <a:moveTo>
                    <a:pt x="292359" y="256691"/>
                  </a:moveTo>
                  <a:lnTo>
                    <a:pt x="292359" y="256691"/>
                  </a:lnTo>
                  <a:lnTo>
                    <a:pt x="298230" y="158553"/>
                  </a:lnTo>
                  <a:lnTo>
                    <a:pt x="331633" y="158553"/>
                  </a:lnTo>
                  <a:lnTo>
                    <a:pt x="337505" y="48327"/>
                  </a:lnTo>
                  <a:lnTo>
                    <a:pt x="364987" y="49807"/>
                  </a:lnTo>
                  <a:lnTo>
                    <a:pt x="398391" y="42258"/>
                  </a:lnTo>
                  <a:lnTo>
                    <a:pt x="410183" y="40778"/>
                  </a:lnTo>
                  <a:lnTo>
                    <a:pt x="414081" y="39248"/>
                  </a:lnTo>
                  <a:lnTo>
                    <a:pt x="416005" y="39248"/>
                  </a:lnTo>
                  <a:lnTo>
                    <a:pt x="420002" y="40778"/>
                  </a:lnTo>
                  <a:lnTo>
                    <a:pt x="421926" y="43787"/>
                  </a:lnTo>
                  <a:lnTo>
                    <a:pt x="423900" y="46797"/>
                  </a:lnTo>
                  <a:lnTo>
                    <a:pt x="421926" y="48327"/>
                  </a:lnTo>
                  <a:lnTo>
                    <a:pt x="421926" y="52817"/>
                  </a:lnTo>
                  <a:lnTo>
                    <a:pt x="423900" y="52817"/>
                  </a:lnTo>
                  <a:lnTo>
                    <a:pt x="435692" y="46797"/>
                  </a:lnTo>
                  <a:lnTo>
                    <a:pt x="441564" y="39248"/>
                  </a:lnTo>
                  <a:lnTo>
                    <a:pt x="447435" y="31699"/>
                  </a:lnTo>
                  <a:lnTo>
                    <a:pt x="457304" y="31699"/>
                  </a:lnTo>
                  <a:lnTo>
                    <a:pt x="459277" y="33179"/>
                  </a:lnTo>
                  <a:lnTo>
                    <a:pt x="463224" y="36238"/>
                  </a:lnTo>
                  <a:lnTo>
                    <a:pt x="467122" y="31699"/>
                  </a:lnTo>
                  <a:lnTo>
                    <a:pt x="478914" y="28689"/>
                  </a:lnTo>
                  <a:lnTo>
                    <a:pt x="488782" y="27160"/>
                  </a:lnTo>
                  <a:lnTo>
                    <a:pt x="480937" y="21140"/>
                  </a:lnTo>
                  <a:lnTo>
                    <a:pt x="478963" y="21140"/>
                  </a:lnTo>
                  <a:lnTo>
                    <a:pt x="476990" y="19610"/>
                  </a:lnTo>
                  <a:lnTo>
                    <a:pt x="475066" y="19610"/>
                  </a:lnTo>
                  <a:lnTo>
                    <a:pt x="471118" y="18130"/>
                  </a:lnTo>
                  <a:lnTo>
                    <a:pt x="467172" y="18130"/>
                  </a:lnTo>
                  <a:lnTo>
                    <a:pt x="461300" y="19610"/>
                  </a:lnTo>
                  <a:lnTo>
                    <a:pt x="457352" y="18130"/>
                  </a:lnTo>
                  <a:lnTo>
                    <a:pt x="365086" y="36238"/>
                  </a:lnTo>
                  <a:lnTo>
                    <a:pt x="353392" y="36238"/>
                  </a:lnTo>
                  <a:lnTo>
                    <a:pt x="351419" y="31699"/>
                  </a:lnTo>
                  <a:lnTo>
                    <a:pt x="345548" y="33179"/>
                  </a:lnTo>
                  <a:lnTo>
                    <a:pt x="343623" y="31699"/>
                  </a:lnTo>
                  <a:lnTo>
                    <a:pt x="339676" y="30169"/>
                  </a:lnTo>
                  <a:lnTo>
                    <a:pt x="335729" y="31699"/>
                  </a:lnTo>
                  <a:lnTo>
                    <a:pt x="335729" y="33179"/>
                  </a:lnTo>
                  <a:lnTo>
                    <a:pt x="333805" y="36238"/>
                  </a:lnTo>
                  <a:lnTo>
                    <a:pt x="325910" y="36238"/>
                  </a:lnTo>
                  <a:lnTo>
                    <a:pt x="322012" y="31699"/>
                  </a:lnTo>
                  <a:lnTo>
                    <a:pt x="312144" y="27160"/>
                  </a:lnTo>
                  <a:lnTo>
                    <a:pt x="308197" y="25680"/>
                  </a:lnTo>
                  <a:lnTo>
                    <a:pt x="306223" y="25680"/>
                  </a:lnTo>
                  <a:lnTo>
                    <a:pt x="304299" y="28689"/>
                  </a:lnTo>
                  <a:lnTo>
                    <a:pt x="300352" y="28689"/>
                  </a:lnTo>
                  <a:lnTo>
                    <a:pt x="292507" y="27160"/>
                  </a:lnTo>
                  <a:lnTo>
                    <a:pt x="286585" y="28689"/>
                  </a:lnTo>
                  <a:lnTo>
                    <a:pt x="278741" y="31699"/>
                  </a:lnTo>
                  <a:lnTo>
                    <a:pt x="274793" y="30169"/>
                  </a:lnTo>
                  <a:lnTo>
                    <a:pt x="272869" y="27160"/>
                  </a:lnTo>
                  <a:lnTo>
                    <a:pt x="264974" y="27160"/>
                  </a:lnTo>
                  <a:lnTo>
                    <a:pt x="257179" y="25680"/>
                  </a:lnTo>
                  <a:lnTo>
                    <a:pt x="251258" y="22620"/>
                  </a:lnTo>
                  <a:lnTo>
                    <a:pt x="247360" y="21140"/>
                  </a:lnTo>
                  <a:lnTo>
                    <a:pt x="241440" y="15071"/>
                  </a:lnTo>
                  <a:lnTo>
                    <a:pt x="106000" y="15071"/>
                  </a:lnTo>
                  <a:lnTo>
                    <a:pt x="103977" y="13542"/>
                  </a:lnTo>
                  <a:lnTo>
                    <a:pt x="100079" y="13542"/>
                  </a:lnTo>
                  <a:lnTo>
                    <a:pt x="94158" y="16601"/>
                  </a:lnTo>
                  <a:lnTo>
                    <a:pt x="94158" y="16601"/>
                  </a:lnTo>
                  <a:lnTo>
                    <a:pt x="88287" y="18130"/>
                  </a:lnTo>
                  <a:lnTo>
                    <a:pt x="80442" y="16601"/>
                  </a:lnTo>
                  <a:lnTo>
                    <a:pt x="70574" y="10532"/>
                  </a:lnTo>
                  <a:lnTo>
                    <a:pt x="68600" y="7522"/>
                  </a:lnTo>
                  <a:lnTo>
                    <a:pt x="70574" y="6042"/>
                  </a:lnTo>
                  <a:lnTo>
                    <a:pt x="66676" y="4512"/>
                  </a:lnTo>
                  <a:lnTo>
                    <a:pt x="64702" y="2983"/>
                  </a:lnTo>
                  <a:lnTo>
                    <a:pt x="60755" y="-27"/>
                  </a:lnTo>
                  <a:lnTo>
                    <a:pt x="58781" y="1453"/>
                  </a:lnTo>
                  <a:lnTo>
                    <a:pt x="56857" y="2983"/>
                  </a:lnTo>
                  <a:lnTo>
                    <a:pt x="54883" y="1453"/>
                  </a:lnTo>
                  <a:lnTo>
                    <a:pt x="48963" y="-27"/>
                  </a:lnTo>
                  <a:lnTo>
                    <a:pt x="45065" y="-27"/>
                  </a:lnTo>
                  <a:lnTo>
                    <a:pt x="33272" y="6042"/>
                  </a:lnTo>
                  <a:lnTo>
                    <a:pt x="31348" y="12062"/>
                  </a:lnTo>
                  <a:lnTo>
                    <a:pt x="29325" y="13542"/>
                  </a:lnTo>
                  <a:lnTo>
                    <a:pt x="25427" y="10532"/>
                  </a:lnTo>
                  <a:lnTo>
                    <a:pt x="13635" y="10532"/>
                  </a:lnTo>
                  <a:lnTo>
                    <a:pt x="13635" y="15071"/>
                  </a:lnTo>
                  <a:lnTo>
                    <a:pt x="7714" y="15071"/>
                  </a:lnTo>
                  <a:lnTo>
                    <a:pt x="-82" y="13542"/>
                  </a:lnTo>
                  <a:lnTo>
                    <a:pt x="-82" y="13542"/>
                  </a:lnTo>
                  <a:lnTo>
                    <a:pt x="1892" y="39248"/>
                  </a:lnTo>
                  <a:lnTo>
                    <a:pt x="25427" y="57356"/>
                  </a:lnTo>
                  <a:lnTo>
                    <a:pt x="35295" y="73984"/>
                  </a:lnTo>
                  <a:lnTo>
                    <a:pt x="55032" y="108522"/>
                  </a:lnTo>
                  <a:lnTo>
                    <a:pt x="57005" y="122140"/>
                  </a:lnTo>
                  <a:lnTo>
                    <a:pt x="76741" y="144787"/>
                  </a:lnTo>
                  <a:lnTo>
                    <a:pt x="76741" y="152287"/>
                  </a:lnTo>
                  <a:lnTo>
                    <a:pt x="94356" y="176513"/>
                  </a:lnTo>
                  <a:lnTo>
                    <a:pt x="94356" y="188552"/>
                  </a:lnTo>
                  <a:lnTo>
                    <a:pt x="90458" y="190082"/>
                  </a:lnTo>
                  <a:lnTo>
                    <a:pt x="94356" y="206660"/>
                  </a:lnTo>
                  <a:lnTo>
                    <a:pt x="96379" y="229356"/>
                  </a:lnTo>
                  <a:lnTo>
                    <a:pt x="106247" y="253484"/>
                  </a:lnTo>
                  <a:lnTo>
                    <a:pt x="104224" y="267102"/>
                  </a:lnTo>
                  <a:lnTo>
                    <a:pt x="108221" y="276131"/>
                  </a:lnTo>
                  <a:lnTo>
                    <a:pt x="102299" y="279141"/>
                  </a:lnTo>
                  <a:lnTo>
                    <a:pt x="106247" y="283729"/>
                  </a:lnTo>
                  <a:lnTo>
                    <a:pt x="112118" y="300308"/>
                  </a:lnTo>
                  <a:lnTo>
                    <a:pt x="116016" y="301788"/>
                  </a:lnTo>
                  <a:lnTo>
                    <a:pt x="119963" y="307857"/>
                  </a:lnTo>
                  <a:lnTo>
                    <a:pt x="116016" y="309387"/>
                  </a:lnTo>
                  <a:lnTo>
                    <a:pt x="116016" y="315455"/>
                  </a:lnTo>
                  <a:lnTo>
                    <a:pt x="119963" y="319945"/>
                  </a:lnTo>
                  <a:lnTo>
                    <a:pt x="121937" y="333514"/>
                  </a:lnTo>
                  <a:lnTo>
                    <a:pt x="127809" y="341112"/>
                  </a:lnTo>
                  <a:lnTo>
                    <a:pt x="135654" y="355914"/>
                  </a:lnTo>
                  <a:lnTo>
                    <a:pt x="145522" y="361983"/>
                  </a:lnTo>
                  <a:lnTo>
                    <a:pt x="147495" y="366522"/>
                  </a:lnTo>
                  <a:lnTo>
                    <a:pt x="159288" y="374072"/>
                  </a:lnTo>
                  <a:lnTo>
                    <a:pt x="165159" y="371062"/>
                  </a:lnTo>
                  <a:lnTo>
                    <a:pt x="171080" y="369532"/>
                  </a:lnTo>
                  <a:lnTo>
                    <a:pt x="171080" y="366522"/>
                  </a:lnTo>
                  <a:lnTo>
                    <a:pt x="169106" y="364993"/>
                  </a:lnTo>
                  <a:lnTo>
                    <a:pt x="173053" y="358974"/>
                  </a:lnTo>
                  <a:lnTo>
                    <a:pt x="182921" y="355914"/>
                  </a:lnTo>
                  <a:lnTo>
                    <a:pt x="186819" y="361983"/>
                  </a:lnTo>
                  <a:lnTo>
                    <a:pt x="194664" y="363513"/>
                  </a:lnTo>
                  <a:lnTo>
                    <a:pt x="190718" y="369532"/>
                  </a:lnTo>
                  <a:lnTo>
                    <a:pt x="196638" y="378611"/>
                  </a:lnTo>
                  <a:lnTo>
                    <a:pt x="206506" y="381621"/>
                  </a:lnTo>
                  <a:lnTo>
                    <a:pt x="216374" y="384631"/>
                  </a:lnTo>
                  <a:lnTo>
                    <a:pt x="222246" y="383150"/>
                  </a:lnTo>
                  <a:lnTo>
                    <a:pt x="226193" y="384631"/>
                  </a:lnTo>
                  <a:lnTo>
                    <a:pt x="232065" y="386160"/>
                  </a:lnTo>
                  <a:lnTo>
                    <a:pt x="234038" y="383150"/>
                  </a:lnTo>
                  <a:lnTo>
                    <a:pt x="239910" y="383150"/>
                  </a:lnTo>
                  <a:lnTo>
                    <a:pt x="241883" y="387640"/>
                  </a:lnTo>
                  <a:lnTo>
                    <a:pt x="247804" y="386160"/>
                  </a:lnTo>
                  <a:lnTo>
                    <a:pt x="253676" y="387640"/>
                  </a:lnTo>
                  <a:lnTo>
                    <a:pt x="253676" y="381621"/>
                  </a:lnTo>
                  <a:lnTo>
                    <a:pt x="255600" y="378611"/>
                  </a:lnTo>
                  <a:lnTo>
                    <a:pt x="259596" y="377081"/>
                  </a:lnTo>
                  <a:lnTo>
                    <a:pt x="263495" y="371062"/>
                  </a:lnTo>
                  <a:lnTo>
                    <a:pt x="273363" y="366522"/>
                  </a:lnTo>
                  <a:lnTo>
                    <a:pt x="289052" y="366522"/>
                  </a:lnTo>
                  <a:lnTo>
                    <a:pt x="293000" y="25624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Graphic 2">
              <a:extLst>
                <a:ext uri="{FF2B5EF4-FFF2-40B4-BE49-F238E27FC236}">
                  <a16:creationId xmlns:a16="http://schemas.microsoft.com/office/drawing/2014/main" id="{7294D314-C953-4ED2-82DB-AF0CCDC36FA8}"/>
                </a:ext>
              </a:extLst>
            </p:cNvPr>
            <p:cNvSpPr/>
            <p:nvPr/>
          </p:nvSpPr>
          <p:spPr>
            <a:xfrm>
              <a:off x="6804735" y="4983892"/>
              <a:ext cx="247667" cy="400328"/>
            </a:xfrm>
            <a:custGeom>
              <a:avLst/>
              <a:gdLst>
                <a:gd name="connsiteX0" fmla="*/ 58189 w 272605"/>
                <a:gd name="connsiteY0" fmla="*/ 440385 h 440658"/>
                <a:gd name="connsiteX1" fmla="*/ 62136 w 272605"/>
                <a:gd name="connsiteY1" fmla="*/ 438856 h 440658"/>
                <a:gd name="connsiteX2" fmla="*/ 69882 w 272605"/>
                <a:gd name="connsiteY2" fmla="*/ 438856 h 440658"/>
                <a:gd name="connsiteX3" fmla="*/ 77679 w 272605"/>
                <a:gd name="connsiteY3" fmla="*/ 434267 h 440658"/>
                <a:gd name="connsiteX4" fmla="*/ 85425 w 272605"/>
                <a:gd name="connsiteY4" fmla="*/ 426669 h 440658"/>
                <a:gd name="connsiteX5" fmla="*/ 106888 w 272605"/>
                <a:gd name="connsiteY5" fmla="*/ 425139 h 440658"/>
                <a:gd name="connsiteX6" fmla="*/ 112710 w 272605"/>
                <a:gd name="connsiteY6" fmla="*/ 426669 h 440658"/>
                <a:gd name="connsiteX7" fmla="*/ 126328 w 272605"/>
                <a:gd name="connsiteY7" fmla="*/ 422080 h 440658"/>
                <a:gd name="connsiteX8" fmla="*/ 130226 w 272605"/>
                <a:gd name="connsiteY8" fmla="*/ 417540 h 440658"/>
                <a:gd name="connsiteX9" fmla="*/ 134124 w 272605"/>
                <a:gd name="connsiteY9" fmla="*/ 416011 h 440658"/>
                <a:gd name="connsiteX10" fmla="*/ 137972 w 272605"/>
                <a:gd name="connsiteY10" fmla="*/ 406834 h 440658"/>
                <a:gd name="connsiteX11" fmla="*/ 143844 w 272605"/>
                <a:gd name="connsiteY11" fmla="*/ 397706 h 440658"/>
                <a:gd name="connsiteX12" fmla="*/ 143844 w 272605"/>
                <a:gd name="connsiteY12" fmla="*/ 393117 h 440658"/>
                <a:gd name="connsiteX13" fmla="*/ 153712 w 272605"/>
                <a:gd name="connsiteY13" fmla="*/ 390107 h 440658"/>
                <a:gd name="connsiteX14" fmla="*/ 151739 w 272605"/>
                <a:gd name="connsiteY14" fmla="*/ 380930 h 440658"/>
                <a:gd name="connsiteX15" fmla="*/ 147890 w 272605"/>
                <a:gd name="connsiteY15" fmla="*/ 379401 h 440658"/>
                <a:gd name="connsiteX16" fmla="*/ 155636 w 272605"/>
                <a:gd name="connsiteY16" fmla="*/ 374812 h 440658"/>
                <a:gd name="connsiteX17" fmla="*/ 157610 w 272605"/>
                <a:gd name="connsiteY17" fmla="*/ 365684 h 440658"/>
                <a:gd name="connsiteX18" fmla="*/ 157610 w 272605"/>
                <a:gd name="connsiteY18" fmla="*/ 364154 h 440658"/>
                <a:gd name="connsiteX19" fmla="*/ 159583 w 272605"/>
                <a:gd name="connsiteY19" fmla="*/ 364154 h 440658"/>
                <a:gd name="connsiteX20" fmla="*/ 167330 w 272605"/>
                <a:gd name="connsiteY20" fmla="*/ 355026 h 440658"/>
                <a:gd name="connsiteX21" fmla="*/ 171228 w 272605"/>
                <a:gd name="connsiteY21" fmla="*/ 333711 h 440658"/>
                <a:gd name="connsiteX22" fmla="*/ 175126 w 272605"/>
                <a:gd name="connsiteY22" fmla="*/ 321524 h 440658"/>
                <a:gd name="connsiteX23" fmla="*/ 179023 w 272605"/>
                <a:gd name="connsiteY23" fmla="*/ 316936 h 440658"/>
                <a:gd name="connsiteX24" fmla="*/ 182872 w 272605"/>
                <a:gd name="connsiteY24" fmla="*/ 304749 h 440658"/>
                <a:gd name="connsiteX25" fmla="*/ 194566 w 272605"/>
                <a:gd name="connsiteY25" fmla="*/ 289503 h 440658"/>
                <a:gd name="connsiteX26" fmla="*/ 202362 w 272605"/>
                <a:gd name="connsiteY26" fmla="*/ 265128 h 440658"/>
                <a:gd name="connsiteX27" fmla="*/ 208184 w 272605"/>
                <a:gd name="connsiteY27" fmla="*/ 256000 h 440658"/>
                <a:gd name="connsiteX28" fmla="*/ 208184 w 272605"/>
                <a:gd name="connsiteY28" fmla="*/ 245343 h 440658"/>
                <a:gd name="connsiteX29" fmla="*/ 215980 w 272605"/>
                <a:gd name="connsiteY29" fmla="*/ 233106 h 440658"/>
                <a:gd name="connsiteX30" fmla="*/ 215980 w 272605"/>
                <a:gd name="connsiteY30" fmla="*/ 229850 h 440658"/>
                <a:gd name="connsiteX31" fmla="*/ 225848 w 272605"/>
                <a:gd name="connsiteY31" fmla="*/ 219242 h 440658"/>
                <a:gd name="connsiteX32" fmla="*/ 229696 w 272605"/>
                <a:gd name="connsiteY32" fmla="*/ 200937 h 440658"/>
                <a:gd name="connsiteX33" fmla="*/ 233594 w 272605"/>
                <a:gd name="connsiteY33" fmla="*/ 187220 h 440658"/>
                <a:gd name="connsiteX34" fmla="*/ 235518 w 272605"/>
                <a:gd name="connsiteY34" fmla="*/ 184161 h 440658"/>
                <a:gd name="connsiteX35" fmla="*/ 237492 w 272605"/>
                <a:gd name="connsiteY35" fmla="*/ 175033 h 440658"/>
                <a:gd name="connsiteX36" fmla="*/ 235518 w 272605"/>
                <a:gd name="connsiteY36" fmla="*/ 171974 h 440658"/>
                <a:gd name="connsiteX37" fmla="*/ 237492 w 272605"/>
                <a:gd name="connsiteY37" fmla="*/ 162846 h 440658"/>
                <a:gd name="connsiteX38" fmla="*/ 243314 w 272605"/>
                <a:gd name="connsiteY38" fmla="*/ 153718 h 440658"/>
                <a:gd name="connsiteX39" fmla="*/ 243314 w 272605"/>
                <a:gd name="connsiteY39" fmla="*/ 150905 h 440658"/>
                <a:gd name="connsiteX40" fmla="*/ 247212 w 272605"/>
                <a:gd name="connsiteY40" fmla="*/ 144787 h 440658"/>
                <a:gd name="connsiteX41" fmla="*/ 247212 w 272605"/>
                <a:gd name="connsiteY41" fmla="*/ 137189 h 440658"/>
                <a:gd name="connsiteX42" fmla="*/ 243314 w 272605"/>
                <a:gd name="connsiteY42" fmla="*/ 134130 h 440658"/>
                <a:gd name="connsiteX43" fmla="*/ 247212 w 272605"/>
                <a:gd name="connsiteY43" fmla="*/ 129590 h 440658"/>
                <a:gd name="connsiteX44" fmla="*/ 247212 w 272605"/>
                <a:gd name="connsiteY44" fmla="*/ 121943 h 440658"/>
                <a:gd name="connsiteX45" fmla="*/ 243314 w 272605"/>
                <a:gd name="connsiteY45" fmla="*/ 120413 h 440658"/>
                <a:gd name="connsiteX46" fmla="*/ 243314 w 272605"/>
                <a:gd name="connsiteY46" fmla="*/ 114295 h 440658"/>
                <a:gd name="connsiteX47" fmla="*/ 249136 w 272605"/>
                <a:gd name="connsiteY47" fmla="*/ 112765 h 440658"/>
                <a:gd name="connsiteX48" fmla="*/ 253083 w 272605"/>
                <a:gd name="connsiteY48" fmla="*/ 114295 h 440658"/>
                <a:gd name="connsiteX49" fmla="*/ 255008 w 272605"/>
                <a:gd name="connsiteY49" fmla="*/ 120413 h 440658"/>
                <a:gd name="connsiteX50" fmla="*/ 260830 w 272605"/>
                <a:gd name="connsiteY50" fmla="*/ 126531 h 440658"/>
                <a:gd name="connsiteX51" fmla="*/ 264727 w 272605"/>
                <a:gd name="connsiteY51" fmla="*/ 128061 h 440658"/>
                <a:gd name="connsiteX52" fmla="*/ 266701 w 272605"/>
                <a:gd name="connsiteY52" fmla="*/ 123472 h 440658"/>
                <a:gd name="connsiteX53" fmla="*/ 268626 w 272605"/>
                <a:gd name="connsiteY53" fmla="*/ 118884 h 440658"/>
                <a:gd name="connsiteX54" fmla="*/ 268626 w 272605"/>
                <a:gd name="connsiteY54" fmla="*/ 117354 h 440658"/>
                <a:gd name="connsiteX55" fmla="*/ 270550 w 272605"/>
                <a:gd name="connsiteY55" fmla="*/ 109755 h 440658"/>
                <a:gd name="connsiteX56" fmla="*/ 272524 w 272605"/>
                <a:gd name="connsiteY56" fmla="*/ 108226 h 440658"/>
                <a:gd name="connsiteX57" fmla="*/ 272524 w 272605"/>
                <a:gd name="connsiteY57" fmla="*/ 102157 h 440658"/>
                <a:gd name="connsiteX58" fmla="*/ 266701 w 272605"/>
                <a:gd name="connsiteY58" fmla="*/ 94509 h 440658"/>
                <a:gd name="connsiteX59" fmla="*/ 264727 w 272605"/>
                <a:gd name="connsiteY59" fmla="*/ 89921 h 440658"/>
                <a:gd name="connsiteX60" fmla="*/ 266701 w 272605"/>
                <a:gd name="connsiteY60" fmla="*/ 86862 h 440658"/>
                <a:gd name="connsiteX61" fmla="*/ 266701 w 272605"/>
                <a:gd name="connsiteY61" fmla="*/ 79263 h 440658"/>
                <a:gd name="connsiteX62" fmla="*/ 264727 w 272605"/>
                <a:gd name="connsiteY62" fmla="*/ 71665 h 440658"/>
                <a:gd name="connsiteX63" fmla="*/ 264727 w 272605"/>
                <a:gd name="connsiteY63" fmla="*/ 68606 h 440658"/>
                <a:gd name="connsiteX64" fmla="*/ 266701 w 272605"/>
                <a:gd name="connsiteY64" fmla="*/ 51830 h 440658"/>
                <a:gd name="connsiteX65" fmla="*/ 260830 w 272605"/>
                <a:gd name="connsiteY65" fmla="*/ 45761 h 440658"/>
                <a:gd name="connsiteX66" fmla="*/ 260830 w 272605"/>
                <a:gd name="connsiteY66" fmla="*/ 30515 h 440658"/>
                <a:gd name="connsiteX67" fmla="*/ 256932 w 272605"/>
                <a:gd name="connsiteY67" fmla="*/ 25926 h 440658"/>
                <a:gd name="connsiteX68" fmla="*/ 255008 w 272605"/>
                <a:gd name="connsiteY68" fmla="*/ 27456 h 440658"/>
                <a:gd name="connsiteX69" fmla="*/ 247212 w 272605"/>
                <a:gd name="connsiteY69" fmla="*/ 21387 h 440658"/>
                <a:gd name="connsiteX70" fmla="*/ 247212 w 272605"/>
                <a:gd name="connsiteY70" fmla="*/ 15219 h 440658"/>
                <a:gd name="connsiteX71" fmla="*/ 241390 w 272605"/>
                <a:gd name="connsiteY71" fmla="*/ 13690 h 440658"/>
                <a:gd name="connsiteX72" fmla="*/ 243314 w 272605"/>
                <a:gd name="connsiteY72" fmla="*/ 7621 h 440658"/>
                <a:gd name="connsiteX73" fmla="*/ 241390 w 272605"/>
                <a:gd name="connsiteY73" fmla="*/ -27 h 440658"/>
                <a:gd name="connsiteX74" fmla="*/ 233594 w 272605"/>
                <a:gd name="connsiteY74" fmla="*/ 7621 h 440658"/>
                <a:gd name="connsiteX75" fmla="*/ 235518 w 272605"/>
                <a:gd name="connsiteY75" fmla="*/ 12210 h 440658"/>
                <a:gd name="connsiteX76" fmla="*/ 229696 w 272605"/>
                <a:gd name="connsiteY76" fmla="*/ 15219 h 440658"/>
                <a:gd name="connsiteX77" fmla="*/ 223825 w 272605"/>
                <a:gd name="connsiteY77" fmla="*/ 12210 h 440658"/>
                <a:gd name="connsiteX78" fmla="*/ 219976 w 272605"/>
                <a:gd name="connsiteY78" fmla="*/ 12210 h 440658"/>
                <a:gd name="connsiteX79" fmla="*/ 225848 w 272605"/>
                <a:gd name="connsiteY79" fmla="*/ 18278 h 440658"/>
                <a:gd name="connsiteX80" fmla="*/ 225848 w 272605"/>
                <a:gd name="connsiteY80" fmla="*/ 22620 h 440658"/>
                <a:gd name="connsiteX81" fmla="*/ 229696 w 272605"/>
                <a:gd name="connsiteY81" fmla="*/ 25680 h 440658"/>
                <a:gd name="connsiteX82" fmla="*/ 229696 w 272605"/>
                <a:gd name="connsiteY82" fmla="*/ 27554 h 440658"/>
                <a:gd name="connsiteX83" fmla="*/ 223825 w 272605"/>
                <a:gd name="connsiteY83" fmla="*/ 35202 h 440658"/>
                <a:gd name="connsiteX84" fmla="*/ 223825 w 272605"/>
                <a:gd name="connsiteY84" fmla="*/ 42801 h 440658"/>
                <a:gd name="connsiteX85" fmla="*/ 216078 w 272605"/>
                <a:gd name="connsiteY85" fmla="*/ 48919 h 440658"/>
                <a:gd name="connsiteX86" fmla="*/ 211983 w 272605"/>
                <a:gd name="connsiteY86" fmla="*/ 47291 h 440658"/>
                <a:gd name="connsiteX87" fmla="*/ 206112 w 272605"/>
                <a:gd name="connsiteY87" fmla="*/ 53359 h 440658"/>
                <a:gd name="connsiteX88" fmla="*/ 206112 w 272605"/>
                <a:gd name="connsiteY88" fmla="*/ 59478 h 440658"/>
                <a:gd name="connsiteX89" fmla="*/ 202214 w 272605"/>
                <a:gd name="connsiteY89" fmla="*/ 62537 h 440658"/>
                <a:gd name="connsiteX90" fmla="*/ 198316 w 272605"/>
                <a:gd name="connsiteY90" fmla="*/ 61007 h 440658"/>
                <a:gd name="connsiteX91" fmla="*/ 196342 w 272605"/>
                <a:gd name="connsiteY91" fmla="*/ 53359 h 440658"/>
                <a:gd name="connsiteX92" fmla="*/ 194417 w 272605"/>
                <a:gd name="connsiteY92" fmla="*/ 51830 h 440658"/>
                <a:gd name="connsiteX93" fmla="*/ 190520 w 272605"/>
                <a:gd name="connsiteY93" fmla="*/ 54889 h 440658"/>
                <a:gd name="connsiteX94" fmla="*/ 188596 w 272605"/>
                <a:gd name="connsiteY94" fmla="*/ 64066 h 440658"/>
                <a:gd name="connsiteX95" fmla="*/ 196342 w 272605"/>
                <a:gd name="connsiteY95" fmla="*/ 68606 h 440658"/>
                <a:gd name="connsiteX96" fmla="*/ 198316 w 272605"/>
                <a:gd name="connsiteY96" fmla="*/ 71665 h 440658"/>
                <a:gd name="connsiteX97" fmla="*/ 194417 w 272605"/>
                <a:gd name="connsiteY97" fmla="*/ 73194 h 440658"/>
                <a:gd name="connsiteX98" fmla="*/ 192494 w 272605"/>
                <a:gd name="connsiteY98" fmla="*/ 73194 h 440658"/>
                <a:gd name="connsiteX99" fmla="*/ 182626 w 272605"/>
                <a:gd name="connsiteY99" fmla="*/ 74724 h 440658"/>
                <a:gd name="connsiteX100" fmla="*/ 186572 w 272605"/>
                <a:gd name="connsiteY100" fmla="*/ 79263 h 440658"/>
                <a:gd name="connsiteX101" fmla="*/ 192395 w 272605"/>
                <a:gd name="connsiteY101" fmla="*/ 80793 h 440658"/>
                <a:gd name="connsiteX102" fmla="*/ 192395 w 272605"/>
                <a:gd name="connsiteY102" fmla="*/ 86763 h 440658"/>
                <a:gd name="connsiteX103" fmla="*/ 190421 w 272605"/>
                <a:gd name="connsiteY103" fmla="*/ 89822 h 440658"/>
                <a:gd name="connsiteX104" fmla="*/ 186572 w 272605"/>
                <a:gd name="connsiteY104" fmla="*/ 86763 h 440658"/>
                <a:gd name="connsiteX105" fmla="*/ 180701 w 272605"/>
                <a:gd name="connsiteY105" fmla="*/ 88292 h 440658"/>
                <a:gd name="connsiteX106" fmla="*/ 178777 w 272605"/>
                <a:gd name="connsiteY106" fmla="*/ 91401 h 440658"/>
                <a:gd name="connsiteX107" fmla="*/ 168909 w 272605"/>
                <a:gd name="connsiteY107" fmla="*/ 97470 h 440658"/>
                <a:gd name="connsiteX108" fmla="*/ 168909 w 272605"/>
                <a:gd name="connsiteY108" fmla="*/ 91697 h 440658"/>
                <a:gd name="connsiteX109" fmla="*/ 170883 w 272605"/>
                <a:gd name="connsiteY109" fmla="*/ 90118 h 440658"/>
                <a:gd name="connsiteX110" fmla="*/ 168909 w 272605"/>
                <a:gd name="connsiteY110" fmla="*/ 87059 h 440658"/>
                <a:gd name="connsiteX111" fmla="*/ 163086 w 272605"/>
                <a:gd name="connsiteY111" fmla="*/ 91697 h 440658"/>
                <a:gd name="connsiteX112" fmla="*/ 166985 w 272605"/>
                <a:gd name="connsiteY112" fmla="*/ 93226 h 440658"/>
                <a:gd name="connsiteX113" fmla="*/ 165060 w 272605"/>
                <a:gd name="connsiteY113" fmla="*/ 96236 h 440658"/>
                <a:gd name="connsiteX114" fmla="*/ 157265 w 272605"/>
                <a:gd name="connsiteY114" fmla="*/ 100825 h 440658"/>
                <a:gd name="connsiteX115" fmla="*/ 159238 w 272605"/>
                <a:gd name="connsiteY115" fmla="*/ 105364 h 440658"/>
                <a:gd name="connsiteX116" fmla="*/ 165060 w 272605"/>
                <a:gd name="connsiteY116" fmla="*/ 106894 h 440658"/>
                <a:gd name="connsiteX117" fmla="*/ 163086 w 272605"/>
                <a:gd name="connsiteY117" fmla="*/ 109953 h 440658"/>
                <a:gd name="connsiteX118" fmla="*/ 159238 w 272605"/>
                <a:gd name="connsiteY118" fmla="*/ 112963 h 440658"/>
                <a:gd name="connsiteX119" fmla="*/ 155291 w 272605"/>
                <a:gd name="connsiteY119" fmla="*/ 116022 h 440658"/>
                <a:gd name="connsiteX120" fmla="*/ 153367 w 272605"/>
                <a:gd name="connsiteY120" fmla="*/ 109953 h 440658"/>
                <a:gd name="connsiteX121" fmla="*/ 147840 w 272605"/>
                <a:gd name="connsiteY121" fmla="*/ 109953 h 440658"/>
                <a:gd name="connsiteX122" fmla="*/ 153663 w 272605"/>
                <a:gd name="connsiteY122" fmla="*/ 105364 h 440658"/>
                <a:gd name="connsiteX123" fmla="*/ 151689 w 272605"/>
                <a:gd name="connsiteY123" fmla="*/ 103835 h 440658"/>
                <a:gd name="connsiteX124" fmla="*/ 136147 w 272605"/>
                <a:gd name="connsiteY124" fmla="*/ 114492 h 440658"/>
                <a:gd name="connsiteX125" fmla="*/ 134222 w 272605"/>
                <a:gd name="connsiteY125" fmla="*/ 122140 h 440658"/>
                <a:gd name="connsiteX126" fmla="*/ 136147 w 272605"/>
                <a:gd name="connsiteY126" fmla="*/ 125199 h 440658"/>
                <a:gd name="connsiteX127" fmla="*/ 134222 w 272605"/>
                <a:gd name="connsiteY127" fmla="*/ 129788 h 440658"/>
                <a:gd name="connsiteX128" fmla="*/ 130324 w 272605"/>
                <a:gd name="connsiteY128" fmla="*/ 128258 h 440658"/>
                <a:gd name="connsiteX129" fmla="*/ 128351 w 272605"/>
                <a:gd name="connsiteY129" fmla="*/ 126728 h 440658"/>
                <a:gd name="connsiteX130" fmla="*/ 128351 w 272605"/>
                <a:gd name="connsiteY130" fmla="*/ 118834 h 440658"/>
                <a:gd name="connsiteX131" fmla="*/ 124453 w 272605"/>
                <a:gd name="connsiteY131" fmla="*/ 117305 h 440658"/>
                <a:gd name="connsiteX132" fmla="*/ 114585 w 272605"/>
                <a:gd name="connsiteY132" fmla="*/ 124952 h 440658"/>
                <a:gd name="connsiteX133" fmla="*/ 104717 w 272605"/>
                <a:gd name="connsiteY133" fmla="*/ 118834 h 440658"/>
                <a:gd name="connsiteX134" fmla="*/ 104717 w 272605"/>
                <a:gd name="connsiteY134" fmla="*/ 121893 h 440658"/>
                <a:gd name="connsiteX135" fmla="*/ 100819 w 272605"/>
                <a:gd name="connsiteY135" fmla="*/ 121893 h 440658"/>
                <a:gd name="connsiteX136" fmla="*/ 102793 w 272605"/>
                <a:gd name="connsiteY136" fmla="*/ 131021 h 440658"/>
                <a:gd name="connsiteX137" fmla="*/ 98895 w 272605"/>
                <a:gd name="connsiteY137" fmla="*/ 129541 h 440658"/>
                <a:gd name="connsiteX138" fmla="*/ 96921 w 272605"/>
                <a:gd name="connsiteY138" fmla="*/ 131021 h 440658"/>
                <a:gd name="connsiteX139" fmla="*/ 96921 w 272605"/>
                <a:gd name="connsiteY139" fmla="*/ 126482 h 440658"/>
                <a:gd name="connsiteX140" fmla="*/ 93073 w 272605"/>
                <a:gd name="connsiteY140" fmla="*/ 124952 h 440658"/>
                <a:gd name="connsiteX141" fmla="*/ 89175 w 272605"/>
                <a:gd name="connsiteY141" fmla="*/ 129541 h 440658"/>
                <a:gd name="connsiteX142" fmla="*/ 87201 w 272605"/>
                <a:gd name="connsiteY142" fmla="*/ 124952 h 440658"/>
                <a:gd name="connsiteX143" fmla="*/ 71610 w 272605"/>
                <a:gd name="connsiteY143" fmla="*/ 135610 h 440658"/>
                <a:gd name="connsiteX144" fmla="*/ 67761 w 272605"/>
                <a:gd name="connsiteY144" fmla="*/ 135610 h 440658"/>
                <a:gd name="connsiteX145" fmla="*/ 65787 w 272605"/>
                <a:gd name="connsiteY145" fmla="*/ 134080 h 440658"/>
                <a:gd name="connsiteX146" fmla="*/ 57992 w 272605"/>
                <a:gd name="connsiteY146" fmla="*/ 134080 h 440658"/>
                <a:gd name="connsiteX147" fmla="*/ 54143 w 272605"/>
                <a:gd name="connsiteY147" fmla="*/ 137140 h 440658"/>
                <a:gd name="connsiteX148" fmla="*/ 56067 w 272605"/>
                <a:gd name="connsiteY148" fmla="*/ 147797 h 440658"/>
                <a:gd name="connsiteX149" fmla="*/ 44374 w 272605"/>
                <a:gd name="connsiteY149" fmla="*/ 161514 h 440658"/>
                <a:gd name="connsiteX150" fmla="*/ 44374 w 272605"/>
                <a:gd name="connsiteY150" fmla="*/ 166102 h 440658"/>
                <a:gd name="connsiteX151" fmla="*/ 34506 w 272605"/>
                <a:gd name="connsiteY151" fmla="*/ 173701 h 440658"/>
                <a:gd name="connsiteX152" fmla="*/ 34506 w 272605"/>
                <a:gd name="connsiteY152" fmla="*/ 178289 h 440658"/>
                <a:gd name="connsiteX153" fmla="*/ 40328 w 272605"/>
                <a:gd name="connsiteY153" fmla="*/ 182878 h 440658"/>
                <a:gd name="connsiteX154" fmla="*/ 36430 w 272605"/>
                <a:gd name="connsiteY154" fmla="*/ 187417 h 440658"/>
                <a:gd name="connsiteX155" fmla="*/ 38354 w 272605"/>
                <a:gd name="connsiteY155" fmla="*/ 198075 h 440658"/>
                <a:gd name="connsiteX156" fmla="*/ 38354 w 272605"/>
                <a:gd name="connsiteY156" fmla="*/ 205722 h 440658"/>
                <a:gd name="connsiteX157" fmla="*/ 50048 w 272605"/>
                <a:gd name="connsiteY157" fmla="*/ 222449 h 440658"/>
                <a:gd name="connsiteX158" fmla="*/ 46150 w 272605"/>
                <a:gd name="connsiteY158" fmla="*/ 227037 h 440658"/>
                <a:gd name="connsiteX159" fmla="*/ 53946 w 272605"/>
                <a:gd name="connsiteY159" fmla="*/ 231577 h 440658"/>
                <a:gd name="connsiteX160" fmla="*/ 55870 w 272605"/>
                <a:gd name="connsiteY160" fmla="*/ 234636 h 440658"/>
                <a:gd name="connsiteX161" fmla="*/ 50048 w 272605"/>
                <a:gd name="connsiteY161" fmla="*/ 239225 h 440658"/>
                <a:gd name="connsiteX162" fmla="*/ 51972 w 272605"/>
                <a:gd name="connsiteY162" fmla="*/ 242284 h 440658"/>
                <a:gd name="connsiteX163" fmla="*/ 46150 w 272605"/>
                <a:gd name="connsiteY163" fmla="*/ 257480 h 440658"/>
                <a:gd name="connsiteX164" fmla="*/ 40328 w 272605"/>
                <a:gd name="connsiteY164" fmla="*/ 260539 h 440658"/>
                <a:gd name="connsiteX165" fmla="*/ 38354 w 272605"/>
                <a:gd name="connsiteY165" fmla="*/ 268187 h 440658"/>
                <a:gd name="connsiteX166" fmla="*/ 34506 w 272605"/>
                <a:gd name="connsiteY166" fmla="*/ 271247 h 440658"/>
                <a:gd name="connsiteX167" fmla="*/ 32483 w 272605"/>
                <a:gd name="connsiteY167" fmla="*/ 275786 h 440658"/>
                <a:gd name="connsiteX168" fmla="*/ 26660 w 272605"/>
                <a:gd name="connsiteY168" fmla="*/ 280374 h 440658"/>
                <a:gd name="connsiteX169" fmla="*/ 24736 w 272605"/>
                <a:gd name="connsiteY169" fmla="*/ 291032 h 440658"/>
                <a:gd name="connsiteX170" fmla="*/ 20838 w 272605"/>
                <a:gd name="connsiteY170" fmla="*/ 295621 h 440658"/>
                <a:gd name="connsiteX171" fmla="*/ 9687 w 272605"/>
                <a:gd name="connsiteY171" fmla="*/ 298926 h 440658"/>
                <a:gd name="connsiteX172" fmla="*/ 7714 w 272605"/>
                <a:gd name="connsiteY172" fmla="*/ 301936 h 440658"/>
                <a:gd name="connsiteX173" fmla="*/ 7714 w 272605"/>
                <a:gd name="connsiteY173" fmla="*/ 311064 h 440658"/>
                <a:gd name="connsiteX174" fmla="*/ 1892 w 272605"/>
                <a:gd name="connsiteY174" fmla="*/ 317182 h 440658"/>
                <a:gd name="connsiteX175" fmla="*/ 1892 w 272605"/>
                <a:gd name="connsiteY175" fmla="*/ 327889 h 440658"/>
                <a:gd name="connsiteX176" fmla="*/ -82 w 272605"/>
                <a:gd name="connsiteY176" fmla="*/ 332428 h 440658"/>
                <a:gd name="connsiteX177" fmla="*/ 1892 w 272605"/>
                <a:gd name="connsiteY177" fmla="*/ 335487 h 440658"/>
                <a:gd name="connsiteX178" fmla="*/ 1892 w 272605"/>
                <a:gd name="connsiteY178" fmla="*/ 344616 h 440658"/>
                <a:gd name="connsiteX179" fmla="*/ 9687 w 272605"/>
                <a:gd name="connsiteY179" fmla="*/ 355273 h 440658"/>
                <a:gd name="connsiteX180" fmla="*/ 9687 w 272605"/>
                <a:gd name="connsiteY180" fmla="*/ 361391 h 440658"/>
                <a:gd name="connsiteX181" fmla="*/ 11612 w 272605"/>
                <a:gd name="connsiteY181" fmla="*/ 365931 h 440658"/>
                <a:gd name="connsiteX182" fmla="*/ 17434 w 272605"/>
                <a:gd name="connsiteY182" fmla="*/ 367460 h 440658"/>
                <a:gd name="connsiteX183" fmla="*/ 19358 w 272605"/>
                <a:gd name="connsiteY183" fmla="*/ 367460 h 440658"/>
                <a:gd name="connsiteX184" fmla="*/ 17434 w 272605"/>
                <a:gd name="connsiteY184" fmla="*/ 368990 h 440658"/>
                <a:gd name="connsiteX185" fmla="*/ 7566 w 272605"/>
                <a:gd name="connsiteY185" fmla="*/ 370519 h 440658"/>
                <a:gd name="connsiteX186" fmla="*/ 9539 w 272605"/>
                <a:gd name="connsiteY186" fmla="*/ 378118 h 440658"/>
                <a:gd name="connsiteX187" fmla="*/ 9539 w 272605"/>
                <a:gd name="connsiteY187" fmla="*/ 400962 h 440658"/>
                <a:gd name="connsiteX188" fmla="*/ 11464 w 272605"/>
                <a:gd name="connsiteY188" fmla="*/ 404021 h 440658"/>
                <a:gd name="connsiteX189" fmla="*/ 11464 w 272605"/>
                <a:gd name="connsiteY189" fmla="*/ 408610 h 440658"/>
                <a:gd name="connsiteX190" fmla="*/ 17286 w 272605"/>
                <a:gd name="connsiteY190" fmla="*/ 410139 h 440658"/>
                <a:gd name="connsiteX191" fmla="*/ 21184 w 272605"/>
                <a:gd name="connsiteY191" fmla="*/ 416258 h 440658"/>
                <a:gd name="connsiteX192" fmla="*/ 25082 w 272605"/>
                <a:gd name="connsiteY192" fmla="*/ 417787 h 440658"/>
                <a:gd name="connsiteX193" fmla="*/ 28980 w 272605"/>
                <a:gd name="connsiteY193" fmla="*/ 422327 h 440658"/>
                <a:gd name="connsiteX194" fmla="*/ 32828 w 272605"/>
                <a:gd name="connsiteY194" fmla="*/ 426915 h 440658"/>
                <a:gd name="connsiteX195" fmla="*/ 36775 w 272605"/>
                <a:gd name="connsiteY195" fmla="*/ 425386 h 440658"/>
                <a:gd name="connsiteX196" fmla="*/ 38700 w 272605"/>
                <a:gd name="connsiteY196" fmla="*/ 426915 h 440658"/>
                <a:gd name="connsiteX197" fmla="*/ 44522 w 272605"/>
                <a:gd name="connsiteY197" fmla="*/ 428395 h 440658"/>
                <a:gd name="connsiteX198" fmla="*/ 52318 w 272605"/>
                <a:gd name="connsiteY198" fmla="*/ 436043 h 440658"/>
                <a:gd name="connsiteX199" fmla="*/ 56216 w 272605"/>
                <a:gd name="connsiteY199" fmla="*/ 437573 h 440658"/>
                <a:gd name="connsiteX200" fmla="*/ 56216 w 272605"/>
                <a:gd name="connsiteY200" fmla="*/ 439102 h 440658"/>
                <a:gd name="connsiteX201" fmla="*/ 58139 w 272605"/>
                <a:gd name="connsiteY201" fmla="*/ 440632 h 440658"/>
                <a:gd name="connsiteX202" fmla="*/ 211983 w 272605"/>
                <a:gd name="connsiteY202" fmla="*/ 30466 h 440658"/>
                <a:gd name="connsiteX203" fmla="*/ 211983 w 272605"/>
                <a:gd name="connsiteY203" fmla="*/ 28936 h 440658"/>
                <a:gd name="connsiteX204" fmla="*/ 219729 w 272605"/>
                <a:gd name="connsiteY204" fmla="*/ 24347 h 440658"/>
                <a:gd name="connsiteX205" fmla="*/ 219729 w 272605"/>
                <a:gd name="connsiteY205" fmla="*/ 25877 h 440658"/>
                <a:gd name="connsiteX206" fmla="*/ 211983 w 272605"/>
                <a:gd name="connsiteY206" fmla="*/ 30466 h 440658"/>
                <a:gd name="connsiteX207" fmla="*/ 209960 w 272605"/>
                <a:gd name="connsiteY207" fmla="*/ 41123 h 440658"/>
                <a:gd name="connsiteX208" fmla="*/ 211983 w 272605"/>
                <a:gd name="connsiteY208" fmla="*/ 39643 h 440658"/>
                <a:gd name="connsiteX209" fmla="*/ 213907 w 272605"/>
                <a:gd name="connsiteY209" fmla="*/ 42653 h 440658"/>
                <a:gd name="connsiteX210" fmla="*/ 211983 w 272605"/>
                <a:gd name="connsiteY210" fmla="*/ 44182 h 440658"/>
                <a:gd name="connsiteX211" fmla="*/ 209960 w 272605"/>
                <a:gd name="connsiteY211" fmla="*/ 41123 h 440658"/>
                <a:gd name="connsiteX212" fmla="*/ 200092 w 272605"/>
                <a:gd name="connsiteY212" fmla="*/ 39643 h 440658"/>
                <a:gd name="connsiteX213" fmla="*/ 202016 w 272605"/>
                <a:gd name="connsiteY213" fmla="*/ 39643 h 440658"/>
                <a:gd name="connsiteX214" fmla="*/ 205914 w 272605"/>
                <a:gd name="connsiteY214" fmla="*/ 42653 h 440658"/>
                <a:gd name="connsiteX215" fmla="*/ 203940 w 272605"/>
                <a:gd name="connsiteY215" fmla="*/ 47241 h 440658"/>
                <a:gd name="connsiteX216" fmla="*/ 200092 w 272605"/>
                <a:gd name="connsiteY216" fmla="*/ 45712 h 440658"/>
                <a:gd name="connsiteX217" fmla="*/ 196145 w 272605"/>
                <a:gd name="connsiteY217" fmla="*/ 44182 h 440658"/>
                <a:gd name="connsiteX218" fmla="*/ 200092 w 272605"/>
                <a:gd name="connsiteY218" fmla="*/ 39643 h 440658"/>
                <a:gd name="connsiteX219" fmla="*/ 246768 w 272605"/>
                <a:gd name="connsiteY219" fmla="*/ 162994 h 440658"/>
                <a:gd name="connsiteX220" fmla="*/ 246768 w 272605"/>
                <a:gd name="connsiteY220" fmla="*/ 159935 h 440658"/>
                <a:gd name="connsiteX221" fmla="*/ 248692 w 272605"/>
                <a:gd name="connsiteY221" fmla="*/ 155395 h 440658"/>
                <a:gd name="connsiteX222" fmla="*/ 252639 w 272605"/>
                <a:gd name="connsiteY222" fmla="*/ 152336 h 440658"/>
                <a:gd name="connsiteX223" fmla="*/ 254564 w 272605"/>
                <a:gd name="connsiteY223" fmla="*/ 152336 h 440658"/>
                <a:gd name="connsiteX224" fmla="*/ 256488 w 272605"/>
                <a:gd name="connsiteY224" fmla="*/ 149277 h 440658"/>
                <a:gd name="connsiteX225" fmla="*/ 254564 w 272605"/>
                <a:gd name="connsiteY225" fmla="*/ 153866 h 440658"/>
                <a:gd name="connsiteX226" fmla="*/ 252639 w 272605"/>
                <a:gd name="connsiteY226" fmla="*/ 158405 h 440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</a:cxnLst>
              <a:rect l="l" t="t" r="r" b="b"/>
              <a:pathLst>
                <a:path w="272605" h="440658">
                  <a:moveTo>
                    <a:pt x="58189" y="440385"/>
                  </a:moveTo>
                  <a:lnTo>
                    <a:pt x="62136" y="438856"/>
                  </a:lnTo>
                  <a:lnTo>
                    <a:pt x="69882" y="438856"/>
                  </a:lnTo>
                  <a:lnTo>
                    <a:pt x="77679" y="434267"/>
                  </a:lnTo>
                  <a:lnTo>
                    <a:pt x="85425" y="426669"/>
                  </a:lnTo>
                  <a:lnTo>
                    <a:pt x="106888" y="425139"/>
                  </a:lnTo>
                  <a:lnTo>
                    <a:pt x="112710" y="426669"/>
                  </a:lnTo>
                  <a:lnTo>
                    <a:pt x="126328" y="422080"/>
                  </a:lnTo>
                  <a:lnTo>
                    <a:pt x="130226" y="417540"/>
                  </a:lnTo>
                  <a:lnTo>
                    <a:pt x="134124" y="416011"/>
                  </a:lnTo>
                  <a:lnTo>
                    <a:pt x="137972" y="406834"/>
                  </a:lnTo>
                  <a:lnTo>
                    <a:pt x="143844" y="397706"/>
                  </a:lnTo>
                  <a:lnTo>
                    <a:pt x="143844" y="393117"/>
                  </a:lnTo>
                  <a:lnTo>
                    <a:pt x="153712" y="390107"/>
                  </a:lnTo>
                  <a:lnTo>
                    <a:pt x="151739" y="380930"/>
                  </a:lnTo>
                  <a:lnTo>
                    <a:pt x="147890" y="379401"/>
                  </a:lnTo>
                  <a:lnTo>
                    <a:pt x="155636" y="374812"/>
                  </a:lnTo>
                  <a:lnTo>
                    <a:pt x="157610" y="365684"/>
                  </a:lnTo>
                  <a:lnTo>
                    <a:pt x="157610" y="364154"/>
                  </a:lnTo>
                  <a:lnTo>
                    <a:pt x="159583" y="364154"/>
                  </a:lnTo>
                  <a:lnTo>
                    <a:pt x="167330" y="355026"/>
                  </a:lnTo>
                  <a:lnTo>
                    <a:pt x="171228" y="333711"/>
                  </a:lnTo>
                  <a:lnTo>
                    <a:pt x="175126" y="321524"/>
                  </a:lnTo>
                  <a:lnTo>
                    <a:pt x="179023" y="316936"/>
                  </a:lnTo>
                  <a:lnTo>
                    <a:pt x="182872" y="304749"/>
                  </a:lnTo>
                  <a:lnTo>
                    <a:pt x="194566" y="289503"/>
                  </a:lnTo>
                  <a:lnTo>
                    <a:pt x="202362" y="265128"/>
                  </a:lnTo>
                  <a:lnTo>
                    <a:pt x="208184" y="256000"/>
                  </a:lnTo>
                  <a:lnTo>
                    <a:pt x="208184" y="245343"/>
                  </a:lnTo>
                  <a:lnTo>
                    <a:pt x="215980" y="233106"/>
                  </a:lnTo>
                  <a:lnTo>
                    <a:pt x="215980" y="229850"/>
                  </a:lnTo>
                  <a:lnTo>
                    <a:pt x="225848" y="219242"/>
                  </a:lnTo>
                  <a:lnTo>
                    <a:pt x="229696" y="200937"/>
                  </a:lnTo>
                  <a:lnTo>
                    <a:pt x="233594" y="187220"/>
                  </a:lnTo>
                  <a:lnTo>
                    <a:pt x="235518" y="184161"/>
                  </a:lnTo>
                  <a:lnTo>
                    <a:pt x="237492" y="175033"/>
                  </a:lnTo>
                  <a:lnTo>
                    <a:pt x="235518" y="171974"/>
                  </a:lnTo>
                  <a:lnTo>
                    <a:pt x="237492" y="162846"/>
                  </a:lnTo>
                  <a:lnTo>
                    <a:pt x="243314" y="153718"/>
                  </a:lnTo>
                  <a:lnTo>
                    <a:pt x="243314" y="150905"/>
                  </a:lnTo>
                  <a:lnTo>
                    <a:pt x="247212" y="144787"/>
                  </a:lnTo>
                  <a:lnTo>
                    <a:pt x="247212" y="137189"/>
                  </a:lnTo>
                  <a:lnTo>
                    <a:pt x="243314" y="134130"/>
                  </a:lnTo>
                  <a:lnTo>
                    <a:pt x="247212" y="129590"/>
                  </a:lnTo>
                  <a:lnTo>
                    <a:pt x="247212" y="121943"/>
                  </a:lnTo>
                  <a:lnTo>
                    <a:pt x="243314" y="120413"/>
                  </a:lnTo>
                  <a:lnTo>
                    <a:pt x="243314" y="114295"/>
                  </a:lnTo>
                  <a:lnTo>
                    <a:pt x="249136" y="112765"/>
                  </a:lnTo>
                  <a:lnTo>
                    <a:pt x="253083" y="114295"/>
                  </a:lnTo>
                  <a:lnTo>
                    <a:pt x="255008" y="120413"/>
                  </a:lnTo>
                  <a:lnTo>
                    <a:pt x="260830" y="126531"/>
                  </a:lnTo>
                  <a:lnTo>
                    <a:pt x="264727" y="128061"/>
                  </a:lnTo>
                  <a:lnTo>
                    <a:pt x="266701" y="123472"/>
                  </a:lnTo>
                  <a:lnTo>
                    <a:pt x="268626" y="118884"/>
                  </a:lnTo>
                  <a:lnTo>
                    <a:pt x="268626" y="117354"/>
                  </a:lnTo>
                  <a:lnTo>
                    <a:pt x="270550" y="109755"/>
                  </a:lnTo>
                  <a:lnTo>
                    <a:pt x="272524" y="108226"/>
                  </a:lnTo>
                  <a:lnTo>
                    <a:pt x="272524" y="102157"/>
                  </a:lnTo>
                  <a:lnTo>
                    <a:pt x="266701" y="94509"/>
                  </a:lnTo>
                  <a:lnTo>
                    <a:pt x="264727" y="89921"/>
                  </a:lnTo>
                  <a:lnTo>
                    <a:pt x="266701" y="86862"/>
                  </a:lnTo>
                  <a:lnTo>
                    <a:pt x="266701" y="79263"/>
                  </a:lnTo>
                  <a:lnTo>
                    <a:pt x="264727" y="71665"/>
                  </a:lnTo>
                  <a:lnTo>
                    <a:pt x="264727" y="68606"/>
                  </a:lnTo>
                  <a:lnTo>
                    <a:pt x="266701" y="51830"/>
                  </a:lnTo>
                  <a:lnTo>
                    <a:pt x="260830" y="45761"/>
                  </a:lnTo>
                  <a:lnTo>
                    <a:pt x="260830" y="30515"/>
                  </a:lnTo>
                  <a:lnTo>
                    <a:pt x="256932" y="25926"/>
                  </a:lnTo>
                  <a:lnTo>
                    <a:pt x="255008" y="27456"/>
                  </a:lnTo>
                  <a:lnTo>
                    <a:pt x="247212" y="21387"/>
                  </a:lnTo>
                  <a:lnTo>
                    <a:pt x="247212" y="15219"/>
                  </a:lnTo>
                  <a:lnTo>
                    <a:pt x="241390" y="13690"/>
                  </a:lnTo>
                  <a:lnTo>
                    <a:pt x="243314" y="7621"/>
                  </a:lnTo>
                  <a:lnTo>
                    <a:pt x="241390" y="-27"/>
                  </a:lnTo>
                  <a:lnTo>
                    <a:pt x="233594" y="7621"/>
                  </a:lnTo>
                  <a:lnTo>
                    <a:pt x="235518" y="12210"/>
                  </a:lnTo>
                  <a:lnTo>
                    <a:pt x="229696" y="15219"/>
                  </a:lnTo>
                  <a:lnTo>
                    <a:pt x="223825" y="12210"/>
                  </a:lnTo>
                  <a:lnTo>
                    <a:pt x="219976" y="12210"/>
                  </a:lnTo>
                  <a:lnTo>
                    <a:pt x="225848" y="18278"/>
                  </a:lnTo>
                  <a:lnTo>
                    <a:pt x="225848" y="22620"/>
                  </a:lnTo>
                  <a:lnTo>
                    <a:pt x="229696" y="25680"/>
                  </a:lnTo>
                  <a:lnTo>
                    <a:pt x="229696" y="27554"/>
                  </a:lnTo>
                  <a:lnTo>
                    <a:pt x="223825" y="35202"/>
                  </a:lnTo>
                  <a:lnTo>
                    <a:pt x="223825" y="42801"/>
                  </a:lnTo>
                  <a:lnTo>
                    <a:pt x="216078" y="48919"/>
                  </a:lnTo>
                  <a:lnTo>
                    <a:pt x="211983" y="47291"/>
                  </a:lnTo>
                  <a:lnTo>
                    <a:pt x="206112" y="53359"/>
                  </a:lnTo>
                  <a:lnTo>
                    <a:pt x="206112" y="59478"/>
                  </a:lnTo>
                  <a:lnTo>
                    <a:pt x="202214" y="62537"/>
                  </a:lnTo>
                  <a:lnTo>
                    <a:pt x="198316" y="61007"/>
                  </a:lnTo>
                  <a:lnTo>
                    <a:pt x="196342" y="53359"/>
                  </a:lnTo>
                  <a:lnTo>
                    <a:pt x="194417" y="51830"/>
                  </a:lnTo>
                  <a:lnTo>
                    <a:pt x="190520" y="54889"/>
                  </a:lnTo>
                  <a:lnTo>
                    <a:pt x="188596" y="64066"/>
                  </a:lnTo>
                  <a:lnTo>
                    <a:pt x="196342" y="68606"/>
                  </a:lnTo>
                  <a:lnTo>
                    <a:pt x="198316" y="71665"/>
                  </a:lnTo>
                  <a:lnTo>
                    <a:pt x="194417" y="73194"/>
                  </a:lnTo>
                  <a:lnTo>
                    <a:pt x="192494" y="73194"/>
                  </a:lnTo>
                  <a:lnTo>
                    <a:pt x="182626" y="74724"/>
                  </a:lnTo>
                  <a:lnTo>
                    <a:pt x="186572" y="79263"/>
                  </a:lnTo>
                  <a:lnTo>
                    <a:pt x="192395" y="80793"/>
                  </a:lnTo>
                  <a:lnTo>
                    <a:pt x="192395" y="86763"/>
                  </a:lnTo>
                  <a:lnTo>
                    <a:pt x="190421" y="89822"/>
                  </a:lnTo>
                  <a:lnTo>
                    <a:pt x="186572" y="86763"/>
                  </a:lnTo>
                  <a:lnTo>
                    <a:pt x="180701" y="88292"/>
                  </a:lnTo>
                  <a:lnTo>
                    <a:pt x="178777" y="91401"/>
                  </a:lnTo>
                  <a:lnTo>
                    <a:pt x="168909" y="97470"/>
                  </a:lnTo>
                  <a:lnTo>
                    <a:pt x="168909" y="91697"/>
                  </a:lnTo>
                  <a:lnTo>
                    <a:pt x="170883" y="90118"/>
                  </a:lnTo>
                  <a:lnTo>
                    <a:pt x="168909" y="87059"/>
                  </a:lnTo>
                  <a:lnTo>
                    <a:pt x="163086" y="91697"/>
                  </a:lnTo>
                  <a:lnTo>
                    <a:pt x="166985" y="93226"/>
                  </a:lnTo>
                  <a:lnTo>
                    <a:pt x="165060" y="96236"/>
                  </a:lnTo>
                  <a:lnTo>
                    <a:pt x="157265" y="100825"/>
                  </a:lnTo>
                  <a:lnTo>
                    <a:pt x="159238" y="105364"/>
                  </a:lnTo>
                  <a:lnTo>
                    <a:pt x="165060" y="106894"/>
                  </a:lnTo>
                  <a:lnTo>
                    <a:pt x="163086" y="109953"/>
                  </a:lnTo>
                  <a:lnTo>
                    <a:pt x="159238" y="112963"/>
                  </a:lnTo>
                  <a:lnTo>
                    <a:pt x="155291" y="116022"/>
                  </a:lnTo>
                  <a:lnTo>
                    <a:pt x="153367" y="109953"/>
                  </a:lnTo>
                  <a:lnTo>
                    <a:pt x="147840" y="109953"/>
                  </a:lnTo>
                  <a:lnTo>
                    <a:pt x="153663" y="105364"/>
                  </a:lnTo>
                  <a:lnTo>
                    <a:pt x="151689" y="103835"/>
                  </a:lnTo>
                  <a:lnTo>
                    <a:pt x="136147" y="114492"/>
                  </a:lnTo>
                  <a:lnTo>
                    <a:pt x="134222" y="122140"/>
                  </a:lnTo>
                  <a:lnTo>
                    <a:pt x="136147" y="125199"/>
                  </a:lnTo>
                  <a:lnTo>
                    <a:pt x="134222" y="129788"/>
                  </a:lnTo>
                  <a:lnTo>
                    <a:pt x="130324" y="128258"/>
                  </a:lnTo>
                  <a:lnTo>
                    <a:pt x="128351" y="126728"/>
                  </a:lnTo>
                  <a:lnTo>
                    <a:pt x="128351" y="118834"/>
                  </a:lnTo>
                  <a:lnTo>
                    <a:pt x="124453" y="117305"/>
                  </a:lnTo>
                  <a:lnTo>
                    <a:pt x="114585" y="124952"/>
                  </a:lnTo>
                  <a:lnTo>
                    <a:pt x="104717" y="118834"/>
                  </a:lnTo>
                  <a:lnTo>
                    <a:pt x="104717" y="121893"/>
                  </a:lnTo>
                  <a:lnTo>
                    <a:pt x="100819" y="121893"/>
                  </a:lnTo>
                  <a:lnTo>
                    <a:pt x="102793" y="131021"/>
                  </a:lnTo>
                  <a:lnTo>
                    <a:pt x="98895" y="129541"/>
                  </a:lnTo>
                  <a:lnTo>
                    <a:pt x="96921" y="131021"/>
                  </a:lnTo>
                  <a:lnTo>
                    <a:pt x="96921" y="126482"/>
                  </a:lnTo>
                  <a:lnTo>
                    <a:pt x="93073" y="124952"/>
                  </a:lnTo>
                  <a:lnTo>
                    <a:pt x="89175" y="129541"/>
                  </a:lnTo>
                  <a:lnTo>
                    <a:pt x="87201" y="124952"/>
                  </a:lnTo>
                  <a:lnTo>
                    <a:pt x="71610" y="135610"/>
                  </a:lnTo>
                  <a:lnTo>
                    <a:pt x="67761" y="135610"/>
                  </a:lnTo>
                  <a:lnTo>
                    <a:pt x="65787" y="134080"/>
                  </a:lnTo>
                  <a:lnTo>
                    <a:pt x="57992" y="134080"/>
                  </a:lnTo>
                  <a:lnTo>
                    <a:pt x="54143" y="137140"/>
                  </a:lnTo>
                  <a:lnTo>
                    <a:pt x="56067" y="147797"/>
                  </a:lnTo>
                  <a:lnTo>
                    <a:pt x="44374" y="161514"/>
                  </a:lnTo>
                  <a:lnTo>
                    <a:pt x="44374" y="166102"/>
                  </a:lnTo>
                  <a:lnTo>
                    <a:pt x="34506" y="173701"/>
                  </a:lnTo>
                  <a:lnTo>
                    <a:pt x="34506" y="178289"/>
                  </a:lnTo>
                  <a:lnTo>
                    <a:pt x="40328" y="182878"/>
                  </a:lnTo>
                  <a:lnTo>
                    <a:pt x="36430" y="187417"/>
                  </a:lnTo>
                  <a:lnTo>
                    <a:pt x="38354" y="198075"/>
                  </a:lnTo>
                  <a:lnTo>
                    <a:pt x="38354" y="205722"/>
                  </a:lnTo>
                  <a:lnTo>
                    <a:pt x="50048" y="222449"/>
                  </a:lnTo>
                  <a:lnTo>
                    <a:pt x="46150" y="227037"/>
                  </a:lnTo>
                  <a:lnTo>
                    <a:pt x="53946" y="231577"/>
                  </a:lnTo>
                  <a:lnTo>
                    <a:pt x="55870" y="234636"/>
                  </a:lnTo>
                  <a:lnTo>
                    <a:pt x="50048" y="239225"/>
                  </a:lnTo>
                  <a:lnTo>
                    <a:pt x="51972" y="242284"/>
                  </a:lnTo>
                  <a:lnTo>
                    <a:pt x="46150" y="257480"/>
                  </a:lnTo>
                  <a:lnTo>
                    <a:pt x="40328" y="260539"/>
                  </a:lnTo>
                  <a:lnTo>
                    <a:pt x="38354" y="268187"/>
                  </a:lnTo>
                  <a:lnTo>
                    <a:pt x="34506" y="271247"/>
                  </a:lnTo>
                  <a:lnTo>
                    <a:pt x="32483" y="275786"/>
                  </a:lnTo>
                  <a:lnTo>
                    <a:pt x="26660" y="280374"/>
                  </a:lnTo>
                  <a:lnTo>
                    <a:pt x="24736" y="291032"/>
                  </a:lnTo>
                  <a:lnTo>
                    <a:pt x="20838" y="295621"/>
                  </a:lnTo>
                  <a:lnTo>
                    <a:pt x="9687" y="298926"/>
                  </a:lnTo>
                  <a:lnTo>
                    <a:pt x="7714" y="301936"/>
                  </a:lnTo>
                  <a:lnTo>
                    <a:pt x="7714" y="311064"/>
                  </a:lnTo>
                  <a:lnTo>
                    <a:pt x="1892" y="317182"/>
                  </a:lnTo>
                  <a:lnTo>
                    <a:pt x="1892" y="327889"/>
                  </a:lnTo>
                  <a:lnTo>
                    <a:pt x="-82" y="332428"/>
                  </a:lnTo>
                  <a:lnTo>
                    <a:pt x="1892" y="335487"/>
                  </a:lnTo>
                  <a:lnTo>
                    <a:pt x="1892" y="344616"/>
                  </a:lnTo>
                  <a:lnTo>
                    <a:pt x="9687" y="355273"/>
                  </a:lnTo>
                  <a:lnTo>
                    <a:pt x="9687" y="361391"/>
                  </a:lnTo>
                  <a:lnTo>
                    <a:pt x="11612" y="365931"/>
                  </a:lnTo>
                  <a:lnTo>
                    <a:pt x="17434" y="367460"/>
                  </a:lnTo>
                  <a:lnTo>
                    <a:pt x="19358" y="367460"/>
                  </a:lnTo>
                  <a:lnTo>
                    <a:pt x="17434" y="368990"/>
                  </a:lnTo>
                  <a:lnTo>
                    <a:pt x="7566" y="370519"/>
                  </a:lnTo>
                  <a:lnTo>
                    <a:pt x="9539" y="378118"/>
                  </a:lnTo>
                  <a:lnTo>
                    <a:pt x="9539" y="400962"/>
                  </a:lnTo>
                  <a:lnTo>
                    <a:pt x="11464" y="404021"/>
                  </a:lnTo>
                  <a:lnTo>
                    <a:pt x="11464" y="408610"/>
                  </a:lnTo>
                  <a:lnTo>
                    <a:pt x="17286" y="410139"/>
                  </a:lnTo>
                  <a:lnTo>
                    <a:pt x="21184" y="416258"/>
                  </a:lnTo>
                  <a:lnTo>
                    <a:pt x="25082" y="417787"/>
                  </a:lnTo>
                  <a:lnTo>
                    <a:pt x="28980" y="422327"/>
                  </a:lnTo>
                  <a:lnTo>
                    <a:pt x="32828" y="426915"/>
                  </a:lnTo>
                  <a:lnTo>
                    <a:pt x="36775" y="425386"/>
                  </a:lnTo>
                  <a:lnTo>
                    <a:pt x="38700" y="426915"/>
                  </a:lnTo>
                  <a:lnTo>
                    <a:pt x="44522" y="428395"/>
                  </a:lnTo>
                  <a:lnTo>
                    <a:pt x="52318" y="436043"/>
                  </a:lnTo>
                  <a:lnTo>
                    <a:pt x="56216" y="437573"/>
                  </a:lnTo>
                  <a:lnTo>
                    <a:pt x="56216" y="439102"/>
                  </a:lnTo>
                  <a:lnTo>
                    <a:pt x="58139" y="440632"/>
                  </a:lnTo>
                  <a:close/>
                  <a:moveTo>
                    <a:pt x="211983" y="30466"/>
                  </a:moveTo>
                  <a:lnTo>
                    <a:pt x="211983" y="28936"/>
                  </a:lnTo>
                  <a:lnTo>
                    <a:pt x="219729" y="24347"/>
                  </a:lnTo>
                  <a:lnTo>
                    <a:pt x="219729" y="25877"/>
                  </a:lnTo>
                  <a:lnTo>
                    <a:pt x="211983" y="30466"/>
                  </a:lnTo>
                  <a:close/>
                  <a:moveTo>
                    <a:pt x="209960" y="41123"/>
                  </a:moveTo>
                  <a:lnTo>
                    <a:pt x="211983" y="39643"/>
                  </a:lnTo>
                  <a:lnTo>
                    <a:pt x="213907" y="42653"/>
                  </a:lnTo>
                  <a:lnTo>
                    <a:pt x="211983" y="44182"/>
                  </a:lnTo>
                  <a:lnTo>
                    <a:pt x="209960" y="41123"/>
                  </a:lnTo>
                  <a:close/>
                  <a:moveTo>
                    <a:pt x="200092" y="39643"/>
                  </a:moveTo>
                  <a:lnTo>
                    <a:pt x="202016" y="39643"/>
                  </a:lnTo>
                  <a:lnTo>
                    <a:pt x="205914" y="42653"/>
                  </a:lnTo>
                  <a:lnTo>
                    <a:pt x="203940" y="47241"/>
                  </a:lnTo>
                  <a:lnTo>
                    <a:pt x="200092" y="45712"/>
                  </a:lnTo>
                  <a:lnTo>
                    <a:pt x="196145" y="44182"/>
                  </a:lnTo>
                  <a:lnTo>
                    <a:pt x="200092" y="39643"/>
                  </a:lnTo>
                  <a:close/>
                  <a:moveTo>
                    <a:pt x="246768" y="162994"/>
                  </a:moveTo>
                  <a:lnTo>
                    <a:pt x="246768" y="159935"/>
                  </a:lnTo>
                  <a:lnTo>
                    <a:pt x="248692" y="155395"/>
                  </a:lnTo>
                  <a:lnTo>
                    <a:pt x="252639" y="152336"/>
                  </a:lnTo>
                  <a:lnTo>
                    <a:pt x="254564" y="152336"/>
                  </a:lnTo>
                  <a:lnTo>
                    <a:pt x="256488" y="149277"/>
                  </a:lnTo>
                  <a:lnTo>
                    <a:pt x="254564" y="153866"/>
                  </a:lnTo>
                  <a:lnTo>
                    <a:pt x="252639" y="15840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Graphic 2">
              <a:extLst>
                <a:ext uri="{FF2B5EF4-FFF2-40B4-BE49-F238E27FC236}">
                  <a16:creationId xmlns:a16="http://schemas.microsoft.com/office/drawing/2014/main" id="{0AEE74AB-9294-458B-B331-234FA99D83AB}"/>
                </a:ext>
              </a:extLst>
            </p:cNvPr>
            <p:cNvSpPr/>
            <p:nvPr/>
          </p:nvSpPr>
          <p:spPr>
            <a:xfrm>
              <a:off x="6401163" y="4943416"/>
              <a:ext cx="342830" cy="471241"/>
            </a:xfrm>
            <a:custGeom>
              <a:avLst/>
              <a:gdLst>
                <a:gd name="connsiteX0" fmla="*/ 25329 w 377354"/>
                <a:gd name="connsiteY0" fmla="*/ 380091 h 518715"/>
                <a:gd name="connsiteX1" fmla="*/ 64406 w 377354"/>
                <a:gd name="connsiteY1" fmla="*/ 346589 h 518715"/>
                <a:gd name="connsiteX2" fmla="*/ 64406 w 377354"/>
                <a:gd name="connsiteY2" fmla="*/ 334451 h 518715"/>
                <a:gd name="connsiteX3" fmla="*/ 66330 w 377354"/>
                <a:gd name="connsiteY3" fmla="*/ 331392 h 518715"/>
                <a:gd name="connsiteX4" fmla="*/ 66330 w 377354"/>
                <a:gd name="connsiteY4" fmla="*/ 322264 h 518715"/>
                <a:gd name="connsiteX5" fmla="*/ 70278 w 377354"/>
                <a:gd name="connsiteY5" fmla="*/ 319205 h 518715"/>
                <a:gd name="connsiteX6" fmla="*/ 68304 w 377354"/>
                <a:gd name="connsiteY6" fmla="*/ 313136 h 518715"/>
                <a:gd name="connsiteX7" fmla="*/ 68304 w 377354"/>
                <a:gd name="connsiteY7" fmla="*/ 308597 h 518715"/>
                <a:gd name="connsiteX8" fmla="*/ 73978 w 377354"/>
                <a:gd name="connsiteY8" fmla="*/ 308597 h 518715"/>
                <a:gd name="connsiteX9" fmla="*/ 75902 w 377354"/>
                <a:gd name="connsiteY9" fmla="*/ 305538 h 518715"/>
                <a:gd name="connsiteX10" fmla="*/ 83698 w 377354"/>
                <a:gd name="connsiteY10" fmla="*/ 300949 h 518715"/>
                <a:gd name="connsiteX11" fmla="*/ 87645 w 377354"/>
                <a:gd name="connsiteY11" fmla="*/ 294880 h 518715"/>
                <a:gd name="connsiteX12" fmla="*/ 85672 w 377354"/>
                <a:gd name="connsiteY12" fmla="*/ 291821 h 518715"/>
                <a:gd name="connsiteX13" fmla="*/ 79849 w 377354"/>
                <a:gd name="connsiteY13" fmla="*/ 287282 h 518715"/>
                <a:gd name="connsiteX14" fmla="*/ 79849 w 377354"/>
                <a:gd name="connsiteY14" fmla="*/ 281213 h 518715"/>
                <a:gd name="connsiteX15" fmla="*/ 85672 w 377354"/>
                <a:gd name="connsiteY15" fmla="*/ 279684 h 518715"/>
                <a:gd name="connsiteX16" fmla="*/ 85672 w 377354"/>
                <a:gd name="connsiteY16" fmla="*/ 275095 h 518715"/>
                <a:gd name="connsiteX17" fmla="*/ 77876 w 377354"/>
                <a:gd name="connsiteY17" fmla="*/ 270555 h 518715"/>
                <a:gd name="connsiteX18" fmla="*/ 77876 w 377354"/>
                <a:gd name="connsiteY18" fmla="*/ 265967 h 518715"/>
                <a:gd name="connsiteX19" fmla="*/ 83846 w 377354"/>
                <a:gd name="connsiteY19" fmla="*/ 265967 h 518715"/>
                <a:gd name="connsiteX20" fmla="*/ 83846 w 377354"/>
                <a:gd name="connsiteY20" fmla="*/ 252300 h 518715"/>
                <a:gd name="connsiteX21" fmla="*/ 89717 w 377354"/>
                <a:gd name="connsiteY21" fmla="*/ 249241 h 518715"/>
                <a:gd name="connsiteX22" fmla="*/ 91691 w 377354"/>
                <a:gd name="connsiteY22" fmla="*/ 244701 h 518715"/>
                <a:gd name="connsiteX23" fmla="*/ 85820 w 377354"/>
                <a:gd name="connsiteY23" fmla="*/ 246231 h 518715"/>
                <a:gd name="connsiteX24" fmla="*/ 83846 w 377354"/>
                <a:gd name="connsiteY24" fmla="*/ 243172 h 518715"/>
                <a:gd name="connsiteX25" fmla="*/ 87794 w 377354"/>
                <a:gd name="connsiteY25" fmla="*/ 238632 h 518715"/>
                <a:gd name="connsiteX26" fmla="*/ 87794 w 377354"/>
                <a:gd name="connsiteY26" fmla="*/ 227926 h 518715"/>
                <a:gd name="connsiteX27" fmla="*/ 89717 w 377354"/>
                <a:gd name="connsiteY27" fmla="*/ 223386 h 518715"/>
                <a:gd name="connsiteX28" fmla="*/ 89717 w 377354"/>
                <a:gd name="connsiteY28" fmla="*/ 217317 h 518715"/>
                <a:gd name="connsiteX29" fmla="*/ 91691 w 377354"/>
                <a:gd name="connsiteY29" fmla="*/ 212729 h 518715"/>
                <a:gd name="connsiteX30" fmla="*/ 89717 w 377354"/>
                <a:gd name="connsiteY30" fmla="*/ 206660 h 518715"/>
                <a:gd name="connsiteX31" fmla="*/ 93665 w 377354"/>
                <a:gd name="connsiteY31" fmla="*/ 202071 h 518715"/>
                <a:gd name="connsiteX32" fmla="*/ 93665 w 377354"/>
                <a:gd name="connsiteY32" fmla="*/ 197532 h 518715"/>
                <a:gd name="connsiteX33" fmla="*/ 85820 w 377354"/>
                <a:gd name="connsiteY33" fmla="*/ 197532 h 518715"/>
                <a:gd name="connsiteX34" fmla="*/ 79997 w 377354"/>
                <a:gd name="connsiteY34" fmla="*/ 192943 h 518715"/>
                <a:gd name="connsiteX35" fmla="*/ 74126 w 377354"/>
                <a:gd name="connsiteY35" fmla="*/ 188404 h 518715"/>
                <a:gd name="connsiteX36" fmla="*/ 62383 w 377354"/>
                <a:gd name="connsiteY36" fmla="*/ 188404 h 518715"/>
                <a:gd name="connsiteX37" fmla="*/ 56561 w 377354"/>
                <a:gd name="connsiteY37" fmla="*/ 186874 h 518715"/>
                <a:gd name="connsiteX38" fmla="*/ 50690 w 377354"/>
                <a:gd name="connsiteY38" fmla="*/ 179276 h 518715"/>
                <a:gd name="connsiteX39" fmla="*/ 38947 w 377354"/>
                <a:gd name="connsiteY39" fmla="*/ 174737 h 518715"/>
                <a:gd name="connsiteX40" fmla="*/ 31150 w 377354"/>
                <a:gd name="connsiteY40" fmla="*/ 171677 h 518715"/>
                <a:gd name="connsiteX41" fmla="*/ 27253 w 377354"/>
                <a:gd name="connsiteY41" fmla="*/ 174737 h 518715"/>
                <a:gd name="connsiteX42" fmla="*/ 23355 w 377354"/>
                <a:gd name="connsiteY42" fmla="*/ 176217 h 518715"/>
                <a:gd name="connsiteX43" fmla="*/ 23355 w 377354"/>
                <a:gd name="connsiteY43" fmla="*/ 173207 h 518715"/>
                <a:gd name="connsiteX44" fmla="*/ 17484 w 377354"/>
                <a:gd name="connsiteY44" fmla="*/ 171677 h 518715"/>
                <a:gd name="connsiteX45" fmla="*/ 3816 w 377354"/>
                <a:gd name="connsiteY45" fmla="*/ 171677 h 518715"/>
                <a:gd name="connsiteX46" fmla="*/ 1842 w 377354"/>
                <a:gd name="connsiteY46" fmla="*/ 157961 h 518715"/>
                <a:gd name="connsiteX47" fmla="*/ -82 w 377354"/>
                <a:gd name="connsiteY47" fmla="*/ 147303 h 518715"/>
                <a:gd name="connsiteX48" fmla="*/ 3816 w 377354"/>
                <a:gd name="connsiteY48" fmla="*/ 142764 h 518715"/>
                <a:gd name="connsiteX49" fmla="*/ 17484 w 377354"/>
                <a:gd name="connsiteY49" fmla="*/ 136695 h 518715"/>
                <a:gd name="connsiteX50" fmla="*/ 25279 w 377354"/>
                <a:gd name="connsiteY50" fmla="*/ 136695 h 518715"/>
                <a:gd name="connsiteX51" fmla="*/ 62383 w 377354"/>
                <a:gd name="connsiteY51" fmla="*/ 122979 h 518715"/>
                <a:gd name="connsiteX52" fmla="*/ 68254 w 377354"/>
                <a:gd name="connsiteY52" fmla="*/ 122979 h 518715"/>
                <a:gd name="connsiteX53" fmla="*/ 89717 w 377354"/>
                <a:gd name="connsiteY53" fmla="*/ 115380 h 518715"/>
                <a:gd name="connsiteX54" fmla="*/ 99585 w 377354"/>
                <a:gd name="connsiteY54" fmla="*/ 112321 h 518715"/>
                <a:gd name="connsiteX55" fmla="*/ 109453 w 377354"/>
                <a:gd name="connsiteY55" fmla="*/ 110841 h 518715"/>
                <a:gd name="connsiteX56" fmla="*/ 111427 w 377354"/>
                <a:gd name="connsiteY56" fmla="*/ 113851 h 518715"/>
                <a:gd name="connsiteX57" fmla="*/ 113352 w 377354"/>
                <a:gd name="connsiteY57" fmla="*/ 116910 h 518715"/>
                <a:gd name="connsiteX58" fmla="*/ 115325 w 377354"/>
                <a:gd name="connsiteY58" fmla="*/ 119919 h 518715"/>
                <a:gd name="connsiteX59" fmla="*/ 115325 w 377354"/>
                <a:gd name="connsiteY59" fmla="*/ 122979 h 518715"/>
                <a:gd name="connsiteX60" fmla="*/ 123121 w 377354"/>
                <a:gd name="connsiteY60" fmla="*/ 126038 h 518715"/>
                <a:gd name="connsiteX61" fmla="*/ 127068 w 377354"/>
                <a:gd name="connsiteY61" fmla="*/ 124508 h 518715"/>
                <a:gd name="connsiteX62" fmla="*/ 130917 w 377354"/>
                <a:gd name="connsiteY62" fmla="*/ 124508 h 518715"/>
                <a:gd name="connsiteX63" fmla="*/ 132890 w 377354"/>
                <a:gd name="connsiteY63" fmla="*/ 121449 h 518715"/>
                <a:gd name="connsiteX64" fmla="*/ 140736 w 377354"/>
                <a:gd name="connsiteY64" fmla="*/ 121449 h 518715"/>
                <a:gd name="connsiteX65" fmla="*/ 148531 w 377354"/>
                <a:gd name="connsiteY65" fmla="*/ 122979 h 518715"/>
                <a:gd name="connsiteX66" fmla="*/ 154354 w 377354"/>
                <a:gd name="connsiteY66" fmla="*/ 127567 h 518715"/>
                <a:gd name="connsiteX67" fmla="*/ 154354 w 377354"/>
                <a:gd name="connsiteY67" fmla="*/ 144244 h 518715"/>
                <a:gd name="connsiteX68" fmla="*/ 144486 w 377354"/>
                <a:gd name="connsiteY68" fmla="*/ 150362 h 518715"/>
                <a:gd name="connsiteX69" fmla="*/ 142512 w 377354"/>
                <a:gd name="connsiteY69" fmla="*/ 159491 h 518715"/>
                <a:gd name="connsiteX70" fmla="*/ 138614 w 377354"/>
                <a:gd name="connsiteY70" fmla="*/ 164030 h 518715"/>
                <a:gd name="connsiteX71" fmla="*/ 138614 w 377354"/>
                <a:gd name="connsiteY71" fmla="*/ 168618 h 518715"/>
                <a:gd name="connsiteX72" fmla="*/ 142512 w 377354"/>
                <a:gd name="connsiteY72" fmla="*/ 176217 h 518715"/>
                <a:gd name="connsiteX73" fmla="*/ 142512 w 377354"/>
                <a:gd name="connsiteY73" fmla="*/ 180657 h 518715"/>
                <a:gd name="connsiteX74" fmla="*/ 148383 w 377354"/>
                <a:gd name="connsiteY74" fmla="*/ 188256 h 518715"/>
                <a:gd name="connsiteX75" fmla="*/ 156179 w 377354"/>
                <a:gd name="connsiteY75" fmla="*/ 192795 h 518715"/>
                <a:gd name="connsiteX76" fmla="*/ 160077 w 377354"/>
                <a:gd name="connsiteY76" fmla="*/ 194325 h 518715"/>
                <a:gd name="connsiteX77" fmla="*/ 164024 w 377354"/>
                <a:gd name="connsiteY77" fmla="*/ 197384 h 518715"/>
                <a:gd name="connsiteX78" fmla="*/ 169847 w 377354"/>
                <a:gd name="connsiteY78" fmla="*/ 201923 h 518715"/>
                <a:gd name="connsiteX79" fmla="*/ 165949 w 377354"/>
                <a:gd name="connsiteY79" fmla="*/ 206512 h 518715"/>
                <a:gd name="connsiteX80" fmla="*/ 167922 w 377354"/>
                <a:gd name="connsiteY80" fmla="*/ 212580 h 518715"/>
                <a:gd name="connsiteX81" fmla="*/ 175718 w 377354"/>
                <a:gd name="connsiteY81" fmla="*/ 211051 h 518715"/>
                <a:gd name="connsiteX82" fmla="*/ 175718 w 377354"/>
                <a:gd name="connsiteY82" fmla="*/ 203453 h 518715"/>
                <a:gd name="connsiteX83" fmla="*/ 173793 w 377354"/>
                <a:gd name="connsiteY83" fmla="*/ 195854 h 518715"/>
                <a:gd name="connsiteX84" fmla="*/ 177642 w 377354"/>
                <a:gd name="connsiteY84" fmla="*/ 191266 h 518715"/>
                <a:gd name="connsiteX85" fmla="*/ 177642 w 377354"/>
                <a:gd name="connsiteY85" fmla="*/ 186726 h 518715"/>
                <a:gd name="connsiteX86" fmla="*/ 181590 w 377354"/>
                <a:gd name="connsiteY86" fmla="*/ 176069 h 518715"/>
                <a:gd name="connsiteX87" fmla="*/ 191458 w 377354"/>
                <a:gd name="connsiteY87" fmla="*/ 174589 h 518715"/>
                <a:gd name="connsiteX88" fmla="*/ 195405 w 377354"/>
                <a:gd name="connsiteY88" fmla="*/ 171530 h 518715"/>
                <a:gd name="connsiteX89" fmla="*/ 197329 w 377354"/>
                <a:gd name="connsiteY89" fmla="*/ 166941 h 518715"/>
                <a:gd name="connsiteX90" fmla="*/ 197329 w 377354"/>
                <a:gd name="connsiteY90" fmla="*/ 154803 h 518715"/>
                <a:gd name="connsiteX91" fmla="*/ 195405 w 377354"/>
                <a:gd name="connsiteY91" fmla="*/ 151744 h 518715"/>
                <a:gd name="connsiteX92" fmla="*/ 195405 w 377354"/>
                <a:gd name="connsiteY92" fmla="*/ 148685 h 518715"/>
                <a:gd name="connsiteX93" fmla="*/ 193431 w 377354"/>
                <a:gd name="connsiteY93" fmla="*/ 147155 h 518715"/>
                <a:gd name="connsiteX94" fmla="*/ 195405 w 377354"/>
                <a:gd name="connsiteY94" fmla="*/ 144096 h 518715"/>
                <a:gd name="connsiteX95" fmla="*/ 199303 w 377354"/>
                <a:gd name="connsiteY95" fmla="*/ 144096 h 518715"/>
                <a:gd name="connsiteX96" fmla="*/ 199303 w 377354"/>
                <a:gd name="connsiteY96" fmla="*/ 141185 h 518715"/>
                <a:gd name="connsiteX97" fmla="*/ 205174 w 377354"/>
                <a:gd name="connsiteY97" fmla="*/ 139656 h 518715"/>
                <a:gd name="connsiteX98" fmla="*/ 203200 w 377354"/>
                <a:gd name="connsiteY98" fmla="*/ 136646 h 518715"/>
                <a:gd name="connsiteX99" fmla="*/ 201227 w 377354"/>
                <a:gd name="connsiteY99" fmla="*/ 132057 h 518715"/>
                <a:gd name="connsiteX100" fmla="*/ 199303 w 377354"/>
                <a:gd name="connsiteY100" fmla="*/ 124459 h 518715"/>
                <a:gd name="connsiteX101" fmla="*/ 191458 w 377354"/>
                <a:gd name="connsiteY101" fmla="*/ 115331 h 518715"/>
                <a:gd name="connsiteX102" fmla="*/ 189533 w 377354"/>
                <a:gd name="connsiteY102" fmla="*/ 110792 h 518715"/>
                <a:gd name="connsiteX103" fmla="*/ 175866 w 377354"/>
                <a:gd name="connsiteY103" fmla="*/ 98604 h 518715"/>
                <a:gd name="connsiteX104" fmla="*/ 171968 w 377354"/>
                <a:gd name="connsiteY104" fmla="*/ 98604 h 518715"/>
                <a:gd name="connsiteX105" fmla="*/ 169994 w 377354"/>
                <a:gd name="connsiteY105" fmla="*/ 95545 h 518715"/>
                <a:gd name="connsiteX106" fmla="*/ 164172 w 377354"/>
                <a:gd name="connsiteY106" fmla="*/ 91006 h 518715"/>
                <a:gd name="connsiteX107" fmla="*/ 154304 w 377354"/>
                <a:gd name="connsiteY107" fmla="*/ 86417 h 518715"/>
                <a:gd name="connsiteX108" fmla="*/ 146508 w 377354"/>
                <a:gd name="connsiteY108" fmla="*/ 57504 h 518715"/>
                <a:gd name="connsiteX109" fmla="*/ 156376 w 377354"/>
                <a:gd name="connsiteY109" fmla="*/ 30120 h 518715"/>
                <a:gd name="connsiteX110" fmla="*/ 191507 w 377354"/>
                <a:gd name="connsiteY110" fmla="*/ 30120 h 518715"/>
                <a:gd name="connsiteX111" fmla="*/ 197378 w 377354"/>
                <a:gd name="connsiteY111" fmla="*/ 28590 h 518715"/>
                <a:gd name="connsiteX112" fmla="*/ 197378 w 377354"/>
                <a:gd name="connsiteY112" fmla="*/ 27110 h 518715"/>
                <a:gd name="connsiteX113" fmla="*/ 203250 w 377354"/>
                <a:gd name="connsiteY113" fmla="*/ 25581 h 518715"/>
                <a:gd name="connsiteX114" fmla="*/ 203250 w 377354"/>
                <a:gd name="connsiteY114" fmla="*/ 28590 h 518715"/>
                <a:gd name="connsiteX115" fmla="*/ 207148 w 377354"/>
                <a:gd name="connsiteY115" fmla="*/ 30120 h 518715"/>
                <a:gd name="connsiteX116" fmla="*/ 211095 w 377354"/>
                <a:gd name="connsiteY116" fmla="*/ 31650 h 518715"/>
                <a:gd name="connsiteX117" fmla="*/ 216917 w 377354"/>
                <a:gd name="connsiteY117" fmla="*/ 33179 h 518715"/>
                <a:gd name="connsiteX118" fmla="*/ 220815 w 377354"/>
                <a:gd name="connsiteY118" fmla="*/ 36189 h 518715"/>
                <a:gd name="connsiteX119" fmla="*/ 220815 w 377354"/>
                <a:gd name="connsiteY119" fmla="*/ 37570 h 518715"/>
                <a:gd name="connsiteX120" fmla="*/ 230683 w 377354"/>
                <a:gd name="connsiteY120" fmla="*/ 36041 h 518715"/>
                <a:gd name="connsiteX121" fmla="*/ 238479 w 377354"/>
                <a:gd name="connsiteY121" fmla="*/ 31502 h 518715"/>
                <a:gd name="connsiteX122" fmla="*/ 242426 w 377354"/>
                <a:gd name="connsiteY122" fmla="*/ 29972 h 518715"/>
                <a:gd name="connsiteX123" fmla="*/ 244350 w 377354"/>
                <a:gd name="connsiteY123" fmla="*/ 28443 h 518715"/>
                <a:gd name="connsiteX124" fmla="*/ 248248 w 377354"/>
                <a:gd name="connsiteY124" fmla="*/ 29972 h 518715"/>
                <a:gd name="connsiteX125" fmla="*/ 248248 w 377354"/>
                <a:gd name="connsiteY125" fmla="*/ 31502 h 518715"/>
                <a:gd name="connsiteX126" fmla="*/ 256044 w 377354"/>
                <a:gd name="connsiteY126" fmla="*/ 31502 h 518715"/>
                <a:gd name="connsiteX127" fmla="*/ 259991 w 377354"/>
                <a:gd name="connsiteY127" fmla="*/ 34561 h 518715"/>
                <a:gd name="connsiteX128" fmla="*/ 265863 w 377354"/>
                <a:gd name="connsiteY128" fmla="*/ 31502 h 518715"/>
                <a:gd name="connsiteX129" fmla="*/ 275731 w 377354"/>
                <a:gd name="connsiteY129" fmla="*/ 31502 h 518715"/>
                <a:gd name="connsiteX130" fmla="*/ 277655 w 377354"/>
                <a:gd name="connsiteY130" fmla="*/ 26962 h 518715"/>
                <a:gd name="connsiteX131" fmla="*/ 277655 w 377354"/>
                <a:gd name="connsiteY131" fmla="*/ 22768 h 518715"/>
                <a:gd name="connsiteX132" fmla="*/ 279580 w 377354"/>
                <a:gd name="connsiteY132" fmla="*/ 21288 h 518715"/>
                <a:gd name="connsiteX133" fmla="*/ 285451 w 377354"/>
                <a:gd name="connsiteY133" fmla="*/ 22768 h 518715"/>
                <a:gd name="connsiteX134" fmla="*/ 291323 w 377354"/>
                <a:gd name="connsiteY134" fmla="*/ 21288 h 518715"/>
                <a:gd name="connsiteX135" fmla="*/ 297194 w 377354"/>
                <a:gd name="connsiteY135" fmla="*/ 25827 h 518715"/>
                <a:gd name="connsiteX136" fmla="*/ 303016 w 377354"/>
                <a:gd name="connsiteY136" fmla="*/ 25827 h 518715"/>
                <a:gd name="connsiteX137" fmla="*/ 305039 w 377354"/>
                <a:gd name="connsiteY137" fmla="*/ 21288 h 518715"/>
                <a:gd name="connsiteX138" fmla="*/ 318657 w 377354"/>
                <a:gd name="connsiteY138" fmla="*/ 18229 h 518715"/>
                <a:gd name="connsiteX139" fmla="*/ 324529 w 377354"/>
                <a:gd name="connsiteY139" fmla="*/ 19759 h 518715"/>
                <a:gd name="connsiteX140" fmla="*/ 330400 w 377354"/>
                <a:gd name="connsiteY140" fmla="*/ 18229 h 518715"/>
                <a:gd name="connsiteX141" fmla="*/ 332324 w 377354"/>
                <a:gd name="connsiteY141" fmla="*/ 15170 h 518715"/>
                <a:gd name="connsiteX142" fmla="*/ 340169 w 377354"/>
                <a:gd name="connsiteY142" fmla="*/ 15170 h 518715"/>
                <a:gd name="connsiteX143" fmla="*/ 346041 w 377354"/>
                <a:gd name="connsiteY143" fmla="*/ 10581 h 518715"/>
                <a:gd name="connsiteX144" fmla="*/ 351912 w 377354"/>
                <a:gd name="connsiteY144" fmla="*/ 10581 h 518715"/>
                <a:gd name="connsiteX145" fmla="*/ 359708 w 377354"/>
                <a:gd name="connsiteY145" fmla="*/ 6042 h 518715"/>
                <a:gd name="connsiteX146" fmla="*/ 363606 w 377354"/>
                <a:gd name="connsiteY146" fmla="*/ 1503 h 518715"/>
                <a:gd name="connsiteX147" fmla="*/ 369477 w 377354"/>
                <a:gd name="connsiteY147" fmla="*/ 3032 h 518715"/>
                <a:gd name="connsiteX148" fmla="*/ 373326 w 377354"/>
                <a:gd name="connsiteY148" fmla="*/ -27 h 518715"/>
                <a:gd name="connsiteX149" fmla="*/ 373326 w 377354"/>
                <a:gd name="connsiteY149" fmla="*/ -27 h 518715"/>
                <a:gd name="connsiteX150" fmla="*/ 377273 w 377354"/>
                <a:gd name="connsiteY150" fmla="*/ 1503 h 518715"/>
                <a:gd name="connsiteX151" fmla="*/ 375349 w 377354"/>
                <a:gd name="connsiteY151" fmla="*/ 7571 h 518715"/>
                <a:gd name="connsiteX152" fmla="*/ 373326 w 377354"/>
                <a:gd name="connsiteY152" fmla="*/ 12111 h 518715"/>
                <a:gd name="connsiteX153" fmla="*/ 375349 w 377354"/>
                <a:gd name="connsiteY153" fmla="*/ 12111 h 518715"/>
                <a:gd name="connsiteX154" fmla="*/ 367504 w 377354"/>
                <a:gd name="connsiteY154" fmla="*/ 21288 h 518715"/>
                <a:gd name="connsiteX155" fmla="*/ 367504 w 377354"/>
                <a:gd name="connsiteY155" fmla="*/ 25827 h 518715"/>
                <a:gd name="connsiteX156" fmla="*/ 369477 w 377354"/>
                <a:gd name="connsiteY156" fmla="*/ 28837 h 518715"/>
                <a:gd name="connsiteX157" fmla="*/ 369477 w 377354"/>
                <a:gd name="connsiteY157" fmla="*/ 30367 h 518715"/>
                <a:gd name="connsiteX158" fmla="*/ 367504 w 377354"/>
                <a:gd name="connsiteY158" fmla="*/ 31896 h 518715"/>
                <a:gd name="connsiteX159" fmla="*/ 367504 w 377354"/>
                <a:gd name="connsiteY159" fmla="*/ 42504 h 518715"/>
                <a:gd name="connsiteX160" fmla="*/ 371402 w 377354"/>
                <a:gd name="connsiteY160" fmla="*/ 48573 h 518715"/>
                <a:gd name="connsiteX161" fmla="*/ 369477 w 377354"/>
                <a:gd name="connsiteY161" fmla="*/ 50103 h 518715"/>
                <a:gd name="connsiteX162" fmla="*/ 369477 w 377354"/>
                <a:gd name="connsiteY162" fmla="*/ 59231 h 518715"/>
                <a:gd name="connsiteX163" fmla="*/ 371402 w 377354"/>
                <a:gd name="connsiteY163" fmla="*/ 60760 h 518715"/>
                <a:gd name="connsiteX164" fmla="*/ 371402 w 377354"/>
                <a:gd name="connsiteY164" fmla="*/ 68359 h 518715"/>
                <a:gd name="connsiteX165" fmla="*/ 369477 w 377354"/>
                <a:gd name="connsiteY165" fmla="*/ 71418 h 518715"/>
                <a:gd name="connsiteX166" fmla="*/ 369477 w 377354"/>
                <a:gd name="connsiteY166" fmla="*/ 80546 h 518715"/>
                <a:gd name="connsiteX167" fmla="*/ 367504 w 377354"/>
                <a:gd name="connsiteY167" fmla="*/ 95743 h 518715"/>
                <a:gd name="connsiteX168" fmla="*/ 365530 w 377354"/>
                <a:gd name="connsiteY168" fmla="*/ 95743 h 518715"/>
                <a:gd name="connsiteX169" fmla="*/ 367504 w 377354"/>
                <a:gd name="connsiteY169" fmla="*/ 97272 h 518715"/>
                <a:gd name="connsiteX170" fmla="*/ 367504 w 377354"/>
                <a:gd name="connsiteY170" fmla="*/ 112469 h 518715"/>
                <a:gd name="connsiteX171" fmla="*/ 363606 w 377354"/>
                <a:gd name="connsiteY171" fmla="*/ 112469 h 518715"/>
                <a:gd name="connsiteX172" fmla="*/ 363606 w 377354"/>
                <a:gd name="connsiteY172" fmla="*/ 117058 h 518715"/>
                <a:gd name="connsiteX173" fmla="*/ 371402 w 377354"/>
                <a:gd name="connsiteY173" fmla="*/ 117058 h 518715"/>
                <a:gd name="connsiteX174" fmla="*/ 373326 w 377354"/>
                <a:gd name="connsiteY174" fmla="*/ 118538 h 518715"/>
                <a:gd name="connsiteX175" fmla="*/ 375349 w 377354"/>
                <a:gd name="connsiteY175" fmla="*/ 129245 h 518715"/>
                <a:gd name="connsiteX176" fmla="*/ 371402 w 377354"/>
                <a:gd name="connsiteY176" fmla="*/ 135314 h 518715"/>
                <a:gd name="connsiteX177" fmla="*/ 367504 w 377354"/>
                <a:gd name="connsiteY177" fmla="*/ 136843 h 518715"/>
                <a:gd name="connsiteX178" fmla="*/ 369477 w 377354"/>
                <a:gd name="connsiteY178" fmla="*/ 139853 h 518715"/>
                <a:gd name="connsiteX179" fmla="*/ 369477 w 377354"/>
                <a:gd name="connsiteY179" fmla="*/ 142912 h 518715"/>
                <a:gd name="connsiteX180" fmla="*/ 363606 w 377354"/>
                <a:gd name="connsiteY180" fmla="*/ 142912 h 518715"/>
                <a:gd name="connsiteX181" fmla="*/ 359708 w 377354"/>
                <a:gd name="connsiteY181" fmla="*/ 145922 h 518715"/>
                <a:gd name="connsiteX182" fmla="*/ 361633 w 377354"/>
                <a:gd name="connsiteY182" fmla="*/ 147451 h 518715"/>
                <a:gd name="connsiteX183" fmla="*/ 367504 w 377354"/>
                <a:gd name="connsiteY183" fmla="*/ 147451 h 518715"/>
                <a:gd name="connsiteX184" fmla="*/ 363606 w 377354"/>
                <a:gd name="connsiteY184" fmla="*/ 150511 h 518715"/>
                <a:gd name="connsiteX185" fmla="*/ 363606 w 377354"/>
                <a:gd name="connsiteY185" fmla="*/ 158109 h 518715"/>
                <a:gd name="connsiteX186" fmla="*/ 357734 w 377354"/>
                <a:gd name="connsiteY186" fmla="*/ 159638 h 518715"/>
                <a:gd name="connsiteX187" fmla="*/ 349890 w 377354"/>
                <a:gd name="connsiteY187" fmla="*/ 167237 h 518715"/>
                <a:gd name="connsiteX188" fmla="*/ 349890 w 377354"/>
                <a:gd name="connsiteY188" fmla="*/ 170296 h 518715"/>
                <a:gd name="connsiteX189" fmla="*/ 342093 w 377354"/>
                <a:gd name="connsiteY189" fmla="*/ 179424 h 518715"/>
                <a:gd name="connsiteX190" fmla="*/ 336272 w 377354"/>
                <a:gd name="connsiteY190" fmla="*/ 179424 h 518715"/>
                <a:gd name="connsiteX191" fmla="*/ 338196 w 377354"/>
                <a:gd name="connsiteY191" fmla="*/ 187022 h 518715"/>
                <a:gd name="connsiteX192" fmla="*/ 312835 w 377354"/>
                <a:gd name="connsiteY192" fmla="*/ 197680 h 518715"/>
                <a:gd name="connsiteX193" fmla="*/ 308887 w 377354"/>
                <a:gd name="connsiteY193" fmla="*/ 197680 h 518715"/>
                <a:gd name="connsiteX194" fmla="*/ 306963 w 377354"/>
                <a:gd name="connsiteY194" fmla="*/ 202219 h 518715"/>
                <a:gd name="connsiteX195" fmla="*/ 283526 w 377354"/>
                <a:gd name="connsiteY195" fmla="*/ 212877 h 518715"/>
                <a:gd name="connsiteX196" fmla="*/ 275731 w 377354"/>
                <a:gd name="connsiteY196" fmla="*/ 212877 h 518715"/>
                <a:gd name="connsiteX197" fmla="*/ 275731 w 377354"/>
                <a:gd name="connsiteY197" fmla="*/ 214406 h 518715"/>
                <a:gd name="connsiteX198" fmla="*/ 265863 w 377354"/>
                <a:gd name="connsiteY198" fmla="*/ 217465 h 518715"/>
                <a:gd name="connsiteX199" fmla="*/ 250222 w 377354"/>
                <a:gd name="connsiteY199" fmla="*/ 225064 h 518715"/>
                <a:gd name="connsiteX200" fmla="*/ 246324 w 377354"/>
                <a:gd name="connsiteY200" fmla="*/ 223534 h 518715"/>
                <a:gd name="connsiteX201" fmla="*/ 246324 w 377354"/>
                <a:gd name="connsiteY201" fmla="*/ 226593 h 518715"/>
                <a:gd name="connsiteX202" fmla="*/ 238479 w 377354"/>
                <a:gd name="connsiteY202" fmla="*/ 237251 h 518715"/>
                <a:gd name="connsiteX203" fmla="*/ 234631 w 377354"/>
                <a:gd name="connsiteY203" fmla="*/ 238781 h 518715"/>
                <a:gd name="connsiteX204" fmla="*/ 232607 w 377354"/>
                <a:gd name="connsiteY204" fmla="*/ 232662 h 518715"/>
                <a:gd name="connsiteX205" fmla="*/ 230683 w 377354"/>
                <a:gd name="connsiteY205" fmla="*/ 241790 h 518715"/>
                <a:gd name="connsiteX206" fmla="*/ 226785 w 377354"/>
                <a:gd name="connsiteY206" fmla="*/ 243320 h 518715"/>
                <a:gd name="connsiteX207" fmla="*/ 224811 w 377354"/>
                <a:gd name="connsiteY207" fmla="*/ 247859 h 518715"/>
                <a:gd name="connsiteX208" fmla="*/ 209171 w 377354"/>
                <a:gd name="connsiteY208" fmla="*/ 253928 h 518715"/>
                <a:gd name="connsiteX209" fmla="*/ 209171 w 377354"/>
                <a:gd name="connsiteY209" fmla="*/ 256987 h 518715"/>
                <a:gd name="connsiteX210" fmla="*/ 205322 w 377354"/>
                <a:gd name="connsiteY210" fmla="*/ 260046 h 518715"/>
                <a:gd name="connsiteX211" fmla="*/ 203348 w 377354"/>
                <a:gd name="connsiteY211" fmla="*/ 260046 h 518715"/>
                <a:gd name="connsiteX212" fmla="*/ 203348 w 377354"/>
                <a:gd name="connsiteY212" fmla="*/ 266115 h 518715"/>
                <a:gd name="connsiteX213" fmla="*/ 195553 w 377354"/>
                <a:gd name="connsiteY213" fmla="*/ 266115 h 518715"/>
                <a:gd name="connsiteX214" fmla="*/ 174090 w 377354"/>
                <a:gd name="connsiteY214" fmla="*/ 276772 h 518715"/>
                <a:gd name="connsiteX215" fmla="*/ 176014 w 377354"/>
                <a:gd name="connsiteY215" fmla="*/ 282890 h 518715"/>
                <a:gd name="connsiteX216" fmla="*/ 170142 w 377354"/>
                <a:gd name="connsiteY216" fmla="*/ 287430 h 518715"/>
                <a:gd name="connsiteX217" fmla="*/ 162347 w 377354"/>
                <a:gd name="connsiteY217" fmla="*/ 287430 h 518715"/>
                <a:gd name="connsiteX218" fmla="*/ 158449 w 377354"/>
                <a:gd name="connsiteY218" fmla="*/ 291969 h 518715"/>
                <a:gd name="connsiteX219" fmla="*/ 152578 w 377354"/>
                <a:gd name="connsiteY219" fmla="*/ 287430 h 518715"/>
                <a:gd name="connsiteX220" fmla="*/ 146706 w 377354"/>
                <a:gd name="connsiteY220" fmla="*/ 287430 h 518715"/>
                <a:gd name="connsiteX221" fmla="*/ 146706 w 377354"/>
                <a:gd name="connsiteY221" fmla="*/ 291969 h 518715"/>
                <a:gd name="connsiteX222" fmla="*/ 152578 w 377354"/>
                <a:gd name="connsiteY222" fmla="*/ 295028 h 518715"/>
                <a:gd name="connsiteX223" fmla="*/ 152578 w 377354"/>
                <a:gd name="connsiteY223" fmla="*/ 299568 h 518715"/>
                <a:gd name="connsiteX224" fmla="*/ 146706 w 377354"/>
                <a:gd name="connsiteY224" fmla="*/ 302627 h 518715"/>
                <a:gd name="connsiteX225" fmla="*/ 148679 w 377354"/>
                <a:gd name="connsiteY225" fmla="*/ 307216 h 518715"/>
                <a:gd name="connsiteX226" fmla="*/ 144781 w 377354"/>
                <a:gd name="connsiteY226" fmla="*/ 311755 h 518715"/>
                <a:gd name="connsiteX227" fmla="*/ 156475 w 377354"/>
                <a:gd name="connsiteY227" fmla="*/ 323942 h 518715"/>
                <a:gd name="connsiteX228" fmla="*/ 156475 w 377354"/>
                <a:gd name="connsiteY228" fmla="*/ 328530 h 518715"/>
                <a:gd name="connsiteX229" fmla="*/ 152578 w 377354"/>
                <a:gd name="connsiteY229" fmla="*/ 331540 h 518715"/>
                <a:gd name="connsiteX230" fmla="*/ 154501 w 377354"/>
                <a:gd name="connsiteY230" fmla="*/ 333070 h 518715"/>
                <a:gd name="connsiteX231" fmla="*/ 158449 w 377354"/>
                <a:gd name="connsiteY231" fmla="*/ 337609 h 518715"/>
                <a:gd name="connsiteX232" fmla="*/ 158449 w 377354"/>
                <a:gd name="connsiteY232" fmla="*/ 346737 h 518715"/>
                <a:gd name="connsiteX233" fmla="*/ 162347 w 377354"/>
                <a:gd name="connsiteY233" fmla="*/ 352855 h 518715"/>
                <a:gd name="connsiteX234" fmla="*/ 162347 w 377354"/>
                <a:gd name="connsiteY234" fmla="*/ 372592 h 518715"/>
                <a:gd name="connsiteX235" fmla="*/ 164321 w 377354"/>
                <a:gd name="connsiteY235" fmla="*/ 378660 h 518715"/>
                <a:gd name="connsiteX236" fmla="*/ 166244 w 377354"/>
                <a:gd name="connsiteY236" fmla="*/ 378660 h 518715"/>
                <a:gd name="connsiteX237" fmla="*/ 166244 w 377354"/>
                <a:gd name="connsiteY237" fmla="*/ 372592 h 518715"/>
                <a:gd name="connsiteX238" fmla="*/ 170142 w 377354"/>
                <a:gd name="connsiteY238" fmla="*/ 364944 h 518715"/>
                <a:gd name="connsiteX239" fmla="*/ 170142 w 377354"/>
                <a:gd name="connsiteY239" fmla="*/ 372592 h 518715"/>
                <a:gd name="connsiteX240" fmla="*/ 172116 w 377354"/>
                <a:gd name="connsiteY240" fmla="*/ 372592 h 518715"/>
                <a:gd name="connsiteX241" fmla="*/ 172116 w 377354"/>
                <a:gd name="connsiteY241" fmla="*/ 380190 h 518715"/>
                <a:gd name="connsiteX242" fmla="*/ 168218 w 377354"/>
                <a:gd name="connsiteY242" fmla="*/ 383200 h 518715"/>
                <a:gd name="connsiteX243" fmla="*/ 168218 w 377354"/>
                <a:gd name="connsiteY243" fmla="*/ 390798 h 518715"/>
                <a:gd name="connsiteX244" fmla="*/ 170142 w 377354"/>
                <a:gd name="connsiteY244" fmla="*/ 392328 h 518715"/>
                <a:gd name="connsiteX245" fmla="*/ 166244 w 377354"/>
                <a:gd name="connsiteY245" fmla="*/ 402985 h 518715"/>
                <a:gd name="connsiteX246" fmla="*/ 166244 w 377354"/>
                <a:gd name="connsiteY246" fmla="*/ 407623 h 518715"/>
                <a:gd name="connsiteX247" fmla="*/ 162347 w 377354"/>
                <a:gd name="connsiteY247" fmla="*/ 410682 h 518715"/>
                <a:gd name="connsiteX248" fmla="*/ 162347 w 377354"/>
                <a:gd name="connsiteY248" fmla="*/ 416800 h 518715"/>
                <a:gd name="connsiteX249" fmla="*/ 160373 w 377354"/>
                <a:gd name="connsiteY249" fmla="*/ 416800 h 518715"/>
                <a:gd name="connsiteX250" fmla="*/ 162347 w 377354"/>
                <a:gd name="connsiteY250" fmla="*/ 424399 h 518715"/>
                <a:gd name="connsiteX251" fmla="*/ 166244 w 377354"/>
                <a:gd name="connsiteY251" fmla="*/ 419810 h 518715"/>
                <a:gd name="connsiteX252" fmla="*/ 168218 w 377354"/>
                <a:gd name="connsiteY252" fmla="*/ 424399 h 518715"/>
                <a:gd name="connsiteX253" fmla="*/ 164321 w 377354"/>
                <a:gd name="connsiteY253" fmla="*/ 430468 h 518715"/>
                <a:gd name="connsiteX254" fmla="*/ 162347 w 377354"/>
                <a:gd name="connsiteY254" fmla="*/ 438115 h 518715"/>
                <a:gd name="connsiteX255" fmla="*/ 146706 w 377354"/>
                <a:gd name="connsiteY255" fmla="*/ 450253 h 518715"/>
                <a:gd name="connsiteX256" fmla="*/ 125243 w 377354"/>
                <a:gd name="connsiteY256" fmla="*/ 459381 h 518715"/>
                <a:gd name="connsiteX257" fmla="*/ 94011 w 377354"/>
                <a:gd name="connsiteY257" fmla="*/ 463970 h 518715"/>
                <a:gd name="connsiteX258" fmla="*/ 80343 w 377354"/>
                <a:gd name="connsiteY258" fmla="*/ 473048 h 518715"/>
                <a:gd name="connsiteX259" fmla="*/ 72498 w 377354"/>
                <a:gd name="connsiteY259" fmla="*/ 476107 h 518715"/>
                <a:gd name="connsiteX260" fmla="*/ 68600 w 377354"/>
                <a:gd name="connsiteY260" fmla="*/ 480696 h 518715"/>
                <a:gd name="connsiteX261" fmla="*/ 64702 w 377354"/>
                <a:gd name="connsiteY261" fmla="*/ 483706 h 518715"/>
                <a:gd name="connsiteX262" fmla="*/ 62728 w 377354"/>
                <a:gd name="connsiteY262" fmla="*/ 489824 h 518715"/>
                <a:gd name="connsiteX263" fmla="*/ 58831 w 377354"/>
                <a:gd name="connsiteY263" fmla="*/ 489824 h 518715"/>
                <a:gd name="connsiteX264" fmla="*/ 54933 w 377354"/>
                <a:gd name="connsiteY264" fmla="*/ 492834 h 518715"/>
                <a:gd name="connsiteX265" fmla="*/ 56906 w 377354"/>
                <a:gd name="connsiteY265" fmla="*/ 494363 h 518715"/>
                <a:gd name="connsiteX266" fmla="*/ 60755 w 377354"/>
                <a:gd name="connsiteY266" fmla="*/ 498903 h 518715"/>
                <a:gd name="connsiteX267" fmla="*/ 60755 w 377354"/>
                <a:gd name="connsiteY267" fmla="*/ 505021 h 518715"/>
                <a:gd name="connsiteX268" fmla="*/ 62728 w 377354"/>
                <a:gd name="connsiteY268" fmla="*/ 501962 h 518715"/>
                <a:gd name="connsiteX269" fmla="*/ 68600 w 377354"/>
                <a:gd name="connsiteY269" fmla="*/ 503491 h 518715"/>
                <a:gd name="connsiteX270" fmla="*/ 68600 w 377354"/>
                <a:gd name="connsiteY270" fmla="*/ 497373 h 518715"/>
                <a:gd name="connsiteX271" fmla="*/ 72498 w 377354"/>
                <a:gd name="connsiteY271" fmla="*/ 497373 h 518715"/>
                <a:gd name="connsiteX272" fmla="*/ 72498 w 377354"/>
                <a:gd name="connsiteY272" fmla="*/ 498903 h 518715"/>
                <a:gd name="connsiteX273" fmla="*/ 70574 w 377354"/>
                <a:gd name="connsiteY273" fmla="*/ 509560 h 518715"/>
                <a:gd name="connsiteX274" fmla="*/ 66626 w 377354"/>
                <a:gd name="connsiteY274" fmla="*/ 514149 h 518715"/>
                <a:gd name="connsiteX275" fmla="*/ 66626 w 377354"/>
                <a:gd name="connsiteY275" fmla="*/ 518688 h 518715"/>
                <a:gd name="connsiteX276" fmla="*/ 60755 w 377354"/>
                <a:gd name="connsiteY276" fmla="*/ 518688 h 518715"/>
                <a:gd name="connsiteX277" fmla="*/ 47137 w 377354"/>
                <a:gd name="connsiteY277" fmla="*/ 515629 h 518715"/>
                <a:gd name="connsiteX278" fmla="*/ 43190 w 377354"/>
                <a:gd name="connsiteY278" fmla="*/ 517159 h 518715"/>
                <a:gd name="connsiteX279" fmla="*/ 43190 w 377354"/>
                <a:gd name="connsiteY279" fmla="*/ 514149 h 518715"/>
                <a:gd name="connsiteX280" fmla="*/ 45163 w 377354"/>
                <a:gd name="connsiteY280" fmla="*/ 509560 h 518715"/>
                <a:gd name="connsiteX281" fmla="*/ 45163 w 377354"/>
                <a:gd name="connsiteY281" fmla="*/ 503491 h 518715"/>
                <a:gd name="connsiteX282" fmla="*/ 43190 w 377354"/>
                <a:gd name="connsiteY282" fmla="*/ 498903 h 518715"/>
                <a:gd name="connsiteX283" fmla="*/ 39292 w 377354"/>
                <a:gd name="connsiteY283" fmla="*/ 495893 h 518715"/>
                <a:gd name="connsiteX284" fmla="*/ 35394 w 377354"/>
                <a:gd name="connsiteY284" fmla="*/ 494363 h 518715"/>
                <a:gd name="connsiteX285" fmla="*/ 35394 w 377354"/>
                <a:gd name="connsiteY285" fmla="*/ 473048 h 518715"/>
                <a:gd name="connsiteX286" fmla="*/ 39292 w 377354"/>
                <a:gd name="connsiteY286" fmla="*/ 463970 h 518715"/>
                <a:gd name="connsiteX287" fmla="*/ 39292 w 377354"/>
                <a:gd name="connsiteY287" fmla="*/ 439595 h 518715"/>
                <a:gd name="connsiteX288" fmla="*/ 37318 w 377354"/>
                <a:gd name="connsiteY288" fmla="*/ 433477 h 518715"/>
                <a:gd name="connsiteX289" fmla="*/ 33470 w 377354"/>
                <a:gd name="connsiteY289" fmla="*/ 427409 h 518715"/>
                <a:gd name="connsiteX290" fmla="*/ 33470 w 377354"/>
                <a:gd name="connsiteY290" fmla="*/ 419810 h 518715"/>
                <a:gd name="connsiteX291" fmla="*/ 35394 w 377354"/>
                <a:gd name="connsiteY291" fmla="*/ 418330 h 518715"/>
                <a:gd name="connsiteX292" fmla="*/ 35394 w 377354"/>
                <a:gd name="connsiteY292" fmla="*/ 404613 h 518715"/>
                <a:gd name="connsiteX293" fmla="*/ 29522 w 377354"/>
                <a:gd name="connsiteY293" fmla="*/ 398544 h 518715"/>
                <a:gd name="connsiteX294" fmla="*/ 27598 w 377354"/>
                <a:gd name="connsiteY294" fmla="*/ 389367 h 518715"/>
                <a:gd name="connsiteX295" fmla="*/ 25624 w 377354"/>
                <a:gd name="connsiteY295" fmla="*/ 380289 h 51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</a:cxnLst>
              <a:rect l="l" t="t" r="r" b="b"/>
              <a:pathLst>
                <a:path w="377354" h="518715">
                  <a:moveTo>
                    <a:pt x="25329" y="380091"/>
                  </a:moveTo>
                  <a:lnTo>
                    <a:pt x="64406" y="346589"/>
                  </a:lnTo>
                  <a:lnTo>
                    <a:pt x="64406" y="334451"/>
                  </a:lnTo>
                  <a:lnTo>
                    <a:pt x="66330" y="331392"/>
                  </a:lnTo>
                  <a:lnTo>
                    <a:pt x="66330" y="322264"/>
                  </a:lnTo>
                  <a:lnTo>
                    <a:pt x="70278" y="319205"/>
                  </a:lnTo>
                  <a:lnTo>
                    <a:pt x="68304" y="313136"/>
                  </a:lnTo>
                  <a:lnTo>
                    <a:pt x="68304" y="308597"/>
                  </a:lnTo>
                  <a:lnTo>
                    <a:pt x="73978" y="308597"/>
                  </a:lnTo>
                  <a:lnTo>
                    <a:pt x="75902" y="305538"/>
                  </a:lnTo>
                  <a:lnTo>
                    <a:pt x="83698" y="300949"/>
                  </a:lnTo>
                  <a:lnTo>
                    <a:pt x="87645" y="294880"/>
                  </a:lnTo>
                  <a:lnTo>
                    <a:pt x="85672" y="291821"/>
                  </a:lnTo>
                  <a:lnTo>
                    <a:pt x="79849" y="287282"/>
                  </a:lnTo>
                  <a:lnTo>
                    <a:pt x="79849" y="281213"/>
                  </a:lnTo>
                  <a:lnTo>
                    <a:pt x="85672" y="279684"/>
                  </a:lnTo>
                  <a:lnTo>
                    <a:pt x="85672" y="275095"/>
                  </a:lnTo>
                  <a:lnTo>
                    <a:pt x="77876" y="270555"/>
                  </a:lnTo>
                  <a:lnTo>
                    <a:pt x="77876" y="265967"/>
                  </a:lnTo>
                  <a:lnTo>
                    <a:pt x="83846" y="265967"/>
                  </a:lnTo>
                  <a:lnTo>
                    <a:pt x="83846" y="252300"/>
                  </a:lnTo>
                  <a:lnTo>
                    <a:pt x="89717" y="249241"/>
                  </a:lnTo>
                  <a:lnTo>
                    <a:pt x="91691" y="244701"/>
                  </a:lnTo>
                  <a:lnTo>
                    <a:pt x="85820" y="246231"/>
                  </a:lnTo>
                  <a:lnTo>
                    <a:pt x="83846" y="243172"/>
                  </a:lnTo>
                  <a:lnTo>
                    <a:pt x="87794" y="238632"/>
                  </a:lnTo>
                  <a:lnTo>
                    <a:pt x="87794" y="227926"/>
                  </a:lnTo>
                  <a:lnTo>
                    <a:pt x="89717" y="223386"/>
                  </a:lnTo>
                  <a:lnTo>
                    <a:pt x="89717" y="217317"/>
                  </a:lnTo>
                  <a:lnTo>
                    <a:pt x="91691" y="212729"/>
                  </a:lnTo>
                  <a:lnTo>
                    <a:pt x="89717" y="206660"/>
                  </a:lnTo>
                  <a:lnTo>
                    <a:pt x="93665" y="202071"/>
                  </a:lnTo>
                  <a:lnTo>
                    <a:pt x="93665" y="197532"/>
                  </a:lnTo>
                  <a:lnTo>
                    <a:pt x="85820" y="197532"/>
                  </a:lnTo>
                  <a:lnTo>
                    <a:pt x="79997" y="192943"/>
                  </a:lnTo>
                  <a:lnTo>
                    <a:pt x="74126" y="188404"/>
                  </a:lnTo>
                  <a:lnTo>
                    <a:pt x="62383" y="188404"/>
                  </a:lnTo>
                  <a:lnTo>
                    <a:pt x="56561" y="186874"/>
                  </a:lnTo>
                  <a:lnTo>
                    <a:pt x="50690" y="179276"/>
                  </a:lnTo>
                  <a:lnTo>
                    <a:pt x="38947" y="174737"/>
                  </a:lnTo>
                  <a:lnTo>
                    <a:pt x="31150" y="171677"/>
                  </a:lnTo>
                  <a:lnTo>
                    <a:pt x="27253" y="174737"/>
                  </a:lnTo>
                  <a:lnTo>
                    <a:pt x="23355" y="176217"/>
                  </a:lnTo>
                  <a:lnTo>
                    <a:pt x="23355" y="173207"/>
                  </a:lnTo>
                  <a:lnTo>
                    <a:pt x="17484" y="171677"/>
                  </a:lnTo>
                  <a:lnTo>
                    <a:pt x="3816" y="171677"/>
                  </a:lnTo>
                  <a:lnTo>
                    <a:pt x="1842" y="157961"/>
                  </a:lnTo>
                  <a:lnTo>
                    <a:pt x="-82" y="147303"/>
                  </a:lnTo>
                  <a:lnTo>
                    <a:pt x="3816" y="142764"/>
                  </a:lnTo>
                  <a:lnTo>
                    <a:pt x="17484" y="136695"/>
                  </a:lnTo>
                  <a:lnTo>
                    <a:pt x="25279" y="136695"/>
                  </a:lnTo>
                  <a:lnTo>
                    <a:pt x="62383" y="122979"/>
                  </a:lnTo>
                  <a:lnTo>
                    <a:pt x="68254" y="122979"/>
                  </a:lnTo>
                  <a:lnTo>
                    <a:pt x="89717" y="115380"/>
                  </a:lnTo>
                  <a:lnTo>
                    <a:pt x="99585" y="112321"/>
                  </a:lnTo>
                  <a:lnTo>
                    <a:pt x="109453" y="110841"/>
                  </a:lnTo>
                  <a:lnTo>
                    <a:pt x="111427" y="113851"/>
                  </a:lnTo>
                  <a:lnTo>
                    <a:pt x="113352" y="116910"/>
                  </a:lnTo>
                  <a:lnTo>
                    <a:pt x="115325" y="119919"/>
                  </a:lnTo>
                  <a:lnTo>
                    <a:pt x="115325" y="122979"/>
                  </a:lnTo>
                  <a:lnTo>
                    <a:pt x="123121" y="126038"/>
                  </a:lnTo>
                  <a:lnTo>
                    <a:pt x="127068" y="124508"/>
                  </a:lnTo>
                  <a:lnTo>
                    <a:pt x="130917" y="124508"/>
                  </a:lnTo>
                  <a:lnTo>
                    <a:pt x="132890" y="121449"/>
                  </a:lnTo>
                  <a:lnTo>
                    <a:pt x="140736" y="121449"/>
                  </a:lnTo>
                  <a:lnTo>
                    <a:pt x="148531" y="122979"/>
                  </a:lnTo>
                  <a:lnTo>
                    <a:pt x="154354" y="127567"/>
                  </a:lnTo>
                  <a:lnTo>
                    <a:pt x="154354" y="144244"/>
                  </a:lnTo>
                  <a:lnTo>
                    <a:pt x="144486" y="150362"/>
                  </a:lnTo>
                  <a:lnTo>
                    <a:pt x="142512" y="159491"/>
                  </a:lnTo>
                  <a:lnTo>
                    <a:pt x="138614" y="164030"/>
                  </a:lnTo>
                  <a:lnTo>
                    <a:pt x="138614" y="168618"/>
                  </a:lnTo>
                  <a:lnTo>
                    <a:pt x="142512" y="176217"/>
                  </a:lnTo>
                  <a:lnTo>
                    <a:pt x="142512" y="180657"/>
                  </a:lnTo>
                  <a:lnTo>
                    <a:pt x="148383" y="188256"/>
                  </a:lnTo>
                  <a:lnTo>
                    <a:pt x="156179" y="192795"/>
                  </a:lnTo>
                  <a:lnTo>
                    <a:pt x="160077" y="194325"/>
                  </a:lnTo>
                  <a:lnTo>
                    <a:pt x="164024" y="197384"/>
                  </a:lnTo>
                  <a:lnTo>
                    <a:pt x="169847" y="201923"/>
                  </a:lnTo>
                  <a:lnTo>
                    <a:pt x="165949" y="206512"/>
                  </a:lnTo>
                  <a:lnTo>
                    <a:pt x="167922" y="212580"/>
                  </a:lnTo>
                  <a:lnTo>
                    <a:pt x="175718" y="211051"/>
                  </a:lnTo>
                  <a:lnTo>
                    <a:pt x="175718" y="203453"/>
                  </a:lnTo>
                  <a:lnTo>
                    <a:pt x="173793" y="195854"/>
                  </a:lnTo>
                  <a:lnTo>
                    <a:pt x="177642" y="191266"/>
                  </a:lnTo>
                  <a:lnTo>
                    <a:pt x="177642" y="186726"/>
                  </a:lnTo>
                  <a:lnTo>
                    <a:pt x="181590" y="176069"/>
                  </a:lnTo>
                  <a:lnTo>
                    <a:pt x="191458" y="174589"/>
                  </a:lnTo>
                  <a:lnTo>
                    <a:pt x="195405" y="171530"/>
                  </a:lnTo>
                  <a:lnTo>
                    <a:pt x="197329" y="166941"/>
                  </a:lnTo>
                  <a:lnTo>
                    <a:pt x="197329" y="154803"/>
                  </a:lnTo>
                  <a:lnTo>
                    <a:pt x="195405" y="151744"/>
                  </a:lnTo>
                  <a:lnTo>
                    <a:pt x="195405" y="148685"/>
                  </a:lnTo>
                  <a:lnTo>
                    <a:pt x="193431" y="147155"/>
                  </a:lnTo>
                  <a:lnTo>
                    <a:pt x="195405" y="144096"/>
                  </a:lnTo>
                  <a:lnTo>
                    <a:pt x="199303" y="144096"/>
                  </a:lnTo>
                  <a:lnTo>
                    <a:pt x="199303" y="141185"/>
                  </a:lnTo>
                  <a:lnTo>
                    <a:pt x="205174" y="139656"/>
                  </a:lnTo>
                  <a:lnTo>
                    <a:pt x="203200" y="136646"/>
                  </a:lnTo>
                  <a:lnTo>
                    <a:pt x="201227" y="132057"/>
                  </a:lnTo>
                  <a:lnTo>
                    <a:pt x="199303" y="124459"/>
                  </a:lnTo>
                  <a:lnTo>
                    <a:pt x="191458" y="115331"/>
                  </a:lnTo>
                  <a:lnTo>
                    <a:pt x="189533" y="110792"/>
                  </a:lnTo>
                  <a:lnTo>
                    <a:pt x="175866" y="98604"/>
                  </a:lnTo>
                  <a:lnTo>
                    <a:pt x="171968" y="98604"/>
                  </a:lnTo>
                  <a:lnTo>
                    <a:pt x="169994" y="95545"/>
                  </a:lnTo>
                  <a:lnTo>
                    <a:pt x="164172" y="91006"/>
                  </a:lnTo>
                  <a:lnTo>
                    <a:pt x="154304" y="86417"/>
                  </a:lnTo>
                  <a:lnTo>
                    <a:pt x="146508" y="57504"/>
                  </a:lnTo>
                  <a:lnTo>
                    <a:pt x="156376" y="30120"/>
                  </a:lnTo>
                  <a:lnTo>
                    <a:pt x="191507" y="30120"/>
                  </a:lnTo>
                  <a:lnTo>
                    <a:pt x="197378" y="28590"/>
                  </a:lnTo>
                  <a:lnTo>
                    <a:pt x="197378" y="27110"/>
                  </a:lnTo>
                  <a:lnTo>
                    <a:pt x="203250" y="25581"/>
                  </a:lnTo>
                  <a:lnTo>
                    <a:pt x="203250" y="28590"/>
                  </a:lnTo>
                  <a:lnTo>
                    <a:pt x="207148" y="30120"/>
                  </a:lnTo>
                  <a:lnTo>
                    <a:pt x="211095" y="31650"/>
                  </a:lnTo>
                  <a:lnTo>
                    <a:pt x="216917" y="33179"/>
                  </a:lnTo>
                  <a:lnTo>
                    <a:pt x="220815" y="36189"/>
                  </a:lnTo>
                  <a:lnTo>
                    <a:pt x="220815" y="37570"/>
                  </a:lnTo>
                  <a:lnTo>
                    <a:pt x="230683" y="36041"/>
                  </a:lnTo>
                  <a:lnTo>
                    <a:pt x="238479" y="31502"/>
                  </a:lnTo>
                  <a:lnTo>
                    <a:pt x="242426" y="29972"/>
                  </a:lnTo>
                  <a:lnTo>
                    <a:pt x="244350" y="28443"/>
                  </a:lnTo>
                  <a:lnTo>
                    <a:pt x="248248" y="29972"/>
                  </a:lnTo>
                  <a:lnTo>
                    <a:pt x="248248" y="31502"/>
                  </a:lnTo>
                  <a:lnTo>
                    <a:pt x="256044" y="31502"/>
                  </a:lnTo>
                  <a:lnTo>
                    <a:pt x="259991" y="34561"/>
                  </a:lnTo>
                  <a:lnTo>
                    <a:pt x="265863" y="31502"/>
                  </a:lnTo>
                  <a:lnTo>
                    <a:pt x="275731" y="31502"/>
                  </a:lnTo>
                  <a:lnTo>
                    <a:pt x="277655" y="26962"/>
                  </a:lnTo>
                  <a:lnTo>
                    <a:pt x="277655" y="22768"/>
                  </a:lnTo>
                  <a:lnTo>
                    <a:pt x="279580" y="21288"/>
                  </a:lnTo>
                  <a:lnTo>
                    <a:pt x="285451" y="22768"/>
                  </a:lnTo>
                  <a:lnTo>
                    <a:pt x="291323" y="21288"/>
                  </a:lnTo>
                  <a:lnTo>
                    <a:pt x="297194" y="25827"/>
                  </a:lnTo>
                  <a:lnTo>
                    <a:pt x="303016" y="25827"/>
                  </a:lnTo>
                  <a:lnTo>
                    <a:pt x="305039" y="21288"/>
                  </a:lnTo>
                  <a:lnTo>
                    <a:pt x="318657" y="18229"/>
                  </a:lnTo>
                  <a:lnTo>
                    <a:pt x="324529" y="19759"/>
                  </a:lnTo>
                  <a:lnTo>
                    <a:pt x="330400" y="18229"/>
                  </a:lnTo>
                  <a:lnTo>
                    <a:pt x="332324" y="15170"/>
                  </a:lnTo>
                  <a:lnTo>
                    <a:pt x="340169" y="15170"/>
                  </a:lnTo>
                  <a:lnTo>
                    <a:pt x="346041" y="10581"/>
                  </a:lnTo>
                  <a:lnTo>
                    <a:pt x="351912" y="10581"/>
                  </a:lnTo>
                  <a:lnTo>
                    <a:pt x="359708" y="6042"/>
                  </a:lnTo>
                  <a:lnTo>
                    <a:pt x="363606" y="1503"/>
                  </a:lnTo>
                  <a:lnTo>
                    <a:pt x="369477" y="3032"/>
                  </a:lnTo>
                  <a:lnTo>
                    <a:pt x="373326" y="-27"/>
                  </a:lnTo>
                  <a:lnTo>
                    <a:pt x="373326" y="-27"/>
                  </a:lnTo>
                  <a:lnTo>
                    <a:pt x="377273" y="1503"/>
                  </a:lnTo>
                  <a:lnTo>
                    <a:pt x="375349" y="7571"/>
                  </a:lnTo>
                  <a:lnTo>
                    <a:pt x="373326" y="12111"/>
                  </a:lnTo>
                  <a:lnTo>
                    <a:pt x="375349" y="12111"/>
                  </a:lnTo>
                  <a:lnTo>
                    <a:pt x="367504" y="21288"/>
                  </a:lnTo>
                  <a:lnTo>
                    <a:pt x="367504" y="25827"/>
                  </a:lnTo>
                  <a:lnTo>
                    <a:pt x="369477" y="28837"/>
                  </a:lnTo>
                  <a:lnTo>
                    <a:pt x="369477" y="30367"/>
                  </a:lnTo>
                  <a:lnTo>
                    <a:pt x="367504" y="31896"/>
                  </a:lnTo>
                  <a:lnTo>
                    <a:pt x="367504" y="42504"/>
                  </a:lnTo>
                  <a:lnTo>
                    <a:pt x="371402" y="48573"/>
                  </a:lnTo>
                  <a:lnTo>
                    <a:pt x="369477" y="50103"/>
                  </a:lnTo>
                  <a:lnTo>
                    <a:pt x="369477" y="59231"/>
                  </a:lnTo>
                  <a:lnTo>
                    <a:pt x="371402" y="60760"/>
                  </a:lnTo>
                  <a:lnTo>
                    <a:pt x="371402" y="68359"/>
                  </a:lnTo>
                  <a:lnTo>
                    <a:pt x="369477" y="71418"/>
                  </a:lnTo>
                  <a:lnTo>
                    <a:pt x="369477" y="80546"/>
                  </a:lnTo>
                  <a:lnTo>
                    <a:pt x="367504" y="95743"/>
                  </a:lnTo>
                  <a:lnTo>
                    <a:pt x="365530" y="95743"/>
                  </a:lnTo>
                  <a:lnTo>
                    <a:pt x="367504" y="97272"/>
                  </a:lnTo>
                  <a:lnTo>
                    <a:pt x="367504" y="112469"/>
                  </a:lnTo>
                  <a:lnTo>
                    <a:pt x="363606" y="112469"/>
                  </a:lnTo>
                  <a:lnTo>
                    <a:pt x="363606" y="117058"/>
                  </a:lnTo>
                  <a:lnTo>
                    <a:pt x="371402" y="117058"/>
                  </a:lnTo>
                  <a:lnTo>
                    <a:pt x="373326" y="118538"/>
                  </a:lnTo>
                  <a:lnTo>
                    <a:pt x="375349" y="129245"/>
                  </a:lnTo>
                  <a:lnTo>
                    <a:pt x="371402" y="135314"/>
                  </a:lnTo>
                  <a:lnTo>
                    <a:pt x="367504" y="136843"/>
                  </a:lnTo>
                  <a:lnTo>
                    <a:pt x="369477" y="139853"/>
                  </a:lnTo>
                  <a:lnTo>
                    <a:pt x="369477" y="142912"/>
                  </a:lnTo>
                  <a:lnTo>
                    <a:pt x="363606" y="142912"/>
                  </a:lnTo>
                  <a:lnTo>
                    <a:pt x="359708" y="145922"/>
                  </a:lnTo>
                  <a:lnTo>
                    <a:pt x="361633" y="147451"/>
                  </a:lnTo>
                  <a:lnTo>
                    <a:pt x="367504" y="147451"/>
                  </a:lnTo>
                  <a:lnTo>
                    <a:pt x="363606" y="150511"/>
                  </a:lnTo>
                  <a:lnTo>
                    <a:pt x="363606" y="158109"/>
                  </a:lnTo>
                  <a:lnTo>
                    <a:pt x="357734" y="159638"/>
                  </a:lnTo>
                  <a:lnTo>
                    <a:pt x="349890" y="167237"/>
                  </a:lnTo>
                  <a:lnTo>
                    <a:pt x="349890" y="170296"/>
                  </a:lnTo>
                  <a:lnTo>
                    <a:pt x="342093" y="179424"/>
                  </a:lnTo>
                  <a:lnTo>
                    <a:pt x="336272" y="179424"/>
                  </a:lnTo>
                  <a:lnTo>
                    <a:pt x="338196" y="187022"/>
                  </a:lnTo>
                  <a:lnTo>
                    <a:pt x="312835" y="197680"/>
                  </a:lnTo>
                  <a:lnTo>
                    <a:pt x="308887" y="197680"/>
                  </a:lnTo>
                  <a:lnTo>
                    <a:pt x="306963" y="202219"/>
                  </a:lnTo>
                  <a:lnTo>
                    <a:pt x="283526" y="212877"/>
                  </a:lnTo>
                  <a:lnTo>
                    <a:pt x="275731" y="212877"/>
                  </a:lnTo>
                  <a:lnTo>
                    <a:pt x="275731" y="214406"/>
                  </a:lnTo>
                  <a:lnTo>
                    <a:pt x="265863" y="217465"/>
                  </a:lnTo>
                  <a:lnTo>
                    <a:pt x="250222" y="225064"/>
                  </a:lnTo>
                  <a:lnTo>
                    <a:pt x="246324" y="223534"/>
                  </a:lnTo>
                  <a:lnTo>
                    <a:pt x="246324" y="226593"/>
                  </a:lnTo>
                  <a:lnTo>
                    <a:pt x="238479" y="237251"/>
                  </a:lnTo>
                  <a:lnTo>
                    <a:pt x="234631" y="238781"/>
                  </a:lnTo>
                  <a:lnTo>
                    <a:pt x="232607" y="232662"/>
                  </a:lnTo>
                  <a:lnTo>
                    <a:pt x="230683" y="241790"/>
                  </a:lnTo>
                  <a:lnTo>
                    <a:pt x="226785" y="243320"/>
                  </a:lnTo>
                  <a:lnTo>
                    <a:pt x="224811" y="247859"/>
                  </a:lnTo>
                  <a:lnTo>
                    <a:pt x="209171" y="253928"/>
                  </a:lnTo>
                  <a:lnTo>
                    <a:pt x="209171" y="256987"/>
                  </a:lnTo>
                  <a:lnTo>
                    <a:pt x="205322" y="260046"/>
                  </a:lnTo>
                  <a:lnTo>
                    <a:pt x="203348" y="260046"/>
                  </a:lnTo>
                  <a:lnTo>
                    <a:pt x="203348" y="266115"/>
                  </a:lnTo>
                  <a:lnTo>
                    <a:pt x="195553" y="266115"/>
                  </a:lnTo>
                  <a:lnTo>
                    <a:pt x="174090" y="276772"/>
                  </a:lnTo>
                  <a:lnTo>
                    <a:pt x="176014" y="282890"/>
                  </a:lnTo>
                  <a:lnTo>
                    <a:pt x="170142" y="287430"/>
                  </a:lnTo>
                  <a:lnTo>
                    <a:pt x="162347" y="287430"/>
                  </a:lnTo>
                  <a:lnTo>
                    <a:pt x="158449" y="291969"/>
                  </a:lnTo>
                  <a:lnTo>
                    <a:pt x="152578" y="287430"/>
                  </a:lnTo>
                  <a:lnTo>
                    <a:pt x="146706" y="287430"/>
                  </a:lnTo>
                  <a:lnTo>
                    <a:pt x="146706" y="291969"/>
                  </a:lnTo>
                  <a:lnTo>
                    <a:pt x="152578" y="295028"/>
                  </a:lnTo>
                  <a:lnTo>
                    <a:pt x="152578" y="299568"/>
                  </a:lnTo>
                  <a:lnTo>
                    <a:pt x="146706" y="302627"/>
                  </a:lnTo>
                  <a:lnTo>
                    <a:pt x="148679" y="307216"/>
                  </a:lnTo>
                  <a:lnTo>
                    <a:pt x="144781" y="311755"/>
                  </a:lnTo>
                  <a:lnTo>
                    <a:pt x="156475" y="323942"/>
                  </a:lnTo>
                  <a:lnTo>
                    <a:pt x="156475" y="328530"/>
                  </a:lnTo>
                  <a:lnTo>
                    <a:pt x="152578" y="331540"/>
                  </a:lnTo>
                  <a:lnTo>
                    <a:pt x="154501" y="333070"/>
                  </a:lnTo>
                  <a:lnTo>
                    <a:pt x="158449" y="337609"/>
                  </a:lnTo>
                  <a:lnTo>
                    <a:pt x="158449" y="346737"/>
                  </a:lnTo>
                  <a:lnTo>
                    <a:pt x="162347" y="352855"/>
                  </a:lnTo>
                  <a:lnTo>
                    <a:pt x="162347" y="372592"/>
                  </a:lnTo>
                  <a:lnTo>
                    <a:pt x="164321" y="378660"/>
                  </a:lnTo>
                  <a:lnTo>
                    <a:pt x="166244" y="378660"/>
                  </a:lnTo>
                  <a:lnTo>
                    <a:pt x="166244" y="372592"/>
                  </a:lnTo>
                  <a:lnTo>
                    <a:pt x="170142" y="364944"/>
                  </a:lnTo>
                  <a:lnTo>
                    <a:pt x="170142" y="372592"/>
                  </a:lnTo>
                  <a:lnTo>
                    <a:pt x="172116" y="372592"/>
                  </a:lnTo>
                  <a:lnTo>
                    <a:pt x="172116" y="380190"/>
                  </a:lnTo>
                  <a:lnTo>
                    <a:pt x="168218" y="383200"/>
                  </a:lnTo>
                  <a:lnTo>
                    <a:pt x="168218" y="390798"/>
                  </a:lnTo>
                  <a:lnTo>
                    <a:pt x="170142" y="392328"/>
                  </a:lnTo>
                  <a:lnTo>
                    <a:pt x="166244" y="402985"/>
                  </a:lnTo>
                  <a:lnTo>
                    <a:pt x="166244" y="407623"/>
                  </a:lnTo>
                  <a:lnTo>
                    <a:pt x="162347" y="410682"/>
                  </a:lnTo>
                  <a:lnTo>
                    <a:pt x="162347" y="416800"/>
                  </a:lnTo>
                  <a:lnTo>
                    <a:pt x="160373" y="416800"/>
                  </a:lnTo>
                  <a:lnTo>
                    <a:pt x="162347" y="424399"/>
                  </a:lnTo>
                  <a:lnTo>
                    <a:pt x="166244" y="419810"/>
                  </a:lnTo>
                  <a:lnTo>
                    <a:pt x="168218" y="424399"/>
                  </a:lnTo>
                  <a:lnTo>
                    <a:pt x="164321" y="430468"/>
                  </a:lnTo>
                  <a:lnTo>
                    <a:pt x="162347" y="438115"/>
                  </a:lnTo>
                  <a:lnTo>
                    <a:pt x="146706" y="450253"/>
                  </a:lnTo>
                  <a:lnTo>
                    <a:pt x="125243" y="459381"/>
                  </a:lnTo>
                  <a:lnTo>
                    <a:pt x="94011" y="463970"/>
                  </a:lnTo>
                  <a:lnTo>
                    <a:pt x="80343" y="473048"/>
                  </a:lnTo>
                  <a:lnTo>
                    <a:pt x="72498" y="476107"/>
                  </a:lnTo>
                  <a:lnTo>
                    <a:pt x="68600" y="480696"/>
                  </a:lnTo>
                  <a:lnTo>
                    <a:pt x="64702" y="483706"/>
                  </a:lnTo>
                  <a:lnTo>
                    <a:pt x="62728" y="489824"/>
                  </a:lnTo>
                  <a:lnTo>
                    <a:pt x="58831" y="489824"/>
                  </a:lnTo>
                  <a:lnTo>
                    <a:pt x="54933" y="492834"/>
                  </a:lnTo>
                  <a:lnTo>
                    <a:pt x="56906" y="494363"/>
                  </a:lnTo>
                  <a:lnTo>
                    <a:pt x="60755" y="498903"/>
                  </a:lnTo>
                  <a:lnTo>
                    <a:pt x="60755" y="505021"/>
                  </a:lnTo>
                  <a:lnTo>
                    <a:pt x="62728" y="501962"/>
                  </a:lnTo>
                  <a:lnTo>
                    <a:pt x="68600" y="503491"/>
                  </a:lnTo>
                  <a:lnTo>
                    <a:pt x="68600" y="497373"/>
                  </a:lnTo>
                  <a:lnTo>
                    <a:pt x="72498" y="497373"/>
                  </a:lnTo>
                  <a:lnTo>
                    <a:pt x="72498" y="498903"/>
                  </a:lnTo>
                  <a:lnTo>
                    <a:pt x="70574" y="509560"/>
                  </a:lnTo>
                  <a:lnTo>
                    <a:pt x="66626" y="514149"/>
                  </a:lnTo>
                  <a:lnTo>
                    <a:pt x="66626" y="518688"/>
                  </a:lnTo>
                  <a:lnTo>
                    <a:pt x="60755" y="518688"/>
                  </a:lnTo>
                  <a:lnTo>
                    <a:pt x="47137" y="515629"/>
                  </a:lnTo>
                  <a:lnTo>
                    <a:pt x="43190" y="517159"/>
                  </a:lnTo>
                  <a:lnTo>
                    <a:pt x="43190" y="514149"/>
                  </a:lnTo>
                  <a:lnTo>
                    <a:pt x="45163" y="509560"/>
                  </a:lnTo>
                  <a:lnTo>
                    <a:pt x="45163" y="503491"/>
                  </a:lnTo>
                  <a:lnTo>
                    <a:pt x="43190" y="498903"/>
                  </a:lnTo>
                  <a:lnTo>
                    <a:pt x="39292" y="495893"/>
                  </a:lnTo>
                  <a:lnTo>
                    <a:pt x="35394" y="494363"/>
                  </a:lnTo>
                  <a:lnTo>
                    <a:pt x="35394" y="473048"/>
                  </a:lnTo>
                  <a:lnTo>
                    <a:pt x="39292" y="463970"/>
                  </a:lnTo>
                  <a:lnTo>
                    <a:pt x="39292" y="439595"/>
                  </a:lnTo>
                  <a:lnTo>
                    <a:pt x="37318" y="433477"/>
                  </a:lnTo>
                  <a:lnTo>
                    <a:pt x="33470" y="427409"/>
                  </a:lnTo>
                  <a:lnTo>
                    <a:pt x="33470" y="419810"/>
                  </a:lnTo>
                  <a:lnTo>
                    <a:pt x="35394" y="418330"/>
                  </a:lnTo>
                  <a:lnTo>
                    <a:pt x="35394" y="404613"/>
                  </a:lnTo>
                  <a:lnTo>
                    <a:pt x="29522" y="398544"/>
                  </a:lnTo>
                  <a:lnTo>
                    <a:pt x="27598" y="389367"/>
                  </a:lnTo>
                  <a:lnTo>
                    <a:pt x="25624" y="38028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Graphic 2">
              <a:extLst>
                <a:ext uri="{FF2B5EF4-FFF2-40B4-BE49-F238E27FC236}">
                  <a16:creationId xmlns:a16="http://schemas.microsoft.com/office/drawing/2014/main" id="{415EA917-1EC5-4B44-984E-00613AC3680B}"/>
                </a:ext>
              </a:extLst>
            </p:cNvPr>
            <p:cNvSpPr/>
            <p:nvPr/>
          </p:nvSpPr>
          <p:spPr>
            <a:xfrm>
              <a:off x="6394214" y="5381129"/>
              <a:ext cx="47471" cy="47469"/>
            </a:xfrm>
            <a:custGeom>
              <a:avLst/>
              <a:gdLst>
                <a:gd name="connsiteX0" fmla="*/ 42154 w 52251"/>
                <a:gd name="connsiteY0" fmla="*/ 10482 h 52251"/>
                <a:gd name="connsiteX1" fmla="*/ 42154 w 52251"/>
                <a:gd name="connsiteY1" fmla="*/ 12012 h 52251"/>
                <a:gd name="connsiteX2" fmla="*/ 46151 w 52251"/>
                <a:gd name="connsiteY2" fmla="*/ 13640 h 52251"/>
                <a:gd name="connsiteX3" fmla="*/ 50147 w 52251"/>
                <a:gd name="connsiteY3" fmla="*/ 16798 h 52251"/>
                <a:gd name="connsiteX4" fmla="*/ 52170 w 52251"/>
                <a:gd name="connsiteY4" fmla="*/ 21732 h 52251"/>
                <a:gd name="connsiteX5" fmla="*/ 52170 w 52251"/>
                <a:gd name="connsiteY5" fmla="*/ 28097 h 52251"/>
                <a:gd name="connsiteX6" fmla="*/ 50147 w 52251"/>
                <a:gd name="connsiteY6" fmla="*/ 33031 h 52251"/>
                <a:gd name="connsiteX7" fmla="*/ 50147 w 52251"/>
                <a:gd name="connsiteY7" fmla="*/ 36189 h 52251"/>
                <a:gd name="connsiteX8" fmla="*/ 48124 w 52251"/>
                <a:gd name="connsiteY8" fmla="*/ 36189 h 52251"/>
                <a:gd name="connsiteX9" fmla="*/ 44177 w 52251"/>
                <a:gd name="connsiteY9" fmla="*/ 39347 h 52251"/>
                <a:gd name="connsiteX10" fmla="*/ 44177 w 52251"/>
                <a:gd name="connsiteY10" fmla="*/ 44281 h 52251"/>
                <a:gd name="connsiteX11" fmla="*/ 42154 w 52251"/>
                <a:gd name="connsiteY11" fmla="*/ 50645 h 52251"/>
                <a:gd name="connsiteX12" fmla="*/ 38108 w 52251"/>
                <a:gd name="connsiteY12" fmla="*/ 52224 h 52251"/>
                <a:gd name="connsiteX13" fmla="*/ 24046 w 52251"/>
                <a:gd name="connsiteY13" fmla="*/ 52224 h 52251"/>
                <a:gd name="connsiteX14" fmla="*/ 9984 w 52251"/>
                <a:gd name="connsiteY14" fmla="*/ 44281 h 52251"/>
                <a:gd name="connsiteX15" fmla="*/ 5988 w 52251"/>
                <a:gd name="connsiteY15" fmla="*/ 37965 h 52251"/>
                <a:gd name="connsiteX16" fmla="*/ 1941 w 52251"/>
                <a:gd name="connsiteY16" fmla="*/ 34807 h 52251"/>
                <a:gd name="connsiteX17" fmla="*/ -82 w 52251"/>
                <a:gd name="connsiteY17" fmla="*/ 31600 h 52251"/>
                <a:gd name="connsiteX18" fmla="*/ 3964 w 52251"/>
                <a:gd name="connsiteY18" fmla="*/ 23706 h 52251"/>
                <a:gd name="connsiteX19" fmla="*/ 12007 w 52251"/>
                <a:gd name="connsiteY19" fmla="*/ 9496 h 52251"/>
                <a:gd name="connsiteX20" fmla="*/ 13981 w 52251"/>
                <a:gd name="connsiteY20" fmla="*/ 3131 h 52251"/>
                <a:gd name="connsiteX21" fmla="*/ 22023 w 52251"/>
                <a:gd name="connsiteY21" fmla="*/ -27 h 52251"/>
                <a:gd name="connsiteX22" fmla="*/ 30066 w 52251"/>
                <a:gd name="connsiteY22" fmla="*/ 4907 h 52251"/>
                <a:gd name="connsiteX23" fmla="*/ 36085 w 52251"/>
                <a:gd name="connsiteY23" fmla="*/ 9841 h 52251"/>
                <a:gd name="connsiteX24" fmla="*/ 42154 w 52251"/>
                <a:gd name="connsiteY24" fmla="*/ 11420 h 5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2251" h="52251">
                  <a:moveTo>
                    <a:pt x="42154" y="10482"/>
                  </a:moveTo>
                  <a:lnTo>
                    <a:pt x="42154" y="12012"/>
                  </a:lnTo>
                  <a:lnTo>
                    <a:pt x="46151" y="13640"/>
                  </a:lnTo>
                  <a:lnTo>
                    <a:pt x="50147" y="16798"/>
                  </a:lnTo>
                  <a:lnTo>
                    <a:pt x="52170" y="21732"/>
                  </a:lnTo>
                  <a:lnTo>
                    <a:pt x="52170" y="28097"/>
                  </a:lnTo>
                  <a:lnTo>
                    <a:pt x="50147" y="33031"/>
                  </a:lnTo>
                  <a:lnTo>
                    <a:pt x="50147" y="36189"/>
                  </a:lnTo>
                  <a:lnTo>
                    <a:pt x="48124" y="36189"/>
                  </a:lnTo>
                  <a:lnTo>
                    <a:pt x="44177" y="39347"/>
                  </a:lnTo>
                  <a:lnTo>
                    <a:pt x="44177" y="44281"/>
                  </a:lnTo>
                  <a:lnTo>
                    <a:pt x="42154" y="50645"/>
                  </a:lnTo>
                  <a:lnTo>
                    <a:pt x="38108" y="52224"/>
                  </a:lnTo>
                  <a:lnTo>
                    <a:pt x="24046" y="52224"/>
                  </a:lnTo>
                  <a:lnTo>
                    <a:pt x="9984" y="44281"/>
                  </a:lnTo>
                  <a:lnTo>
                    <a:pt x="5988" y="37965"/>
                  </a:lnTo>
                  <a:lnTo>
                    <a:pt x="1941" y="34807"/>
                  </a:lnTo>
                  <a:lnTo>
                    <a:pt x="-82" y="31600"/>
                  </a:lnTo>
                  <a:lnTo>
                    <a:pt x="3964" y="23706"/>
                  </a:lnTo>
                  <a:lnTo>
                    <a:pt x="12007" y="9496"/>
                  </a:lnTo>
                  <a:lnTo>
                    <a:pt x="13981" y="3131"/>
                  </a:lnTo>
                  <a:lnTo>
                    <a:pt x="22023" y="-27"/>
                  </a:lnTo>
                  <a:lnTo>
                    <a:pt x="30066" y="4907"/>
                  </a:lnTo>
                  <a:lnTo>
                    <a:pt x="36085" y="9841"/>
                  </a:lnTo>
                  <a:lnTo>
                    <a:pt x="42154" y="1142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Graphic 2">
              <a:extLst>
                <a:ext uri="{FF2B5EF4-FFF2-40B4-BE49-F238E27FC236}">
                  <a16:creationId xmlns:a16="http://schemas.microsoft.com/office/drawing/2014/main" id="{8D726038-C542-4C8A-907E-C376C04E5315}"/>
                </a:ext>
              </a:extLst>
            </p:cNvPr>
            <p:cNvSpPr/>
            <p:nvPr/>
          </p:nvSpPr>
          <p:spPr>
            <a:xfrm>
              <a:off x="5929903" y="5275433"/>
              <a:ext cx="529131" cy="389748"/>
            </a:xfrm>
            <a:custGeom>
              <a:avLst/>
              <a:gdLst>
                <a:gd name="connsiteX0" fmla="*/ -82 w 582413"/>
                <a:gd name="connsiteY0" fmla="*/ 212334 h 429014"/>
                <a:gd name="connsiteX1" fmla="*/ 5790 w 582413"/>
                <a:gd name="connsiteY1" fmla="*/ 209275 h 429014"/>
                <a:gd name="connsiteX2" fmla="*/ 11661 w 582413"/>
                <a:gd name="connsiteY2" fmla="*/ 207745 h 429014"/>
                <a:gd name="connsiteX3" fmla="*/ 11661 w 582413"/>
                <a:gd name="connsiteY3" fmla="*/ 204686 h 429014"/>
                <a:gd name="connsiteX4" fmla="*/ 9687 w 582413"/>
                <a:gd name="connsiteY4" fmla="*/ 203157 h 429014"/>
                <a:gd name="connsiteX5" fmla="*/ 13586 w 582413"/>
                <a:gd name="connsiteY5" fmla="*/ 197038 h 429014"/>
                <a:gd name="connsiteX6" fmla="*/ 23454 w 582413"/>
                <a:gd name="connsiteY6" fmla="*/ 194029 h 429014"/>
                <a:gd name="connsiteX7" fmla="*/ 27352 w 582413"/>
                <a:gd name="connsiteY7" fmla="*/ 200098 h 429014"/>
                <a:gd name="connsiteX8" fmla="*/ 35197 w 582413"/>
                <a:gd name="connsiteY8" fmla="*/ 201627 h 429014"/>
                <a:gd name="connsiteX9" fmla="*/ 31299 w 582413"/>
                <a:gd name="connsiteY9" fmla="*/ 207745 h 429014"/>
                <a:gd name="connsiteX10" fmla="*/ 37170 w 582413"/>
                <a:gd name="connsiteY10" fmla="*/ 216873 h 429014"/>
                <a:gd name="connsiteX11" fmla="*/ 47038 w 582413"/>
                <a:gd name="connsiteY11" fmla="*/ 219932 h 429014"/>
                <a:gd name="connsiteX12" fmla="*/ 56906 w 582413"/>
                <a:gd name="connsiteY12" fmla="*/ 222992 h 429014"/>
                <a:gd name="connsiteX13" fmla="*/ 62778 w 582413"/>
                <a:gd name="connsiteY13" fmla="*/ 221462 h 429014"/>
                <a:gd name="connsiteX14" fmla="*/ 66676 w 582413"/>
                <a:gd name="connsiteY14" fmla="*/ 222992 h 429014"/>
                <a:gd name="connsiteX15" fmla="*/ 72547 w 582413"/>
                <a:gd name="connsiteY15" fmla="*/ 224521 h 429014"/>
                <a:gd name="connsiteX16" fmla="*/ 74471 w 582413"/>
                <a:gd name="connsiteY16" fmla="*/ 221462 h 429014"/>
                <a:gd name="connsiteX17" fmla="*/ 80343 w 582413"/>
                <a:gd name="connsiteY17" fmla="*/ 221462 h 429014"/>
                <a:gd name="connsiteX18" fmla="*/ 82317 w 582413"/>
                <a:gd name="connsiteY18" fmla="*/ 226051 h 429014"/>
                <a:gd name="connsiteX19" fmla="*/ 88188 w 582413"/>
                <a:gd name="connsiteY19" fmla="*/ 224521 h 429014"/>
                <a:gd name="connsiteX20" fmla="*/ 94059 w 582413"/>
                <a:gd name="connsiteY20" fmla="*/ 226051 h 429014"/>
                <a:gd name="connsiteX21" fmla="*/ 94059 w 582413"/>
                <a:gd name="connsiteY21" fmla="*/ 219784 h 429014"/>
                <a:gd name="connsiteX22" fmla="*/ 95984 w 582413"/>
                <a:gd name="connsiteY22" fmla="*/ 216725 h 429014"/>
                <a:gd name="connsiteX23" fmla="*/ 99931 w 582413"/>
                <a:gd name="connsiteY23" fmla="*/ 215196 h 429014"/>
                <a:gd name="connsiteX24" fmla="*/ 103780 w 582413"/>
                <a:gd name="connsiteY24" fmla="*/ 209127 h 429014"/>
                <a:gd name="connsiteX25" fmla="*/ 113648 w 582413"/>
                <a:gd name="connsiteY25" fmla="*/ 204538 h 429014"/>
                <a:gd name="connsiteX26" fmla="*/ 128894 w 582413"/>
                <a:gd name="connsiteY26" fmla="*/ 204538 h 429014"/>
                <a:gd name="connsiteX27" fmla="*/ 132841 w 582413"/>
                <a:gd name="connsiteY27" fmla="*/ 93029 h 429014"/>
                <a:gd name="connsiteX28" fmla="*/ 144535 w 582413"/>
                <a:gd name="connsiteY28" fmla="*/ 100677 h 429014"/>
                <a:gd name="connsiteX29" fmla="*/ 148482 w 582413"/>
                <a:gd name="connsiteY29" fmla="*/ 109854 h 429014"/>
                <a:gd name="connsiteX30" fmla="*/ 158350 w 582413"/>
                <a:gd name="connsiteY30" fmla="*/ 126679 h 429014"/>
                <a:gd name="connsiteX31" fmla="*/ 158350 w 582413"/>
                <a:gd name="connsiteY31" fmla="*/ 135906 h 429014"/>
                <a:gd name="connsiteX32" fmla="*/ 152479 w 582413"/>
                <a:gd name="connsiteY32" fmla="*/ 145083 h 429014"/>
                <a:gd name="connsiteX33" fmla="*/ 150554 w 582413"/>
                <a:gd name="connsiteY33" fmla="*/ 151201 h 429014"/>
                <a:gd name="connsiteX34" fmla="*/ 162248 w 582413"/>
                <a:gd name="connsiteY34" fmla="*/ 149672 h 429014"/>
                <a:gd name="connsiteX35" fmla="*/ 172116 w 582413"/>
                <a:gd name="connsiteY35" fmla="*/ 151201 h 429014"/>
                <a:gd name="connsiteX36" fmla="*/ 175965 w 582413"/>
                <a:gd name="connsiteY36" fmla="*/ 149672 h 429014"/>
                <a:gd name="connsiteX37" fmla="*/ 185833 w 582413"/>
                <a:gd name="connsiteY37" fmla="*/ 149672 h 429014"/>
                <a:gd name="connsiteX38" fmla="*/ 191704 w 582413"/>
                <a:gd name="connsiteY38" fmla="*/ 146612 h 429014"/>
                <a:gd name="connsiteX39" fmla="*/ 199549 w 582413"/>
                <a:gd name="connsiteY39" fmla="*/ 145083 h 429014"/>
                <a:gd name="connsiteX40" fmla="*/ 205421 w 582413"/>
                <a:gd name="connsiteY40" fmla="*/ 140494 h 429014"/>
                <a:gd name="connsiteX41" fmla="*/ 209270 w 582413"/>
                <a:gd name="connsiteY41" fmla="*/ 137435 h 429014"/>
                <a:gd name="connsiteX42" fmla="*/ 219138 w 582413"/>
                <a:gd name="connsiteY42" fmla="*/ 132847 h 429014"/>
                <a:gd name="connsiteX43" fmla="*/ 226933 w 582413"/>
                <a:gd name="connsiteY43" fmla="*/ 126778 h 429014"/>
                <a:gd name="connsiteX44" fmla="*/ 232805 w 582413"/>
                <a:gd name="connsiteY44" fmla="*/ 114492 h 429014"/>
                <a:gd name="connsiteX45" fmla="*/ 242673 w 582413"/>
                <a:gd name="connsiteY45" fmla="*/ 106894 h 429014"/>
                <a:gd name="connsiteX46" fmla="*/ 250469 w 582413"/>
                <a:gd name="connsiteY46" fmla="*/ 105364 h 429014"/>
                <a:gd name="connsiteX47" fmla="*/ 264136 w 582413"/>
                <a:gd name="connsiteY47" fmla="*/ 106894 h 429014"/>
                <a:gd name="connsiteX48" fmla="*/ 268083 w 582413"/>
                <a:gd name="connsiteY48" fmla="*/ 112962 h 429014"/>
                <a:gd name="connsiteX49" fmla="*/ 271981 w 582413"/>
                <a:gd name="connsiteY49" fmla="*/ 112962 h 429014"/>
                <a:gd name="connsiteX50" fmla="*/ 283724 w 582413"/>
                <a:gd name="connsiteY50" fmla="*/ 119081 h 429014"/>
                <a:gd name="connsiteX51" fmla="*/ 289546 w 582413"/>
                <a:gd name="connsiteY51" fmla="*/ 117551 h 429014"/>
                <a:gd name="connsiteX52" fmla="*/ 297342 w 582413"/>
                <a:gd name="connsiteY52" fmla="*/ 119081 h 429014"/>
                <a:gd name="connsiteX53" fmla="*/ 303213 w 582413"/>
                <a:gd name="connsiteY53" fmla="*/ 117551 h 429014"/>
                <a:gd name="connsiteX54" fmla="*/ 316387 w 582413"/>
                <a:gd name="connsiteY54" fmla="*/ 117551 h 429014"/>
                <a:gd name="connsiteX55" fmla="*/ 320236 w 582413"/>
                <a:gd name="connsiteY55" fmla="*/ 120610 h 429014"/>
                <a:gd name="connsiteX56" fmla="*/ 324183 w 582413"/>
                <a:gd name="connsiteY56" fmla="*/ 122189 h 429014"/>
                <a:gd name="connsiteX57" fmla="*/ 334051 w 582413"/>
                <a:gd name="connsiteY57" fmla="*/ 117551 h 429014"/>
                <a:gd name="connsiteX58" fmla="*/ 332078 w 582413"/>
                <a:gd name="connsiteY58" fmla="*/ 116021 h 429014"/>
                <a:gd name="connsiteX59" fmla="*/ 334051 w 582413"/>
                <a:gd name="connsiteY59" fmla="*/ 109953 h 429014"/>
                <a:gd name="connsiteX60" fmla="*/ 334051 w 582413"/>
                <a:gd name="connsiteY60" fmla="*/ 105364 h 429014"/>
                <a:gd name="connsiteX61" fmla="*/ 335975 w 582413"/>
                <a:gd name="connsiteY61" fmla="*/ 102305 h 429014"/>
                <a:gd name="connsiteX62" fmla="*/ 335975 w 582413"/>
                <a:gd name="connsiteY62" fmla="*/ 94657 h 429014"/>
                <a:gd name="connsiteX63" fmla="*/ 337949 w 582413"/>
                <a:gd name="connsiteY63" fmla="*/ 90118 h 429014"/>
                <a:gd name="connsiteX64" fmla="*/ 345794 w 582413"/>
                <a:gd name="connsiteY64" fmla="*/ 88588 h 429014"/>
                <a:gd name="connsiteX65" fmla="*/ 349643 w 582413"/>
                <a:gd name="connsiteY65" fmla="*/ 85529 h 429014"/>
                <a:gd name="connsiteX66" fmla="*/ 355563 w 582413"/>
                <a:gd name="connsiteY66" fmla="*/ 85529 h 429014"/>
                <a:gd name="connsiteX67" fmla="*/ 357488 w 582413"/>
                <a:gd name="connsiteY67" fmla="*/ 82470 h 429014"/>
                <a:gd name="connsiteX68" fmla="*/ 361386 w 582413"/>
                <a:gd name="connsiteY68" fmla="*/ 79411 h 429014"/>
                <a:gd name="connsiteX69" fmla="*/ 363359 w 582413"/>
                <a:gd name="connsiteY69" fmla="*/ 76352 h 429014"/>
                <a:gd name="connsiteX70" fmla="*/ 367257 w 582413"/>
                <a:gd name="connsiteY70" fmla="*/ 71763 h 429014"/>
                <a:gd name="connsiteX71" fmla="*/ 371155 w 582413"/>
                <a:gd name="connsiteY71" fmla="*/ 71763 h 429014"/>
                <a:gd name="connsiteX72" fmla="*/ 373129 w 582413"/>
                <a:gd name="connsiteY72" fmla="*/ 68704 h 429014"/>
                <a:gd name="connsiteX73" fmla="*/ 379000 w 582413"/>
                <a:gd name="connsiteY73" fmla="*/ 68704 h 429014"/>
                <a:gd name="connsiteX74" fmla="*/ 379000 w 582413"/>
                <a:gd name="connsiteY74" fmla="*/ 64116 h 429014"/>
                <a:gd name="connsiteX75" fmla="*/ 377027 w 582413"/>
                <a:gd name="connsiteY75" fmla="*/ 61056 h 429014"/>
                <a:gd name="connsiteX76" fmla="*/ 377027 w 582413"/>
                <a:gd name="connsiteY76" fmla="*/ 52027 h 429014"/>
                <a:gd name="connsiteX77" fmla="*/ 386895 w 582413"/>
                <a:gd name="connsiteY77" fmla="*/ 42899 h 429014"/>
                <a:gd name="connsiteX78" fmla="*/ 390792 w 582413"/>
                <a:gd name="connsiteY78" fmla="*/ 39840 h 429014"/>
                <a:gd name="connsiteX79" fmla="*/ 396664 w 582413"/>
                <a:gd name="connsiteY79" fmla="*/ 39840 h 429014"/>
                <a:gd name="connsiteX80" fmla="*/ 400562 w 582413"/>
                <a:gd name="connsiteY80" fmla="*/ 36781 h 429014"/>
                <a:gd name="connsiteX81" fmla="*/ 404460 w 582413"/>
                <a:gd name="connsiteY81" fmla="*/ 35251 h 429014"/>
                <a:gd name="connsiteX82" fmla="*/ 406433 w 582413"/>
                <a:gd name="connsiteY82" fmla="*/ 32192 h 429014"/>
                <a:gd name="connsiteX83" fmla="*/ 410331 w 582413"/>
                <a:gd name="connsiteY83" fmla="*/ 30663 h 429014"/>
                <a:gd name="connsiteX84" fmla="*/ 414229 w 582413"/>
                <a:gd name="connsiteY84" fmla="*/ 26123 h 429014"/>
                <a:gd name="connsiteX85" fmla="*/ 420101 w 582413"/>
                <a:gd name="connsiteY85" fmla="*/ 20005 h 429014"/>
                <a:gd name="connsiteX86" fmla="*/ 429969 w 582413"/>
                <a:gd name="connsiteY86" fmla="*/ 20005 h 429014"/>
                <a:gd name="connsiteX87" fmla="*/ 431893 w 582413"/>
                <a:gd name="connsiteY87" fmla="*/ 21535 h 429014"/>
                <a:gd name="connsiteX88" fmla="*/ 435840 w 582413"/>
                <a:gd name="connsiteY88" fmla="*/ 20005 h 429014"/>
                <a:gd name="connsiteX89" fmla="*/ 439738 w 582413"/>
                <a:gd name="connsiteY89" fmla="*/ 20005 h 429014"/>
                <a:gd name="connsiteX90" fmla="*/ 445609 w 582413"/>
                <a:gd name="connsiteY90" fmla="*/ 16946 h 429014"/>
                <a:gd name="connsiteX91" fmla="*/ 449507 w 582413"/>
                <a:gd name="connsiteY91" fmla="*/ 15417 h 429014"/>
                <a:gd name="connsiteX92" fmla="*/ 451481 w 582413"/>
                <a:gd name="connsiteY92" fmla="*/ 10779 h 429014"/>
                <a:gd name="connsiteX93" fmla="*/ 451481 w 582413"/>
                <a:gd name="connsiteY93" fmla="*/ 7621 h 429014"/>
                <a:gd name="connsiteX94" fmla="*/ 455330 w 582413"/>
                <a:gd name="connsiteY94" fmla="*/ 4562 h 429014"/>
                <a:gd name="connsiteX95" fmla="*/ 463175 w 582413"/>
                <a:gd name="connsiteY95" fmla="*/ 4562 h 429014"/>
                <a:gd name="connsiteX96" fmla="*/ 465149 w 582413"/>
                <a:gd name="connsiteY96" fmla="*/ 3032 h 429014"/>
                <a:gd name="connsiteX97" fmla="*/ 480789 w 582413"/>
                <a:gd name="connsiteY97" fmla="*/ -27 h 429014"/>
                <a:gd name="connsiteX98" fmla="*/ 488585 w 582413"/>
                <a:gd name="connsiteY98" fmla="*/ -27 h 429014"/>
                <a:gd name="connsiteX99" fmla="*/ 492483 w 582413"/>
                <a:gd name="connsiteY99" fmla="*/ 6091 h 429014"/>
                <a:gd name="connsiteX100" fmla="*/ 498354 w 582413"/>
                <a:gd name="connsiteY100" fmla="*/ 6091 h 429014"/>
                <a:gd name="connsiteX101" fmla="*/ 506150 w 582413"/>
                <a:gd name="connsiteY101" fmla="*/ 9150 h 429014"/>
                <a:gd name="connsiteX102" fmla="*/ 508124 w 582413"/>
                <a:gd name="connsiteY102" fmla="*/ 10630 h 429014"/>
                <a:gd name="connsiteX103" fmla="*/ 513996 w 582413"/>
                <a:gd name="connsiteY103" fmla="*/ 9150 h 429014"/>
                <a:gd name="connsiteX104" fmla="*/ 521791 w 582413"/>
                <a:gd name="connsiteY104" fmla="*/ 7621 h 429014"/>
                <a:gd name="connsiteX105" fmla="*/ 535459 w 582413"/>
                <a:gd name="connsiteY105" fmla="*/ 9150 h 429014"/>
                <a:gd name="connsiteX106" fmla="*/ 541330 w 582413"/>
                <a:gd name="connsiteY106" fmla="*/ 13739 h 429014"/>
                <a:gd name="connsiteX107" fmla="*/ 543254 w 582413"/>
                <a:gd name="connsiteY107" fmla="*/ 22916 h 429014"/>
                <a:gd name="connsiteX108" fmla="*/ 545228 w 582413"/>
                <a:gd name="connsiteY108" fmla="*/ 32044 h 429014"/>
                <a:gd name="connsiteX109" fmla="*/ 551099 w 582413"/>
                <a:gd name="connsiteY109" fmla="*/ 38162 h 429014"/>
                <a:gd name="connsiteX110" fmla="*/ 551099 w 582413"/>
                <a:gd name="connsiteY110" fmla="*/ 52027 h 429014"/>
                <a:gd name="connsiteX111" fmla="*/ 549126 w 582413"/>
                <a:gd name="connsiteY111" fmla="*/ 53557 h 429014"/>
                <a:gd name="connsiteX112" fmla="*/ 549126 w 582413"/>
                <a:gd name="connsiteY112" fmla="*/ 61204 h 429014"/>
                <a:gd name="connsiteX113" fmla="*/ 553073 w 582413"/>
                <a:gd name="connsiteY113" fmla="*/ 67322 h 429014"/>
                <a:gd name="connsiteX114" fmla="*/ 554997 w 582413"/>
                <a:gd name="connsiteY114" fmla="*/ 73441 h 429014"/>
                <a:gd name="connsiteX115" fmla="*/ 554997 w 582413"/>
                <a:gd name="connsiteY115" fmla="*/ 97864 h 429014"/>
                <a:gd name="connsiteX116" fmla="*/ 551099 w 582413"/>
                <a:gd name="connsiteY116" fmla="*/ 107042 h 429014"/>
                <a:gd name="connsiteX117" fmla="*/ 551099 w 582413"/>
                <a:gd name="connsiteY117" fmla="*/ 126778 h 429014"/>
                <a:gd name="connsiteX118" fmla="*/ 545228 w 582413"/>
                <a:gd name="connsiteY118" fmla="*/ 125248 h 429014"/>
                <a:gd name="connsiteX119" fmla="*/ 539356 w 582413"/>
                <a:gd name="connsiteY119" fmla="*/ 120610 h 429014"/>
                <a:gd name="connsiteX120" fmla="*/ 531560 w 582413"/>
                <a:gd name="connsiteY120" fmla="*/ 116021 h 429014"/>
                <a:gd name="connsiteX121" fmla="*/ 523765 w 582413"/>
                <a:gd name="connsiteY121" fmla="*/ 119081 h 429014"/>
                <a:gd name="connsiteX122" fmla="*/ 521791 w 582413"/>
                <a:gd name="connsiteY122" fmla="*/ 125248 h 429014"/>
                <a:gd name="connsiteX123" fmla="*/ 513996 w 582413"/>
                <a:gd name="connsiteY123" fmla="*/ 138965 h 429014"/>
                <a:gd name="connsiteX124" fmla="*/ 510048 w 582413"/>
                <a:gd name="connsiteY124" fmla="*/ 146612 h 429014"/>
                <a:gd name="connsiteX125" fmla="*/ 512022 w 582413"/>
                <a:gd name="connsiteY125" fmla="*/ 149672 h 429014"/>
                <a:gd name="connsiteX126" fmla="*/ 515919 w 582413"/>
                <a:gd name="connsiteY126" fmla="*/ 152731 h 429014"/>
                <a:gd name="connsiteX127" fmla="*/ 519817 w 582413"/>
                <a:gd name="connsiteY127" fmla="*/ 158800 h 429014"/>
                <a:gd name="connsiteX128" fmla="*/ 533485 w 582413"/>
                <a:gd name="connsiteY128" fmla="*/ 166447 h 429014"/>
                <a:gd name="connsiteX129" fmla="*/ 547202 w 582413"/>
                <a:gd name="connsiteY129" fmla="*/ 166447 h 429014"/>
                <a:gd name="connsiteX130" fmla="*/ 551099 w 582413"/>
                <a:gd name="connsiteY130" fmla="*/ 164918 h 429014"/>
                <a:gd name="connsiteX131" fmla="*/ 553073 w 582413"/>
                <a:gd name="connsiteY131" fmla="*/ 158800 h 429014"/>
                <a:gd name="connsiteX132" fmla="*/ 553073 w 582413"/>
                <a:gd name="connsiteY132" fmla="*/ 154211 h 429014"/>
                <a:gd name="connsiteX133" fmla="*/ 556921 w 582413"/>
                <a:gd name="connsiteY133" fmla="*/ 151201 h 429014"/>
                <a:gd name="connsiteX134" fmla="*/ 562842 w 582413"/>
                <a:gd name="connsiteY134" fmla="*/ 149672 h 429014"/>
                <a:gd name="connsiteX135" fmla="*/ 576509 w 582413"/>
                <a:gd name="connsiteY135" fmla="*/ 152731 h 429014"/>
                <a:gd name="connsiteX136" fmla="*/ 582332 w 582413"/>
                <a:gd name="connsiteY136" fmla="*/ 152731 h 429014"/>
                <a:gd name="connsiteX137" fmla="*/ 582332 w 582413"/>
                <a:gd name="connsiteY137" fmla="*/ 154211 h 429014"/>
                <a:gd name="connsiteX138" fmla="*/ 578434 w 582413"/>
                <a:gd name="connsiteY138" fmla="*/ 158800 h 429014"/>
                <a:gd name="connsiteX139" fmla="*/ 580407 w 582413"/>
                <a:gd name="connsiteY139" fmla="*/ 158800 h 429014"/>
                <a:gd name="connsiteX140" fmla="*/ 576509 w 582413"/>
                <a:gd name="connsiteY140" fmla="*/ 171036 h 429014"/>
                <a:gd name="connsiteX141" fmla="*/ 574536 w 582413"/>
                <a:gd name="connsiteY141" fmla="*/ 180213 h 429014"/>
                <a:gd name="connsiteX142" fmla="*/ 570638 w 582413"/>
                <a:gd name="connsiteY142" fmla="*/ 190920 h 429014"/>
                <a:gd name="connsiteX143" fmla="*/ 566691 w 582413"/>
                <a:gd name="connsiteY143" fmla="*/ 201578 h 429014"/>
                <a:gd name="connsiteX144" fmla="*/ 560869 w 582413"/>
                <a:gd name="connsiteY144" fmla="*/ 207696 h 429014"/>
                <a:gd name="connsiteX145" fmla="*/ 558895 w 582413"/>
                <a:gd name="connsiteY145" fmla="*/ 212284 h 429014"/>
                <a:gd name="connsiteX146" fmla="*/ 549027 w 582413"/>
                <a:gd name="connsiteY146" fmla="*/ 222942 h 429014"/>
                <a:gd name="connsiteX147" fmla="*/ 547103 w 582413"/>
                <a:gd name="connsiteY147" fmla="*/ 222942 h 429014"/>
                <a:gd name="connsiteX148" fmla="*/ 545129 w 582413"/>
                <a:gd name="connsiteY148" fmla="*/ 226001 h 429014"/>
                <a:gd name="connsiteX149" fmla="*/ 537333 w 582413"/>
                <a:gd name="connsiteY149" fmla="*/ 229110 h 429014"/>
                <a:gd name="connsiteX150" fmla="*/ 533386 w 582413"/>
                <a:gd name="connsiteY150" fmla="*/ 232169 h 429014"/>
                <a:gd name="connsiteX151" fmla="*/ 523518 w 582413"/>
                <a:gd name="connsiteY151" fmla="*/ 236708 h 429014"/>
                <a:gd name="connsiteX152" fmla="*/ 519571 w 582413"/>
                <a:gd name="connsiteY152" fmla="*/ 245885 h 429014"/>
                <a:gd name="connsiteX153" fmla="*/ 513749 w 582413"/>
                <a:gd name="connsiteY153" fmla="*/ 252004 h 429014"/>
                <a:gd name="connsiteX154" fmla="*/ 513749 w 582413"/>
                <a:gd name="connsiteY154" fmla="*/ 255063 h 429014"/>
                <a:gd name="connsiteX155" fmla="*/ 509801 w 582413"/>
                <a:gd name="connsiteY155" fmla="*/ 261132 h 429014"/>
                <a:gd name="connsiteX156" fmla="*/ 502006 w 582413"/>
                <a:gd name="connsiteY156" fmla="*/ 261132 h 429014"/>
                <a:gd name="connsiteX157" fmla="*/ 498108 w 582413"/>
                <a:gd name="connsiteY157" fmla="*/ 271839 h 429014"/>
                <a:gd name="connsiteX158" fmla="*/ 482467 w 582413"/>
                <a:gd name="connsiteY158" fmla="*/ 291575 h 429014"/>
                <a:gd name="connsiteX159" fmla="*/ 470724 w 582413"/>
                <a:gd name="connsiteY159" fmla="*/ 302232 h 429014"/>
                <a:gd name="connsiteX160" fmla="*/ 468800 w 582413"/>
                <a:gd name="connsiteY160" fmla="*/ 309880 h 429014"/>
                <a:gd name="connsiteX161" fmla="*/ 462928 w 582413"/>
                <a:gd name="connsiteY161" fmla="*/ 312939 h 429014"/>
                <a:gd name="connsiteX162" fmla="*/ 455083 w 582413"/>
                <a:gd name="connsiteY162" fmla="*/ 320538 h 429014"/>
                <a:gd name="connsiteX163" fmla="*/ 451234 w 582413"/>
                <a:gd name="connsiteY163" fmla="*/ 320538 h 429014"/>
                <a:gd name="connsiteX164" fmla="*/ 449261 w 582413"/>
                <a:gd name="connsiteY164" fmla="*/ 322067 h 429014"/>
                <a:gd name="connsiteX165" fmla="*/ 412157 w 582413"/>
                <a:gd name="connsiteY165" fmla="*/ 354187 h 429014"/>
                <a:gd name="connsiteX166" fmla="*/ 408210 w 582413"/>
                <a:gd name="connsiteY166" fmla="*/ 355717 h 429014"/>
                <a:gd name="connsiteX167" fmla="*/ 408210 w 582413"/>
                <a:gd name="connsiteY167" fmla="*/ 357246 h 429014"/>
                <a:gd name="connsiteX168" fmla="*/ 402388 w 582413"/>
                <a:gd name="connsiteY168" fmla="*/ 361786 h 429014"/>
                <a:gd name="connsiteX169" fmla="*/ 376977 w 582413"/>
                <a:gd name="connsiteY169" fmla="*/ 377081 h 429014"/>
                <a:gd name="connsiteX170" fmla="*/ 373079 w 582413"/>
                <a:gd name="connsiteY170" fmla="*/ 381670 h 429014"/>
                <a:gd name="connsiteX171" fmla="*/ 365234 w 582413"/>
                <a:gd name="connsiteY171" fmla="*/ 383200 h 429014"/>
                <a:gd name="connsiteX172" fmla="*/ 365234 w 582413"/>
                <a:gd name="connsiteY172" fmla="*/ 384729 h 429014"/>
                <a:gd name="connsiteX173" fmla="*/ 349593 w 582413"/>
                <a:gd name="connsiteY173" fmla="*/ 387788 h 429014"/>
                <a:gd name="connsiteX174" fmla="*/ 341798 w 582413"/>
                <a:gd name="connsiteY174" fmla="*/ 392377 h 429014"/>
                <a:gd name="connsiteX175" fmla="*/ 334001 w 582413"/>
                <a:gd name="connsiteY175" fmla="*/ 392377 h 429014"/>
                <a:gd name="connsiteX176" fmla="*/ 330104 w 582413"/>
                <a:gd name="connsiteY176" fmla="*/ 390847 h 429014"/>
                <a:gd name="connsiteX177" fmla="*/ 318361 w 582413"/>
                <a:gd name="connsiteY177" fmla="*/ 390847 h 429014"/>
                <a:gd name="connsiteX178" fmla="*/ 310516 w 582413"/>
                <a:gd name="connsiteY178" fmla="*/ 392377 h 429014"/>
                <a:gd name="connsiteX179" fmla="*/ 306667 w 582413"/>
                <a:gd name="connsiteY179" fmla="*/ 398446 h 429014"/>
                <a:gd name="connsiteX180" fmla="*/ 310516 w 582413"/>
                <a:gd name="connsiteY180" fmla="*/ 403034 h 429014"/>
                <a:gd name="connsiteX181" fmla="*/ 310516 w 582413"/>
                <a:gd name="connsiteY181" fmla="*/ 404564 h 429014"/>
                <a:gd name="connsiteX182" fmla="*/ 298822 w 582413"/>
                <a:gd name="connsiteY182" fmla="*/ 404564 h 429014"/>
                <a:gd name="connsiteX183" fmla="*/ 292951 w 582413"/>
                <a:gd name="connsiteY183" fmla="*/ 401505 h 429014"/>
                <a:gd name="connsiteX184" fmla="*/ 285155 w 582413"/>
                <a:gd name="connsiteY184" fmla="*/ 401505 h 429014"/>
                <a:gd name="connsiteX185" fmla="*/ 279283 w 582413"/>
                <a:gd name="connsiteY185" fmla="*/ 406093 h 429014"/>
                <a:gd name="connsiteX186" fmla="*/ 281257 w 582413"/>
                <a:gd name="connsiteY186" fmla="*/ 409153 h 429014"/>
                <a:gd name="connsiteX187" fmla="*/ 279283 w 582413"/>
                <a:gd name="connsiteY187" fmla="*/ 410682 h 429014"/>
                <a:gd name="connsiteX188" fmla="*/ 263643 w 582413"/>
                <a:gd name="connsiteY188" fmla="*/ 407623 h 429014"/>
                <a:gd name="connsiteX189" fmla="*/ 259745 w 582413"/>
                <a:gd name="connsiteY189" fmla="*/ 404564 h 429014"/>
                <a:gd name="connsiteX190" fmla="*/ 242179 w 582413"/>
                <a:gd name="connsiteY190" fmla="*/ 401505 h 429014"/>
                <a:gd name="connsiteX191" fmla="*/ 230436 w 582413"/>
                <a:gd name="connsiteY191" fmla="*/ 403034 h 429014"/>
                <a:gd name="connsiteX192" fmla="*/ 230436 w 582413"/>
                <a:gd name="connsiteY192" fmla="*/ 406093 h 429014"/>
                <a:gd name="connsiteX193" fmla="*/ 226539 w 582413"/>
                <a:gd name="connsiteY193" fmla="*/ 407623 h 429014"/>
                <a:gd name="connsiteX194" fmla="*/ 216671 w 582413"/>
                <a:gd name="connsiteY194" fmla="*/ 403034 h 429014"/>
                <a:gd name="connsiteX195" fmla="*/ 196934 w 582413"/>
                <a:gd name="connsiteY195" fmla="*/ 403034 h 429014"/>
                <a:gd name="connsiteX196" fmla="*/ 193036 w 582413"/>
                <a:gd name="connsiteY196" fmla="*/ 406093 h 429014"/>
                <a:gd name="connsiteX197" fmla="*/ 191063 w 582413"/>
                <a:gd name="connsiteY197" fmla="*/ 410682 h 429014"/>
                <a:gd name="connsiteX198" fmla="*/ 185191 w 582413"/>
                <a:gd name="connsiteY198" fmla="*/ 409153 h 429014"/>
                <a:gd name="connsiteX199" fmla="*/ 181293 w 582413"/>
                <a:gd name="connsiteY199" fmla="*/ 410682 h 429014"/>
                <a:gd name="connsiteX200" fmla="*/ 177395 w 582413"/>
                <a:gd name="connsiteY200" fmla="*/ 412212 h 429014"/>
                <a:gd name="connsiteX201" fmla="*/ 175422 w 582413"/>
                <a:gd name="connsiteY201" fmla="*/ 415271 h 429014"/>
                <a:gd name="connsiteX202" fmla="*/ 167626 w 582413"/>
                <a:gd name="connsiteY202" fmla="*/ 415271 h 429014"/>
                <a:gd name="connsiteX203" fmla="*/ 161755 w 582413"/>
                <a:gd name="connsiteY203" fmla="*/ 416801 h 429014"/>
                <a:gd name="connsiteX204" fmla="*/ 150061 w 582413"/>
                <a:gd name="connsiteY204" fmla="*/ 413741 h 429014"/>
                <a:gd name="connsiteX205" fmla="*/ 142216 w 582413"/>
                <a:gd name="connsiteY205" fmla="*/ 415271 h 429014"/>
                <a:gd name="connsiteX206" fmla="*/ 140292 w 582413"/>
                <a:gd name="connsiteY206" fmla="*/ 416801 h 429014"/>
                <a:gd name="connsiteX207" fmla="*/ 132496 w 582413"/>
                <a:gd name="connsiteY207" fmla="*/ 415271 h 429014"/>
                <a:gd name="connsiteX208" fmla="*/ 124651 w 582413"/>
                <a:gd name="connsiteY208" fmla="*/ 422869 h 429014"/>
                <a:gd name="connsiteX209" fmla="*/ 116855 w 582413"/>
                <a:gd name="connsiteY209" fmla="*/ 422869 h 429014"/>
                <a:gd name="connsiteX210" fmla="*/ 114881 w 582413"/>
                <a:gd name="connsiteY210" fmla="*/ 428987 h 429014"/>
                <a:gd name="connsiteX211" fmla="*/ 110983 w 582413"/>
                <a:gd name="connsiteY211" fmla="*/ 427458 h 429014"/>
                <a:gd name="connsiteX212" fmla="*/ 107085 w 582413"/>
                <a:gd name="connsiteY212" fmla="*/ 428987 h 429014"/>
                <a:gd name="connsiteX213" fmla="*/ 91445 w 582413"/>
                <a:gd name="connsiteY213" fmla="*/ 421339 h 429014"/>
                <a:gd name="connsiteX214" fmla="*/ 87547 w 582413"/>
                <a:gd name="connsiteY214" fmla="*/ 422869 h 429014"/>
                <a:gd name="connsiteX215" fmla="*/ 87547 w 582413"/>
                <a:gd name="connsiteY215" fmla="*/ 415271 h 429014"/>
                <a:gd name="connsiteX216" fmla="*/ 77679 w 582413"/>
                <a:gd name="connsiteY216" fmla="*/ 413741 h 429014"/>
                <a:gd name="connsiteX217" fmla="*/ 73731 w 582413"/>
                <a:gd name="connsiteY217" fmla="*/ 415271 h 429014"/>
                <a:gd name="connsiteX218" fmla="*/ 69883 w 582413"/>
                <a:gd name="connsiteY218" fmla="*/ 413741 h 429014"/>
                <a:gd name="connsiteX219" fmla="*/ 73731 w 582413"/>
                <a:gd name="connsiteY219" fmla="*/ 412212 h 429014"/>
                <a:gd name="connsiteX220" fmla="*/ 71807 w 582413"/>
                <a:gd name="connsiteY220" fmla="*/ 406093 h 429014"/>
                <a:gd name="connsiteX221" fmla="*/ 64011 w 582413"/>
                <a:gd name="connsiteY221" fmla="*/ 404564 h 429014"/>
                <a:gd name="connsiteX222" fmla="*/ 58140 w 582413"/>
                <a:gd name="connsiteY222" fmla="*/ 409153 h 429014"/>
                <a:gd name="connsiteX223" fmla="*/ 58140 w 582413"/>
                <a:gd name="connsiteY223" fmla="*/ 413741 h 429014"/>
                <a:gd name="connsiteX224" fmla="*/ 54242 w 582413"/>
                <a:gd name="connsiteY224" fmla="*/ 412212 h 429014"/>
                <a:gd name="connsiteX225" fmla="*/ 54242 w 582413"/>
                <a:gd name="connsiteY225" fmla="*/ 406093 h 429014"/>
                <a:gd name="connsiteX226" fmla="*/ 56166 w 582413"/>
                <a:gd name="connsiteY226" fmla="*/ 398446 h 429014"/>
                <a:gd name="connsiteX227" fmla="*/ 54883 w 582413"/>
                <a:gd name="connsiteY227" fmla="*/ 392476 h 429014"/>
                <a:gd name="connsiteX228" fmla="*/ 58781 w 582413"/>
                <a:gd name="connsiteY228" fmla="*/ 384828 h 429014"/>
                <a:gd name="connsiteX229" fmla="*/ 50936 w 582413"/>
                <a:gd name="connsiteY229" fmla="*/ 375650 h 429014"/>
                <a:gd name="connsiteX230" fmla="*/ 45114 w 582413"/>
                <a:gd name="connsiteY230" fmla="*/ 369532 h 429014"/>
                <a:gd name="connsiteX231" fmla="*/ 41167 w 582413"/>
                <a:gd name="connsiteY231" fmla="*/ 361885 h 429014"/>
                <a:gd name="connsiteX232" fmla="*/ 41167 w 582413"/>
                <a:gd name="connsiteY232" fmla="*/ 354286 h 429014"/>
                <a:gd name="connsiteX233" fmla="*/ 43140 w 582413"/>
                <a:gd name="connsiteY233" fmla="*/ 351227 h 429014"/>
                <a:gd name="connsiteX234" fmla="*/ 47038 w 582413"/>
                <a:gd name="connsiteY234" fmla="*/ 354286 h 429014"/>
                <a:gd name="connsiteX235" fmla="*/ 50936 w 582413"/>
                <a:gd name="connsiteY235" fmla="*/ 354286 h 429014"/>
                <a:gd name="connsiteX236" fmla="*/ 56808 w 582413"/>
                <a:gd name="connsiteY236" fmla="*/ 351227 h 429014"/>
                <a:gd name="connsiteX237" fmla="*/ 58781 w 582413"/>
                <a:gd name="connsiteY237" fmla="*/ 340520 h 429014"/>
                <a:gd name="connsiteX238" fmla="*/ 54883 w 582413"/>
                <a:gd name="connsiteY238" fmla="*/ 329814 h 429014"/>
                <a:gd name="connsiteX239" fmla="*/ 54883 w 582413"/>
                <a:gd name="connsiteY239" fmla="*/ 326754 h 429014"/>
                <a:gd name="connsiteX240" fmla="*/ 43140 w 582413"/>
                <a:gd name="connsiteY240" fmla="*/ 309979 h 429014"/>
                <a:gd name="connsiteX241" fmla="*/ 43140 w 582413"/>
                <a:gd name="connsiteY241" fmla="*/ 303860 h 429014"/>
                <a:gd name="connsiteX242" fmla="*/ 33272 w 582413"/>
                <a:gd name="connsiteY242" fmla="*/ 291673 h 429014"/>
                <a:gd name="connsiteX243" fmla="*/ 29374 w 582413"/>
                <a:gd name="connsiteY243" fmla="*/ 274848 h 429014"/>
                <a:gd name="connsiteX244" fmla="*/ 21579 w 582413"/>
                <a:gd name="connsiteY244" fmla="*/ 258023 h 429014"/>
                <a:gd name="connsiteX245" fmla="*/ 23503 w 582413"/>
                <a:gd name="connsiteY245" fmla="*/ 248895 h 429014"/>
                <a:gd name="connsiteX246" fmla="*/ 13635 w 582413"/>
                <a:gd name="connsiteY246" fmla="*/ 229159 h 429014"/>
                <a:gd name="connsiteX247" fmla="*/ 1892 w 582413"/>
                <a:gd name="connsiteY247" fmla="*/ 222992 h 429014"/>
                <a:gd name="connsiteX248" fmla="*/ -32 w 582413"/>
                <a:gd name="connsiteY248" fmla="*/ 212334 h 429014"/>
                <a:gd name="connsiteX249" fmla="*/ 382799 w 582413"/>
                <a:gd name="connsiteY249" fmla="*/ 273417 h 429014"/>
                <a:gd name="connsiteX250" fmla="*/ 388671 w 582413"/>
                <a:gd name="connsiteY250" fmla="*/ 276476 h 429014"/>
                <a:gd name="connsiteX251" fmla="*/ 392618 w 582413"/>
                <a:gd name="connsiteY251" fmla="*/ 281065 h 429014"/>
                <a:gd name="connsiteX252" fmla="*/ 402486 w 582413"/>
                <a:gd name="connsiteY252" fmla="*/ 284124 h 429014"/>
                <a:gd name="connsiteX253" fmla="*/ 408308 w 582413"/>
                <a:gd name="connsiteY253" fmla="*/ 284124 h 429014"/>
                <a:gd name="connsiteX254" fmla="*/ 410282 w 582413"/>
                <a:gd name="connsiteY254" fmla="*/ 281065 h 429014"/>
                <a:gd name="connsiteX255" fmla="*/ 412256 w 582413"/>
                <a:gd name="connsiteY255" fmla="*/ 278006 h 429014"/>
                <a:gd name="connsiteX256" fmla="*/ 414180 w 582413"/>
                <a:gd name="connsiteY256" fmla="*/ 270358 h 429014"/>
                <a:gd name="connsiteX257" fmla="*/ 420051 w 582413"/>
                <a:gd name="connsiteY257" fmla="*/ 268829 h 429014"/>
                <a:gd name="connsiteX258" fmla="*/ 425923 w 582413"/>
                <a:gd name="connsiteY258" fmla="*/ 265770 h 429014"/>
                <a:gd name="connsiteX259" fmla="*/ 433719 w 582413"/>
                <a:gd name="connsiteY259" fmla="*/ 264240 h 429014"/>
                <a:gd name="connsiteX260" fmla="*/ 437616 w 582413"/>
                <a:gd name="connsiteY260" fmla="*/ 265770 h 429014"/>
                <a:gd name="connsiteX261" fmla="*/ 443488 w 582413"/>
                <a:gd name="connsiteY261" fmla="*/ 262710 h 429014"/>
                <a:gd name="connsiteX262" fmla="*/ 445462 w 582413"/>
                <a:gd name="connsiteY262" fmla="*/ 256592 h 429014"/>
                <a:gd name="connsiteX263" fmla="*/ 441564 w 582413"/>
                <a:gd name="connsiteY263" fmla="*/ 255112 h 429014"/>
                <a:gd name="connsiteX264" fmla="*/ 441564 w 582413"/>
                <a:gd name="connsiteY264" fmla="*/ 252053 h 429014"/>
                <a:gd name="connsiteX265" fmla="*/ 447386 w 582413"/>
                <a:gd name="connsiteY265" fmla="*/ 248994 h 429014"/>
                <a:gd name="connsiteX266" fmla="*/ 453257 w 582413"/>
                <a:gd name="connsiteY266" fmla="*/ 244405 h 429014"/>
                <a:gd name="connsiteX267" fmla="*/ 453257 w 582413"/>
                <a:gd name="connsiteY267" fmla="*/ 235228 h 429014"/>
                <a:gd name="connsiteX268" fmla="*/ 447386 w 582413"/>
                <a:gd name="connsiteY268" fmla="*/ 224521 h 429014"/>
                <a:gd name="connsiteX269" fmla="*/ 439738 w 582413"/>
                <a:gd name="connsiteY269" fmla="*/ 219784 h 429014"/>
                <a:gd name="connsiteX270" fmla="*/ 435840 w 582413"/>
                <a:gd name="connsiteY270" fmla="*/ 221314 h 429014"/>
                <a:gd name="connsiteX271" fmla="*/ 429969 w 582413"/>
                <a:gd name="connsiteY271" fmla="*/ 218255 h 429014"/>
                <a:gd name="connsiteX272" fmla="*/ 426071 w 582413"/>
                <a:gd name="connsiteY272" fmla="*/ 218255 h 429014"/>
                <a:gd name="connsiteX273" fmla="*/ 422124 w 582413"/>
                <a:gd name="connsiteY273" fmla="*/ 216725 h 429014"/>
                <a:gd name="connsiteX274" fmla="*/ 418275 w 582413"/>
                <a:gd name="connsiteY274" fmla="*/ 216725 h 429014"/>
                <a:gd name="connsiteX275" fmla="*/ 416301 w 582413"/>
                <a:gd name="connsiteY275" fmla="*/ 219784 h 429014"/>
                <a:gd name="connsiteX276" fmla="*/ 412403 w 582413"/>
                <a:gd name="connsiteY276" fmla="*/ 221314 h 429014"/>
                <a:gd name="connsiteX277" fmla="*/ 410430 w 582413"/>
                <a:gd name="connsiteY277" fmla="*/ 224373 h 429014"/>
                <a:gd name="connsiteX278" fmla="*/ 396763 w 582413"/>
                <a:gd name="connsiteY278" fmla="*/ 225902 h 429014"/>
                <a:gd name="connsiteX279" fmla="*/ 386895 w 582413"/>
                <a:gd name="connsiteY279" fmla="*/ 232070 h 429014"/>
                <a:gd name="connsiteX280" fmla="*/ 384921 w 582413"/>
                <a:gd name="connsiteY280" fmla="*/ 241198 h 429014"/>
                <a:gd name="connsiteX281" fmla="*/ 375053 w 582413"/>
                <a:gd name="connsiteY281" fmla="*/ 247316 h 429014"/>
                <a:gd name="connsiteX282" fmla="*/ 371155 w 582413"/>
                <a:gd name="connsiteY282" fmla="*/ 250375 h 429014"/>
                <a:gd name="connsiteX283" fmla="*/ 373129 w 582413"/>
                <a:gd name="connsiteY283" fmla="*/ 254964 h 429014"/>
                <a:gd name="connsiteX284" fmla="*/ 377027 w 582413"/>
                <a:gd name="connsiteY284" fmla="*/ 257974 h 429014"/>
                <a:gd name="connsiteX285" fmla="*/ 379000 w 582413"/>
                <a:gd name="connsiteY285" fmla="*/ 261033 h 429014"/>
                <a:gd name="connsiteX286" fmla="*/ 382849 w 582413"/>
                <a:gd name="connsiteY286" fmla="*/ 265621 h 429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</a:cxnLst>
              <a:rect l="l" t="t" r="r" b="b"/>
              <a:pathLst>
                <a:path w="582413" h="429014">
                  <a:moveTo>
                    <a:pt x="-82" y="212334"/>
                  </a:moveTo>
                  <a:lnTo>
                    <a:pt x="5790" y="209275"/>
                  </a:lnTo>
                  <a:lnTo>
                    <a:pt x="11661" y="207745"/>
                  </a:lnTo>
                  <a:lnTo>
                    <a:pt x="11661" y="204686"/>
                  </a:lnTo>
                  <a:lnTo>
                    <a:pt x="9687" y="203157"/>
                  </a:lnTo>
                  <a:lnTo>
                    <a:pt x="13586" y="197038"/>
                  </a:lnTo>
                  <a:lnTo>
                    <a:pt x="23454" y="194029"/>
                  </a:lnTo>
                  <a:lnTo>
                    <a:pt x="27352" y="200098"/>
                  </a:lnTo>
                  <a:lnTo>
                    <a:pt x="35197" y="201627"/>
                  </a:lnTo>
                  <a:lnTo>
                    <a:pt x="31299" y="207745"/>
                  </a:lnTo>
                  <a:lnTo>
                    <a:pt x="37170" y="216873"/>
                  </a:lnTo>
                  <a:lnTo>
                    <a:pt x="47038" y="219932"/>
                  </a:lnTo>
                  <a:lnTo>
                    <a:pt x="56906" y="222992"/>
                  </a:lnTo>
                  <a:lnTo>
                    <a:pt x="62778" y="221462"/>
                  </a:lnTo>
                  <a:lnTo>
                    <a:pt x="66676" y="222992"/>
                  </a:lnTo>
                  <a:lnTo>
                    <a:pt x="72547" y="224521"/>
                  </a:lnTo>
                  <a:lnTo>
                    <a:pt x="74471" y="221462"/>
                  </a:lnTo>
                  <a:lnTo>
                    <a:pt x="80343" y="221462"/>
                  </a:lnTo>
                  <a:lnTo>
                    <a:pt x="82317" y="226051"/>
                  </a:lnTo>
                  <a:lnTo>
                    <a:pt x="88188" y="224521"/>
                  </a:lnTo>
                  <a:lnTo>
                    <a:pt x="94059" y="226051"/>
                  </a:lnTo>
                  <a:lnTo>
                    <a:pt x="94059" y="219784"/>
                  </a:lnTo>
                  <a:lnTo>
                    <a:pt x="95984" y="216725"/>
                  </a:lnTo>
                  <a:lnTo>
                    <a:pt x="99931" y="215196"/>
                  </a:lnTo>
                  <a:lnTo>
                    <a:pt x="103780" y="209127"/>
                  </a:lnTo>
                  <a:lnTo>
                    <a:pt x="113648" y="204538"/>
                  </a:lnTo>
                  <a:lnTo>
                    <a:pt x="128894" y="204538"/>
                  </a:lnTo>
                  <a:lnTo>
                    <a:pt x="132841" y="93029"/>
                  </a:lnTo>
                  <a:lnTo>
                    <a:pt x="144535" y="100677"/>
                  </a:lnTo>
                  <a:lnTo>
                    <a:pt x="148482" y="109854"/>
                  </a:lnTo>
                  <a:lnTo>
                    <a:pt x="158350" y="126679"/>
                  </a:lnTo>
                  <a:lnTo>
                    <a:pt x="158350" y="135906"/>
                  </a:lnTo>
                  <a:lnTo>
                    <a:pt x="152479" y="145083"/>
                  </a:lnTo>
                  <a:lnTo>
                    <a:pt x="150554" y="151201"/>
                  </a:lnTo>
                  <a:lnTo>
                    <a:pt x="162248" y="149672"/>
                  </a:lnTo>
                  <a:lnTo>
                    <a:pt x="172116" y="151201"/>
                  </a:lnTo>
                  <a:lnTo>
                    <a:pt x="175965" y="149672"/>
                  </a:lnTo>
                  <a:lnTo>
                    <a:pt x="185833" y="149672"/>
                  </a:lnTo>
                  <a:lnTo>
                    <a:pt x="191704" y="146612"/>
                  </a:lnTo>
                  <a:lnTo>
                    <a:pt x="199549" y="145083"/>
                  </a:lnTo>
                  <a:lnTo>
                    <a:pt x="205421" y="140494"/>
                  </a:lnTo>
                  <a:lnTo>
                    <a:pt x="209270" y="137435"/>
                  </a:lnTo>
                  <a:lnTo>
                    <a:pt x="219138" y="132847"/>
                  </a:lnTo>
                  <a:lnTo>
                    <a:pt x="226933" y="126778"/>
                  </a:lnTo>
                  <a:lnTo>
                    <a:pt x="232805" y="114492"/>
                  </a:lnTo>
                  <a:lnTo>
                    <a:pt x="242673" y="106894"/>
                  </a:lnTo>
                  <a:lnTo>
                    <a:pt x="250469" y="105364"/>
                  </a:lnTo>
                  <a:lnTo>
                    <a:pt x="264136" y="106894"/>
                  </a:lnTo>
                  <a:lnTo>
                    <a:pt x="268083" y="112962"/>
                  </a:lnTo>
                  <a:lnTo>
                    <a:pt x="271981" y="112962"/>
                  </a:lnTo>
                  <a:lnTo>
                    <a:pt x="283724" y="119081"/>
                  </a:lnTo>
                  <a:lnTo>
                    <a:pt x="289546" y="117551"/>
                  </a:lnTo>
                  <a:lnTo>
                    <a:pt x="297342" y="119081"/>
                  </a:lnTo>
                  <a:lnTo>
                    <a:pt x="303213" y="117551"/>
                  </a:lnTo>
                  <a:lnTo>
                    <a:pt x="316387" y="117551"/>
                  </a:lnTo>
                  <a:lnTo>
                    <a:pt x="320236" y="120610"/>
                  </a:lnTo>
                  <a:lnTo>
                    <a:pt x="324183" y="122189"/>
                  </a:lnTo>
                  <a:lnTo>
                    <a:pt x="334051" y="117551"/>
                  </a:lnTo>
                  <a:lnTo>
                    <a:pt x="332078" y="116021"/>
                  </a:lnTo>
                  <a:lnTo>
                    <a:pt x="334051" y="109953"/>
                  </a:lnTo>
                  <a:lnTo>
                    <a:pt x="334051" y="105364"/>
                  </a:lnTo>
                  <a:lnTo>
                    <a:pt x="335975" y="102305"/>
                  </a:lnTo>
                  <a:lnTo>
                    <a:pt x="335975" y="94657"/>
                  </a:lnTo>
                  <a:lnTo>
                    <a:pt x="337949" y="90118"/>
                  </a:lnTo>
                  <a:lnTo>
                    <a:pt x="345794" y="88588"/>
                  </a:lnTo>
                  <a:lnTo>
                    <a:pt x="349643" y="85529"/>
                  </a:lnTo>
                  <a:lnTo>
                    <a:pt x="355563" y="85529"/>
                  </a:lnTo>
                  <a:lnTo>
                    <a:pt x="357488" y="82470"/>
                  </a:lnTo>
                  <a:lnTo>
                    <a:pt x="361386" y="79411"/>
                  </a:lnTo>
                  <a:lnTo>
                    <a:pt x="363359" y="76352"/>
                  </a:lnTo>
                  <a:lnTo>
                    <a:pt x="367257" y="71763"/>
                  </a:lnTo>
                  <a:lnTo>
                    <a:pt x="371155" y="71763"/>
                  </a:lnTo>
                  <a:lnTo>
                    <a:pt x="373129" y="68704"/>
                  </a:lnTo>
                  <a:lnTo>
                    <a:pt x="379000" y="68704"/>
                  </a:lnTo>
                  <a:lnTo>
                    <a:pt x="379000" y="64116"/>
                  </a:lnTo>
                  <a:lnTo>
                    <a:pt x="377027" y="61056"/>
                  </a:lnTo>
                  <a:lnTo>
                    <a:pt x="377027" y="52027"/>
                  </a:lnTo>
                  <a:lnTo>
                    <a:pt x="386895" y="42899"/>
                  </a:lnTo>
                  <a:lnTo>
                    <a:pt x="390792" y="39840"/>
                  </a:lnTo>
                  <a:lnTo>
                    <a:pt x="396664" y="39840"/>
                  </a:lnTo>
                  <a:lnTo>
                    <a:pt x="400562" y="36781"/>
                  </a:lnTo>
                  <a:lnTo>
                    <a:pt x="404460" y="35251"/>
                  </a:lnTo>
                  <a:lnTo>
                    <a:pt x="406433" y="32192"/>
                  </a:lnTo>
                  <a:lnTo>
                    <a:pt x="410331" y="30663"/>
                  </a:lnTo>
                  <a:lnTo>
                    <a:pt x="414229" y="26123"/>
                  </a:lnTo>
                  <a:lnTo>
                    <a:pt x="420101" y="20005"/>
                  </a:lnTo>
                  <a:lnTo>
                    <a:pt x="429969" y="20005"/>
                  </a:lnTo>
                  <a:lnTo>
                    <a:pt x="431893" y="21535"/>
                  </a:lnTo>
                  <a:lnTo>
                    <a:pt x="435840" y="20005"/>
                  </a:lnTo>
                  <a:lnTo>
                    <a:pt x="439738" y="20005"/>
                  </a:lnTo>
                  <a:lnTo>
                    <a:pt x="445609" y="16946"/>
                  </a:lnTo>
                  <a:lnTo>
                    <a:pt x="449507" y="15417"/>
                  </a:lnTo>
                  <a:lnTo>
                    <a:pt x="451481" y="10779"/>
                  </a:lnTo>
                  <a:lnTo>
                    <a:pt x="451481" y="7621"/>
                  </a:lnTo>
                  <a:lnTo>
                    <a:pt x="455330" y="4562"/>
                  </a:lnTo>
                  <a:lnTo>
                    <a:pt x="463175" y="4562"/>
                  </a:lnTo>
                  <a:lnTo>
                    <a:pt x="465149" y="3032"/>
                  </a:lnTo>
                  <a:lnTo>
                    <a:pt x="480789" y="-27"/>
                  </a:lnTo>
                  <a:lnTo>
                    <a:pt x="488585" y="-27"/>
                  </a:lnTo>
                  <a:lnTo>
                    <a:pt x="492483" y="6091"/>
                  </a:lnTo>
                  <a:lnTo>
                    <a:pt x="498354" y="6091"/>
                  </a:lnTo>
                  <a:lnTo>
                    <a:pt x="506150" y="9150"/>
                  </a:lnTo>
                  <a:lnTo>
                    <a:pt x="508124" y="10630"/>
                  </a:lnTo>
                  <a:lnTo>
                    <a:pt x="513996" y="9150"/>
                  </a:lnTo>
                  <a:lnTo>
                    <a:pt x="521791" y="7621"/>
                  </a:lnTo>
                  <a:lnTo>
                    <a:pt x="535459" y="9150"/>
                  </a:lnTo>
                  <a:lnTo>
                    <a:pt x="541330" y="13739"/>
                  </a:lnTo>
                  <a:lnTo>
                    <a:pt x="543254" y="22916"/>
                  </a:lnTo>
                  <a:lnTo>
                    <a:pt x="545228" y="32044"/>
                  </a:lnTo>
                  <a:lnTo>
                    <a:pt x="551099" y="38162"/>
                  </a:lnTo>
                  <a:lnTo>
                    <a:pt x="551099" y="52027"/>
                  </a:lnTo>
                  <a:lnTo>
                    <a:pt x="549126" y="53557"/>
                  </a:lnTo>
                  <a:lnTo>
                    <a:pt x="549126" y="61204"/>
                  </a:lnTo>
                  <a:lnTo>
                    <a:pt x="553073" y="67322"/>
                  </a:lnTo>
                  <a:lnTo>
                    <a:pt x="554997" y="73441"/>
                  </a:lnTo>
                  <a:lnTo>
                    <a:pt x="554997" y="97864"/>
                  </a:lnTo>
                  <a:lnTo>
                    <a:pt x="551099" y="107042"/>
                  </a:lnTo>
                  <a:lnTo>
                    <a:pt x="551099" y="126778"/>
                  </a:lnTo>
                  <a:lnTo>
                    <a:pt x="545228" y="125248"/>
                  </a:lnTo>
                  <a:lnTo>
                    <a:pt x="539356" y="120610"/>
                  </a:lnTo>
                  <a:lnTo>
                    <a:pt x="531560" y="116021"/>
                  </a:lnTo>
                  <a:lnTo>
                    <a:pt x="523765" y="119081"/>
                  </a:lnTo>
                  <a:lnTo>
                    <a:pt x="521791" y="125248"/>
                  </a:lnTo>
                  <a:lnTo>
                    <a:pt x="513996" y="138965"/>
                  </a:lnTo>
                  <a:lnTo>
                    <a:pt x="510048" y="146612"/>
                  </a:lnTo>
                  <a:lnTo>
                    <a:pt x="512022" y="149672"/>
                  </a:lnTo>
                  <a:lnTo>
                    <a:pt x="515919" y="152731"/>
                  </a:lnTo>
                  <a:lnTo>
                    <a:pt x="519817" y="158800"/>
                  </a:lnTo>
                  <a:lnTo>
                    <a:pt x="533485" y="166447"/>
                  </a:lnTo>
                  <a:lnTo>
                    <a:pt x="547202" y="166447"/>
                  </a:lnTo>
                  <a:lnTo>
                    <a:pt x="551099" y="164918"/>
                  </a:lnTo>
                  <a:lnTo>
                    <a:pt x="553073" y="158800"/>
                  </a:lnTo>
                  <a:lnTo>
                    <a:pt x="553073" y="154211"/>
                  </a:lnTo>
                  <a:lnTo>
                    <a:pt x="556921" y="151201"/>
                  </a:lnTo>
                  <a:lnTo>
                    <a:pt x="562842" y="149672"/>
                  </a:lnTo>
                  <a:lnTo>
                    <a:pt x="576509" y="152731"/>
                  </a:lnTo>
                  <a:lnTo>
                    <a:pt x="582332" y="152731"/>
                  </a:lnTo>
                  <a:lnTo>
                    <a:pt x="582332" y="154211"/>
                  </a:lnTo>
                  <a:lnTo>
                    <a:pt x="578434" y="158800"/>
                  </a:lnTo>
                  <a:lnTo>
                    <a:pt x="580407" y="158800"/>
                  </a:lnTo>
                  <a:lnTo>
                    <a:pt x="576509" y="171036"/>
                  </a:lnTo>
                  <a:lnTo>
                    <a:pt x="574536" y="180213"/>
                  </a:lnTo>
                  <a:lnTo>
                    <a:pt x="570638" y="190920"/>
                  </a:lnTo>
                  <a:lnTo>
                    <a:pt x="566691" y="201578"/>
                  </a:lnTo>
                  <a:lnTo>
                    <a:pt x="560869" y="207696"/>
                  </a:lnTo>
                  <a:lnTo>
                    <a:pt x="558895" y="212284"/>
                  </a:lnTo>
                  <a:lnTo>
                    <a:pt x="549027" y="222942"/>
                  </a:lnTo>
                  <a:lnTo>
                    <a:pt x="547103" y="222942"/>
                  </a:lnTo>
                  <a:lnTo>
                    <a:pt x="545129" y="226001"/>
                  </a:lnTo>
                  <a:lnTo>
                    <a:pt x="537333" y="229110"/>
                  </a:lnTo>
                  <a:lnTo>
                    <a:pt x="533386" y="232169"/>
                  </a:lnTo>
                  <a:lnTo>
                    <a:pt x="523518" y="236708"/>
                  </a:lnTo>
                  <a:lnTo>
                    <a:pt x="519571" y="245885"/>
                  </a:lnTo>
                  <a:lnTo>
                    <a:pt x="513749" y="252004"/>
                  </a:lnTo>
                  <a:lnTo>
                    <a:pt x="513749" y="255063"/>
                  </a:lnTo>
                  <a:lnTo>
                    <a:pt x="509801" y="261132"/>
                  </a:lnTo>
                  <a:lnTo>
                    <a:pt x="502006" y="261132"/>
                  </a:lnTo>
                  <a:lnTo>
                    <a:pt x="498108" y="271839"/>
                  </a:lnTo>
                  <a:lnTo>
                    <a:pt x="482467" y="291575"/>
                  </a:lnTo>
                  <a:lnTo>
                    <a:pt x="470724" y="302232"/>
                  </a:lnTo>
                  <a:lnTo>
                    <a:pt x="468800" y="309880"/>
                  </a:lnTo>
                  <a:lnTo>
                    <a:pt x="462928" y="312939"/>
                  </a:lnTo>
                  <a:lnTo>
                    <a:pt x="455083" y="320538"/>
                  </a:lnTo>
                  <a:lnTo>
                    <a:pt x="451234" y="320538"/>
                  </a:lnTo>
                  <a:lnTo>
                    <a:pt x="449261" y="322067"/>
                  </a:lnTo>
                  <a:lnTo>
                    <a:pt x="412157" y="354187"/>
                  </a:lnTo>
                  <a:lnTo>
                    <a:pt x="408210" y="355717"/>
                  </a:lnTo>
                  <a:lnTo>
                    <a:pt x="408210" y="357246"/>
                  </a:lnTo>
                  <a:lnTo>
                    <a:pt x="402388" y="361786"/>
                  </a:lnTo>
                  <a:lnTo>
                    <a:pt x="376977" y="377081"/>
                  </a:lnTo>
                  <a:lnTo>
                    <a:pt x="373079" y="381670"/>
                  </a:lnTo>
                  <a:lnTo>
                    <a:pt x="365234" y="383200"/>
                  </a:lnTo>
                  <a:lnTo>
                    <a:pt x="365234" y="384729"/>
                  </a:lnTo>
                  <a:lnTo>
                    <a:pt x="349593" y="387788"/>
                  </a:lnTo>
                  <a:lnTo>
                    <a:pt x="341798" y="392377"/>
                  </a:lnTo>
                  <a:lnTo>
                    <a:pt x="334001" y="392377"/>
                  </a:lnTo>
                  <a:lnTo>
                    <a:pt x="330104" y="390847"/>
                  </a:lnTo>
                  <a:lnTo>
                    <a:pt x="318361" y="390847"/>
                  </a:lnTo>
                  <a:lnTo>
                    <a:pt x="310516" y="392377"/>
                  </a:lnTo>
                  <a:lnTo>
                    <a:pt x="306667" y="398446"/>
                  </a:lnTo>
                  <a:lnTo>
                    <a:pt x="310516" y="403034"/>
                  </a:lnTo>
                  <a:lnTo>
                    <a:pt x="310516" y="404564"/>
                  </a:lnTo>
                  <a:lnTo>
                    <a:pt x="298822" y="404564"/>
                  </a:lnTo>
                  <a:lnTo>
                    <a:pt x="292951" y="401505"/>
                  </a:lnTo>
                  <a:lnTo>
                    <a:pt x="285155" y="401505"/>
                  </a:lnTo>
                  <a:lnTo>
                    <a:pt x="279283" y="406093"/>
                  </a:lnTo>
                  <a:lnTo>
                    <a:pt x="281257" y="409153"/>
                  </a:lnTo>
                  <a:lnTo>
                    <a:pt x="279283" y="410682"/>
                  </a:lnTo>
                  <a:lnTo>
                    <a:pt x="263643" y="407623"/>
                  </a:lnTo>
                  <a:lnTo>
                    <a:pt x="259745" y="404564"/>
                  </a:lnTo>
                  <a:lnTo>
                    <a:pt x="242179" y="401505"/>
                  </a:lnTo>
                  <a:lnTo>
                    <a:pt x="230436" y="403034"/>
                  </a:lnTo>
                  <a:lnTo>
                    <a:pt x="230436" y="406093"/>
                  </a:lnTo>
                  <a:lnTo>
                    <a:pt x="226539" y="407623"/>
                  </a:lnTo>
                  <a:lnTo>
                    <a:pt x="216671" y="403034"/>
                  </a:lnTo>
                  <a:lnTo>
                    <a:pt x="196934" y="403034"/>
                  </a:lnTo>
                  <a:lnTo>
                    <a:pt x="193036" y="406093"/>
                  </a:lnTo>
                  <a:lnTo>
                    <a:pt x="191063" y="410682"/>
                  </a:lnTo>
                  <a:lnTo>
                    <a:pt x="185191" y="409153"/>
                  </a:lnTo>
                  <a:lnTo>
                    <a:pt x="181293" y="410682"/>
                  </a:lnTo>
                  <a:lnTo>
                    <a:pt x="177395" y="412212"/>
                  </a:lnTo>
                  <a:lnTo>
                    <a:pt x="175422" y="415271"/>
                  </a:lnTo>
                  <a:lnTo>
                    <a:pt x="167626" y="415271"/>
                  </a:lnTo>
                  <a:lnTo>
                    <a:pt x="161755" y="416801"/>
                  </a:lnTo>
                  <a:lnTo>
                    <a:pt x="150061" y="413741"/>
                  </a:lnTo>
                  <a:lnTo>
                    <a:pt x="142216" y="415271"/>
                  </a:lnTo>
                  <a:lnTo>
                    <a:pt x="140292" y="416801"/>
                  </a:lnTo>
                  <a:lnTo>
                    <a:pt x="132496" y="415271"/>
                  </a:lnTo>
                  <a:lnTo>
                    <a:pt x="124651" y="422869"/>
                  </a:lnTo>
                  <a:lnTo>
                    <a:pt x="116855" y="422869"/>
                  </a:lnTo>
                  <a:lnTo>
                    <a:pt x="114881" y="428987"/>
                  </a:lnTo>
                  <a:lnTo>
                    <a:pt x="110983" y="427458"/>
                  </a:lnTo>
                  <a:lnTo>
                    <a:pt x="107085" y="428987"/>
                  </a:lnTo>
                  <a:lnTo>
                    <a:pt x="91445" y="421339"/>
                  </a:lnTo>
                  <a:lnTo>
                    <a:pt x="87547" y="422869"/>
                  </a:lnTo>
                  <a:lnTo>
                    <a:pt x="87547" y="415271"/>
                  </a:lnTo>
                  <a:lnTo>
                    <a:pt x="77679" y="413741"/>
                  </a:lnTo>
                  <a:lnTo>
                    <a:pt x="73731" y="415271"/>
                  </a:lnTo>
                  <a:lnTo>
                    <a:pt x="69883" y="413741"/>
                  </a:lnTo>
                  <a:lnTo>
                    <a:pt x="73731" y="412212"/>
                  </a:lnTo>
                  <a:lnTo>
                    <a:pt x="71807" y="406093"/>
                  </a:lnTo>
                  <a:lnTo>
                    <a:pt x="64011" y="404564"/>
                  </a:lnTo>
                  <a:lnTo>
                    <a:pt x="58140" y="409153"/>
                  </a:lnTo>
                  <a:lnTo>
                    <a:pt x="58140" y="413741"/>
                  </a:lnTo>
                  <a:lnTo>
                    <a:pt x="54242" y="412212"/>
                  </a:lnTo>
                  <a:lnTo>
                    <a:pt x="54242" y="406093"/>
                  </a:lnTo>
                  <a:lnTo>
                    <a:pt x="56166" y="398446"/>
                  </a:lnTo>
                  <a:lnTo>
                    <a:pt x="54883" y="392476"/>
                  </a:lnTo>
                  <a:lnTo>
                    <a:pt x="58781" y="384828"/>
                  </a:lnTo>
                  <a:lnTo>
                    <a:pt x="50936" y="375650"/>
                  </a:lnTo>
                  <a:lnTo>
                    <a:pt x="45114" y="369532"/>
                  </a:lnTo>
                  <a:lnTo>
                    <a:pt x="41167" y="361885"/>
                  </a:lnTo>
                  <a:lnTo>
                    <a:pt x="41167" y="354286"/>
                  </a:lnTo>
                  <a:lnTo>
                    <a:pt x="43140" y="351227"/>
                  </a:lnTo>
                  <a:lnTo>
                    <a:pt x="47038" y="354286"/>
                  </a:lnTo>
                  <a:lnTo>
                    <a:pt x="50936" y="354286"/>
                  </a:lnTo>
                  <a:lnTo>
                    <a:pt x="56808" y="351227"/>
                  </a:lnTo>
                  <a:lnTo>
                    <a:pt x="58781" y="340520"/>
                  </a:lnTo>
                  <a:lnTo>
                    <a:pt x="54883" y="329814"/>
                  </a:lnTo>
                  <a:lnTo>
                    <a:pt x="54883" y="326754"/>
                  </a:lnTo>
                  <a:lnTo>
                    <a:pt x="43140" y="309979"/>
                  </a:lnTo>
                  <a:lnTo>
                    <a:pt x="43140" y="303860"/>
                  </a:lnTo>
                  <a:lnTo>
                    <a:pt x="33272" y="291673"/>
                  </a:lnTo>
                  <a:lnTo>
                    <a:pt x="29374" y="274848"/>
                  </a:lnTo>
                  <a:lnTo>
                    <a:pt x="21579" y="258023"/>
                  </a:lnTo>
                  <a:lnTo>
                    <a:pt x="23503" y="248895"/>
                  </a:lnTo>
                  <a:lnTo>
                    <a:pt x="13635" y="229159"/>
                  </a:lnTo>
                  <a:lnTo>
                    <a:pt x="1892" y="222992"/>
                  </a:lnTo>
                  <a:lnTo>
                    <a:pt x="-32" y="212334"/>
                  </a:lnTo>
                  <a:close/>
                  <a:moveTo>
                    <a:pt x="382799" y="273417"/>
                  </a:moveTo>
                  <a:lnTo>
                    <a:pt x="388671" y="276476"/>
                  </a:lnTo>
                  <a:lnTo>
                    <a:pt x="392618" y="281065"/>
                  </a:lnTo>
                  <a:lnTo>
                    <a:pt x="402486" y="284124"/>
                  </a:lnTo>
                  <a:lnTo>
                    <a:pt x="408308" y="284124"/>
                  </a:lnTo>
                  <a:lnTo>
                    <a:pt x="410282" y="281065"/>
                  </a:lnTo>
                  <a:lnTo>
                    <a:pt x="412256" y="278006"/>
                  </a:lnTo>
                  <a:lnTo>
                    <a:pt x="414180" y="270358"/>
                  </a:lnTo>
                  <a:lnTo>
                    <a:pt x="420051" y="268829"/>
                  </a:lnTo>
                  <a:lnTo>
                    <a:pt x="425923" y="265770"/>
                  </a:lnTo>
                  <a:lnTo>
                    <a:pt x="433719" y="264240"/>
                  </a:lnTo>
                  <a:lnTo>
                    <a:pt x="437616" y="265770"/>
                  </a:lnTo>
                  <a:lnTo>
                    <a:pt x="443488" y="262710"/>
                  </a:lnTo>
                  <a:lnTo>
                    <a:pt x="445462" y="256592"/>
                  </a:lnTo>
                  <a:lnTo>
                    <a:pt x="441564" y="255112"/>
                  </a:lnTo>
                  <a:lnTo>
                    <a:pt x="441564" y="252053"/>
                  </a:lnTo>
                  <a:lnTo>
                    <a:pt x="447386" y="248994"/>
                  </a:lnTo>
                  <a:lnTo>
                    <a:pt x="453257" y="244405"/>
                  </a:lnTo>
                  <a:lnTo>
                    <a:pt x="453257" y="235228"/>
                  </a:lnTo>
                  <a:lnTo>
                    <a:pt x="447386" y="224521"/>
                  </a:lnTo>
                  <a:lnTo>
                    <a:pt x="439738" y="219784"/>
                  </a:lnTo>
                  <a:lnTo>
                    <a:pt x="435840" y="221314"/>
                  </a:lnTo>
                  <a:lnTo>
                    <a:pt x="429969" y="218255"/>
                  </a:lnTo>
                  <a:lnTo>
                    <a:pt x="426071" y="218255"/>
                  </a:lnTo>
                  <a:lnTo>
                    <a:pt x="422124" y="216725"/>
                  </a:lnTo>
                  <a:lnTo>
                    <a:pt x="418275" y="216725"/>
                  </a:lnTo>
                  <a:lnTo>
                    <a:pt x="416301" y="219784"/>
                  </a:lnTo>
                  <a:lnTo>
                    <a:pt x="412403" y="221314"/>
                  </a:lnTo>
                  <a:lnTo>
                    <a:pt x="410430" y="224373"/>
                  </a:lnTo>
                  <a:lnTo>
                    <a:pt x="396763" y="225902"/>
                  </a:lnTo>
                  <a:lnTo>
                    <a:pt x="386895" y="232070"/>
                  </a:lnTo>
                  <a:lnTo>
                    <a:pt x="384921" y="241198"/>
                  </a:lnTo>
                  <a:lnTo>
                    <a:pt x="375053" y="247316"/>
                  </a:lnTo>
                  <a:lnTo>
                    <a:pt x="371155" y="250375"/>
                  </a:lnTo>
                  <a:lnTo>
                    <a:pt x="373129" y="254964"/>
                  </a:lnTo>
                  <a:lnTo>
                    <a:pt x="377027" y="257974"/>
                  </a:lnTo>
                  <a:lnTo>
                    <a:pt x="379000" y="261033"/>
                  </a:lnTo>
                  <a:lnTo>
                    <a:pt x="382849" y="26562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Graphic 2">
              <a:extLst>
                <a:ext uri="{FF2B5EF4-FFF2-40B4-BE49-F238E27FC236}">
                  <a16:creationId xmlns:a16="http://schemas.microsoft.com/office/drawing/2014/main" id="{B64B3595-429B-4FDA-A6E3-940B55379AFA}"/>
                </a:ext>
              </a:extLst>
            </p:cNvPr>
            <p:cNvSpPr/>
            <p:nvPr/>
          </p:nvSpPr>
          <p:spPr>
            <a:xfrm>
              <a:off x="6268968" y="5472122"/>
              <a:ext cx="74769" cy="61050"/>
            </a:xfrm>
            <a:custGeom>
              <a:avLst/>
              <a:gdLst>
                <a:gd name="connsiteX0" fmla="*/ 11612 w 82299"/>
                <a:gd name="connsiteY0" fmla="*/ 56468 h 67201"/>
                <a:gd name="connsiteX1" fmla="*/ 11612 w 82299"/>
                <a:gd name="connsiteY1" fmla="*/ 48820 h 67201"/>
                <a:gd name="connsiteX2" fmla="*/ 7763 w 82299"/>
                <a:gd name="connsiteY2" fmla="*/ 44231 h 67201"/>
                <a:gd name="connsiteX3" fmla="*/ 5741 w 82299"/>
                <a:gd name="connsiteY3" fmla="*/ 41222 h 67201"/>
                <a:gd name="connsiteX4" fmla="*/ 1842 w 82299"/>
                <a:gd name="connsiteY4" fmla="*/ 38162 h 67201"/>
                <a:gd name="connsiteX5" fmla="*/ -82 w 82299"/>
                <a:gd name="connsiteY5" fmla="*/ 33574 h 67201"/>
                <a:gd name="connsiteX6" fmla="*/ 3816 w 82299"/>
                <a:gd name="connsiteY6" fmla="*/ 30515 h 67201"/>
                <a:gd name="connsiteX7" fmla="*/ 13684 w 82299"/>
                <a:gd name="connsiteY7" fmla="*/ 24446 h 67201"/>
                <a:gd name="connsiteX8" fmla="*/ 15657 w 82299"/>
                <a:gd name="connsiteY8" fmla="*/ 15219 h 67201"/>
                <a:gd name="connsiteX9" fmla="*/ 25526 w 82299"/>
                <a:gd name="connsiteY9" fmla="*/ 9101 h 67201"/>
                <a:gd name="connsiteX10" fmla="*/ 39193 w 82299"/>
                <a:gd name="connsiteY10" fmla="*/ 7621 h 67201"/>
                <a:gd name="connsiteX11" fmla="*/ 41167 w 82299"/>
                <a:gd name="connsiteY11" fmla="*/ 4562 h 67201"/>
                <a:gd name="connsiteX12" fmla="*/ 45065 w 82299"/>
                <a:gd name="connsiteY12" fmla="*/ 3032 h 67201"/>
                <a:gd name="connsiteX13" fmla="*/ 46989 w 82299"/>
                <a:gd name="connsiteY13" fmla="*/ -27 h 67201"/>
                <a:gd name="connsiteX14" fmla="*/ 50936 w 82299"/>
                <a:gd name="connsiteY14" fmla="*/ -27 h 67201"/>
                <a:gd name="connsiteX15" fmla="*/ 54834 w 82299"/>
                <a:gd name="connsiteY15" fmla="*/ 1503 h 67201"/>
                <a:gd name="connsiteX16" fmla="*/ 58732 w 82299"/>
                <a:gd name="connsiteY16" fmla="*/ 1503 h 67201"/>
                <a:gd name="connsiteX17" fmla="*/ 64603 w 82299"/>
                <a:gd name="connsiteY17" fmla="*/ 4562 h 67201"/>
                <a:gd name="connsiteX18" fmla="*/ 68501 w 82299"/>
                <a:gd name="connsiteY18" fmla="*/ 3032 h 67201"/>
                <a:gd name="connsiteX19" fmla="*/ 76346 w 82299"/>
                <a:gd name="connsiteY19" fmla="*/ 7621 h 67201"/>
                <a:gd name="connsiteX20" fmla="*/ 82218 w 82299"/>
                <a:gd name="connsiteY20" fmla="*/ 18278 h 67201"/>
                <a:gd name="connsiteX21" fmla="*/ 82218 w 82299"/>
                <a:gd name="connsiteY21" fmla="*/ 27456 h 67201"/>
                <a:gd name="connsiteX22" fmla="*/ 76346 w 82299"/>
                <a:gd name="connsiteY22" fmla="*/ 32044 h 67201"/>
                <a:gd name="connsiteX23" fmla="*/ 70475 w 82299"/>
                <a:gd name="connsiteY23" fmla="*/ 35103 h 67201"/>
                <a:gd name="connsiteX24" fmla="*/ 70475 w 82299"/>
                <a:gd name="connsiteY24" fmla="*/ 38162 h 67201"/>
                <a:gd name="connsiteX25" fmla="*/ 74373 w 82299"/>
                <a:gd name="connsiteY25" fmla="*/ 39692 h 67201"/>
                <a:gd name="connsiteX26" fmla="*/ 72448 w 82299"/>
                <a:gd name="connsiteY26" fmla="*/ 45761 h 67201"/>
                <a:gd name="connsiteX27" fmla="*/ 66577 w 82299"/>
                <a:gd name="connsiteY27" fmla="*/ 48820 h 67201"/>
                <a:gd name="connsiteX28" fmla="*/ 62630 w 82299"/>
                <a:gd name="connsiteY28" fmla="*/ 47290 h 67201"/>
                <a:gd name="connsiteX29" fmla="*/ 54834 w 82299"/>
                <a:gd name="connsiteY29" fmla="*/ 48820 h 67201"/>
                <a:gd name="connsiteX30" fmla="*/ 49012 w 82299"/>
                <a:gd name="connsiteY30" fmla="*/ 51879 h 67201"/>
                <a:gd name="connsiteX31" fmla="*/ 43091 w 82299"/>
                <a:gd name="connsiteY31" fmla="*/ 53409 h 67201"/>
                <a:gd name="connsiteX32" fmla="*/ 41167 w 82299"/>
                <a:gd name="connsiteY32" fmla="*/ 61056 h 67201"/>
                <a:gd name="connsiteX33" fmla="*/ 39193 w 82299"/>
                <a:gd name="connsiteY33" fmla="*/ 64115 h 67201"/>
                <a:gd name="connsiteX34" fmla="*/ 37220 w 82299"/>
                <a:gd name="connsiteY34" fmla="*/ 67174 h 67201"/>
                <a:gd name="connsiteX35" fmla="*/ 31397 w 82299"/>
                <a:gd name="connsiteY35" fmla="*/ 67174 h 67201"/>
                <a:gd name="connsiteX36" fmla="*/ 21529 w 82299"/>
                <a:gd name="connsiteY36" fmla="*/ 64115 h 67201"/>
                <a:gd name="connsiteX37" fmla="*/ 17631 w 82299"/>
                <a:gd name="connsiteY37" fmla="*/ 59478 h 6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2299" h="67201">
                  <a:moveTo>
                    <a:pt x="11612" y="56468"/>
                  </a:moveTo>
                  <a:lnTo>
                    <a:pt x="11612" y="48820"/>
                  </a:lnTo>
                  <a:lnTo>
                    <a:pt x="7763" y="44231"/>
                  </a:lnTo>
                  <a:lnTo>
                    <a:pt x="5741" y="41222"/>
                  </a:lnTo>
                  <a:lnTo>
                    <a:pt x="1842" y="38162"/>
                  </a:lnTo>
                  <a:lnTo>
                    <a:pt x="-82" y="33574"/>
                  </a:lnTo>
                  <a:lnTo>
                    <a:pt x="3816" y="30515"/>
                  </a:lnTo>
                  <a:lnTo>
                    <a:pt x="13684" y="24446"/>
                  </a:lnTo>
                  <a:lnTo>
                    <a:pt x="15657" y="15219"/>
                  </a:lnTo>
                  <a:lnTo>
                    <a:pt x="25526" y="9101"/>
                  </a:lnTo>
                  <a:lnTo>
                    <a:pt x="39193" y="7621"/>
                  </a:lnTo>
                  <a:lnTo>
                    <a:pt x="41167" y="4562"/>
                  </a:lnTo>
                  <a:lnTo>
                    <a:pt x="45065" y="3032"/>
                  </a:lnTo>
                  <a:lnTo>
                    <a:pt x="46989" y="-27"/>
                  </a:lnTo>
                  <a:lnTo>
                    <a:pt x="50936" y="-27"/>
                  </a:lnTo>
                  <a:lnTo>
                    <a:pt x="54834" y="1503"/>
                  </a:lnTo>
                  <a:lnTo>
                    <a:pt x="58732" y="1503"/>
                  </a:lnTo>
                  <a:lnTo>
                    <a:pt x="64603" y="4562"/>
                  </a:lnTo>
                  <a:lnTo>
                    <a:pt x="68501" y="3032"/>
                  </a:lnTo>
                  <a:lnTo>
                    <a:pt x="76346" y="7621"/>
                  </a:lnTo>
                  <a:lnTo>
                    <a:pt x="82218" y="18278"/>
                  </a:lnTo>
                  <a:lnTo>
                    <a:pt x="82218" y="27456"/>
                  </a:lnTo>
                  <a:lnTo>
                    <a:pt x="76346" y="32044"/>
                  </a:lnTo>
                  <a:lnTo>
                    <a:pt x="70475" y="35103"/>
                  </a:lnTo>
                  <a:lnTo>
                    <a:pt x="70475" y="38162"/>
                  </a:lnTo>
                  <a:lnTo>
                    <a:pt x="74373" y="39692"/>
                  </a:lnTo>
                  <a:lnTo>
                    <a:pt x="72448" y="45761"/>
                  </a:lnTo>
                  <a:lnTo>
                    <a:pt x="66577" y="48820"/>
                  </a:lnTo>
                  <a:lnTo>
                    <a:pt x="62630" y="47290"/>
                  </a:lnTo>
                  <a:lnTo>
                    <a:pt x="54834" y="48820"/>
                  </a:lnTo>
                  <a:lnTo>
                    <a:pt x="49012" y="51879"/>
                  </a:lnTo>
                  <a:lnTo>
                    <a:pt x="43091" y="53409"/>
                  </a:lnTo>
                  <a:lnTo>
                    <a:pt x="41167" y="61056"/>
                  </a:lnTo>
                  <a:lnTo>
                    <a:pt x="39193" y="64115"/>
                  </a:lnTo>
                  <a:lnTo>
                    <a:pt x="37220" y="67174"/>
                  </a:lnTo>
                  <a:lnTo>
                    <a:pt x="31397" y="67174"/>
                  </a:lnTo>
                  <a:lnTo>
                    <a:pt x="21529" y="64115"/>
                  </a:lnTo>
                  <a:lnTo>
                    <a:pt x="17631" y="5947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Graphic 2">
              <a:extLst>
                <a:ext uri="{FF2B5EF4-FFF2-40B4-BE49-F238E27FC236}">
                  <a16:creationId xmlns:a16="http://schemas.microsoft.com/office/drawing/2014/main" id="{5DD346F6-80D6-4401-B153-0A81EA3C7534}"/>
                </a:ext>
              </a:extLst>
            </p:cNvPr>
            <p:cNvSpPr/>
            <p:nvPr/>
          </p:nvSpPr>
          <p:spPr>
            <a:xfrm>
              <a:off x="4757019" y="2386849"/>
              <a:ext cx="291461" cy="159395"/>
            </a:xfrm>
            <a:custGeom>
              <a:avLst/>
              <a:gdLst>
                <a:gd name="connsiteX0" fmla="*/ 113845 w 320811"/>
                <a:gd name="connsiteY0" fmla="*/ 175427 h 175454"/>
                <a:gd name="connsiteX1" fmla="*/ 109947 w 320811"/>
                <a:gd name="connsiteY1" fmla="*/ 172368 h 175454"/>
                <a:gd name="connsiteX2" fmla="*/ 113845 w 320811"/>
                <a:gd name="connsiteY2" fmla="*/ 166201 h 175454"/>
                <a:gd name="connsiteX3" fmla="*/ 115819 w 320811"/>
                <a:gd name="connsiteY3" fmla="*/ 166201 h 175454"/>
                <a:gd name="connsiteX4" fmla="*/ 117792 w 320811"/>
                <a:gd name="connsiteY4" fmla="*/ 173898 h 175454"/>
                <a:gd name="connsiteX5" fmla="*/ 113845 w 320811"/>
                <a:gd name="connsiteY5" fmla="*/ 175427 h 175454"/>
                <a:gd name="connsiteX6" fmla="*/ 96132 w 320811"/>
                <a:gd name="connsiteY6" fmla="*/ 149228 h 175454"/>
                <a:gd name="connsiteX7" fmla="*/ 102053 w 320811"/>
                <a:gd name="connsiteY7" fmla="*/ 146169 h 175454"/>
                <a:gd name="connsiteX8" fmla="*/ 102053 w 320811"/>
                <a:gd name="connsiteY8" fmla="*/ 152336 h 175454"/>
                <a:gd name="connsiteX9" fmla="*/ 109947 w 320811"/>
                <a:gd name="connsiteY9" fmla="*/ 160033 h 175454"/>
                <a:gd name="connsiteX10" fmla="*/ 117792 w 320811"/>
                <a:gd name="connsiteY10" fmla="*/ 161563 h 175454"/>
                <a:gd name="connsiteX11" fmla="*/ 121740 w 320811"/>
                <a:gd name="connsiteY11" fmla="*/ 158454 h 175454"/>
                <a:gd name="connsiteX12" fmla="*/ 129585 w 320811"/>
                <a:gd name="connsiteY12" fmla="*/ 158454 h 175454"/>
                <a:gd name="connsiteX13" fmla="*/ 139453 w 320811"/>
                <a:gd name="connsiteY13" fmla="*/ 167730 h 175454"/>
                <a:gd name="connsiteX14" fmla="*/ 155193 w 320811"/>
                <a:gd name="connsiteY14" fmla="*/ 166201 h 175454"/>
                <a:gd name="connsiteX15" fmla="*/ 161113 w 320811"/>
                <a:gd name="connsiteY15" fmla="*/ 169260 h 175454"/>
                <a:gd name="connsiteX16" fmla="*/ 170981 w 320811"/>
                <a:gd name="connsiteY16" fmla="*/ 166201 h 175454"/>
                <a:gd name="connsiteX17" fmla="*/ 169008 w 320811"/>
                <a:gd name="connsiteY17" fmla="*/ 160033 h 175454"/>
                <a:gd name="connsiteX18" fmla="*/ 170981 w 320811"/>
                <a:gd name="connsiteY18" fmla="*/ 156925 h 175454"/>
                <a:gd name="connsiteX19" fmla="*/ 173004 w 320811"/>
                <a:gd name="connsiteY19" fmla="*/ 160033 h 175454"/>
                <a:gd name="connsiteX20" fmla="*/ 182873 w 320811"/>
                <a:gd name="connsiteY20" fmla="*/ 163092 h 175454"/>
                <a:gd name="connsiteX21" fmla="*/ 190767 w 320811"/>
                <a:gd name="connsiteY21" fmla="*/ 156925 h 175454"/>
                <a:gd name="connsiteX22" fmla="*/ 190767 w 320811"/>
                <a:gd name="connsiteY22" fmla="*/ 149228 h 175454"/>
                <a:gd name="connsiteX23" fmla="*/ 198612 w 320811"/>
                <a:gd name="connsiteY23" fmla="*/ 147698 h 175454"/>
                <a:gd name="connsiteX24" fmla="*/ 196638 w 320811"/>
                <a:gd name="connsiteY24" fmla="*/ 152336 h 175454"/>
                <a:gd name="connsiteX25" fmla="*/ 198612 w 320811"/>
                <a:gd name="connsiteY25" fmla="*/ 153866 h 175454"/>
                <a:gd name="connsiteX26" fmla="*/ 200586 w 320811"/>
                <a:gd name="connsiteY26" fmla="*/ 152336 h 175454"/>
                <a:gd name="connsiteX27" fmla="*/ 206506 w 320811"/>
                <a:gd name="connsiteY27" fmla="*/ 150757 h 175454"/>
                <a:gd name="connsiteX28" fmla="*/ 212427 w 320811"/>
                <a:gd name="connsiteY28" fmla="*/ 143110 h 175454"/>
                <a:gd name="connsiteX29" fmla="*/ 218299 w 320811"/>
                <a:gd name="connsiteY29" fmla="*/ 146169 h 175454"/>
                <a:gd name="connsiteX30" fmla="*/ 220272 w 320811"/>
                <a:gd name="connsiteY30" fmla="*/ 143110 h 175454"/>
                <a:gd name="connsiteX31" fmla="*/ 226193 w 320811"/>
                <a:gd name="connsiteY31" fmla="*/ 143110 h 175454"/>
                <a:gd name="connsiteX32" fmla="*/ 226193 w 320811"/>
                <a:gd name="connsiteY32" fmla="*/ 146169 h 175454"/>
                <a:gd name="connsiteX33" fmla="*/ 228167 w 320811"/>
                <a:gd name="connsiteY33" fmla="*/ 143110 h 175454"/>
                <a:gd name="connsiteX34" fmla="*/ 243907 w 320811"/>
                <a:gd name="connsiteY34" fmla="*/ 132353 h 175454"/>
                <a:gd name="connsiteX35" fmla="*/ 249827 w 320811"/>
                <a:gd name="connsiteY35" fmla="*/ 126186 h 175454"/>
                <a:gd name="connsiteX36" fmla="*/ 267540 w 320811"/>
                <a:gd name="connsiteY36" fmla="*/ 123077 h 175454"/>
                <a:gd name="connsiteX37" fmla="*/ 271488 w 320811"/>
                <a:gd name="connsiteY37" fmla="*/ 120018 h 175454"/>
                <a:gd name="connsiteX38" fmla="*/ 269514 w 320811"/>
                <a:gd name="connsiteY38" fmla="*/ 115380 h 175454"/>
                <a:gd name="connsiteX39" fmla="*/ 269514 w 320811"/>
                <a:gd name="connsiteY39" fmla="*/ 112321 h 175454"/>
                <a:gd name="connsiteX40" fmla="*/ 273461 w 320811"/>
                <a:gd name="connsiteY40" fmla="*/ 112321 h 175454"/>
                <a:gd name="connsiteX41" fmla="*/ 275435 w 320811"/>
                <a:gd name="connsiteY41" fmla="*/ 116910 h 175454"/>
                <a:gd name="connsiteX42" fmla="*/ 285303 w 320811"/>
                <a:gd name="connsiteY42" fmla="*/ 120018 h 175454"/>
                <a:gd name="connsiteX43" fmla="*/ 289250 w 320811"/>
                <a:gd name="connsiteY43" fmla="*/ 113851 h 175454"/>
                <a:gd name="connsiteX44" fmla="*/ 291224 w 320811"/>
                <a:gd name="connsiteY44" fmla="*/ 110791 h 175454"/>
                <a:gd name="connsiteX45" fmla="*/ 289250 w 320811"/>
                <a:gd name="connsiteY45" fmla="*/ 109262 h 175454"/>
                <a:gd name="connsiteX46" fmla="*/ 289250 w 320811"/>
                <a:gd name="connsiteY46" fmla="*/ 104673 h 175454"/>
                <a:gd name="connsiteX47" fmla="*/ 293198 w 320811"/>
                <a:gd name="connsiteY47" fmla="*/ 104673 h 175454"/>
                <a:gd name="connsiteX48" fmla="*/ 291224 w 320811"/>
                <a:gd name="connsiteY48" fmla="*/ 96927 h 175454"/>
                <a:gd name="connsiteX49" fmla="*/ 293198 w 320811"/>
                <a:gd name="connsiteY49" fmla="*/ 93868 h 175454"/>
                <a:gd name="connsiteX50" fmla="*/ 299118 w 320811"/>
                <a:gd name="connsiteY50" fmla="*/ 96927 h 175454"/>
                <a:gd name="connsiteX51" fmla="*/ 301042 w 320811"/>
                <a:gd name="connsiteY51" fmla="*/ 101565 h 175454"/>
                <a:gd name="connsiteX52" fmla="*/ 304990 w 320811"/>
                <a:gd name="connsiteY52" fmla="*/ 101565 h 175454"/>
                <a:gd name="connsiteX53" fmla="*/ 308937 w 320811"/>
                <a:gd name="connsiteY53" fmla="*/ 95397 h 175454"/>
                <a:gd name="connsiteX54" fmla="*/ 306963 w 320811"/>
                <a:gd name="connsiteY54" fmla="*/ 87700 h 175454"/>
                <a:gd name="connsiteX55" fmla="*/ 301042 w 320811"/>
                <a:gd name="connsiteY55" fmla="*/ 83062 h 175454"/>
                <a:gd name="connsiteX56" fmla="*/ 301042 w 320811"/>
                <a:gd name="connsiteY56" fmla="*/ 76944 h 175454"/>
                <a:gd name="connsiteX57" fmla="*/ 304990 w 320811"/>
                <a:gd name="connsiteY57" fmla="*/ 73885 h 175454"/>
                <a:gd name="connsiteX58" fmla="*/ 304990 w 320811"/>
                <a:gd name="connsiteY58" fmla="*/ 69247 h 175454"/>
                <a:gd name="connsiteX59" fmla="*/ 310911 w 320811"/>
                <a:gd name="connsiteY59" fmla="*/ 66188 h 175454"/>
                <a:gd name="connsiteX60" fmla="*/ 314858 w 320811"/>
                <a:gd name="connsiteY60" fmla="*/ 66188 h 175454"/>
                <a:gd name="connsiteX61" fmla="*/ 320729 w 320811"/>
                <a:gd name="connsiteY61" fmla="*/ 60020 h 175454"/>
                <a:gd name="connsiteX62" fmla="*/ 312884 w 320811"/>
                <a:gd name="connsiteY62" fmla="*/ 55382 h 175454"/>
                <a:gd name="connsiteX63" fmla="*/ 299118 w 320811"/>
                <a:gd name="connsiteY63" fmla="*/ 53853 h 175454"/>
                <a:gd name="connsiteX64" fmla="*/ 295171 w 320811"/>
                <a:gd name="connsiteY64" fmla="*/ 56912 h 175454"/>
                <a:gd name="connsiteX65" fmla="*/ 299118 w 320811"/>
                <a:gd name="connsiteY65" fmla="*/ 52323 h 175454"/>
                <a:gd name="connsiteX66" fmla="*/ 299118 w 320811"/>
                <a:gd name="connsiteY66" fmla="*/ 47685 h 175454"/>
                <a:gd name="connsiteX67" fmla="*/ 291224 w 320811"/>
                <a:gd name="connsiteY67" fmla="*/ 47685 h 175454"/>
                <a:gd name="connsiteX68" fmla="*/ 289250 w 320811"/>
                <a:gd name="connsiteY68" fmla="*/ 49215 h 175454"/>
                <a:gd name="connsiteX69" fmla="*/ 285303 w 320811"/>
                <a:gd name="connsiteY69" fmla="*/ 43097 h 175454"/>
                <a:gd name="connsiteX70" fmla="*/ 291224 w 320811"/>
                <a:gd name="connsiteY70" fmla="*/ 36929 h 175454"/>
                <a:gd name="connsiteX71" fmla="*/ 295171 w 320811"/>
                <a:gd name="connsiteY71" fmla="*/ 35399 h 175454"/>
                <a:gd name="connsiteX72" fmla="*/ 295171 w 320811"/>
                <a:gd name="connsiteY72" fmla="*/ 27702 h 175454"/>
                <a:gd name="connsiteX73" fmla="*/ 291224 w 320811"/>
                <a:gd name="connsiteY73" fmla="*/ 26173 h 175454"/>
                <a:gd name="connsiteX74" fmla="*/ 287276 w 320811"/>
                <a:gd name="connsiteY74" fmla="*/ 29232 h 175454"/>
                <a:gd name="connsiteX75" fmla="*/ 279382 w 320811"/>
                <a:gd name="connsiteY75" fmla="*/ 27702 h 175454"/>
                <a:gd name="connsiteX76" fmla="*/ 277408 w 320811"/>
                <a:gd name="connsiteY76" fmla="*/ 21535 h 175454"/>
                <a:gd name="connsiteX77" fmla="*/ 285303 w 320811"/>
                <a:gd name="connsiteY77" fmla="*/ 18476 h 175454"/>
                <a:gd name="connsiteX78" fmla="*/ 285303 w 320811"/>
                <a:gd name="connsiteY78" fmla="*/ 15367 h 175454"/>
                <a:gd name="connsiteX79" fmla="*/ 289250 w 320811"/>
                <a:gd name="connsiteY79" fmla="*/ 12308 h 175454"/>
                <a:gd name="connsiteX80" fmla="*/ 295171 w 320811"/>
                <a:gd name="connsiteY80" fmla="*/ 9200 h 175454"/>
                <a:gd name="connsiteX81" fmla="*/ 287276 w 320811"/>
                <a:gd name="connsiteY81" fmla="*/ 6141 h 175454"/>
                <a:gd name="connsiteX82" fmla="*/ 281405 w 320811"/>
                <a:gd name="connsiteY82" fmla="*/ 7670 h 175454"/>
                <a:gd name="connsiteX83" fmla="*/ 269563 w 320811"/>
                <a:gd name="connsiteY83" fmla="*/ 18476 h 175454"/>
                <a:gd name="connsiteX84" fmla="*/ 267590 w 320811"/>
                <a:gd name="connsiteY84" fmla="*/ 23064 h 175454"/>
                <a:gd name="connsiteX85" fmla="*/ 263643 w 320811"/>
                <a:gd name="connsiteY85" fmla="*/ 24643 h 175454"/>
                <a:gd name="connsiteX86" fmla="*/ 259695 w 320811"/>
                <a:gd name="connsiteY86" fmla="*/ 18476 h 175454"/>
                <a:gd name="connsiteX87" fmla="*/ 261669 w 320811"/>
                <a:gd name="connsiteY87" fmla="*/ 15367 h 175454"/>
                <a:gd name="connsiteX88" fmla="*/ 259695 w 320811"/>
                <a:gd name="connsiteY88" fmla="*/ 12308 h 175454"/>
                <a:gd name="connsiteX89" fmla="*/ 257771 w 320811"/>
                <a:gd name="connsiteY89" fmla="*/ 4611 h 175454"/>
                <a:gd name="connsiteX90" fmla="*/ 251801 w 320811"/>
                <a:gd name="connsiteY90" fmla="*/ 3082 h 175454"/>
                <a:gd name="connsiteX91" fmla="*/ 243956 w 320811"/>
                <a:gd name="connsiteY91" fmla="*/ 6141 h 175454"/>
                <a:gd name="connsiteX92" fmla="*/ 240008 w 320811"/>
                <a:gd name="connsiteY92" fmla="*/ 4611 h 175454"/>
                <a:gd name="connsiteX93" fmla="*/ 238035 w 320811"/>
                <a:gd name="connsiteY93" fmla="*/ 9200 h 175454"/>
                <a:gd name="connsiteX94" fmla="*/ 240008 w 320811"/>
                <a:gd name="connsiteY94" fmla="*/ 16946 h 175454"/>
                <a:gd name="connsiteX95" fmla="*/ 238035 w 320811"/>
                <a:gd name="connsiteY95" fmla="*/ 21535 h 175454"/>
                <a:gd name="connsiteX96" fmla="*/ 230190 w 320811"/>
                <a:gd name="connsiteY96" fmla="*/ 21535 h 175454"/>
                <a:gd name="connsiteX97" fmla="*/ 224269 w 320811"/>
                <a:gd name="connsiteY97" fmla="*/ 24643 h 175454"/>
                <a:gd name="connsiteX98" fmla="*/ 224269 w 320811"/>
                <a:gd name="connsiteY98" fmla="*/ 20005 h 175454"/>
                <a:gd name="connsiteX99" fmla="*/ 220322 w 320811"/>
                <a:gd name="connsiteY99" fmla="*/ 16946 h 175454"/>
                <a:gd name="connsiteX100" fmla="*/ 216424 w 320811"/>
                <a:gd name="connsiteY100" fmla="*/ 21535 h 175454"/>
                <a:gd name="connsiteX101" fmla="*/ 210454 w 320811"/>
                <a:gd name="connsiteY101" fmla="*/ 29232 h 175454"/>
                <a:gd name="connsiteX102" fmla="*/ 204582 w 320811"/>
                <a:gd name="connsiteY102" fmla="*/ 29232 h 175454"/>
                <a:gd name="connsiteX103" fmla="*/ 196687 w 320811"/>
                <a:gd name="connsiteY103" fmla="*/ 20005 h 175454"/>
                <a:gd name="connsiteX104" fmla="*/ 192790 w 320811"/>
                <a:gd name="connsiteY104" fmla="*/ 21535 h 175454"/>
                <a:gd name="connsiteX105" fmla="*/ 190816 w 320811"/>
                <a:gd name="connsiteY105" fmla="*/ 20005 h 175454"/>
                <a:gd name="connsiteX106" fmla="*/ 184895 w 320811"/>
                <a:gd name="connsiteY106" fmla="*/ 20005 h 175454"/>
                <a:gd name="connsiteX107" fmla="*/ 182922 w 320811"/>
                <a:gd name="connsiteY107" fmla="*/ 29232 h 175454"/>
                <a:gd name="connsiteX108" fmla="*/ 188843 w 320811"/>
                <a:gd name="connsiteY108" fmla="*/ 41567 h 175454"/>
                <a:gd name="connsiteX109" fmla="*/ 182922 w 320811"/>
                <a:gd name="connsiteY109" fmla="*/ 56912 h 175454"/>
                <a:gd name="connsiteX110" fmla="*/ 184895 w 320811"/>
                <a:gd name="connsiteY110" fmla="*/ 43097 h 175454"/>
                <a:gd name="connsiteX111" fmla="*/ 177001 w 320811"/>
                <a:gd name="connsiteY111" fmla="*/ 33870 h 175454"/>
                <a:gd name="connsiteX112" fmla="*/ 177001 w 320811"/>
                <a:gd name="connsiteY112" fmla="*/ 29429 h 175454"/>
                <a:gd name="connsiteX113" fmla="*/ 173103 w 320811"/>
                <a:gd name="connsiteY113" fmla="*/ 26370 h 175454"/>
                <a:gd name="connsiteX114" fmla="*/ 175076 w 320811"/>
                <a:gd name="connsiteY114" fmla="*/ 20203 h 175454"/>
                <a:gd name="connsiteX115" fmla="*/ 167182 w 320811"/>
                <a:gd name="connsiteY115" fmla="*/ 17144 h 175454"/>
                <a:gd name="connsiteX116" fmla="*/ 153367 w 320811"/>
                <a:gd name="connsiteY116" fmla="*/ 24841 h 175454"/>
                <a:gd name="connsiteX117" fmla="*/ 151443 w 320811"/>
                <a:gd name="connsiteY117" fmla="*/ 31008 h 175454"/>
                <a:gd name="connsiteX118" fmla="*/ 155340 w 320811"/>
                <a:gd name="connsiteY118" fmla="*/ 35597 h 175454"/>
                <a:gd name="connsiteX119" fmla="*/ 149469 w 320811"/>
                <a:gd name="connsiteY119" fmla="*/ 44823 h 175454"/>
                <a:gd name="connsiteX120" fmla="*/ 141575 w 320811"/>
                <a:gd name="connsiteY120" fmla="*/ 44823 h 175454"/>
                <a:gd name="connsiteX121" fmla="*/ 141575 w 320811"/>
                <a:gd name="connsiteY121" fmla="*/ 35597 h 175454"/>
                <a:gd name="connsiteX122" fmla="*/ 135654 w 320811"/>
                <a:gd name="connsiteY122" fmla="*/ 32538 h 175454"/>
                <a:gd name="connsiteX123" fmla="*/ 135654 w 320811"/>
                <a:gd name="connsiteY123" fmla="*/ 21535 h 175454"/>
                <a:gd name="connsiteX124" fmla="*/ 129733 w 320811"/>
                <a:gd name="connsiteY124" fmla="*/ 16946 h 175454"/>
                <a:gd name="connsiteX125" fmla="*/ 121888 w 320811"/>
                <a:gd name="connsiteY125" fmla="*/ 23064 h 175454"/>
                <a:gd name="connsiteX126" fmla="*/ 123861 w 320811"/>
                <a:gd name="connsiteY126" fmla="*/ 36929 h 175454"/>
                <a:gd name="connsiteX127" fmla="*/ 125835 w 320811"/>
                <a:gd name="connsiteY127" fmla="*/ 43097 h 175454"/>
                <a:gd name="connsiteX128" fmla="*/ 125835 w 320811"/>
                <a:gd name="connsiteY128" fmla="*/ 52323 h 175454"/>
                <a:gd name="connsiteX129" fmla="*/ 121888 w 320811"/>
                <a:gd name="connsiteY129" fmla="*/ 56912 h 175454"/>
                <a:gd name="connsiteX130" fmla="*/ 115967 w 320811"/>
                <a:gd name="connsiteY130" fmla="*/ 56912 h 175454"/>
                <a:gd name="connsiteX131" fmla="*/ 115967 w 320811"/>
                <a:gd name="connsiteY131" fmla="*/ 49165 h 175454"/>
                <a:gd name="connsiteX132" fmla="*/ 106099 w 320811"/>
                <a:gd name="connsiteY132" fmla="*/ 52274 h 175454"/>
                <a:gd name="connsiteX133" fmla="*/ 104125 w 320811"/>
                <a:gd name="connsiteY133" fmla="*/ 59971 h 175454"/>
                <a:gd name="connsiteX134" fmla="*/ 100178 w 320811"/>
                <a:gd name="connsiteY134" fmla="*/ 61501 h 175454"/>
                <a:gd name="connsiteX135" fmla="*/ 100178 w 320811"/>
                <a:gd name="connsiteY135" fmla="*/ 73836 h 175454"/>
                <a:gd name="connsiteX136" fmla="*/ 94306 w 320811"/>
                <a:gd name="connsiteY136" fmla="*/ 63030 h 175454"/>
                <a:gd name="connsiteX137" fmla="*/ 90310 w 320811"/>
                <a:gd name="connsiteY137" fmla="*/ 61501 h 175454"/>
                <a:gd name="connsiteX138" fmla="*/ 90310 w 320811"/>
                <a:gd name="connsiteY138" fmla="*/ 56863 h 175454"/>
                <a:gd name="connsiteX139" fmla="*/ 96231 w 320811"/>
                <a:gd name="connsiteY139" fmla="*/ 52274 h 175454"/>
                <a:gd name="connsiteX140" fmla="*/ 96231 w 320811"/>
                <a:gd name="connsiteY140" fmla="*/ 47636 h 175454"/>
                <a:gd name="connsiteX141" fmla="*/ 88336 w 320811"/>
                <a:gd name="connsiteY141" fmla="*/ 47636 h 175454"/>
                <a:gd name="connsiteX142" fmla="*/ 92333 w 320811"/>
                <a:gd name="connsiteY142" fmla="*/ 43047 h 175454"/>
                <a:gd name="connsiteX143" fmla="*/ 88336 w 320811"/>
                <a:gd name="connsiteY143" fmla="*/ 35350 h 175454"/>
                <a:gd name="connsiteX144" fmla="*/ 92333 w 320811"/>
                <a:gd name="connsiteY144" fmla="*/ 39939 h 175454"/>
                <a:gd name="connsiteX145" fmla="*/ 98204 w 320811"/>
                <a:gd name="connsiteY145" fmla="*/ 33821 h 175454"/>
                <a:gd name="connsiteX146" fmla="*/ 96231 w 320811"/>
                <a:gd name="connsiteY146" fmla="*/ 29183 h 175454"/>
                <a:gd name="connsiteX147" fmla="*/ 90310 w 320811"/>
                <a:gd name="connsiteY147" fmla="*/ 27653 h 175454"/>
                <a:gd name="connsiteX148" fmla="*/ 96231 w 320811"/>
                <a:gd name="connsiteY148" fmla="*/ 23015 h 175454"/>
                <a:gd name="connsiteX149" fmla="*/ 90310 w 320811"/>
                <a:gd name="connsiteY149" fmla="*/ 18426 h 175454"/>
                <a:gd name="connsiteX150" fmla="*/ 86363 w 320811"/>
                <a:gd name="connsiteY150" fmla="*/ 21486 h 175454"/>
                <a:gd name="connsiteX151" fmla="*/ 84438 w 320811"/>
                <a:gd name="connsiteY151" fmla="*/ 16897 h 175454"/>
                <a:gd name="connsiteX152" fmla="*/ 72596 w 320811"/>
                <a:gd name="connsiteY152" fmla="*/ 12259 h 175454"/>
                <a:gd name="connsiteX153" fmla="*/ 72596 w 320811"/>
                <a:gd name="connsiteY153" fmla="*/ 6091 h 175454"/>
                <a:gd name="connsiteX154" fmla="*/ 70623 w 320811"/>
                <a:gd name="connsiteY154" fmla="*/ 1503 h 175454"/>
                <a:gd name="connsiteX155" fmla="*/ 62728 w 320811"/>
                <a:gd name="connsiteY155" fmla="*/ 1503 h 175454"/>
                <a:gd name="connsiteX156" fmla="*/ 56857 w 320811"/>
                <a:gd name="connsiteY156" fmla="*/ -27 h 175454"/>
                <a:gd name="connsiteX157" fmla="*/ 46989 w 320811"/>
                <a:gd name="connsiteY157" fmla="*/ 1503 h 175454"/>
                <a:gd name="connsiteX158" fmla="*/ 45015 w 320811"/>
                <a:gd name="connsiteY158" fmla="*/ 3032 h 175454"/>
                <a:gd name="connsiteX159" fmla="*/ 48963 w 320811"/>
                <a:gd name="connsiteY159" fmla="*/ 6091 h 175454"/>
                <a:gd name="connsiteX160" fmla="*/ 52959 w 320811"/>
                <a:gd name="connsiteY160" fmla="*/ 6091 h 175454"/>
                <a:gd name="connsiteX161" fmla="*/ 52959 w 320811"/>
                <a:gd name="connsiteY161" fmla="*/ 4759 h 175454"/>
                <a:gd name="connsiteX162" fmla="*/ 58831 w 320811"/>
                <a:gd name="connsiteY162" fmla="*/ 4759 h 175454"/>
                <a:gd name="connsiteX163" fmla="*/ 62728 w 320811"/>
                <a:gd name="connsiteY163" fmla="*/ 6289 h 175454"/>
                <a:gd name="connsiteX164" fmla="*/ 66725 w 320811"/>
                <a:gd name="connsiteY164" fmla="*/ 7818 h 175454"/>
                <a:gd name="connsiteX165" fmla="*/ 64751 w 320811"/>
                <a:gd name="connsiteY165" fmla="*/ 12456 h 175454"/>
                <a:gd name="connsiteX166" fmla="*/ 58831 w 320811"/>
                <a:gd name="connsiteY166" fmla="*/ 9348 h 175454"/>
                <a:gd name="connsiteX167" fmla="*/ 52959 w 320811"/>
                <a:gd name="connsiteY167" fmla="*/ 9348 h 175454"/>
                <a:gd name="connsiteX168" fmla="*/ 52959 w 320811"/>
                <a:gd name="connsiteY168" fmla="*/ 12456 h 175454"/>
                <a:gd name="connsiteX169" fmla="*/ 62827 w 320811"/>
                <a:gd name="connsiteY169" fmla="*/ 18624 h 175454"/>
                <a:gd name="connsiteX170" fmla="*/ 68798 w 320811"/>
                <a:gd name="connsiteY170" fmla="*/ 24791 h 175454"/>
                <a:gd name="connsiteX171" fmla="*/ 66824 w 320811"/>
                <a:gd name="connsiteY171" fmla="*/ 29380 h 175454"/>
                <a:gd name="connsiteX172" fmla="*/ 64850 w 320811"/>
                <a:gd name="connsiteY172" fmla="*/ 29380 h 175454"/>
                <a:gd name="connsiteX173" fmla="*/ 64850 w 320811"/>
                <a:gd name="connsiteY173" fmla="*/ 26321 h 175454"/>
                <a:gd name="connsiteX174" fmla="*/ 56956 w 320811"/>
                <a:gd name="connsiteY174" fmla="*/ 21683 h 175454"/>
                <a:gd name="connsiteX175" fmla="*/ 53058 w 320811"/>
                <a:gd name="connsiteY175" fmla="*/ 24791 h 175454"/>
                <a:gd name="connsiteX176" fmla="*/ 49062 w 320811"/>
                <a:gd name="connsiteY176" fmla="*/ 24791 h 175454"/>
                <a:gd name="connsiteX177" fmla="*/ 51035 w 320811"/>
                <a:gd name="connsiteY177" fmla="*/ 20153 h 175454"/>
                <a:gd name="connsiteX178" fmla="*/ 45114 w 320811"/>
                <a:gd name="connsiteY178" fmla="*/ 13986 h 175454"/>
                <a:gd name="connsiteX179" fmla="*/ 37269 w 320811"/>
                <a:gd name="connsiteY179" fmla="*/ 12456 h 175454"/>
                <a:gd name="connsiteX180" fmla="*/ 31348 w 320811"/>
                <a:gd name="connsiteY180" fmla="*/ 13986 h 175454"/>
                <a:gd name="connsiteX181" fmla="*/ 37269 w 320811"/>
                <a:gd name="connsiteY181" fmla="*/ 20153 h 175454"/>
                <a:gd name="connsiteX182" fmla="*/ 35295 w 320811"/>
                <a:gd name="connsiteY182" fmla="*/ 23212 h 175454"/>
                <a:gd name="connsiteX183" fmla="*/ 31348 w 320811"/>
                <a:gd name="connsiteY183" fmla="*/ 18624 h 175454"/>
                <a:gd name="connsiteX184" fmla="*/ 25477 w 320811"/>
                <a:gd name="connsiteY184" fmla="*/ 17094 h 175454"/>
                <a:gd name="connsiteX185" fmla="*/ 23503 w 320811"/>
                <a:gd name="connsiteY185" fmla="*/ 20153 h 175454"/>
                <a:gd name="connsiteX186" fmla="*/ 27450 w 320811"/>
                <a:gd name="connsiteY186" fmla="*/ 24791 h 175454"/>
                <a:gd name="connsiteX187" fmla="*/ 31348 w 320811"/>
                <a:gd name="connsiteY187" fmla="*/ 26321 h 175454"/>
                <a:gd name="connsiteX188" fmla="*/ 35295 w 320811"/>
                <a:gd name="connsiteY188" fmla="*/ 29380 h 175454"/>
                <a:gd name="connsiteX189" fmla="*/ 27450 w 320811"/>
                <a:gd name="connsiteY189" fmla="*/ 27850 h 175454"/>
                <a:gd name="connsiteX190" fmla="*/ 21480 w 320811"/>
                <a:gd name="connsiteY190" fmla="*/ 29380 h 175454"/>
                <a:gd name="connsiteX191" fmla="*/ 25477 w 320811"/>
                <a:gd name="connsiteY191" fmla="*/ 34018 h 175454"/>
                <a:gd name="connsiteX192" fmla="*/ 35345 w 320811"/>
                <a:gd name="connsiteY192" fmla="*/ 37077 h 175454"/>
                <a:gd name="connsiteX193" fmla="*/ 31397 w 320811"/>
                <a:gd name="connsiteY193" fmla="*/ 37077 h 175454"/>
                <a:gd name="connsiteX194" fmla="*/ 29424 w 320811"/>
                <a:gd name="connsiteY194" fmla="*/ 40136 h 175454"/>
                <a:gd name="connsiteX195" fmla="*/ 29424 w 320811"/>
                <a:gd name="connsiteY195" fmla="*/ 43245 h 175454"/>
                <a:gd name="connsiteX196" fmla="*/ 27500 w 320811"/>
                <a:gd name="connsiteY196" fmla="*/ 43245 h 175454"/>
                <a:gd name="connsiteX197" fmla="*/ 17632 w 320811"/>
                <a:gd name="connsiteY197" fmla="*/ 34018 h 175454"/>
                <a:gd name="connsiteX198" fmla="*/ 15658 w 320811"/>
                <a:gd name="connsiteY198" fmla="*/ 34018 h 175454"/>
                <a:gd name="connsiteX199" fmla="*/ 11760 w 320811"/>
                <a:gd name="connsiteY199" fmla="*/ 37077 h 175454"/>
                <a:gd name="connsiteX200" fmla="*/ 15658 w 320811"/>
                <a:gd name="connsiteY200" fmla="*/ 44774 h 175454"/>
                <a:gd name="connsiteX201" fmla="*/ 19605 w 320811"/>
                <a:gd name="connsiteY201" fmla="*/ 49363 h 175454"/>
                <a:gd name="connsiteX202" fmla="*/ 15658 w 320811"/>
                <a:gd name="connsiteY202" fmla="*/ 50942 h 175454"/>
                <a:gd name="connsiteX203" fmla="*/ 11760 w 320811"/>
                <a:gd name="connsiteY203" fmla="*/ 43245 h 175454"/>
                <a:gd name="connsiteX204" fmla="*/ 3866 w 320811"/>
                <a:gd name="connsiteY204" fmla="*/ 41715 h 175454"/>
                <a:gd name="connsiteX205" fmla="*/ -82 w 320811"/>
                <a:gd name="connsiteY205" fmla="*/ 47833 h 175454"/>
                <a:gd name="connsiteX206" fmla="*/ 5790 w 320811"/>
                <a:gd name="connsiteY206" fmla="*/ 50942 h 175454"/>
                <a:gd name="connsiteX207" fmla="*/ 13684 w 320811"/>
                <a:gd name="connsiteY207" fmla="*/ 55530 h 175454"/>
                <a:gd name="connsiteX208" fmla="*/ 23552 w 320811"/>
                <a:gd name="connsiteY208" fmla="*/ 57060 h 175454"/>
                <a:gd name="connsiteX209" fmla="*/ 27500 w 320811"/>
                <a:gd name="connsiteY209" fmla="*/ 50942 h 175454"/>
                <a:gd name="connsiteX210" fmla="*/ 33371 w 320811"/>
                <a:gd name="connsiteY210" fmla="*/ 49363 h 175454"/>
                <a:gd name="connsiteX211" fmla="*/ 37319 w 320811"/>
                <a:gd name="connsiteY211" fmla="*/ 44774 h 175454"/>
                <a:gd name="connsiteX212" fmla="*/ 39292 w 320811"/>
                <a:gd name="connsiteY212" fmla="*/ 47833 h 175454"/>
                <a:gd name="connsiteX213" fmla="*/ 39292 w 320811"/>
                <a:gd name="connsiteY213" fmla="*/ 50942 h 175454"/>
                <a:gd name="connsiteX214" fmla="*/ 45163 w 320811"/>
                <a:gd name="connsiteY214" fmla="*/ 50942 h 175454"/>
                <a:gd name="connsiteX215" fmla="*/ 49111 w 320811"/>
                <a:gd name="connsiteY215" fmla="*/ 47833 h 175454"/>
                <a:gd name="connsiteX216" fmla="*/ 51084 w 320811"/>
                <a:gd name="connsiteY216" fmla="*/ 54001 h 175454"/>
                <a:gd name="connsiteX217" fmla="*/ 53107 w 320811"/>
                <a:gd name="connsiteY217" fmla="*/ 54001 h 175454"/>
                <a:gd name="connsiteX218" fmla="*/ 58979 w 320811"/>
                <a:gd name="connsiteY218" fmla="*/ 49363 h 175454"/>
                <a:gd name="connsiteX219" fmla="*/ 60952 w 320811"/>
                <a:gd name="connsiteY219" fmla="*/ 46304 h 175454"/>
                <a:gd name="connsiteX220" fmla="*/ 60952 w 320811"/>
                <a:gd name="connsiteY220" fmla="*/ 52471 h 175454"/>
                <a:gd name="connsiteX221" fmla="*/ 62876 w 320811"/>
                <a:gd name="connsiteY221" fmla="*/ 52471 h 175454"/>
                <a:gd name="connsiteX222" fmla="*/ 70771 w 320811"/>
                <a:gd name="connsiteY222" fmla="*/ 47833 h 175454"/>
                <a:gd name="connsiteX223" fmla="*/ 70771 w 320811"/>
                <a:gd name="connsiteY223" fmla="*/ 50942 h 175454"/>
                <a:gd name="connsiteX224" fmla="*/ 68847 w 320811"/>
                <a:gd name="connsiteY224" fmla="*/ 55530 h 175454"/>
                <a:gd name="connsiteX225" fmla="*/ 70771 w 320811"/>
                <a:gd name="connsiteY225" fmla="*/ 57060 h 175454"/>
                <a:gd name="connsiteX226" fmla="*/ 74718 w 320811"/>
                <a:gd name="connsiteY226" fmla="*/ 54001 h 175454"/>
                <a:gd name="connsiteX227" fmla="*/ 84586 w 320811"/>
                <a:gd name="connsiteY227" fmla="*/ 57060 h 175454"/>
                <a:gd name="connsiteX228" fmla="*/ 80639 w 320811"/>
                <a:gd name="connsiteY228" fmla="*/ 58639 h 175454"/>
                <a:gd name="connsiteX229" fmla="*/ 74718 w 320811"/>
                <a:gd name="connsiteY229" fmla="*/ 58639 h 175454"/>
                <a:gd name="connsiteX230" fmla="*/ 70771 w 320811"/>
                <a:gd name="connsiteY230" fmla="*/ 61698 h 175454"/>
                <a:gd name="connsiteX231" fmla="*/ 64900 w 320811"/>
                <a:gd name="connsiteY231" fmla="*/ 61698 h 175454"/>
                <a:gd name="connsiteX232" fmla="*/ 55032 w 320811"/>
                <a:gd name="connsiteY232" fmla="*/ 67865 h 175454"/>
                <a:gd name="connsiteX233" fmla="*/ 55032 w 320811"/>
                <a:gd name="connsiteY233" fmla="*/ 69395 h 175454"/>
                <a:gd name="connsiteX234" fmla="*/ 66873 w 320811"/>
                <a:gd name="connsiteY234" fmla="*/ 72503 h 175454"/>
                <a:gd name="connsiteX235" fmla="*/ 72745 w 320811"/>
                <a:gd name="connsiteY235" fmla="*/ 70925 h 175454"/>
                <a:gd name="connsiteX236" fmla="*/ 74718 w 320811"/>
                <a:gd name="connsiteY236" fmla="*/ 67865 h 175454"/>
                <a:gd name="connsiteX237" fmla="*/ 80639 w 320811"/>
                <a:gd name="connsiteY237" fmla="*/ 66336 h 175454"/>
                <a:gd name="connsiteX238" fmla="*/ 80639 w 320811"/>
                <a:gd name="connsiteY238" fmla="*/ 70925 h 175454"/>
                <a:gd name="connsiteX239" fmla="*/ 74718 w 320811"/>
                <a:gd name="connsiteY239" fmla="*/ 75563 h 175454"/>
                <a:gd name="connsiteX240" fmla="*/ 62876 w 320811"/>
                <a:gd name="connsiteY240" fmla="*/ 77092 h 175454"/>
                <a:gd name="connsiteX241" fmla="*/ 58979 w 320811"/>
                <a:gd name="connsiteY241" fmla="*/ 75563 h 175454"/>
                <a:gd name="connsiteX242" fmla="*/ 53107 w 320811"/>
                <a:gd name="connsiteY242" fmla="*/ 80151 h 175454"/>
                <a:gd name="connsiteX243" fmla="*/ 51084 w 320811"/>
                <a:gd name="connsiteY243" fmla="*/ 77092 h 175454"/>
                <a:gd name="connsiteX244" fmla="*/ 49111 w 320811"/>
                <a:gd name="connsiteY244" fmla="*/ 75563 h 175454"/>
                <a:gd name="connsiteX245" fmla="*/ 49111 w 320811"/>
                <a:gd name="connsiteY245" fmla="*/ 73836 h 175454"/>
                <a:gd name="connsiteX246" fmla="*/ 45163 w 320811"/>
                <a:gd name="connsiteY246" fmla="*/ 72306 h 175454"/>
                <a:gd name="connsiteX247" fmla="*/ 45163 w 320811"/>
                <a:gd name="connsiteY247" fmla="*/ 75365 h 175454"/>
                <a:gd name="connsiteX248" fmla="*/ 37319 w 320811"/>
                <a:gd name="connsiteY248" fmla="*/ 79954 h 175454"/>
                <a:gd name="connsiteX249" fmla="*/ 33371 w 320811"/>
                <a:gd name="connsiteY249" fmla="*/ 76895 h 175454"/>
                <a:gd name="connsiteX250" fmla="*/ 29424 w 320811"/>
                <a:gd name="connsiteY250" fmla="*/ 78424 h 175454"/>
                <a:gd name="connsiteX251" fmla="*/ 23552 w 320811"/>
                <a:gd name="connsiteY251" fmla="*/ 79954 h 175454"/>
                <a:gd name="connsiteX252" fmla="*/ 15658 w 320811"/>
                <a:gd name="connsiteY252" fmla="*/ 78424 h 175454"/>
                <a:gd name="connsiteX253" fmla="*/ 11760 w 320811"/>
                <a:gd name="connsiteY253" fmla="*/ 79954 h 175454"/>
                <a:gd name="connsiteX254" fmla="*/ 5790 w 320811"/>
                <a:gd name="connsiteY254" fmla="*/ 79954 h 175454"/>
                <a:gd name="connsiteX255" fmla="*/ 11760 w 320811"/>
                <a:gd name="connsiteY255" fmla="*/ 86121 h 175454"/>
                <a:gd name="connsiteX256" fmla="*/ 15658 w 320811"/>
                <a:gd name="connsiteY256" fmla="*/ 92289 h 175454"/>
                <a:gd name="connsiteX257" fmla="*/ 23552 w 320811"/>
                <a:gd name="connsiteY257" fmla="*/ 92289 h 175454"/>
                <a:gd name="connsiteX258" fmla="*/ 23552 w 320811"/>
                <a:gd name="connsiteY258" fmla="*/ 89180 h 175454"/>
                <a:gd name="connsiteX259" fmla="*/ 35345 w 320811"/>
                <a:gd name="connsiteY259" fmla="*/ 93818 h 175454"/>
                <a:gd name="connsiteX260" fmla="*/ 49111 w 320811"/>
                <a:gd name="connsiteY260" fmla="*/ 92289 h 175454"/>
                <a:gd name="connsiteX261" fmla="*/ 57005 w 320811"/>
                <a:gd name="connsiteY261" fmla="*/ 93818 h 175454"/>
                <a:gd name="connsiteX262" fmla="*/ 57005 w 320811"/>
                <a:gd name="connsiteY262" fmla="*/ 95348 h 175454"/>
                <a:gd name="connsiteX263" fmla="*/ 53107 w 320811"/>
                <a:gd name="connsiteY263" fmla="*/ 98456 h 175454"/>
                <a:gd name="connsiteX264" fmla="*/ 51084 w 320811"/>
                <a:gd name="connsiteY264" fmla="*/ 101515 h 175454"/>
                <a:gd name="connsiteX265" fmla="*/ 58979 w 320811"/>
                <a:gd name="connsiteY265" fmla="*/ 104624 h 175454"/>
                <a:gd name="connsiteX266" fmla="*/ 58979 w 320811"/>
                <a:gd name="connsiteY266" fmla="*/ 109213 h 175454"/>
                <a:gd name="connsiteX267" fmla="*/ 62876 w 320811"/>
                <a:gd name="connsiteY267" fmla="*/ 109213 h 175454"/>
                <a:gd name="connsiteX268" fmla="*/ 72745 w 320811"/>
                <a:gd name="connsiteY268" fmla="*/ 103045 h 175454"/>
                <a:gd name="connsiteX269" fmla="*/ 70771 w 320811"/>
                <a:gd name="connsiteY269" fmla="*/ 107683 h 175454"/>
                <a:gd name="connsiteX270" fmla="*/ 64900 w 320811"/>
                <a:gd name="connsiteY270" fmla="*/ 110742 h 175454"/>
                <a:gd name="connsiteX271" fmla="*/ 60952 w 320811"/>
                <a:gd name="connsiteY271" fmla="*/ 115331 h 175454"/>
                <a:gd name="connsiteX272" fmla="*/ 66873 w 320811"/>
                <a:gd name="connsiteY272" fmla="*/ 119969 h 175454"/>
                <a:gd name="connsiteX273" fmla="*/ 74718 w 320811"/>
                <a:gd name="connsiteY273" fmla="*/ 112272 h 175454"/>
                <a:gd name="connsiteX274" fmla="*/ 84586 w 320811"/>
                <a:gd name="connsiteY274" fmla="*/ 113801 h 175454"/>
                <a:gd name="connsiteX275" fmla="*/ 86511 w 320811"/>
                <a:gd name="connsiteY275" fmla="*/ 116860 h 175454"/>
                <a:gd name="connsiteX276" fmla="*/ 82613 w 320811"/>
                <a:gd name="connsiteY276" fmla="*/ 115331 h 175454"/>
                <a:gd name="connsiteX277" fmla="*/ 72745 w 320811"/>
                <a:gd name="connsiteY277" fmla="*/ 116860 h 175454"/>
                <a:gd name="connsiteX278" fmla="*/ 68847 w 320811"/>
                <a:gd name="connsiteY278" fmla="*/ 123028 h 175454"/>
                <a:gd name="connsiteX279" fmla="*/ 62876 w 320811"/>
                <a:gd name="connsiteY279" fmla="*/ 123028 h 175454"/>
                <a:gd name="connsiteX280" fmla="*/ 62876 w 320811"/>
                <a:gd name="connsiteY280" fmla="*/ 126136 h 175454"/>
                <a:gd name="connsiteX281" fmla="*/ 58979 w 320811"/>
                <a:gd name="connsiteY281" fmla="*/ 129195 h 175454"/>
                <a:gd name="connsiteX282" fmla="*/ 55032 w 320811"/>
                <a:gd name="connsiteY282" fmla="*/ 129195 h 175454"/>
                <a:gd name="connsiteX283" fmla="*/ 51084 w 320811"/>
                <a:gd name="connsiteY283" fmla="*/ 130725 h 175454"/>
                <a:gd name="connsiteX284" fmla="*/ 49111 w 320811"/>
                <a:gd name="connsiteY284" fmla="*/ 127666 h 175454"/>
                <a:gd name="connsiteX285" fmla="*/ 41265 w 320811"/>
                <a:gd name="connsiteY285" fmla="*/ 124557 h 175454"/>
                <a:gd name="connsiteX286" fmla="*/ 41265 w 320811"/>
                <a:gd name="connsiteY286" fmla="*/ 126136 h 175454"/>
                <a:gd name="connsiteX287" fmla="*/ 39292 w 320811"/>
                <a:gd name="connsiteY287" fmla="*/ 126136 h 175454"/>
                <a:gd name="connsiteX288" fmla="*/ 39292 w 320811"/>
                <a:gd name="connsiteY288" fmla="*/ 133833 h 175454"/>
                <a:gd name="connsiteX289" fmla="*/ 45163 w 320811"/>
                <a:gd name="connsiteY289" fmla="*/ 135363 h 175454"/>
                <a:gd name="connsiteX290" fmla="*/ 41265 w 320811"/>
                <a:gd name="connsiteY290" fmla="*/ 136893 h 175454"/>
                <a:gd name="connsiteX291" fmla="*/ 39292 w 320811"/>
                <a:gd name="connsiteY291" fmla="*/ 147649 h 175454"/>
                <a:gd name="connsiteX292" fmla="*/ 49160 w 320811"/>
                <a:gd name="connsiteY292" fmla="*/ 147649 h 175454"/>
                <a:gd name="connsiteX293" fmla="*/ 51133 w 320811"/>
                <a:gd name="connsiteY293" fmla="*/ 146119 h 175454"/>
                <a:gd name="connsiteX294" fmla="*/ 57055 w 320811"/>
                <a:gd name="connsiteY294" fmla="*/ 147649 h 175454"/>
                <a:gd name="connsiteX295" fmla="*/ 68896 w 320811"/>
                <a:gd name="connsiteY295" fmla="*/ 149178 h 175454"/>
                <a:gd name="connsiteX296" fmla="*/ 78764 w 320811"/>
                <a:gd name="connsiteY296" fmla="*/ 143060 h 175454"/>
                <a:gd name="connsiteX297" fmla="*/ 84685 w 320811"/>
                <a:gd name="connsiteY297" fmla="*/ 147649 h 175454"/>
                <a:gd name="connsiteX298" fmla="*/ 90556 w 320811"/>
                <a:gd name="connsiteY298" fmla="*/ 143060 h 175454"/>
                <a:gd name="connsiteX299" fmla="*/ 92579 w 320811"/>
                <a:gd name="connsiteY299" fmla="*/ 147649 h 17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</a:cxnLst>
              <a:rect l="l" t="t" r="r" b="b"/>
              <a:pathLst>
                <a:path w="320811" h="175454">
                  <a:moveTo>
                    <a:pt x="113845" y="175427"/>
                  </a:moveTo>
                  <a:lnTo>
                    <a:pt x="109947" y="172368"/>
                  </a:lnTo>
                  <a:lnTo>
                    <a:pt x="113845" y="166201"/>
                  </a:lnTo>
                  <a:lnTo>
                    <a:pt x="115819" y="166201"/>
                  </a:lnTo>
                  <a:lnTo>
                    <a:pt x="117792" y="173898"/>
                  </a:lnTo>
                  <a:lnTo>
                    <a:pt x="113845" y="175427"/>
                  </a:lnTo>
                  <a:close/>
                  <a:moveTo>
                    <a:pt x="96132" y="149228"/>
                  </a:moveTo>
                  <a:lnTo>
                    <a:pt x="102053" y="146169"/>
                  </a:lnTo>
                  <a:lnTo>
                    <a:pt x="102053" y="152336"/>
                  </a:lnTo>
                  <a:lnTo>
                    <a:pt x="109947" y="160033"/>
                  </a:lnTo>
                  <a:lnTo>
                    <a:pt x="117792" y="161563"/>
                  </a:lnTo>
                  <a:lnTo>
                    <a:pt x="121740" y="158454"/>
                  </a:lnTo>
                  <a:lnTo>
                    <a:pt x="129585" y="158454"/>
                  </a:lnTo>
                  <a:lnTo>
                    <a:pt x="139453" y="167730"/>
                  </a:lnTo>
                  <a:lnTo>
                    <a:pt x="155193" y="166201"/>
                  </a:lnTo>
                  <a:lnTo>
                    <a:pt x="161113" y="169260"/>
                  </a:lnTo>
                  <a:lnTo>
                    <a:pt x="170981" y="166201"/>
                  </a:lnTo>
                  <a:lnTo>
                    <a:pt x="169008" y="160033"/>
                  </a:lnTo>
                  <a:lnTo>
                    <a:pt x="170981" y="156925"/>
                  </a:lnTo>
                  <a:lnTo>
                    <a:pt x="173004" y="160033"/>
                  </a:lnTo>
                  <a:lnTo>
                    <a:pt x="182873" y="163092"/>
                  </a:lnTo>
                  <a:lnTo>
                    <a:pt x="190767" y="156925"/>
                  </a:lnTo>
                  <a:lnTo>
                    <a:pt x="190767" y="149228"/>
                  </a:lnTo>
                  <a:lnTo>
                    <a:pt x="198612" y="147698"/>
                  </a:lnTo>
                  <a:lnTo>
                    <a:pt x="196638" y="152336"/>
                  </a:lnTo>
                  <a:lnTo>
                    <a:pt x="198612" y="153866"/>
                  </a:lnTo>
                  <a:lnTo>
                    <a:pt x="200586" y="152336"/>
                  </a:lnTo>
                  <a:lnTo>
                    <a:pt x="206506" y="150757"/>
                  </a:lnTo>
                  <a:lnTo>
                    <a:pt x="212427" y="143110"/>
                  </a:lnTo>
                  <a:lnTo>
                    <a:pt x="218299" y="146169"/>
                  </a:lnTo>
                  <a:lnTo>
                    <a:pt x="220272" y="143110"/>
                  </a:lnTo>
                  <a:lnTo>
                    <a:pt x="226193" y="143110"/>
                  </a:lnTo>
                  <a:lnTo>
                    <a:pt x="226193" y="146169"/>
                  </a:lnTo>
                  <a:lnTo>
                    <a:pt x="228167" y="143110"/>
                  </a:lnTo>
                  <a:lnTo>
                    <a:pt x="243907" y="132353"/>
                  </a:lnTo>
                  <a:lnTo>
                    <a:pt x="249827" y="126186"/>
                  </a:lnTo>
                  <a:lnTo>
                    <a:pt x="267540" y="123077"/>
                  </a:lnTo>
                  <a:lnTo>
                    <a:pt x="271488" y="120018"/>
                  </a:lnTo>
                  <a:lnTo>
                    <a:pt x="269514" y="115380"/>
                  </a:lnTo>
                  <a:lnTo>
                    <a:pt x="269514" y="112321"/>
                  </a:lnTo>
                  <a:lnTo>
                    <a:pt x="273461" y="112321"/>
                  </a:lnTo>
                  <a:lnTo>
                    <a:pt x="275435" y="116910"/>
                  </a:lnTo>
                  <a:lnTo>
                    <a:pt x="285303" y="120018"/>
                  </a:lnTo>
                  <a:lnTo>
                    <a:pt x="289250" y="113851"/>
                  </a:lnTo>
                  <a:lnTo>
                    <a:pt x="291224" y="110791"/>
                  </a:lnTo>
                  <a:lnTo>
                    <a:pt x="289250" y="109262"/>
                  </a:lnTo>
                  <a:lnTo>
                    <a:pt x="289250" y="104673"/>
                  </a:lnTo>
                  <a:lnTo>
                    <a:pt x="293198" y="104673"/>
                  </a:lnTo>
                  <a:lnTo>
                    <a:pt x="291224" y="96927"/>
                  </a:lnTo>
                  <a:lnTo>
                    <a:pt x="293198" y="93868"/>
                  </a:lnTo>
                  <a:lnTo>
                    <a:pt x="299118" y="96927"/>
                  </a:lnTo>
                  <a:lnTo>
                    <a:pt x="301042" y="101565"/>
                  </a:lnTo>
                  <a:lnTo>
                    <a:pt x="304990" y="101565"/>
                  </a:lnTo>
                  <a:lnTo>
                    <a:pt x="308937" y="95397"/>
                  </a:lnTo>
                  <a:lnTo>
                    <a:pt x="306963" y="87700"/>
                  </a:lnTo>
                  <a:lnTo>
                    <a:pt x="301042" y="83062"/>
                  </a:lnTo>
                  <a:lnTo>
                    <a:pt x="301042" y="76944"/>
                  </a:lnTo>
                  <a:lnTo>
                    <a:pt x="304990" y="73885"/>
                  </a:lnTo>
                  <a:lnTo>
                    <a:pt x="304990" y="69247"/>
                  </a:lnTo>
                  <a:lnTo>
                    <a:pt x="310911" y="66188"/>
                  </a:lnTo>
                  <a:lnTo>
                    <a:pt x="314858" y="66188"/>
                  </a:lnTo>
                  <a:lnTo>
                    <a:pt x="320729" y="60020"/>
                  </a:lnTo>
                  <a:lnTo>
                    <a:pt x="312884" y="55382"/>
                  </a:lnTo>
                  <a:lnTo>
                    <a:pt x="299118" y="53853"/>
                  </a:lnTo>
                  <a:lnTo>
                    <a:pt x="295171" y="56912"/>
                  </a:lnTo>
                  <a:lnTo>
                    <a:pt x="299118" y="52323"/>
                  </a:lnTo>
                  <a:lnTo>
                    <a:pt x="299118" y="47685"/>
                  </a:lnTo>
                  <a:lnTo>
                    <a:pt x="291224" y="47685"/>
                  </a:lnTo>
                  <a:lnTo>
                    <a:pt x="289250" y="49215"/>
                  </a:lnTo>
                  <a:lnTo>
                    <a:pt x="285303" y="43097"/>
                  </a:lnTo>
                  <a:lnTo>
                    <a:pt x="291224" y="36929"/>
                  </a:lnTo>
                  <a:lnTo>
                    <a:pt x="295171" y="35399"/>
                  </a:lnTo>
                  <a:lnTo>
                    <a:pt x="295171" y="27702"/>
                  </a:lnTo>
                  <a:lnTo>
                    <a:pt x="291224" y="26173"/>
                  </a:lnTo>
                  <a:lnTo>
                    <a:pt x="287276" y="29232"/>
                  </a:lnTo>
                  <a:lnTo>
                    <a:pt x="279382" y="27702"/>
                  </a:lnTo>
                  <a:lnTo>
                    <a:pt x="277408" y="21535"/>
                  </a:lnTo>
                  <a:lnTo>
                    <a:pt x="285303" y="18476"/>
                  </a:lnTo>
                  <a:lnTo>
                    <a:pt x="285303" y="15367"/>
                  </a:lnTo>
                  <a:lnTo>
                    <a:pt x="289250" y="12308"/>
                  </a:lnTo>
                  <a:lnTo>
                    <a:pt x="295171" y="9200"/>
                  </a:lnTo>
                  <a:lnTo>
                    <a:pt x="287276" y="6141"/>
                  </a:lnTo>
                  <a:lnTo>
                    <a:pt x="281405" y="7670"/>
                  </a:lnTo>
                  <a:lnTo>
                    <a:pt x="269563" y="18476"/>
                  </a:lnTo>
                  <a:lnTo>
                    <a:pt x="267590" y="23064"/>
                  </a:lnTo>
                  <a:lnTo>
                    <a:pt x="263643" y="24643"/>
                  </a:lnTo>
                  <a:lnTo>
                    <a:pt x="259695" y="18476"/>
                  </a:lnTo>
                  <a:lnTo>
                    <a:pt x="261669" y="15367"/>
                  </a:lnTo>
                  <a:lnTo>
                    <a:pt x="259695" y="12308"/>
                  </a:lnTo>
                  <a:lnTo>
                    <a:pt x="257771" y="4611"/>
                  </a:lnTo>
                  <a:lnTo>
                    <a:pt x="251801" y="3082"/>
                  </a:lnTo>
                  <a:lnTo>
                    <a:pt x="243956" y="6141"/>
                  </a:lnTo>
                  <a:lnTo>
                    <a:pt x="240008" y="4611"/>
                  </a:lnTo>
                  <a:lnTo>
                    <a:pt x="238035" y="9200"/>
                  </a:lnTo>
                  <a:lnTo>
                    <a:pt x="240008" y="16946"/>
                  </a:lnTo>
                  <a:lnTo>
                    <a:pt x="238035" y="21535"/>
                  </a:lnTo>
                  <a:lnTo>
                    <a:pt x="230190" y="21535"/>
                  </a:lnTo>
                  <a:lnTo>
                    <a:pt x="224269" y="24643"/>
                  </a:lnTo>
                  <a:lnTo>
                    <a:pt x="224269" y="20005"/>
                  </a:lnTo>
                  <a:lnTo>
                    <a:pt x="220322" y="16946"/>
                  </a:lnTo>
                  <a:lnTo>
                    <a:pt x="216424" y="21535"/>
                  </a:lnTo>
                  <a:lnTo>
                    <a:pt x="210454" y="29232"/>
                  </a:lnTo>
                  <a:lnTo>
                    <a:pt x="204582" y="29232"/>
                  </a:lnTo>
                  <a:lnTo>
                    <a:pt x="196687" y="20005"/>
                  </a:lnTo>
                  <a:lnTo>
                    <a:pt x="192790" y="21535"/>
                  </a:lnTo>
                  <a:lnTo>
                    <a:pt x="190816" y="20005"/>
                  </a:lnTo>
                  <a:lnTo>
                    <a:pt x="184895" y="20005"/>
                  </a:lnTo>
                  <a:lnTo>
                    <a:pt x="182922" y="29232"/>
                  </a:lnTo>
                  <a:lnTo>
                    <a:pt x="188843" y="41567"/>
                  </a:lnTo>
                  <a:lnTo>
                    <a:pt x="182922" y="56912"/>
                  </a:lnTo>
                  <a:lnTo>
                    <a:pt x="184895" y="43097"/>
                  </a:lnTo>
                  <a:lnTo>
                    <a:pt x="177001" y="33870"/>
                  </a:lnTo>
                  <a:lnTo>
                    <a:pt x="177001" y="29429"/>
                  </a:lnTo>
                  <a:lnTo>
                    <a:pt x="173103" y="26370"/>
                  </a:lnTo>
                  <a:lnTo>
                    <a:pt x="175076" y="20203"/>
                  </a:lnTo>
                  <a:lnTo>
                    <a:pt x="167182" y="17144"/>
                  </a:lnTo>
                  <a:lnTo>
                    <a:pt x="153367" y="24841"/>
                  </a:lnTo>
                  <a:lnTo>
                    <a:pt x="151443" y="31008"/>
                  </a:lnTo>
                  <a:lnTo>
                    <a:pt x="155340" y="35597"/>
                  </a:lnTo>
                  <a:lnTo>
                    <a:pt x="149469" y="44823"/>
                  </a:lnTo>
                  <a:lnTo>
                    <a:pt x="141575" y="44823"/>
                  </a:lnTo>
                  <a:lnTo>
                    <a:pt x="141575" y="35597"/>
                  </a:lnTo>
                  <a:lnTo>
                    <a:pt x="135654" y="32538"/>
                  </a:lnTo>
                  <a:lnTo>
                    <a:pt x="135654" y="21535"/>
                  </a:lnTo>
                  <a:lnTo>
                    <a:pt x="129733" y="16946"/>
                  </a:lnTo>
                  <a:lnTo>
                    <a:pt x="121888" y="23064"/>
                  </a:lnTo>
                  <a:lnTo>
                    <a:pt x="123861" y="36929"/>
                  </a:lnTo>
                  <a:lnTo>
                    <a:pt x="125835" y="43097"/>
                  </a:lnTo>
                  <a:lnTo>
                    <a:pt x="125835" y="52323"/>
                  </a:lnTo>
                  <a:lnTo>
                    <a:pt x="121888" y="56912"/>
                  </a:lnTo>
                  <a:lnTo>
                    <a:pt x="115967" y="56912"/>
                  </a:lnTo>
                  <a:lnTo>
                    <a:pt x="115967" y="49165"/>
                  </a:lnTo>
                  <a:lnTo>
                    <a:pt x="106099" y="52274"/>
                  </a:lnTo>
                  <a:lnTo>
                    <a:pt x="104125" y="59971"/>
                  </a:lnTo>
                  <a:lnTo>
                    <a:pt x="100178" y="61501"/>
                  </a:lnTo>
                  <a:lnTo>
                    <a:pt x="100178" y="73836"/>
                  </a:lnTo>
                  <a:lnTo>
                    <a:pt x="94306" y="63030"/>
                  </a:lnTo>
                  <a:lnTo>
                    <a:pt x="90310" y="61501"/>
                  </a:lnTo>
                  <a:lnTo>
                    <a:pt x="90310" y="56863"/>
                  </a:lnTo>
                  <a:lnTo>
                    <a:pt x="96231" y="52274"/>
                  </a:lnTo>
                  <a:lnTo>
                    <a:pt x="96231" y="47636"/>
                  </a:lnTo>
                  <a:lnTo>
                    <a:pt x="88336" y="47636"/>
                  </a:lnTo>
                  <a:lnTo>
                    <a:pt x="92333" y="43047"/>
                  </a:lnTo>
                  <a:lnTo>
                    <a:pt x="88336" y="35350"/>
                  </a:lnTo>
                  <a:lnTo>
                    <a:pt x="92333" y="39939"/>
                  </a:lnTo>
                  <a:lnTo>
                    <a:pt x="98204" y="33821"/>
                  </a:lnTo>
                  <a:lnTo>
                    <a:pt x="96231" y="29183"/>
                  </a:lnTo>
                  <a:lnTo>
                    <a:pt x="90310" y="27653"/>
                  </a:lnTo>
                  <a:lnTo>
                    <a:pt x="96231" y="23015"/>
                  </a:lnTo>
                  <a:lnTo>
                    <a:pt x="90310" y="18426"/>
                  </a:lnTo>
                  <a:lnTo>
                    <a:pt x="86363" y="21486"/>
                  </a:lnTo>
                  <a:lnTo>
                    <a:pt x="84438" y="16897"/>
                  </a:lnTo>
                  <a:lnTo>
                    <a:pt x="72596" y="12259"/>
                  </a:lnTo>
                  <a:lnTo>
                    <a:pt x="72596" y="6091"/>
                  </a:lnTo>
                  <a:lnTo>
                    <a:pt x="70623" y="1503"/>
                  </a:lnTo>
                  <a:lnTo>
                    <a:pt x="62728" y="1503"/>
                  </a:lnTo>
                  <a:lnTo>
                    <a:pt x="56857" y="-27"/>
                  </a:lnTo>
                  <a:lnTo>
                    <a:pt x="46989" y="1503"/>
                  </a:lnTo>
                  <a:lnTo>
                    <a:pt x="45015" y="3032"/>
                  </a:lnTo>
                  <a:lnTo>
                    <a:pt x="48963" y="6091"/>
                  </a:lnTo>
                  <a:lnTo>
                    <a:pt x="52959" y="6091"/>
                  </a:lnTo>
                  <a:lnTo>
                    <a:pt x="52959" y="4759"/>
                  </a:lnTo>
                  <a:lnTo>
                    <a:pt x="58831" y="4759"/>
                  </a:lnTo>
                  <a:lnTo>
                    <a:pt x="62728" y="6289"/>
                  </a:lnTo>
                  <a:lnTo>
                    <a:pt x="66725" y="7818"/>
                  </a:lnTo>
                  <a:lnTo>
                    <a:pt x="64751" y="12456"/>
                  </a:lnTo>
                  <a:lnTo>
                    <a:pt x="58831" y="9348"/>
                  </a:lnTo>
                  <a:lnTo>
                    <a:pt x="52959" y="9348"/>
                  </a:lnTo>
                  <a:lnTo>
                    <a:pt x="52959" y="12456"/>
                  </a:lnTo>
                  <a:lnTo>
                    <a:pt x="62827" y="18624"/>
                  </a:lnTo>
                  <a:lnTo>
                    <a:pt x="68798" y="24791"/>
                  </a:lnTo>
                  <a:lnTo>
                    <a:pt x="66824" y="29380"/>
                  </a:lnTo>
                  <a:lnTo>
                    <a:pt x="64850" y="29380"/>
                  </a:lnTo>
                  <a:lnTo>
                    <a:pt x="64850" y="26321"/>
                  </a:lnTo>
                  <a:lnTo>
                    <a:pt x="56956" y="21683"/>
                  </a:lnTo>
                  <a:lnTo>
                    <a:pt x="53058" y="24791"/>
                  </a:lnTo>
                  <a:lnTo>
                    <a:pt x="49062" y="24791"/>
                  </a:lnTo>
                  <a:lnTo>
                    <a:pt x="51035" y="20153"/>
                  </a:lnTo>
                  <a:lnTo>
                    <a:pt x="45114" y="13986"/>
                  </a:lnTo>
                  <a:lnTo>
                    <a:pt x="37269" y="12456"/>
                  </a:lnTo>
                  <a:lnTo>
                    <a:pt x="31348" y="13986"/>
                  </a:lnTo>
                  <a:lnTo>
                    <a:pt x="37269" y="20153"/>
                  </a:lnTo>
                  <a:lnTo>
                    <a:pt x="35295" y="23212"/>
                  </a:lnTo>
                  <a:lnTo>
                    <a:pt x="31348" y="18624"/>
                  </a:lnTo>
                  <a:lnTo>
                    <a:pt x="25477" y="17094"/>
                  </a:lnTo>
                  <a:lnTo>
                    <a:pt x="23503" y="20153"/>
                  </a:lnTo>
                  <a:lnTo>
                    <a:pt x="27450" y="24791"/>
                  </a:lnTo>
                  <a:lnTo>
                    <a:pt x="31348" y="26321"/>
                  </a:lnTo>
                  <a:lnTo>
                    <a:pt x="35295" y="29380"/>
                  </a:lnTo>
                  <a:lnTo>
                    <a:pt x="27450" y="27850"/>
                  </a:lnTo>
                  <a:lnTo>
                    <a:pt x="21480" y="29380"/>
                  </a:lnTo>
                  <a:lnTo>
                    <a:pt x="25477" y="34018"/>
                  </a:lnTo>
                  <a:lnTo>
                    <a:pt x="35345" y="37077"/>
                  </a:lnTo>
                  <a:lnTo>
                    <a:pt x="31397" y="37077"/>
                  </a:lnTo>
                  <a:lnTo>
                    <a:pt x="29424" y="40136"/>
                  </a:lnTo>
                  <a:lnTo>
                    <a:pt x="29424" y="43245"/>
                  </a:lnTo>
                  <a:lnTo>
                    <a:pt x="27500" y="43245"/>
                  </a:lnTo>
                  <a:lnTo>
                    <a:pt x="17632" y="34018"/>
                  </a:lnTo>
                  <a:lnTo>
                    <a:pt x="15658" y="34018"/>
                  </a:lnTo>
                  <a:lnTo>
                    <a:pt x="11760" y="37077"/>
                  </a:lnTo>
                  <a:lnTo>
                    <a:pt x="15658" y="44774"/>
                  </a:lnTo>
                  <a:lnTo>
                    <a:pt x="19605" y="49363"/>
                  </a:lnTo>
                  <a:lnTo>
                    <a:pt x="15658" y="50942"/>
                  </a:lnTo>
                  <a:lnTo>
                    <a:pt x="11760" y="43245"/>
                  </a:lnTo>
                  <a:lnTo>
                    <a:pt x="3866" y="41715"/>
                  </a:lnTo>
                  <a:lnTo>
                    <a:pt x="-82" y="47833"/>
                  </a:lnTo>
                  <a:lnTo>
                    <a:pt x="5790" y="50942"/>
                  </a:lnTo>
                  <a:lnTo>
                    <a:pt x="13684" y="55530"/>
                  </a:lnTo>
                  <a:lnTo>
                    <a:pt x="23552" y="57060"/>
                  </a:lnTo>
                  <a:lnTo>
                    <a:pt x="27500" y="50942"/>
                  </a:lnTo>
                  <a:lnTo>
                    <a:pt x="33371" y="49363"/>
                  </a:lnTo>
                  <a:lnTo>
                    <a:pt x="37319" y="44774"/>
                  </a:lnTo>
                  <a:lnTo>
                    <a:pt x="39292" y="47833"/>
                  </a:lnTo>
                  <a:lnTo>
                    <a:pt x="39292" y="50942"/>
                  </a:lnTo>
                  <a:lnTo>
                    <a:pt x="45163" y="50942"/>
                  </a:lnTo>
                  <a:lnTo>
                    <a:pt x="49111" y="47833"/>
                  </a:lnTo>
                  <a:lnTo>
                    <a:pt x="51084" y="54001"/>
                  </a:lnTo>
                  <a:lnTo>
                    <a:pt x="53107" y="54001"/>
                  </a:lnTo>
                  <a:lnTo>
                    <a:pt x="58979" y="49363"/>
                  </a:lnTo>
                  <a:lnTo>
                    <a:pt x="60952" y="46304"/>
                  </a:lnTo>
                  <a:lnTo>
                    <a:pt x="60952" y="52471"/>
                  </a:lnTo>
                  <a:lnTo>
                    <a:pt x="62876" y="52471"/>
                  </a:lnTo>
                  <a:lnTo>
                    <a:pt x="70771" y="47833"/>
                  </a:lnTo>
                  <a:lnTo>
                    <a:pt x="70771" y="50942"/>
                  </a:lnTo>
                  <a:lnTo>
                    <a:pt x="68847" y="55530"/>
                  </a:lnTo>
                  <a:lnTo>
                    <a:pt x="70771" y="57060"/>
                  </a:lnTo>
                  <a:lnTo>
                    <a:pt x="74718" y="54001"/>
                  </a:lnTo>
                  <a:lnTo>
                    <a:pt x="84586" y="57060"/>
                  </a:lnTo>
                  <a:lnTo>
                    <a:pt x="80639" y="58639"/>
                  </a:lnTo>
                  <a:lnTo>
                    <a:pt x="74718" y="58639"/>
                  </a:lnTo>
                  <a:lnTo>
                    <a:pt x="70771" y="61698"/>
                  </a:lnTo>
                  <a:lnTo>
                    <a:pt x="64900" y="61698"/>
                  </a:lnTo>
                  <a:lnTo>
                    <a:pt x="55032" y="67865"/>
                  </a:lnTo>
                  <a:lnTo>
                    <a:pt x="55032" y="69395"/>
                  </a:lnTo>
                  <a:lnTo>
                    <a:pt x="66873" y="72503"/>
                  </a:lnTo>
                  <a:lnTo>
                    <a:pt x="72745" y="70925"/>
                  </a:lnTo>
                  <a:lnTo>
                    <a:pt x="74718" y="67865"/>
                  </a:lnTo>
                  <a:lnTo>
                    <a:pt x="80639" y="66336"/>
                  </a:lnTo>
                  <a:lnTo>
                    <a:pt x="80639" y="70925"/>
                  </a:lnTo>
                  <a:lnTo>
                    <a:pt x="74718" y="75563"/>
                  </a:lnTo>
                  <a:lnTo>
                    <a:pt x="62876" y="77092"/>
                  </a:lnTo>
                  <a:lnTo>
                    <a:pt x="58979" y="75563"/>
                  </a:lnTo>
                  <a:lnTo>
                    <a:pt x="53107" y="80151"/>
                  </a:lnTo>
                  <a:lnTo>
                    <a:pt x="51084" y="77092"/>
                  </a:lnTo>
                  <a:lnTo>
                    <a:pt x="49111" y="75563"/>
                  </a:lnTo>
                  <a:lnTo>
                    <a:pt x="49111" y="73836"/>
                  </a:lnTo>
                  <a:lnTo>
                    <a:pt x="45163" y="72306"/>
                  </a:lnTo>
                  <a:lnTo>
                    <a:pt x="45163" y="75365"/>
                  </a:lnTo>
                  <a:lnTo>
                    <a:pt x="37319" y="79954"/>
                  </a:lnTo>
                  <a:lnTo>
                    <a:pt x="33371" y="76895"/>
                  </a:lnTo>
                  <a:lnTo>
                    <a:pt x="29424" y="78424"/>
                  </a:lnTo>
                  <a:lnTo>
                    <a:pt x="23552" y="79954"/>
                  </a:lnTo>
                  <a:lnTo>
                    <a:pt x="15658" y="78424"/>
                  </a:lnTo>
                  <a:lnTo>
                    <a:pt x="11760" y="79954"/>
                  </a:lnTo>
                  <a:lnTo>
                    <a:pt x="5790" y="79954"/>
                  </a:lnTo>
                  <a:lnTo>
                    <a:pt x="11760" y="86121"/>
                  </a:lnTo>
                  <a:lnTo>
                    <a:pt x="15658" y="92289"/>
                  </a:lnTo>
                  <a:lnTo>
                    <a:pt x="23552" y="92289"/>
                  </a:lnTo>
                  <a:lnTo>
                    <a:pt x="23552" y="89180"/>
                  </a:lnTo>
                  <a:lnTo>
                    <a:pt x="35345" y="93818"/>
                  </a:lnTo>
                  <a:lnTo>
                    <a:pt x="49111" y="92289"/>
                  </a:lnTo>
                  <a:lnTo>
                    <a:pt x="57005" y="93818"/>
                  </a:lnTo>
                  <a:lnTo>
                    <a:pt x="57005" y="95348"/>
                  </a:lnTo>
                  <a:lnTo>
                    <a:pt x="53107" y="98456"/>
                  </a:lnTo>
                  <a:lnTo>
                    <a:pt x="51084" y="101515"/>
                  </a:lnTo>
                  <a:lnTo>
                    <a:pt x="58979" y="104624"/>
                  </a:lnTo>
                  <a:lnTo>
                    <a:pt x="58979" y="109213"/>
                  </a:lnTo>
                  <a:lnTo>
                    <a:pt x="62876" y="109213"/>
                  </a:lnTo>
                  <a:lnTo>
                    <a:pt x="72745" y="103045"/>
                  </a:lnTo>
                  <a:lnTo>
                    <a:pt x="70771" y="107683"/>
                  </a:lnTo>
                  <a:lnTo>
                    <a:pt x="64900" y="110742"/>
                  </a:lnTo>
                  <a:lnTo>
                    <a:pt x="60952" y="115331"/>
                  </a:lnTo>
                  <a:lnTo>
                    <a:pt x="66873" y="119969"/>
                  </a:lnTo>
                  <a:lnTo>
                    <a:pt x="74718" y="112272"/>
                  </a:lnTo>
                  <a:lnTo>
                    <a:pt x="84586" y="113801"/>
                  </a:lnTo>
                  <a:lnTo>
                    <a:pt x="86511" y="116860"/>
                  </a:lnTo>
                  <a:lnTo>
                    <a:pt x="82613" y="115331"/>
                  </a:lnTo>
                  <a:lnTo>
                    <a:pt x="72745" y="116860"/>
                  </a:lnTo>
                  <a:lnTo>
                    <a:pt x="68847" y="123028"/>
                  </a:lnTo>
                  <a:lnTo>
                    <a:pt x="62876" y="123028"/>
                  </a:lnTo>
                  <a:lnTo>
                    <a:pt x="62876" y="126136"/>
                  </a:lnTo>
                  <a:lnTo>
                    <a:pt x="58979" y="129195"/>
                  </a:lnTo>
                  <a:lnTo>
                    <a:pt x="55032" y="129195"/>
                  </a:lnTo>
                  <a:lnTo>
                    <a:pt x="51084" y="130725"/>
                  </a:lnTo>
                  <a:lnTo>
                    <a:pt x="49111" y="127666"/>
                  </a:lnTo>
                  <a:lnTo>
                    <a:pt x="41265" y="124557"/>
                  </a:lnTo>
                  <a:lnTo>
                    <a:pt x="41265" y="126136"/>
                  </a:lnTo>
                  <a:lnTo>
                    <a:pt x="39292" y="126136"/>
                  </a:lnTo>
                  <a:lnTo>
                    <a:pt x="39292" y="133833"/>
                  </a:lnTo>
                  <a:lnTo>
                    <a:pt x="45163" y="135363"/>
                  </a:lnTo>
                  <a:lnTo>
                    <a:pt x="41265" y="136893"/>
                  </a:lnTo>
                  <a:lnTo>
                    <a:pt x="39292" y="147649"/>
                  </a:lnTo>
                  <a:lnTo>
                    <a:pt x="49160" y="147649"/>
                  </a:lnTo>
                  <a:lnTo>
                    <a:pt x="51133" y="146119"/>
                  </a:lnTo>
                  <a:lnTo>
                    <a:pt x="57055" y="147649"/>
                  </a:lnTo>
                  <a:lnTo>
                    <a:pt x="68896" y="149178"/>
                  </a:lnTo>
                  <a:lnTo>
                    <a:pt x="78764" y="143060"/>
                  </a:lnTo>
                  <a:lnTo>
                    <a:pt x="84685" y="147649"/>
                  </a:lnTo>
                  <a:lnTo>
                    <a:pt x="90556" y="143060"/>
                  </a:lnTo>
                  <a:lnTo>
                    <a:pt x="92579" y="14764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Graphic 2">
              <a:extLst>
                <a:ext uri="{FF2B5EF4-FFF2-40B4-BE49-F238E27FC236}">
                  <a16:creationId xmlns:a16="http://schemas.microsoft.com/office/drawing/2014/main" id="{A4FC77E8-ED15-4F38-8171-A2FA35E1FCE4}"/>
                </a:ext>
              </a:extLst>
            </p:cNvPr>
            <p:cNvSpPr/>
            <p:nvPr/>
          </p:nvSpPr>
          <p:spPr>
            <a:xfrm>
              <a:off x="3787069" y="1145881"/>
              <a:ext cx="1386794" cy="1529414"/>
            </a:xfrm>
            <a:custGeom>
              <a:avLst/>
              <a:gdLst>
                <a:gd name="connsiteX0" fmla="*/ 451826 w 1526442"/>
                <a:gd name="connsiteY0" fmla="*/ 1667035 h 1683492"/>
                <a:gd name="connsiteX1" fmla="*/ 437271 w 1526442"/>
                <a:gd name="connsiteY1" fmla="*/ 1660572 h 1683492"/>
                <a:gd name="connsiteX2" fmla="*/ 426860 w 1526442"/>
                <a:gd name="connsiteY2" fmla="*/ 1660572 h 1683492"/>
                <a:gd name="connsiteX3" fmla="*/ 426860 w 1526442"/>
                <a:gd name="connsiteY3" fmla="*/ 1652529 h 1683492"/>
                <a:gd name="connsiteX4" fmla="*/ 428883 w 1526442"/>
                <a:gd name="connsiteY4" fmla="*/ 1652529 h 1683492"/>
                <a:gd name="connsiteX5" fmla="*/ 428883 w 1526442"/>
                <a:gd name="connsiteY5" fmla="*/ 1649273 h 1683492"/>
                <a:gd name="connsiteX6" fmla="*/ 426860 w 1526442"/>
                <a:gd name="connsiteY6" fmla="*/ 1649273 h 1683492"/>
                <a:gd name="connsiteX7" fmla="*/ 422666 w 1526442"/>
                <a:gd name="connsiteY7" fmla="*/ 1652529 h 1683492"/>
                <a:gd name="connsiteX8" fmla="*/ 420594 w 1526442"/>
                <a:gd name="connsiteY8" fmla="*/ 1652529 h 1683492"/>
                <a:gd name="connsiteX9" fmla="*/ 420594 w 1526442"/>
                <a:gd name="connsiteY9" fmla="*/ 1660572 h 1683492"/>
                <a:gd name="connsiteX10" fmla="*/ 414328 w 1526442"/>
                <a:gd name="connsiteY10" fmla="*/ 1658993 h 1683492"/>
                <a:gd name="connsiteX11" fmla="*/ 412255 w 1526442"/>
                <a:gd name="connsiteY11" fmla="*/ 1658993 h 1683492"/>
                <a:gd name="connsiteX12" fmla="*/ 412255 w 1526442"/>
                <a:gd name="connsiteY12" fmla="*/ 1667035 h 1683492"/>
                <a:gd name="connsiteX13" fmla="*/ 408061 w 1526442"/>
                <a:gd name="connsiteY13" fmla="*/ 1668664 h 1683492"/>
                <a:gd name="connsiteX14" fmla="*/ 406039 w 1526442"/>
                <a:gd name="connsiteY14" fmla="*/ 1667035 h 1683492"/>
                <a:gd name="connsiteX15" fmla="*/ 408061 w 1526442"/>
                <a:gd name="connsiteY15" fmla="*/ 1662101 h 1683492"/>
                <a:gd name="connsiteX16" fmla="*/ 410183 w 1526442"/>
                <a:gd name="connsiteY16" fmla="*/ 1657167 h 1683492"/>
                <a:gd name="connsiteX17" fmla="*/ 408061 w 1526442"/>
                <a:gd name="connsiteY17" fmla="*/ 1652233 h 1683492"/>
                <a:gd name="connsiteX18" fmla="*/ 416449 w 1526442"/>
                <a:gd name="connsiteY18" fmla="*/ 1645770 h 1683492"/>
                <a:gd name="connsiteX19" fmla="*/ 414328 w 1526442"/>
                <a:gd name="connsiteY19" fmla="*/ 1644142 h 1683492"/>
                <a:gd name="connsiteX20" fmla="*/ 410183 w 1526442"/>
                <a:gd name="connsiteY20" fmla="*/ 1645770 h 1683492"/>
                <a:gd name="connsiteX21" fmla="*/ 403917 w 1526442"/>
                <a:gd name="connsiteY21" fmla="*/ 1657069 h 1683492"/>
                <a:gd name="connsiteX22" fmla="*/ 399772 w 1526442"/>
                <a:gd name="connsiteY22" fmla="*/ 1662003 h 1683492"/>
                <a:gd name="connsiteX23" fmla="*/ 397651 w 1526442"/>
                <a:gd name="connsiteY23" fmla="*/ 1660375 h 1683492"/>
                <a:gd name="connsiteX24" fmla="*/ 397651 w 1526442"/>
                <a:gd name="connsiteY24" fmla="*/ 1655441 h 1683492"/>
                <a:gd name="connsiteX25" fmla="*/ 403917 w 1526442"/>
                <a:gd name="connsiteY25" fmla="*/ 1652233 h 1683492"/>
                <a:gd name="connsiteX26" fmla="*/ 406039 w 1526442"/>
                <a:gd name="connsiteY26" fmla="*/ 1645770 h 1683492"/>
                <a:gd name="connsiteX27" fmla="*/ 410183 w 1526442"/>
                <a:gd name="connsiteY27" fmla="*/ 1639306 h 1683492"/>
                <a:gd name="connsiteX28" fmla="*/ 403917 w 1526442"/>
                <a:gd name="connsiteY28" fmla="*/ 1640934 h 1683492"/>
                <a:gd name="connsiteX29" fmla="*/ 401844 w 1526442"/>
                <a:gd name="connsiteY29" fmla="*/ 1640934 h 1683492"/>
                <a:gd name="connsiteX30" fmla="*/ 399772 w 1526442"/>
                <a:gd name="connsiteY30" fmla="*/ 1645868 h 1683492"/>
                <a:gd name="connsiteX31" fmla="*/ 393506 w 1526442"/>
                <a:gd name="connsiteY31" fmla="*/ 1647497 h 1683492"/>
                <a:gd name="connsiteX32" fmla="*/ 393506 w 1526442"/>
                <a:gd name="connsiteY32" fmla="*/ 1645868 h 1683492"/>
                <a:gd name="connsiteX33" fmla="*/ 395628 w 1526442"/>
                <a:gd name="connsiteY33" fmla="*/ 1640934 h 1683492"/>
                <a:gd name="connsiteX34" fmla="*/ 399772 w 1526442"/>
                <a:gd name="connsiteY34" fmla="*/ 1636000 h 1683492"/>
                <a:gd name="connsiteX35" fmla="*/ 397651 w 1526442"/>
                <a:gd name="connsiteY35" fmla="*/ 1634372 h 1683492"/>
                <a:gd name="connsiteX36" fmla="*/ 395628 w 1526442"/>
                <a:gd name="connsiteY36" fmla="*/ 1636000 h 1683492"/>
                <a:gd name="connsiteX37" fmla="*/ 391434 w 1526442"/>
                <a:gd name="connsiteY37" fmla="*/ 1639208 h 1683492"/>
                <a:gd name="connsiteX38" fmla="*/ 387240 w 1526442"/>
                <a:gd name="connsiteY38" fmla="*/ 1640836 h 1683492"/>
                <a:gd name="connsiteX39" fmla="*/ 387240 w 1526442"/>
                <a:gd name="connsiteY39" fmla="*/ 1645770 h 1683492"/>
                <a:gd name="connsiteX40" fmla="*/ 385217 w 1526442"/>
                <a:gd name="connsiteY40" fmla="*/ 1639306 h 1683492"/>
                <a:gd name="connsiteX41" fmla="*/ 383095 w 1526442"/>
                <a:gd name="connsiteY41" fmla="*/ 1637678 h 1683492"/>
                <a:gd name="connsiteX42" fmla="*/ 381023 w 1526442"/>
                <a:gd name="connsiteY42" fmla="*/ 1637678 h 1683492"/>
                <a:gd name="connsiteX43" fmla="*/ 376829 w 1526442"/>
                <a:gd name="connsiteY43" fmla="*/ 1640934 h 1683492"/>
                <a:gd name="connsiteX44" fmla="*/ 374806 w 1526442"/>
                <a:gd name="connsiteY44" fmla="*/ 1640934 h 1683492"/>
                <a:gd name="connsiteX45" fmla="*/ 376829 w 1526442"/>
                <a:gd name="connsiteY45" fmla="*/ 1637678 h 1683492"/>
                <a:gd name="connsiteX46" fmla="*/ 385217 w 1526442"/>
                <a:gd name="connsiteY46" fmla="*/ 1632744 h 1683492"/>
                <a:gd name="connsiteX47" fmla="*/ 387240 w 1526442"/>
                <a:gd name="connsiteY47" fmla="*/ 1626280 h 1683492"/>
                <a:gd name="connsiteX48" fmla="*/ 391434 w 1526442"/>
                <a:gd name="connsiteY48" fmla="*/ 1626280 h 1683492"/>
                <a:gd name="connsiteX49" fmla="*/ 397651 w 1526442"/>
                <a:gd name="connsiteY49" fmla="*/ 1621346 h 1683492"/>
                <a:gd name="connsiteX50" fmla="*/ 397651 w 1526442"/>
                <a:gd name="connsiteY50" fmla="*/ 1619718 h 1683492"/>
                <a:gd name="connsiteX51" fmla="*/ 389361 w 1526442"/>
                <a:gd name="connsiteY51" fmla="*/ 1622975 h 1683492"/>
                <a:gd name="connsiteX52" fmla="*/ 383095 w 1526442"/>
                <a:gd name="connsiteY52" fmla="*/ 1626182 h 1683492"/>
                <a:gd name="connsiteX53" fmla="*/ 381023 w 1526442"/>
                <a:gd name="connsiteY53" fmla="*/ 1624553 h 1683492"/>
                <a:gd name="connsiteX54" fmla="*/ 383095 w 1526442"/>
                <a:gd name="connsiteY54" fmla="*/ 1622975 h 1683492"/>
                <a:gd name="connsiteX55" fmla="*/ 389361 w 1526442"/>
                <a:gd name="connsiteY55" fmla="*/ 1621346 h 1683492"/>
                <a:gd name="connsiteX56" fmla="*/ 395628 w 1526442"/>
                <a:gd name="connsiteY56" fmla="*/ 1618139 h 1683492"/>
                <a:gd name="connsiteX57" fmla="*/ 401844 w 1526442"/>
                <a:gd name="connsiteY57" fmla="*/ 1614883 h 1683492"/>
                <a:gd name="connsiteX58" fmla="*/ 406039 w 1526442"/>
                <a:gd name="connsiteY58" fmla="*/ 1613254 h 1683492"/>
                <a:gd name="connsiteX59" fmla="*/ 406039 w 1526442"/>
                <a:gd name="connsiteY59" fmla="*/ 1608320 h 1683492"/>
                <a:gd name="connsiteX60" fmla="*/ 403917 w 1526442"/>
                <a:gd name="connsiteY60" fmla="*/ 1603386 h 1683492"/>
                <a:gd name="connsiteX61" fmla="*/ 399772 w 1526442"/>
                <a:gd name="connsiteY61" fmla="*/ 1603386 h 1683492"/>
                <a:gd name="connsiteX62" fmla="*/ 393506 w 1526442"/>
                <a:gd name="connsiteY62" fmla="*/ 1611478 h 1683492"/>
                <a:gd name="connsiteX63" fmla="*/ 383095 w 1526442"/>
                <a:gd name="connsiteY63" fmla="*/ 1617942 h 1683492"/>
                <a:gd name="connsiteX64" fmla="*/ 374806 w 1526442"/>
                <a:gd name="connsiteY64" fmla="*/ 1619521 h 1683492"/>
                <a:gd name="connsiteX65" fmla="*/ 374806 w 1526442"/>
                <a:gd name="connsiteY65" fmla="*/ 1617942 h 1683492"/>
                <a:gd name="connsiteX66" fmla="*/ 376829 w 1526442"/>
                <a:gd name="connsiteY66" fmla="*/ 1616264 h 1683492"/>
                <a:gd name="connsiteX67" fmla="*/ 381023 w 1526442"/>
                <a:gd name="connsiteY67" fmla="*/ 1614685 h 1683492"/>
                <a:gd name="connsiteX68" fmla="*/ 387240 w 1526442"/>
                <a:gd name="connsiteY68" fmla="*/ 1609751 h 1683492"/>
                <a:gd name="connsiteX69" fmla="*/ 387240 w 1526442"/>
                <a:gd name="connsiteY69" fmla="*/ 1603337 h 1683492"/>
                <a:gd name="connsiteX70" fmla="*/ 385217 w 1526442"/>
                <a:gd name="connsiteY70" fmla="*/ 1598403 h 1683492"/>
                <a:gd name="connsiteX71" fmla="*/ 381023 w 1526442"/>
                <a:gd name="connsiteY71" fmla="*/ 1598403 h 1683492"/>
                <a:gd name="connsiteX72" fmla="*/ 378951 w 1526442"/>
                <a:gd name="connsiteY72" fmla="*/ 1600031 h 1683492"/>
                <a:gd name="connsiteX73" fmla="*/ 378951 w 1526442"/>
                <a:gd name="connsiteY73" fmla="*/ 1603288 h 1683492"/>
                <a:gd name="connsiteX74" fmla="*/ 381023 w 1526442"/>
                <a:gd name="connsiteY74" fmla="*/ 1604867 h 1683492"/>
                <a:gd name="connsiteX75" fmla="*/ 381023 w 1526442"/>
                <a:gd name="connsiteY75" fmla="*/ 1608123 h 1683492"/>
                <a:gd name="connsiteX76" fmla="*/ 376829 w 1526442"/>
                <a:gd name="connsiteY76" fmla="*/ 1611379 h 1683492"/>
                <a:gd name="connsiteX77" fmla="*/ 372684 w 1526442"/>
                <a:gd name="connsiteY77" fmla="*/ 1609702 h 1683492"/>
                <a:gd name="connsiteX78" fmla="*/ 362274 w 1526442"/>
                <a:gd name="connsiteY78" fmla="*/ 1609702 h 1683492"/>
                <a:gd name="connsiteX79" fmla="*/ 358080 w 1526442"/>
                <a:gd name="connsiteY79" fmla="*/ 1612958 h 1683492"/>
                <a:gd name="connsiteX80" fmla="*/ 356007 w 1526442"/>
                <a:gd name="connsiteY80" fmla="*/ 1616166 h 1683492"/>
                <a:gd name="connsiteX81" fmla="*/ 351863 w 1526442"/>
                <a:gd name="connsiteY81" fmla="*/ 1617843 h 1683492"/>
                <a:gd name="connsiteX82" fmla="*/ 347669 w 1526442"/>
                <a:gd name="connsiteY82" fmla="*/ 1616166 h 1683492"/>
                <a:gd name="connsiteX83" fmla="*/ 345597 w 1526442"/>
                <a:gd name="connsiteY83" fmla="*/ 1614587 h 1683492"/>
                <a:gd name="connsiteX84" fmla="*/ 339380 w 1526442"/>
                <a:gd name="connsiteY84" fmla="*/ 1614587 h 1683492"/>
                <a:gd name="connsiteX85" fmla="*/ 335186 w 1526442"/>
                <a:gd name="connsiteY85" fmla="*/ 1617843 h 1683492"/>
                <a:gd name="connsiteX86" fmla="*/ 331041 w 1526442"/>
                <a:gd name="connsiteY86" fmla="*/ 1616166 h 1683492"/>
                <a:gd name="connsiteX87" fmla="*/ 328969 w 1526442"/>
                <a:gd name="connsiteY87" fmla="*/ 1617843 h 1683492"/>
                <a:gd name="connsiteX88" fmla="*/ 328969 w 1526442"/>
                <a:gd name="connsiteY88" fmla="*/ 1622777 h 1683492"/>
                <a:gd name="connsiteX89" fmla="*/ 326847 w 1526442"/>
                <a:gd name="connsiteY89" fmla="*/ 1624356 h 1683492"/>
                <a:gd name="connsiteX90" fmla="*/ 316436 w 1526442"/>
                <a:gd name="connsiteY90" fmla="*/ 1622777 h 1683492"/>
                <a:gd name="connsiteX91" fmla="*/ 316436 w 1526442"/>
                <a:gd name="connsiteY91" fmla="*/ 1619521 h 1683492"/>
                <a:gd name="connsiteX92" fmla="*/ 318558 w 1526442"/>
                <a:gd name="connsiteY92" fmla="*/ 1616264 h 1683492"/>
                <a:gd name="connsiteX93" fmla="*/ 324775 w 1526442"/>
                <a:gd name="connsiteY93" fmla="*/ 1614685 h 1683492"/>
                <a:gd name="connsiteX94" fmla="*/ 328969 w 1526442"/>
                <a:gd name="connsiteY94" fmla="*/ 1611478 h 1683492"/>
                <a:gd name="connsiteX95" fmla="*/ 326847 w 1526442"/>
                <a:gd name="connsiteY95" fmla="*/ 1609801 h 1683492"/>
                <a:gd name="connsiteX96" fmla="*/ 320630 w 1526442"/>
                <a:gd name="connsiteY96" fmla="*/ 1608222 h 1683492"/>
                <a:gd name="connsiteX97" fmla="*/ 320630 w 1526442"/>
                <a:gd name="connsiteY97" fmla="*/ 1602646 h 1683492"/>
                <a:gd name="connsiteX98" fmla="*/ 316436 w 1526442"/>
                <a:gd name="connsiteY98" fmla="*/ 1599390 h 1683492"/>
                <a:gd name="connsiteX99" fmla="*/ 314413 w 1526442"/>
                <a:gd name="connsiteY99" fmla="*/ 1597811 h 1683492"/>
                <a:gd name="connsiteX100" fmla="*/ 310219 w 1526442"/>
                <a:gd name="connsiteY100" fmla="*/ 1597811 h 1683492"/>
                <a:gd name="connsiteX101" fmla="*/ 301733 w 1526442"/>
                <a:gd name="connsiteY101" fmla="*/ 1604077 h 1683492"/>
                <a:gd name="connsiteX102" fmla="*/ 297588 w 1526442"/>
                <a:gd name="connsiteY102" fmla="*/ 1602449 h 1683492"/>
                <a:gd name="connsiteX103" fmla="*/ 295467 w 1526442"/>
                <a:gd name="connsiteY103" fmla="*/ 1597515 h 1683492"/>
                <a:gd name="connsiteX104" fmla="*/ 301733 w 1526442"/>
                <a:gd name="connsiteY104" fmla="*/ 1594258 h 1683492"/>
                <a:gd name="connsiteX105" fmla="*/ 299661 w 1526442"/>
                <a:gd name="connsiteY105" fmla="*/ 1591051 h 1683492"/>
                <a:gd name="connsiteX106" fmla="*/ 293444 w 1526442"/>
                <a:gd name="connsiteY106" fmla="*/ 1591051 h 1683492"/>
                <a:gd name="connsiteX107" fmla="*/ 293444 w 1526442"/>
                <a:gd name="connsiteY107" fmla="*/ 1589423 h 1683492"/>
                <a:gd name="connsiteX108" fmla="*/ 301733 w 1526442"/>
                <a:gd name="connsiteY108" fmla="*/ 1586216 h 1683492"/>
                <a:gd name="connsiteX109" fmla="*/ 305878 w 1526442"/>
                <a:gd name="connsiteY109" fmla="*/ 1586216 h 1683492"/>
                <a:gd name="connsiteX110" fmla="*/ 310072 w 1526442"/>
                <a:gd name="connsiteY110" fmla="*/ 1582960 h 1683492"/>
                <a:gd name="connsiteX111" fmla="*/ 307999 w 1526442"/>
                <a:gd name="connsiteY111" fmla="*/ 1579752 h 1683492"/>
                <a:gd name="connsiteX112" fmla="*/ 303855 w 1526442"/>
                <a:gd name="connsiteY112" fmla="*/ 1579752 h 1683492"/>
                <a:gd name="connsiteX113" fmla="*/ 297588 w 1526442"/>
                <a:gd name="connsiteY113" fmla="*/ 1581331 h 1683492"/>
                <a:gd name="connsiteX114" fmla="*/ 291322 w 1526442"/>
                <a:gd name="connsiteY114" fmla="*/ 1584588 h 1683492"/>
                <a:gd name="connsiteX115" fmla="*/ 283033 w 1526442"/>
                <a:gd name="connsiteY115" fmla="*/ 1586216 h 1683492"/>
                <a:gd name="connsiteX116" fmla="*/ 278839 w 1526442"/>
                <a:gd name="connsiteY116" fmla="*/ 1584588 h 1683492"/>
                <a:gd name="connsiteX117" fmla="*/ 278839 w 1526442"/>
                <a:gd name="connsiteY117" fmla="*/ 1581331 h 1683492"/>
                <a:gd name="connsiteX118" fmla="*/ 285056 w 1526442"/>
                <a:gd name="connsiteY118" fmla="*/ 1579752 h 1683492"/>
                <a:gd name="connsiteX119" fmla="*/ 289250 w 1526442"/>
                <a:gd name="connsiteY119" fmla="*/ 1576496 h 1683492"/>
                <a:gd name="connsiteX120" fmla="*/ 287178 w 1526442"/>
                <a:gd name="connsiteY120" fmla="*/ 1571562 h 1683492"/>
                <a:gd name="connsiteX121" fmla="*/ 295467 w 1526442"/>
                <a:gd name="connsiteY121" fmla="*/ 1569934 h 1683492"/>
                <a:gd name="connsiteX122" fmla="*/ 297588 w 1526442"/>
                <a:gd name="connsiteY122" fmla="*/ 1566727 h 1683492"/>
                <a:gd name="connsiteX123" fmla="*/ 297588 w 1526442"/>
                <a:gd name="connsiteY123" fmla="*/ 1565098 h 1683492"/>
                <a:gd name="connsiteX124" fmla="*/ 291322 w 1526442"/>
                <a:gd name="connsiteY124" fmla="*/ 1563470 h 1683492"/>
                <a:gd name="connsiteX125" fmla="*/ 287178 w 1526442"/>
                <a:gd name="connsiteY125" fmla="*/ 1566727 h 1683492"/>
                <a:gd name="connsiteX126" fmla="*/ 280912 w 1526442"/>
                <a:gd name="connsiteY126" fmla="*/ 1568305 h 1683492"/>
                <a:gd name="connsiteX127" fmla="*/ 276767 w 1526442"/>
                <a:gd name="connsiteY127" fmla="*/ 1565098 h 1683492"/>
                <a:gd name="connsiteX128" fmla="*/ 280912 w 1526442"/>
                <a:gd name="connsiteY128" fmla="*/ 1561891 h 1683492"/>
                <a:gd name="connsiteX129" fmla="*/ 289250 w 1526442"/>
                <a:gd name="connsiteY129" fmla="*/ 1561891 h 1683492"/>
                <a:gd name="connsiteX130" fmla="*/ 291322 w 1526442"/>
                <a:gd name="connsiteY130" fmla="*/ 1558635 h 1683492"/>
                <a:gd name="connsiteX131" fmla="*/ 297588 w 1526442"/>
                <a:gd name="connsiteY131" fmla="*/ 1555428 h 1683492"/>
                <a:gd name="connsiteX132" fmla="*/ 295467 w 1526442"/>
                <a:gd name="connsiteY132" fmla="*/ 1553750 h 1683492"/>
                <a:gd name="connsiteX133" fmla="*/ 297588 w 1526442"/>
                <a:gd name="connsiteY133" fmla="*/ 1550543 h 1683492"/>
                <a:gd name="connsiteX134" fmla="*/ 295467 w 1526442"/>
                <a:gd name="connsiteY134" fmla="*/ 1548964 h 1683492"/>
                <a:gd name="connsiteX135" fmla="*/ 287178 w 1526442"/>
                <a:gd name="connsiteY135" fmla="*/ 1550543 h 1683492"/>
                <a:gd name="connsiteX136" fmla="*/ 285056 w 1526442"/>
                <a:gd name="connsiteY136" fmla="*/ 1553750 h 1683492"/>
                <a:gd name="connsiteX137" fmla="*/ 283033 w 1526442"/>
                <a:gd name="connsiteY137" fmla="*/ 1557006 h 1683492"/>
                <a:gd name="connsiteX138" fmla="*/ 277063 w 1526442"/>
                <a:gd name="connsiteY138" fmla="*/ 1557006 h 1683492"/>
                <a:gd name="connsiteX139" fmla="*/ 279135 w 1526442"/>
                <a:gd name="connsiteY139" fmla="*/ 1553750 h 1683492"/>
                <a:gd name="connsiteX140" fmla="*/ 283329 w 1526442"/>
                <a:gd name="connsiteY140" fmla="*/ 1552171 h 1683492"/>
                <a:gd name="connsiteX141" fmla="*/ 285352 w 1526442"/>
                <a:gd name="connsiteY141" fmla="*/ 1547237 h 1683492"/>
                <a:gd name="connsiteX142" fmla="*/ 281208 w 1526442"/>
                <a:gd name="connsiteY142" fmla="*/ 1545609 h 1683492"/>
                <a:gd name="connsiteX143" fmla="*/ 285352 w 1526442"/>
                <a:gd name="connsiteY143" fmla="*/ 1544030 h 1683492"/>
                <a:gd name="connsiteX144" fmla="*/ 285352 w 1526442"/>
                <a:gd name="connsiteY144" fmla="*/ 1540773 h 1683492"/>
                <a:gd name="connsiteX145" fmla="*/ 281208 w 1526442"/>
                <a:gd name="connsiteY145" fmla="*/ 1539145 h 1683492"/>
                <a:gd name="connsiteX146" fmla="*/ 277063 w 1526442"/>
                <a:gd name="connsiteY146" fmla="*/ 1539145 h 1683492"/>
                <a:gd name="connsiteX147" fmla="*/ 277063 w 1526442"/>
                <a:gd name="connsiteY147" fmla="*/ 1537566 h 1683492"/>
                <a:gd name="connsiteX148" fmla="*/ 279135 w 1526442"/>
                <a:gd name="connsiteY148" fmla="*/ 1535889 h 1683492"/>
                <a:gd name="connsiteX149" fmla="*/ 279135 w 1526442"/>
                <a:gd name="connsiteY149" fmla="*/ 1530955 h 1683492"/>
                <a:gd name="connsiteX150" fmla="*/ 274941 w 1526442"/>
                <a:gd name="connsiteY150" fmla="*/ 1530955 h 1683492"/>
                <a:gd name="connsiteX151" fmla="*/ 270796 w 1526442"/>
                <a:gd name="connsiteY151" fmla="*/ 1532583 h 1683492"/>
                <a:gd name="connsiteX152" fmla="*/ 266652 w 1526442"/>
                <a:gd name="connsiteY152" fmla="*/ 1532583 h 1683492"/>
                <a:gd name="connsiteX153" fmla="*/ 266652 w 1526442"/>
                <a:gd name="connsiteY153" fmla="*/ 1530955 h 1683492"/>
                <a:gd name="connsiteX154" fmla="*/ 268724 w 1526442"/>
                <a:gd name="connsiteY154" fmla="*/ 1526021 h 1683492"/>
                <a:gd name="connsiteX155" fmla="*/ 272918 w 1526442"/>
                <a:gd name="connsiteY155" fmla="*/ 1522764 h 1683492"/>
                <a:gd name="connsiteX156" fmla="*/ 274941 w 1526442"/>
                <a:gd name="connsiteY156" fmla="*/ 1522764 h 1683492"/>
                <a:gd name="connsiteX157" fmla="*/ 281208 w 1526442"/>
                <a:gd name="connsiteY157" fmla="*/ 1514673 h 1683492"/>
                <a:gd name="connsiteX158" fmla="*/ 279135 w 1526442"/>
                <a:gd name="connsiteY158" fmla="*/ 1511465 h 1683492"/>
                <a:gd name="connsiteX159" fmla="*/ 279135 w 1526442"/>
                <a:gd name="connsiteY159" fmla="*/ 1508900 h 1683492"/>
                <a:gd name="connsiteX160" fmla="*/ 281208 w 1526442"/>
                <a:gd name="connsiteY160" fmla="*/ 1507222 h 1683492"/>
                <a:gd name="connsiteX161" fmla="*/ 279135 w 1526442"/>
                <a:gd name="connsiteY161" fmla="*/ 1505643 h 1683492"/>
                <a:gd name="connsiteX162" fmla="*/ 277063 w 1526442"/>
                <a:gd name="connsiteY162" fmla="*/ 1505643 h 1683492"/>
                <a:gd name="connsiteX163" fmla="*/ 274941 w 1526442"/>
                <a:gd name="connsiteY163" fmla="*/ 1508900 h 1683492"/>
                <a:gd name="connsiteX164" fmla="*/ 272918 w 1526442"/>
                <a:gd name="connsiteY164" fmla="*/ 1503966 h 1683492"/>
                <a:gd name="connsiteX165" fmla="*/ 268724 w 1526442"/>
                <a:gd name="connsiteY165" fmla="*/ 1505594 h 1683492"/>
                <a:gd name="connsiteX166" fmla="*/ 266652 w 1526442"/>
                <a:gd name="connsiteY166" fmla="*/ 1507173 h 1683492"/>
                <a:gd name="connsiteX167" fmla="*/ 262261 w 1526442"/>
                <a:gd name="connsiteY167" fmla="*/ 1507173 h 1683492"/>
                <a:gd name="connsiteX168" fmla="*/ 260139 w 1526442"/>
                <a:gd name="connsiteY168" fmla="*/ 1500709 h 1683492"/>
                <a:gd name="connsiteX169" fmla="*/ 262261 w 1526442"/>
                <a:gd name="connsiteY169" fmla="*/ 1497502 h 1683492"/>
                <a:gd name="connsiteX170" fmla="*/ 270550 w 1526442"/>
                <a:gd name="connsiteY170" fmla="*/ 1494295 h 1683492"/>
                <a:gd name="connsiteX171" fmla="*/ 270550 w 1526442"/>
                <a:gd name="connsiteY171" fmla="*/ 1492667 h 1683492"/>
                <a:gd name="connsiteX172" fmla="*/ 266405 w 1526442"/>
                <a:gd name="connsiteY172" fmla="*/ 1489410 h 1683492"/>
                <a:gd name="connsiteX173" fmla="*/ 262261 w 1526442"/>
                <a:gd name="connsiteY173" fmla="*/ 1489410 h 1683492"/>
                <a:gd name="connsiteX174" fmla="*/ 255994 w 1526442"/>
                <a:gd name="connsiteY174" fmla="*/ 1492667 h 1683492"/>
                <a:gd name="connsiteX175" fmla="*/ 251850 w 1526442"/>
                <a:gd name="connsiteY175" fmla="*/ 1492667 h 1683492"/>
                <a:gd name="connsiteX176" fmla="*/ 249728 w 1526442"/>
                <a:gd name="connsiteY176" fmla="*/ 1489410 h 1683492"/>
                <a:gd name="connsiteX177" fmla="*/ 251850 w 1526442"/>
                <a:gd name="connsiteY177" fmla="*/ 1486203 h 1683492"/>
                <a:gd name="connsiteX178" fmla="*/ 255994 w 1526442"/>
                <a:gd name="connsiteY178" fmla="*/ 1484575 h 1683492"/>
                <a:gd name="connsiteX179" fmla="*/ 262261 w 1526442"/>
                <a:gd name="connsiteY179" fmla="*/ 1486203 h 1683492"/>
                <a:gd name="connsiteX180" fmla="*/ 270550 w 1526442"/>
                <a:gd name="connsiteY180" fmla="*/ 1484575 h 1683492"/>
                <a:gd name="connsiteX181" fmla="*/ 274695 w 1526442"/>
                <a:gd name="connsiteY181" fmla="*/ 1482947 h 1683492"/>
                <a:gd name="connsiteX182" fmla="*/ 270550 w 1526442"/>
                <a:gd name="connsiteY182" fmla="*/ 1482947 h 1683492"/>
                <a:gd name="connsiteX183" fmla="*/ 266405 w 1526442"/>
                <a:gd name="connsiteY183" fmla="*/ 1481368 h 1683492"/>
                <a:gd name="connsiteX184" fmla="*/ 260139 w 1526442"/>
                <a:gd name="connsiteY184" fmla="*/ 1481368 h 1683492"/>
                <a:gd name="connsiteX185" fmla="*/ 255994 w 1526442"/>
                <a:gd name="connsiteY185" fmla="*/ 1482947 h 1683492"/>
                <a:gd name="connsiteX186" fmla="*/ 251850 w 1526442"/>
                <a:gd name="connsiteY186" fmla="*/ 1482947 h 1683492"/>
                <a:gd name="connsiteX187" fmla="*/ 247656 w 1526442"/>
                <a:gd name="connsiteY187" fmla="*/ 1479739 h 1683492"/>
                <a:gd name="connsiteX188" fmla="*/ 255994 w 1526442"/>
                <a:gd name="connsiteY188" fmla="*/ 1474805 h 1683492"/>
                <a:gd name="connsiteX189" fmla="*/ 264284 w 1526442"/>
                <a:gd name="connsiteY189" fmla="*/ 1474805 h 1683492"/>
                <a:gd name="connsiteX190" fmla="*/ 266405 w 1526442"/>
                <a:gd name="connsiteY190" fmla="*/ 1473177 h 1683492"/>
                <a:gd name="connsiteX191" fmla="*/ 264284 w 1526442"/>
                <a:gd name="connsiteY191" fmla="*/ 1473177 h 1683492"/>
                <a:gd name="connsiteX192" fmla="*/ 260139 w 1526442"/>
                <a:gd name="connsiteY192" fmla="*/ 1471549 h 1683492"/>
                <a:gd name="connsiteX193" fmla="*/ 255994 w 1526442"/>
                <a:gd name="connsiteY193" fmla="*/ 1469970 h 1683492"/>
                <a:gd name="connsiteX194" fmla="*/ 258067 w 1526442"/>
                <a:gd name="connsiteY194" fmla="*/ 1468292 h 1683492"/>
                <a:gd name="connsiteX195" fmla="*/ 262261 w 1526442"/>
                <a:gd name="connsiteY195" fmla="*/ 1469970 h 1683492"/>
                <a:gd name="connsiteX196" fmla="*/ 266405 w 1526442"/>
                <a:gd name="connsiteY196" fmla="*/ 1471549 h 1683492"/>
                <a:gd name="connsiteX197" fmla="*/ 274695 w 1526442"/>
                <a:gd name="connsiteY197" fmla="*/ 1468292 h 1683492"/>
                <a:gd name="connsiteX198" fmla="*/ 276816 w 1526442"/>
                <a:gd name="connsiteY198" fmla="*/ 1465085 h 1683492"/>
                <a:gd name="connsiteX199" fmla="*/ 276816 w 1526442"/>
                <a:gd name="connsiteY199" fmla="*/ 1463506 h 1683492"/>
                <a:gd name="connsiteX200" fmla="*/ 272671 w 1526442"/>
                <a:gd name="connsiteY200" fmla="*/ 1465085 h 1683492"/>
                <a:gd name="connsiteX201" fmla="*/ 268478 w 1526442"/>
                <a:gd name="connsiteY201" fmla="*/ 1466714 h 1683492"/>
                <a:gd name="connsiteX202" fmla="*/ 264284 w 1526442"/>
                <a:gd name="connsiteY202" fmla="*/ 1465085 h 1683492"/>
                <a:gd name="connsiteX203" fmla="*/ 255994 w 1526442"/>
                <a:gd name="connsiteY203" fmla="*/ 1465085 h 1683492"/>
                <a:gd name="connsiteX204" fmla="*/ 253873 w 1526442"/>
                <a:gd name="connsiteY204" fmla="*/ 1468292 h 1683492"/>
                <a:gd name="connsiteX205" fmla="*/ 249728 w 1526442"/>
                <a:gd name="connsiteY205" fmla="*/ 1469970 h 1683492"/>
                <a:gd name="connsiteX206" fmla="*/ 243462 w 1526442"/>
                <a:gd name="connsiteY206" fmla="*/ 1468292 h 1683492"/>
                <a:gd name="connsiteX207" fmla="*/ 243462 w 1526442"/>
                <a:gd name="connsiteY207" fmla="*/ 1463358 h 1683492"/>
                <a:gd name="connsiteX208" fmla="*/ 247656 w 1526442"/>
                <a:gd name="connsiteY208" fmla="*/ 1460102 h 1683492"/>
                <a:gd name="connsiteX209" fmla="*/ 253873 w 1526442"/>
                <a:gd name="connsiteY209" fmla="*/ 1458474 h 1683492"/>
                <a:gd name="connsiteX210" fmla="*/ 260139 w 1526442"/>
                <a:gd name="connsiteY210" fmla="*/ 1455267 h 1683492"/>
                <a:gd name="connsiteX211" fmla="*/ 245337 w 1526442"/>
                <a:gd name="connsiteY211" fmla="*/ 1455267 h 1683492"/>
                <a:gd name="connsiteX212" fmla="*/ 243215 w 1526442"/>
                <a:gd name="connsiteY212" fmla="*/ 1450333 h 1683492"/>
                <a:gd name="connsiteX213" fmla="*/ 245337 w 1526442"/>
                <a:gd name="connsiteY213" fmla="*/ 1445399 h 1683492"/>
                <a:gd name="connsiteX214" fmla="*/ 266158 w 1526442"/>
                <a:gd name="connsiteY214" fmla="*/ 1445399 h 1683492"/>
                <a:gd name="connsiteX215" fmla="*/ 272425 w 1526442"/>
                <a:gd name="connsiteY215" fmla="*/ 1443721 h 1683492"/>
                <a:gd name="connsiteX216" fmla="*/ 282836 w 1526442"/>
                <a:gd name="connsiteY216" fmla="*/ 1443721 h 1683492"/>
                <a:gd name="connsiteX217" fmla="*/ 286980 w 1526442"/>
                <a:gd name="connsiteY217" fmla="*/ 1438787 h 1683492"/>
                <a:gd name="connsiteX218" fmla="*/ 289052 w 1526442"/>
                <a:gd name="connsiteY218" fmla="*/ 1437208 h 1683492"/>
                <a:gd name="connsiteX219" fmla="*/ 277063 w 1526442"/>
                <a:gd name="connsiteY219" fmla="*/ 1437208 h 1683492"/>
                <a:gd name="connsiteX220" fmla="*/ 270796 w 1526442"/>
                <a:gd name="connsiteY220" fmla="*/ 1440415 h 1683492"/>
                <a:gd name="connsiteX221" fmla="*/ 262507 w 1526442"/>
                <a:gd name="connsiteY221" fmla="*/ 1442044 h 1683492"/>
                <a:gd name="connsiteX222" fmla="*/ 256241 w 1526442"/>
                <a:gd name="connsiteY222" fmla="*/ 1443622 h 1683492"/>
                <a:gd name="connsiteX223" fmla="*/ 249975 w 1526442"/>
                <a:gd name="connsiteY223" fmla="*/ 1443622 h 1683492"/>
                <a:gd name="connsiteX224" fmla="*/ 247903 w 1526442"/>
                <a:gd name="connsiteY224" fmla="*/ 1440415 h 1683492"/>
                <a:gd name="connsiteX225" fmla="*/ 260386 w 1526442"/>
                <a:gd name="connsiteY225" fmla="*/ 1440415 h 1683492"/>
                <a:gd name="connsiteX226" fmla="*/ 264530 w 1526442"/>
                <a:gd name="connsiteY226" fmla="*/ 1437208 h 1683492"/>
                <a:gd name="connsiteX227" fmla="*/ 270796 w 1526442"/>
                <a:gd name="connsiteY227" fmla="*/ 1430745 h 1683492"/>
                <a:gd name="connsiteX228" fmla="*/ 277063 w 1526442"/>
                <a:gd name="connsiteY228" fmla="*/ 1429116 h 1683492"/>
                <a:gd name="connsiteX229" fmla="*/ 279135 w 1526442"/>
                <a:gd name="connsiteY229" fmla="*/ 1430745 h 1683492"/>
                <a:gd name="connsiteX230" fmla="*/ 285352 w 1526442"/>
                <a:gd name="connsiteY230" fmla="*/ 1434001 h 1683492"/>
                <a:gd name="connsiteX231" fmla="*/ 287474 w 1526442"/>
                <a:gd name="connsiteY231" fmla="*/ 1434001 h 1683492"/>
                <a:gd name="connsiteX232" fmla="*/ 289546 w 1526442"/>
                <a:gd name="connsiteY232" fmla="*/ 1432323 h 1683492"/>
                <a:gd name="connsiteX233" fmla="*/ 287474 w 1526442"/>
                <a:gd name="connsiteY233" fmla="*/ 1430745 h 1683492"/>
                <a:gd name="connsiteX234" fmla="*/ 281208 w 1526442"/>
                <a:gd name="connsiteY234" fmla="*/ 1425811 h 1683492"/>
                <a:gd name="connsiteX235" fmla="*/ 277063 w 1526442"/>
                <a:gd name="connsiteY235" fmla="*/ 1425811 h 1683492"/>
                <a:gd name="connsiteX236" fmla="*/ 274941 w 1526442"/>
                <a:gd name="connsiteY236" fmla="*/ 1422603 h 1683492"/>
                <a:gd name="connsiteX237" fmla="*/ 277063 w 1526442"/>
                <a:gd name="connsiteY237" fmla="*/ 1420975 h 1683492"/>
                <a:gd name="connsiteX238" fmla="*/ 281208 w 1526442"/>
                <a:gd name="connsiteY238" fmla="*/ 1420975 h 1683492"/>
                <a:gd name="connsiteX239" fmla="*/ 283329 w 1526442"/>
                <a:gd name="connsiteY239" fmla="*/ 1419396 h 1683492"/>
                <a:gd name="connsiteX240" fmla="*/ 285352 w 1526442"/>
                <a:gd name="connsiteY240" fmla="*/ 1419396 h 1683492"/>
                <a:gd name="connsiteX241" fmla="*/ 289546 w 1526442"/>
                <a:gd name="connsiteY241" fmla="*/ 1422603 h 1683492"/>
                <a:gd name="connsiteX242" fmla="*/ 293740 w 1526442"/>
                <a:gd name="connsiteY242" fmla="*/ 1429067 h 1683492"/>
                <a:gd name="connsiteX243" fmla="*/ 297884 w 1526442"/>
                <a:gd name="connsiteY243" fmla="*/ 1430695 h 1683492"/>
                <a:gd name="connsiteX244" fmla="*/ 299957 w 1526442"/>
                <a:gd name="connsiteY244" fmla="*/ 1430695 h 1683492"/>
                <a:gd name="connsiteX245" fmla="*/ 297884 w 1526442"/>
                <a:gd name="connsiteY245" fmla="*/ 1425761 h 1683492"/>
                <a:gd name="connsiteX246" fmla="*/ 293740 w 1526442"/>
                <a:gd name="connsiteY246" fmla="*/ 1424182 h 1683492"/>
                <a:gd name="connsiteX247" fmla="*/ 293740 w 1526442"/>
                <a:gd name="connsiteY247" fmla="*/ 1414314 h 1683492"/>
                <a:gd name="connsiteX248" fmla="*/ 297884 w 1526442"/>
                <a:gd name="connsiteY248" fmla="*/ 1409380 h 1683492"/>
                <a:gd name="connsiteX249" fmla="*/ 297884 w 1526442"/>
                <a:gd name="connsiteY249" fmla="*/ 1407752 h 1683492"/>
                <a:gd name="connsiteX250" fmla="*/ 293740 w 1526442"/>
                <a:gd name="connsiteY250" fmla="*/ 1407752 h 1683492"/>
                <a:gd name="connsiteX251" fmla="*/ 289546 w 1526442"/>
                <a:gd name="connsiteY251" fmla="*/ 1411008 h 1683492"/>
                <a:gd name="connsiteX252" fmla="*/ 287474 w 1526442"/>
                <a:gd name="connsiteY252" fmla="*/ 1411008 h 1683492"/>
                <a:gd name="connsiteX253" fmla="*/ 283329 w 1526442"/>
                <a:gd name="connsiteY253" fmla="*/ 1407752 h 1683492"/>
                <a:gd name="connsiteX254" fmla="*/ 281208 w 1526442"/>
                <a:gd name="connsiteY254" fmla="*/ 1409380 h 1683492"/>
                <a:gd name="connsiteX255" fmla="*/ 272918 w 1526442"/>
                <a:gd name="connsiteY255" fmla="*/ 1417472 h 1683492"/>
                <a:gd name="connsiteX256" fmla="*/ 268724 w 1526442"/>
                <a:gd name="connsiteY256" fmla="*/ 1419100 h 1683492"/>
                <a:gd name="connsiteX257" fmla="*/ 266652 w 1526442"/>
                <a:gd name="connsiteY257" fmla="*/ 1417472 h 1683492"/>
                <a:gd name="connsiteX258" fmla="*/ 266652 w 1526442"/>
                <a:gd name="connsiteY258" fmla="*/ 1415153 h 1683492"/>
                <a:gd name="connsiteX259" fmla="*/ 270796 w 1526442"/>
                <a:gd name="connsiteY259" fmla="*/ 1413574 h 1683492"/>
                <a:gd name="connsiteX260" fmla="*/ 270796 w 1526442"/>
                <a:gd name="connsiteY260" fmla="*/ 1411946 h 1683492"/>
                <a:gd name="connsiteX261" fmla="*/ 264530 w 1526442"/>
                <a:gd name="connsiteY261" fmla="*/ 1413574 h 1683492"/>
                <a:gd name="connsiteX262" fmla="*/ 262507 w 1526442"/>
                <a:gd name="connsiteY262" fmla="*/ 1418508 h 1683492"/>
                <a:gd name="connsiteX263" fmla="*/ 260386 w 1526442"/>
                <a:gd name="connsiteY263" fmla="*/ 1418508 h 1683492"/>
                <a:gd name="connsiteX264" fmla="*/ 251948 w 1526442"/>
                <a:gd name="connsiteY264" fmla="*/ 1425021 h 1683492"/>
                <a:gd name="connsiteX265" fmla="*/ 247755 w 1526442"/>
                <a:gd name="connsiteY265" fmla="*/ 1426600 h 1683492"/>
                <a:gd name="connsiteX266" fmla="*/ 241538 w 1526442"/>
                <a:gd name="connsiteY266" fmla="*/ 1434741 h 1683492"/>
                <a:gd name="connsiteX267" fmla="*/ 239416 w 1526442"/>
                <a:gd name="connsiteY267" fmla="*/ 1434741 h 1683492"/>
                <a:gd name="connsiteX268" fmla="*/ 237344 w 1526442"/>
                <a:gd name="connsiteY268" fmla="*/ 1426600 h 1683492"/>
                <a:gd name="connsiteX269" fmla="*/ 239416 w 1526442"/>
                <a:gd name="connsiteY269" fmla="*/ 1421666 h 1683492"/>
                <a:gd name="connsiteX270" fmla="*/ 241538 w 1526442"/>
                <a:gd name="connsiteY270" fmla="*/ 1418459 h 1683492"/>
                <a:gd name="connsiteX271" fmla="*/ 237591 w 1526442"/>
                <a:gd name="connsiteY271" fmla="*/ 1415153 h 1683492"/>
                <a:gd name="connsiteX272" fmla="*/ 237591 w 1526442"/>
                <a:gd name="connsiteY272" fmla="*/ 1410219 h 1683492"/>
                <a:gd name="connsiteX273" fmla="*/ 239663 w 1526442"/>
                <a:gd name="connsiteY273" fmla="*/ 1407012 h 1683492"/>
                <a:gd name="connsiteX274" fmla="*/ 243807 w 1526442"/>
                <a:gd name="connsiteY274" fmla="*/ 1405384 h 1683492"/>
                <a:gd name="connsiteX275" fmla="*/ 254218 w 1526442"/>
                <a:gd name="connsiteY275" fmla="*/ 1402176 h 1683492"/>
                <a:gd name="connsiteX276" fmla="*/ 258412 w 1526442"/>
                <a:gd name="connsiteY276" fmla="*/ 1402176 h 1683492"/>
                <a:gd name="connsiteX277" fmla="*/ 264629 w 1526442"/>
                <a:gd name="connsiteY277" fmla="*/ 1397242 h 1683492"/>
                <a:gd name="connsiteX278" fmla="*/ 266751 w 1526442"/>
                <a:gd name="connsiteY278" fmla="*/ 1397242 h 1683492"/>
                <a:gd name="connsiteX279" fmla="*/ 264629 w 1526442"/>
                <a:gd name="connsiteY279" fmla="*/ 1393986 h 1683492"/>
                <a:gd name="connsiteX280" fmla="*/ 260485 w 1526442"/>
                <a:gd name="connsiteY280" fmla="*/ 1393986 h 1683492"/>
                <a:gd name="connsiteX281" fmla="*/ 256340 w 1526442"/>
                <a:gd name="connsiteY281" fmla="*/ 1397242 h 1683492"/>
                <a:gd name="connsiteX282" fmla="*/ 252195 w 1526442"/>
                <a:gd name="connsiteY282" fmla="*/ 1395663 h 1683492"/>
                <a:gd name="connsiteX283" fmla="*/ 250074 w 1526442"/>
                <a:gd name="connsiteY283" fmla="*/ 1400598 h 1683492"/>
                <a:gd name="connsiteX284" fmla="*/ 245929 w 1526442"/>
                <a:gd name="connsiteY284" fmla="*/ 1402226 h 1683492"/>
                <a:gd name="connsiteX285" fmla="*/ 241784 w 1526442"/>
                <a:gd name="connsiteY285" fmla="*/ 1402226 h 1683492"/>
                <a:gd name="connsiteX286" fmla="*/ 237591 w 1526442"/>
                <a:gd name="connsiteY286" fmla="*/ 1397292 h 1683492"/>
                <a:gd name="connsiteX287" fmla="*/ 237591 w 1526442"/>
                <a:gd name="connsiteY287" fmla="*/ 1389249 h 1683492"/>
                <a:gd name="connsiteX288" fmla="*/ 241784 w 1526442"/>
                <a:gd name="connsiteY288" fmla="*/ 1387621 h 1683492"/>
                <a:gd name="connsiteX289" fmla="*/ 243807 w 1526442"/>
                <a:gd name="connsiteY289" fmla="*/ 1382687 h 1683492"/>
                <a:gd name="connsiteX290" fmla="*/ 241784 w 1526442"/>
                <a:gd name="connsiteY290" fmla="*/ 1377753 h 1683492"/>
                <a:gd name="connsiteX291" fmla="*/ 239663 w 1526442"/>
                <a:gd name="connsiteY291" fmla="*/ 1377753 h 1683492"/>
                <a:gd name="connsiteX292" fmla="*/ 235518 w 1526442"/>
                <a:gd name="connsiteY292" fmla="*/ 1380960 h 1683492"/>
                <a:gd name="connsiteX293" fmla="*/ 231374 w 1526442"/>
                <a:gd name="connsiteY293" fmla="*/ 1380960 h 1683492"/>
                <a:gd name="connsiteX294" fmla="*/ 231374 w 1526442"/>
                <a:gd name="connsiteY294" fmla="*/ 1376026 h 1683492"/>
                <a:gd name="connsiteX295" fmla="*/ 235518 w 1526442"/>
                <a:gd name="connsiteY295" fmla="*/ 1372819 h 1683492"/>
                <a:gd name="connsiteX296" fmla="*/ 241784 w 1526442"/>
                <a:gd name="connsiteY296" fmla="*/ 1372819 h 1683492"/>
                <a:gd name="connsiteX297" fmla="*/ 245929 w 1526442"/>
                <a:gd name="connsiteY297" fmla="*/ 1369612 h 1683492"/>
                <a:gd name="connsiteX298" fmla="*/ 254218 w 1526442"/>
                <a:gd name="connsiteY298" fmla="*/ 1367984 h 1683492"/>
                <a:gd name="connsiteX299" fmla="*/ 258412 w 1526442"/>
                <a:gd name="connsiteY299" fmla="*/ 1364727 h 1683492"/>
                <a:gd name="connsiteX300" fmla="*/ 262606 w 1526442"/>
                <a:gd name="connsiteY300" fmla="*/ 1363148 h 1683492"/>
                <a:gd name="connsiteX301" fmla="*/ 264629 w 1526442"/>
                <a:gd name="connsiteY301" fmla="*/ 1358214 h 1683492"/>
                <a:gd name="connsiteX302" fmla="*/ 266751 w 1526442"/>
                <a:gd name="connsiteY302" fmla="*/ 1356635 h 1683492"/>
                <a:gd name="connsiteX303" fmla="*/ 268823 w 1526442"/>
                <a:gd name="connsiteY303" fmla="*/ 1359892 h 1683492"/>
                <a:gd name="connsiteX304" fmla="*/ 270895 w 1526442"/>
                <a:gd name="connsiteY304" fmla="*/ 1356635 h 1683492"/>
                <a:gd name="connsiteX305" fmla="*/ 283428 w 1526442"/>
                <a:gd name="connsiteY305" fmla="*/ 1356635 h 1683492"/>
                <a:gd name="connsiteX306" fmla="*/ 285451 w 1526442"/>
                <a:gd name="connsiteY306" fmla="*/ 1358214 h 1683492"/>
                <a:gd name="connsiteX307" fmla="*/ 291717 w 1526442"/>
                <a:gd name="connsiteY307" fmla="*/ 1358214 h 1683492"/>
                <a:gd name="connsiteX308" fmla="*/ 289645 w 1526442"/>
                <a:gd name="connsiteY308" fmla="*/ 1355007 h 1683492"/>
                <a:gd name="connsiteX309" fmla="*/ 283428 w 1526442"/>
                <a:gd name="connsiteY309" fmla="*/ 1353379 h 1683492"/>
                <a:gd name="connsiteX310" fmla="*/ 281306 w 1526442"/>
                <a:gd name="connsiteY310" fmla="*/ 1348445 h 1683492"/>
                <a:gd name="connsiteX311" fmla="*/ 279234 w 1526442"/>
                <a:gd name="connsiteY311" fmla="*/ 1348445 h 1683492"/>
                <a:gd name="connsiteX312" fmla="*/ 264432 w 1526442"/>
                <a:gd name="connsiteY312" fmla="*/ 1354908 h 1683492"/>
                <a:gd name="connsiteX313" fmla="*/ 260287 w 1526442"/>
                <a:gd name="connsiteY313" fmla="*/ 1354908 h 1683492"/>
                <a:gd name="connsiteX314" fmla="*/ 256143 w 1526442"/>
                <a:gd name="connsiteY314" fmla="*/ 1356537 h 1683492"/>
                <a:gd name="connsiteX315" fmla="*/ 256143 w 1526442"/>
                <a:gd name="connsiteY315" fmla="*/ 1361471 h 1683492"/>
                <a:gd name="connsiteX316" fmla="*/ 251998 w 1526442"/>
                <a:gd name="connsiteY316" fmla="*/ 1364678 h 1683492"/>
                <a:gd name="connsiteX317" fmla="*/ 245732 w 1526442"/>
                <a:gd name="connsiteY317" fmla="*/ 1364678 h 1683492"/>
                <a:gd name="connsiteX318" fmla="*/ 241587 w 1526442"/>
                <a:gd name="connsiteY318" fmla="*/ 1369612 h 1683492"/>
                <a:gd name="connsiteX319" fmla="*/ 237591 w 1526442"/>
                <a:gd name="connsiteY319" fmla="*/ 1369612 h 1683492"/>
                <a:gd name="connsiteX320" fmla="*/ 237591 w 1526442"/>
                <a:gd name="connsiteY320" fmla="*/ 1364678 h 1683492"/>
                <a:gd name="connsiteX321" fmla="*/ 233397 w 1526442"/>
                <a:gd name="connsiteY321" fmla="*/ 1363099 h 1683492"/>
                <a:gd name="connsiteX322" fmla="*/ 233397 w 1526442"/>
                <a:gd name="connsiteY322" fmla="*/ 1359892 h 1683492"/>
                <a:gd name="connsiteX323" fmla="*/ 239663 w 1526442"/>
                <a:gd name="connsiteY323" fmla="*/ 1356635 h 1683492"/>
                <a:gd name="connsiteX324" fmla="*/ 233397 w 1526442"/>
                <a:gd name="connsiteY324" fmla="*/ 1353379 h 1683492"/>
                <a:gd name="connsiteX325" fmla="*/ 229252 w 1526442"/>
                <a:gd name="connsiteY325" fmla="*/ 1353379 h 1683492"/>
                <a:gd name="connsiteX326" fmla="*/ 225058 w 1526442"/>
                <a:gd name="connsiteY326" fmla="*/ 1350172 h 1683492"/>
                <a:gd name="connsiteX327" fmla="*/ 225058 w 1526442"/>
                <a:gd name="connsiteY327" fmla="*/ 1348544 h 1683492"/>
                <a:gd name="connsiteX328" fmla="*/ 233397 w 1526442"/>
                <a:gd name="connsiteY328" fmla="*/ 1345336 h 1683492"/>
                <a:gd name="connsiteX329" fmla="*/ 237591 w 1526442"/>
                <a:gd name="connsiteY329" fmla="*/ 1342080 h 1683492"/>
                <a:gd name="connsiteX330" fmla="*/ 241784 w 1526442"/>
                <a:gd name="connsiteY330" fmla="*/ 1340452 h 1683492"/>
                <a:gd name="connsiteX331" fmla="*/ 243807 w 1526442"/>
                <a:gd name="connsiteY331" fmla="*/ 1343708 h 1683492"/>
                <a:gd name="connsiteX332" fmla="*/ 250074 w 1526442"/>
                <a:gd name="connsiteY332" fmla="*/ 1343708 h 1683492"/>
                <a:gd name="connsiteX333" fmla="*/ 254218 w 1526442"/>
                <a:gd name="connsiteY333" fmla="*/ 1342080 h 1683492"/>
                <a:gd name="connsiteX334" fmla="*/ 260485 w 1526442"/>
                <a:gd name="connsiteY334" fmla="*/ 1338873 h 1683492"/>
                <a:gd name="connsiteX335" fmla="*/ 264629 w 1526442"/>
                <a:gd name="connsiteY335" fmla="*/ 1338873 h 1683492"/>
                <a:gd name="connsiteX336" fmla="*/ 266751 w 1526442"/>
                <a:gd name="connsiteY336" fmla="*/ 1335616 h 1683492"/>
                <a:gd name="connsiteX337" fmla="*/ 264629 w 1526442"/>
                <a:gd name="connsiteY337" fmla="*/ 1334037 h 1683492"/>
                <a:gd name="connsiteX338" fmla="*/ 260485 w 1526442"/>
                <a:gd name="connsiteY338" fmla="*/ 1332409 h 1683492"/>
                <a:gd name="connsiteX339" fmla="*/ 254218 w 1526442"/>
                <a:gd name="connsiteY339" fmla="*/ 1337343 h 1683492"/>
                <a:gd name="connsiteX340" fmla="*/ 250074 w 1526442"/>
                <a:gd name="connsiteY340" fmla="*/ 1340550 h 1683492"/>
                <a:gd name="connsiteX341" fmla="*/ 245929 w 1526442"/>
                <a:gd name="connsiteY341" fmla="*/ 1338971 h 1683492"/>
                <a:gd name="connsiteX342" fmla="*/ 241784 w 1526442"/>
                <a:gd name="connsiteY342" fmla="*/ 1335715 h 1683492"/>
                <a:gd name="connsiteX343" fmla="*/ 239663 w 1526442"/>
                <a:gd name="connsiteY343" fmla="*/ 1335715 h 1683492"/>
                <a:gd name="connsiteX344" fmla="*/ 235518 w 1526442"/>
                <a:gd name="connsiteY344" fmla="*/ 1337343 h 1683492"/>
                <a:gd name="connsiteX345" fmla="*/ 229252 w 1526442"/>
                <a:gd name="connsiteY345" fmla="*/ 1342277 h 1683492"/>
                <a:gd name="connsiteX346" fmla="*/ 229252 w 1526442"/>
                <a:gd name="connsiteY346" fmla="*/ 1339070 h 1683492"/>
                <a:gd name="connsiteX347" fmla="*/ 225058 w 1526442"/>
                <a:gd name="connsiteY347" fmla="*/ 1337442 h 1683492"/>
                <a:gd name="connsiteX348" fmla="*/ 222986 w 1526442"/>
                <a:gd name="connsiteY348" fmla="*/ 1339070 h 1683492"/>
                <a:gd name="connsiteX349" fmla="*/ 216769 w 1526442"/>
                <a:gd name="connsiteY349" fmla="*/ 1339070 h 1683492"/>
                <a:gd name="connsiteX350" fmla="*/ 218841 w 1526442"/>
                <a:gd name="connsiteY350" fmla="*/ 1337442 h 1683492"/>
                <a:gd name="connsiteX351" fmla="*/ 222986 w 1526442"/>
                <a:gd name="connsiteY351" fmla="*/ 1335814 h 1683492"/>
                <a:gd name="connsiteX352" fmla="*/ 233397 w 1526442"/>
                <a:gd name="connsiteY352" fmla="*/ 1332607 h 1683492"/>
                <a:gd name="connsiteX353" fmla="*/ 243807 w 1526442"/>
                <a:gd name="connsiteY353" fmla="*/ 1327672 h 1683492"/>
                <a:gd name="connsiteX354" fmla="*/ 248001 w 1526442"/>
                <a:gd name="connsiteY354" fmla="*/ 1326044 h 1683492"/>
                <a:gd name="connsiteX355" fmla="*/ 258412 w 1526442"/>
                <a:gd name="connsiteY355" fmla="*/ 1324416 h 1683492"/>
                <a:gd name="connsiteX356" fmla="*/ 264629 w 1526442"/>
                <a:gd name="connsiteY356" fmla="*/ 1317952 h 1683492"/>
                <a:gd name="connsiteX357" fmla="*/ 275040 w 1526442"/>
                <a:gd name="connsiteY357" fmla="*/ 1308084 h 1683492"/>
                <a:gd name="connsiteX358" fmla="*/ 287572 w 1526442"/>
                <a:gd name="connsiteY358" fmla="*/ 1303150 h 1683492"/>
                <a:gd name="connsiteX359" fmla="*/ 295861 w 1526442"/>
                <a:gd name="connsiteY359" fmla="*/ 1299894 h 1683492"/>
                <a:gd name="connsiteX360" fmla="*/ 301733 w 1526442"/>
                <a:gd name="connsiteY360" fmla="*/ 1299894 h 1683492"/>
                <a:gd name="connsiteX361" fmla="*/ 303855 w 1526442"/>
                <a:gd name="connsiteY361" fmla="*/ 1296687 h 1683492"/>
                <a:gd name="connsiteX362" fmla="*/ 303855 w 1526442"/>
                <a:gd name="connsiteY362" fmla="*/ 1295059 h 1683492"/>
                <a:gd name="connsiteX363" fmla="*/ 297588 w 1526442"/>
                <a:gd name="connsiteY363" fmla="*/ 1293430 h 1683492"/>
                <a:gd name="connsiteX364" fmla="*/ 289250 w 1526442"/>
                <a:gd name="connsiteY364" fmla="*/ 1296687 h 1683492"/>
                <a:gd name="connsiteX365" fmla="*/ 272622 w 1526442"/>
                <a:gd name="connsiteY365" fmla="*/ 1303150 h 1683492"/>
                <a:gd name="connsiteX366" fmla="*/ 264234 w 1526442"/>
                <a:gd name="connsiteY366" fmla="*/ 1309614 h 1683492"/>
                <a:gd name="connsiteX367" fmla="*/ 258018 w 1526442"/>
                <a:gd name="connsiteY367" fmla="*/ 1317656 h 1683492"/>
                <a:gd name="connsiteX368" fmla="*/ 251801 w 1526442"/>
                <a:gd name="connsiteY368" fmla="*/ 1320913 h 1683492"/>
                <a:gd name="connsiteX369" fmla="*/ 239268 w 1526442"/>
                <a:gd name="connsiteY369" fmla="*/ 1322492 h 1683492"/>
                <a:gd name="connsiteX370" fmla="*/ 235124 w 1526442"/>
                <a:gd name="connsiteY370" fmla="*/ 1324120 h 1683492"/>
                <a:gd name="connsiteX371" fmla="*/ 222788 w 1526442"/>
                <a:gd name="connsiteY371" fmla="*/ 1331274 h 1683492"/>
                <a:gd name="connsiteX372" fmla="*/ 216571 w 1526442"/>
                <a:gd name="connsiteY372" fmla="*/ 1331274 h 1683492"/>
                <a:gd name="connsiteX373" fmla="*/ 214450 w 1526442"/>
                <a:gd name="connsiteY373" fmla="*/ 1328067 h 1683492"/>
                <a:gd name="connsiteX374" fmla="*/ 218644 w 1526442"/>
                <a:gd name="connsiteY374" fmla="*/ 1324811 h 1683492"/>
                <a:gd name="connsiteX375" fmla="*/ 216571 w 1526442"/>
                <a:gd name="connsiteY375" fmla="*/ 1314943 h 1683492"/>
                <a:gd name="connsiteX376" fmla="*/ 220766 w 1526442"/>
                <a:gd name="connsiteY376" fmla="*/ 1310009 h 1683492"/>
                <a:gd name="connsiteX377" fmla="*/ 224861 w 1526442"/>
                <a:gd name="connsiteY377" fmla="*/ 1310009 h 1683492"/>
                <a:gd name="connsiteX378" fmla="*/ 231176 w 1526442"/>
                <a:gd name="connsiteY378" fmla="*/ 1313216 h 1683492"/>
                <a:gd name="connsiteX379" fmla="*/ 243610 w 1526442"/>
                <a:gd name="connsiteY379" fmla="*/ 1313216 h 1683492"/>
                <a:gd name="connsiteX380" fmla="*/ 249876 w 1526442"/>
                <a:gd name="connsiteY380" fmla="*/ 1311588 h 1683492"/>
                <a:gd name="connsiteX381" fmla="*/ 247804 w 1526442"/>
                <a:gd name="connsiteY381" fmla="*/ 1310009 h 1683492"/>
                <a:gd name="connsiteX382" fmla="*/ 241587 w 1526442"/>
                <a:gd name="connsiteY382" fmla="*/ 1306752 h 1683492"/>
                <a:gd name="connsiteX383" fmla="*/ 237591 w 1526442"/>
                <a:gd name="connsiteY383" fmla="*/ 1306752 h 1683492"/>
                <a:gd name="connsiteX384" fmla="*/ 233397 w 1526442"/>
                <a:gd name="connsiteY384" fmla="*/ 1310009 h 1683492"/>
                <a:gd name="connsiteX385" fmla="*/ 229252 w 1526442"/>
                <a:gd name="connsiteY385" fmla="*/ 1308380 h 1683492"/>
                <a:gd name="connsiteX386" fmla="*/ 227180 w 1526442"/>
                <a:gd name="connsiteY386" fmla="*/ 1303446 h 1683492"/>
                <a:gd name="connsiteX387" fmla="*/ 227180 w 1526442"/>
                <a:gd name="connsiteY387" fmla="*/ 1301769 h 1683492"/>
                <a:gd name="connsiteX388" fmla="*/ 233397 w 1526442"/>
                <a:gd name="connsiteY388" fmla="*/ 1300190 h 1683492"/>
                <a:gd name="connsiteX389" fmla="*/ 239663 w 1526442"/>
                <a:gd name="connsiteY389" fmla="*/ 1303446 h 1683492"/>
                <a:gd name="connsiteX390" fmla="*/ 245929 w 1526442"/>
                <a:gd name="connsiteY390" fmla="*/ 1303446 h 1683492"/>
                <a:gd name="connsiteX391" fmla="*/ 252195 w 1526442"/>
                <a:gd name="connsiteY391" fmla="*/ 1301769 h 1683492"/>
                <a:gd name="connsiteX392" fmla="*/ 250074 w 1526442"/>
                <a:gd name="connsiteY392" fmla="*/ 1300190 h 1683492"/>
                <a:gd name="connsiteX393" fmla="*/ 245929 w 1526442"/>
                <a:gd name="connsiteY393" fmla="*/ 1298562 h 1683492"/>
                <a:gd name="connsiteX394" fmla="*/ 243807 w 1526442"/>
                <a:gd name="connsiteY394" fmla="*/ 1298562 h 1683492"/>
                <a:gd name="connsiteX395" fmla="*/ 241784 w 1526442"/>
                <a:gd name="connsiteY395" fmla="*/ 1296983 h 1683492"/>
                <a:gd name="connsiteX396" fmla="*/ 241784 w 1526442"/>
                <a:gd name="connsiteY396" fmla="*/ 1295355 h 1683492"/>
                <a:gd name="connsiteX397" fmla="*/ 248001 w 1526442"/>
                <a:gd name="connsiteY397" fmla="*/ 1293726 h 1683492"/>
                <a:gd name="connsiteX398" fmla="*/ 252195 w 1526442"/>
                <a:gd name="connsiteY398" fmla="*/ 1293726 h 1683492"/>
                <a:gd name="connsiteX399" fmla="*/ 258412 w 1526442"/>
                <a:gd name="connsiteY399" fmla="*/ 1295355 h 1683492"/>
                <a:gd name="connsiteX400" fmla="*/ 260485 w 1526442"/>
                <a:gd name="connsiteY400" fmla="*/ 1293726 h 1683492"/>
                <a:gd name="connsiteX401" fmla="*/ 260485 w 1526442"/>
                <a:gd name="connsiteY401" fmla="*/ 1285881 h 1683492"/>
                <a:gd name="connsiteX402" fmla="*/ 258412 w 1526442"/>
                <a:gd name="connsiteY402" fmla="*/ 1284204 h 1683492"/>
                <a:gd name="connsiteX403" fmla="*/ 254218 w 1526442"/>
                <a:gd name="connsiteY403" fmla="*/ 1284204 h 1683492"/>
                <a:gd name="connsiteX404" fmla="*/ 252195 w 1526442"/>
                <a:gd name="connsiteY404" fmla="*/ 1285881 h 1683492"/>
                <a:gd name="connsiteX405" fmla="*/ 245929 w 1526442"/>
                <a:gd name="connsiteY405" fmla="*/ 1287460 h 1683492"/>
                <a:gd name="connsiteX406" fmla="*/ 231374 w 1526442"/>
                <a:gd name="connsiteY406" fmla="*/ 1282526 h 1683492"/>
                <a:gd name="connsiteX407" fmla="*/ 222788 w 1526442"/>
                <a:gd name="connsiteY407" fmla="*/ 1282526 h 1683492"/>
                <a:gd name="connsiteX408" fmla="*/ 220766 w 1526442"/>
                <a:gd name="connsiteY408" fmla="*/ 1279270 h 1683492"/>
                <a:gd name="connsiteX409" fmla="*/ 220766 w 1526442"/>
                <a:gd name="connsiteY409" fmla="*/ 1277691 h 1683492"/>
                <a:gd name="connsiteX410" fmla="*/ 226982 w 1526442"/>
                <a:gd name="connsiteY410" fmla="*/ 1277691 h 1683492"/>
                <a:gd name="connsiteX411" fmla="*/ 231176 w 1526442"/>
                <a:gd name="connsiteY411" fmla="*/ 1279270 h 1683492"/>
                <a:gd name="connsiteX412" fmla="*/ 235321 w 1526442"/>
                <a:gd name="connsiteY412" fmla="*/ 1277691 h 1683492"/>
                <a:gd name="connsiteX413" fmla="*/ 233199 w 1526442"/>
                <a:gd name="connsiteY413" fmla="*/ 1276063 h 1683492"/>
                <a:gd name="connsiteX414" fmla="*/ 226982 w 1526442"/>
                <a:gd name="connsiteY414" fmla="*/ 1276063 h 1683492"/>
                <a:gd name="connsiteX415" fmla="*/ 224861 w 1526442"/>
                <a:gd name="connsiteY415" fmla="*/ 1274484 h 1683492"/>
                <a:gd name="connsiteX416" fmla="*/ 224861 w 1526442"/>
                <a:gd name="connsiteY416" fmla="*/ 1271227 h 1683492"/>
                <a:gd name="connsiteX417" fmla="*/ 235321 w 1526442"/>
                <a:gd name="connsiteY417" fmla="*/ 1271227 h 1683492"/>
                <a:gd name="connsiteX418" fmla="*/ 237393 w 1526442"/>
                <a:gd name="connsiteY418" fmla="*/ 1269599 h 1683492"/>
                <a:gd name="connsiteX419" fmla="*/ 285253 w 1526442"/>
                <a:gd name="connsiteY419" fmla="*/ 1269599 h 1683492"/>
                <a:gd name="connsiteX420" fmla="*/ 283230 w 1526442"/>
                <a:gd name="connsiteY420" fmla="*/ 1266342 h 1683492"/>
                <a:gd name="connsiteX421" fmla="*/ 274842 w 1526442"/>
                <a:gd name="connsiteY421" fmla="*/ 1263135 h 1683492"/>
                <a:gd name="connsiteX422" fmla="*/ 264432 w 1526442"/>
                <a:gd name="connsiteY422" fmla="*/ 1263135 h 1683492"/>
                <a:gd name="connsiteX423" fmla="*/ 251998 w 1526442"/>
                <a:gd name="connsiteY423" fmla="*/ 1266342 h 1683492"/>
                <a:gd name="connsiteX424" fmla="*/ 245732 w 1526442"/>
                <a:gd name="connsiteY424" fmla="*/ 1266342 h 1683492"/>
                <a:gd name="connsiteX425" fmla="*/ 243610 w 1526442"/>
                <a:gd name="connsiteY425" fmla="*/ 1264764 h 1683492"/>
                <a:gd name="connsiteX426" fmla="*/ 239465 w 1526442"/>
                <a:gd name="connsiteY426" fmla="*/ 1263135 h 1683492"/>
                <a:gd name="connsiteX427" fmla="*/ 233199 w 1526442"/>
                <a:gd name="connsiteY427" fmla="*/ 1264764 h 1683492"/>
                <a:gd name="connsiteX428" fmla="*/ 229055 w 1526442"/>
                <a:gd name="connsiteY428" fmla="*/ 1267971 h 1683492"/>
                <a:gd name="connsiteX429" fmla="*/ 226982 w 1526442"/>
                <a:gd name="connsiteY429" fmla="*/ 1266342 h 1683492"/>
                <a:gd name="connsiteX430" fmla="*/ 226982 w 1526442"/>
                <a:gd name="connsiteY430" fmla="*/ 1263135 h 1683492"/>
                <a:gd name="connsiteX431" fmla="*/ 231176 w 1526442"/>
                <a:gd name="connsiteY431" fmla="*/ 1258201 h 1683492"/>
                <a:gd name="connsiteX432" fmla="*/ 237393 w 1526442"/>
                <a:gd name="connsiteY432" fmla="*/ 1254945 h 1683492"/>
                <a:gd name="connsiteX433" fmla="*/ 241587 w 1526442"/>
                <a:gd name="connsiteY433" fmla="*/ 1251738 h 1683492"/>
                <a:gd name="connsiteX434" fmla="*/ 247804 w 1526442"/>
                <a:gd name="connsiteY434" fmla="*/ 1250109 h 1683492"/>
                <a:gd name="connsiteX435" fmla="*/ 251998 w 1526442"/>
                <a:gd name="connsiteY435" fmla="*/ 1243646 h 1683492"/>
                <a:gd name="connsiteX436" fmla="*/ 256143 w 1526442"/>
                <a:gd name="connsiteY436" fmla="*/ 1240439 h 1683492"/>
                <a:gd name="connsiteX437" fmla="*/ 260287 w 1526442"/>
                <a:gd name="connsiteY437" fmla="*/ 1240439 h 1683492"/>
                <a:gd name="connsiteX438" fmla="*/ 262409 w 1526442"/>
                <a:gd name="connsiteY438" fmla="*/ 1242067 h 1683492"/>
                <a:gd name="connsiteX439" fmla="*/ 268626 w 1526442"/>
                <a:gd name="connsiteY439" fmla="*/ 1242067 h 1683492"/>
                <a:gd name="connsiteX440" fmla="*/ 272820 w 1526442"/>
                <a:gd name="connsiteY440" fmla="*/ 1240439 h 1683492"/>
                <a:gd name="connsiteX441" fmla="*/ 277063 w 1526442"/>
                <a:gd name="connsiteY441" fmla="*/ 1240439 h 1683492"/>
                <a:gd name="connsiteX442" fmla="*/ 279135 w 1526442"/>
                <a:gd name="connsiteY442" fmla="*/ 1242067 h 1683492"/>
                <a:gd name="connsiteX443" fmla="*/ 287474 w 1526442"/>
                <a:gd name="connsiteY443" fmla="*/ 1243646 h 1683492"/>
                <a:gd name="connsiteX444" fmla="*/ 293740 w 1526442"/>
                <a:gd name="connsiteY444" fmla="*/ 1250109 h 1683492"/>
                <a:gd name="connsiteX445" fmla="*/ 299957 w 1526442"/>
                <a:gd name="connsiteY445" fmla="*/ 1248481 h 1683492"/>
                <a:gd name="connsiteX446" fmla="*/ 306174 w 1526442"/>
                <a:gd name="connsiteY446" fmla="*/ 1251738 h 1683492"/>
                <a:gd name="connsiteX447" fmla="*/ 314561 w 1526442"/>
                <a:gd name="connsiteY447" fmla="*/ 1258201 h 1683492"/>
                <a:gd name="connsiteX448" fmla="*/ 322851 w 1526442"/>
                <a:gd name="connsiteY448" fmla="*/ 1261408 h 1683492"/>
                <a:gd name="connsiteX449" fmla="*/ 331189 w 1526442"/>
                <a:gd name="connsiteY449" fmla="*/ 1264665 h 1683492"/>
                <a:gd name="connsiteX450" fmla="*/ 335334 w 1526442"/>
                <a:gd name="connsiteY450" fmla="*/ 1263037 h 1683492"/>
                <a:gd name="connsiteX451" fmla="*/ 339528 w 1526442"/>
                <a:gd name="connsiteY451" fmla="*/ 1263037 h 1683492"/>
                <a:gd name="connsiteX452" fmla="*/ 339528 w 1526442"/>
                <a:gd name="connsiteY452" fmla="*/ 1258103 h 1683492"/>
                <a:gd name="connsiteX453" fmla="*/ 333262 w 1526442"/>
                <a:gd name="connsiteY453" fmla="*/ 1259731 h 1683492"/>
                <a:gd name="connsiteX454" fmla="*/ 331189 w 1526442"/>
                <a:gd name="connsiteY454" fmla="*/ 1261310 h 1683492"/>
                <a:gd name="connsiteX455" fmla="*/ 324923 w 1526442"/>
                <a:gd name="connsiteY455" fmla="*/ 1259731 h 1683492"/>
                <a:gd name="connsiteX456" fmla="*/ 318706 w 1526442"/>
                <a:gd name="connsiteY456" fmla="*/ 1256524 h 1683492"/>
                <a:gd name="connsiteX457" fmla="*/ 310368 w 1526442"/>
                <a:gd name="connsiteY457" fmla="*/ 1246656 h 1683492"/>
                <a:gd name="connsiteX458" fmla="*/ 312440 w 1526442"/>
                <a:gd name="connsiteY458" fmla="*/ 1245027 h 1683492"/>
                <a:gd name="connsiteX459" fmla="*/ 324923 w 1526442"/>
                <a:gd name="connsiteY459" fmla="*/ 1245027 h 1683492"/>
                <a:gd name="connsiteX460" fmla="*/ 335334 w 1526442"/>
                <a:gd name="connsiteY460" fmla="*/ 1241820 h 1683492"/>
                <a:gd name="connsiteX461" fmla="*/ 337406 w 1526442"/>
                <a:gd name="connsiteY461" fmla="*/ 1238564 h 1683492"/>
                <a:gd name="connsiteX462" fmla="*/ 337406 w 1526442"/>
                <a:gd name="connsiteY462" fmla="*/ 1235357 h 1683492"/>
                <a:gd name="connsiteX463" fmla="*/ 329117 w 1526442"/>
                <a:gd name="connsiteY463" fmla="*/ 1233729 h 1683492"/>
                <a:gd name="connsiteX464" fmla="*/ 324923 w 1526442"/>
                <a:gd name="connsiteY464" fmla="*/ 1235357 h 1683492"/>
                <a:gd name="connsiteX465" fmla="*/ 324923 w 1526442"/>
                <a:gd name="connsiteY465" fmla="*/ 1237528 h 1683492"/>
                <a:gd name="connsiteX466" fmla="*/ 326995 w 1526442"/>
                <a:gd name="connsiteY466" fmla="*/ 1240784 h 1683492"/>
                <a:gd name="connsiteX467" fmla="*/ 324923 w 1526442"/>
                <a:gd name="connsiteY467" fmla="*/ 1240784 h 1683492"/>
                <a:gd name="connsiteX468" fmla="*/ 314561 w 1526442"/>
                <a:gd name="connsiteY468" fmla="*/ 1242412 h 1683492"/>
                <a:gd name="connsiteX469" fmla="*/ 310368 w 1526442"/>
                <a:gd name="connsiteY469" fmla="*/ 1239156 h 1683492"/>
                <a:gd name="connsiteX470" fmla="*/ 310368 w 1526442"/>
                <a:gd name="connsiteY470" fmla="*/ 1235949 h 1683492"/>
                <a:gd name="connsiteX471" fmla="*/ 314561 w 1526442"/>
                <a:gd name="connsiteY471" fmla="*/ 1234321 h 1683492"/>
                <a:gd name="connsiteX472" fmla="*/ 316535 w 1526442"/>
                <a:gd name="connsiteY472" fmla="*/ 1234321 h 1683492"/>
                <a:gd name="connsiteX473" fmla="*/ 318657 w 1526442"/>
                <a:gd name="connsiteY473" fmla="*/ 1232692 h 1683492"/>
                <a:gd name="connsiteX474" fmla="*/ 316535 w 1526442"/>
                <a:gd name="connsiteY474" fmla="*/ 1229485 h 1683492"/>
                <a:gd name="connsiteX475" fmla="*/ 312390 w 1526442"/>
                <a:gd name="connsiteY475" fmla="*/ 1229485 h 1683492"/>
                <a:gd name="connsiteX476" fmla="*/ 310318 w 1526442"/>
                <a:gd name="connsiteY476" fmla="*/ 1231064 h 1683492"/>
                <a:gd name="connsiteX477" fmla="*/ 306124 w 1526442"/>
                <a:gd name="connsiteY477" fmla="*/ 1229485 h 1683492"/>
                <a:gd name="connsiteX478" fmla="*/ 304101 w 1526442"/>
                <a:gd name="connsiteY478" fmla="*/ 1229485 h 1683492"/>
                <a:gd name="connsiteX479" fmla="*/ 304101 w 1526442"/>
                <a:gd name="connsiteY479" fmla="*/ 1232594 h 1683492"/>
                <a:gd name="connsiteX480" fmla="*/ 306124 w 1526442"/>
                <a:gd name="connsiteY480" fmla="*/ 1235850 h 1683492"/>
                <a:gd name="connsiteX481" fmla="*/ 306124 w 1526442"/>
                <a:gd name="connsiteY481" fmla="*/ 1239057 h 1683492"/>
                <a:gd name="connsiteX482" fmla="*/ 301980 w 1526442"/>
                <a:gd name="connsiteY482" fmla="*/ 1243991 h 1683492"/>
                <a:gd name="connsiteX483" fmla="*/ 295714 w 1526442"/>
                <a:gd name="connsiteY483" fmla="*/ 1245620 h 1683492"/>
                <a:gd name="connsiteX484" fmla="*/ 291569 w 1526442"/>
                <a:gd name="connsiteY484" fmla="*/ 1243991 h 1683492"/>
                <a:gd name="connsiteX485" fmla="*/ 285204 w 1526442"/>
                <a:gd name="connsiteY485" fmla="*/ 1237528 h 1683492"/>
                <a:gd name="connsiteX486" fmla="*/ 278987 w 1526442"/>
                <a:gd name="connsiteY486" fmla="*/ 1237528 h 1683492"/>
                <a:gd name="connsiteX487" fmla="*/ 276915 w 1526442"/>
                <a:gd name="connsiteY487" fmla="*/ 1235949 h 1683492"/>
                <a:gd name="connsiteX488" fmla="*/ 274793 w 1526442"/>
                <a:gd name="connsiteY488" fmla="*/ 1232692 h 1683492"/>
                <a:gd name="connsiteX489" fmla="*/ 272770 w 1526442"/>
                <a:gd name="connsiteY489" fmla="*/ 1232692 h 1683492"/>
                <a:gd name="connsiteX490" fmla="*/ 270649 w 1526442"/>
                <a:gd name="connsiteY490" fmla="*/ 1235949 h 1683492"/>
                <a:gd name="connsiteX491" fmla="*/ 262261 w 1526442"/>
                <a:gd name="connsiteY491" fmla="*/ 1235949 h 1683492"/>
                <a:gd name="connsiteX492" fmla="*/ 255994 w 1526442"/>
                <a:gd name="connsiteY492" fmla="*/ 1237528 h 1683492"/>
                <a:gd name="connsiteX493" fmla="*/ 251850 w 1526442"/>
                <a:gd name="connsiteY493" fmla="*/ 1240784 h 1683492"/>
                <a:gd name="connsiteX494" fmla="*/ 243462 w 1526442"/>
                <a:gd name="connsiteY494" fmla="*/ 1247248 h 1683492"/>
                <a:gd name="connsiteX495" fmla="*/ 239317 w 1526442"/>
                <a:gd name="connsiteY495" fmla="*/ 1248827 h 1683492"/>
                <a:gd name="connsiteX496" fmla="*/ 237245 w 1526442"/>
                <a:gd name="connsiteY496" fmla="*/ 1247248 h 1683492"/>
                <a:gd name="connsiteX497" fmla="*/ 237245 w 1526442"/>
                <a:gd name="connsiteY497" fmla="*/ 1243991 h 1683492"/>
                <a:gd name="connsiteX498" fmla="*/ 245584 w 1526442"/>
                <a:gd name="connsiteY498" fmla="*/ 1235949 h 1683492"/>
                <a:gd name="connsiteX499" fmla="*/ 247656 w 1526442"/>
                <a:gd name="connsiteY499" fmla="*/ 1234321 h 1683492"/>
                <a:gd name="connsiteX500" fmla="*/ 249728 w 1526442"/>
                <a:gd name="connsiteY500" fmla="*/ 1232692 h 1683492"/>
                <a:gd name="connsiteX501" fmla="*/ 249728 w 1526442"/>
                <a:gd name="connsiteY501" fmla="*/ 1231064 h 1683492"/>
                <a:gd name="connsiteX502" fmla="*/ 251850 w 1526442"/>
                <a:gd name="connsiteY502" fmla="*/ 1229485 h 1683492"/>
                <a:gd name="connsiteX503" fmla="*/ 255994 w 1526442"/>
                <a:gd name="connsiteY503" fmla="*/ 1226229 h 1683492"/>
                <a:gd name="connsiteX504" fmla="*/ 255994 w 1526442"/>
                <a:gd name="connsiteY504" fmla="*/ 1224650 h 1683492"/>
                <a:gd name="connsiteX505" fmla="*/ 258067 w 1526442"/>
                <a:gd name="connsiteY505" fmla="*/ 1219716 h 1683492"/>
                <a:gd name="connsiteX506" fmla="*/ 262261 w 1526442"/>
                <a:gd name="connsiteY506" fmla="*/ 1221344 h 1683492"/>
                <a:gd name="connsiteX507" fmla="*/ 266405 w 1526442"/>
                <a:gd name="connsiteY507" fmla="*/ 1224601 h 1683492"/>
                <a:gd name="connsiteX508" fmla="*/ 274695 w 1526442"/>
                <a:gd name="connsiteY508" fmla="*/ 1226180 h 1683492"/>
                <a:gd name="connsiteX509" fmla="*/ 285105 w 1526442"/>
                <a:gd name="connsiteY509" fmla="*/ 1226180 h 1683492"/>
                <a:gd name="connsiteX510" fmla="*/ 283082 w 1526442"/>
                <a:gd name="connsiteY510" fmla="*/ 1224601 h 1683492"/>
                <a:gd name="connsiteX511" fmla="*/ 278888 w 1526442"/>
                <a:gd name="connsiteY511" fmla="*/ 1222972 h 1683492"/>
                <a:gd name="connsiteX512" fmla="*/ 274695 w 1526442"/>
                <a:gd name="connsiteY512" fmla="*/ 1224601 h 1683492"/>
                <a:gd name="connsiteX513" fmla="*/ 270550 w 1526442"/>
                <a:gd name="connsiteY513" fmla="*/ 1221344 h 1683492"/>
                <a:gd name="connsiteX514" fmla="*/ 262261 w 1526442"/>
                <a:gd name="connsiteY514" fmla="*/ 1214782 h 1683492"/>
                <a:gd name="connsiteX515" fmla="*/ 260139 w 1526442"/>
                <a:gd name="connsiteY515" fmla="*/ 1209848 h 1683492"/>
                <a:gd name="connsiteX516" fmla="*/ 255994 w 1526442"/>
                <a:gd name="connsiteY516" fmla="*/ 1208220 h 1683492"/>
                <a:gd name="connsiteX517" fmla="*/ 255994 w 1526442"/>
                <a:gd name="connsiteY517" fmla="*/ 1204963 h 1683492"/>
                <a:gd name="connsiteX518" fmla="*/ 258067 w 1526442"/>
                <a:gd name="connsiteY518" fmla="*/ 1204963 h 1683492"/>
                <a:gd name="connsiteX519" fmla="*/ 266405 w 1526442"/>
                <a:gd name="connsiteY519" fmla="*/ 1206591 h 1683492"/>
                <a:gd name="connsiteX520" fmla="*/ 272671 w 1526442"/>
                <a:gd name="connsiteY520" fmla="*/ 1214683 h 1683492"/>
                <a:gd name="connsiteX521" fmla="*/ 280961 w 1526442"/>
                <a:gd name="connsiteY521" fmla="*/ 1219617 h 1683492"/>
                <a:gd name="connsiteX522" fmla="*/ 280961 w 1526442"/>
                <a:gd name="connsiteY522" fmla="*/ 1218038 h 1683492"/>
                <a:gd name="connsiteX523" fmla="*/ 278888 w 1526442"/>
                <a:gd name="connsiteY523" fmla="*/ 1213104 h 1683492"/>
                <a:gd name="connsiteX524" fmla="*/ 276816 w 1526442"/>
                <a:gd name="connsiteY524" fmla="*/ 1208170 h 1683492"/>
                <a:gd name="connsiteX525" fmla="*/ 278888 w 1526442"/>
                <a:gd name="connsiteY525" fmla="*/ 1209798 h 1683492"/>
                <a:gd name="connsiteX526" fmla="*/ 283082 w 1526442"/>
                <a:gd name="connsiteY526" fmla="*/ 1213006 h 1683492"/>
                <a:gd name="connsiteX527" fmla="*/ 285105 w 1526442"/>
                <a:gd name="connsiteY527" fmla="*/ 1216213 h 1683492"/>
                <a:gd name="connsiteX528" fmla="*/ 297638 w 1526442"/>
                <a:gd name="connsiteY528" fmla="*/ 1222726 h 1683492"/>
                <a:gd name="connsiteX529" fmla="*/ 301733 w 1526442"/>
                <a:gd name="connsiteY529" fmla="*/ 1222726 h 1683492"/>
                <a:gd name="connsiteX530" fmla="*/ 303855 w 1526442"/>
                <a:gd name="connsiteY530" fmla="*/ 1221097 h 1683492"/>
                <a:gd name="connsiteX531" fmla="*/ 312144 w 1526442"/>
                <a:gd name="connsiteY531" fmla="*/ 1221097 h 1683492"/>
                <a:gd name="connsiteX532" fmla="*/ 314265 w 1526442"/>
                <a:gd name="connsiteY532" fmla="*/ 1222726 h 1683492"/>
                <a:gd name="connsiteX533" fmla="*/ 322554 w 1526442"/>
                <a:gd name="connsiteY533" fmla="*/ 1227660 h 1683492"/>
                <a:gd name="connsiteX534" fmla="*/ 328821 w 1526442"/>
                <a:gd name="connsiteY534" fmla="*/ 1229288 h 1683492"/>
                <a:gd name="connsiteX535" fmla="*/ 328821 w 1526442"/>
                <a:gd name="connsiteY535" fmla="*/ 1230867 h 1683492"/>
                <a:gd name="connsiteX536" fmla="*/ 335038 w 1526442"/>
                <a:gd name="connsiteY536" fmla="*/ 1230867 h 1683492"/>
                <a:gd name="connsiteX537" fmla="*/ 335038 w 1526442"/>
                <a:gd name="connsiteY537" fmla="*/ 1229288 h 1683492"/>
                <a:gd name="connsiteX538" fmla="*/ 328821 w 1526442"/>
                <a:gd name="connsiteY538" fmla="*/ 1224354 h 1683492"/>
                <a:gd name="connsiteX539" fmla="*/ 314265 w 1526442"/>
                <a:gd name="connsiteY539" fmla="*/ 1214486 h 1683492"/>
                <a:gd name="connsiteX540" fmla="*/ 312144 w 1526442"/>
                <a:gd name="connsiteY540" fmla="*/ 1211279 h 1683492"/>
                <a:gd name="connsiteX541" fmla="*/ 314265 w 1526442"/>
                <a:gd name="connsiteY541" fmla="*/ 1209650 h 1683492"/>
                <a:gd name="connsiteX542" fmla="*/ 322554 w 1526442"/>
                <a:gd name="connsiteY542" fmla="*/ 1206394 h 1683492"/>
                <a:gd name="connsiteX543" fmla="*/ 322554 w 1526442"/>
                <a:gd name="connsiteY543" fmla="*/ 1203187 h 1683492"/>
                <a:gd name="connsiteX544" fmla="*/ 324627 w 1526442"/>
                <a:gd name="connsiteY544" fmla="*/ 1198253 h 1683492"/>
                <a:gd name="connsiteX545" fmla="*/ 326699 w 1526442"/>
                <a:gd name="connsiteY545" fmla="*/ 1198253 h 1683492"/>
                <a:gd name="connsiteX546" fmla="*/ 326699 w 1526442"/>
                <a:gd name="connsiteY546" fmla="*/ 1196674 h 1683492"/>
                <a:gd name="connsiteX547" fmla="*/ 322554 w 1526442"/>
                <a:gd name="connsiteY547" fmla="*/ 1196674 h 1683492"/>
                <a:gd name="connsiteX548" fmla="*/ 318410 w 1526442"/>
                <a:gd name="connsiteY548" fmla="*/ 1198253 h 1683492"/>
                <a:gd name="connsiteX549" fmla="*/ 307999 w 1526442"/>
                <a:gd name="connsiteY549" fmla="*/ 1196674 h 1683492"/>
                <a:gd name="connsiteX550" fmla="*/ 305878 w 1526442"/>
                <a:gd name="connsiteY550" fmla="*/ 1199930 h 1683492"/>
                <a:gd name="connsiteX551" fmla="*/ 307999 w 1526442"/>
                <a:gd name="connsiteY551" fmla="*/ 1201509 h 1683492"/>
                <a:gd name="connsiteX552" fmla="*/ 312144 w 1526442"/>
                <a:gd name="connsiteY552" fmla="*/ 1204716 h 1683492"/>
                <a:gd name="connsiteX553" fmla="*/ 310072 w 1526442"/>
                <a:gd name="connsiteY553" fmla="*/ 1206345 h 1683492"/>
                <a:gd name="connsiteX554" fmla="*/ 301733 w 1526442"/>
                <a:gd name="connsiteY554" fmla="*/ 1206345 h 1683492"/>
                <a:gd name="connsiteX555" fmla="*/ 299661 w 1526442"/>
                <a:gd name="connsiteY555" fmla="*/ 1207973 h 1683492"/>
                <a:gd name="connsiteX556" fmla="*/ 293444 w 1526442"/>
                <a:gd name="connsiteY556" fmla="*/ 1206345 h 1683492"/>
                <a:gd name="connsiteX557" fmla="*/ 287178 w 1526442"/>
                <a:gd name="connsiteY557" fmla="*/ 1207973 h 1683492"/>
                <a:gd name="connsiteX558" fmla="*/ 285056 w 1526442"/>
                <a:gd name="connsiteY558" fmla="*/ 1204716 h 1683492"/>
                <a:gd name="connsiteX559" fmla="*/ 278839 w 1526442"/>
                <a:gd name="connsiteY559" fmla="*/ 1203138 h 1683492"/>
                <a:gd name="connsiteX560" fmla="*/ 278839 w 1526442"/>
                <a:gd name="connsiteY560" fmla="*/ 1199930 h 1683492"/>
                <a:gd name="connsiteX561" fmla="*/ 280912 w 1526442"/>
                <a:gd name="connsiteY561" fmla="*/ 1198253 h 1683492"/>
                <a:gd name="connsiteX562" fmla="*/ 285056 w 1526442"/>
                <a:gd name="connsiteY562" fmla="*/ 1195046 h 1683492"/>
                <a:gd name="connsiteX563" fmla="*/ 280912 w 1526442"/>
                <a:gd name="connsiteY563" fmla="*/ 1195046 h 1683492"/>
                <a:gd name="connsiteX564" fmla="*/ 272622 w 1526442"/>
                <a:gd name="connsiteY564" fmla="*/ 1196674 h 1683492"/>
                <a:gd name="connsiteX565" fmla="*/ 272622 w 1526442"/>
                <a:gd name="connsiteY565" fmla="*/ 1195046 h 1683492"/>
                <a:gd name="connsiteX566" fmla="*/ 280912 w 1526442"/>
                <a:gd name="connsiteY566" fmla="*/ 1193467 h 1683492"/>
                <a:gd name="connsiteX567" fmla="*/ 291322 w 1526442"/>
                <a:gd name="connsiteY567" fmla="*/ 1190210 h 1683492"/>
                <a:gd name="connsiteX568" fmla="*/ 295467 w 1526442"/>
                <a:gd name="connsiteY568" fmla="*/ 1188582 h 1683492"/>
                <a:gd name="connsiteX569" fmla="*/ 301733 w 1526442"/>
                <a:gd name="connsiteY569" fmla="*/ 1188582 h 1683492"/>
                <a:gd name="connsiteX570" fmla="*/ 303855 w 1526442"/>
                <a:gd name="connsiteY570" fmla="*/ 1190210 h 1683492"/>
                <a:gd name="connsiteX571" fmla="*/ 310072 w 1526442"/>
                <a:gd name="connsiteY571" fmla="*/ 1188582 h 1683492"/>
                <a:gd name="connsiteX572" fmla="*/ 316535 w 1526442"/>
                <a:gd name="connsiteY572" fmla="*/ 1188582 h 1683492"/>
                <a:gd name="connsiteX573" fmla="*/ 324874 w 1526442"/>
                <a:gd name="connsiteY573" fmla="*/ 1190210 h 1683492"/>
                <a:gd name="connsiteX574" fmla="*/ 324874 w 1526442"/>
                <a:gd name="connsiteY574" fmla="*/ 1186954 h 1683492"/>
                <a:gd name="connsiteX575" fmla="*/ 329067 w 1526442"/>
                <a:gd name="connsiteY575" fmla="*/ 1185375 h 1683492"/>
                <a:gd name="connsiteX576" fmla="*/ 331140 w 1526442"/>
                <a:gd name="connsiteY576" fmla="*/ 1182168 h 1683492"/>
                <a:gd name="connsiteX577" fmla="*/ 335284 w 1526442"/>
                <a:gd name="connsiteY577" fmla="*/ 1180490 h 1683492"/>
                <a:gd name="connsiteX578" fmla="*/ 337357 w 1526442"/>
                <a:gd name="connsiteY578" fmla="*/ 1177283 h 1683492"/>
                <a:gd name="connsiteX579" fmla="*/ 335284 w 1526442"/>
                <a:gd name="connsiteY579" fmla="*/ 1175655 h 1683492"/>
                <a:gd name="connsiteX580" fmla="*/ 331140 w 1526442"/>
                <a:gd name="connsiteY580" fmla="*/ 1180589 h 1683492"/>
                <a:gd name="connsiteX581" fmla="*/ 326946 w 1526442"/>
                <a:gd name="connsiteY581" fmla="*/ 1180589 h 1683492"/>
                <a:gd name="connsiteX582" fmla="*/ 326946 w 1526442"/>
                <a:gd name="connsiteY582" fmla="*/ 1177382 h 1683492"/>
                <a:gd name="connsiteX583" fmla="*/ 329067 w 1526442"/>
                <a:gd name="connsiteY583" fmla="*/ 1172448 h 1683492"/>
                <a:gd name="connsiteX584" fmla="*/ 333212 w 1526442"/>
                <a:gd name="connsiteY584" fmla="*/ 1161149 h 1683492"/>
                <a:gd name="connsiteX585" fmla="*/ 333212 w 1526442"/>
                <a:gd name="connsiteY585" fmla="*/ 1154685 h 1683492"/>
                <a:gd name="connsiteX586" fmla="*/ 335284 w 1526442"/>
                <a:gd name="connsiteY586" fmla="*/ 1154685 h 1683492"/>
                <a:gd name="connsiteX587" fmla="*/ 337357 w 1526442"/>
                <a:gd name="connsiteY587" fmla="*/ 1156264 h 1683492"/>
                <a:gd name="connsiteX588" fmla="*/ 341551 w 1526442"/>
                <a:gd name="connsiteY588" fmla="*/ 1161198 h 1683492"/>
                <a:gd name="connsiteX589" fmla="*/ 339478 w 1526442"/>
                <a:gd name="connsiteY589" fmla="*/ 1162777 h 1683492"/>
                <a:gd name="connsiteX590" fmla="*/ 339478 w 1526442"/>
                <a:gd name="connsiteY590" fmla="*/ 1166034 h 1683492"/>
                <a:gd name="connsiteX591" fmla="*/ 345695 w 1526442"/>
                <a:gd name="connsiteY591" fmla="*/ 1167662 h 1683492"/>
                <a:gd name="connsiteX592" fmla="*/ 351961 w 1526442"/>
                <a:gd name="connsiteY592" fmla="*/ 1166034 h 1683492"/>
                <a:gd name="connsiteX593" fmla="*/ 354083 w 1526442"/>
                <a:gd name="connsiteY593" fmla="*/ 1169241 h 1683492"/>
                <a:gd name="connsiteX594" fmla="*/ 358178 w 1526442"/>
                <a:gd name="connsiteY594" fmla="*/ 1169241 h 1683492"/>
                <a:gd name="connsiteX595" fmla="*/ 358178 w 1526442"/>
                <a:gd name="connsiteY595" fmla="*/ 1167662 h 1683492"/>
                <a:gd name="connsiteX596" fmla="*/ 362372 w 1526442"/>
                <a:gd name="connsiteY596" fmla="*/ 1169241 h 1683492"/>
                <a:gd name="connsiteX597" fmla="*/ 364494 w 1526442"/>
                <a:gd name="connsiteY597" fmla="*/ 1169241 h 1683492"/>
                <a:gd name="connsiteX598" fmla="*/ 364494 w 1526442"/>
                <a:gd name="connsiteY598" fmla="*/ 1166034 h 1683492"/>
                <a:gd name="connsiteX599" fmla="*/ 360300 w 1526442"/>
                <a:gd name="connsiteY599" fmla="*/ 1162777 h 1683492"/>
                <a:gd name="connsiteX600" fmla="*/ 351961 w 1526442"/>
                <a:gd name="connsiteY600" fmla="*/ 1162777 h 1683492"/>
                <a:gd name="connsiteX601" fmla="*/ 351961 w 1526442"/>
                <a:gd name="connsiteY601" fmla="*/ 1161198 h 1683492"/>
                <a:gd name="connsiteX602" fmla="*/ 356106 w 1526442"/>
                <a:gd name="connsiteY602" fmla="*/ 1159570 h 1683492"/>
                <a:gd name="connsiteX603" fmla="*/ 364494 w 1526442"/>
                <a:gd name="connsiteY603" fmla="*/ 1159570 h 1683492"/>
                <a:gd name="connsiteX604" fmla="*/ 364494 w 1526442"/>
                <a:gd name="connsiteY604" fmla="*/ 1156314 h 1683492"/>
                <a:gd name="connsiteX605" fmla="*/ 360300 w 1526442"/>
                <a:gd name="connsiteY605" fmla="*/ 1154735 h 1683492"/>
                <a:gd name="connsiteX606" fmla="*/ 356007 w 1526442"/>
                <a:gd name="connsiteY606" fmla="*/ 1154735 h 1683492"/>
                <a:gd name="connsiteX607" fmla="*/ 353985 w 1526442"/>
                <a:gd name="connsiteY607" fmla="*/ 1151478 h 1683492"/>
                <a:gd name="connsiteX608" fmla="*/ 351863 w 1526442"/>
                <a:gd name="connsiteY608" fmla="*/ 1151478 h 1683492"/>
                <a:gd name="connsiteX609" fmla="*/ 349790 w 1526442"/>
                <a:gd name="connsiteY609" fmla="*/ 1153106 h 1683492"/>
                <a:gd name="connsiteX610" fmla="*/ 345597 w 1526442"/>
                <a:gd name="connsiteY610" fmla="*/ 1153106 h 1683492"/>
                <a:gd name="connsiteX611" fmla="*/ 341452 w 1526442"/>
                <a:gd name="connsiteY611" fmla="*/ 1151478 h 1683492"/>
                <a:gd name="connsiteX612" fmla="*/ 341452 w 1526442"/>
                <a:gd name="connsiteY612" fmla="*/ 1148715 h 1683492"/>
                <a:gd name="connsiteX613" fmla="*/ 343524 w 1526442"/>
                <a:gd name="connsiteY613" fmla="*/ 1145459 h 1683492"/>
                <a:gd name="connsiteX614" fmla="*/ 347669 w 1526442"/>
                <a:gd name="connsiteY614" fmla="*/ 1145459 h 1683492"/>
                <a:gd name="connsiteX615" fmla="*/ 351863 w 1526442"/>
                <a:gd name="connsiteY615" fmla="*/ 1138995 h 1683492"/>
                <a:gd name="connsiteX616" fmla="*/ 356007 w 1526442"/>
                <a:gd name="connsiteY616" fmla="*/ 1137416 h 1683492"/>
                <a:gd name="connsiteX617" fmla="*/ 366418 w 1526442"/>
                <a:gd name="connsiteY617" fmla="*/ 1137416 h 1683492"/>
                <a:gd name="connsiteX618" fmla="*/ 366418 w 1526442"/>
                <a:gd name="connsiteY618" fmla="*/ 1133913 h 1683492"/>
                <a:gd name="connsiteX619" fmla="*/ 362274 w 1526442"/>
                <a:gd name="connsiteY619" fmla="*/ 1132285 h 1683492"/>
                <a:gd name="connsiteX620" fmla="*/ 356007 w 1526442"/>
                <a:gd name="connsiteY620" fmla="*/ 1132285 h 1683492"/>
                <a:gd name="connsiteX621" fmla="*/ 353985 w 1526442"/>
                <a:gd name="connsiteY621" fmla="*/ 1130706 h 1683492"/>
                <a:gd name="connsiteX622" fmla="*/ 356007 w 1526442"/>
                <a:gd name="connsiteY622" fmla="*/ 1128979 h 1683492"/>
                <a:gd name="connsiteX623" fmla="*/ 362274 w 1526442"/>
                <a:gd name="connsiteY623" fmla="*/ 1125722 h 1683492"/>
                <a:gd name="connsiteX624" fmla="*/ 366418 w 1526442"/>
                <a:gd name="connsiteY624" fmla="*/ 1122515 h 1683492"/>
                <a:gd name="connsiteX625" fmla="*/ 370612 w 1526442"/>
                <a:gd name="connsiteY625" fmla="*/ 1120887 h 1683492"/>
                <a:gd name="connsiteX626" fmla="*/ 370612 w 1526442"/>
                <a:gd name="connsiteY626" fmla="*/ 1119259 h 1683492"/>
                <a:gd name="connsiteX627" fmla="*/ 374806 w 1526442"/>
                <a:gd name="connsiteY627" fmla="*/ 1116052 h 1683492"/>
                <a:gd name="connsiteX628" fmla="*/ 372684 w 1526442"/>
                <a:gd name="connsiteY628" fmla="*/ 1112845 h 1683492"/>
                <a:gd name="connsiteX629" fmla="*/ 368540 w 1526442"/>
                <a:gd name="connsiteY629" fmla="*/ 1112845 h 1683492"/>
                <a:gd name="connsiteX630" fmla="*/ 368540 w 1526442"/>
                <a:gd name="connsiteY630" fmla="*/ 1109588 h 1683492"/>
                <a:gd name="connsiteX631" fmla="*/ 376829 w 1526442"/>
                <a:gd name="connsiteY631" fmla="*/ 1109588 h 1683492"/>
                <a:gd name="connsiteX632" fmla="*/ 376829 w 1526442"/>
                <a:gd name="connsiteY632" fmla="*/ 1104654 h 1683492"/>
                <a:gd name="connsiteX633" fmla="*/ 372684 w 1526442"/>
                <a:gd name="connsiteY633" fmla="*/ 1103026 h 1683492"/>
                <a:gd name="connsiteX634" fmla="*/ 366418 w 1526442"/>
                <a:gd name="connsiteY634" fmla="*/ 1104654 h 1683492"/>
                <a:gd name="connsiteX635" fmla="*/ 360201 w 1526442"/>
                <a:gd name="connsiteY635" fmla="*/ 1107861 h 1683492"/>
                <a:gd name="connsiteX636" fmla="*/ 353985 w 1526442"/>
                <a:gd name="connsiteY636" fmla="*/ 1107861 h 1683492"/>
                <a:gd name="connsiteX637" fmla="*/ 351863 w 1526442"/>
                <a:gd name="connsiteY637" fmla="*/ 1104654 h 1683492"/>
                <a:gd name="connsiteX638" fmla="*/ 347669 w 1526442"/>
                <a:gd name="connsiteY638" fmla="*/ 1106282 h 1683492"/>
                <a:gd name="connsiteX639" fmla="*/ 341452 w 1526442"/>
                <a:gd name="connsiteY639" fmla="*/ 1106282 h 1683492"/>
                <a:gd name="connsiteX640" fmla="*/ 337258 w 1526442"/>
                <a:gd name="connsiteY640" fmla="*/ 1103026 h 1683492"/>
                <a:gd name="connsiteX641" fmla="*/ 328969 w 1526442"/>
                <a:gd name="connsiteY641" fmla="*/ 1103026 h 1683492"/>
                <a:gd name="connsiteX642" fmla="*/ 324775 w 1526442"/>
                <a:gd name="connsiteY642" fmla="*/ 1098092 h 1683492"/>
                <a:gd name="connsiteX643" fmla="*/ 318558 w 1526442"/>
                <a:gd name="connsiteY643" fmla="*/ 1098092 h 1683492"/>
                <a:gd name="connsiteX644" fmla="*/ 314413 w 1526442"/>
                <a:gd name="connsiteY644" fmla="*/ 1096464 h 1683492"/>
                <a:gd name="connsiteX645" fmla="*/ 314413 w 1526442"/>
                <a:gd name="connsiteY645" fmla="*/ 1093257 h 1683492"/>
                <a:gd name="connsiteX646" fmla="*/ 312292 w 1526442"/>
                <a:gd name="connsiteY646" fmla="*/ 1086793 h 1683492"/>
                <a:gd name="connsiteX647" fmla="*/ 304003 w 1526442"/>
                <a:gd name="connsiteY647" fmla="*/ 1083537 h 1683492"/>
                <a:gd name="connsiteX648" fmla="*/ 291470 w 1526442"/>
                <a:gd name="connsiteY648" fmla="*/ 1078603 h 1683492"/>
                <a:gd name="connsiteX649" fmla="*/ 281059 w 1526442"/>
                <a:gd name="connsiteY649" fmla="*/ 1075395 h 1683492"/>
                <a:gd name="connsiteX650" fmla="*/ 274793 w 1526442"/>
                <a:gd name="connsiteY650" fmla="*/ 1068932 h 1683492"/>
                <a:gd name="connsiteX651" fmla="*/ 274793 w 1526442"/>
                <a:gd name="connsiteY651" fmla="*/ 1065675 h 1683492"/>
                <a:gd name="connsiteX652" fmla="*/ 272770 w 1526442"/>
                <a:gd name="connsiteY652" fmla="*/ 1059212 h 1683492"/>
                <a:gd name="connsiteX653" fmla="*/ 268576 w 1526442"/>
                <a:gd name="connsiteY653" fmla="*/ 1054278 h 1683492"/>
                <a:gd name="connsiteX654" fmla="*/ 264382 w 1526442"/>
                <a:gd name="connsiteY654" fmla="*/ 1051071 h 1683492"/>
                <a:gd name="connsiteX655" fmla="*/ 264382 w 1526442"/>
                <a:gd name="connsiteY655" fmla="*/ 1047814 h 1683492"/>
                <a:gd name="connsiteX656" fmla="*/ 272770 w 1526442"/>
                <a:gd name="connsiteY656" fmla="*/ 1042880 h 1683492"/>
                <a:gd name="connsiteX657" fmla="*/ 278987 w 1526442"/>
                <a:gd name="connsiteY657" fmla="*/ 1042880 h 1683492"/>
                <a:gd name="connsiteX658" fmla="*/ 283181 w 1526442"/>
                <a:gd name="connsiteY658" fmla="*/ 1041252 h 1683492"/>
                <a:gd name="connsiteX659" fmla="*/ 287326 w 1526442"/>
                <a:gd name="connsiteY659" fmla="*/ 1042880 h 1683492"/>
                <a:gd name="connsiteX660" fmla="*/ 293592 w 1526442"/>
                <a:gd name="connsiteY660" fmla="*/ 1042880 h 1683492"/>
                <a:gd name="connsiteX661" fmla="*/ 299809 w 1526442"/>
                <a:gd name="connsiteY661" fmla="*/ 1047814 h 1683492"/>
                <a:gd name="connsiteX662" fmla="*/ 306026 w 1526442"/>
                <a:gd name="connsiteY662" fmla="*/ 1049442 h 1683492"/>
                <a:gd name="connsiteX663" fmla="*/ 312292 w 1526442"/>
                <a:gd name="connsiteY663" fmla="*/ 1049442 h 1683492"/>
                <a:gd name="connsiteX664" fmla="*/ 314413 w 1526442"/>
                <a:gd name="connsiteY664" fmla="*/ 1051071 h 1683492"/>
                <a:gd name="connsiteX665" fmla="*/ 320630 w 1526442"/>
                <a:gd name="connsiteY665" fmla="*/ 1051071 h 1683492"/>
                <a:gd name="connsiteX666" fmla="*/ 326847 w 1526442"/>
                <a:gd name="connsiteY666" fmla="*/ 1054278 h 1683492"/>
                <a:gd name="connsiteX667" fmla="*/ 331041 w 1526442"/>
                <a:gd name="connsiteY667" fmla="*/ 1055906 h 1683492"/>
                <a:gd name="connsiteX668" fmla="*/ 335186 w 1526442"/>
                <a:gd name="connsiteY668" fmla="*/ 1055906 h 1683492"/>
                <a:gd name="connsiteX669" fmla="*/ 339380 w 1526442"/>
                <a:gd name="connsiteY669" fmla="*/ 1060840 h 1683492"/>
                <a:gd name="connsiteX670" fmla="*/ 343524 w 1526442"/>
                <a:gd name="connsiteY670" fmla="*/ 1072139 h 1683492"/>
                <a:gd name="connsiteX671" fmla="*/ 347669 w 1526442"/>
                <a:gd name="connsiteY671" fmla="*/ 1077073 h 1683492"/>
                <a:gd name="connsiteX672" fmla="*/ 353985 w 1526442"/>
                <a:gd name="connsiteY672" fmla="*/ 1080329 h 1683492"/>
                <a:gd name="connsiteX673" fmla="*/ 360201 w 1526442"/>
                <a:gd name="connsiteY673" fmla="*/ 1085264 h 1683492"/>
                <a:gd name="connsiteX674" fmla="*/ 366418 w 1526442"/>
                <a:gd name="connsiteY674" fmla="*/ 1086892 h 1683492"/>
                <a:gd name="connsiteX675" fmla="*/ 370612 w 1526442"/>
                <a:gd name="connsiteY675" fmla="*/ 1086892 h 1683492"/>
                <a:gd name="connsiteX676" fmla="*/ 372684 w 1526442"/>
                <a:gd name="connsiteY676" fmla="*/ 1081958 h 1683492"/>
                <a:gd name="connsiteX677" fmla="*/ 372684 w 1526442"/>
                <a:gd name="connsiteY677" fmla="*/ 1080329 h 1683492"/>
                <a:gd name="connsiteX678" fmla="*/ 368540 w 1526442"/>
                <a:gd name="connsiteY678" fmla="*/ 1081958 h 1683492"/>
                <a:gd name="connsiteX679" fmla="*/ 364395 w 1526442"/>
                <a:gd name="connsiteY679" fmla="*/ 1081958 h 1683492"/>
                <a:gd name="connsiteX680" fmla="*/ 360201 w 1526442"/>
                <a:gd name="connsiteY680" fmla="*/ 1080329 h 1683492"/>
                <a:gd name="connsiteX681" fmla="*/ 353985 w 1526442"/>
                <a:gd name="connsiteY681" fmla="*/ 1072238 h 1683492"/>
                <a:gd name="connsiteX682" fmla="*/ 353985 w 1526442"/>
                <a:gd name="connsiteY682" fmla="*/ 1070609 h 1683492"/>
                <a:gd name="connsiteX683" fmla="*/ 356007 w 1526442"/>
                <a:gd name="connsiteY683" fmla="*/ 1069030 h 1683492"/>
                <a:gd name="connsiteX684" fmla="*/ 362274 w 1526442"/>
                <a:gd name="connsiteY684" fmla="*/ 1075494 h 1683492"/>
                <a:gd name="connsiteX685" fmla="*/ 366418 w 1526442"/>
                <a:gd name="connsiteY685" fmla="*/ 1075494 h 1683492"/>
                <a:gd name="connsiteX686" fmla="*/ 366418 w 1526442"/>
                <a:gd name="connsiteY686" fmla="*/ 1072238 h 1683492"/>
                <a:gd name="connsiteX687" fmla="*/ 370612 w 1526442"/>
                <a:gd name="connsiteY687" fmla="*/ 1072238 h 1683492"/>
                <a:gd name="connsiteX688" fmla="*/ 370612 w 1526442"/>
                <a:gd name="connsiteY688" fmla="*/ 1069030 h 1683492"/>
                <a:gd name="connsiteX689" fmla="*/ 362274 w 1526442"/>
                <a:gd name="connsiteY689" fmla="*/ 1064096 h 1683492"/>
                <a:gd name="connsiteX690" fmla="*/ 353985 w 1526442"/>
                <a:gd name="connsiteY690" fmla="*/ 1059162 h 1683492"/>
                <a:gd name="connsiteX691" fmla="*/ 351863 w 1526442"/>
                <a:gd name="connsiteY691" fmla="*/ 1054228 h 1683492"/>
                <a:gd name="connsiteX692" fmla="*/ 353985 w 1526442"/>
                <a:gd name="connsiteY692" fmla="*/ 1052600 h 1683492"/>
                <a:gd name="connsiteX693" fmla="*/ 356007 w 1526442"/>
                <a:gd name="connsiteY693" fmla="*/ 1052600 h 1683492"/>
                <a:gd name="connsiteX694" fmla="*/ 360201 w 1526442"/>
                <a:gd name="connsiteY694" fmla="*/ 1059064 h 1683492"/>
                <a:gd name="connsiteX695" fmla="*/ 364395 w 1526442"/>
                <a:gd name="connsiteY695" fmla="*/ 1059064 h 1683492"/>
                <a:gd name="connsiteX696" fmla="*/ 360201 w 1526442"/>
                <a:gd name="connsiteY696" fmla="*/ 1052600 h 1683492"/>
                <a:gd name="connsiteX697" fmla="*/ 353985 w 1526442"/>
                <a:gd name="connsiteY697" fmla="*/ 1046136 h 1683492"/>
                <a:gd name="connsiteX698" fmla="*/ 347669 w 1526442"/>
                <a:gd name="connsiteY698" fmla="*/ 1042929 h 1683492"/>
                <a:gd name="connsiteX699" fmla="*/ 345597 w 1526442"/>
                <a:gd name="connsiteY699" fmla="*/ 1039673 h 1683492"/>
                <a:gd name="connsiteX700" fmla="*/ 347669 w 1526442"/>
                <a:gd name="connsiteY700" fmla="*/ 1036466 h 1683492"/>
                <a:gd name="connsiteX701" fmla="*/ 353985 w 1526442"/>
                <a:gd name="connsiteY701" fmla="*/ 1039673 h 1683492"/>
                <a:gd name="connsiteX702" fmla="*/ 368540 w 1526442"/>
                <a:gd name="connsiteY702" fmla="*/ 1042929 h 1683492"/>
                <a:gd name="connsiteX703" fmla="*/ 372684 w 1526442"/>
                <a:gd name="connsiteY703" fmla="*/ 1041301 h 1683492"/>
                <a:gd name="connsiteX704" fmla="*/ 372684 w 1526442"/>
                <a:gd name="connsiteY704" fmla="*/ 1038094 h 1683492"/>
                <a:gd name="connsiteX705" fmla="*/ 366418 w 1526442"/>
                <a:gd name="connsiteY705" fmla="*/ 1031630 h 1683492"/>
                <a:gd name="connsiteX706" fmla="*/ 364395 w 1526442"/>
                <a:gd name="connsiteY706" fmla="*/ 1031630 h 1683492"/>
                <a:gd name="connsiteX707" fmla="*/ 360201 w 1526442"/>
                <a:gd name="connsiteY707" fmla="*/ 1034838 h 1683492"/>
                <a:gd name="connsiteX708" fmla="*/ 347669 w 1526442"/>
                <a:gd name="connsiteY708" fmla="*/ 1034838 h 1683492"/>
                <a:gd name="connsiteX709" fmla="*/ 345597 w 1526442"/>
                <a:gd name="connsiteY709" fmla="*/ 1031630 h 1683492"/>
                <a:gd name="connsiteX710" fmla="*/ 347669 w 1526442"/>
                <a:gd name="connsiteY710" fmla="*/ 1028374 h 1683492"/>
                <a:gd name="connsiteX711" fmla="*/ 356007 w 1526442"/>
                <a:gd name="connsiteY711" fmla="*/ 1025167 h 1683492"/>
                <a:gd name="connsiteX712" fmla="*/ 360201 w 1526442"/>
                <a:gd name="connsiteY712" fmla="*/ 1025167 h 1683492"/>
                <a:gd name="connsiteX713" fmla="*/ 364395 w 1526442"/>
                <a:gd name="connsiteY713" fmla="*/ 1028374 h 1683492"/>
                <a:gd name="connsiteX714" fmla="*/ 366418 w 1526442"/>
                <a:gd name="connsiteY714" fmla="*/ 1026746 h 1683492"/>
                <a:gd name="connsiteX715" fmla="*/ 364395 w 1526442"/>
                <a:gd name="connsiteY715" fmla="*/ 1023539 h 1683492"/>
                <a:gd name="connsiteX716" fmla="*/ 360201 w 1526442"/>
                <a:gd name="connsiteY716" fmla="*/ 1018605 h 1683492"/>
                <a:gd name="connsiteX717" fmla="*/ 358080 w 1526442"/>
                <a:gd name="connsiteY717" fmla="*/ 1018605 h 1683492"/>
                <a:gd name="connsiteX718" fmla="*/ 356007 w 1526442"/>
                <a:gd name="connsiteY718" fmla="*/ 1020233 h 1683492"/>
                <a:gd name="connsiteX719" fmla="*/ 351863 w 1526442"/>
                <a:gd name="connsiteY719" fmla="*/ 1021812 h 1683492"/>
                <a:gd name="connsiteX720" fmla="*/ 349790 w 1526442"/>
                <a:gd name="connsiteY720" fmla="*/ 1023440 h 1683492"/>
                <a:gd name="connsiteX721" fmla="*/ 339380 w 1526442"/>
                <a:gd name="connsiteY721" fmla="*/ 1029904 h 1683492"/>
                <a:gd name="connsiteX722" fmla="*/ 335186 w 1526442"/>
                <a:gd name="connsiteY722" fmla="*/ 1029904 h 1683492"/>
                <a:gd name="connsiteX723" fmla="*/ 335186 w 1526442"/>
                <a:gd name="connsiteY723" fmla="*/ 1026647 h 1683492"/>
                <a:gd name="connsiteX724" fmla="*/ 339380 w 1526442"/>
                <a:gd name="connsiteY724" fmla="*/ 1025068 h 1683492"/>
                <a:gd name="connsiteX725" fmla="*/ 341452 w 1526442"/>
                <a:gd name="connsiteY725" fmla="*/ 1020134 h 1683492"/>
                <a:gd name="connsiteX726" fmla="*/ 345597 w 1526442"/>
                <a:gd name="connsiteY726" fmla="*/ 1015200 h 1683492"/>
                <a:gd name="connsiteX727" fmla="*/ 353985 w 1526442"/>
                <a:gd name="connsiteY727" fmla="*/ 1015200 h 1683492"/>
                <a:gd name="connsiteX728" fmla="*/ 358080 w 1526442"/>
                <a:gd name="connsiteY728" fmla="*/ 1011993 h 1683492"/>
                <a:gd name="connsiteX729" fmla="*/ 362274 w 1526442"/>
                <a:gd name="connsiteY729" fmla="*/ 1010365 h 1683492"/>
                <a:gd name="connsiteX730" fmla="*/ 364395 w 1526442"/>
                <a:gd name="connsiteY730" fmla="*/ 1008737 h 1683492"/>
                <a:gd name="connsiteX731" fmla="*/ 364395 w 1526442"/>
                <a:gd name="connsiteY731" fmla="*/ 1007158 h 1683492"/>
                <a:gd name="connsiteX732" fmla="*/ 356007 w 1526442"/>
                <a:gd name="connsiteY732" fmla="*/ 1007158 h 1683492"/>
                <a:gd name="connsiteX733" fmla="*/ 349790 w 1526442"/>
                <a:gd name="connsiteY733" fmla="*/ 1010365 h 1683492"/>
                <a:gd name="connsiteX734" fmla="*/ 345597 w 1526442"/>
                <a:gd name="connsiteY734" fmla="*/ 1011993 h 1683492"/>
                <a:gd name="connsiteX735" fmla="*/ 343524 w 1526442"/>
                <a:gd name="connsiteY735" fmla="*/ 1010365 h 1683492"/>
                <a:gd name="connsiteX736" fmla="*/ 335186 w 1526442"/>
                <a:gd name="connsiteY736" fmla="*/ 1011993 h 1683492"/>
                <a:gd name="connsiteX737" fmla="*/ 333113 w 1526442"/>
                <a:gd name="connsiteY737" fmla="*/ 1010365 h 1683492"/>
                <a:gd name="connsiteX738" fmla="*/ 333113 w 1526442"/>
                <a:gd name="connsiteY738" fmla="*/ 1005431 h 1683492"/>
                <a:gd name="connsiteX739" fmla="*/ 337258 w 1526442"/>
                <a:gd name="connsiteY739" fmla="*/ 1003803 h 1683492"/>
                <a:gd name="connsiteX740" fmla="*/ 341452 w 1526442"/>
                <a:gd name="connsiteY740" fmla="*/ 1000595 h 1683492"/>
                <a:gd name="connsiteX741" fmla="*/ 349790 w 1526442"/>
                <a:gd name="connsiteY741" fmla="*/ 1000595 h 1683492"/>
                <a:gd name="connsiteX742" fmla="*/ 360201 w 1526442"/>
                <a:gd name="connsiteY742" fmla="*/ 997339 h 1683492"/>
                <a:gd name="connsiteX743" fmla="*/ 368540 w 1526442"/>
                <a:gd name="connsiteY743" fmla="*/ 994132 h 1683492"/>
                <a:gd name="connsiteX744" fmla="*/ 370612 w 1526442"/>
                <a:gd name="connsiteY744" fmla="*/ 990875 h 1683492"/>
                <a:gd name="connsiteX745" fmla="*/ 364395 w 1526442"/>
                <a:gd name="connsiteY745" fmla="*/ 990875 h 1683492"/>
                <a:gd name="connsiteX746" fmla="*/ 358080 w 1526442"/>
                <a:gd name="connsiteY746" fmla="*/ 992504 h 1683492"/>
                <a:gd name="connsiteX747" fmla="*/ 353985 w 1526442"/>
                <a:gd name="connsiteY747" fmla="*/ 995711 h 1683492"/>
                <a:gd name="connsiteX748" fmla="*/ 347669 w 1526442"/>
                <a:gd name="connsiteY748" fmla="*/ 994132 h 1683492"/>
                <a:gd name="connsiteX749" fmla="*/ 345597 w 1526442"/>
                <a:gd name="connsiteY749" fmla="*/ 989198 h 1683492"/>
                <a:gd name="connsiteX750" fmla="*/ 343524 w 1526442"/>
                <a:gd name="connsiteY750" fmla="*/ 987569 h 1683492"/>
                <a:gd name="connsiteX751" fmla="*/ 337258 w 1526442"/>
                <a:gd name="connsiteY751" fmla="*/ 989198 h 1683492"/>
                <a:gd name="connsiteX752" fmla="*/ 335186 w 1526442"/>
                <a:gd name="connsiteY752" fmla="*/ 987569 h 1683492"/>
                <a:gd name="connsiteX753" fmla="*/ 335186 w 1526442"/>
                <a:gd name="connsiteY753" fmla="*/ 984313 h 1683492"/>
                <a:gd name="connsiteX754" fmla="*/ 339380 w 1526442"/>
                <a:gd name="connsiteY754" fmla="*/ 981106 h 1683492"/>
                <a:gd name="connsiteX755" fmla="*/ 341452 w 1526442"/>
                <a:gd name="connsiteY755" fmla="*/ 974642 h 1683492"/>
                <a:gd name="connsiteX756" fmla="*/ 345597 w 1526442"/>
                <a:gd name="connsiteY756" fmla="*/ 971386 h 1683492"/>
                <a:gd name="connsiteX757" fmla="*/ 349790 w 1526442"/>
                <a:gd name="connsiteY757" fmla="*/ 969807 h 1683492"/>
                <a:gd name="connsiteX758" fmla="*/ 349790 w 1526442"/>
                <a:gd name="connsiteY758" fmla="*/ 968179 h 1683492"/>
                <a:gd name="connsiteX759" fmla="*/ 347669 w 1526442"/>
                <a:gd name="connsiteY759" fmla="*/ 968179 h 1683492"/>
                <a:gd name="connsiteX760" fmla="*/ 341452 w 1526442"/>
                <a:gd name="connsiteY760" fmla="*/ 969807 h 1683492"/>
                <a:gd name="connsiteX761" fmla="*/ 335186 w 1526442"/>
                <a:gd name="connsiteY761" fmla="*/ 977849 h 1683492"/>
                <a:gd name="connsiteX762" fmla="*/ 335186 w 1526442"/>
                <a:gd name="connsiteY762" fmla="*/ 981106 h 1683492"/>
                <a:gd name="connsiteX763" fmla="*/ 328969 w 1526442"/>
                <a:gd name="connsiteY763" fmla="*/ 982734 h 1683492"/>
                <a:gd name="connsiteX764" fmla="*/ 328969 w 1526442"/>
                <a:gd name="connsiteY764" fmla="*/ 985941 h 1683492"/>
                <a:gd name="connsiteX765" fmla="*/ 324775 w 1526442"/>
                <a:gd name="connsiteY765" fmla="*/ 984313 h 1683492"/>
                <a:gd name="connsiteX766" fmla="*/ 326847 w 1526442"/>
                <a:gd name="connsiteY766" fmla="*/ 979379 h 1683492"/>
                <a:gd name="connsiteX767" fmla="*/ 326847 w 1526442"/>
                <a:gd name="connsiteY767" fmla="*/ 972915 h 1683492"/>
                <a:gd name="connsiteX768" fmla="*/ 328969 w 1526442"/>
                <a:gd name="connsiteY768" fmla="*/ 964824 h 1683492"/>
                <a:gd name="connsiteX769" fmla="*/ 324775 w 1526442"/>
                <a:gd name="connsiteY769" fmla="*/ 958409 h 1683492"/>
                <a:gd name="connsiteX770" fmla="*/ 322703 w 1526442"/>
                <a:gd name="connsiteY770" fmla="*/ 953475 h 1683492"/>
                <a:gd name="connsiteX771" fmla="*/ 326847 w 1526442"/>
                <a:gd name="connsiteY771" fmla="*/ 948541 h 1683492"/>
                <a:gd name="connsiteX772" fmla="*/ 324775 w 1526442"/>
                <a:gd name="connsiteY772" fmla="*/ 943607 h 1683492"/>
                <a:gd name="connsiteX773" fmla="*/ 324775 w 1526442"/>
                <a:gd name="connsiteY773" fmla="*/ 943607 h 1683492"/>
                <a:gd name="connsiteX774" fmla="*/ 322703 w 1526442"/>
                <a:gd name="connsiteY774" fmla="*/ 946814 h 1683492"/>
                <a:gd name="connsiteX775" fmla="*/ 320630 w 1526442"/>
                <a:gd name="connsiteY775" fmla="*/ 956682 h 1683492"/>
                <a:gd name="connsiteX776" fmla="*/ 322703 w 1526442"/>
                <a:gd name="connsiteY776" fmla="*/ 961616 h 1683492"/>
                <a:gd name="connsiteX777" fmla="*/ 324775 w 1526442"/>
                <a:gd name="connsiteY777" fmla="*/ 968080 h 1683492"/>
                <a:gd name="connsiteX778" fmla="*/ 324775 w 1526442"/>
                <a:gd name="connsiteY778" fmla="*/ 981007 h 1683492"/>
                <a:gd name="connsiteX779" fmla="*/ 320630 w 1526442"/>
                <a:gd name="connsiteY779" fmla="*/ 985941 h 1683492"/>
                <a:gd name="connsiteX780" fmla="*/ 318558 w 1526442"/>
                <a:gd name="connsiteY780" fmla="*/ 985941 h 1683492"/>
                <a:gd name="connsiteX781" fmla="*/ 314413 w 1526442"/>
                <a:gd name="connsiteY781" fmla="*/ 982734 h 1683492"/>
                <a:gd name="connsiteX782" fmla="*/ 310219 w 1526442"/>
                <a:gd name="connsiteY782" fmla="*/ 979478 h 1683492"/>
                <a:gd name="connsiteX783" fmla="*/ 310219 w 1526442"/>
                <a:gd name="connsiteY783" fmla="*/ 989346 h 1683492"/>
                <a:gd name="connsiteX784" fmla="*/ 301733 w 1526442"/>
                <a:gd name="connsiteY784" fmla="*/ 989346 h 1683492"/>
                <a:gd name="connsiteX785" fmla="*/ 305878 w 1526442"/>
                <a:gd name="connsiteY785" fmla="*/ 990925 h 1683492"/>
                <a:gd name="connsiteX786" fmla="*/ 307999 w 1526442"/>
                <a:gd name="connsiteY786" fmla="*/ 995859 h 1683492"/>
                <a:gd name="connsiteX787" fmla="*/ 305878 w 1526442"/>
                <a:gd name="connsiteY787" fmla="*/ 1000793 h 1683492"/>
                <a:gd name="connsiteX788" fmla="*/ 301733 w 1526442"/>
                <a:gd name="connsiteY788" fmla="*/ 1004000 h 1683492"/>
                <a:gd name="connsiteX789" fmla="*/ 297588 w 1526442"/>
                <a:gd name="connsiteY789" fmla="*/ 1005628 h 1683492"/>
                <a:gd name="connsiteX790" fmla="*/ 293444 w 1526442"/>
                <a:gd name="connsiteY790" fmla="*/ 1004000 h 1683492"/>
                <a:gd name="connsiteX791" fmla="*/ 291322 w 1526442"/>
                <a:gd name="connsiteY791" fmla="*/ 1005628 h 1683492"/>
                <a:gd name="connsiteX792" fmla="*/ 287178 w 1526442"/>
                <a:gd name="connsiteY792" fmla="*/ 1008835 h 1683492"/>
                <a:gd name="connsiteX793" fmla="*/ 277063 w 1526442"/>
                <a:gd name="connsiteY793" fmla="*/ 1008835 h 1683492"/>
                <a:gd name="connsiteX794" fmla="*/ 274941 w 1526442"/>
                <a:gd name="connsiteY794" fmla="*/ 1005628 h 1683492"/>
                <a:gd name="connsiteX795" fmla="*/ 274941 w 1526442"/>
                <a:gd name="connsiteY795" fmla="*/ 1002372 h 1683492"/>
                <a:gd name="connsiteX796" fmla="*/ 272918 w 1526442"/>
                <a:gd name="connsiteY796" fmla="*/ 999165 h 1683492"/>
                <a:gd name="connsiteX797" fmla="*/ 270796 w 1526442"/>
                <a:gd name="connsiteY797" fmla="*/ 995908 h 1683492"/>
                <a:gd name="connsiteX798" fmla="*/ 266652 w 1526442"/>
                <a:gd name="connsiteY798" fmla="*/ 995908 h 1683492"/>
                <a:gd name="connsiteX799" fmla="*/ 266652 w 1526442"/>
                <a:gd name="connsiteY799" fmla="*/ 1000842 h 1683492"/>
                <a:gd name="connsiteX800" fmla="*/ 264530 w 1526442"/>
                <a:gd name="connsiteY800" fmla="*/ 1000842 h 1683492"/>
                <a:gd name="connsiteX801" fmla="*/ 262507 w 1526442"/>
                <a:gd name="connsiteY801" fmla="*/ 992750 h 1683492"/>
                <a:gd name="connsiteX802" fmla="*/ 262507 w 1526442"/>
                <a:gd name="connsiteY802" fmla="*/ 985399 h 1683492"/>
                <a:gd name="connsiteX803" fmla="*/ 260386 w 1526442"/>
                <a:gd name="connsiteY803" fmla="*/ 983820 h 1683492"/>
                <a:gd name="connsiteX804" fmla="*/ 260386 w 1526442"/>
                <a:gd name="connsiteY804" fmla="*/ 980563 h 1683492"/>
                <a:gd name="connsiteX805" fmla="*/ 266652 w 1526442"/>
                <a:gd name="connsiteY805" fmla="*/ 977356 h 1683492"/>
                <a:gd name="connsiteX806" fmla="*/ 272918 w 1526442"/>
                <a:gd name="connsiteY806" fmla="*/ 977356 h 1683492"/>
                <a:gd name="connsiteX807" fmla="*/ 274941 w 1526442"/>
                <a:gd name="connsiteY807" fmla="*/ 978935 h 1683492"/>
                <a:gd name="connsiteX808" fmla="*/ 277063 w 1526442"/>
                <a:gd name="connsiteY808" fmla="*/ 974001 h 1683492"/>
                <a:gd name="connsiteX809" fmla="*/ 281208 w 1526442"/>
                <a:gd name="connsiteY809" fmla="*/ 972373 h 1683492"/>
                <a:gd name="connsiteX810" fmla="*/ 296010 w 1526442"/>
                <a:gd name="connsiteY810" fmla="*/ 972373 h 1683492"/>
                <a:gd name="connsiteX811" fmla="*/ 302276 w 1526442"/>
                <a:gd name="connsiteY811" fmla="*/ 964330 h 1683492"/>
                <a:gd name="connsiteX812" fmla="*/ 308147 w 1526442"/>
                <a:gd name="connsiteY812" fmla="*/ 956288 h 1683492"/>
                <a:gd name="connsiteX813" fmla="*/ 308147 w 1526442"/>
                <a:gd name="connsiteY813" fmla="*/ 953081 h 1683492"/>
                <a:gd name="connsiteX814" fmla="*/ 306026 w 1526442"/>
                <a:gd name="connsiteY814" fmla="*/ 953081 h 1683492"/>
                <a:gd name="connsiteX815" fmla="*/ 304003 w 1526442"/>
                <a:gd name="connsiteY815" fmla="*/ 956288 h 1683492"/>
                <a:gd name="connsiteX816" fmla="*/ 299809 w 1526442"/>
                <a:gd name="connsiteY816" fmla="*/ 961222 h 1683492"/>
                <a:gd name="connsiteX817" fmla="*/ 293592 w 1526442"/>
                <a:gd name="connsiteY817" fmla="*/ 966156 h 1683492"/>
                <a:gd name="connsiteX818" fmla="*/ 287326 w 1526442"/>
                <a:gd name="connsiteY818" fmla="*/ 969412 h 1683492"/>
                <a:gd name="connsiteX819" fmla="*/ 278987 w 1526442"/>
                <a:gd name="connsiteY819" fmla="*/ 967784 h 1683492"/>
                <a:gd name="connsiteX820" fmla="*/ 272770 w 1526442"/>
                <a:gd name="connsiteY820" fmla="*/ 962850 h 1683492"/>
                <a:gd name="connsiteX821" fmla="*/ 272770 w 1526442"/>
                <a:gd name="connsiteY821" fmla="*/ 959643 h 1683492"/>
                <a:gd name="connsiteX822" fmla="*/ 278987 w 1526442"/>
                <a:gd name="connsiteY822" fmla="*/ 956386 h 1683492"/>
                <a:gd name="connsiteX823" fmla="*/ 287326 w 1526442"/>
                <a:gd name="connsiteY823" fmla="*/ 951452 h 1683492"/>
                <a:gd name="connsiteX824" fmla="*/ 291470 w 1526442"/>
                <a:gd name="connsiteY824" fmla="*/ 949824 h 1683492"/>
                <a:gd name="connsiteX825" fmla="*/ 293592 w 1526442"/>
                <a:gd name="connsiteY825" fmla="*/ 948196 h 1683492"/>
                <a:gd name="connsiteX826" fmla="*/ 293592 w 1526442"/>
                <a:gd name="connsiteY826" fmla="*/ 941732 h 1683492"/>
                <a:gd name="connsiteX827" fmla="*/ 297736 w 1526442"/>
                <a:gd name="connsiteY827" fmla="*/ 941732 h 1683492"/>
                <a:gd name="connsiteX828" fmla="*/ 299809 w 1526442"/>
                <a:gd name="connsiteY828" fmla="*/ 940153 h 1683492"/>
                <a:gd name="connsiteX829" fmla="*/ 299809 w 1526442"/>
                <a:gd name="connsiteY829" fmla="*/ 938525 h 1683492"/>
                <a:gd name="connsiteX830" fmla="*/ 297736 w 1526442"/>
                <a:gd name="connsiteY830" fmla="*/ 935269 h 1683492"/>
                <a:gd name="connsiteX831" fmla="*/ 297736 w 1526442"/>
                <a:gd name="connsiteY831" fmla="*/ 933690 h 1683492"/>
                <a:gd name="connsiteX832" fmla="*/ 295615 w 1526442"/>
                <a:gd name="connsiteY832" fmla="*/ 935269 h 1683492"/>
                <a:gd name="connsiteX833" fmla="*/ 291470 w 1526442"/>
                <a:gd name="connsiteY833" fmla="*/ 936897 h 1683492"/>
                <a:gd name="connsiteX834" fmla="*/ 278987 w 1526442"/>
                <a:gd name="connsiteY834" fmla="*/ 936897 h 1683492"/>
                <a:gd name="connsiteX835" fmla="*/ 276915 w 1526442"/>
                <a:gd name="connsiteY835" fmla="*/ 935269 h 1683492"/>
                <a:gd name="connsiteX836" fmla="*/ 278987 w 1526442"/>
                <a:gd name="connsiteY836" fmla="*/ 930335 h 1683492"/>
                <a:gd name="connsiteX837" fmla="*/ 287326 w 1526442"/>
                <a:gd name="connsiteY837" fmla="*/ 927128 h 1683492"/>
                <a:gd name="connsiteX838" fmla="*/ 289398 w 1526442"/>
                <a:gd name="connsiteY838" fmla="*/ 927128 h 1683492"/>
                <a:gd name="connsiteX839" fmla="*/ 293592 w 1526442"/>
                <a:gd name="connsiteY839" fmla="*/ 930335 h 1683492"/>
                <a:gd name="connsiteX840" fmla="*/ 299809 w 1526442"/>
                <a:gd name="connsiteY840" fmla="*/ 930335 h 1683492"/>
                <a:gd name="connsiteX841" fmla="*/ 306026 w 1526442"/>
                <a:gd name="connsiteY841" fmla="*/ 927128 h 1683492"/>
                <a:gd name="connsiteX842" fmla="*/ 310219 w 1526442"/>
                <a:gd name="connsiteY842" fmla="*/ 919036 h 1683492"/>
                <a:gd name="connsiteX843" fmla="*/ 308147 w 1526442"/>
                <a:gd name="connsiteY843" fmla="*/ 915829 h 1683492"/>
                <a:gd name="connsiteX844" fmla="*/ 308147 w 1526442"/>
                <a:gd name="connsiteY844" fmla="*/ 912572 h 1683492"/>
                <a:gd name="connsiteX845" fmla="*/ 316436 w 1526442"/>
                <a:gd name="connsiteY845" fmla="*/ 906109 h 1683492"/>
                <a:gd name="connsiteX846" fmla="*/ 314413 w 1526442"/>
                <a:gd name="connsiteY846" fmla="*/ 899645 h 1683492"/>
                <a:gd name="connsiteX847" fmla="*/ 314413 w 1526442"/>
                <a:gd name="connsiteY847" fmla="*/ 893181 h 1683492"/>
                <a:gd name="connsiteX848" fmla="*/ 312292 w 1526442"/>
                <a:gd name="connsiteY848" fmla="*/ 889974 h 1683492"/>
                <a:gd name="connsiteX849" fmla="*/ 304003 w 1526442"/>
                <a:gd name="connsiteY849" fmla="*/ 889974 h 1683492"/>
                <a:gd name="connsiteX850" fmla="*/ 301881 w 1526442"/>
                <a:gd name="connsiteY850" fmla="*/ 885040 h 1683492"/>
                <a:gd name="connsiteX851" fmla="*/ 295615 w 1526442"/>
                <a:gd name="connsiteY851" fmla="*/ 885040 h 1683492"/>
                <a:gd name="connsiteX852" fmla="*/ 291470 w 1526442"/>
                <a:gd name="connsiteY852" fmla="*/ 883412 h 1683492"/>
                <a:gd name="connsiteX853" fmla="*/ 291470 w 1526442"/>
                <a:gd name="connsiteY853" fmla="*/ 882277 h 1683492"/>
                <a:gd name="connsiteX854" fmla="*/ 295615 w 1526442"/>
                <a:gd name="connsiteY854" fmla="*/ 880649 h 1683492"/>
                <a:gd name="connsiteX855" fmla="*/ 299809 w 1526442"/>
                <a:gd name="connsiteY855" fmla="*/ 882277 h 1683492"/>
                <a:gd name="connsiteX856" fmla="*/ 304003 w 1526442"/>
                <a:gd name="connsiteY856" fmla="*/ 880649 h 1683492"/>
                <a:gd name="connsiteX857" fmla="*/ 308147 w 1526442"/>
                <a:gd name="connsiteY857" fmla="*/ 875715 h 1683492"/>
                <a:gd name="connsiteX858" fmla="*/ 308147 w 1526442"/>
                <a:gd name="connsiteY858" fmla="*/ 870781 h 1683492"/>
                <a:gd name="connsiteX859" fmla="*/ 312292 w 1526442"/>
                <a:gd name="connsiteY859" fmla="*/ 867524 h 1683492"/>
                <a:gd name="connsiteX860" fmla="*/ 312292 w 1526442"/>
                <a:gd name="connsiteY860" fmla="*/ 864317 h 1683492"/>
                <a:gd name="connsiteX861" fmla="*/ 308147 w 1526442"/>
                <a:gd name="connsiteY861" fmla="*/ 861110 h 1683492"/>
                <a:gd name="connsiteX862" fmla="*/ 304003 w 1526442"/>
                <a:gd name="connsiteY862" fmla="*/ 861110 h 1683492"/>
                <a:gd name="connsiteX863" fmla="*/ 301881 w 1526442"/>
                <a:gd name="connsiteY863" fmla="*/ 859482 h 1683492"/>
                <a:gd name="connsiteX864" fmla="*/ 301881 w 1526442"/>
                <a:gd name="connsiteY864" fmla="*/ 854548 h 1683492"/>
                <a:gd name="connsiteX865" fmla="*/ 306026 w 1526442"/>
                <a:gd name="connsiteY865" fmla="*/ 852920 h 1683492"/>
                <a:gd name="connsiteX866" fmla="*/ 306026 w 1526442"/>
                <a:gd name="connsiteY866" fmla="*/ 852920 h 1683492"/>
                <a:gd name="connsiteX867" fmla="*/ 306026 w 1526442"/>
                <a:gd name="connsiteY867" fmla="*/ 849663 h 1683492"/>
                <a:gd name="connsiteX868" fmla="*/ 301881 w 1526442"/>
                <a:gd name="connsiteY868" fmla="*/ 844729 h 1683492"/>
                <a:gd name="connsiteX869" fmla="*/ 301881 w 1526442"/>
                <a:gd name="connsiteY869" fmla="*/ 838266 h 1683492"/>
                <a:gd name="connsiteX870" fmla="*/ 304003 w 1526442"/>
                <a:gd name="connsiteY870" fmla="*/ 836637 h 1683492"/>
                <a:gd name="connsiteX871" fmla="*/ 308147 w 1526442"/>
                <a:gd name="connsiteY871" fmla="*/ 841571 h 1683492"/>
                <a:gd name="connsiteX872" fmla="*/ 308147 w 1526442"/>
                <a:gd name="connsiteY872" fmla="*/ 838315 h 1683492"/>
                <a:gd name="connsiteX873" fmla="*/ 306026 w 1526442"/>
                <a:gd name="connsiteY873" fmla="*/ 835108 h 1683492"/>
                <a:gd name="connsiteX874" fmla="*/ 306026 w 1526442"/>
                <a:gd name="connsiteY874" fmla="*/ 831851 h 1683492"/>
                <a:gd name="connsiteX875" fmla="*/ 308147 w 1526442"/>
                <a:gd name="connsiteY875" fmla="*/ 826917 h 1683492"/>
                <a:gd name="connsiteX876" fmla="*/ 308147 w 1526442"/>
                <a:gd name="connsiteY876" fmla="*/ 821983 h 1683492"/>
                <a:gd name="connsiteX877" fmla="*/ 304003 w 1526442"/>
                <a:gd name="connsiteY877" fmla="*/ 817049 h 1683492"/>
                <a:gd name="connsiteX878" fmla="*/ 304003 w 1526442"/>
                <a:gd name="connsiteY878" fmla="*/ 812115 h 1683492"/>
                <a:gd name="connsiteX879" fmla="*/ 301881 w 1526442"/>
                <a:gd name="connsiteY879" fmla="*/ 808908 h 1683492"/>
                <a:gd name="connsiteX880" fmla="*/ 306026 w 1526442"/>
                <a:gd name="connsiteY880" fmla="*/ 805652 h 1683492"/>
                <a:gd name="connsiteX881" fmla="*/ 308147 w 1526442"/>
                <a:gd name="connsiteY881" fmla="*/ 799237 h 1683492"/>
                <a:gd name="connsiteX882" fmla="*/ 301733 w 1526442"/>
                <a:gd name="connsiteY882" fmla="*/ 799237 h 1683492"/>
                <a:gd name="connsiteX883" fmla="*/ 295467 w 1526442"/>
                <a:gd name="connsiteY883" fmla="*/ 804171 h 1683492"/>
                <a:gd name="connsiteX884" fmla="*/ 291322 w 1526442"/>
                <a:gd name="connsiteY884" fmla="*/ 804171 h 1683492"/>
                <a:gd name="connsiteX885" fmla="*/ 287178 w 1526442"/>
                <a:gd name="connsiteY885" fmla="*/ 807379 h 1683492"/>
                <a:gd name="connsiteX886" fmla="*/ 280912 w 1526442"/>
                <a:gd name="connsiteY886" fmla="*/ 807379 h 1683492"/>
                <a:gd name="connsiteX887" fmla="*/ 283033 w 1526442"/>
                <a:gd name="connsiteY887" fmla="*/ 804171 h 1683492"/>
                <a:gd name="connsiteX888" fmla="*/ 289250 w 1526442"/>
                <a:gd name="connsiteY888" fmla="*/ 799237 h 1683492"/>
                <a:gd name="connsiteX889" fmla="*/ 293444 w 1526442"/>
                <a:gd name="connsiteY889" fmla="*/ 799237 h 1683492"/>
                <a:gd name="connsiteX890" fmla="*/ 297588 w 1526442"/>
                <a:gd name="connsiteY890" fmla="*/ 795981 h 1683492"/>
                <a:gd name="connsiteX891" fmla="*/ 299661 w 1526442"/>
                <a:gd name="connsiteY891" fmla="*/ 791047 h 1683492"/>
                <a:gd name="connsiteX892" fmla="*/ 303855 w 1526442"/>
                <a:gd name="connsiteY892" fmla="*/ 787790 h 1683492"/>
                <a:gd name="connsiteX893" fmla="*/ 310072 w 1526442"/>
                <a:gd name="connsiteY893" fmla="*/ 784583 h 1683492"/>
                <a:gd name="connsiteX894" fmla="*/ 312144 w 1526442"/>
                <a:gd name="connsiteY894" fmla="*/ 781327 h 1683492"/>
                <a:gd name="connsiteX895" fmla="*/ 312144 w 1526442"/>
                <a:gd name="connsiteY895" fmla="*/ 776393 h 1683492"/>
                <a:gd name="connsiteX896" fmla="*/ 307999 w 1526442"/>
                <a:gd name="connsiteY896" fmla="*/ 773186 h 1683492"/>
                <a:gd name="connsiteX897" fmla="*/ 303855 w 1526442"/>
                <a:gd name="connsiteY897" fmla="*/ 768252 h 1683492"/>
                <a:gd name="connsiteX898" fmla="*/ 301733 w 1526442"/>
                <a:gd name="connsiteY898" fmla="*/ 763318 h 1683492"/>
                <a:gd name="connsiteX899" fmla="*/ 299661 w 1526442"/>
                <a:gd name="connsiteY899" fmla="*/ 761739 h 1683492"/>
                <a:gd name="connsiteX900" fmla="*/ 297588 w 1526442"/>
                <a:gd name="connsiteY900" fmla="*/ 761739 h 1683492"/>
                <a:gd name="connsiteX901" fmla="*/ 293444 w 1526442"/>
                <a:gd name="connsiteY901" fmla="*/ 758482 h 1683492"/>
                <a:gd name="connsiteX902" fmla="*/ 293444 w 1526442"/>
                <a:gd name="connsiteY902" fmla="*/ 753548 h 1683492"/>
                <a:gd name="connsiteX903" fmla="*/ 295467 w 1526442"/>
                <a:gd name="connsiteY903" fmla="*/ 751920 h 1683492"/>
                <a:gd name="connsiteX904" fmla="*/ 295467 w 1526442"/>
                <a:gd name="connsiteY904" fmla="*/ 742052 h 1683492"/>
                <a:gd name="connsiteX905" fmla="*/ 291322 w 1526442"/>
                <a:gd name="connsiteY905" fmla="*/ 737118 h 1683492"/>
                <a:gd name="connsiteX906" fmla="*/ 280912 w 1526442"/>
                <a:gd name="connsiteY906" fmla="*/ 729075 h 1683492"/>
                <a:gd name="connsiteX907" fmla="*/ 278839 w 1526442"/>
                <a:gd name="connsiteY907" fmla="*/ 727447 h 1683492"/>
                <a:gd name="connsiteX908" fmla="*/ 276767 w 1526442"/>
                <a:gd name="connsiteY908" fmla="*/ 722513 h 1683492"/>
                <a:gd name="connsiteX909" fmla="*/ 274645 w 1526442"/>
                <a:gd name="connsiteY909" fmla="*/ 720885 h 1683492"/>
                <a:gd name="connsiteX910" fmla="*/ 274645 w 1526442"/>
                <a:gd name="connsiteY910" fmla="*/ 717678 h 1683492"/>
                <a:gd name="connsiteX911" fmla="*/ 276767 w 1526442"/>
                <a:gd name="connsiteY911" fmla="*/ 716050 h 1683492"/>
                <a:gd name="connsiteX912" fmla="*/ 283033 w 1526442"/>
                <a:gd name="connsiteY912" fmla="*/ 711116 h 1683492"/>
                <a:gd name="connsiteX913" fmla="*/ 287178 w 1526442"/>
                <a:gd name="connsiteY913" fmla="*/ 709487 h 1683492"/>
                <a:gd name="connsiteX914" fmla="*/ 289250 w 1526442"/>
                <a:gd name="connsiteY914" fmla="*/ 706280 h 1683492"/>
                <a:gd name="connsiteX915" fmla="*/ 287178 w 1526442"/>
                <a:gd name="connsiteY915" fmla="*/ 704652 h 1683492"/>
                <a:gd name="connsiteX916" fmla="*/ 283033 w 1526442"/>
                <a:gd name="connsiteY916" fmla="*/ 704652 h 1683492"/>
                <a:gd name="connsiteX917" fmla="*/ 283033 w 1526442"/>
                <a:gd name="connsiteY917" fmla="*/ 703024 h 1683492"/>
                <a:gd name="connsiteX918" fmla="*/ 287178 w 1526442"/>
                <a:gd name="connsiteY918" fmla="*/ 699817 h 1683492"/>
                <a:gd name="connsiteX919" fmla="*/ 289250 w 1526442"/>
                <a:gd name="connsiteY919" fmla="*/ 693353 h 1683492"/>
                <a:gd name="connsiteX920" fmla="*/ 293444 w 1526442"/>
                <a:gd name="connsiteY920" fmla="*/ 690097 h 1683492"/>
                <a:gd name="connsiteX921" fmla="*/ 293444 w 1526442"/>
                <a:gd name="connsiteY921" fmla="*/ 689850 h 1683492"/>
                <a:gd name="connsiteX922" fmla="*/ 291322 w 1526442"/>
                <a:gd name="connsiteY922" fmla="*/ 688271 h 1683492"/>
                <a:gd name="connsiteX923" fmla="*/ 293444 w 1526442"/>
                <a:gd name="connsiteY923" fmla="*/ 683337 h 1683492"/>
                <a:gd name="connsiteX924" fmla="*/ 291322 w 1526442"/>
                <a:gd name="connsiteY924" fmla="*/ 681758 h 1683492"/>
                <a:gd name="connsiteX925" fmla="*/ 287178 w 1526442"/>
                <a:gd name="connsiteY925" fmla="*/ 680130 h 1683492"/>
                <a:gd name="connsiteX926" fmla="*/ 283033 w 1526442"/>
                <a:gd name="connsiteY926" fmla="*/ 673666 h 1683492"/>
                <a:gd name="connsiteX927" fmla="*/ 274645 w 1526442"/>
                <a:gd name="connsiteY927" fmla="*/ 668732 h 1683492"/>
                <a:gd name="connsiteX928" fmla="*/ 272622 w 1526442"/>
                <a:gd name="connsiteY928" fmla="*/ 663798 h 1683492"/>
                <a:gd name="connsiteX929" fmla="*/ 268428 w 1526442"/>
                <a:gd name="connsiteY929" fmla="*/ 662170 h 1683492"/>
                <a:gd name="connsiteX930" fmla="*/ 266356 w 1526442"/>
                <a:gd name="connsiteY930" fmla="*/ 662170 h 1683492"/>
                <a:gd name="connsiteX931" fmla="*/ 266356 w 1526442"/>
                <a:gd name="connsiteY931" fmla="*/ 665377 h 1683492"/>
                <a:gd name="connsiteX932" fmla="*/ 262261 w 1526442"/>
                <a:gd name="connsiteY932" fmla="*/ 665377 h 1683492"/>
                <a:gd name="connsiteX933" fmla="*/ 260139 w 1526442"/>
                <a:gd name="connsiteY933" fmla="*/ 663798 h 1683492"/>
                <a:gd name="connsiteX934" fmla="*/ 260139 w 1526442"/>
                <a:gd name="connsiteY934" fmla="*/ 658864 h 1683492"/>
                <a:gd name="connsiteX935" fmla="*/ 255994 w 1526442"/>
                <a:gd name="connsiteY935" fmla="*/ 657285 h 1683492"/>
                <a:gd name="connsiteX936" fmla="*/ 249728 w 1526442"/>
                <a:gd name="connsiteY936" fmla="*/ 654029 h 1683492"/>
                <a:gd name="connsiteX937" fmla="*/ 247656 w 1526442"/>
                <a:gd name="connsiteY937" fmla="*/ 650822 h 1683492"/>
                <a:gd name="connsiteX938" fmla="*/ 243462 w 1526442"/>
                <a:gd name="connsiteY938" fmla="*/ 649193 h 1683492"/>
                <a:gd name="connsiteX939" fmla="*/ 243462 w 1526442"/>
                <a:gd name="connsiteY939" fmla="*/ 650822 h 1683492"/>
                <a:gd name="connsiteX940" fmla="*/ 239317 w 1526442"/>
                <a:gd name="connsiteY940" fmla="*/ 650822 h 1683492"/>
                <a:gd name="connsiteX941" fmla="*/ 239317 w 1526442"/>
                <a:gd name="connsiteY941" fmla="*/ 649193 h 1683492"/>
                <a:gd name="connsiteX942" fmla="*/ 241439 w 1526442"/>
                <a:gd name="connsiteY942" fmla="*/ 644259 h 1683492"/>
                <a:gd name="connsiteX943" fmla="*/ 233051 w 1526442"/>
                <a:gd name="connsiteY943" fmla="*/ 637796 h 1683492"/>
                <a:gd name="connsiteX944" fmla="*/ 224713 w 1526442"/>
                <a:gd name="connsiteY944" fmla="*/ 632862 h 1683492"/>
                <a:gd name="connsiteX945" fmla="*/ 222788 w 1526442"/>
                <a:gd name="connsiteY945" fmla="*/ 632862 h 1683492"/>
                <a:gd name="connsiteX946" fmla="*/ 218644 w 1526442"/>
                <a:gd name="connsiteY946" fmla="*/ 636069 h 1683492"/>
                <a:gd name="connsiteX947" fmla="*/ 214450 w 1526442"/>
                <a:gd name="connsiteY947" fmla="*/ 634441 h 1683492"/>
                <a:gd name="connsiteX948" fmla="*/ 204039 w 1526442"/>
                <a:gd name="connsiteY948" fmla="*/ 626398 h 1683492"/>
                <a:gd name="connsiteX949" fmla="*/ 195750 w 1526442"/>
                <a:gd name="connsiteY949" fmla="*/ 624770 h 1683492"/>
                <a:gd name="connsiteX950" fmla="*/ 191556 w 1526442"/>
                <a:gd name="connsiteY950" fmla="*/ 619836 h 1683492"/>
                <a:gd name="connsiteX951" fmla="*/ 185339 w 1526442"/>
                <a:gd name="connsiteY951" fmla="*/ 618208 h 1683492"/>
                <a:gd name="connsiteX952" fmla="*/ 177000 w 1526442"/>
                <a:gd name="connsiteY952" fmla="*/ 618208 h 1683492"/>
                <a:gd name="connsiteX953" fmla="*/ 172807 w 1526442"/>
                <a:gd name="connsiteY953" fmla="*/ 623142 h 1683492"/>
                <a:gd name="connsiteX954" fmla="*/ 168662 w 1526442"/>
                <a:gd name="connsiteY954" fmla="*/ 628076 h 1683492"/>
                <a:gd name="connsiteX955" fmla="*/ 162396 w 1526442"/>
                <a:gd name="connsiteY955" fmla="*/ 633010 h 1683492"/>
                <a:gd name="connsiteX956" fmla="*/ 158251 w 1526442"/>
                <a:gd name="connsiteY956" fmla="*/ 636217 h 1683492"/>
                <a:gd name="connsiteX957" fmla="*/ 158251 w 1526442"/>
                <a:gd name="connsiteY957" fmla="*/ 629753 h 1683492"/>
                <a:gd name="connsiteX958" fmla="*/ 162396 w 1526442"/>
                <a:gd name="connsiteY958" fmla="*/ 624819 h 1683492"/>
                <a:gd name="connsiteX959" fmla="*/ 162396 w 1526442"/>
                <a:gd name="connsiteY959" fmla="*/ 619885 h 1683492"/>
                <a:gd name="connsiteX960" fmla="*/ 160324 w 1526442"/>
                <a:gd name="connsiteY960" fmla="*/ 618257 h 1683492"/>
                <a:gd name="connsiteX961" fmla="*/ 151985 w 1526442"/>
                <a:gd name="connsiteY961" fmla="*/ 616629 h 1683492"/>
                <a:gd name="connsiteX962" fmla="*/ 149913 w 1526442"/>
                <a:gd name="connsiteY962" fmla="*/ 621563 h 1683492"/>
                <a:gd name="connsiteX963" fmla="*/ 147840 w 1526442"/>
                <a:gd name="connsiteY963" fmla="*/ 624819 h 1683492"/>
                <a:gd name="connsiteX964" fmla="*/ 143696 w 1526442"/>
                <a:gd name="connsiteY964" fmla="*/ 628026 h 1683492"/>
                <a:gd name="connsiteX965" fmla="*/ 139502 w 1526442"/>
                <a:gd name="connsiteY965" fmla="*/ 626447 h 1683492"/>
                <a:gd name="connsiteX966" fmla="*/ 135357 w 1526442"/>
                <a:gd name="connsiteY966" fmla="*/ 618356 h 1683492"/>
                <a:gd name="connsiteX967" fmla="*/ 131163 w 1526442"/>
                <a:gd name="connsiteY967" fmla="*/ 616727 h 1683492"/>
                <a:gd name="connsiteX968" fmla="*/ 131163 w 1526442"/>
                <a:gd name="connsiteY968" fmla="*/ 621661 h 1683492"/>
                <a:gd name="connsiteX969" fmla="*/ 127019 w 1526442"/>
                <a:gd name="connsiteY969" fmla="*/ 631530 h 1683492"/>
                <a:gd name="connsiteX970" fmla="*/ 124946 w 1526442"/>
                <a:gd name="connsiteY970" fmla="*/ 633158 h 1683492"/>
                <a:gd name="connsiteX971" fmla="*/ 120753 w 1526442"/>
                <a:gd name="connsiteY971" fmla="*/ 631530 h 1683492"/>
                <a:gd name="connsiteX972" fmla="*/ 118680 w 1526442"/>
                <a:gd name="connsiteY972" fmla="*/ 625066 h 1683492"/>
                <a:gd name="connsiteX973" fmla="*/ 122874 w 1526442"/>
                <a:gd name="connsiteY973" fmla="*/ 620132 h 1683492"/>
                <a:gd name="connsiteX974" fmla="*/ 127019 w 1526442"/>
                <a:gd name="connsiteY974" fmla="*/ 616876 h 1683492"/>
                <a:gd name="connsiteX975" fmla="*/ 127019 w 1526442"/>
                <a:gd name="connsiteY975" fmla="*/ 613668 h 1683492"/>
                <a:gd name="connsiteX976" fmla="*/ 122874 w 1526442"/>
                <a:gd name="connsiteY976" fmla="*/ 615297 h 1683492"/>
                <a:gd name="connsiteX977" fmla="*/ 120753 w 1526442"/>
                <a:gd name="connsiteY977" fmla="*/ 612040 h 1683492"/>
                <a:gd name="connsiteX978" fmla="*/ 112463 w 1526442"/>
                <a:gd name="connsiteY978" fmla="*/ 616974 h 1683492"/>
                <a:gd name="connsiteX979" fmla="*/ 108269 w 1526442"/>
                <a:gd name="connsiteY979" fmla="*/ 616974 h 1683492"/>
                <a:gd name="connsiteX980" fmla="*/ 106197 w 1526442"/>
                <a:gd name="connsiteY980" fmla="*/ 620231 h 1683492"/>
                <a:gd name="connsiteX981" fmla="*/ 104125 w 1526442"/>
                <a:gd name="connsiteY981" fmla="*/ 621810 h 1683492"/>
                <a:gd name="connsiteX982" fmla="*/ 102053 w 1526442"/>
                <a:gd name="connsiteY982" fmla="*/ 618602 h 1683492"/>
                <a:gd name="connsiteX983" fmla="*/ 102053 w 1526442"/>
                <a:gd name="connsiteY983" fmla="*/ 615395 h 1683492"/>
                <a:gd name="connsiteX984" fmla="*/ 99931 w 1526442"/>
                <a:gd name="connsiteY984" fmla="*/ 608932 h 1683492"/>
                <a:gd name="connsiteX985" fmla="*/ 97859 w 1526442"/>
                <a:gd name="connsiteY985" fmla="*/ 603998 h 1683492"/>
                <a:gd name="connsiteX986" fmla="*/ 95786 w 1526442"/>
                <a:gd name="connsiteY986" fmla="*/ 603998 h 1683492"/>
                <a:gd name="connsiteX987" fmla="*/ 93714 w 1526442"/>
                <a:gd name="connsiteY987" fmla="*/ 605626 h 1683492"/>
                <a:gd name="connsiteX988" fmla="*/ 91642 w 1526442"/>
                <a:gd name="connsiteY988" fmla="*/ 608882 h 1683492"/>
                <a:gd name="connsiteX989" fmla="*/ 89520 w 1526442"/>
                <a:gd name="connsiteY989" fmla="*/ 615346 h 1683492"/>
                <a:gd name="connsiteX990" fmla="*/ 87497 w 1526442"/>
                <a:gd name="connsiteY990" fmla="*/ 616925 h 1683492"/>
                <a:gd name="connsiteX991" fmla="*/ 87497 w 1526442"/>
                <a:gd name="connsiteY991" fmla="*/ 621859 h 1683492"/>
                <a:gd name="connsiteX992" fmla="*/ 89520 w 1526442"/>
                <a:gd name="connsiteY992" fmla="*/ 629951 h 1683492"/>
                <a:gd name="connsiteX993" fmla="*/ 87497 w 1526442"/>
                <a:gd name="connsiteY993" fmla="*/ 634885 h 1683492"/>
                <a:gd name="connsiteX994" fmla="*/ 87497 w 1526442"/>
                <a:gd name="connsiteY994" fmla="*/ 636513 h 1683492"/>
                <a:gd name="connsiteX995" fmla="*/ 81182 w 1526442"/>
                <a:gd name="connsiteY995" fmla="*/ 633306 h 1683492"/>
                <a:gd name="connsiteX996" fmla="*/ 74965 w 1526442"/>
                <a:gd name="connsiteY996" fmla="*/ 628372 h 1683492"/>
                <a:gd name="connsiteX997" fmla="*/ 68699 w 1526442"/>
                <a:gd name="connsiteY997" fmla="*/ 625165 h 1683492"/>
                <a:gd name="connsiteX998" fmla="*/ 60360 w 1526442"/>
                <a:gd name="connsiteY998" fmla="*/ 621908 h 1683492"/>
                <a:gd name="connsiteX999" fmla="*/ 56215 w 1526442"/>
                <a:gd name="connsiteY999" fmla="*/ 615494 h 1683492"/>
                <a:gd name="connsiteX1000" fmla="*/ 52071 w 1526442"/>
                <a:gd name="connsiteY1000" fmla="*/ 613866 h 1683492"/>
                <a:gd name="connsiteX1001" fmla="*/ 52071 w 1526442"/>
                <a:gd name="connsiteY1001" fmla="*/ 612238 h 1683492"/>
                <a:gd name="connsiteX1002" fmla="*/ 54143 w 1526442"/>
                <a:gd name="connsiteY1002" fmla="*/ 610609 h 1683492"/>
                <a:gd name="connsiteX1003" fmla="*/ 45805 w 1526442"/>
                <a:gd name="connsiteY1003" fmla="*/ 607402 h 1683492"/>
                <a:gd name="connsiteX1004" fmla="*/ 41660 w 1526442"/>
                <a:gd name="connsiteY1004" fmla="*/ 599310 h 1683492"/>
                <a:gd name="connsiteX1005" fmla="*/ 37466 w 1526442"/>
                <a:gd name="connsiteY1005" fmla="*/ 594376 h 1683492"/>
                <a:gd name="connsiteX1006" fmla="*/ 31249 w 1526442"/>
                <a:gd name="connsiteY1006" fmla="*/ 587913 h 1683492"/>
                <a:gd name="connsiteX1007" fmla="*/ 33321 w 1526442"/>
                <a:gd name="connsiteY1007" fmla="*/ 581449 h 1683492"/>
                <a:gd name="connsiteX1008" fmla="*/ 35394 w 1526442"/>
                <a:gd name="connsiteY1008" fmla="*/ 578242 h 1683492"/>
                <a:gd name="connsiteX1009" fmla="*/ 45805 w 1526442"/>
                <a:gd name="connsiteY1009" fmla="*/ 578242 h 1683492"/>
                <a:gd name="connsiteX1010" fmla="*/ 49949 w 1526442"/>
                <a:gd name="connsiteY1010" fmla="*/ 574986 h 1683492"/>
                <a:gd name="connsiteX1011" fmla="*/ 54143 w 1526442"/>
                <a:gd name="connsiteY1011" fmla="*/ 573357 h 1683492"/>
                <a:gd name="connsiteX1012" fmla="*/ 64554 w 1526442"/>
                <a:gd name="connsiteY1012" fmla="*/ 573357 h 1683492"/>
                <a:gd name="connsiteX1013" fmla="*/ 66626 w 1526442"/>
                <a:gd name="connsiteY1013" fmla="*/ 574986 h 1683492"/>
                <a:gd name="connsiteX1014" fmla="*/ 70771 w 1526442"/>
                <a:gd name="connsiteY1014" fmla="*/ 571778 h 1683492"/>
                <a:gd name="connsiteX1015" fmla="*/ 74965 w 1526442"/>
                <a:gd name="connsiteY1015" fmla="*/ 568522 h 1683492"/>
                <a:gd name="connsiteX1016" fmla="*/ 72892 w 1526442"/>
                <a:gd name="connsiteY1016" fmla="*/ 565315 h 1683492"/>
                <a:gd name="connsiteX1017" fmla="*/ 66626 w 1526442"/>
                <a:gd name="connsiteY1017" fmla="*/ 566894 h 1683492"/>
                <a:gd name="connsiteX1018" fmla="*/ 56215 w 1526442"/>
                <a:gd name="connsiteY1018" fmla="*/ 561960 h 1683492"/>
                <a:gd name="connsiteX1019" fmla="*/ 54143 w 1526442"/>
                <a:gd name="connsiteY1019" fmla="*/ 561960 h 1683492"/>
                <a:gd name="connsiteX1020" fmla="*/ 52071 w 1526442"/>
                <a:gd name="connsiteY1020" fmla="*/ 565216 h 1683492"/>
                <a:gd name="connsiteX1021" fmla="*/ 39538 w 1526442"/>
                <a:gd name="connsiteY1021" fmla="*/ 555348 h 1683492"/>
                <a:gd name="connsiteX1022" fmla="*/ 39538 w 1526442"/>
                <a:gd name="connsiteY1022" fmla="*/ 547256 h 1683492"/>
                <a:gd name="connsiteX1023" fmla="*/ 43732 w 1526442"/>
                <a:gd name="connsiteY1023" fmla="*/ 545677 h 1683492"/>
                <a:gd name="connsiteX1024" fmla="*/ 47877 w 1526442"/>
                <a:gd name="connsiteY1024" fmla="*/ 542421 h 1683492"/>
                <a:gd name="connsiteX1025" fmla="*/ 52071 w 1526442"/>
                <a:gd name="connsiteY1025" fmla="*/ 535957 h 1683492"/>
                <a:gd name="connsiteX1026" fmla="*/ 54143 w 1526442"/>
                <a:gd name="connsiteY1026" fmla="*/ 532750 h 1683492"/>
                <a:gd name="connsiteX1027" fmla="*/ 50097 w 1526442"/>
                <a:gd name="connsiteY1027" fmla="*/ 532750 h 1683492"/>
                <a:gd name="connsiteX1028" fmla="*/ 45952 w 1526442"/>
                <a:gd name="connsiteY1028" fmla="*/ 534378 h 1683492"/>
                <a:gd name="connsiteX1029" fmla="*/ 41808 w 1526442"/>
                <a:gd name="connsiteY1029" fmla="*/ 540842 h 1683492"/>
                <a:gd name="connsiteX1030" fmla="*/ 37614 w 1526442"/>
                <a:gd name="connsiteY1030" fmla="*/ 540842 h 1683492"/>
                <a:gd name="connsiteX1031" fmla="*/ 35542 w 1526442"/>
                <a:gd name="connsiteY1031" fmla="*/ 542421 h 1683492"/>
                <a:gd name="connsiteX1032" fmla="*/ 31397 w 1526442"/>
                <a:gd name="connsiteY1032" fmla="*/ 547355 h 1683492"/>
                <a:gd name="connsiteX1033" fmla="*/ 23059 w 1526442"/>
                <a:gd name="connsiteY1033" fmla="*/ 544148 h 1683492"/>
                <a:gd name="connsiteX1034" fmla="*/ 20986 w 1526442"/>
                <a:gd name="connsiteY1034" fmla="*/ 539214 h 1683492"/>
                <a:gd name="connsiteX1035" fmla="*/ 23059 w 1526442"/>
                <a:gd name="connsiteY1035" fmla="*/ 534280 h 1683492"/>
                <a:gd name="connsiteX1036" fmla="*/ 27203 w 1526442"/>
                <a:gd name="connsiteY1036" fmla="*/ 532652 h 1683492"/>
                <a:gd name="connsiteX1037" fmla="*/ 25131 w 1526442"/>
                <a:gd name="connsiteY1037" fmla="*/ 529395 h 1683492"/>
                <a:gd name="connsiteX1038" fmla="*/ 20986 w 1526442"/>
                <a:gd name="connsiteY1038" fmla="*/ 529395 h 1683492"/>
                <a:gd name="connsiteX1039" fmla="*/ 18865 w 1526442"/>
                <a:gd name="connsiteY1039" fmla="*/ 531023 h 1683492"/>
                <a:gd name="connsiteX1040" fmla="*/ 18865 w 1526442"/>
                <a:gd name="connsiteY1040" fmla="*/ 522931 h 1683492"/>
                <a:gd name="connsiteX1041" fmla="*/ 23059 w 1526442"/>
                <a:gd name="connsiteY1041" fmla="*/ 517997 h 1683492"/>
                <a:gd name="connsiteX1042" fmla="*/ 25131 w 1526442"/>
                <a:gd name="connsiteY1042" fmla="*/ 517997 h 1683492"/>
                <a:gd name="connsiteX1043" fmla="*/ 27203 w 1526442"/>
                <a:gd name="connsiteY1043" fmla="*/ 516419 h 1683492"/>
                <a:gd name="connsiteX1044" fmla="*/ 31397 w 1526442"/>
                <a:gd name="connsiteY1044" fmla="*/ 516419 h 1683492"/>
                <a:gd name="connsiteX1045" fmla="*/ 35542 w 1526442"/>
                <a:gd name="connsiteY1045" fmla="*/ 519626 h 1683492"/>
                <a:gd name="connsiteX1046" fmla="*/ 35542 w 1526442"/>
                <a:gd name="connsiteY1046" fmla="*/ 512225 h 1683492"/>
                <a:gd name="connsiteX1047" fmla="*/ 48025 w 1526442"/>
                <a:gd name="connsiteY1047" fmla="*/ 509018 h 1683492"/>
                <a:gd name="connsiteX1048" fmla="*/ 58436 w 1526442"/>
                <a:gd name="connsiteY1048" fmla="*/ 510646 h 1683492"/>
                <a:gd name="connsiteX1049" fmla="*/ 66774 w 1526442"/>
                <a:gd name="connsiteY1049" fmla="*/ 515580 h 1683492"/>
                <a:gd name="connsiteX1050" fmla="*/ 79257 w 1526442"/>
                <a:gd name="connsiteY1050" fmla="*/ 517208 h 1683492"/>
                <a:gd name="connsiteX1051" fmla="*/ 91790 w 1526442"/>
                <a:gd name="connsiteY1051" fmla="*/ 522142 h 1683492"/>
                <a:gd name="connsiteX1052" fmla="*/ 102201 w 1526442"/>
                <a:gd name="connsiteY1052" fmla="*/ 522142 h 1683492"/>
                <a:gd name="connsiteX1053" fmla="*/ 108418 w 1526442"/>
                <a:gd name="connsiteY1053" fmla="*/ 525349 h 1683492"/>
                <a:gd name="connsiteX1054" fmla="*/ 120900 w 1526442"/>
                <a:gd name="connsiteY1054" fmla="*/ 531813 h 1683492"/>
                <a:gd name="connsiteX1055" fmla="*/ 129042 w 1526442"/>
                <a:gd name="connsiteY1055" fmla="*/ 531813 h 1683492"/>
                <a:gd name="connsiteX1056" fmla="*/ 137380 w 1526442"/>
                <a:gd name="connsiteY1056" fmla="*/ 528606 h 1683492"/>
                <a:gd name="connsiteX1057" fmla="*/ 126970 w 1526442"/>
                <a:gd name="connsiteY1057" fmla="*/ 528606 h 1683492"/>
                <a:gd name="connsiteX1058" fmla="*/ 114486 w 1526442"/>
                <a:gd name="connsiteY1058" fmla="*/ 523672 h 1683492"/>
                <a:gd name="connsiteX1059" fmla="*/ 106148 w 1526442"/>
                <a:gd name="connsiteY1059" fmla="*/ 517257 h 1683492"/>
                <a:gd name="connsiteX1060" fmla="*/ 97809 w 1526442"/>
                <a:gd name="connsiteY1060" fmla="*/ 517257 h 1683492"/>
                <a:gd name="connsiteX1061" fmla="*/ 87448 w 1526442"/>
                <a:gd name="connsiteY1061" fmla="*/ 515629 h 1683492"/>
                <a:gd name="connsiteX1062" fmla="*/ 81132 w 1526442"/>
                <a:gd name="connsiteY1062" fmla="*/ 510695 h 1683492"/>
                <a:gd name="connsiteX1063" fmla="*/ 81132 w 1526442"/>
                <a:gd name="connsiteY1063" fmla="*/ 507291 h 1683492"/>
                <a:gd name="connsiteX1064" fmla="*/ 95934 w 1526442"/>
                <a:gd name="connsiteY1064" fmla="*/ 505662 h 1683492"/>
                <a:gd name="connsiteX1065" fmla="*/ 118828 w 1526442"/>
                <a:gd name="connsiteY1065" fmla="*/ 505662 h 1683492"/>
                <a:gd name="connsiteX1066" fmla="*/ 131312 w 1526442"/>
                <a:gd name="connsiteY1066" fmla="*/ 510596 h 1683492"/>
                <a:gd name="connsiteX1067" fmla="*/ 135505 w 1526442"/>
                <a:gd name="connsiteY1067" fmla="*/ 515530 h 1683492"/>
                <a:gd name="connsiteX1068" fmla="*/ 139650 w 1526442"/>
                <a:gd name="connsiteY1068" fmla="*/ 515530 h 1683492"/>
                <a:gd name="connsiteX1069" fmla="*/ 141722 w 1526442"/>
                <a:gd name="connsiteY1069" fmla="*/ 518738 h 1683492"/>
                <a:gd name="connsiteX1070" fmla="*/ 147989 w 1526442"/>
                <a:gd name="connsiteY1070" fmla="*/ 520366 h 1683492"/>
                <a:gd name="connsiteX1071" fmla="*/ 147989 w 1526442"/>
                <a:gd name="connsiteY1071" fmla="*/ 517159 h 1683492"/>
                <a:gd name="connsiteX1072" fmla="*/ 145916 w 1526442"/>
                <a:gd name="connsiteY1072" fmla="*/ 515530 h 1683492"/>
                <a:gd name="connsiteX1073" fmla="*/ 145916 w 1526442"/>
                <a:gd name="connsiteY1073" fmla="*/ 510596 h 1683492"/>
                <a:gd name="connsiteX1074" fmla="*/ 152133 w 1526442"/>
                <a:gd name="connsiteY1074" fmla="*/ 505662 h 1683492"/>
                <a:gd name="connsiteX1075" fmla="*/ 156327 w 1526442"/>
                <a:gd name="connsiteY1075" fmla="*/ 505662 h 1683492"/>
                <a:gd name="connsiteX1076" fmla="*/ 154255 w 1526442"/>
                <a:gd name="connsiteY1076" fmla="*/ 497620 h 1683492"/>
                <a:gd name="connsiteX1077" fmla="*/ 150061 w 1526442"/>
                <a:gd name="connsiteY1077" fmla="*/ 495992 h 1683492"/>
                <a:gd name="connsiteX1078" fmla="*/ 147989 w 1526442"/>
                <a:gd name="connsiteY1078" fmla="*/ 495992 h 1683492"/>
                <a:gd name="connsiteX1079" fmla="*/ 143844 w 1526442"/>
                <a:gd name="connsiteY1079" fmla="*/ 492735 h 1683492"/>
                <a:gd name="connsiteX1080" fmla="*/ 143844 w 1526442"/>
                <a:gd name="connsiteY1080" fmla="*/ 489528 h 1683492"/>
                <a:gd name="connsiteX1081" fmla="*/ 139650 w 1526442"/>
                <a:gd name="connsiteY1081" fmla="*/ 487900 h 1683492"/>
                <a:gd name="connsiteX1082" fmla="*/ 135505 w 1526442"/>
                <a:gd name="connsiteY1082" fmla="*/ 489528 h 1683492"/>
                <a:gd name="connsiteX1083" fmla="*/ 129239 w 1526442"/>
                <a:gd name="connsiteY1083" fmla="*/ 492735 h 1683492"/>
                <a:gd name="connsiteX1084" fmla="*/ 123022 w 1526442"/>
                <a:gd name="connsiteY1084" fmla="*/ 494363 h 1683492"/>
                <a:gd name="connsiteX1085" fmla="*/ 110490 w 1526442"/>
                <a:gd name="connsiteY1085" fmla="*/ 492735 h 1683492"/>
                <a:gd name="connsiteX1086" fmla="*/ 106345 w 1526442"/>
                <a:gd name="connsiteY1086" fmla="*/ 489528 h 1683492"/>
                <a:gd name="connsiteX1087" fmla="*/ 106345 w 1526442"/>
                <a:gd name="connsiteY1087" fmla="*/ 486272 h 1683492"/>
                <a:gd name="connsiteX1088" fmla="*/ 104273 w 1526442"/>
                <a:gd name="connsiteY1088" fmla="*/ 484693 h 1683492"/>
                <a:gd name="connsiteX1089" fmla="*/ 98007 w 1526442"/>
                <a:gd name="connsiteY1089" fmla="*/ 478229 h 1683492"/>
                <a:gd name="connsiteX1090" fmla="*/ 95934 w 1526442"/>
                <a:gd name="connsiteY1090" fmla="*/ 478229 h 1683492"/>
                <a:gd name="connsiteX1091" fmla="*/ 93862 w 1526442"/>
                <a:gd name="connsiteY1091" fmla="*/ 479857 h 1683492"/>
                <a:gd name="connsiteX1092" fmla="*/ 93862 w 1526442"/>
                <a:gd name="connsiteY1092" fmla="*/ 483064 h 1683492"/>
                <a:gd name="connsiteX1093" fmla="*/ 98007 w 1526442"/>
                <a:gd name="connsiteY1093" fmla="*/ 486272 h 1683492"/>
                <a:gd name="connsiteX1094" fmla="*/ 95934 w 1526442"/>
                <a:gd name="connsiteY1094" fmla="*/ 492735 h 1683492"/>
                <a:gd name="connsiteX1095" fmla="*/ 93862 w 1526442"/>
                <a:gd name="connsiteY1095" fmla="*/ 495992 h 1683492"/>
                <a:gd name="connsiteX1096" fmla="*/ 83451 w 1526442"/>
                <a:gd name="connsiteY1096" fmla="*/ 495992 h 1683492"/>
                <a:gd name="connsiteX1097" fmla="*/ 75113 w 1526442"/>
                <a:gd name="connsiteY1097" fmla="*/ 492735 h 1683492"/>
                <a:gd name="connsiteX1098" fmla="*/ 64702 w 1526442"/>
                <a:gd name="connsiteY1098" fmla="*/ 482867 h 1683492"/>
                <a:gd name="connsiteX1099" fmla="*/ 64702 w 1526442"/>
                <a:gd name="connsiteY1099" fmla="*/ 481239 h 1683492"/>
                <a:gd name="connsiteX1100" fmla="*/ 73041 w 1526442"/>
                <a:gd name="connsiteY1100" fmla="*/ 478032 h 1683492"/>
                <a:gd name="connsiteX1101" fmla="*/ 83451 w 1526442"/>
                <a:gd name="connsiteY1101" fmla="*/ 474775 h 1683492"/>
                <a:gd name="connsiteX1102" fmla="*/ 83451 w 1526442"/>
                <a:gd name="connsiteY1102" fmla="*/ 471568 h 1683492"/>
                <a:gd name="connsiteX1103" fmla="*/ 81330 w 1526442"/>
                <a:gd name="connsiteY1103" fmla="*/ 471568 h 1683492"/>
                <a:gd name="connsiteX1104" fmla="*/ 73041 w 1526442"/>
                <a:gd name="connsiteY1104" fmla="*/ 473196 h 1683492"/>
                <a:gd name="connsiteX1105" fmla="*/ 66774 w 1526442"/>
                <a:gd name="connsiteY1105" fmla="*/ 476404 h 1683492"/>
                <a:gd name="connsiteX1106" fmla="*/ 60508 w 1526442"/>
                <a:gd name="connsiteY1106" fmla="*/ 474775 h 1683492"/>
                <a:gd name="connsiteX1107" fmla="*/ 60508 w 1526442"/>
                <a:gd name="connsiteY1107" fmla="*/ 469841 h 1683492"/>
                <a:gd name="connsiteX1108" fmla="*/ 62630 w 1526442"/>
                <a:gd name="connsiteY1108" fmla="*/ 468213 h 1683492"/>
                <a:gd name="connsiteX1109" fmla="*/ 68846 w 1526442"/>
                <a:gd name="connsiteY1109" fmla="*/ 466634 h 1683492"/>
                <a:gd name="connsiteX1110" fmla="*/ 75113 w 1526442"/>
                <a:gd name="connsiteY1110" fmla="*/ 463378 h 1683492"/>
                <a:gd name="connsiteX1111" fmla="*/ 79257 w 1526442"/>
                <a:gd name="connsiteY1111" fmla="*/ 456914 h 1683492"/>
                <a:gd name="connsiteX1112" fmla="*/ 79257 w 1526442"/>
                <a:gd name="connsiteY1112" fmla="*/ 453707 h 1683492"/>
                <a:gd name="connsiteX1113" fmla="*/ 75113 w 1526442"/>
                <a:gd name="connsiteY1113" fmla="*/ 452079 h 1683492"/>
                <a:gd name="connsiteX1114" fmla="*/ 73041 w 1526442"/>
                <a:gd name="connsiteY1114" fmla="*/ 453707 h 1683492"/>
                <a:gd name="connsiteX1115" fmla="*/ 68846 w 1526442"/>
                <a:gd name="connsiteY1115" fmla="*/ 456914 h 1683492"/>
                <a:gd name="connsiteX1116" fmla="*/ 62630 w 1526442"/>
                <a:gd name="connsiteY1116" fmla="*/ 460171 h 1683492"/>
                <a:gd name="connsiteX1117" fmla="*/ 54291 w 1526442"/>
                <a:gd name="connsiteY1117" fmla="*/ 461749 h 1683492"/>
                <a:gd name="connsiteX1118" fmla="*/ 48025 w 1526442"/>
                <a:gd name="connsiteY1118" fmla="*/ 460171 h 1683492"/>
                <a:gd name="connsiteX1119" fmla="*/ 45952 w 1526442"/>
                <a:gd name="connsiteY1119" fmla="*/ 456914 h 1683492"/>
                <a:gd name="connsiteX1120" fmla="*/ 48025 w 1526442"/>
                <a:gd name="connsiteY1120" fmla="*/ 453707 h 1683492"/>
                <a:gd name="connsiteX1121" fmla="*/ 50097 w 1526442"/>
                <a:gd name="connsiteY1121" fmla="*/ 450450 h 1683492"/>
                <a:gd name="connsiteX1122" fmla="*/ 54291 w 1526442"/>
                <a:gd name="connsiteY1122" fmla="*/ 448872 h 1683492"/>
                <a:gd name="connsiteX1123" fmla="*/ 52219 w 1526442"/>
                <a:gd name="connsiteY1123" fmla="*/ 445615 h 1683492"/>
                <a:gd name="connsiteX1124" fmla="*/ 50097 w 1526442"/>
                <a:gd name="connsiteY1124" fmla="*/ 443987 h 1683492"/>
                <a:gd name="connsiteX1125" fmla="*/ 43683 w 1526442"/>
                <a:gd name="connsiteY1125" fmla="*/ 443987 h 1683492"/>
                <a:gd name="connsiteX1126" fmla="*/ 39489 w 1526442"/>
                <a:gd name="connsiteY1126" fmla="*/ 440780 h 1683492"/>
                <a:gd name="connsiteX1127" fmla="*/ 33272 w 1526442"/>
                <a:gd name="connsiteY1127" fmla="*/ 429481 h 1683492"/>
                <a:gd name="connsiteX1128" fmla="*/ 29078 w 1526442"/>
                <a:gd name="connsiteY1128" fmla="*/ 426224 h 1683492"/>
                <a:gd name="connsiteX1129" fmla="*/ 22861 w 1526442"/>
                <a:gd name="connsiteY1129" fmla="*/ 423017 h 1683492"/>
                <a:gd name="connsiteX1130" fmla="*/ 20789 w 1526442"/>
                <a:gd name="connsiteY1130" fmla="*/ 419761 h 1683492"/>
                <a:gd name="connsiteX1131" fmla="*/ 24934 w 1526442"/>
                <a:gd name="connsiteY1131" fmla="*/ 418182 h 1683492"/>
                <a:gd name="connsiteX1132" fmla="*/ 31200 w 1526442"/>
                <a:gd name="connsiteY1132" fmla="*/ 414925 h 1683492"/>
                <a:gd name="connsiteX1133" fmla="*/ 35344 w 1526442"/>
                <a:gd name="connsiteY1133" fmla="*/ 411718 h 1683492"/>
                <a:gd name="connsiteX1134" fmla="*/ 37417 w 1526442"/>
                <a:gd name="connsiteY1134" fmla="*/ 410090 h 1683492"/>
                <a:gd name="connsiteX1135" fmla="*/ 43683 w 1526442"/>
                <a:gd name="connsiteY1135" fmla="*/ 410090 h 1683492"/>
                <a:gd name="connsiteX1136" fmla="*/ 41611 w 1526442"/>
                <a:gd name="connsiteY1136" fmla="*/ 408462 h 1683492"/>
                <a:gd name="connsiteX1137" fmla="*/ 39489 w 1526442"/>
                <a:gd name="connsiteY1137" fmla="*/ 406834 h 1683492"/>
                <a:gd name="connsiteX1138" fmla="*/ 33272 w 1526442"/>
                <a:gd name="connsiteY1138" fmla="*/ 405255 h 1683492"/>
                <a:gd name="connsiteX1139" fmla="*/ 31200 w 1526442"/>
                <a:gd name="connsiteY1139" fmla="*/ 401998 h 1683492"/>
                <a:gd name="connsiteX1140" fmla="*/ 33272 w 1526442"/>
                <a:gd name="connsiteY1140" fmla="*/ 400370 h 1683492"/>
                <a:gd name="connsiteX1141" fmla="*/ 37417 w 1526442"/>
                <a:gd name="connsiteY1141" fmla="*/ 400370 h 1683492"/>
                <a:gd name="connsiteX1142" fmla="*/ 49900 w 1526442"/>
                <a:gd name="connsiteY1142" fmla="*/ 395436 h 1683492"/>
                <a:gd name="connsiteX1143" fmla="*/ 49900 w 1526442"/>
                <a:gd name="connsiteY1143" fmla="*/ 389367 h 1683492"/>
                <a:gd name="connsiteX1144" fmla="*/ 56166 w 1526442"/>
                <a:gd name="connsiteY1144" fmla="*/ 389367 h 1683492"/>
                <a:gd name="connsiteX1145" fmla="*/ 58238 w 1526442"/>
                <a:gd name="connsiteY1145" fmla="*/ 386160 h 1683492"/>
                <a:gd name="connsiteX1146" fmla="*/ 64504 w 1526442"/>
                <a:gd name="connsiteY1146" fmla="*/ 386160 h 1683492"/>
                <a:gd name="connsiteX1147" fmla="*/ 66577 w 1526442"/>
                <a:gd name="connsiteY1147" fmla="*/ 387788 h 1683492"/>
                <a:gd name="connsiteX1148" fmla="*/ 72843 w 1526442"/>
                <a:gd name="connsiteY1148" fmla="*/ 386160 h 1683492"/>
                <a:gd name="connsiteX1149" fmla="*/ 77037 w 1526442"/>
                <a:gd name="connsiteY1149" fmla="*/ 384532 h 1683492"/>
                <a:gd name="connsiteX1150" fmla="*/ 85326 w 1526442"/>
                <a:gd name="connsiteY1150" fmla="*/ 384532 h 1683492"/>
                <a:gd name="connsiteX1151" fmla="*/ 85326 w 1526442"/>
                <a:gd name="connsiteY1151" fmla="*/ 387788 h 1683492"/>
                <a:gd name="connsiteX1152" fmla="*/ 93665 w 1526442"/>
                <a:gd name="connsiteY1152" fmla="*/ 387788 h 1683492"/>
                <a:gd name="connsiteX1153" fmla="*/ 95737 w 1526442"/>
                <a:gd name="connsiteY1153" fmla="*/ 382854 h 1683492"/>
                <a:gd name="connsiteX1154" fmla="*/ 99882 w 1526442"/>
                <a:gd name="connsiteY1154" fmla="*/ 381275 h 1683492"/>
                <a:gd name="connsiteX1155" fmla="*/ 106148 w 1526442"/>
                <a:gd name="connsiteY1155" fmla="*/ 381275 h 1683492"/>
                <a:gd name="connsiteX1156" fmla="*/ 110292 w 1526442"/>
                <a:gd name="connsiteY1156" fmla="*/ 379647 h 1683492"/>
                <a:gd name="connsiteX1157" fmla="*/ 118631 w 1526442"/>
                <a:gd name="connsiteY1157" fmla="*/ 379647 h 1683492"/>
                <a:gd name="connsiteX1158" fmla="*/ 145719 w 1526442"/>
                <a:gd name="connsiteY1158" fmla="*/ 373183 h 1683492"/>
                <a:gd name="connsiteX1159" fmla="*/ 149863 w 1526442"/>
                <a:gd name="connsiteY1159" fmla="*/ 373183 h 1683492"/>
                <a:gd name="connsiteX1160" fmla="*/ 151936 w 1526442"/>
                <a:gd name="connsiteY1160" fmla="*/ 376391 h 1683492"/>
                <a:gd name="connsiteX1161" fmla="*/ 154057 w 1526442"/>
                <a:gd name="connsiteY1161" fmla="*/ 373183 h 1683492"/>
                <a:gd name="connsiteX1162" fmla="*/ 151936 w 1526442"/>
                <a:gd name="connsiteY1162" fmla="*/ 369927 h 1683492"/>
                <a:gd name="connsiteX1163" fmla="*/ 154057 w 1526442"/>
                <a:gd name="connsiteY1163" fmla="*/ 366720 h 1683492"/>
                <a:gd name="connsiteX1164" fmla="*/ 162346 w 1526442"/>
                <a:gd name="connsiteY1164" fmla="*/ 363513 h 1683492"/>
                <a:gd name="connsiteX1165" fmla="*/ 174879 w 1526442"/>
                <a:gd name="connsiteY1165" fmla="*/ 363513 h 1683492"/>
                <a:gd name="connsiteX1166" fmla="*/ 181096 w 1526442"/>
                <a:gd name="connsiteY1166" fmla="*/ 361885 h 1683492"/>
                <a:gd name="connsiteX1167" fmla="*/ 185290 w 1526442"/>
                <a:gd name="connsiteY1167" fmla="*/ 363513 h 1683492"/>
                <a:gd name="connsiteX1168" fmla="*/ 191507 w 1526442"/>
                <a:gd name="connsiteY1168" fmla="*/ 365092 h 1683492"/>
                <a:gd name="connsiteX1169" fmla="*/ 197773 w 1526442"/>
                <a:gd name="connsiteY1169" fmla="*/ 361885 h 1683492"/>
                <a:gd name="connsiteX1170" fmla="*/ 206111 w 1526442"/>
                <a:gd name="connsiteY1170" fmla="*/ 360256 h 1683492"/>
                <a:gd name="connsiteX1171" fmla="*/ 214401 w 1526442"/>
                <a:gd name="connsiteY1171" fmla="*/ 361885 h 1683492"/>
                <a:gd name="connsiteX1172" fmla="*/ 218595 w 1526442"/>
                <a:gd name="connsiteY1172" fmla="*/ 365092 h 1683492"/>
                <a:gd name="connsiteX1173" fmla="*/ 224811 w 1526442"/>
                <a:gd name="connsiteY1173" fmla="*/ 365092 h 1683492"/>
                <a:gd name="connsiteX1174" fmla="*/ 226933 w 1526442"/>
                <a:gd name="connsiteY1174" fmla="*/ 368348 h 1683492"/>
                <a:gd name="connsiteX1175" fmla="*/ 235272 w 1526442"/>
                <a:gd name="connsiteY1175" fmla="*/ 373282 h 1683492"/>
                <a:gd name="connsiteX1176" fmla="*/ 239416 w 1526442"/>
                <a:gd name="connsiteY1176" fmla="*/ 371654 h 1683492"/>
                <a:gd name="connsiteX1177" fmla="*/ 243561 w 1526442"/>
                <a:gd name="connsiteY1177" fmla="*/ 370026 h 1683492"/>
                <a:gd name="connsiteX1178" fmla="*/ 245682 w 1526442"/>
                <a:gd name="connsiteY1178" fmla="*/ 368447 h 1683492"/>
                <a:gd name="connsiteX1179" fmla="*/ 249827 w 1526442"/>
                <a:gd name="connsiteY1179" fmla="*/ 363513 h 1683492"/>
                <a:gd name="connsiteX1180" fmla="*/ 256093 w 1526442"/>
                <a:gd name="connsiteY1180" fmla="*/ 357049 h 1683492"/>
                <a:gd name="connsiteX1181" fmla="*/ 260238 w 1526442"/>
                <a:gd name="connsiteY1181" fmla="*/ 348957 h 1683492"/>
                <a:gd name="connsiteX1182" fmla="*/ 268576 w 1526442"/>
                <a:gd name="connsiteY1182" fmla="*/ 347329 h 1683492"/>
                <a:gd name="connsiteX1183" fmla="*/ 272770 w 1526442"/>
                <a:gd name="connsiteY1183" fmla="*/ 342395 h 1683492"/>
                <a:gd name="connsiteX1184" fmla="*/ 278987 w 1526442"/>
                <a:gd name="connsiteY1184" fmla="*/ 334303 h 1683492"/>
                <a:gd name="connsiteX1185" fmla="*/ 283181 w 1526442"/>
                <a:gd name="connsiteY1185" fmla="*/ 332675 h 1683492"/>
                <a:gd name="connsiteX1186" fmla="*/ 287326 w 1526442"/>
                <a:gd name="connsiteY1186" fmla="*/ 327741 h 1683492"/>
                <a:gd name="connsiteX1187" fmla="*/ 281059 w 1526442"/>
                <a:gd name="connsiteY1187" fmla="*/ 324534 h 1683492"/>
                <a:gd name="connsiteX1188" fmla="*/ 281059 w 1526442"/>
                <a:gd name="connsiteY1188" fmla="*/ 319600 h 1683492"/>
                <a:gd name="connsiteX1189" fmla="*/ 287326 w 1526442"/>
                <a:gd name="connsiteY1189" fmla="*/ 313136 h 1683492"/>
                <a:gd name="connsiteX1190" fmla="*/ 301733 w 1526442"/>
                <a:gd name="connsiteY1190" fmla="*/ 313136 h 1683492"/>
                <a:gd name="connsiteX1191" fmla="*/ 310072 w 1526442"/>
                <a:gd name="connsiteY1191" fmla="*/ 309880 h 1683492"/>
                <a:gd name="connsiteX1192" fmla="*/ 310072 w 1526442"/>
                <a:gd name="connsiteY1192" fmla="*/ 303416 h 1683492"/>
                <a:gd name="connsiteX1193" fmla="*/ 301733 w 1526442"/>
                <a:gd name="connsiteY1193" fmla="*/ 303416 h 1683492"/>
                <a:gd name="connsiteX1194" fmla="*/ 295467 w 1526442"/>
                <a:gd name="connsiteY1194" fmla="*/ 300209 h 1683492"/>
                <a:gd name="connsiteX1195" fmla="*/ 295467 w 1526442"/>
                <a:gd name="connsiteY1195" fmla="*/ 293746 h 1683492"/>
                <a:gd name="connsiteX1196" fmla="*/ 301733 w 1526442"/>
                <a:gd name="connsiteY1196" fmla="*/ 292117 h 1683492"/>
                <a:gd name="connsiteX1197" fmla="*/ 310072 w 1526442"/>
                <a:gd name="connsiteY1197" fmla="*/ 293746 h 1683492"/>
                <a:gd name="connsiteX1198" fmla="*/ 318410 w 1526442"/>
                <a:gd name="connsiteY1198" fmla="*/ 290489 h 1683492"/>
                <a:gd name="connsiteX1199" fmla="*/ 326699 w 1526442"/>
                <a:gd name="connsiteY1199" fmla="*/ 287282 h 1683492"/>
                <a:gd name="connsiteX1200" fmla="*/ 328821 w 1526442"/>
                <a:gd name="connsiteY1200" fmla="*/ 284025 h 1683492"/>
                <a:gd name="connsiteX1201" fmla="*/ 326699 w 1526442"/>
                <a:gd name="connsiteY1201" fmla="*/ 282447 h 1683492"/>
                <a:gd name="connsiteX1202" fmla="*/ 326699 w 1526442"/>
                <a:gd name="connsiteY1202" fmla="*/ 275983 h 1683492"/>
                <a:gd name="connsiteX1203" fmla="*/ 324627 w 1526442"/>
                <a:gd name="connsiteY1203" fmla="*/ 275983 h 1683492"/>
                <a:gd name="connsiteX1204" fmla="*/ 320482 w 1526442"/>
                <a:gd name="connsiteY1204" fmla="*/ 280917 h 1683492"/>
                <a:gd name="connsiteX1205" fmla="*/ 318410 w 1526442"/>
                <a:gd name="connsiteY1205" fmla="*/ 285851 h 1683492"/>
                <a:gd name="connsiteX1206" fmla="*/ 316288 w 1526442"/>
                <a:gd name="connsiteY1206" fmla="*/ 287479 h 1683492"/>
                <a:gd name="connsiteX1207" fmla="*/ 303855 w 1526442"/>
                <a:gd name="connsiteY1207" fmla="*/ 287479 h 1683492"/>
                <a:gd name="connsiteX1208" fmla="*/ 299661 w 1526442"/>
                <a:gd name="connsiteY1208" fmla="*/ 285851 h 1683492"/>
                <a:gd name="connsiteX1209" fmla="*/ 295467 w 1526442"/>
                <a:gd name="connsiteY1209" fmla="*/ 285851 h 1683492"/>
                <a:gd name="connsiteX1210" fmla="*/ 289250 w 1526442"/>
                <a:gd name="connsiteY1210" fmla="*/ 290785 h 1683492"/>
                <a:gd name="connsiteX1211" fmla="*/ 283033 w 1526442"/>
                <a:gd name="connsiteY1211" fmla="*/ 290785 h 1683492"/>
                <a:gd name="connsiteX1212" fmla="*/ 280912 w 1526442"/>
                <a:gd name="connsiteY1212" fmla="*/ 287578 h 1683492"/>
                <a:gd name="connsiteX1213" fmla="*/ 274645 w 1526442"/>
                <a:gd name="connsiteY1213" fmla="*/ 282644 h 1683492"/>
                <a:gd name="connsiteX1214" fmla="*/ 270500 w 1526442"/>
                <a:gd name="connsiteY1214" fmla="*/ 284223 h 1683492"/>
                <a:gd name="connsiteX1215" fmla="*/ 266356 w 1526442"/>
                <a:gd name="connsiteY1215" fmla="*/ 287479 h 1683492"/>
                <a:gd name="connsiteX1216" fmla="*/ 264234 w 1526442"/>
                <a:gd name="connsiteY1216" fmla="*/ 285851 h 1683492"/>
                <a:gd name="connsiteX1217" fmla="*/ 260090 w 1526442"/>
                <a:gd name="connsiteY1217" fmla="*/ 284223 h 1683492"/>
                <a:gd name="connsiteX1218" fmla="*/ 251801 w 1526442"/>
                <a:gd name="connsiteY1218" fmla="*/ 284223 h 1683492"/>
                <a:gd name="connsiteX1219" fmla="*/ 251801 w 1526442"/>
                <a:gd name="connsiteY1219" fmla="*/ 276180 h 1683492"/>
                <a:gd name="connsiteX1220" fmla="*/ 249679 w 1526442"/>
                <a:gd name="connsiteY1220" fmla="*/ 276180 h 1683492"/>
                <a:gd name="connsiteX1221" fmla="*/ 249679 w 1526442"/>
                <a:gd name="connsiteY1221" fmla="*/ 272924 h 1683492"/>
                <a:gd name="connsiteX1222" fmla="*/ 251801 w 1526442"/>
                <a:gd name="connsiteY1222" fmla="*/ 267990 h 1683492"/>
                <a:gd name="connsiteX1223" fmla="*/ 255945 w 1526442"/>
                <a:gd name="connsiteY1223" fmla="*/ 266362 h 1683492"/>
                <a:gd name="connsiteX1224" fmla="*/ 260090 w 1526442"/>
                <a:gd name="connsiteY1224" fmla="*/ 261428 h 1683492"/>
                <a:gd name="connsiteX1225" fmla="*/ 262211 w 1526442"/>
                <a:gd name="connsiteY1225" fmla="*/ 258220 h 1683492"/>
                <a:gd name="connsiteX1226" fmla="*/ 266356 w 1526442"/>
                <a:gd name="connsiteY1226" fmla="*/ 258220 h 1683492"/>
                <a:gd name="connsiteX1227" fmla="*/ 266356 w 1526442"/>
                <a:gd name="connsiteY1227" fmla="*/ 254964 h 1683492"/>
                <a:gd name="connsiteX1228" fmla="*/ 264234 w 1526442"/>
                <a:gd name="connsiteY1228" fmla="*/ 251757 h 1683492"/>
                <a:gd name="connsiteX1229" fmla="*/ 264234 w 1526442"/>
                <a:gd name="connsiteY1229" fmla="*/ 248500 h 1683492"/>
                <a:gd name="connsiteX1230" fmla="*/ 266356 w 1526442"/>
                <a:gd name="connsiteY1230" fmla="*/ 245293 h 1683492"/>
                <a:gd name="connsiteX1231" fmla="*/ 270500 w 1526442"/>
                <a:gd name="connsiteY1231" fmla="*/ 245293 h 1683492"/>
                <a:gd name="connsiteX1232" fmla="*/ 278839 w 1526442"/>
                <a:gd name="connsiteY1232" fmla="*/ 242037 h 1683492"/>
                <a:gd name="connsiteX1233" fmla="*/ 280912 w 1526442"/>
                <a:gd name="connsiteY1233" fmla="*/ 240409 h 1683492"/>
                <a:gd name="connsiteX1234" fmla="*/ 283033 w 1526442"/>
                <a:gd name="connsiteY1234" fmla="*/ 235475 h 1683492"/>
                <a:gd name="connsiteX1235" fmla="*/ 293444 w 1526442"/>
                <a:gd name="connsiteY1235" fmla="*/ 233896 h 1683492"/>
                <a:gd name="connsiteX1236" fmla="*/ 297588 w 1526442"/>
                <a:gd name="connsiteY1236" fmla="*/ 228962 h 1683492"/>
                <a:gd name="connsiteX1237" fmla="*/ 301733 w 1526442"/>
                <a:gd name="connsiteY1237" fmla="*/ 227383 h 1683492"/>
                <a:gd name="connsiteX1238" fmla="*/ 312144 w 1526442"/>
                <a:gd name="connsiteY1238" fmla="*/ 227383 h 1683492"/>
                <a:gd name="connsiteX1239" fmla="*/ 316535 w 1526442"/>
                <a:gd name="connsiteY1239" fmla="*/ 226051 h 1683492"/>
                <a:gd name="connsiteX1240" fmla="*/ 316535 w 1526442"/>
                <a:gd name="connsiteY1240" fmla="*/ 224422 h 1683492"/>
                <a:gd name="connsiteX1241" fmla="*/ 312390 w 1526442"/>
                <a:gd name="connsiteY1241" fmla="*/ 224422 h 1683492"/>
                <a:gd name="connsiteX1242" fmla="*/ 312390 w 1526442"/>
                <a:gd name="connsiteY1242" fmla="*/ 221215 h 1683492"/>
                <a:gd name="connsiteX1243" fmla="*/ 316535 w 1526442"/>
                <a:gd name="connsiteY1243" fmla="*/ 219587 h 1683492"/>
                <a:gd name="connsiteX1244" fmla="*/ 322801 w 1526442"/>
                <a:gd name="connsiteY1244" fmla="*/ 219587 h 1683492"/>
                <a:gd name="connsiteX1245" fmla="*/ 322801 w 1526442"/>
                <a:gd name="connsiteY1245" fmla="*/ 221215 h 1683492"/>
                <a:gd name="connsiteX1246" fmla="*/ 326946 w 1526442"/>
                <a:gd name="connsiteY1246" fmla="*/ 221215 h 1683492"/>
                <a:gd name="connsiteX1247" fmla="*/ 335284 w 1526442"/>
                <a:gd name="connsiteY1247" fmla="*/ 213123 h 1683492"/>
                <a:gd name="connsiteX1248" fmla="*/ 333212 w 1526442"/>
                <a:gd name="connsiteY1248" fmla="*/ 209867 h 1683492"/>
                <a:gd name="connsiteX1249" fmla="*/ 335284 w 1526442"/>
                <a:gd name="connsiteY1249" fmla="*/ 204933 h 1683492"/>
                <a:gd name="connsiteX1250" fmla="*/ 343623 w 1526442"/>
                <a:gd name="connsiteY1250" fmla="*/ 199999 h 1683492"/>
                <a:gd name="connsiteX1251" fmla="*/ 347768 w 1526442"/>
                <a:gd name="connsiteY1251" fmla="*/ 198371 h 1683492"/>
                <a:gd name="connsiteX1252" fmla="*/ 354083 w 1526442"/>
                <a:gd name="connsiteY1252" fmla="*/ 193437 h 1683492"/>
                <a:gd name="connsiteX1253" fmla="*/ 358178 w 1526442"/>
                <a:gd name="connsiteY1253" fmla="*/ 193437 h 1683492"/>
                <a:gd name="connsiteX1254" fmla="*/ 362372 w 1526442"/>
                <a:gd name="connsiteY1254" fmla="*/ 191808 h 1683492"/>
                <a:gd name="connsiteX1255" fmla="*/ 364494 w 1526442"/>
                <a:gd name="connsiteY1255" fmla="*/ 193437 h 1683492"/>
                <a:gd name="connsiteX1256" fmla="*/ 366517 w 1526442"/>
                <a:gd name="connsiteY1256" fmla="*/ 199900 h 1683492"/>
                <a:gd name="connsiteX1257" fmla="*/ 364494 w 1526442"/>
                <a:gd name="connsiteY1257" fmla="*/ 211199 h 1683492"/>
                <a:gd name="connsiteX1258" fmla="*/ 366517 w 1526442"/>
                <a:gd name="connsiteY1258" fmla="*/ 216133 h 1683492"/>
                <a:gd name="connsiteX1259" fmla="*/ 368638 w 1526442"/>
                <a:gd name="connsiteY1259" fmla="*/ 224225 h 1683492"/>
                <a:gd name="connsiteX1260" fmla="*/ 366517 w 1526442"/>
                <a:gd name="connsiteY1260" fmla="*/ 235524 h 1683492"/>
                <a:gd name="connsiteX1261" fmla="*/ 368638 w 1526442"/>
                <a:gd name="connsiteY1261" fmla="*/ 235524 h 1683492"/>
                <a:gd name="connsiteX1262" fmla="*/ 370711 w 1526442"/>
                <a:gd name="connsiteY1262" fmla="*/ 230590 h 1683492"/>
                <a:gd name="connsiteX1263" fmla="*/ 372783 w 1526442"/>
                <a:gd name="connsiteY1263" fmla="*/ 220722 h 1683492"/>
                <a:gd name="connsiteX1264" fmla="*/ 370711 w 1526442"/>
                <a:gd name="connsiteY1264" fmla="*/ 212630 h 1683492"/>
                <a:gd name="connsiteX1265" fmla="*/ 370711 w 1526442"/>
                <a:gd name="connsiteY1265" fmla="*/ 194867 h 1683492"/>
                <a:gd name="connsiteX1266" fmla="*/ 374905 w 1526442"/>
                <a:gd name="connsiteY1266" fmla="*/ 193239 h 1683492"/>
                <a:gd name="connsiteX1267" fmla="*/ 379049 w 1526442"/>
                <a:gd name="connsiteY1267" fmla="*/ 193239 h 1683492"/>
                <a:gd name="connsiteX1268" fmla="*/ 381122 w 1526442"/>
                <a:gd name="connsiteY1268" fmla="*/ 190032 h 1683492"/>
                <a:gd name="connsiteX1269" fmla="*/ 383194 w 1526442"/>
                <a:gd name="connsiteY1269" fmla="*/ 186776 h 1683492"/>
                <a:gd name="connsiteX1270" fmla="*/ 387338 w 1526442"/>
                <a:gd name="connsiteY1270" fmla="*/ 186776 h 1683492"/>
                <a:gd name="connsiteX1271" fmla="*/ 387338 w 1526442"/>
                <a:gd name="connsiteY1271" fmla="*/ 191710 h 1683492"/>
                <a:gd name="connsiteX1272" fmla="*/ 389460 w 1526442"/>
                <a:gd name="connsiteY1272" fmla="*/ 193338 h 1683492"/>
                <a:gd name="connsiteX1273" fmla="*/ 393605 w 1526442"/>
                <a:gd name="connsiteY1273" fmla="*/ 193338 h 1683492"/>
                <a:gd name="connsiteX1274" fmla="*/ 395726 w 1526442"/>
                <a:gd name="connsiteY1274" fmla="*/ 194966 h 1683492"/>
                <a:gd name="connsiteX1275" fmla="*/ 395726 w 1526442"/>
                <a:gd name="connsiteY1275" fmla="*/ 203009 h 1683492"/>
                <a:gd name="connsiteX1276" fmla="*/ 401943 w 1526442"/>
                <a:gd name="connsiteY1276" fmla="*/ 206265 h 1683492"/>
                <a:gd name="connsiteX1277" fmla="*/ 412354 w 1526442"/>
                <a:gd name="connsiteY1277" fmla="*/ 204637 h 1683492"/>
                <a:gd name="connsiteX1278" fmla="*/ 414426 w 1526442"/>
                <a:gd name="connsiteY1278" fmla="*/ 203009 h 1683492"/>
                <a:gd name="connsiteX1279" fmla="*/ 420692 w 1526442"/>
                <a:gd name="connsiteY1279" fmla="*/ 203009 h 1683492"/>
                <a:gd name="connsiteX1280" fmla="*/ 420692 w 1526442"/>
                <a:gd name="connsiteY1280" fmla="*/ 200394 h 1683492"/>
                <a:gd name="connsiteX1281" fmla="*/ 418571 w 1526442"/>
                <a:gd name="connsiteY1281" fmla="*/ 197186 h 1683492"/>
                <a:gd name="connsiteX1282" fmla="*/ 420692 w 1526442"/>
                <a:gd name="connsiteY1282" fmla="*/ 193930 h 1683492"/>
                <a:gd name="connsiteX1283" fmla="*/ 424837 w 1526442"/>
                <a:gd name="connsiteY1283" fmla="*/ 190723 h 1683492"/>
                <a:gd name="connsiteX1284" fmla="*/ 424837 w 1526442"/>
                <a:gd name="connsiteY1284" fmla="*/ 185789 h 1683492"/>
                <a:gd name="connsiteX1285" fmla="*/ 426959 w 1526442"/>
                <a:gd name="connsiteY1285" fmla="*/ 182582 h 1683492"/>
                <a:gd name="connsiteX1286" fmla="*/ 433176 w 1526442"/>
                <a:gd name="connsiteY1286" fmla="*/ 182582 h 1683492"/>
                <a:gd name="connsiteX1287" fmla="*/ 443586 w 1526442"/>
                <a:gd name="connsiteY1287" fmla="*/ 177648 h 1683492"/>
                <a:gd name="connsiteX1288" fmla="*/ 447780 w 1526442"/>
                <a:gd name="connsiteY1288" fmla="*/ 172714 h 1683492"/>
                <a:gd name="connsiteX1289" fmla="*/ 447780 w 1526442"/>
                <a:gd name="connsiteY1289" fmla="*/ 164869 h 1683492"/>
                <a:gd name="connsiteX1290" fmla="*/ 441514 w 1526442"/>
                <a:gd name="connsiteY1290" fmla="*/ 164869 h 1683492"/>
                <a:gd name="connsiteX1291" fmla="*/ 439393 w 1526442"/>
                <a:gd name="connsiteY1291" fmla="*/ 161612 h 1683492"/>
                <a:gd name="connsiteX1292" fmla="*/ 441514 w 1526442"/>
                <a:gd name="connsiteY1292" fmla="*/ 158405 h 1683492"/>
                <a:gd name="connsiteX1293" fmla="*/ 445659 w 1526442"/>
                <a:gd name="connsiteY1293" fmla="*/ 153471 h 1683492"/>
                <a:gd name="connsiteX1294" fmla="*/ 447780 w 1526442"/>
                <a:gd name="connsiteY1294" fmla="*/ 147007 h 1683492"/>
                <a:gd name="connsiteX1295" fmla="*/ 445659 w 1526442"/>
                <a:gd name="connsiteY1295" fmla="*/ 142073 h 1683492"/>
                <a:gd name="connsiteX1296" fmla="*/ 447780 w 1526442"/>
                <a:gd name="connsiteY1296" fmla="*/ 134031 h 1683492"/>
                <a:gd name="connsiteX1297" fmla="*/ 451925 w 1526442"/>
                <a:gd name="connsiteY1297" fmla="*/ 130774 h 1683492"/>
                <a:gd name="connsiteX1298" fmla="*/ 462336 w 1526442"/>
                <a:gd name="connsiteY1298" fmla="*/ 129195 h 1683492"/>
                <a:gd name="connsiteX1299" fmla="*/ 470625 w 1526442"/>
                <a:gd name="connsiteY1299" fmla="*/ 125939 h 1683492"/>
                <a:gd name="connsiteX1300" fmla="*/ 479013 w 1526442"/>
                <a:gd name="connsiteY1300" fmla="*/ 122732 h 1683492"/>
                <a:gd name="connsiteX1301" fmla="*/ 481036 w 1526442"/>
                <a:gd name="connsiteY1301" fmla="*/ 124311 h 1683492"/>
                <a:gd name="connsiteX1302" fmla="*/ 483158 w 1526442"/>
                <a:gd name="connsiteY1302" fmla="*/ 127567 h 1683492"/>
                <a:gd name="connsiteX1303" fmla="*/ 483158 w 1526442"/>
                <a:gd name="connsiteY1303" fmla="*/ 132501 h 1683492"/>
                <a:gd name="connsiteX1304" fmla="*/ 489424 w 1526442"/>
                <a:gd name="connsiteY1304" fmla="*/ 142369 h 1683492"/>
                <a:gd name="connsiteX1305" fmla="*/ 489424 w 1526442"/>
                <a:gd name="connsiteY1305" fmla="*/ 169852 h 1683492"/>
                <a:gd name="connsiteX1306" fmla="*/ 493568 w 1526442"/>
                <a:gd name="connsiteY1306" fmla="*/ 171480 h 1683492"/>
                <a:gd name="connsiteX1307" fmla="*/ 501858 w 1526442"/>
                <a:gd name="connsiteY1307" fmla="*/ 179523 h 1683492"/>
                <a:gd name="connsiteX1308" fmla="*/ 503979 w 1526442"/>
                <a:gd name="connsiteY1308" fmla="*/ 184457 h 1683492"/>
                <a:gd name="connsiteX1309" fmla="*/ 508173 w 1526442"/>
                <a:gd name="connsiteY1309" fmla="*/ 187664 h 1683492"/>
                <a:gd name="connsiteX1310" fmla="*/ 508173 w 1526442"/>
                <a:gd name="connsiteY1310" fmla="*/ 168076 h 1683492"/>
                <a:gd name="connsiteX1311" fmla="*/ 499835 w 1526442"/>
                <a:gd name="connsiteY1311" fmla="*/ 158208 h 1683492"/>
                <a:gd name="connsiteX1312" fmla="*/ 497762 w 1526442"/>
                <a:gd name="connsiteY1312" fmla="*/ 150116 h 1683492"/>
                <a:gd name="connsiteX1313" fmla="*/ 501858 w 1526442"/>
                <a:gd name="connsiteY1313" fmla="*/ 142024 h 1683492"/>
                <a:gd name="connsiteX1314" fmla="*/ 503979 w 1526442"/>
                <a:gd name="connsiteY1314" fmla="*/ 137090 h 1683492"/>
                <a:gd name="connsiteX1315" fmla="*/ 501858 w 1526442"/>
                <a:gd name="connsiteY1315" fmla="*/ 133883 h 1683492"/>
                <a:gd name="connsiteX1316" fmla="*/ 497762 w 1526442"/>
                <a:gd name="connsiteY1316" fmla="*/ 128949 h 1683492"/>
                <a:gd name="connsiteX1317" fmla="*/ 497762 w 1526442"/>
                <a:gd name="connsiteY1317" fmla="*/ 124015 h 1683492"/>
                <a:gd name="connsiteX1318" fmla="*/ 495641 w 1526442"/>
                <a:gd name="connsiteY1318" fmla="*/ 119081 h 1683492"/>
                <a:gd name="connsiteX1319" fmla="*/ 497762 w 1526442"/>
                <a:gd name="connsiteY1319" fmla="*/ 115874 h 1683492"/>
                <a:gd name="connsiteX1320" fmla="*/ 503979 w 1526442"/>
                <a:gd name="connsiteY1320" fmla="*/ 110940 h 1683492"/>
                <a:gd name="connsiteX1321" fmla="*/ 510245 w 1526442"/>
                <a:gd name="connsiteY1321" fmla="*/ 110940 h 1683492"/>
                <a:gd name="connsiteX1322" fmla="*/ 514390 w 1526442"/>
                <a:gd name="connsiteY1322" fmla="*/ 112518 h 1683492"/>
                <a:gd name="connsiteX1323" fmla="*/ 520656 w 1526442"/>
                <a:gd name="connsiteY1323" fmla="*/ 110940 h 1683492"/>
                <a:gd name="connsiteX1324" fmla="*/ 524801 w 1526442"/>
                <a:gd name="connsiteY1324" fmla="*/ 110940 h 1683492"/>
                <a:gd name="connsiteX1325" fmla="*/ 535211 w 1526442"/>
                <a:gd name="connsiteY1325" fmla="*/ 112518 h 1683492"/>
                <a:gd name="connsiteX1326" fmla="*/ 550013 w 1526442"/>
                <a:gd name="connsiteY1326" fmla="*/ 112518 h 1683492"/>
                <a:gd name="connsiteX1327" fmla="*/ 562447 w 1526442"/>
                <a:gd name="connsiteY1327" fmla="*/ 107584 h 1683492"/>
                <a:gd name="connsiteX1328" fmla="*/ 577249 w 1526442"/>
                <a:gd name="connsiteY1328" fmla="*/ 107584 h 1683492"/>
                <a:gd name="connsiteX1329" fmla="*/ 581443 w 1526442"/>
                <a:gd name="connsiteY1329" fmla="*/ 110841 h 1683492"/>
                <a:gd name="connsiteX1330" fmla="*/ 581443 w 1526442"/>
                <a:gd name="connsiteY1330" fmla="*/ 123719 h 1683492"/>
                <a:gd name="connsiteX1331" fmla="*/ 587660 w 1526442"/>
                <a:gd name="connsiteY1331" fmla="*/ 122140 h 1683492"/>
                <a:gd name="connsiteX1332" fmla="*/ 591854 w 1526442"/>
                <a:gd name="connsiteY1332" fmla="*/ 117206 h 1683492"/>
                <a:gd name="connsiteX1333" fmla="*/ 587660 w 1526442"/>
                <a:gd name="connsiteY1333" fmla="*/ 113999 h 1683492"/>
                <a:gd name="connsiteX1334" fmla="*/ 587660 w 1526442"/>
                <a:gd name="connsiteY1334" fmla="*/ 109065 h 1683492"/>
                <a:gd name="connsiteX1335" fmla="*/ 598071 w 1526442"/>
                <a:gd name="connsiteY1335" fmla="*/ 100973 h 1683492"/>
                <a:gd name="connsiteX1336" fmla="*/ 604288 w 1526442"/>
                <a:gd name="connsiteY1336" fmla="*/ 104229 h 1683492"/>
                <a:gd name="connsiteX1337" fmla="*/ 608482 w 1526442"/>
                <a:gd name="connsiteY1337" fmla="*/ 107436 h 1683492"/>
                <a:gd name="connsiteX1338" fmla="*/ 610554 w 1526442"/>
                <a:gd name="connsiteY1338" fmla="*/ 115528 h 1683492"/>
                <a:gd name="connsiteX1339" fmla="*/ 612676 w 1526442"/>
                <a:gd name="connsiteY1339" fmla="*/ 117107 h 1683492"/>
                <a:gd name="connsiteX1340" fmla="*/ 614699 w 1526442"/>
                <a:gd name="connsiteY1340" fmla="*/ 112173 h 1683492"/>
                <a:gd name="connsiteX1341" fmla="*/ 614699 w 1526442"/>
                <a:gd name="connsiteY1341" fmla="*/ 105117 h 1683492"/>
                <a:gd name="connsiteX1342" fmla="*/ 608482 w 1526442"/>
                <a:gd name="connsiteY1342" fmla="*/ 101861 h 1683492"/>
                <a:gd name="connsiteX1343" fmla="*/ 608482 w 1526442"/>
                <a:gd name="connsiteY1343" fmla="*/ 96927 h 1683492"/>
                <a:gd name="connsiteX1344" fmla="*/ 610554 w 1526442"/>
                <a:gd name="connsiteY1344" fmla="*/ 95299 h 1683492"/>
                <a:gd name="connsiteX1345" fmla="*/ 616820 w 1526442"/>
                <a:gd name="connsiteY1345" fmla="*/ 96927 h 1683492"/>
                <a:gd name="connsiteX1346" fmla="*/ 623087 w 1526442"/>
                <a:gd name="connsiteY1346" fmla="*/ 98555 h 1683492"/>
                <a:gd name="connsiteX1347" fmla="*/ 627231 w 1526442"/>
                <a:gd name="connsiteY1347" fmla="*/ 95299 h 1683492"/>
                <a:gd name="connsiteX1348" fmla="*/ 635521 w 1526442"/>
                <a:gd name="connsiteY1348" fmla="*/ 93670 h 1683492"/>
                <a:gd name="connsiteX1349" fmla="*/ 645981 w 1526442"/>
                <a:gd name="connsiteY1349" fmla="*/ 95299 h 1683492"/>
                <a:gd name="connsiteX1350" fmla="*/ 645981 w 1526442"/>
                <a:gd name="connsiteY1350" fmla="*/ 113061 h 1683492"/>
                <a:gd name="connsiteX1351" fmla="*/ 641836 w 1526442"/>
                <a:gd name="connsiteY1351" fmla="*/ 121153 h 1683492"/>
                <a:gd name="connsiteX1352" fmla="*/ 641836 w 1526442"/>
                <a:gd name="connsiteY1352" fmla="*/ 127617 h 1683492"/>
                <a:gd name="connsiteX1353" fmla="*/ 637642 w 1526442"/>
                <a:gd name="connsiteY1353" fmla="*/ 137485 h 1683492"/>
                <a:gd name="connsiteX1354" fmla="*/ 635521 w 1526442"/>
                <a:gd name="connsiteY1354" fmla="*/ 142419 h 1683492"/>
                <a:gd name="connsiteX1355" fmla="*/ 635521 w 1526442"/>
                <a:gd name="connsiteY1355" fmla="*/ 147353 h 1683492"/>
                <a:gd name="connsiteX1356" fmla="*/ 633497 w 1526442"/>
                <a:gd name="connsiteY1356" fmla="*/ 150560 h 1683492"/>
                <a:gd name="connsiteX1357" fmla="*/ 627231 w 1526442"/>
                <a:gd name="connsiteY1357" fmla="*/ 152188 h 1683492"/>
                <a:gd name="connsiteX1358" fmla="*/ 625110 w 1526442"/>
                <a:gd name="connsiteY1358" fmla="*/ 155395 h 1683492"/>
                <a:gd name="connsiteX1359" fmla="*/ 629304 w 1526442"/>
                <a:gd name="connsiteY1359" fmla="*/ 158652 h 1683492"/>
                <a:gd name="connsiteX1360" fmla="*/ 631425 w 1526442"/>
                <a:gd name="connsiteY1360" fmla="*/ 161859 h 1683492"/>
                <a:gd name="connsiteX1361" fmla="*/ 627231 w 1526442"/>
                <a:gd name="connsiteY1361" fmla="*/ 166793 h 1683492"/>
                <a:gd name="connsiteX1362" fmla="*/ 623087 w 1526442"/>
                <a:gd name="connsiteY1362" fmla="*/ 171727 h 1683492"/>
                <a:gd name="connsiteX1363" fmla="*/ 618893 w 1526442"/>
                <a:gd name="connsiteY1363" fmla="*/ 178190 h 1683492"/>
                <a:gd name="connsiteX1364" fmla="*/ 612676 w 1526442"/>
                <a:gd name="connsiteY1364" fmla="*/ 181398 h 1683492"/>
                <a:gd name="connsiteX1365" fmla="*/ 610554 w 1526442"/>
                <a:gd name="connsiteY1365" fmla="*/ 184654 h 1683492"/>
                <a:gd name="connsiteX1366" fmla="*/ 608482 w 1526442"/>
                <a:gd name="connsiteY1366" fmla="*/ 191118 h 1683492"/>
                <a:gd name="connsiteX1367" fmla="*/ 604288 w 1526442"/>
                <a:gd name="connsiteY1367" fmla="*/ 197581 h 1683492"/>
                <a:gd name="connsiteX1368" fmla="*/ 602265 w 1526442"/>
                <a:gd name="connsiteY1368" fmla="*/ 202515 h 1683492"/>
                <a:gd name="connsiteX1369" fmla="*/ 604288 w 1526442"/>
                <a:gd name="connsiteY1369" fmla="*/ 204094 h 1683492"/>
                <a:gd name="connsiteX1370" fmla="*/ 608482 w 1526442"/>
                <a:gd name="connsiteY1370" fmla="*/ 204094 h 1683492"/>
                <a:gd name="connsiteX1371" fmla="*/ 612676 w 1526442"/>
                <a:gd name="connsiteY1371" fmla="*/ 197680 h 1683492"/>
                <a:gd name="connsiteX1372" fmla="*/ 616820 w 1526442"/>
                <a:gd name="connsiteY1372" fmla="*/ 194423 h 1683492"/>
                <a:gd name="connsiteX1373" fmla="*/ 616820 w 1526442"/>
                <a:gd name="connsiteY1373" fmla="*/ 191216 h 1683492"/>
                <a:gd name="connsiteX1374" fmla="*/ 623087 w 1526442"/>
                <a:gd name="connsiteY1374" fmla="*/ 186282 h 1683492"/>
                <a:gd name="connsiteX1375" fmla="*/ 629304 w 1526442"/>
                <a:gd name="connsiteY1375" fmla="*/ 178240 h 1683492"/>
                <a:gd name="connsiteX1376" fmla="*/ 631425 w 1526442"/>
                <a:gd name="connsiteY1376" fmla="*/ 173306 h 1683492"/>
                <a:gd name="connsiteX1377" fmla="*/ 635521 w 1526442"/>
                <a:gd name="connsiteY1377" fmla="*/ 171678 h 1683492"/>
                <a:gd name="connsiteX1378" fmla="*/ 639714 w 1526442"/>
                <a:gd name="connsiteY1378" fmla="*/ 168421 h 1683492"/>
                <a:gd name="connsiteX1379" fmla="*/ 641836 w 1526442"/>
                <a:gd name="connsiteY1379" fmla="*/ 165214 h 1683492"/>
                <a:gd name="connsiteX1380" fmla="*/ 641836 w 1526442"/>
                <a:gd name="connsiteY1380" fmla="*/ 160280 h 1683492"/>
                <a:gd name="connsiteX1381" fmla="*/ 645981 w 1526442"/>
                <a:gd name="connsiteY1381" fmla="*/ 157023 h 1683492"/>
                <a:gd name="connsiteX1382" fmla="*/ 648053 w 1526442"/>
                <a:gd name="connsiteY1382" fmla="*/ 152089 h 1683492"/>
                <a:gd name="connsiteX1383" fmla="*/ 652247 w 1526442"/>
                <a:gd name="connsiteY1383" fmla="*/ 148833 h 1683492"/>
                <a:gd name="connsiteX1384" fmla="*/ 654319 w 1526442"/>
                <a:gd name="connsiteY1384" fmla="*/ 152089 h 1683492"/>
                <a:gd name="connsiteX1385" fmla="*/ 654319 w 1526442"/>
                <a:gd name="connsiteY1385" fmla="*/ 157023 h 1683492"/>
                <a:gd name="connsiteX1386" fmla="*/ 658464 w 1526442"/>
                <a:gd name="connsiteY1386" fmla="*/ 161957 h 1683492"/>
                <a:gd name="connsiteX1387" fmla="*/ 660536 w 1526442"/>
                <a:gd name="connsiteY1387" fmla="*/ 166892 h 1683492"/>
                <a:gd name="connsiteX1388" fmla="*/ 662658 w 1526442"/>
                <a:gd name="connsiteY1388" fmla="*/ 173355 h 1683492"/>
                <a:gd name="connsiteX1389" fmla="*/ 668875 w 1526442"/>
                <a:gd name="connsiteY1389" fmla="*/ 179769 h 1683492"/>
                <a:gd name="connsiteX1390" fmla="*/ 668875 w 1526442"/>
                <a:gd name="connsiteY1390" fmla="*/ 187861 h 1683492"/>
                <a:gd name="connsiteX1391" fmla="*/ 673069 w 1526442"/>
                <a:gd name="connsiteY1391" fmla="*/ 191118 h 1683492"/>
                <a:gd name="connsiteX1392" fmla="*/ 677213 w 1526442"/>
                <a:gd name="connsiteY1392" fmla="*/ 191118 h 1683492"/>
                <a:gd name="connsiteX1393" fmla="*/ 679285 w 1526442"/>
                <a:gd name="connsiteY1393" fmla="*/ 192696 h 1683492"/>
                <a:gd name="connsiteX1394" fmla="*/ 683479 w 1526442"/>
                <a:gd name="connsiteY1394" fmla="*/ 192696 h 1683492"/>
                <a:gd name="connsiteX1395" fmla="*/ 683479 w 1526442"/>
                <a:gd name="connsiteY1395" fmla="*/ 191118 h 1683492"/>
                <a:gd name="connsiteX1396" fmla="*/ 685552 w 1526442"/>
                <a:gd name="connsiteY1396" fmla="*/ 187861 h 1683492"/>
                <a:gd name="connsiteX1397" fmla="*/ 685552 w 1526442"/>
                <a:gd name="connsiteY1397" fmla="*/ 184654 h 1683492"/>
                <a:gd name="connsiteX1398" fmla="*/ 679285 w 1526442"/>
                <a:gd name="connsiteY1398" fmla="*/ 181398 h 1683492"/>
                <a:gd name="connsiteX1399" fmla="*/ 679285 w 1526442"/>
                <a:gd name="connsiteY1399" fmla="*/ 176464 h 1683492"/>
                <a:gd name="connsiteX1400" fmla="*/ 679285 w 1526442"/>
                <a:gd name="connsiteY1400" fmla="*/ 176464 h 1683492"/>
                <a:gd name="connsiteX1401" fmla="*/ 683479 w 1526442"/>
                <a:gd name="connsiteY1401" fmla="*/ 174835 h 1683492"/>
                <a:gd name="connsiteX1402" fmla="*/ 687624 w 1526442"/>
                <a:gd name="connsiteY1402" fmla="*/ 179769 h 1683492"/>
                <a:gd name="connsiteX1403" fmla="*/ 695963 w 1526442"/>
                <a:gd name="connsiteY1403" fmla="*/ 179769 h 1683492"/>
                <a:gd name="connsiteX1404" fmla="*/ 700107 w 1526442"/>
                <a:gd name="connsiteY1404" fmla="*/ 181398 h 1683492"/>
                <a:gd name="connsiteX1405" fmla="*/ 702179 w 1526442"/>
                <a:gd name="connsiteY1405" fmla="*/ 184654 h 1683492"/>
                <a:gd name="connsiteX1406" fmla="*/ 706373 w 1526442"/>
                <a:gd name="connsiteY1406" fmla="*/ 184654 h 1683492"/>
                <a:gd name="connsiteX1407" fmla="*/ 708446 w 1526442"/>
                <a:gd name="connsiteY1407" fmla="*/ 183026 h 1683492"/>
                <a:gd name="connsiteX1408" fmla="*/ 712590 w 1526442"/>
                <a:gd name="connsiteY1408" fmla="*/ 183026 h 1683492"/>
                <a:gd name="connsiteX1409" fmla="*/ 714711 w 1526442"/>
                <a:gd name="connsiteY1409" fmla="*/ 186233 h 1683492"/>
                <a:gd name="connsiteX1410" fmla="*/ 716784 w 1526442"/>
                <a:gd name="connsiteY1410" fmla="*/ 184654 h 1683492"/>
                <a:gd name="connsiteX1411" fmla="*/ 716784 w 1526442"/>
                <a:gd name="connsiteY1411" fmla="*/ 172960 h 1683492"/>
                <a:gd name="connsiteX1412" fmla="*/ 714711 w 1526442"/>
                <a:gd name="connsiteY1412" fmla="*/ 168026 h 1683492"/>
                <a:gd name="connsiteX1413" fmla="*/ 718857 w 1526442"/>
                <a:gd name="connsiteY1413" fmla="*/ 159984 h 1683492"/>
                <a:gd name="connsiteX1414" fmla="*/ 718857 w 1526442"/>
                <a:gd name="connsiteY1414" fmla="*/ 150116 h 1683492"/>
                <a:gd name="connsiteX1415" fmla="*/ 716192 w 1526442"/>
                <a:gd name="connsiteY1415" fmla="*/ 147106 h 1683492"/>
                <a:gd name="connsiteX1416" fmla="*/ 714119 w 1526442"/>
                <a:gd name="connsiteY1416" fmla="*/ 139014 h 1683492"/>
                <a:gd name="connsiteX1417" fmla="*/ 714119 w 1526442"/>
                <a:gd name="connsiteY1417" fmla="*/ 132551 h 1683492"/>
                <a:gd name="connsiteX1418" fmla="*/ 718264 w 1526442"/>
                <a:gd name="connsiteY1418" fmla="*/ 121252 h 1683492"/>
                <a:gd name="connsiteX1419" fmla="*/ 720336 w 1526442"/>
                <a:gd name="connsiteY1419" fmla="*/ 117995 h 1683492"/>
                <a:gd name="connsiteX1420" fmla="*/ 718264 w 1526442"/>
                <a:gd name="connsiteY1420" fmla="*/ 113061 h 1683492"/>
                <a:gd name="connsiteX1421" fmla="*/ 720336 w 1526442"/>
                <a:gd name="connsiteY1421" fmla="*/ 111482 h 1683492"/>
                <a:gd name="connsiteX1422" fmla="*/ 720336 w 1526442"/>
                <a:gd name="connsiteY1422" fmla="*/ 103489 h 1683492"/>
                <a:gd name="connsiteX1423" fmla="*/ 724530 w 1526442"/>
                <a:gd name="connsiteY1423" fmla="*/ 100233 h 1683492"/>
                <a:gd name="connsiteX1424" fmla="*/ 730747 w 1526442"/>
                <a:gd name="connsiteY1424" fmla="*/ 98654 h 1683492"/>
                <a:gd name="connsiteX1425" fmla="*/ 734942 w 1526442"/>
                <a:gd name="connsiteY1425" fmla="*/ 101861 h 1683492"/>
                <a:gd name="connsiteX1426" fmla="*/ 739086 w 1526442"/>
                <a:gd name="connsiteY1426" fmla="*/ 103489 h 1683492"/>
                <a:gd name="connsiteX1427" fmla="*/ 745352 w 1526442"/>
                <a:gd name="connsiteY1427" fmla="*/ 103489 h 1683492"/>
                <a:gd name="connsiteX1428" fmla="*/ 747424 w 1526442"/>
                <a:gd name="connsiteY1428" fmla="*/ 108423 h 1683492"/>
                <a:gd name="connsiteX1429" fmla="*/ 751569 w 1526442"/>
                <a:gd name="connsiteY1429" fmla="*/ 110051 h 1683492"/>
                <a:gd name="connsiteX1430" fmla="*/ 755763 w 1526442"/>
                <a:gd name="connsiteY1430" fmla="*/ 116515 h 1683492"/>
                <a:gd name="connsiteX1431" fmla="*/ 761980 w 1526442"/>
                <a:gd name="connsiteY1431" fmla="*/ 127814 h 1683492"/>
                <a:gd name="connsiteX1432" fmla="*/ 761980 w 1526442"/>
                <a:gd name="connsiteY1432" fmla="*/ 134278 h 1683492"/>
                <a:gd name="connsiteX1433" fmla="*/ 768197 w 1526442"/>
                <a:gd name="connsiteY1433" fmla="*/ 142320 h 1683492"/>
                <a:gd name="connsiteX1434" fmla="*/ 772391 w 1526442"/>
                <a:gd name="connsiteY1434" fmla="*/ 150412 h 1683492"/>
                <a:gd name="connsiteX1435" fmla="*/ 774512 w 1526442"/>
                <a:gd name="connsiteY1435" fmla="*/ 164967 h 1683492"/>
                <a:gd name="connsiteX1436" fmla="*/ 772391 w 1526442"/>
                <a:gd name="connsiteY1436" fmla="*/ 168174 h 1683492"/>
                <a:gd name="connsiteX1437" fmla="*/ 768197 w 1526442"/>
                <a:gd name="connsiteY1437" fmla="*/ 171431 h 1683492"/>
                <a:gd name="connsiteX1438" fmla="*/ 768197 w 1526442"/>
                <a:gd name="connsiteY1438" fmla="*/ 176365 h 1683492"/>
                <a:gd name="connsiteX1439" fmla="*/ 770318 w 1526442"/>
                <a:gd name="connsiteY1439" fmla="*/ 182828 h 1683492"/>
                <a:gd name="connsiteX1440" fmla="*/ 774512 w 1526442"/>
                <a:gd name="connsiteY1440" fmla="*/ 184457 h 1683492"/>
                <a:gd name="connsiteX1441" fmla="*/ 778657 w 1526442"/>
                <a:gd name="connsiteY1441" fmla="*/ 195756 h 1683492"/>
                <a:gd name="connsiteX1442" fmla="*/ 776584 w 1526442"/>
                <a:gd name="connsiteY1442" fmla="*/ 202219 h 1683492"/>
                <a:gd name="connsiteX1443" fmla="*/ 776584 w 1526442"/>
                <a:gd name="connsiteY1443" fmla="*/ 207153 h 1683492"/>
                <a:gd name="connsiteX1444" fmla="*/ 780729 w 1526442"/>
                <a:gd name="connsiteY1444" fmla="*/ 212087 h 1683492"/>
                <a:gd name="connsiteX1445" fmla="*/ 786995 w 1526442"/>
                <a:gd name="connsiteY1445" fmla="*/ 212087 h 1683492"/>
                <a:gd name="connsiteX1446" fmla="*/ 793212 w 1526442"/>
                <a:gd name="connsiteY1446" fmla="*/ 217021 h 1683492"/>
                <a:gd name="connsiteX1447" fmla="*/ 799478 w 1526442"/>
                <a:gd name="connsiteY1447" fmla="*/ 217021 h 1683492"/>
                <a:gd name="connsiteX1448" fmla="*/ 807817 w 1526442"/>
                <a:gd name="connsiteY1448" fmla="*/ 215442 h 1683492"/>
                <a:gd name="connsiteX1449" fmla="*/ 811962 w 1526442"/>
                <a:gd name="connsiteY1449" fmla="*/ 207351 h 1683492"/>
                <a:gd name="connsiteX1450" fmla="*/ 816156 w 1526442"/>
                <a:gd name="connsiteY1450" fmla="*/ 204094 h 1683492"/>
                <a:gd name="connsiteX1451" fmla="*/ 816156 w 1526442"/>
                <a:gd name="connsiteY1451" fmla="*/ 210558 h 1683492"/>
                <a:gd name="connsiteX1452" fmla="*/ 818228 w 1526442"/>
                <a:gd name="connsiteY1452" fmla="*/ 213814 h 1683492"/>
                <a:gd name="connsiteX1453" fmla="*/ 820300 w 1526442"/>
                <a:gd name="connsiteY1453" fmla="*/ 213814 h 1683492"/>
                <a:gd name="connsiteX1454" fmla="*/ 824444 w 1526442"/>
                <a:gd name="connsiteY1454" fmla="*/ 212186 h 1683492"/>
                <a:gd name="connsiteX1455" fmla="*/ 830711 w 1526442"/>
                <a:gd name="connsiteY1455" fmla="*/ 213814 h 1683492"/>
                <a:gd name="connsiteX1456" fmla="*/ 832783 w 1526442"/>
                <a:gd name="connsiteY1456" fmla="*/ 217021 h 1683492"/>
                <a:gd name="connsiteX1457" fmla="*/ 830711 w 1526442"/>
                <a:gd name="connsiteY1457" fmla="*/ 220278 h 1683492"/>
                <a:gd name="connsiteX1458" fmla="*/ 834856 w 1526442"/>
                <a:gd name="connsiteY1458" fmla="*/ 223485 h 1683492"/>
                <a:gd name="connsiteX1459" fmla="*/ 839050 w 1526442"/>
                <a:gd name="connsiteY1459" fmla="*/ 223485 h 1683492"/>
                <a:gd name="connsiteX1460" fmla="*/ 843194 w 1526442"/>
                <a:gd name="connsiteY1460" fmla="*/ 225113 h 1683492"/>
                <a:gd name="connsiteX1461" fmla="*/ 849411 w 1526442"/>
                <a:gd name="connsiteY1461" fmla="*/ 225113 h 1683492"/>
                <a:gd name="connsiteX1462" fmla="*/ 851483 w 1526442"/>
                <a:gd name="connsiteY1462" fmla="*/ 223485 h 1683492"/>
                <a:gd name="connsiteX1463" fmla="*/ 849411 w 1526442"/>
                <a:gd name="connsiteY1463" fmla="*/ 221906 h 1683492"/>
                <a:gd name="connsiteX1464" fmla="*/ 843145 w 1526442"/>
                <a:gd name="connsiteY1464" fmla="*/ 218650 h 1683492"/>
                <a:gd name="connsiteX1465" fmla="*/ 841073 w 1526442"/>
                <a:gd name="connsiteY1465" fmla="*/ 215442 h 1683492"/>
                <a:gd name="connsiteX1466" fmla="*/ 841073 w 1526442"/>
                <a:gd name="connsiteY1466" fmla="*/ 212186 h 1683492"/>
                <a:gd name="connsiteX1467" fmla="*/ 836928 w 1526442"/>
                <a:gd name="connsiteY1467" fmla="*/ 210558 h 1683492"/>
                <a:gd name="connsiteX1468" fmla="*/ 832734 w 1526442"/>
                <a:gd name="connsiteY1468" fmla="*/ 208979 h 1683492"/>
                <a:gd name="connsiteX1469" fmla="*/ 832734 w 1526442"/>
                <a:gd name="connsiteY1469" fmla="*/ 202022 h 1683492"/>
                <a:gd name="connsiteX1470" fmla="*/ 830661 w 1526442"/>
                <a:gd name="connsiteY1470" fmla="*/ 197088 h 1683492"/>
                <a:gd name="connsiteX1471" fmla="*/ 822323 w 1526442"/>
                <a:gd name="connsiteY1471" fmla="*/ 192154 h 1683492"/>
                <a:gd name="connsiteX1472" fmla="*/ 822323 w 1526442"/>
                <a:gd name="connsiteY1472" fmla="*/ 188947 h 1683492"/>
                <a:gd name="connsiteX1473" fmla="*/ 820251 w 1526442"/>
                <a:gd name="connsiteY1473" fmla="*/ 180855 h 1683492"/>
                <a:gd name="connsiteX1474" fmla="*/ 816106 w 1526442"/>
                <a:gd name="connsiteY1474" fmla="*/ 175921 h 1683492"/>
                <a:gd name="connsiteX1475" fmla="*/ 816106 w 1526442"/>
                <a:gd name="connsiteY1475" fmla="*/ 172714 h 1683492"/>
                <a:gd name="connsiteX1476" fmla="*/ 818179 w 1526442"/>
                <a:gd name="connsiteY1476" fmla="*/ 164622 h 1683492"/>
                <a:gd name="connsiteX1477" fmla="*/ 816106 w 1526442"/>
                <a:gd name="connsiteY1477" fmla="*/ 158158 h 1683492"/>
                <a:gd name="connsiteX1478" fmla="*/ 811912 w 1526442"/>
                <a:gd name="connsiteY1478" fmla="*/ 150066 h 1683492"/>
                <a:gd name="connsiteX1479" fmla="*/ 811912 w 1526442"/>
                <a:gd name="connsiteY1479" fmla="*/ 145132 h 1683492"/>
                <a:gd name="connsiteX1480" fmla="*/ 813984 w 1526442"/>
                <a:gd name="connsiteY1480" fmla="*/ 141876 h 1683492"/>
                <a:gd name="connsiteX1481" fmla="*/ 811912 w 1526442"/>
                <a:gd name="connsiteY1481" fmla="*/ 133833 h 1683492"/>
                <a:gd name="connsiteX1482" fmla="*/ 809840 w 1526442"/>
                <a:gd name="connsiteY1482" fmla="*/ 132205 h 1683492"/>
                <a:gd name="connsiteX1483" fmla="*/ 809840 w 1526442"/>
                <a:gd name="connsiteY1483" fmla="*/ 126087 h 1683492"/>
                <a:gd name="connsiteX1484" fmla="*/ 805695 w 1526442"/>
                <a:gd name="connsiteY1484" fmla="*/ 117995 h 1683492"/>
                <a:gd name="connsiteX1485" fmla="*/ 803573 w 1526442"/>
                <a:gd name="connsiteY1485" fmla="*/ 111581 h 1683492"/>
                <a:gd name="connsiteX1486" fmla="*/ 805695 w 1526442"/>
                <a:gd name="connsiteY1486" fmla="*/ 106647 h 1683492"/>
                <a:gd name="connsiteX1487" fmla="*/ 801502 w 1526442"/>
                <a:gd name="connsiteY1487" fmla="*/ 100183 h 1683492"/>
                <a:gd name="connsiteX1488" fmla="*/ 801502 w 1526442"/>
                <a:gd name="connsiteY1488" fmla="*/ 93769 h 1683492"/>
                <a:gd name="connsiteX1489" fmla="*/ 803573 w 1526442"/>
                <a:gd name="connsiteY1489" fmla="*/ 92190 h 1683492"/>
                <a:gd name="connsiteX1490" fmla="*/ 816106 w 1526442"/>
                <a:gd name="connsiteY1490" fmla="*/ 93769 h 1683492"/>
                <a:gd name="connsiteX1491" fmla="*/ 818179 w 1526442"/>
                <a:gd name="connsiteY1491" fmla="*/ 97026 h 1683492"/>
                <a:gd name="connsiteX1492" fmla="*/ 822323 w 1526442"/>
                <a:gd name="connsiteY1492" fmla="*/ 97026 h 1683492"/>
                <a:gd name="connsiteX1493" fmla="*/ 824396 w 1526442"/>
                <a:gd name="connsiteY1493" fmla="*/ 93769 h 1683492"/>
                <a:gd name="connsiteX1494" fmla="*/ 828589 w 1526442"/>
                <a:gd name="connsiteY1494" fmla="*/ 93769 h 1683492"/>
                <a:gd name="connsiteX1495" fmla="*/ 839000 w 1526442"/>
                <a:gd name="connsiteY1495" fmla="*/ 105117 h 1683492"/>
                <a:gd name="connsiteX1496" fmla="*/ 849411 w 1526442"/>
                <a:gd name="connsiteY1496" fmla="*/ 110051 h 1683492"/>
                <a:gd name="connsiteX1497" fmla="*/ 853555 w 1526442"/>
                <a:gd name="connsiteY1497" fmla="*/ 106795 h 1683492"/>
                <a:gd name="connsiteX1498" fmla="*/ 853555 w 1526442"/>
                <a:gd name="connsiteY1498" fmla="*/ 100233 h 1683492"/>
                <a:gd name="connsiteX1499" fmla="*/ 849411 w 1526442"/>
                <a:gd name="connsiteY1499" fmla="*/ 98654 h 1683492"/>
                <a:gd name="connsiteX1500" fmla="*/ 853555 w 1526442"/>
                <a:gd name="connsiteY1500" fmla="*/ 88786 h 1683492"/>
                <a:gd name="connsiteX1501" fmla="*/ 857749 w 1526442"/>
                <a:gd name="connsiteY1501" fmla="*/ 88786 h 1683492"/>
                <a:gd name="connsiteX1502" fmla="*/ 863966 w 1526442"/>
                <a:gd name="connsiteY1502" fmla="*/ 90414 h 1683492"/>
                <a:gd name="connsiteX1503" fmla="*/ 870232 w 1526442"/>
                <a:gd name="connsiteY1503" fmla="*/ 88786 h 1683492"/>
                <a:gd name="connsiteX1504" fmla="*/ 876449 w 1526442"/>
                <a:gd name="connsiteY1504" fmla="*/ 85579 h 1683492"/>
                <a:gd name="connsiteX1505" fmla="*/ 884788 w 1526442"/>
                <a:gd name="connsiteY1505" fmla="*/ 87157 h 1683492"/>
                <a:gd name="connsiteX1506" fmla="*/ 888982 w 1526442"/>
                <a:gd name="connsiteY1506" fmla="*/ 90414 h 1683492"/>
                <a:gd name="connsiteX1507" fmla="*/ 895199 w 1526442"/>
                <a:gd name="connsiteY1507" fmla="*/ 92042 h 1683492"/>
                <a:gd name="connsiteX1508" fmla="*/ 897320 w 1526442"/>
                <a:gd name="connsiteY1508" fmla="*/ 93621 h 1683492"/>
                <a:gd name="connsiteX1509" fmla="*/ 901465 w 1526442"/>
                <a:gd name="connsiteY1509" fmla="*/ 103489 h 1683492"/>
                <a:gd name="connsiteX1510" fmla="*/ 901465 w 1526442"/>
                <a:gd name="connsiteY1510" fmla="*/ 106696 h 1683492"/>
                <a:gd name="connsiteX1511" fmla="*/ 907731 w 1526442"/>
                <a:gd name="connsiteY1511" fmla="*/ 113160 h 1683492"/>
                <a:gd name="connsiteX1512" fmla="*/ 907731 w 1526442"/>
                <a:gd name="connsiteY1512" fmla="*/ 119623 h 1683492"/>
                <a:gd name="connsiteX1513" fmla="*/ 905610 w 1526442"/>
                <a:gd name="connsiteY1513" fmla="*/ 124557 h 1683492"/>
                <a:gd name="connsiteX1514" fmla="*/ 909803 w 1526442"/>
                <a:gd name="connsiteY1514" fmla="*/ 135906 h 1683492"/>
                <a:gd name="connsiteX1515" fmla="*/ 909803 w 1526442"/>
                <a:gd name="connsiteY1515" fmla="*/ 142172 h 1683492"/>
                <a:gd name="connsiteX1516" fmla="*/ 911876 w 1526442"/>
                <a:gd name="connsiteY1516" fmla="*/ 147106 h 1683492"/>
                <a:gd name="connsiteX1517" fmla="*/ 918142 w 1526442"/>
                <a:gd name="connsiteY1517" fmla="*/ 148685 h 1683492"/>
                <a:gd name="connsiteX1518" fmla="*/ 926431 w 1526442"/>
                <a:gd name="connsiteY1518" fmla="*/ 148685 h 1683492"/>
                <a:gd name="connsiteX1519" fmla="*/ 934770 w 1526442"/>
                <a:gd name="connsiteY1519" fmla="*/ 153619 h 1683492"/>
                <a:gd name="connsiteX1520" fmla="*/ 943108 w 1526442"/>
                <a:gd name="connsiteY1520" fmla="*/ 160083 h 1683492"/>
                <a:gd name="connsiteX1521" fmla="*/ 943108 w 1526442"/>
                <a:gd name="connsiteY1521" fmla="*/ 152040 h 1683492"/>
                <a:gd name="connsiteX1522" fmla="*/ 934770 w 1526442"/>
                <a:gd name="connsiteY1522" fmla="*/ 148784 h 1683492"/>
                <a:gd name="connsiteX1523" fmla="*/ 930625 w 1526442"/>
                <a:gd name="connsiteY1523" fmla="*/ 143850 h 1683492"/>
                <a:gd name="connsiteX1524" fmla="*/ 924359 w 1526442"/>
                <a:gd name="connsiteY1524" fmla="*/ 143850 h 1683492"/>
                <a:gd name="connsiteX1525" fmla="*/ 918142 w 1526442"/>
                <a:gd name="connsiteY1525" fmla="*/ 140642 h 1683492"/>
                <a:gd name="connsiteX1526" fmla="*/ 916020 w 1526442"/>
                <a:gd name="connsiteY1526" fmla="*/ 137386 h 1683492"/>
                <a:gd name="connsiteX1527" fmla="*/ 916020 w 1526442"/>
                <a:gd name="connsiteY1527" fmla="*/ 129343 h 1683492"/>
                <a:gd name="connsiteX1528" fmla="*/ 911876 w 1526442"/>
                <a:gd name="connsiteY1528" fmla="*/ 122880 h 1683492"/>
                <a:gd name="connsiteX1529" fmla="*/ 911876 w 1526442"/>
                <a:gd name="connsiteY1529" fmla="*/ 119623 h 1683492"/>
                <a:gd name="connsiteX1530" fmla="*/ 916020 w 1526442"/>
                <a:gd name="connsiteY1530" fmla="*/ 111581 h 1683492"/>
                <a:gd name="connsiteX1531" fmla="*/ 913948 w 1526442"/>
                <a:gd name="connsiteY1531" fmla="*/ 105117 h 1683492"/>
                <a:gd name="connsiteX1532" fmla="*/ 916020 w 1526442"/>
                <a:gd name="connsiteY1532" fmla="*/ 100183 h 1683492"/>
                <a:gd name="connsiteX1533" fmla="*/ 916020 w 1526442"/>
                <a:gd name="connsiteY1533" fmla="*/ 96976 h 1683492"/>
                <a:gd name="connsiteX1534" fmla="*/ 913948 w 1526442"/>
                <a:gd name="connsiteY1534" fmla="*/ 93720 h 1683492"/>
                <a:gd name="connsiteX1535" fmla="*/ 907731 w 1526442"/>
                <a:gd name="connsiteY1535" fmla="*/ 90513 h 1683492"/>
                <a:gd name="connsiteX1536" fmla="*/ 899393 w 1526442"/>
                <a:gd name="connsiteY1536" fmla="*/ 82421 h 1683492"/>
                <a:gd name="connsiteX1537" fmla="*/ 895199 w 1526442"/>
                <a:gd name="connsiteY1537" fmla="*/ 80793 h 1683492"/>
                <a:gd name="connsiteX1538" fmla="*/ 888982 w 1526442"/>
                <a:gd name="connsiteY1538" fmla="*/ 80793 h 1683492"/>
                <a:gd name="connsiteX1539" fmla="*/ 882716 w 1526442"/>
                <a:gd name="connsiteY1539" fmla="*/ 84049 h 1683492"/>
                <a:gd name="connsiteX1540" fmla="*/ 878571 w 1526442"/>
                <a:gd name="connsiteY1540" fmla="*/ 84049 h 1683492"/>
                <a:gd name="connsiteX1541" fmla="*/ 870232 w 1526442"/>
                <a:gd name="connsiteY1541" fmla="*/ 80793 h 1683492"/>
                <a:gd name="connsiteX1542" fmla="*/ 870232 w 1526442"/>
                <a:gd name="connsiteY1542" fmla="*/ 72799 h 1683492"/>
                <a:gd name="connsiteX1543" fmla="*/ 874377 w 1526442"/>
                <a:gd name="connsiteY1543" fmla="*/ 66336 h 1683492"/>
                <a:gd name="connsiteX1544" fmla="*/ 880643 w 1526442"/>
                <a:gd name="connsiteY1544" fmla="*/ 66336 h 1683492"/>
                <a:gd name="connsiteX1545" fmla="*/ 880643 w 1526442"/>
                <a:gd name="connsiteY1545" fmla="*/ 63227 h 1683492"/>
                <a:gd name="connsiteX1546" fmla="*/ 870232 w 1526442"/>
                <a:gd name="connsiteY1546" fmla="*/ 56764 h 1683492"/>
                <a:gd name="connsiteX1547" fmla="*/ 868160 w 1526442"/>
                <a:gd name="connsiteY1547" fmla="*/ 50300 h 1683492"/>
                <a:gd name="connsiteX1548" fmla="*/ 870232 w 1526442"/>
                <a:gd name="connsiteY1548" fmla="*/ 45366 h 1683492"/>
                <a:gd name="connsiteX1549" fmla="*/ 872305 w 1526442"/>
                <a:gd name="connsiteY1549" fmla="*/ 40432 h 1683492"/>
                <a:gd name="connsiteX1550" fmla="*/ 874377 w 1526442"/>
                <a:gd name="connsiteY1550" fmla="*/ 40432 h 1683492"/>
                <a:gd name="connsiteX1551" fmla="*/ 880643 w 1526442"/>
                <a:gd name="connsiteY1551" fmla="*/ 45366 h 1683492"/>
                <a:gd name="connsiteX1552" fmla="*/ 884788 w 1526442"/>
                <a:gd name="connsiteY1552" fmla="*/ 51830 h 1683492"/>
                <a:gd name="connsiteX1553" fmla="*/ 886860 w 1526442"/>
                <a:gd name="connsiteY1553" fmla="*/ 51830 h 1683492"/>
                <a:gd name="connsiteX1554" fmla="*/ 893126 w 1526442"/>
                <a:gd name="connsiteY1554" fmla="*/ 41962 h 1683492"/>
                <a:gd name="connsiteX1555" fmla="*/ 899393 w 1526442"/>
                <a:gd name="connsiteY1555" fmla="*/ 40334 h 1683492"/>
                <a:gd name="connsiteX1556" fmla="*/ 905610 w 1526442"/>
                <a:gd name="connsiteY1556" fmla="*/ 37126 h 1683492"/>
                <a:gd name="connsiteX1557" fmla="*/ 907731 w 1526442"/>
                <a:gd name="connsiteY1557" fmla="*/ 33870 h 1683492"/>
                <a:gd name="connsiteX1558" fmla="*/ 913948 w 1526442"/>
                <a:gd name="connsiteY1558" fmla="*/ 27406 h 1683492"/>
                <a:gd name="connsiteX1559" fmla="*/ 920214 w 1526442"/>
                <a:gd name="connsiteY1559" fmla="*/ 25778 h 1683492"/>
                <a:gd name="connsiteX1560" fmla="*/ 916020 w 1526442"/>
                <a:gd name="connsiteY1560" fmla="*/ 30712 h 1683492"/>
                <a:gd name="connsiteX1561" fmla="*/ 913948 w 1526442"/>
                <a:gd name="connsiteY1561" fmla="*/ 33919 h 1683492"/>
                <a:gd name="connsiteX1562" fmla="*/ 913948 w 1526442"/>
                <a:gd name="connsiteY1562" fmla="*/ 37176 h 1683492"/>
                <a:gd name="connsiteX1563" fmla="*/ 920214 w 1526442"/>
                <a:gd name="connsiteY1563" fmla="*/ 33919 h 1683492"/>
                <a:gd name="connsiteX1564" fmla="*/ 926431 w 1526442"/>
                <a:gd name="connsiteY1564" fmla="*/ 33919 h 1683492"/>
                <a:gd name="connsiteX1565" fmla="*/ 928553 w 1526442"/>
                <a:gd name="connsiteY1565" fmla="*/ 37176 h 1683492"/>
                <a:gd name="connsiteX1566" fmla="*/ 930625 w 1526442"/>
                <a:gd name="connsiteY1566" fmla="*/ 40383 h 1683492"/>
                <a:gd name="connsiteX1567" fmla="*/ 934770 w 1526442"/>
                <a:gd name="connsiteY1567" fmla="*/ 43639 h 1683492"/>
                <a:gd name="connsiteX1568" fmla="*/ 934770 w 1526442"/>
                <a:gd name="connsiteY1568" fmla="*/ 46846 h 1683492"/>
                <a:gd name="connsiteX1569" fmla="*/ 930625 w 1526442"/>
                <a:gd name="connsiteY1569" fmla="*/ 51780 h 1683492"/>
                <a:gd name="connsiteX1570" fmla="*/ 932697 w 1526442"/>
                <a:gd name="connsiteY1570" fmla="*/ 55037 h 1683492"/>
                <a:gd name="connsiteX1571" fmla="*/ 936842 w 1526442"/>
                <a:gd name="connsiteY1571" fmla="*/ 51780 h 1683492"/>
                <a:gd name="connsiteX1572" fmla="*/ 941036 w 1526442"/>
                <a:gd name="connsiteY1572" fmla="*/ 45317 h 1683492"/>
                <a:gd name="connsiteX1573" fmla="*/ 949374 w 1526442"/>
                <a:gd name="connsiteY1573" fmla="*/ 46945 h 1683492"/>
                <a:gd name="connsiteX1574" fmla="*/ 953519 w 1526442"/>
                <a:gd name="connsiteY1574" fmla="*/ 51879 h 1683492"/>
                <a:gd name="connsiteX1575" fmla="*/ 953519 w 1526442"/>
                <a:gd name="connsiteY1575" fmla="*/ 56813 h 1683492"/>
                <a:gd name="connsiteX1576" fmla="*/ 957663 w 1526442"/>
                <a:gd name="connsiteY1576" fmla="*/ 64905 h 1683492"/>
                <a:gd name="connsiteX1577" fmla="*/ 961858 w 1526442"/>
                <a:gd name="connsiteY1577" fmla="*/ 72997 h 1683492"/>
                <a:gd name="connsiteX1578" fmla="*/ 961858 w 1526442"/>
                <a:gd name="connsiteY1578" fmla="*/ 81039 h 1683492"/>
                <a:gd name="connsiteX1579" fmla="*/ 966002 w 1526442"/>
                <a:gd name="connsiteY1579" fmla="*/ 76105 h 1683492"/>
                <a:gd name="connsiteX1580" fmla="*/ 966002 w 1526442"/>
                <a:gd name="connsiteY1580" fmla="*/ 69543 h 1683492"/>
                <a:gd name="connsiteX1581" fmla="*/ 963930 w 1526442"/>
                <a:gd name="connsiteY1581" fmla="*/ 64609 h 1683492"/>
                <a:gd name="connsiteX1582" fmla="*/ 961858 w 1526442"/>
                <a:gd name="connsiteY1582" fmla="*/ 61402 h 1683492"/>
                <a:gd name="connsiteX1583" fmla="*/ 959785 w 1526442"/>
                <a:gd name="connsiteY1583" fmla="*/ 54938 h 1683492"/>
                <a:gd name="connsiteX1584" fmla="*/ 959785 w 1526442"/>
                <a:gd name="connsiteY1584" fmla="*/ 50004 h 1683492"/>
                <a:gd name="connsiteX1585" fmla="*/ 963930 w 1526442"/>
                <a:gd name="connsiteY1585" fmla="*/ 53261 h 1683492"/>
                <a:gd name="connsiteX1586" fmla="*/ 976413 w 1526442"/>
                <a:gd name="connsiteY1586" fmla="*/ 59724 h 1683492"/>
                <a:gd name="connsiteX1587" fmla="*/ 982679 w 1526442"/>
                <a:gd name="connsiteY1587" fmla="*/ 69592 h 1683492"/>
                <a:gd name="connsiteX1588" fmla="*/ 991017 w 1526442"/>
                <a:gd name="connsiteY1588" fmla="*/ 72849 h 1683492"/>
                <a:gd name="connsiteX1589" fmla="*/ 999307 w 1526442"/>
                <a:gd name="connsiteY1589" fmla="*/ 74477 h 1683492"/>
                <a:gd name="connsiteX1590" fmla="*/ 999307 w 1526442"/>
                <a:gd name="connsiteY1590" fmla="*/ 72849 h 1683492"/>
                <a:gd name="connsiteX1591" fmla="*/ 995162 w 1526442"/>
                <a:gd name="connsiteY1591" fmla="*/ 69592 h 1683492"/>
                <a:gd name="connsiteX1592" fmla="*/ 986824 w 1526442"/>
                <a:gd name="connsiteY1592" fmla="*/ 66385 h 1683492"/>
                <a:gd name="connsiteX1593" fmla="*/ 980755 w 1526442"/>
                <a:gd name="connsiteY1593" fmla="*/ 58293 h 1683492"/>
                <a:gd name="connsiteX1594" fmla="*/ 980755 w 1526442"/>
                <a:gd name="connsiteY1594" fmla="*/ 50152 h 1683492"/>
                <a:gd name="connsiteX1595" fmla="*/ 982827 w 1526442"/>
                <a:gd name="connsiteY1595" fmla="*/ 42110 h 1683492"/>
                <a:gd name="connsiteX1596" fmla="*/ 995310 w 1526442"/>
                <a:gd name="connsiteY1596" fmla="*/ 42110 h 1683492"/>
                <a:gd name="connsiteX1597" fmla="*/ 1005721 w 1526442"/>
                <a:gd name="connsiteY1597" fmla="*/ 47044 h 1683492"/>
                <a:gd name="connsiteX1598" fmla="*/ 1012234 w 1526442"/>
                <a:gd name="connsiteY1598" fmla="*/ 47044 h 1683492"/>
                <a:gd name="connsiteX1599" fmla="*/ 1014307 w 1526442"/>
                <a:gd name="connsiteY1599" fmla="*/ 43837 h 1683492"/>
                <a:gd name="connsiteX1600" fmla="*/ 1012234 w 1526442"/>
                <a:gd name="connsiteY1600" fmla="*/ 40580 h 1683492"/>
                <a:gd name="connsiteX1601" fmla="*/ 1008040 w 1526442"/>
                <a:gd name="connsiteY1601" fmla="*/ 38952 h 1683492"/>
                <a:gd name="connsiteX1602" fmla="*/ 1008040 w 1526442"/>
                <a:gd name="connsiteY1602" fmla="*/ 35745 h 1683492"/>
                <a:gd name="connsiteX1603" fmla="*/ 1014307 w 1526442"/>
                <a:gd name="connsiteY1603" fmla="*/ 29281 h 1683492"/>
                <a:gd name="connsiteX1604" fmla="*/ 1018451 w 1526442"/>
                <a:gd name="connsiteY1604" fmla="*/ 26025 h 1683492"/>
                <a:gd name="connsiteX1605" fmla="*/ 1016378 w 1526442"/>
                <a:gd name="connsiteY1605" fmla="*/ 22818 h 1683492"/>
                <a:gd name="connsiteX1606" fmla="*/ 1014307 w 1526442"/>
                <a:gd name="connsiteY1606" fmla="*/ 19561 h 1683492"/>
                <a:gd name="connsiteX1607" fmla="*/ 1016378 w 1526442"/>
                <a:gd name="connsiteY1607" fmla="*/ 13147 h 1683492"/>
                <a:gd name="connsiteX1608" fmla="*/ 1024717 w 1526442"/>
                <a:gd name="connsiteY1608" fmla="*/ 13147 h 1683492"/>
                <a:gd name="connsiteX1609" fmla="*/ 1028862 w 1526442"/>
                <a:gd name="connsiteY1609" fmla="*/ 9891 h 1683492"/>
                <a:gd name="connsiteX1610" fmla="*/ 1028862 w 1526442"/>
                <a:gd name="connsiteY1610" fmla="*/ 4956 h 1683492"/>
                <a:gd name="connsiteX1611" fmla="*/ 1033055 w 1526442"/>
                <a:gd name="connsiteY1611" fmla="*/ 1700 h 1683492"/>
                <a:gd name="connsiteX1612" fmla="*/ 1035128 w 1526442"/>
                <a:gd name="connsiteY1612" fmla="*/ 3328 h 1683492"/>
                <a:gd name="connsiteX1613" fmla="*/ 1039272 w 1526442"/>
                <a:gd name="connsiteY1613" fmla="*/ 4956 h 1683492"/>
                <a:gd name="connsiteX1614" fmla="*/ 1041394 w 1526442"/>
                <a:gd name="connsiteY1614" fmla="*/ 6585 h 1683492"/>
                <a:gd name="connsiteX1615" fmla="*/ 1045539 w 1526442"/>
                <a:gd name="connsiteY1615" fmla="*/ 9792 h 1683492"/>
                <a:gd name="connsiteX1616" fmla="*/ 1047611 w 1526442"/>
                <a:gd name="connsiteY1616" fmla="*/ 17884 h 1683492"/>
                <a:gd name="connsiteX1617" fmla="*/ 1051805 w 1526442"/>
                <a:gd name="connsiteY1617" fmla="*/ 19463 h 1683492"/>
                <a:gd name="connsiteX1618" fmla="*/ 1053877 w 1526442"/>
                <a:gd name="connsiteY1618" fmla="*/ 17884 h 1683492"/>
                <a:gd name="connsiteX1619" fmla="*/ 1053877 w 1526442"/>
                <a:gd name="connsiteY1619" fmla="*/ 12950 h 1683492"/>
                <a:gd name="connsiteX1620" fmla="*/ 1051805 w 1526442"/>
                <a:gd name="connsiteY1620" fmla="*/ 8016 h 1683492"/>
                <a:gd name="connsiteX1621" fmla="*/ 1051805 w 1526442"/>
                <a:gd name="connsiteY1621" fmla="*/ 4808 h 1683492"/>
                <a:gd name="connsiteX1622" fmla="*/ 1055950 w 1526442"/>
                <a:gd name="connsiteY1622" fmla="*/ 1552 h 1683492"/>
                <a:gd name="connsiteX1623" fmla="*/ 1060094 w 1526442"/>
                <a:gd name="connsiteY1623" fmla="*/ -27 h 1683492"/>
                <a:gd name="connsiteX1624" fmla="*/ 1068433 w 1526442"/>
                <a:gd name="connsiteY1624" fmla="*/ 1552 h 1683492"/>
                <a:gd name="connsiteX1625" fmla="*/ 1078844 w 1526442"/>
                <a:gd name="connsiteY1625" fmla="*/ 1552 h 1683492"/>
                <a:gd name="connsiteX1626" fmla="*/ 1085110 w 1526442"/>
                <a:gd name="connsiteY1626" fmla="*/ 3180 h 1683492"/>
                <a:gd name="connsiteX1627" fmla="*/ 1085110 w 1526442"/>
                <a:gd name="connsiteY1627" fmla="*/ 6437 h 1683492"/>
                <a:gd name="connsiteX1628" fmla="*/ 1089254 w 1526442"/>
                <a:gd name="connsiteY1628" fmla="*/ 4808 h 1683492"/>
                <a:gd name="connsiteX1629" fmla="*/ 1093448 w 1526442"/>
                <a:gd name="connsiteY1629" fmla="*/ 3180 h 1683492"/>
                <a:gd name="connsiteX1630" fmla="*/ 1099665 w 1526442"/>
                <a:gd name="connsiteY1630" fmla="*/ 4808 h 1683492"/>
                <a:gd name="connsiteX1631" fmla="*/ 1112148 w 1526442"/>
                <a:gd name="connsiteY1631" fmla="*/ 4808 h 1683492"/>
                <a:gd name="connsiteX1632" fmla="*/ 1116342 w 1526442"/>
                <a:gd name="connsiteY1632" fmla="*/ 8016 h 1683492"/>
                <a:gd name="connsiteX1633" fmla="*/ 1120486 w 1526442"/>
                <a:gd name="connsiteY1633" fmla="*/ 8016 h 1683492"/>
                <a:gd name="connsiteX1634" fmla="*/ 1124681 w 1526442"/>
                <a:gd name="connsiteY1634" fmla="*/ 6437 h 1683492"/>
                <a:gd name="connsiteX1635" fmla="*/ 1128825 w 1526442"/>
                <a:gd name="connsiteY1635" fmla="*/ 8016 h 1683492"/>
                <a:gd name="connsiteX1636" fmla="*/ 1130898 w 1526442"/>
                <a:gd name="connsiteY1636" fmla="*/ 12950 h 1683492"/>
                <a:gd name="connsiteX1637" fmla="*/ 1141309 w 1526442"/>
                <a:gd name="connsiteY1637" fmla="*/ 17884 h 1683492"/>
                <a:gd name="connsiteX1638" fmla="*/ 1145502 w 1526442"/>
                <a:gd name="connsiteY1638" fmla="*/ 16255 h 1683492"/>
                <a:gd name="connsiteX1639" fmla="*/ 1145502 w 1526442"/>
                <a:gd name="connsiteY1639" fmla="*/ 14627 h 1683492"/>
                <a:gd name="connsiteX1640" fmla="*/ 1149647 w 1526442"/>
                <a:gd name="connsiteY1640" fmla="*/ 14627 h 1683492"/>
                <a:gd name="connsiteX1641" fmla="*/ 1160107 w 1526442"/>
                <a:gd name="connsiteY1641" fmla="*/ 21091 h 1683492"/>
                <a:gd name="connsiteX1642" fmla="*/ 1164203 w 1526442"/>
                <a:gd name="connsiteY1642" fmla="*/ 21091 h 1683492"/>
                <a:gd name="connsiteX1643" fmla="*/ 1172541 w 1526442"/>
                <a:gd name="connsiteY1643" fmla="*/ 26025 h 1683492"/>
                <a:gd name="connsiteX1644" fmla="*/ 1187343 w 1526442"/>
                <a:gd name="connsiteY1644" fmla="*/ 27653 h 1683492"/>
                <a:gd name="connsiteX1645" fmla="*/ 1189415 w 1526442"/>
                <a:gd name="connsiteY1645" fmla="*/ 29281 h 1683492"/>
                <a:gd name="connsiteX1646" fmla="*/ 1197754 w 1526442"/>
                <a:gd name="connsiteY1646" fmla="*/ 27653 h 1683492"/>
                <a:gd name="connsiteX1647" fmla="*/ 1199826 w 1526442"/>
                <a:gd name="connsiteY1647" fmla="*/ 30910 h 1683492"/>
                <a:gd name="connsiteX1648" fmla="*/ 1203971 w 1526442"/>
                <a:gd name="connsiteY1648" fmla="*/ 34117 h 1683492"/>
                <a:gd name="connsiteX1649" fmla="*/ 1210237 w 1526442"/>
                <a:gd name="connsiteY1649" fmla="*/ 30910 h 1683492"/>
                <a:gd name="connsiteX1650" fmla="*/ 1216503 w 1526442"/>
                <a:gd name="connsiteY1650" fmla="*/ 32488 h 1683492"/>
                <a:gd name="connsiteX1651" fmla="*/ 1222720 w 1526442"/>
                <a:gd name="connsiteY1651" fmla="*/ 37422 h 1683492"/>
                <a:gd name="connsiteX1652" fmla="*/ 1233131 w 1526442"/>
                <a:gd name="connsiteY1652" fmla="*/ 40630 h 1683492"/>
                <a:gd name="connsiteX1653" fmla="*/ 1241469 w 1526442"/>
                <a:gd name="connsiteY1653" fmla="*/ 45564 h 1683492"/>
                <a:gd name="connsiteX1654" fmla="*/ 1243542 w 1526442"/>
                <a:gd name="connsiteY1654" fmla="*/ 50498 h 1683492"/>
                <a:gd name="connsiteX1655" fmla="*/ 1249808 w 1526442"/>
                <a:gd name="connsiteY1655" fmla="*/ 53754 h 1683492"/>
                <a:gd name="connsiteX1656" fmla="*/ 1258146 w 1526442"/>
                <a:gd name="connsiteY1656" fmla="*/ 58688 h 1683492"/>
                <a:gd name="connsiteX1657" fmla="*/ 1258146 w 1526442"/>
                <a:gd name="connsiteY1657" fmla="*/ 61945 h 1683492"/>
                <a:gd name="connsiteX1658" fmla="*/ 1253952 w 1526442"/>
                <a:gd name="connsiteY1658" fmla="*/ 66879 h 1683492"/>
                <a:gd name="connsiteX1659" fmla="*/ 1247735 w 1526442"/>
                <a:gd name="connsiteY1659" fmla="*/ 66879 h 1683492"/>
                <a:gd name="connsiteX1660" fmla="*/ 1243542 w 1526442"/>
                <a:gd name="connsiteY1660" fmla="*/ 65250 h 1683492"/>
                <a:gd name="connsiteX1661" fmla="*/ 1237325 w 1526442"/>
                <a:gd name="connsiteY1661" fmla="*/ 68507 h 1683492"/>
                <a:gd name="connsiteX1662" fmla="*/ 1233131 w 1526442"/>
                <a:gd name="connsiteY1662" fmla="*/ 71714 h 1683492"/>
                <a:gd name="connsiteX1663" fmla="*/ 1224398 w 1526442"/>
                <a:gd name="connsiteY1663" fmla="*/ 71714 h 1683492"/>
                <a:gd name="connsiteX1664" fmla="*/ 1218181 w 1526442"/>
                <a:gd name="connsiteY1664" fmla="*/ 73342 h 1683492"/>
                <a:gd name="connsiteX1665" fmla="*/ 1209842 w 1526442"/>
                <a:gd name="connsiteY1665" fmla="*/ 71714 h 1683492"/>
                <a:gd name="connsiteX1666" fmla="*/ 1197359 w 1526442"/>
                <a:gd name="connsiteY1666" fmla="*/ 66780 h 1683492"/>
                <a:gd name="connsiteX1667" fmla="*/ 1191142 w 1526442"/>
                <a:gd name="connsiteY1667" fmla="*/ 65152 h 1683492"/>
                <a:gd name="connsiteX1668" fmla="*/ 1186948 w 1526442"/>
                <a:gd name="connsiteY1668" fmla="*/ 65152 h 1683492"/>
                <a:gd name="connsiteX1669" fmla="*/ 1180731 w 1526442"/>
                <a:gd name="connsiteY1669" fmla="*/ 63523 h 1683492"/>
                <a:gd name="connsiteX1670" fmla="*/ 1172343 w 1526442"/>
                <a:gd name="connsiteY1670" fmla="*/ 61945 h 1683492"/>
                <a:gd name="connsiteX1671" fmla="*/ 1168199 w 1526442"/>
                <a:gd name="connsiteY1671" fmla="*/ 65152 h 1683492"/>
                <a:gd name="connsiteX1672" fmla="*/ 1164005 w 1526442"/>
                <a:gd name="connsiteY1672" fmla="*/ 65152 h 1683492"/>
                <a:gd name="connsiteX1673" fmla="*/ 1161932 w 1526442"/>
                <a:gd name="connsiteY1673" fmla="*/ 63523 h 1683492"/>
                <a:gd name="connsiteX1674" fmla="*/ 1153594 w 1526442"/>
                <a:gd name="connsiteY1674" fmla="*/ 63523 h 1683492"/>
                <a:gd name="connsiteX1675" fmla="*/ 1143184 w 1526442"/>
                <a:gd name="connsiteY1675" fmla="*/ 68458 h 1683492"/>
                <a:gd name="connsiteX1676" fmla="*/ 1139039 w 1526442"/>
                <a:gd name="connsiteY1676" fmla="*/ 70036 h 1683492"/>
                <a:gd name="connsiteX1677" fmla="*/ 1132773 w 1526442"/>
                <a:gd name="connsiteY1677" fmla="*/ 66829 h 1683492"/>
                <a:gd name="connsiteX1678" fmla="*/ 1126556 w 1526442"/>
                <a:gd name="connsiteY1678" fmla="*/ 68458 h 1683492"/>
                <a:gd name="connsiteX1679" fmla="*/ 1118217 w 1526442"/>
                <a:gd name="connsiteY1679" fmla="*/ 71665 h 1683492"/>
                <a:gd name="connsiteX1680" fmla="*/ 1109879 w 1526442"/>
                <a:gd name="connsiteY1680" fmla="*/ 70036 h 1683492"/>
                <a:gd name="connsiteX1681" fmla="*/ 1105734 w 1526442"/>
                <a:gd name="connsiteY1681" fmla="*/ 65102 h 1683492"/>
                <a:gd name="connsiteX1682" fmla="*/ 1103662 w 1526442"/>
                <a:gd name="connsiteY1682" fmla="*/ 60168 h 1683492"/>
                <a:gd name="connsiteX1683" fmla="*/ 1107806 w 1526442"/>
                <a:gd name="connsiteY1683" fmla="*/ 58540 h 1683492"/>
                <a:gd name="connsiteX1684" fmla="*/ 1111951 w 1526442"/>
                <a:gd name="connsiteY1684" fmla="*/ 56912 h 1683492"/>
                <a:gd name="connsiteX1685" fmla="*/ 1111951 w 1526442"/>
                <a:gd name="connsiteY1685" fmla="*/ 53359 h 1683492"/>
                <a:gd name="connsiteX1686" fmla="*/ 1109879 w 1526442"/>
                <a:gd name="connsiteY1686" fmla="*/ 51731 h 1683492"/>
                <a:gd name="connsiteX1687" fmla="*/ 1099468 w 1526442"/>
                <a:gd name="connsiteY1687" fmla="*/ 51731 h 1683492"/>
                <a:gd name="connsiteX1688" fmla="*/ 1093251 w 1526442"/>
                <a:gd name="connsiteY1688" fmla="*/ 56665 h 1683492"/>
                <a:gd name="connsiteX1689" fmla="*/ 1095323 w 1526442"/>
                <a:gd name="connsiteY1689" fmla="*/ 61599 h 1683492"/>
                <a:gd name="connsiteX1690" fmla="*/ 1099468 w 1526442"/>
                <a:gd name="connsiteY1690" fmla="*/ 66533 h 1683492"/>
                <a:gd name="connsiteX1691" fmla="*/ 1103662 w 1526442"/>
                <a:gd name="connsiteY1691" fmla="*/ 68161 h 1683492"/>
                <a:gd name="connsiteX1692" fmla="*/ 1101540 w 1526442"/>
                <a:gd name="connsiteY1692" fmla="*/ 71369 h 1683492"/>
                <a:gd name="connsiteX1693" fmla="*/ 1095323 w 1526442"/>
                <a:gd name="connsiteY1693" fmla="*/ 74625 h 1683492"/>
                <a:gd name="connsiteX1694" fmla="*/ 1093251 w 1526442"/>
                <a:gd name="connsiteY1694" fmla="*/ 72997 h 1683492"/>
                <a:gd name="connsiteX1695" fmla="*/ 1086985 w 1526442"/>
                <a:gd name="connsiteY1695" fmla="*/ 72997 h 1683492"/>
                <a:gd name="connsiteX1696" fmla="*/ 1078646 w 1526442"/>
                <a:gd name="connsiteY1696" fmla="*/ 74625 h 1683492"/>
                <a:gd name="connsiteX1697" fmla="*/ 1076574 w 1526442"/>
                <a:gd name="connsiteY1697" fmla="*/ 76204 h 1683492"/>
                <a:gd name="connsiteX1698" fmla="*/ 1070308 w 1526442"/>
                <a:gd name="connsiteY1698" fmla="*/ 76204 h 1683492"/>
                <a:gd name="connsiteX1699" fmla="*/ 1062018 w 1526442"/>
                <a:gd name="connsiteY1699" fmla="*/ 74625 h 1683492"/>
                <a:gd name="connsiteX1700" fmla="*/ 1053680 w 1526442"/>
                <a:gd name="connsiteY1700" fmla="*/ 74625 h 1683492"/>
                <a:gd name="connsiteX1701" fmla="*/ 1043269 w 1526442"/>
                <a:gd name="connsiteY1701" fmla="*/ 77832 h 1683492"/>
                <a:gd name="connsiteX1702" fmla="*/ 1030737 w 1526442"/>
                <a:gd name="connsiteY1702" fmla="*/ 85924 h 1683492"/>
                <a:gd name="connsiteX1703" fmla="*/ 1030737 w 1526442"/>
                <a:gd name="connsiteY1703" fmla="*/ 98851 h 1683492"/>
                <a:gd name="connsiteX1704" fmla="*/ 1026592 w 1526442"/>
                <a:gd name="connsiteY1704" fmla="*/ 102058 h 1683492"/>
                <a:gd name="connsiteX1705" fmla="*/ 1026592 w 1526442"/>
                <a:gd name="connsiteY1705" fmla="*/ 106992 h 1683492"/>
                <a:gd name="connsiteX1706" fmla="*/ 1028664 w 1526442"/>
                <a:gd name="connsiteY1706" fmla="*/ 108621 h 1683492"/>
                <a:gd name="connsiteX1707" fmla="*/ 1034930 w 1526442"/>
                <a:gd name="connsiteY1707" fmla="*/ 106992 h 1683492"/>
                <a:gd name="connsiteX1708" fmla="*/ 1034930 w 1526442"/>
                <a:gd name="connsiteY1708" fmla="*/ 100233 h 1683492"/>
                <a:gd name="connsiteX1709" fmla="*/ 1037003 w 1526442"/>
                <a:gd name="connsiteY1709" fmla="*/ 97026 h 1683492"/>
                <a:gd name="connsiteX1710" fmla="*/ 1037003 w 1526442"/>
                <a:gd name="connsiteY1710" fmla="*/ 95397 h 1683492"/>
                <a:gd name="connsiteX1711" fmla="*/ 1039075 w 1526442"/>
                <a:gd name="connsiteY1711" fmla="*/ 92190 h 1683492"/>
                <a:gd name="connsiteX1712" fmla="*/ 1047414 w 1526442"/>
                <a:gd name="connsiteY1712" fmla="*/ 92190 h 1683492"/>
                <a:gd name="connsiteX1713" fmla="*/ 1051608 w 1526442"/>
                <a:gd name="connsiteY1713" fmla="*/ 90562 h 1683492"/>
                <a:gd name="connsiteX1714" fmla="*/ 1053680 w 1526442"/>
                <a:gd name="connsiteY1714" fmla="*/ 93769 h 1683492"/>
                <a:gd name="connsiteX1715" fmla="*/ 1051608 w 1526442"/>
                <a:gd name="connsiteY1715" fmla="*/ 97026 h 1683492"/>
                <a:gd name="connsiteX1716" fmla="*/ 1049486 w 1526442"/>
                <a:gd name="connsiteY1716" fmla="*/ 101960 h 1683492"/>
                <a:gd name="connsiteX1717" fmla="*/ 1049486 w 1526442"/>
                <a:gd name="connsiteY1717" fmla="*/ 105216 h 1683492"/>
                <a:gd name="connsiteX1718" fmla="*/ 1051608 w 1526442"/>
                <a:gd name="connsiteY1718" fmla="*/ 105216 h 1683492"/>
                <a:gd name="connsiteX1719" fmla="*/ 1055752 w 1526442"/>
                <a:gd name="connsiteY1719" fmla="*/ 100282 h 1683492"/>
                <a:gd name="connsiteX1720" fmla="*/ 1057824 w 1526442"/>
                <a:gd name="connsiteY1720" fmla="*/ 92240 h 1683492"/>
                <a:gd name="connsiteX1721" fmla="*/ 1062018 w 1526442"/>
                <a:gd name="connsiteY1721" fmla="*/ 85776 h 1683492"/>
                <a:gd name="connsiteX1722" fmla="*/ 1070308 w 1526442"/>
                <a:gd name="connsiteY1722" fmla="*/ 82520 h 1683492"/>
                <a:gd name="connsiteX1723" fmla="*/ 1089057 w 1526442"/>
                <a:gd name="connsiteY1723" fmla="*/ 82520 h 1683492"/>
                <a:gd name="connsiteX1724" fmla="*/ 1095323 w 1526442"/>
                <a:gd name="connsiteY1724" fmla="*/ 80891 h 1683492"/>
                <a:gd name="connsiteX1725" fmla="*/ 1097396 w 1526442"/>
                <a:gd name="connsiteY1725" fmla="*/ 80891 h 1683492"/>
                <a:gd name="connsiteX1726" fmla="*/ 1099468 w 1526442"/>
                <a:gd name="connsiteY1726" fmla="*/ 85825 h 1683492"/>
                <a:gd name="connsiteX1727" fmla="*/ 1103662 w 1526442"/>
                <a:gd name="connsiteY1727" fmla="*/ 93868 h 1683492"/>
                <a:gd name="connsiteX1728" fmla="*/ 1105734 w 1526442"/>
                <a:gd name="connsiteY1728" fmla="*/ 95496 h 1683492"/>
                <a:gd name="connsiteX1729" fmla="*/ 1109879 w 1526442"/>
                <a:gd name="connsiteY1729" fmla="*/ 95496 h 1683492"/>
                <a:gd name="connsiteX1730" fmla="*/ 1109879 w 1526442"/>
                <a:gd name="connsiteY1730" fmla="*/ 90562 h 1683492"/>
                <a:gd name="connsiteX1731" fmla="*/ 1107806 w 1526442"/>
                <a:gd name="connsiteY1731" fmla="*/ 84098 h 1683492"/>
                <a:gd name="connsiteX1732" fmla="*/ 1109879 w 1526442"/>
                <a:gd name="connsiteY1732" fmla="*/ 82470 h 1683492"/>
                <a:gd name="connsiteX1733" fmla="*/ 1116145 w 1526442"/>
                <a:gd name="connsiteY1733" fmla="*/ 80842 h 1683492"/>
                <a:gd name="connsiteX1734" fmla="*/ 1122361 w 1526442"/>
                <a:gd name="connsiteY1734" fmla="*/ 82470 h 1683492"/>
                <a:gd name="connsiteX1735" fmla="*/ 1130700 w 1526442"/>
                <a:gd name="connsiteY1735" fmla="*/ 80842 h 1683492"/>
                <a:gd name="connsiteX1736" fmla="*/ 1141111 w 1526442"/>
                <a:gd name="connsiteY1736" fmla="*/ 79263 h 1683492"/>
                <a:gd name="connsiteX1737" fmla="*/ 1149450 w 1526442"/>
                <a:gd name="connsiteY1737" fmla="*/ 76007 h 1683492"/>
                <a:gd name="connsiteX1738" fmla="*/ 1157788 w 1526442"/>
                <a:gd name="connsiteY1738" fmla="*/ 74428 h 1683492"/>
                <a:gd name="connsiteX1739" fmla="*/ 1170123 w 1526442"/>
                <a:gd name="connsiteY1739" fmla="*/ 74428 h 1683492"/>
                <a:gd name="connsiteX1740" fmla="*/ 1178413 w 1526442"/>
                <a:gd name="connsiteY1740" fmla="*/ 76007 h 1683492"/>
                <a:gd name="connsiteX1741" fmla="*/ 1186751 w 1526442"/>
                <a:gd name="connsiteY1741" fmla="*/ 79263 h 1683492"/>
                <a:gd name="connsiteX1742" fmla="*/ 1192968 w 1526442"/>
                <a:gd name="connsiteY1742" fmla="*/ 80842 h 1683492"/>
                <a:gd name="connsiteX1743" fmla="*/ 1197162 w 1526442"/>
                <a:gd name="connsiteY1743" fmla="*/ 82470 h 1683492"/>
                <a:gd name="connsiteX1744" fmla="*/ 1205500 w 1526442"/>
                <a:gd name="connsiteY1744" fmla="*/ 84098 h 1683492"/>
                <a:gd name="connsiteX1745" fmla="*/ 1209645 w 1526442"/>
                <a:gd name="connsiteY1745" fmla="*/ 87306 h 1683492"/>
                <a:gd name="connsiteX1746" fmla="*/ 1213789 w 1526442"/>
                <a:gd name="connsiteY1746" fmla="*/ 88934 h 1683492"/>
                <a:gd name="connsiteX1747" fmla="*/ 1217983 w 1526442"/>
                <a:gd name="connsiteY1747" fmla="*/ 87306 h 1683492"/>
                <a:gd name="connsiteX1748" fmla="*/ 1224200 w 1526442"/>
                <a:gd name="connsiteY1748" fmla="*/ 85727 h 1683492"/>
                <a:gd name="connsiteX1749" fmla="*/ 1226322 w 1526442"/>
                <a:gd name="connsiteY1749" fmla="*/ 87306 h 1683492"/>
                <a:gd name="connsiteX1750" fmla="*/ 1228394 w 1526442"/>
                <a:gd name="connsiteY1750" fmla="*/ 90562 h 1683492"/>
                <a:gd name="connsiteX1751" fmla="*/ 1232539 w 1526442"/>
                <a:gd name="connsiteY1751" fmla="*/ 90562 h 1683492"/>
                <a:gd name="connsiteX1752" fmla="*/ 1238805 w 1526442"/>
                <a:gd name="connsiteY1752" fmla="*/ 85628 h 1683492"/>
                <a:gd name="connsiteX1753" fmla="*/ 1249216 w 1526442"/>
                <a:gd name="connsiteY1753" fmla="*/ 85628 h 1683492"/>
                <a:gd name="connsiteX1754" fmla="*/ 1259627 w 1526442"/>
                <a:gd name="connsiteY1754" fmla="*/ 82371 h 1683492"/>
                <a:gd name="connsiteX1755" fmla="*/ 1263771 w 1526442"/>
                <a:gd name="connsiteY1755" fmla="*/ 77437 h 1683492"/>
                <a:gd name="connsiteX1756" fmla="*/ 1267965 w 1526442"/>
                <a:gd name="connsiteY1756" fmla="*/ 75809 h 1683492"/>
                <a:gd name="connsiteX1757" fmla="*/ 1272110 w 1526442"/>
                <a:gd name="connsiteY1757" fmla="*/ 77437 h 1683492"/>
                <a:gd name="connsiteX1758" fmla="*/ 1276254 w 1526442"/>
                <a:gd name="connsiteY1758" fmla="*/ 82371 h 1683492"/>
                <a:gd name="connsiteX1759" fmla="*/ 1282521 w 1526442"/>
                <a:gd name="connsiteY1759" fmla="*/ 85628 h 1683492"/>
                <a:gd name="connsiteX1760" fmla="*/ 1282521 w 1526442"/>
                <a:gd name="connsiteY1760" fmla="*/ 88835 h 1683492"/>
                <a:gd name="connsiteX1761" fmla="*/ 1278376 w 1526442"/>
                <a:gd name="connsiteY1761" fmla="*/ 92092 h 1683492"/>
                <a:gd name="connsiteX1762" fmla="*/ 1278376 w 1526442"/>
                <a:gd name="connsiteY1762" fmla="*/ 93670 h 1683492"/>
                <a:gd name="connsiteX1763" fmla="*/ 1282521 w 1526442"/>
                <a:gd name="connsiteY1763" fmla="*/ 96927 h 1683492"/>
                <a:gd name="connsiteX1764" fmla="*/ 1282521 w 1526442"/>
                <a:gd name="connsiteY1764" fmla="*/ 103390 h 1683492"/>
                <a:gd name="connsiteX1765" fmla="*/ 1274182 w 1526442"/>
                <a:gd name="connsiteY1765" fmla="*/ 109854 h 1683492"/>
                <a:gd name="connsiteX1766" fmla="*/ 1263771 w 1526442"/>
                <a:gd name="connsiteY1766" fmla="*/ 113061 h 1683492"/>
                <a:gd name="connsiteX1767" fmla="*/ 1257554 w 1526442"/>
                <a:gd name="connsiteY1767" fmla="*/ 111482 h 1683492"/>
                <a:gd name="connsiteX1768" fmla="*/ 1251288 w 1526442"/>
                <a:gd name="connsiteY1768" fmla="*/ 108226 h 1683492"/>
                <a:gd name="connsiteX1769" fmla="*/ 1247143 w 1526442"/>
                <a:gd name="connsiteY1769" fmla="*/ 105019 h 1683492"/>
                <a:gd name="connsiteX1770" fmla="*/ 1245022 w 1526442"/>
                <a:gd name="connsiteY1770" fmla="*/ 106598 h 1683492"/>
                <a:gd name="connsiteX1771" fmla="*/ 1245022 w 1526442"/>
                <a:gd name="connsiteY1771" fmla="*/ 109854 h 1683492"/>
                <a:gd name="connsiteX1772" fmla="*/ 1251288 w 1526442"/>
                <a:gd name="connsiteY1772" fmla="*/ 114788 h 1683492"/>
                <a:gd name="connsiteX1773" fmla="*/ 1253360 w 1526442"/>
                <a:gd name="connsiteY1773" fmla="*/ 117995 h 1683492"/>
                <a:gd name="connsiteX1774" fmla="*/ 1251288 w 1526442"/>
                <a:gd name="connsiteY1774" fmla="*/ 117995 h 1683492"/>
                <a:gd name="connsiteX1775" fmla="*/ 1245022 w 1526442"/>
                <a:gd name="connsiteY1775" fmla="*/ 116416 h 1683492"/>
                <a:gd name="connsiteX1776" fmla="*/ 1240877 w 1526442"/>
                <a:gd name="connsiteY1776" fmla="*/ 113160 h 1683492"/>
                <a:gd name="connsiteX1777" fmla="*/ 1236733 w 1526442"/>
                <a:gd name="connsiteY1777" fmla="*/ 113160 h 1683492"/>
                <a:gd name="connsiteX1778" fmla="*/ 1236733 w 1526442"/>
                <a:gd name="connsiteY1778" fmla="*/ 116416 h 1683492"/>
                <a:gd name="connsiteX1779" fmla="*/ 1240877 w 1526442"/>
                <a:gd name="connsiteY1779" fmla="*/ 121350 h 1683492"/>
                <a:gd name="connsiteX1780" fmla="*/ 1245022 w 1526442"/>
                <a:gd name="connsiteY1780" fmla="*/ 122979 h 1683492"/>
                <a:gd name="connsiteX1781" fmla="*/ 1251288 w 1526442"/>
                <a:gd name="connsiteY1781" fmla="*/ 122979 h 1683492"/>
                <a:gd name="connsiteX1782" fmla="*/ 1259627 w 1526442"/>
                <a:gd name="connsiteY1782" fmla="*/ 126186 h 1683492"/>
                <a:gd name="connsiteX1783" fmla="*/ 1265844 w 1526442"/>
                <a:gd name="connsiteY1783" fmla="*/ 126186 h 1683492"/>
                <a:gd name="connsiteX1784" fmla="*/ 1276254 w 1526442"/>
                <a:gd name="connsiteY1784" fmla="*/ 121252 h 1683492"/>
                <a:gd name="connsiteX1785" fmla="*/ 1280448 w 1526442"/>
                <a:gd name="connsiteY1785" fmla="*/ 121252 h 1683492"/>
                <a:gd name="connsiteX1786" fmla="*/ 1282521 w 1526442"/>
                <a:gd name="connsiteY1786" fmla="*/ 122880 h 1683492"/>
                <a:gd name="connsiteX1787" fmla="*/ 1282521 w 1526442"/>
                <a:gd name="connsiteY1787" fmla="*/ 116416 h 1683492"/>
                <a:gd name="connsiteX1788" fmla="*/ 1303342 w 1526442"/>
                <a:gd name="connsiteY1788" fmla="*/ 116416 h 1683492"/>
                <a:gd name="connsiteX1789" fmla="*/ 1307437 w 1526442"/>
                <a:gd name="connsiteY1789" fmla="*/ 117995 h 1683492"/>
                <a:gd name="connsiteX1790" fmla="*/ 1307437 w 1526442"/>
                <a:gd name="connsiteY1790" fmla="*/ 121252 h 1683492"/>
                <a:gd name="connsiteX1791" fmla="*/ 1311632 w 1526442"/>
                <a:gd name="connsiteY1791" fmla="*/ 124459 h 1683492"/>
                <a:gd name="connsiteX1792" fmla="*/ 1315776 w 1526442"/>
                <a:gd name="connsiteY1792" fmla="*/ 122880 h 1683492"/>
                <a:gd name="connsiteX1793" fmla="*/ 1317897 w 1526442"/>
                <a:gd name="connsiteY1793" fmla="*/ 121252 h 1683492"/>
                <a:gd name="connsiteX1794" fmla="*/ 1319970 w 1526442"/>
                <a:gd name="connsiteY1794" fmla="*/ 122880 h 1683492"/>
                <a:gd name="connsiteX1795" fmla="*/ 1322042 w 1526442"/>
                <a:gd name="connsiteY1795" fmla="*/ 126087 h 1683492"/>
                <a:gd name="connsiteX1796" fmla="*/ 1326187 w 1526442"/>
                <a:gd name="connsiteY1796" fmla="*/ 129343 h 1683492"/>
                <a:gd name="connsiteX1797" fmla="*/ 1336597 w 1526442"/>
                <a:gd name="connsiteY1797" fmla="*/ 130922 h 1683492"/>
                <a:gd name="connsiteX1798" fmla="*/ 1340791 w 1526442"/>
                <a:gd name="connsiteY1798" fmla="*/ 134179 h 1683492"/>
                <a:gd name="connsiteX1799" fmla="*/ 1340791 w 1526442"/>
                <a:gd name="connsiteY1799" fmla="*/ 137238 h 1683492"/>
                <a:gd name="connsiteX1800" fmla="*/ 1349130 w 1526442"/>
                <a:gd name="connsiteY1800" fmla="*/ 142172 h 1683492"/>
                <a:gd name="connsiteX1801" fmla="*/ 1357419 w 1526442"/>
                <a:gd name="connsiteY1801" fmla="*/ 145428 h 1683492"/>
                <a:gd name="connsiteX1802" fmla="*/ 1363685 w 1526442"/>
                <a:gd name="connsiteY1802" fmla="*/ 150363 h 1683492"/>
                <a:gd name="connsiteX1803" fmla="*/ 1363685 w 1526442"/>
                <a:gd name="connsiteY1803" fmla="*/ 160231 h 1683492"/>
                <a:gd name="connsiteX1804" fmla="*/ 1361613 w 1526442"/>
                <a:gd name="connsiteY1804" fmla="*/ 161809 h 1683492"/>
                <a:gd name="connsiteX1805" fmla="*/ 1361613 w 1526442"/>
                <a:gd name="connsiteY1805" fmla="*/ 168273 h 1683492"/>
                <a:gd name="connsiteX1806" fmla="*/ 1357419 w 1526442"/>
                <a:gd name="connsiteY1806" fmla="*/ 169901 h 1683492"/>
                <a:gd name="connsiteX1807" fmla="*/ 1349130 w 1526442"/>
                <a:gd name="connsiteY1807" fmla="*/ 174835 h 1683492"/>
                <a:gd name="connsiteX1808" fmla="*/ 1344985 w 1526442"/>
                <a:gd name="connsiteY1808" fmla="*/ 176464 h 1683492"/>
                <a:gd name="connsiteX1809" fmla="*/ 1340791 w 1526442"/>
                <a:gd name="connsiteY1809" fmla="*/ 174835 h 1683492"/>
                <a:gd name="connsiteX1810" fmla="*/ 1338719 w 1526442"/>
                <a:gd name="connsiteY1810" fmla="*/ 176464 h 1683492"/>
                <a:gd name="connsiteX1811" fmla="*/ 1338719 w 1526442"/>
                <a:gd name="connsiteY1811" fmla="*/ 179671 h 1683492"/>
                <a:gd name="connsiteX1812" fmla="*/ 1336597 w 1526442"/>
                <a:gd name="connsiteY1812" fmla="*/ 181299 h 1683492"/>
                <a:gd name="connsiteX1813" fmla="*/ 1330381 w 1526442"/>
                <a:gd name="connsiteY1813" fmla="*/ 184555 h 1683492"/>
                <a:gd name="connsiteX1814" fmla="*/ 1317897 w 1526442"/>
                <a:gd name="connsiteY1814" fmla="*/ 189489 h 1683492"/>
                <a:gd name="connsiteX1815" fmla="*/ 1309559 w 1526442"/>
                <a:gd name="connsiteY1815" fmla="*/ 189489 h 1683492"/>
                <a:gd name="connsiteX1816" fmla="*/ 1307437 w 1526442"/>
                <a:gd name="connsiteY1816" fmla="*/ 191118 h 1683492"/>
                <a:gd name="connsiteX1817" fmla="*/ 1301220 w 1526442"/>
                <a:gd name="connsiteY1817" fmla="*/ 191118 h 1683492"/>
                <a:gd name="connsiteX1818" fmla="*/ 1297026 w 1526442"/>
                <a:gd name="connsiteY1818" fmla="*/ 187861 h 1683492"/>
                <a:gd name="connsiteX1819" fmla="*/ 1294954 w 1526442"/>
                <a:gd name="connsiteY1819" fmla="*/ 184654 h 1683492"/>
                <a:gd name="connsiteX1820" fmla="*/ 1292931 w 1526442"/>
                <a:gd name="connsiteY1820" fmla="*/ 186233 h 1683492"/>
                <a:gd name="connsiteX1821" fmla="*/ 1292931 w 1526442"/>
                <a:gd name="connsiteY1821" fmla="*/ 189489 h 1683492"/>
                <a:gd name="connsiteX1822" fmla="*/ 1297026 w 1526442"/>
                <a:gd name="connsiteY1822" fmla="*/ 191118 h 1683492"/>
                <a:gd name="connsiteX1823" fmla="*/ 1294954 w 1526442"/>
                <a:gd name="connsiteY1823" fmla="*/ 192696 h 1683492"/>
                <a:gd name="connsiteX1824" fmla="*/ 1288738 w 1526442"/>
                <a:gd name="connsiteY1824" fmla="*/ 192696 h 1683492"/>
                <a:gd name="connsiteX1825" fmla="*/ 1282471 w 1526442"/>
                <a:gd name="connsiteY1825" fmla="*/ 191118 h 1683492"/>
                <a:gd name="connsiteX1826" fmla="*/ 1276205 w 1526442"/>
                <a:gd name="connsiteY1826" fmla="*/ 194325 h 1683492"/>
                <a:gd name="connsiteX1827" fmla="*/ 1274132 w 1526442"/>
                <a:gd name="connsiteY1827" fmla="*/ 194325 h 1683492"/>
                <a:gd name="connsiteX1828" fmla="*/ 1269988 w 1526442"/>
                <a:gd name="connsiteY1828" fmla="*/ 191118 h 1683492"/>
                <a:gd name="connsiteX1829" fmla="*/ 1261650 w 1526442"/>
                <a:gd name="connsiteY1829" fmla="*/ 191118 h 1683492"/>
                <a:gd name="connsiteX1830" fmla="*/ 1257505 w 1526442"/>
                <a:gd name="connsiteY1830" fmla="*/ 194325 h 1683492"/>
                <a:gd name="connsiteX1831" fmla="*/ 1249166 w 1526442"/>
                <a:gd name="connsiteY1831" fmla="*/ 197581 h 1683492"/>
                <a:gd name="connsiteX1832" fmla="*/ 1242900 w 1526442"/>
                <a:gd name="connsiteY1832" fmla="*/ 197581 h 1683492"/>
                <a:gd name="connsiteX1833" fmla="*/ 1240828 w 1526442"/>
                <a:gd name="connsiteY1833" fmla="*/ 195953 h 1683492"/>
                <a:gd name="connsiteX1834" fmla="*/ 1234562 w 1526442"/>
                <a:gd name="connsiteY1834" fmla="*/ 195953 h 1683492"/>
                <a:gd name="connsiteX1835" fmla="*/ 1228345 w 1526442"/>
                <a:gd name="connsiteY1835" fmla="*/ 194325 h 1683492"/>
                <a:gd name="connsiteX1836" fmla="*/ 1224398 w 1526442"/>
                <a:gd name="connsiteY1836" fmla="*/ 194325 h 1683492"/>
                <a:gd name="connsiteX1837" fmla="*/ 1222325 w 1526442"/>
                <a:gd name="connsiteY1837" fmla="*/ 195953 h 1683492"/>
                <a:gd name="connsiteX1838" fmla="*/ 1213987 w 1526442"/>
                <a:gd name="connsiteY1838" fmla="*/ 197581 h 1683492"/>
                <a:gd name="connsiteX1839" fmla="*/ 1209842 w 1526442"/>
                <a:gd name="connsiteY1839" fmla="*/ 195953 h 1683492"/>
                <a:gd name="connsiteX1840" fmla="*/ 1201504 w 1526442"/>
                <a:gd name="connsiteY1840" fmla="*/ 191019 h 1683492"/>
                <a:gd name="connsiteX1841" fmla="*/ 1197359 w 1526442"/>
                <a:gd name="connsiteY1841" fmla="*/ 191019 h 1683492"/>
                <a:gd name="connsiteX1842" fmla="*/ 1195287 w 1526442"/>
                <a:gd name="connsiteY1842" fmla="*/ 189391 h 1683492"/>
                <a:gd name="connsiteX1843" fmla="*/ 1184925 w 1526442"/>
                <a:gd name="connsiteY1843" fmla="*/ 189391 h 1683492"/>
                <a:gd name="connsiteX1844" fmla="*/ 1180781 w 1526442"/>
                <a:gd name="connsiteY1844" fmla="*/ 186134 h 1683492"/>
                <a:gd name="connsiteX1845" fmla="*/ 1176587 w 1526442"/>
                <a:gd name="connsiteY1845" fmla="*/ 186134 h 1683492"/>
                <a:gd name="connsiteX1846" fmla="*/ 1168248 w 1526442"/>
                <a:gd name="connsiteY1846" fmla="*/ 187762 h 1683492"/>
                <a:gd name="connsiteX1847" fmla="*/ 1164054 w 1526442"/>
                <a:gd name="connsiteY1847" fmla="*/ 187762 h 1683492"/>
                <a:gd name="connsiteX1848" fmla="*/ 1155765 w 1526442"/>
                <a:gd name="connsiteY1848" fmla="*/ 184555 h 1683492"/>
                <a:gd name="connsiteX1849" fmla="*/ 1151571 w 1526442"/>
                <a:gd name="connsiteY1849" fmla="*/ 186134 h 1683492"/>
                <a:gd name="connsiteX1850" fmla="*/ 1147427 w 1526442"/>
                <a:gd name="connsiteY1850" fmla="*/ 189391 h 1683492"/>
                <a:gd name="connsiteX1851" fmla="*/ 1143233 w 1526442"/>
                <a:gd name="connsiteY1851" fmla="*/ 191019 h 1683492"/>
                <a:gd name="connsiteX1852" fmla="*/ 1134943 w 1526442"/>
                <a:gd name="connsiteY1852" fmla="*/ 189391 h 1683492"/>
                <a:gd name="connsiteX1853" fmla="*/ 1128677 w 1526442"/>
                <a:gd name="connsiteY1853" fmla="*/ 192598 h 1683492"/>
                <a:gd name="connsiteX1854" fmla="*/ 1126605 w 1526442"/>
                <a:gd name="connsiteY1854" fmla="*/ 194226 h 1683492"/>
                <a:gd name="connsiteX1855" fmla="*/ 1124533 w 1526442"/>
                <a:gd name="connsiteY1855" fmla="*/ 194226 h 1683492"/>
                <a:gd name="connsiteX1856" fmla="*/ 1124533 w 1526442"/>
                <a:gd name="connsiteY1856" fmla="*/ 189292 h 1683492"/>
                <a:gd name="connsiteX1857" fmla="*/ 1120339 w 1526442"/>
                <a:gd name="connsiteY1857" fmla="*/ 187664 h 1683492"/>
                <a:gd name="connsiteX1858" fmla="*/ 1114122 w 1526442"/>
                <a:gd name="connsiteY1858" fmla="*/ 187664 h 1683492"/>
                <a:gd name="connsiteX1859" fmla="*/ 1112000 w 1526442"/>
                <a:gd name="connsiteY1859" fmla="*/ 186036 h 1683492"/>
                <a:gd name="connsiteX1860" fmla="*/ 1107856 w 1526442"/>
                <a:gd name="connsiteY1860" fmla="*/ 186036 h 1683492"/>
                <a:gd name="connsiteX1861" fmla="*/ 1105783 w 1526442"/>
                <a:gd name="connsiteY1861" fmla="*/ 189292 h 1683492"/>
                <a:gd name="connsiteX1862" fmla="*/ 1116194 w 1526442"/>
                <a:gd name="connsiteY1862" fmla="*/ 189292 h 1683492"/>
                <a:gd name="connsiteX1863" fmla="*/ 1120339 w 1526442"/>
                <a:gd name="connsiteY1863" fmla="*/ 192499 h 1683492"/>
                <a:gd name="connsiteX1864" fmla="*/ 1120339 w 1526442"/>
                <a:gd name="connsiteY1864" fmla="*/ 198963 h 1683492"/>
                <a:gd name="connsiteX1865" fmla="*/ 1114122 w 1526442"/>
                <a:gd name="connsiteY1865" fmla="*/ 200591 h 1683492"/>
                <a:gd name="connsiteX1866" fmla="*/ 1105783 w 1526442"/>
                <a:gd name="connsiteY1866" fmla="*/ 200591 h 1683492"/>
                <a:gd name="connsiteX1867" fmla="*/ 1099517 w 1526442"/>
                <a:gd name="connsiteY1867" fmla="*/ 203798 h 1683492"/>
                <a:gd name="connsiteX1868" fmla="*/ 1093301 w 1526442"/>
                <a:gd name="connsiteY1868" fmla="*/ 205426 h 1683492"/>
                <a:gd name="connsiteX1869" fmla="*/ 1082889 w 1526442"/>
                <a:gd name="connsiteY1869" fmla="*/ 207055 h 1683492"/>
                <a:gd name="connsiteX1870" fmla="*/ 1078695 w 1526442"/>
                <a:gd name="connsiteY1870" fmla="*/ 208683 h 1683492"/>
                <a:gd name="connsiteX1871" fmla="*/ 1076623 w 1526442"/>
                <a:gd name="connsiteY1871" fmla="*/ 211890 h 1683492"/>
                <a:gd name="connsiteX1872" fmla="*/ 1070357 w 1526442"/>
                <a:gd name="connsiteY1872" fmla="*/ 213518 h 1683492"/>
                <a:gd name="connsiteX1873" fmla="*/ 1064140 w 1526442"/>
                <a:gd name="connsiteY1873" fmla="*/ 213518 h 1683492"/>
                <a:gd name="connsiteX1874" fmla="*/ 1057874 w 1526442"/>
                <a:gd name="connsiteY1874" fmla="*/ 216725 h 1683492"/>
                <a:gd name="connsiteX1875" fmla="*/ 1051706 w 1526442"/>
                <a:gd name="connsiteY1875" fmla="*/ 216725 h 1683492"/>
                <a:gd name="connsiteX1876" fmla="*/ 1049584 w 1526442"/>
                <a:gd name="connsiteY1876" fmla="*/ 221659 h 1683492"/>
                <a:gd name="connsiteX1877" fmla="*/ 1047512 w 1526442"/>
                <a:gd name="connsiteY1877" fmla="*/ 224866 h 1683492"/>
                <a:gd name="connsiteX1878" fmla="*/ 1051706 w 1526442"/>
                <a:gd name="connsiteY1878" fmla="*/ 228123 h 1683492"/>
                <a:gd name="connsiteX1879" fmla="*/ 1053779 w 1526442"/>
                <a:gd name="connsiteY1879" fmla="*/ 233057 h 1683492"/>
                <a:gd name="connsiteX1880" fmla="*/ 1053779 w 1526442"/>
                <a:gd name="connsiteY1880" fmla="*/ 237991 h 1683492"/>
                <a:gd name="connsiteX1881" fmla="*/ 1055851 w 1526442"/>
                <a:gd name="connsiteY1881" fmla="*/ 241198 h 1683492"/>
                <a:gd name="connsiteX1882" fmla="*/ 1059996 w 1526442"/>
                <a:gd name="connsiteY1882" fmla="*/ 241198 h 1683492"/>
                <a:gd name="connsiteX1883" fmla="*/ 1062117 w 1526442"/>
                <a:gd name="connsiteY1883" fmla="*/ 237991 h 1683492"/>
                <a:gd name="connsiteX1884" fmla="*/ 1064190 w 1526442"/>
                <a:gd name="connsiteY1884" fmla="*/ 233057 h 1683492"/>
                <a:gd name="connsiteX1885" fmla="*/ 1068334 w 1526442"/>
                <a:gd name="connsiteY1885" fmla="*/ 229800 h 1683492"/>
                <a:gd name="connsiteX1886" fmla="*/ 1074600 w 1526442"/>
                <a:gd name="connsiteY1886" fmla="*/ 228222 h 1683492"/>
                <a:gd name="connsiteX1887" fmla="*/ 1078745 w 1526442"/>
                <a:gd name="connsiteY1887" fmla="*/ 226593 h 1683492"/>
                <a:gd name="connsiteX1888" fmla="*/ 1085011 w 1526442"/>
                <a:gd name="connsiteY1888" fmla="*/ 224965 h 1683492"/>
                <a:gd name="connsiteX1889" fmla="*/ 1091179 w 1526442"/>
                <a:gd name="connsiteY1889" fmla="*/ 224965 h 1683492"/>
                <a:gd name="connsiteX1890" fmla="*/ 1093301 w 1526442"/>
                <a:gd name="connsiteY1890" fmla="*/ 223337 h 1683492"/>
                <a:gd name="connsiteX1891" fmla="*/ 1097445 w 1526442"/>
                <a:gd name="connsiteY1891" fmla="*/ 218403 h 1683492"/>
                <a:gd name="connsiteX1892" fmla="*/ 1107856 w 1526442"/>
                <a:gd name="connsiteY1892" fmla="*/ 216775 h 1683492"/>
                <a:gd name="connsiteX1893" fmla="*/ 1122658 w 1526442"/>
                <a:gd name="connsiteY1893" fmla="*/ 211841 h 1683492"/>
                <a:gd name="connsiteX1894" fmla="*/ 1126852 w 1526442"/>
                <a:gd name="connsiteY1894" fmla="*/ 211841 h 1683492"/>
                <a:gd name="connsiteX1895" fmla="*/ 1126852 w 1526442"/>
                <a:gd name="connsiteY1895" fmla="*/ 218156 h 1683492"/>
                <a:gd name="connsiteX1896" fmla="*/ 1128924 w 1526442"/>
                <a:gd name="connsiteY1896" fmla="*/ 218156 h 1683492"/>
                <a:gd name="connsiteX1897" fmla="*/ 1133069 w 1526442"/>
                <a:gd name="connsiteY1897" fmla="*/ 214949 h 1683492"/>
                <a:gd name="connsiteX1898" fmla="*/ 1133069 w 1526442"/>
                <a:gd name="connsiteY1898" fmla="*/ 210015 h 1683492"/>
                <a:gd name="connsiteX1899" fmla="*/ 1137262 w 1526442"/>
                <a:gd name="connsiteY1899" fmla="*/ 203551 h 1683492"/>
                <a:gd name="connsiteX1900" fmla="*/ 1141407 w 1526442"/>
                <a:gd name="connsiteY1900" fmla="*/ 203551 h 1683492"/>
                <a:gd name="connsiteX1901" fmla="*/ 1149746 w 1526442"/>
                <a:gd name="connsiteY1901" fmla="*/ 205180 h 1683492"/>
                <a:gd name="connsiteX1902" fmla="*/ 1170123 w 1526442"/>
                <a:gd name="connsiteY1902" fmla="*/ 205180 h 1683492"/>
                <a:gd name="connsiteX1903" fmla="*/ 1176340 w 1526442"/>
                <a:gd name="connsiteY1903" fmla="*/ 206808 h 1683492"/>
                <a:gd name="connsiteX1904" fmla="*/ 1182557 w 1526442"/>
                <a:gd name="connsiteY1904" fmla="*/ 208436 h 1683492"/>
                <a:gd name="connsiteX1905" fmla="*/ 1199234 w 1526442"/>
                <a:gd name="connsiteY1905" fmla="*/ 206808 h 1683492"/>
                <a:gd name="connsiteX1906" fmla="*/ 1205500 w 1526442"/>
                <a:gd name="connsiteY1906" fmla="*/ 208436 h 1683492"/>
                <a:gd name="connsiteX1907" fmla="*/ 1211717 w 1526442"/>
                <a:gd name="connsiteY1907" fmla="*/ 211643 h 1683492"/>
                <a:gd name="connsiteX1908" fmla="*/ 1222128 w 1526442"/>
                <a:gd name="connsiteY1908" fmla="*/ 213271 h 1683492"/>
                <a:gd name="connsiteX1909" fmla="*/ 1242950 w 1526442"/>
                <a:gd name="connsiteY1909" fmla="*/ 213271 h 1683492"/>
                <a:gd name="connsiteX1910" fmla="*/ 1242950 w 1526442"/>
                <a:gd name="connsiteY1910" fmla="*/ 216479 h 1683492"/>
                <a:gd name="connsiteX1911" fmla="*/ 1245022 w 1526442"/>
                <a:gd name="connsiteY1911" fmla="*/ 219735 h 1683492"/>
                <a:gd name="connsiteX1912" fmla="*/ 1245022 w 1526442"/>
                <a:gd name="connsiteY1912" fmla="*/ 222942 h 1683492"/>
                <a:gd name="connsiteX1913" fmla="*/ 1238805 w 1526442"/>
                <a:gd name="connsiteY1913" fmla="*/ 224570 h 1683492"/>
                <a:gd name="connsiteX1914" fmla="*/ 1238805 w 1526442"/>
                <a:gd name="connsiteY1914" fmla="*/ 229504 h 1683492"/>
                <a:gd name="connsiteX1915" fmla="*/ 1234759 w 1526442"/>
                <a:gd name="connsiteY1915" fmla="*/ 235919 h 1683492"/>
                <a:gd name="connsiteX1916" fmla="*/ 1230614 w 1526442"/>
                <a:gd name="connsiteY1916" fmla="*/ 237547 h 1683492"/>
                <a:gd name="connsiteX1917" fmla="*/ 1213937 w 1526442"/>
                <a:gd name="connsiteY1917" fmla="*/ 239175 h 1683492"/>
                <a:gd name="connsiteX1918" fmla="*/ 1205648 w 1526442"/>
                <a:gd name="connsiteY1918" fmla="*/ 242382 h 1683492"/>
                <a:gd name="connsiteX1919" fmla="*/ 1203527 w 1526442"/>
                <a:gd name="connsiteY1919" fmla="*/ 242382 h 1683492"/>
                <a:gd name="connsiteX1920" fmla="*/ 1199382 w 1526442"/>
                <a:gd name="connsiteY1920" fmla="*/ 240754 h 1683492"/>
                <a:gd name="connsiteX1921" fmla="*/ 1197310 w 1526442"/>
                <a:gd name="connsiteY1921" fmla="*/ 242382 h 1683492"/>
                <a:gd name="connsiteX1922" fmla="*/ 1195237 w 1526442"/>
                <a:gd name="connsiteY1922" fmla="*/ 245639 h 1683492"/>
                <a:gd name="connsiteX1923" fmla="*/ 1197310 w 1526442"/>
                <a:gd name="connsiteY1923" fmla="*/ 250573 h 1683492"/>
                <a:gd name="connsiteX1924" fmla="*/ 1195237 w 1526442"/>
                <a:gd name="connsiteY1924" fmla="*/ 255507 h 1683492"/>
                <a:gd name="connsiteX1925" fmla="*/ 1195237 w 1526442"/>
                <a:gd name="connsiteY1925" fmla="*/ 258763 h 1683492"/>
                <a:gd name="connsiteX1926" fmla="*/ 1197310 w 1526442"/>
                <a:gd name="connsiteY1926" fmla="*/ 258763 h 1683492"/>
                <a:gd name="connsiteX1927" fmla="*/ 1205648 w 1526442"/>
                <a:gd name="connsiteY1927" fmla="*/ 257135 h 1683492"/>
                <a:gd name="connsiteX1928" fmla="*/ 1216059 w 1526442"/>
                <a:gd name="connsiteY1928" fmla="*/ 253879 h 1683492"/>
                <a:gd name="connsiteX1929" fmla="*/ 1222276 w 1526442"/>
                <a:gd name="connsiteY1929" fmla="*/ 252300 h 1683492"/>
                <a:gd name="connsiteX1930" fmla="*/ 1234759 w 1526442"/>
                <a:gd name="connsiteY1930" fmla="*/ 252300 h 1683492"/>
                <a:gd name="connsiteX1931" fmla="*/ 1247292 w 1526442"/>
                <a:gd name="connsiteY1931" fmla="*/ 255507 h 1683492"/>
                <a:gd name="connsiteX1932" fmla="*/ 1251436 w 1526442"/>
                <a:gd name="connsiteY1932" fmla="*/ 255507 h 1683492"/>
                <a:gd name="connsiteX1933" fmla="*/ 1257702 w 1526442"/>
                <a:gd name="connsiteY1933" fmla="*/ 258763 h 1683492"/>
                <a:gd name="connsiteX1934" fmla="*/ 1259775 w 1526442"/>
                <a:gd name="connsiteY1934" fmla="*/ 257135 h 1683492"/>
                <a:gd name="connsiteX1935" fmla="*/ 1261847 w 1526442"/>
                <a:gd name="connsiteY1935" fmla="*/ 253879 h 1683492"/>
                <a:gd name="connsiteX1936" fmla="*/ 1263919 w 1526442"/>
                <a:gd name="connsiteY1936" fmla="*/ 252300 h 1683492"/>
                <a:gd name="connsiteX1937" fmla="*/ 1268113 w 1526442"/>
                <a:gd name="connsiteY1937" fmla="*/ 253879 h 1683492"/>
                <a:gd name="connsiteX1938" fmla="*/ 1272257 w 1526442"/>
                <a:gd name="connsiteY1938" fmla="*/ 257135 h 1683492"/>
                <a:gd name="connsiteX1939" fmla="*/ 1278524 w 1526442"/>
                <a:gd name="connsiteY1939" fmla="*/ 249043 h 1683492"/>
                <a:gd name="connsiteX1940" fmla="*/ 1280596 w 1526442"/>
                <a:gd name="connsiteY1940" fmla="*/ 240951 h 1683492"/>
                <a:gd name="connsiteX1941" fmla="*/ 1280596 w 1526442"/>
                <a:gd name="connsiteY1941" fmla="*/ 232712 h 1683492"/>
                <a:gd name="connsiteX1942" fmla="*/ 1282669 w 1526442"/>
                <a:gd name="connsiteY1942" fmla="*/ 229455 h 1683492"/>
                <a:gd name="connsiteX1943" fmla="*/ 1282669 w 1526442"/>
                <a:gd name="connsiteY1943" fmla="*/ 221413 h 1683492"/>
                <a:gd name="connsiteX1944" fmla="*/ 1288935 w 1526442"/>
                <a:gd name="connsiteY1944" fmla="*/ 219784 h 1683492"/>
                <a:gd name="connsiteX1945" fmla="*/ 1297224 w 1526442"/>
                <a:gd name="connsiteY1945" fmla="*/ 219784 h 1683492"/>
                <a:gd name="connsiteX1946" fmla="*/ 1303540 w 1526442"/>
                <a:gd name="connsiteY1946" fmla="*/ 221413 h 1683492"/>
                <a:gd name="connsiteX1947" fmla="*/ 1313950 w 1526442"/>
                <a:gd name="connsiteY1947" fmla="*/ 221413 h 1683492"/>
                <a:gd name="connsiteX1948" fmla="*/ 1322239 w 1526442"/>
                <a:gd name="connsiteY1948" fmla="*/ 219784 h 1683492"/>
                <a:gd name="connsiteX1949" fmla="*/ 1326384 w 1526442"/>
                <a:gd name="connsiteY1949" fmla="*/ 221413 h 1683492"/>
                <a:gd name="connsiteX1950" fmla="*/ 1328506 w 1526442"/>
                <a:gd name="connsiteY1950" fmla="*/ 226347 h 1683492"/>
                <a:gd name="connsiteX1951" fmla="*/ 1326384 w 1526442"/>
                <a:gd name="connsiteY1951" fmla="*/ 237646 h 1683492"/>
                <a:gd name="connsiteX1952" fmla="*/ 1328506 w 1526442"/>
                <a:gd name="connsiteY1952" fmla="*/ 244109 h 1683492"/>
                <a:gd name="connsiteX1953" fmla="*/ 1320167 w 1526442"/>
                <a:gd name="connsiteY1953" fmla="*/ 250721 h 1683492"/>
                <a:gd name="connsiteX1954" fmla="*/ 1315974 w 1526442"/>
                <a:gd name="connsiteY1954" fmla="*/ 260589 h 1683492"/>
                <a:gd name="connsiteX1955" fmla="*/ 1313950 w 1526442"/>
                <a:gd name="connsiteY1955" fmla="*/ 268681 h 1683492"/>
                <a:gd name="connsiteX1956" fmla="*/ 1311828 w 1526442"/>
                <a:gd name="connsiteY1956" fmla="*/ 273615 h 1683492"/>
                <a:gd name="connsiteX1957" fmla="*/ 1291007 w 1526442"/>
                <a:gd name="connsiteY1957" fmla="*/ 289798 h 1683492"/>
                <a:gd name="connsiteX1958" fmla="*/ 1286813 w 1526442"/>
                <a:gd name="connsiteY1958" fmla="*/ 289798 h 1683492"/>
                <a:gd name="connsiteX1959" fmla="*/ 1284741 w 1526442"/>
                <a:gd name="connsiteY1959" fmla="*/ 288170 h 1683492"/>
                <a:gd name="connsiteX1960" fmla="*/ 1278524 w 1526442"/>
                <a:gd name="connsiteY1960" fmla="*/ 289798 h 1683492"/>
                <a:gd name="connsiteX1961" fmla="*/ 1274330 w 1526442"/>
                <a:gd name="connsiteY1961" fmla="*/ 294732 h 1683492"/>
                <a:gd name="connsiteX1962" fmla="*/ 1270186 w 1526442"/>
                <a:gd name="connsiteY1962" fmla="*/ 293104 h 1683492"/>
                <a:gd name="connsiteX1963" fmla="*/ 1268113 w 1526442"/>
                <a:gd name="connsiteY1963" fmla="*/ 293104 h 1683492"/>
                <a:gd name="connsiteX1964" fmla="*/ 1263919 w 1526442"/>
                <a:gd name="connsiteY1964" fmla="*/ 301196 h 1683492"/>
                <a:gd name="connsiteX1965" fmla="*/ 1261847 w 1526442"/>
                <a:gd name="connsiteY1965" fmla="*/ 304403 h 1683492"/>
                <a:gd name="connsiteX1966" fmla="*/ 1255580 w 1526442"/>
                <a:gd name="connsiteY1966" fmla="*/ 307660 h 1683492"/>
                <a:gd name="connsiteX1967" fmla="*/ 1251436 w 1526442"/>
                <a:gd name="connsiteY1967" fmla="*/ 310867 h 1683492"/>
                <a:gd name="connsiteX1968" fmla="*/ 1247292 w 1526442"/>
                <a:gd name="connsiteY1968" fmla="*/ 310867 h 1683492"/>
                <a:gd name="connsiteX1969" fmla="*/ 1247292 w 1526442"/>
                <a:gd name="connsiteY1969" fmla="*/ 309238 h 1683492"/>
                <a:gd name="connsiteX1970" fmla="*/ 1245170 w 1526442"/>
                <a:gd name="connsiteY1970" fmla="*/ 310867 h 1683492"/>
                <a:gd name="connsiteX1971" fmla="*/ 1245170 w 1526442"/>
                <a:gd name="connsiteY1971" fmla="*/ 315801 h 1683492"/>
                <a:gd name="connsiteX1972" fmla="*/ 1243098 w 1526442"/>
                <a:gd name="connsiteY1972" fmla="*/ 320735 h 1683492"/>
                <a:gd name="connsiteX1973" fmla="*/ 1236881 w 1526442"/>
                <a:gd name="connsiteY1973" fmla="*/ 327198 h 1683492"/>
                <a:gd name="connsiteX1974" fmla="*/ 1230614 w 1526442"/>
                <a:gd name="connsiteY1974" fmla="*/ 330405 h 1683492"/>
                <a:gd name="connsiteX1975" fmla="*/ 1228542 w 1526442"/>
                <a:gd name="connsiteY1975" fmla="*/ 335339 h 1683492"/>
                <a:gd name="connsiteX1976" fmla="*/ 1218131 w 1526442"/>
                <a:gd name="connsiteY1976" fmla="*/ 341803 h 1683492"/>
                <a:gd name="connsiteX1977" fmla="*/ 1211865 w 1526442"/>
                <a:gd name="connsiteY1977" fmla="*/ 348267 h 1683492"/>
                <a:gd name="connsiteX1978" fmla="*/ 1205648 w 1526442"/>
                <a:gd name="connsiteY1978" fmla="*/ 348267 h 1683492"/>
                <a:gd name="connsiteX1979" fmla="*/ 1197310 w 1526442"/>
                <a:gd name="connsiteY1979" fmla="*/ 354730 h 1683492"/>
                <a:gd name="connsiteX1980" fmla="*/ 1195237 w 1526442"/>
                <a:gd name="connsiteY1980" fmla="*/ 357987 h 1683492"/>
                <a:gd name="connsiteX1981" fmla="*/ 1191093 w 1526442"/>
                <a:gd name="connsiteY1981" fmla="*/ 357987 h 1683492"/>
                <a:gd name="connsiteX1982" fmla="*/ 1191093 w 1526442"/>
                <a:gd name="connsiteY1982" fmla="*/ 367855 h 1683492"/>
                <a:gd name="connsiteX1983" fmla="*/ 1186899 w 1526442"/>
                <a:gd name="connsiteY1983" fmla="*/ 375947 h 1683492"/>
                <a:gd name="connsiteX1984" fmla="*/ 1188971 w 1526442"/>
                <a:gd name="connsiteY1984" fmla="*/ 377525 h 1683492"/>
                <a:gd name="connsiteX1985" fmla="*/ 1191093 w 1526442"/>
                <a:gd name="connsiteY1985" fmla="*/ 374318 h 1683492"/>
                <a:gd name="connsiteX1986" fmla="*/ 1193116 w 1526442"/>
                <a:gd name="connsiteY1986" fmla="*/ 371062 h 1683492"/>
                <a:gd name="connsiteX1987" fmla="*/ 1199382 w 1526442"/>
                <a:gd name="connsiteY1987" fmla="*/ 363019 h 1683492"/>
                <a:gd name="connsiteX1988" fmla="*/ 1203527 w 1526442"/>
                <a:gd name="connsiteY1988" fmla="*/ 356556 h 1683492"/>
                <a:gd name="connsiteX1989" fmla="*/ 1211865 w 1526442"/>
                <a:gd name="connsiteY1989" fmla="*/ 353299 h 1683492"/>
                <a:gd name="connsiteX1990" fmla="*/ 1213937 w 1526442"/>
                <a:gd name="connsiteY1990" fmla="*/ 353299 h 1683492"/>
                <a:gd name="connsiteX1991" fmla="*/ 1216059 w 1526442"/>
                <a:gd name="connsiteY1991" fmla="*/ 356556 h 1683492"/>
                <a:gd name="connsiteX1992" fmla="*/ 1220204 w 1526442"/>
                <a:gd name="connsiteY1992" fmla="*/ 350092 h 1683492"/>
                <a:gd name="connsiteX1993" fmla="*/ 1232687 w 1526442"/>
                <a:gd name="connsiteY1993" fmla="*/ 342000 h 1683492"/>
                <a:gd name="connsiteX1994" fmla="*/ 1236881 w 1526442"/>
                <a:gd name="connsiteY1994" fmla="*/ 340372 h 1683492"/>
                <a:gd name="connsiteX1995" fmla="*/ 1238953 w 1526442"/>
                <a:gd name="connsiteY1995" fmla="*/ 335438 h 1683492"/>
                <a:gd name="connsiteX1996" fmla="*/ 1251436 w 1526442"/>
                <a:gd name="connsiteY1996" fmla="*/ 327396 h 1683492"/>
                <a:gd name="connsiteX1997" fmla="*/ 1259775 w 1526442"/>
                <a:gd name="connsiteY1997" fmla="*/ 319304 h 1683492"/>
                <a:gd name="connsiteX1998" fmla="*/ 1263919 w 1526442"/>
                <a:gd name="connsiteY1998" fmla="*/ 317676 h 1683492"/>
                <a:gd name="connsiteX1999" fmla="*/ 1268113 w 1526442"/>
                <a:gd name="connsiteY1999" fmla="*/ 319304 h 1683492"/>
                <a:gd name="connsiteX2000" fmla="*/ 1274330 w 1526442"/>
                <a:gd name="connsiteY2000" fmla="*/ 317676 h 1683492"/>
                <a:gd name="connsiteX2001" fmla="*/ 1278524 w 1526442"/>
                <a:gd name="connsiteY2001" fmla="*/ 314468 h 1683492"/>
                <a:gd name="connsiteX2002" fmla="*/ 1280596 w 1526442"/>
                <a:gd name="connsiteY2002" fmla="*/ 312840 h 1683492"/>
                <a:gd name="connsiteX2003" fmla="*/ 1286813 w 1526442"/>
                <a:gd name="connsiteY2003" fmla="*/ 311212 h 1683492"/>
                <a:gd name="connsiteX2004" fmla="*/ 1297224 w 1526442"/>
                <a:gd name="connsiteY2004" fmla="*/ 311212 h 1683492"/>
                <a:gd name="connsiteX2005" fmla="*/ 1305562 w 1526442"/>
                <a:gd name="connsiteY2005" fmla="*/ 308005 h 1683492"/>
                <a:gd name="connsiteX2006" fmla="*/ 1311828 w 1526442"/>
                <a:gd name="connsiteY2006" fmla="*/ 301541 h 1683492"/>
                <a:gd name="connsiteX2007" fmla="*/ 1318144 w 1526442"/>
                <a:gd name="connsiteY2007" fmla="*/ 301541 h 1683492"/>
                <a:gd name="connsiteX2008" fmla="*/ 1324411 w 1526442"/>
                <a:gd name="connsiteY2008" fmla="*/ 298285 h 1683492"/>
                <a:gd name="connsiteX2009" fmla="*/ 1328555 w 1526442"/>
                <a:gd name="connsiteY2009" fmla="*/ 295078 h 1683492"/>
                <a:gd name="connsiteX2010" fmla="*/ 1332699 w 1526442"/>
                <a:gd name="connsiteY2010" fmla="*/ 295078 h 1683492"/>
                <a:gd name="connsiteX2011" fmla="*/ 1338966 w 1526442"/>
                <a:gd name="connsiteY2011" fmla="*/ 290144 h 1683492"/>
                <a:gd name="connsiteX2012" fmla="*/ 1347255 w 1526442"/>
                <a:gd name="connsiteY2012" fmla="*/ 282052 h 1683492"/>
                <a:gd name="connsiteX2013" fmla="*/ 1351449 w 1526442"/>
                <a:gd name="connsiteY2013" fmla="*/ 275588 h 1683492"/>
                <a:gd name="connsiteX2014" fmla="*/ 1351449 w 1526442"/>
                <a:gd name="connsiteY2014" fmla="*/ 272332 h 1683492"/>
                <a:gd name="connsiteX2015" fmla="*/ 1355643 w 1526442"/>
                <a:gd name="connsiteY2015" fmla="*/ 267398 h 1683492"/>
                <a:gd name="connsiteX2016" fmla="*/ 1357666 w 1526442"/>
                <a:gd name="connsiteY2016" fmla="*/ 264191 h 1683492"/>
                <a:gd name="connsiteX2017" fmla="*/ 1359787 w 1526442"/>
                <a:gd name="connsiteY2017" fmla="*/ 262562 h 1683492"/>
                <a:gd name="connsiteX2018" fmla="*/ 1359787 w 1526442"/>
                <a:gd name="connsiteY2018" fmla="*/ 265819 h 1683492"/>
                <a:gd name="connsiteX2019" fmla="*/ 1363932 w 1526442"/>
                <a:gd name="connsiteY2019" fmla="*/ 270753 h 1683492"/>
                <a:gd name="connsiteX2020" fmla="*/ 1363932 w 1526442"/>
                <a:gd name="connsiteY2020" fmla="*/ 273960 h 1683492"/>
                <a:gd name="connsiteX2021" fmla="*/ 1361860 w 1526442"/>
                <a:gd name="connsiteY2021" fmla="*/ 278894 h 1683492"/>
                <a:gd name="connsiteX2022" fmla="*/ 1363932 w 1526442"/>
                <a:gd name="connsiteY2022" fmla="*/ 283828 h 1683492"/>
                <a:gd name="connsiteX2023" fmla="*/ 1366053 w 1526442"/>
                <a:gd name="connsiteY2023" fmla="*/ 290292 h 1683492"/>
                <a:gd name="connsiteX2024" fmla="*/ 1363932 w 1526442"/>
                <a:gd name="connsiteY2024" fmla="*/ 291871 h 1683492"/>
                <a:gd name="connsiteX2025" fmla="*/ 1363932 w 1526442"/>
                <a:gd name="connsiteY2025" fmla="*/ 296805 h 1683492"/>
                <a:gd name="connsiteX2026" fmla="*/ 1366053 w 1526442"/>
                <a:gd name="connsiteY2026" fmla="*/ 293548 h 1683492"/>
                <a:gd name="connsiteX2027" fmla="*/ 1368077 w 1526442"/>
                <a:gd name="connsiteY2027" fmla="*/ 288614 h 1683492"/>
                <a:gd name="connsiteX2028" fmla="*/ 1372270 w 1526442"/>
                <a:gd name="connsiteY2028" fmla="*/ 283680 h 1683492"/>
                <a:gd name="connsiteX2029" fmla="*/ 1370199 w 1526442"/>
                <a:gd name="connsiteY2029" fmla="*/ 282052 h 1683492"/>
                <a:gd name="connsiteX2030" fmla="*/ 1370199 w 1526442"/>
                <a:gd name="connsiteY2030" fmla="*/ 275588 h 1683492"/>
                <a:gd name="connsiteX2031" fmla="*/ 1372270 w 1526442"/>
                <a:gd name="connsiteY2031" fmla="*/ 273960 h 1683492"/>
                <a:gd name="connsiteX2032" fmla="*/ 1376464 w 1526442"/>
                <a:gd name="connsiteY2032" fmla="*/ 275588 h 1683492"/>
                <a:gd name="connsiteX2033" fmla="*/ 1376464 w 1526442"/>
                <a:gd name="connsiteY2033" fmla="*/ 278795 h 1683492"/>
                <a:gd name="connsiteX2034" fmla="*/ 1380609 w 1526442"/>
                <a:gd name="connsiteY2034" fmla="*/ 283729 h 1683492"/>
                <a:gd name="connsiteX2035" fmla="*/ 1386876 w 1526442"/>
                <a:gd name="connsiteY2035" fmla="*/ 283729 h 1683492"/>
                <a:gd name="connsiteX2036" fmla="*/ 1393092 w 1526442"/>
                <a:gd name="connsiteY2036" fmla="*/ 280473 h 1683492"/>
                <a:gd name="connsiteX2037" fmla="*/ 1395164 w 1526442"/>
                <a:gd name="connsiteY2037" fmla="*/ 277266 h 1683492"/>
                <a:gd name="connsiteX2038" fmla="*/ 1393092 w 1526442"/>
                <a:gd name="connsiteY2038" fmla="*/ 274009 h 1683492"/>
                <a:gd name="connsiteX2039" fmla="*/ 1393092 w 1526442"/>
                <a:gd name="connsiteY2039" fmla="*/ 270802 h 1683492"/>
                <a:gd name="connsiteX2040" fmla="*/ 1397286 w 1526442"/>
                <a:gd name="connsiteY2040" fmla="*/ 270802 h 1683492"/>
                <a:gd name="connsiteX2041" fmla="*/ 1399309 w 1526442"/>
                <a:gd name="connsiteY2041" fmla="*/ 267546 h 1683492"/>
                <a:gd name="connsiteX2042" fmla="*/ 1399309 w 1526442"/>
                <a:gd name="connsiteY2042" fmla="*/ 255309 h 1683492"/>
                <a:gd name="connsiteX2043" fmla="*/ 1401431 w 1526442"/>
                <a:gd name="connsiteY2043" fmla="*/ 252102 h 1683492"/>
                <a:gd name="connsiteX2044" fmla="*/ 1405575 w 1526442"/>
                <a:gd name="connsiteY2044" fmla="*/ 250474 h 1683492"/>
                <a:gd name="connsiteX2045" fmla="*/ 1407697 w 1526442"/>
                <a:gd name="connsiteY2045" fmla="*/ 253681 h 1683492"/>
                <a:gd name="connsiteX2046" fmla="*/ 1413914 w 1526442"/>
                <a:gd name="connsiteY2046" fmla="*/ 255309 h 1683492"/>
                <a:gd name="connsiteX2047" fmla="*/ 1420131 w 1526442"/>
                <a:gd name="connsiteY2047" fmla="*/ 253681 h 1683492"/>
                <a:gd name="connsiteX2048" fmla="*/ 1424325 w 1526442"/>
                <a:gd name="connsiteY2048" fmla="*/ 250474 h 1683492"/>
                <a:gd name="connsiteX2049" fmla="*/ 1432663 w 1526442"/>
                <a:gd name="connsiteY2049" fmla="*/ 247218 h 1683492"/>
                <a:gd name="connsiteX2050" fmla="*/ 1440952 w 1526442"/>
                <a:gd name="connsiteY2050" fmla="*/ 247218 h 1683492"/>
                <a:gd name="connsiteX2051" fmla="*/ 1445146 w 1526442"/>
                <a:gd name="connsiteY2051" fmla="*/ 245639 h 1683492"/>
                <a:gd name="connsiteX2052" fmla="*/ 1455557 w 1526442"/>
                <a:gd name="connsiteY2052" fmla="*/ 247218 h 1683492"/>
                <a:gd name="connsiteX2053" fmla="*/ 1463896 w 1526442"/>
                <a:gd name="connsiteY2053" fmla="*/ 252152 h 1683492"/>
                <a:gd name="connsiteX2054" fmla="*/ 1474307 w 1526442"/>
                <a:gd name="connsiteY2054" fmla="*/ 253731 h 1683492"/>
                <a:gd name="connsiteX2055" fmla="*/ 1480523 w 1526442"/>
                <a:gd name="connsiteY2055" fmla="*/ 255359 h 1683492"/>
                <a:gd name="connsiteX2056" fmla="*/ 1486790 w 1526442"/>
                <a:gd name="connsiteY2056" fmla="*/ 256987 h 1683492"/>
                <a:gd name="connsiteX2057" fmla="*/ 1490934 w 1526442"/>
                <a:gd name="connsiteY2057" fmla="*/ 261921 h 1683492"/>
                <a:gd name="connsiteX2058" fmla="*/ 1495128 w 1526442"/>
                <a:gd name="connsiteY2058" fmla="*/ 261921 h 1683492"/>
                <a:gd name="connsiteX2059" fmla="*/ 1503467 w 1526442"/>
                <a:gd name="connsiteY2059" fmla="*/ 265177 h 1683492"/>
                <a:gd name="connsiteX2060" fmla="*/ 1505539 w 1526442"/>
                <a:gd name="connsiteY2060" fmla="*/ 270112 h 1683492"/>
                <a:gd name="connsiteX2061" fmla="*/ 1505539 w 1526442"/>
                <a:gd name="connsiteY2061" fmla="*/ 273319 h 1683492"/>
                <a:gd name="connsiteX2062" fmla="*/ 1515949 w 1526442"/>
                <a:gd name="connsiteY2062" fmla="*/ 281410 h 1683492"/>
                <a:gd name="connsiteX2063" fmla="*/ 1518022 w 1526442"/>
                <a:gd name="connsiteY2063" fmla="*/ 284618 h 1683492"/>
                <a:gd name="connsiteX2064" fmla="*/ 1524288 w 1526442"/>
                <a:gd name="connsiteY2064" fmla="*/ 287874 h 1683492"/>
                <a:gd name="connsiteX2065" fmla="*/ 1526360 w 1526442"/>
                <a:gd name="connsiteY2065" fmla="*/ 297742 h 1683492"/>
                <a:gd name="connsiteX2066" fmla="*/ 1526360 w 1526442"/>
                <a:gd name="connsiteY2066" fmla="*/ 304206 h 1683492"/>
                <a:gd name="connsiteX2067" fmla="*/ 1522166 w 1526442"/>
                <a:gd name="connsiteY2067" fmla="*/ 307462 h 1683492"/>
                <a:gd name="connsiteX2068" fmla="*/ 1515949 w 1526442"/>
                <a:gd name="connsiteY2068" fmla="*/ 310669 h 1683492"/>
                <a:gd name="connsiteX2069" fmla="*/ 1509733 w 1526442"/>
                <a:gd name="connsiteY2069" fmla="*/ 313926 h 1683492"/>
                <a:gd name="connsiteX2070" fmla="*/ 1507611 w 1526442"/>
                <a:gd name="connsiteY2070" fmla="*/ 317133 h 1683492"/>
                <a:gd name="connsiteX2071" fmla="*/ 1503467 w 1526442"/>
                <a:gd name="connsiteY2071" fmla="*/ 318761 h 1683492"/>
                <a:gd name="connsiteX2072" fmla="*/ 1497201 w 1526442"/>
                <a:gd name="connsiteY2072" fmla="*/ 321968 h 1683492"/>
                <a:gd name="connsiteX2073" fmla="*/ 1490934 w 1526442"/>
                <a:gd name="connsiteY2073" fmla="*/ 331836 h 1683492"/>
                <a:gd name="connsiteX2074" fmla="*/ 1486790 w 1526442"/>
                <a:gd name="connsiteY2074" fmla="*/ 335043 h 1683492"/>
                <a:gd name="connsiteX2075" fmla="*/ 1484717 w 1526442"/>
                <a:gd name="connsiteY2075" fmla="*/ 336672 h 1683492"/>
                <a:gd name="connsiteX2076" fmla="*/ 1478500 w 1526442"/>
                <a:gd name="connsiteY2076" fmla="*/ 335043 h 1683492"/>
                <a:gd name="connsiteX2077" fmla="*/ 1470113 w 1526442"/>
                <a:gd name="connsiteY2077" fmla="*/ 330109 h 1683492"/>
                <a:gd name="connsiteX2078" fmla="*/ 1466165 w 1526442"/>
                <a:gd name="connsiteY2078" fmla="*/ 330109 h 1683492"/>
                <a:gd name="connsiteX2079" fmla="*/ 1459899 w 1526442"/>
                <a:gd name="connsiteY2079" fmla="*/ 333316 h 1683492"/>
                <a:gd name="connsiteX2080" fmla="*/ 1457876 w 1526442"/>
                <a:gd name="connsiteY2080" fmla="*/ 338251 h 1683492"/>
                <a:gd name="connsiteX2081" fmla="*/ 1457876 w 1526442"/>
                <a:gd name="connsiteY2081" fmla="*/ 341458 h 1683492"/>
                <a:gd name="connsiteX2082" fmla="*/ 1459899 w 1526442"/>
                <a:gd name="connsiteY2082" fmla="*/ 343086 h 1683492"/>
                <a:gd name="connsiteX2083" fmla="*/ 1459899 w 1526442"/>
                <a:gd name="connsiteY2083" fmla="*/ 346293 h 1683492"/>
                <a:gd name="connsiteX2084" fmla="*/ 1464093 w 1526442"/>
                <a:gd name="connsiteY2084" fmla="*/ 351227 h 1683492"/>
                <a:gd name="connsiteX2085" fmla="*/ 1466165 w 1526442"/>
                <a:gd name="connsiteY2085" fmla="*/ 352806 h 1683492"/>
                <a:gd name="connsiteX2086" fmla="*/ 1466165 w 1526442"/>
                <a:gd name="connsiteY2086" fmla="*/ 356062 h 1683492"/>
                <a:gd name="connsiteX2087" fmla="*/ 1464093 w 1526442"/>
                <a:gd name="connsiteY2087" fmla="*/ 359270 h 1683492"/>
                <a:gd name="connsiteX2088" fmla="*/ 1453682 w 1526442"/>
                <a:gd name="connsiteY2088" fmla="*/ 359270 h 1683492"/>
                <a:gd name="connsiteX2089" fmla="*/ 1443271 w 1526442"/>
                <a:gd name="connsiteY2089" fmla="*/ 364204 h 1683492"/>
                <a:gd name="connsiteX2090" fmla="*/ 1437054 w 1526442"/>
                <a:gd name="connsiteY2090" fmla="*/ 369138 h 1683492"/>
                <a:gd name="connsiteX2091" fmla="*/ 1426594 w 1526442"/>
                <a:gd name="connsiteY2091" fmla="*/ 369138 h 1683492"/>
                <a:gd name="connsiteX2092" fmla="*/ 1422450 w 1526442"/>
                <a:gd name="connsiteY2092" fmla="*/ 367509 h 1683492"/>
                <a:gd name="connsiteX2093" fmla="*/ 1416183 w 1526442"/>
                <a:gd name="connsiteY2093" fmla="*/ 364302 h 1683492"/>
                <a:gd name="connsiteX2094" fmla="*/ 1409917 w 1526442"/>
                <a:gd name="connsiteY2094" fmla="*/ 364302 h 1683492"/>
                <a:gd name="connsiteX2095" fmla="*/ 1407894 w 1526442"/>
                <a:gd name="connsiteY2095" fmla="*/ 362674 h 1683492"/>
                <a:gd name="connsiteX2096" fmla="*/ 1403700 w 1526442"/>
                <a:gd name="connsiteY2096" fmla="*/ 362674 h 1683492"/>
                <a:gd name="connsiteX2097" fmla="*/ 1401628 w 1526442"/>
                <a:gd name="connsiteY2097" fmla="*/ 361046 h 1683492"/>
                <a:gd name="connsiteX2098" fmla="*/ 1397089 w 1526442"/>
                <a:gd name="connsiteY2098" fmla="*/ 361046 h 1683492"/>
                <a:gd name="connsiteX2099" fmla="*/ 1394967 w 1526442"/>
                <a:gd name="connsiteY2099" fmla="*/ 364302 h 1683492"/>
                <a:gd name="connsiteX2100" fmla="*/ 1392895 w 1526442"/>
                <a:gd name="connsiteY2100" fmla="*/ 364302 h 1683492"/>
                <a:gd name="connsiteX2101" fmla="*/ 1388701 w 1526442"/>
                <a:gd name="connsiteY2101" fmla="*/ 362674 h 1683492"/>
                <a:gd name="connsiteX2102" fmla="*/ 1384556 w 1526442"/>
                <a:gd name="connsiteY2102" fmla="*/ 364302 h 1683492"/>
                <a:gd name="connsiteX2103" fmla="*/ 1382484 w 1526442"/>
                <a:gd name="connsiteY2103" fmla="*/ 367509 h 1683492"/>
                <a:gd name="connsiteX2104" fmla="*/ 1374145 w 1526442"/>
                <a:gd name="connsiteY2104" fmla="*/ 367509 h 1683492"/>
                <a:gd name="connsiteX2105" fmla="*/ 1372073 w 1526442"/>
                <a:gd name="connsiteY2105" fmla="*/ 369138 h 1683492"/>
                <a:gd name="connsiteX2106" fmla="*/ 1367879 w 1526442"/>
                <a:gd name="connsiteY2106" fmla="*/ 370716 h 1683492"/>
                <a:gd name="connsiteX2107" fmla="*/ 1361662 w 1526442"/>
                <a:gd name="connsiteY2107" fmla="*/ 369138 h 1683492"/>
                <a:gd name="connsiteX2108" fmla="*/ 1355446 w 1526442"/>
                <a:gd name="connsiteY2108" fmla="*/ 367509 h 1683492"/>
                <a:gd name="connsiteX2109" fmla="*/ 1347058 w 1526442"/>
                <a:gd name="connsiteY2109" fmla="*/ 369138 h 1683492"/>
                <a:gd name="connsiteX2110" fmla="*/ 1342913 w 1526442"/>
                <a:gd name="connsiteY2110" fmla="*/ 372345 h 1683492"/>
                <a:gd name="connsiteX2111" fmla="*/ 1336647 w 1526442"/>
                <a:gd name="connsiteY2111" fmla="*/ 370716 h 1683492"/>
                <a:gd name="connsiteX2112" fmla="*/ 1330430 w 1526442"/>
                <a:gd name="connsiteY2112" fmla="*/ 372345 h 1683492"/>
                <a:gd name="connsiteX2113" fmla="*/ 1336647 w 1526442"/>
                <a:gd name="connsiteY2113" fmla="*/ 373973 h 1683492"/>
                <a:gd name="connsiteX2114" fmla="*/ 1355446 w 1526442"/>
                <a:gd name="connsiteY2114" fmla="*/ 373973 h 1683492"/>
                <a:gd name="connsiteX2115" fmla="*/ 1359590 w 1526442"/>
                <a:gd name="connsiteY2115" fmla="*/ 372345 h 1683492"/>
                <a:gd name="connsiteX2116" fmla="*/ 1365857 w 1526442"/>
                <a:gd name="connsiteY2116" fmla="*/ 372345 h 1683492"/>
                <a:gd name="connsiteX2117" fmla="*/ 1372073 w 1526442"/>
                <a:gd name="connsiteY2117" fmla="*/ 373973 h 1683492"/>
                <a:gd name="connsiteX2118" fmla="*/ 1378290 w 1526442"/>
                <a:gd name="connsiteY2118" fmla="*/ 375601 h 1683492"/>
                <a:gd name="connsiteX2119" fmla="*/ 1393092 w 1526442"/>
                <a:gd name="connsiteY2119" fmla="*/ 375601 h 1683492"/>
                <a:gd name="connsiteX2120" fmla="*/ 1399309 w 1526442"/>
                <a:gd name="connsiteY2120" fmla="*/ 378808 h 1683492"/>
                <a:gd name="connsiteX2121" fmla="*/ 1401431 w 1526442"/>
                <a:gd name="connsiteY2121" fmla="*/ 378808 h 1683492"/>
                <a:gd name="connsiteX2122" fmla="*/ 1405575 w 1526442"/>
                <a:gd name="connsiteY2122" fmla="*/ 375601 h 1683492"/>
                <a:gd name="connsiteX2123" fmla="*/ 1411891 w 1526442"/>
                <a:gd name="connsiteY2123" fmla="*/ 375601 h 1683492"/>
                <a:gd name="connsiteX2124" fmla="*/ 1416035 w 1526442"/>
                <a:gd name="connsiteY2124" fmla="*/ 377180 h 1683492"/>
                <a:gd name="connsiteX2125" fmla="*/ 1418108 w 1526442"/>
                <a:gd name="connsiteY2125" fmla="*/ 380437 h 1683492"/>
                <a:gd name="connsiteX2126" fmla="*/ 1424374 w 1526442"/>
                <a:gd name="connsiteY2126" fmla="*/ 382065 h 1683492"/>
                <a:gd name="connsiteX2127" fmla="*/ 1428519 w 1526442"/>
                <a:gd name="connsiteY2127" fmla="*/ 385272 h 1683492"/>
                <a:gd name="connsiteX2128" fmla="*/ 1428519 w 1526442"/>
                <a:gd name="connsiteY2128" fmla="*/ 390206 h 1683492"/>
                <a:gd name="connsiteX2129" fmla="*/ 1422302 w 1526442"/>
                <a:gd name="connsiteY2129" fmla="*/ 395140 h 1683492"/>
                <a:gd name="connsiteX2130" fmla="*/ 1413963 w 1526442"/>
                <a:gd name="connsiteY2130" fmla="*/ 395140 h 1683492"/>
                <a:gd name="connsiteX2131" fmla="*/ 1416035 w 1526442"/>
                <a:gd name="connsiteY2131" fmla="*/ 398396 h 1683492"/>
                <a:gd name="connsiteX2132" fmla="*/ 1416035 w 1526442"/>
                <a:gd name="connsiteY2132" fmla="*/ 403330 h 1683492"/>
                <a:gd name="connsiteX2133" fmla="*/ 1409769 w 1526442"/>
                <a:gd name="connsiteY2133" fmla="*/ 406587 h 1683492"/>
                <a:gd name="connsiteX2134" fmla="*/ 1397336 w 1526442"/>
                <a:gd name="connsiteY2134" fmla="*/ 408166 h 1683492"/>
                <a:gd name="connsiteX2135" fmla="*/ 1391069 w 1526442"/>
                <a:gd name="connsiteY2135" fmla="*/ 408166 h 1683492"/>
                <a:gd name="connsiteX2136" fmla="*/ 1382731 w 1526442"/>
                <a:gd name="connsiteY2136" fmla="*/ 409794 h 1683492"/>
                <a:gd name="connsiteX2137" fmla="*/ 1370248 w 1526442"/>
                <a:gd name="connsiteY2137" fmla="*/ 408166 h 1683492"/>
                <a:gd name="connsiteX2138" fmla="*/ 1366103 w 1526442"/>
                <a:gd name="connsiteY2138" fmla="*/ 404959 h 1683492"/>
                <a:gd name="connsiteX2139" fmla="*/ 1353571 w 1526442"/>
                <a:gd name="connsiteY2139" fmla="*/ 396867 h 1683492"/>
                <a:gd name="connsiteX2140" fmla="*/ 1343159 w 1526442"/>
                <a:gd name="connsiteY2140" fmla="*/ 395239 h 1683492"/>
                <a:gd name="connsiteX2141" fmla="*/ 1339015 w 1526442"/>
                <a:gd name="connsiteY2141" fmla="*/ 395239 h 1683492"/>
                <a:gd name="connsiteX2142" fmla="*/ 1332749 w 1526442"/>
                <a:gd name="connsiteY2142" fmla="*/ 400173 h 1683492"/>
                <a:gd name="connsiteX2143" fmla="*/ 1328604 w 1526442"/>
                <a:gd name="connsiteY2143" fmla="*/ 406636 h 1683492"/>
                <a:gd name="connsiteX2144" fmla="*/ 1320266 w 1526442"/>
                <a:gd name="connsiteY2144" fmla="*/ 411570 h 1683492"/>
                <a:gd name="connsiteX2145" fmla="*/ 1318194 w 1526442"/>
                <a:gd name="connsiteY2145" fmla="*/ 414777 h 1683492"/>
                <a:gd name="connsiteX2146" fmla="*/ 1311927 w 1526442"/>
                <a:gd name="connsiteY2146" fmla="*/ 414777 h 1683492"/>
                <a:gd name="connsiteX2147" fmla="*/ 1316072 w 1526442"/>
                <a:gd name="connsiteY2147" fmla="*/ 416406 h 1683492"/>
                <a:gd name="connsiteX2148" fmla="*/ 1322338 w 1526442"/>
                <a:gd name="connsiteY2148" fmla="*/ 416406 h 1683492"/>
                <a:gd name="connsiteX2149" fmla="*/ 1322338 w 1526442"/>
                <a:gd name="connsiteY2149" fmla="*/ 423412 h 1683492"/>
                <a:gd name="connsiteX2150" fmla="*/ 1320266 w 1526442"/>
                <a:gd name="connsiteY2150" fmla="*/ 426619 h 1683492"/>
                <a:gd name="connsiteX2151" fmla="*/ 1316072 w 1526442"/>
                <a:gd name="connsiteY2151" fmla="*/ 425040 h 1683492"/>
                <a:gd name="connsiteX2152" fmla="*/ 1316072 w 1526442"/>
                <a:gd name="connsiteY2152" fmla="*/ 428346 h 1683492"/>
                <a:gd name="connsiteX2153" fmla="*/ 1318194 w 1526442"/>
                <a:gd name="connsiteY2153" fmla="*/ 431553 h 1683492"/>
                <a:gd name="connsiteX2154" fmla="*/ 1324460 w 1526442"/>
                <a:gd name="connsiteY2154" fmla="*/ 434810 h 1683492"/>
                <a:gd name="connsiteX2155" fmla="*/ 1328604 w 1526442"/>
                <a:gd name="connsiteY2155" fmla="*/ 433181 h 1683492"/>
                <a:gd name="connsiteX2156" fmla="*/ 1330677 w 1526442"/>
                <a:gd name="connsiteY2156" fmla="*/ 429974 h 1683492"/>
                <a:gd name="connsiteX2157" fmla="*/ 1336894 w 1526442"/>
                <a:gd name="connsiteY2157" fmla="*/ 426718 h 1683492"/>
                <a:gd name="connsiteX2158" fmla="*/ 1343159 w 1526442"/>
                <a:gd name="connsiteY2158" fmla="*/ 421784 h 1683492"/>
                <a:gd name="connsiteX2159" fmla="*/ 1351498 w 1526442"/>
                <a:gd name="connsiteY2159" fmla="*/ 418577 h 1683492"/>
                <a:gd name="connsiteX2160" fmla="*/ 1361909 w 1526442"/>
                <a:gd name="connsiteY2160" fmla="*/ 416948 h 1683492"/>
                <a:gd name="connsiteX2161" fmla="*/ 1370248 w 1526442"/>
                <a:gd name="connsiteY2161" fmla="*/ 413692 h 1683492"/>
                <a:gd name="connsiteX2162" fmla="*/ 1376514 w 1526442"/>
                <a:gd name="connsiteY2162" fmla="*/ 412113 h 1683492"/>
                <a:gd name="connsiteX2163" fmla="*/ 1378537 w 1526442"/>
                <a:gd name="connsiteY2163" fmla="*/ 415320 h 1683492"/>
                <a:gd name="connsiteX2164" fmla="*/ 1382731 w 1526442"/>
                <a:gd name="connsiteY2164" fmla="*/ 416948 h 1683492"/>
                <a:gd name="connsiteX2165" fmla="*/ 1388947 w 1526442"/>
                <a:gd name="connsiteY2165" fmla="*/ 418577 h 1683492"/>
                <a:gd name="connsiteX2166" fmla="*/ 1393141 w 1526442"/>
                <a:gd name="connsiteY2166" fmla="*/ 421784 h 1683492"/>
                <a:gd name="connsiteX2167" fmla="*/ 1393141 w 1526442"/>
                <a:gd name="connsiteY2167" fmla="*/ 425040 h 1683492"/>
                <a:gd name="connsiteX2168" fmla="*/ 1391069 w 1526442"/>
                <a:gd name="connsiteY2168" fmla="*/ 426619 h 1683492"/>
                <a:gd name="connsiteX2169" fmla="*/ 1382731 w 1526442"/>
                <a:gd name="connsiteY2169" fmla="*/ 433083 h 1683492"/>
                <a:gd name="connsiteX2170" fmla="*/ 1380659 w 1526442"/>
                <a:gd name="connsiteY2170" fmla="*/ 439546 h 1683492"/>
                <a:gd name="connsiteX2171" fmla="*/ 1374392 w 1526442"/>
                <a:gd name="connsiteY2171" fmla="*/ 444480 h 1683492"/>
                <a:gd name="connsiteX2172" fmla="*/ 1372320 w 1526442"/>
                <a:gd name="connsiteY2172" fmla="*/ 449414 h 1683492"/>
                <a:gd name="connsiteX2173" fmla="*/ 1361909 w 1526442"/>
                <a:gd name="connsiteY2173" fmla="*/ 455878 h 1683492"/>
                <a:gd name="connsiteX2174" fmla="*/ 1355692 w 1526442"/>
                <a:gd name="connsiteY2174" fmla="*/ 463920 h 1683492"/>
                <a:gd name="connsiteX2175" fmla="*/ 1345281 w 1526442"/>
                <a:gd name="connsiteY2175" fmla="*/ 478723 h 1683492"/>
                <a:gd name="connsiteX2176" fmla="*/ 1341088 w 1526442"/>
                <a:gd name="connsiteY2176" fmla="*/ 485186 h 1683492"/>
                <a:gd name="connsiteX2177" fmla="*/ 1334871 w 1526442"/>
                <a:gd name="connsiteY2177" fmla="*/ 488393 h 1683492"/>
                <a:gd name="connsiteX2178" fmla="*/ 1334871 w 1526442"/>
                <a:gd name="connsiteY2178" fmla="*/ 496485 h 1683492"/>
                <a:gd name="connsiteX2179" fmla="*/ 1332749 w 1526442"/>
                <a:gd name="connsiteY2179" fmla="*/ 502949 h 1683492"/>
                <a:gd name="connsiteX2180" fmla="*/ 1332749 w 1526442"/>
                <a:gd name="connsiteY2180" fmla="*/ 507883 h 1683492"/>
                <a:gd name="connsiteX2181" fmla="*/ 1328604 w 1526442"/>
                <a:gd name="connsiteY2181" fmla="*/ 511139 h 1683492"/>
                <a:gd name="connsiteX2182" fmla="*/ 1328604 w 1526442"/>
                <a:gd name="connsiteY2182" fmla="*/ 519182 h 1683492"/>
                <a:gd name="connsiteX2183" fmla="*/ 1324460 w 1526442"/>
                <a:gd name="connsiteY2183" fmla="*/ 529050 h 1683492"/>
                <a:gd name="connsiteX2184" fmla="*/ 1322338 w 1526442"/>
                <a:gd name="connsiteY2184" fmla="*/ 538918 h 1683492"/>
                <a:gd name="connsiteX2185" fmla="*/ 1324460 w 1526442"/>
                <a:gd name="connsiteY2185" fmla="*/ 543852 h 1683492"/>
                <a:gd name="connsiteX2186" fmla="*/ 1326482 w 1526442"/>
                <a:gd name="connsiteY2186" fmla="*/ 550315 h 1683492"/>
                <a:gd name="connsiteX2187" fmla="*/ 1324460 w 1526442"/>
                <a:gd name="connsiteY2187" fmla="*/ 558407 h 1683492"/>
                <a:gd name="connsiteX2188" fmla="*/ 1318194 w 1526442"/>
                <a:gd name="connsiteY2188" fmla="*/ 561614 h 1683492"/>
                <a:gd name="connsiteX2189" fmla="*/ 1314049 w 1526442"/>
                <a:gd name="connsiteY2189" fmla="*/ 564871 h 1683492"/>
                <a:gd name="connsiteX2190" fmla="*/ 1316072 w 1526442"/>
                <a:gd name="connsiteY2190" fmla="*/ 572963 h 1683492"/>
                <a:gd name="connsiteX2191" fmla="*/ 1314049 w 1526442"/>
                <a:gd name="connsiteY2191" fmla="*/ 576170 h 1683492"/>
                <a:gd name="connsiteX2192" fmla="*/ 1311927 w 1526442"/>
                <a:gd name="connsiteY2192" fmla="*/ 581104 h 1683492"/>
                <a:gd name="connsiteX2193" fmla="*/ 1309855 w 1526442"/>
                <a:gd name="connsiteY2193" fmla="*/ 587567 h 1683492"/>
                <a:gd name="connsiteX2194" fmla="*/ 1307733 w 1526442"/>
                <a:gd name="connsiteY2194" fmla="*/ 594031 h 1683492"/>
                <a:gd name="connsiteX2195" fmla="*/ 1301517 w 1526442"/>
                <a:gd name="connsiteY2195" fmla="*/ 598965 h 1683492"/>
                <a:gd name="connsiteX2196" fmla="*/ 1297323 w 1526442"/>
                <a:gd name="connsiteY2196" fmla="*/ 598965 h 1683492"/>
                <a:gd name="connsiteX2197" fmla="*/ 1295250 w 1526442"/>
                <a:gd name="connsiteY2197" fmla="*/ 594031 h 1683492"/>
                <a:gd name="connsiteX2198" fmla="*/ 1295250 w 1526442"/>
                <a:gd name="connsiteY2198" fmla="*/ 590824 h 1683492"/>
                <a:gd name="connsiteX2199" fmla="*/ 1291106 w 1526442"/>
                <a:gd name="connsiteY2199" fmla="*/ 589196 h 1683492"/>
                <a:gd name="connsiteX2200" fmla="*/ 1289033 w 1526442"/>
                <a:gd name="connsiteY2200" fmla="*/ 587567 h 1683492"/>
                <a:gd name="connsiteX2201" fmla="*/ 1293227 w 1526442"/>
                <a:gd name="connsiteY2201" fmla="*/ 584360 h 1683492"/>
                <a:gd name="connsiteX2202" fmla="*/ 1291106 w 1526442"/>
                <a:gd name="connsiteY2202" fmla="*/ 582732 h 1683492"/>
                <a:gd name="connsiteX2203" fmla="*/ 1286912 w 1526442"/>
                <a:gd name="connsiteY2203" fmla="*/ 581104 h 1683492"/>
                <a:gd name="connsiteX2204" fmla="*/ 1282767 w 1526442"/>
                <a:gd name="connsiteY2204" fmla="*/ 582732 h 1683492"/>
                <a:gd name="connsiteX2205" fmla="*/ 1278672 w 1526442"/>
                <a:gd name="connsiteY2205" fmla="*/ 582732 h 1683492"/>
                <a:gd name="connsiteX2206" fmla="*/ 1276550 w 1526442"/>
                <a:gd name="connsiteY2206" fmla="*/ 585939 h 1683492"/>
                <a:gd name="connsiteX2207" fmla="*/ 1276550 w 1526442"/>
                <a:gd name="connsiteY2207" fmla="*/ 586235 h 1683492"/>
                <a:gd name="connsiteX2208" fmla="*/ 1278672 w 1526442"/>
                <a:gd name="connsiteY2208" fmla="*/ 587863 h 1683492"/>
                <a:gd name="connsiteX2209" fmla="*/ 1278672 w 1526442"/>
                <a:gd name="connsiteY2209" fmla="*/ 591169 h 1683492"/>
                <a:gd name="connsiteX2210" fmla="*/ 1274478 w 1526442"/>
                <a:gd name="connsiteY2210" fmla="*/ 592797 h 1683492"/>
                <a:gd name="connsiteX2211" fmla="*/ 1276550 w 1526442"/>
                <a:gd name="connsiteY2211" fmla="*/ 596054 h 1683492"/>
                <a:gd name="connsiteX2212" fmla="*/ 1280744 w 1526442"/>
                <a:gd name="connsiteY2212" fmla="*/ 600988 h 1683492"/>
                <a:gd name="connsiteX2213" fmla="*/ 1284889 w 1526442"/>
                <a:gd name="connsiteY2213" fmla="*/ 602616 h 1683492"/>
                <a:gd name="connsiteX2214" fmla="*/ 1289083 w 1526442"/>
                <a:gd name="connsiteY2214" fmla="*/ 605823 h 1683492"/>
                <a:gd name="connsiteX2215" fmla="*/ 1291155 w 1526442"/>
                <a:gd name="connsiteY2215" fmla="*/ 610757 h 1683492"/>
                <a:gd name="connsiteX2216" fmla="*/ 1293276 w 1526442"/>
                <a:gd name="connsiteY2216" fmla="*/ 617221 h 1683492"/>
                <a:gd name="connsiteX2217" fmla="*/ 1299493 w 1526442"/>
                <a:gd name="connsiteY2217" fmla="*/ 618849 h 1683492"/>
                <a:gd name="connsiteX2218" fmla="*/ 1305710 w 1526442"/>
                <a:gd name="connsiteY2218" fmla="*/ 622056 h 1683492"/>
                <a:gd name="connsiteX2219" fmla="*/ 1314099 w 1526442"/>
                <a:gd name="connsiteY2219" fmla="*/ 626990 h 1683492"/>
                <a:gd name="connsiteX2220" fmla="*/ 1316121 w 1526442"/>
                <a:gd name="connsiteY2220" fmla="*/ 635033 h 1683492"/>
                <a:gd name="connsiteX2221" fmla="*/ 1314099 w 1526442"/>
                <a:gd name="connsiteY2221" fmla="*/ 638289 h 1683492"/>
                <a:gd name="connsiteX2222" fmla="*/ 1309904 w 1526442"/>
                <a:gd name="connsiteY2222" fmla="*/ 639917 h 1683492"/>
                <a:gd name="connsiteX2223" fmla="*/ 1303687 w 1526442"/>
                <a:gd name="connsiteY2223" fmla="*/ 636661 h 1683492"/>
                <a:gd name="connsiteX2224" fmla="*/ 1297372 w 1526442"/>
                <a:gd name="connsiteY2224" fmla="*/ 628569 h 1683492"/>
                <a:gd name="connsiteX2225" fmla="*/ 1295300 w 1526442"/>
                <a:gd name="connsiteY2225" fmla="*/ 625362 h 1683492"/>
                <a:gd name="connsiteX2226" fmla="*/ 1291155 w 1526442"/>
                <a:gd name="connsiteY2226" fmla="*/ 625362 h 1683492"/>
                <a:gd name="connsiteX2227" fmla="*/ 1289083 w 1526442"/>
                <a:gd name="connsiteY2227" fmla="*/ 623734 h 1683492"/>
                <a:gd name="connsiteX2228" fmla="*/ 1286961 w 1526442"/>
                <a:gd name="connsiteY2228" fmla="*/ 625362 h 1683492"/>
                <a:gd name="connsiteX2229" fmla="*/ 1286961 w 1526442"/>
                <a:gd name="connsiteY2229" fmla="*/ 631826 h 1683492"/>
                <a:gd name="connsiteX2230" fmla="*/ 1291155 w 1526442"/>
                <a:gd name="connsiteY2230" fmla="*/ 635033 h 1683492"/>
                <a:gd name="connsiteX2231" fmla="*/ 1291155 w 1526442"/>
                <a:gd name="connsiteY2231" fmla="*/ 638289 h 1683492"/>
                <a:gd name="connsiteX2232" fmla="*/ 1284889 w 1526442"/>
                <a:gd name="connsiteY2232" fmla="*/ 636661 h 1683492"/>
                <a:gd name="connsiteX2233" fmla="*/ 1284889 w 1526442"/>
                <a:gd name="connsiteY2233" fmla="*/ 636661 h 1683492"/>
                <a:gd name="connsiteX2234" fmla="*/ 1282816 w 1526442"/>
                <a:gd name="connsiteY2234" fmla="*/ 638289 h 1683492"/>
                <a:gd name="connsiteX2235" fmla="*/ 1284889 w 1526442"/>
                <a:gd name="connsiteY2235" fmla="*/ 641496 h 1683492"/>
                <a:gd name="connsiteX2236" fmla="*/ 1289083 w 1526442"/>
                <a:gd name="connsiteY2236" fmla="*/ 643125 h 1683492"/>
                <a:gd name="connsiteX2237" fmla="*/ 1289083 w 1526442"/>
                <a:gd name="connsiteY2237" fmla="*/ 644753 h 1683492"/>
                <a:gd name="connsiteX2238" fmla="*/ 1286961 w 1526442"/>
                <a:gd name="connsiteY2238" fmla="*/ 646381 h 1683492"/>
                <a:gd name="connsiteX2239" fmla="*/ 1289083 w 1526442"/>
                <a:gd name="connsiteY2239" fmla="*/ 647960 h 1683492"/>
                <a:gd name="connsiteX2240" fmla="*/ 1293276 w 1526442"/>
                <a:gd name="connsiteY2240" fmla="*/ 647960 h 1683492"/>
                <a:gd name="connsiteX2241" fmla="*/ 1299493 w 1526442"/>
                <a:gd name="connsiteY2241" fmla="*/ 649588 h 1683492"/>
                <a:gd name="connsiteX2242" fmla="*/ 1301566 w 1526442"/>
                <a:gd name="connsiteY2242" fmla="*/ 652795 h 1683492"/>
                <a:gd name="connsiteX2243" fmla="*/ 1301566 w 1526442"/>
                <a:gd name="connsiteY2243" fmla="*/ 657729 h 1683492"/>
                <a:gd name="connsiteX2244" fmla="*/ 1299493 w 1526442"/>
                <a:gd name="connsiteY2244" fmla="*/ 659308 h 1683492"/>
                <a:gd name="connsiteX2245" fmla="*/ 1303687 w 1526442"/>
                <a:gd name="connsiteY2245" fmla="*/ 660936 h 1683492"/>
                <a:gd name="connsiteX2246" fmla="*/ 1307783 w 1526442"/>
                <a:gd name="connsiteY2246" fmla="*/ 660936 h 1683492"/>
                <a:gd name="connsiteX2247" fmla="*/ 1314099 w 1526442"/>
                <a:gd name="connsiteY2247" fmla="*/ 654473 h 1683492"/>
                <a:gd name="connsiteX2248" fmla="*/ 1316121 w 1526442"/>
                <a:gd name="connsiteY2248" fmla="*/ 649539 h 1683492"/>
                <a:gd name="connsiteX2249" fmla="*/ 1318243 w 1526442"/>
                <a:gd name="connsiteY2249" fmla="*/ 649539 h 1683492"/>
                <a:gd name="connsiteX2250" fmla="*/ 1320315 w 1526442"/>
                <a:gd name="connsiteY2250" fmla="*/ 651167 h 1683492"/>
                <a:gd name="connsiteX2251" fmla="*/ 1322387 w 1526442"/>
                <a:gd name="connsiteY2251" fmla="*/ 654374 h 1683492"/>
                <a:gd name="connsiteX2252" fmla="*/ 1324509 w 1526442"/>
                <a:gd name="connsiteY2252" fmla="*/ 654374 h 1683492"/>
                <a:gd name="connsiteX2253" fmla="*/ 1328654 w 1526442"/>
                <a:gd name="connsiteY2253" fmla="*/ 657631 h 1683492"/>
                <a:gd name="connsiteX2254" fmla="*/ 1334920 w 1526442"/>
                <a:gd name="connsiteY2254" fmla="*/ 659209 h 1683492"/>
                <a:gd name="connsiteX2255" fmla="*/ 1334920 w 1526442"/>
                <a:gd name="connsiteY2255" fmla="*/ 669078 h 1683492"/>
                <a:gd name="connsiteX2256" fmla="*/ 1332798 w 1526442"/>
                <a:gd name="connsiteY2256" fmla="*/ 670706 h 1683492"/>
                <a:gd name="connsiteX2257" fmla="*/ 1332798 w 1526442"/>
                <a:gd name="connsiteY2257" fmla="*/ 678748 h 1683492"/>
                <a:gd name="connsiteX2258" fmla="*/ 1330726 w 1526442"/>
                <a:gd name="connsiteY2258" fmla="*/ 686840 h 1683492"/>
                <a:gd name="connsiteX2259" fmla="*/ 1330726 w 1526442"/>
                <a:gd name="connsiteY2259" fmla="*/ 689850 h 1683492"/>
                <a:gd name="connsiteX2260" fmla="*/ 1328654 w 1526442"/>
                <a:gd name="connsiteY2260" fmla="*/ 697942 h 1683492"/>
                <a:gd name="connsiteX2261" fmla="*/ 1324509 w 1526442"/>
                <a:gd name="connsiteY2261" fmla="*/ 701198 h 1683492"/>
                <a:gd name="connsiteX2262" fmla="*/ 1324509 w 1526442"/>
                <a:gd name="connsiteY2262" fmla="*/ 706132 h 1683492"/>
                <a:gd name="connsiteX2263" fmla="*/ 1322387 w 1526442"/>
                <a:gd name="connsiteY2263" fmla="*/ 709339 h 1683492"/>
                <a:gd name="connsiteX2264" fmla="*/ 1320315 w 1526442"/>
                <a:gd name="connsiteY2264" fmla="*/ 707760 h 1683492"/>
                <a:gd name="connsiteX2265" fmla="*/ 1316121 w 1526442"/>
                <a:gd name="connsiteY2265" fmla="*/ 702826 h 1683492"/>
                <a:gd name="connsiteX2266" fmla="*/ 1309904 w 1526442"/>
                <a:gd name="connsiteY2266" fmla="*/ 701247 h 1683492"/>
                <a:gd name="connsiteX2267" fmla="*/ 1305710 w 1526442"/>
                <a:gd name="connsiteY2267" fmla="*/ 696313 h 1683492"/>
                <a:gd name="connsiteX2268" fmla="*/ 1301566 w 1526442"/>
                <a:gd name="connsiteY2268" fmla="*/ 696313 h 1683492"/>
                <a:gd name="connsiteX2269" fmla="*/ 1295300 w 1526442"/>
                <a:gd name="connsiteY2269" fmla="*/ 694735 h 1683492"/>
                <a:gd name="connsiteX2270" fmla="*/ 1293276 w 1526442"/>
                <a:gd name="connsiteY2270" fmla="*/ 693106 h 1683492"/>
                <a:gd name="connsiteX2271" fmla="*/ 1295300 w 1526442"/>
                <a:gd name="connsiteY2271" fmla="*/ 688172 h 1683492"/>
                <a:gd name="connsiteX2272" fmla="*/ 1291155 w 1526442"/>
                <a:gd name="connsiteY2272" fmla="*/ 684916 h 1683492"/>
                <a:gd name="connsiteX2273" fmla="*/ 1286961 w 1526442"/>
                <a:gd name="connsiteY2273" fmla="*/ 683288 h 1683492"/>
                <a:gd name="connsiteX2274" fmla="*/ 1284889 w 1526442"/>
                <a:gd name="connsiteY2274" fmla="*/ 684916 h 1683492"/>
                <a:gd name="connsiteX2275" fmla="*/ 1282816 w 1526442"/>
                <a:gd name="connsiteY2275" fmla="*/ 684916 h 1683492"/>
                <a:gd name="connsiteX2276" fmla="*/ 1276550 w 1526442"/>
                <a:gd name="connsiteY2276" fmla="*/ 679982 h 1683492"/>
                <a:gd name="connsiteX2277" fmla="*/ 1270334 w 1526442"/>
                <a:gd name="connsiteY2277" fmla="*/ 679982 h 1683492"/>
                <a:gd name="connsiteX2278" fmla="*/ 1266139 w 1526442"/>
                <a:gd name="connsiteY2278" fmla="*/ 681610 h 1683492"/>
                <a:gd name="connsiteX2279" fmla="*/ 1268261 w 1526442"/>
                <a:gd name="connsiteY2279" fmla="*/ 683189 h 1683492"/>
                <a:gd name="connsiteX2280" fmla="*/ 1268261 w 1526442"/>
                <a:gd name="connsiteY2280" fmla="*/ 686445 h 1683492"/>
                <a:gd name="connsiteX2281" fmla="*/ 1263870 w 1526442"/>
                <a:gd name="connsiteY2281" fmla="*/ 686445 h 1683492"/>
                <a:gd name="connsiteX2282" fmla="*/ 1261797 w 1526442"/>
                <a:gd name="connsiteY2282" fmla="*/ 684817 h 1683492"/>
                <a:gd name="connsiteX2283" fmla="*/ 1255532 w 1526442"/>
                <a:gd name="connsiteY2283" fmla="*/ 684817 h 1683492"/>
                <a:gd name="connsiteX2284" fmla="*/ 1251387 w 1526442"/>
                <a:gd name="connsiteY2284" fmla="*/ 686445 h 1683492"/>
                <a:gd name="connsiteX2285" fmla="*/ 1251387 w 1526442"/>
                <a:gd name="connsiteY2285" fmla="*/ 688074 h 1683492"/>
                <a:gd name="connsiteX2286" fmla="*/ 1257653 w 1526442"/>
                <a:gd name="connsiteY2286" fmla="*/ 688074 h 1683492"/>
                <a:gd name="connsiteX2287" fmla="*/ 1261797 w 1526442"/>
                <a:gd name="connsiteY2287" fmla="*/ 689653 h 1683492"/>
                <a:gd name="connsiteX2288" fmla="*/ 1263870 w 1526442"/>
                <a:gd name="connsiteY2288" fmla="*/ 691281 h 1683492"/>
                <a:gd name="connsiteX2289" fmla="*/ 1263870 w 1526442"/>
                <a:gd name="connsiteY2289" fmla="*/ 692909 h 1683492"/>
                <a:gd name="connsiteX2290" fmla="*/ 1259725 w 1526442"/>
                <a:gd name="connsiteY2290" fmla="*/ 694537 h 1683492"/>
                <a:gd name="connsiteX2291" fmla="*/ 1251387 w 1526442"/>
                <a:gd name="connsiteY2291" fmla="*/ 701001 h 1683492"/>
                <a:gd name="connsiteX2292" fmla="*/ 1245120 w 1526442"/>
                <a:gd name="connsiteY2292" fmla="*/ 704208 h 1683492"/>
                <a:gd name="connsiteX2293" fmla="*/ 1240976 w 1526442"/>
                <a:gd name="connsiteY2293" fmla="*/ 702580 h 1683492"/>
                <a:gd name="connsiteX2294" fmla="*/ 1238903 w 1526442"/>
                <a:gd name="connsiteY2294" fmla="*/ 701001 h 1683492"/>
                <a:gd name="connsiteX2295" fmla="*/ 1238903 w 1526442"/>
                <a:gd name="connsiteY2295" fmla="*/ 696067 h 1683492"/>
                <a:gd name="connsiteX2296" fmla="*/ 1236831 w 1526442"/>
                <a:gd name="connsiteY2296" fmla="*/ 694488 h 1683492"/>
                <a:gd name="connsiteX2297" fmla="*/ 1234710 w 1526442"/>
                <a:gd name="connsiteY2297" fmla="*/ 696067 h 1683492"/>
                <a:gd name="connsiteX2298" fmla="*/ 1234710 w 1526442"/>
                <a:gd name="connsiteY2298" fmla="*/ 701001 h 1683492"/>
                <a:gd name="connsiteX2299" fmla="*/ 1236831 w 1526442"/>
                <a:gd name="connsiteY2299" fmla="*/ 704208 h 1683492"/>
                <a:gd name="connsiteX2300" fmla="*/ 1232638 w 1526442"/>
                <a:gd name="connsiteY2300" fmla="*/ 707464 h 1683492"/>
                <a:gd name="connsiteX2301" fmla="*/ 1234710 w 1526442"/>
                <a:gd name="connsiteY2301" fmla="*/ 709043 h 1683492"/>
                <a:gd name="connsiteX2302" fmla="*/ 1236831 w 1526442"/>
                <a:gd name="connsiteY2302" fmla="*/ 712300 h 1683492"/>
                <a:gd name="connsiteX2303" fmla="*/ 1234710 w 1526442"/>
                <a:gd name="connsiteY2303" fmla="*/ 715507 h 1683492"/>
                <a:gd name="connsiteX2304" fmla="*/ 1236831 w 1526442"/>
                <a:gd name="connsiteY2304" fmla="*/ 717135 h 1683492"/>
                <a:gd name="connsiteX2305" fmla="*/ 1236831 w 1526442"/>
                <a:gd name="connsiteY2305" fmla="*/ 720342 h 1683492"/>
                <a:gd name="connsiteX2306" fmla="*/ 1232638 w 1526442"/>
                <a:gd name="connsiteY2306" fmla="*/ 721970 h 1683492"/>
                <a:gd name="connsiteX2307" fmla="*/ 1226421 w 1526442"/>
                <a:gd name="connsiteY2307" fmla="*/ 720342 h 1683492"/>
                <a:gd name="connsiteX2308" fmla="*/ 1222227 w 1526442"/>
                <a:gd name="connsiteY2308" fmla="*/ 720342 h 1683492"/>
                <a:gd name="connsiteX2309" fmla="*/ 1220154 w 1526442"/>
                <a:gd name="connsiteY2309" fmla="*/ 723599 h 1683492"/>
                <a:gd name="connsiteX2310" fmla="*/ 1224299 w 1526442"/>
                <a:gd name="connsiteY2310" fmla="*/ 725227 h 1683492"/>
                <a:gd name="connsiteX2311" fmla="*/ 1239101 w 1526442"/>
                <a:gd name="connsiteY2311" fmla="*/ 725227 h 1683492"/>
                <a:gd name="connsiteX2312" fmla="*/ 1239101 w 1526442"/>
                <a:gd name="connsiteY2312" fmla="*/ 736526 h 1683492"/>
                <a:gd name="connsiteX2313" fmla="*/ 1241173 w 1526442"/>
                <a:gd name="connsiteY2313" fmla="*/ 738105 h 1683492"/>
                <a:gd name="connsiteX2314" fmla="*/ 1243245 w 1526442"/>
                <a:gd name="connsiteY2314" fmla="*/ 734898 h 1683492"/>
                <a:gd name="connsiteX2315" fmla="*/ 1251584 w 1526442"/>
                <a:gd name="connsiteY2315" fmla="*/ 733269 h 1683492"/>
                <a:gd name="connsiteX2316" fmla="*/ 1257850 w 1526442"/>
                <a:gd name="connsiteY2316" fmla="*/ 734898 h 1683492"/>
                <a:gd name="connsiteX2317" fmla="*/ 1259922 w 1526442"/>
                <a:gd name="connsiteY2317" fmla="*/ 738105 h 1683492"/>
                <a:gd name="connsiteX2318" fmla="*/ 1268261 w 1526442"/>
                <a:gd name="connsiteY2318" fmla="*/ 738105 h 1683492"/>
                <a:gd name="connsiteX2319" fmla="*/ 1272406 w 1526442"/>
                <a:gd name="connsiteY2319" fmla="*/ 739733 h 1683492"/>
                <a:gd name="connsiteX2320" fmla="*/ 1276550 w 1526442"/>
                <a:gd name="connsiteY2320" fmla="*/ 738105 h 1683492"/>
                <a:gd name="connsiteX2321" fmla="*/ 1280744 w 1526442"/>
                <a:gd name="connsiteY2321" fmla="*/ 736526 h 1683492"/>
                <a:gd name="connsiteX2322" fmla="*/ 1282816 w 1526442"/>
                <a:gd name="connsiteY2322" fmla="*/ 736526 h 1683492"/>
                <a:gd name="connsiteX2323" fmla="*/ 1282816 w 1526442"/>
                <a:gd name="connsiteY2323" fmla="*/ 751032 h 1683492"/>
                <a:gd name="connsiteX2324" fmla="*/ 1278672 w 1526442"/>
                <a:gd name="connsiteY2324" fmla="*/ 752660 h 1683492"/>
                <a:gd name="connsiteX2325" fmla="*/ 1274478 w 1526442"/>
                <a:gd name="connsiteY2325" fmla="*/ 751032 h 1683492"/>
                <a:gd name="connsiteX2326" fmla="*/ 1270334 w 1526442"/>
                <a:gd name="connsiteY2326" fmla="*/ 749453 h 1683492"/>
                <a:gd name="connsiteX2327" fmla="*/ 1266139 w 1526442"/>
                <a:gd name="connsiteY2327" fmla="*/ 752660 h 1683492"/>
                <a:gd name="connsiteX2328" fmla="*/ 1261995 w 1526442"/>
                <a:gd name="connsiteY2328" fmla="*/ 752660 h 1683492"/>
                <a:gd name="connsiteX2329" fmla="*/ 1259922 w 1526442"/>
                <a:gd name="connsiteY2329" fmla="*/ 751032 h 1683492"/>
                <a:gd name="connsiteX2330" fmla="*/ 1249512 w 1526442"/>
                <a:gd name="connsiteY2330" fmla="*/ 752660 h 1683492"/>
                <a:gd name="connsiteX2331" fmla="*/ 1239200 w 1526442"/>
                <a:gd name="connsiteY2331" fmla="*/ 752660 h 1683492"/>
                <a:gd name="connsiteX2332" fmla="*/ 1237127 w 1526442"/>
                <a:gd name="connsiteY2332" fmla="*/ 749453 h 1683492"/>
                <a:gd name="connsiteX2333" fmla="*/ 1235006 w 1526442"/>
                <a:gd name="connsiteY2333" fmla="*/ 752660 h 1683492"/>
                <a:gd name="connsiteX2334" fmla="*/ 1237127 w 1526442"/>
                <a:gd name="connsiteY2334" fmla="*/ 754288 h 1683492"/>
                <a:gd name="connsiteX2335" fmla="*/ 1239200 w 1526442"/>
                <a:gd name="connsiteY2335" fmla="*/ 757496 h 1683492"/>
                <a:gd name="connsiteX2336" fmla="*/ 1243344 w 1526442"/>
                <a:gd name="connsiteY2336" fmla="*/ 757496 h 1683492"/>
                <a:gd name="connsiteX2337" fmla="*/ 1247538 w 1526442"/>
                <a:gd name="connsiteY2337" fmla="*/ 755917 h 1683492"/>
                <a:gd name="connsiteX2338" fmla="*/ 1260021 w 1526442"/>
                <a:gd name="connsiteY2338" fmla="*/ 755917 h 1683492"/>
                <a:gd name="connsiteX2339" fmla="*/ 1264166 w 1526442"/>
                <a:gd name="connsiteY2339" fmla="*/ 757496 h 1683492"/>
                <a:gd name="connsiteX2340" fmla="*/ 1268360 w 1526442"/>
                <a:gd name="connsiteY2340" fmla="*/ 760752 h 1683492"/>
                <a:gd name="connsiteX2341" fmla="*/ 1272504 w 1526442"/>
                <a:gd name="connsiteY2341" fmla="*/ 760752 h 1683492"/>
                <a:gd name="connsiteX2342" fmla="*/ 1276649 w 1526442"/>
                <a:gd name="connsiteY2342" fmla="*/ 762380 h 1683492"/>
                <a:gd name="connsiteX2343" fmla="*/ 1280843 w 1526442"/>
                <a:gd name="connsiteY2343" fmla="*/ 767314 h 1683492"/>
                <a:gd name="connsiteX2344" fmla="*/ 1284988 w 1526442"/>
                <a:gd name="connsiteY2344" fmla="*/ 772248 h 1683492"/>
                <a:gd name="connsiteX2345" fmla="*/ 1289181 w 1526442"/>
                <a:gd name="connsiteY2345" fmla="*/ 777182 h 1683492"/>
                <a:gd name="connsiteX2346" fmla="*/ 1291254 w 1526442"/>
                <a:gd name="connsiteY2346" fmla="*/ 778810 h 1683492"/>
                <a:gd name="connsiteX2347" fmla="*/ 1284988 w 1526442"/>
                <a:gd name="connsiteY2347" fmla="*/ 778810 h 1683492"/>
                <a:gd name="connsiteX2348" fmla="*/ 1282915 w 1526442"/>
                <a:gd name="connsiteY2348" fmla="*/ 777182 h 1683492"/>
                <a:gd name="connsiteX2349" fmla="*/ 1282915 w 1526442"/>
                <a:gd name="connsiteY2349" fmla="*/ 778662 h 1683492"/>
                <a:gd name="connsiteX2350" fmla="*/ 1280843 w 1526442"/>
                <a:gd name="connsiteY2350" fmla="*/ 781870 h 1683492"/>
                <a:gd name="connsiteX2351" fmla="*/ 1284988 w 1526442"/>
                <a:gd name="connsiteY2351" fmla="*/ 786804 h 1683492"/>
                <a:gd name="connsiteX2352" fmla="*/ 1284988 w 1526442"/>
                <a:gd name="connsiteY2352" fmla="*/ 793465 h 1683492"/>
                <a:gd name="connsiteX2353" fmla="*/ 1282915 w 1526442"/>
                <a:gd name="connsiteY2353" fmla="*/ 796672 h 1683492"/>
                <a:gd name="connsiteX2354" fmla="*/ 1284988 w 1526442"/>
                <a:gd name="connsiteY2354" fmla="*/ 801606 h 1683492"/>
                <a:gd name="connsiteX2355" fmla="*/ 1284988 w 1526442"/>
                <a:gd name="connsiteY2355" fmla="*/ 806540 h 1683492"/>
                <a:gd name="connsiteX2356" fmla="*/ 1282915 w 1526442"/>
                <a:gd name="connsiteY2356" fmla="*/ 809796 h 1683492"/>
                <a:gd name="connsiteX2357" fmla="*/ 1278771 w 1526442"/>
                <a:gd name="connsiteY2357" fmla="*/ 819664 h 1683492"/>
                <a:gd name="connsiteX2358" fmla="*/ 1274577 w 1526442"/>
                <a:gd name="connsiteY2358" fmla="*/ 822921 h 1683492"/>
                <a:gd name="connsiteX2359" fmla="*/ 1270432 w 1526442"/>
                <a:gd name="connsiteY2359" fmla="*/ 822921 h 1683492"/>
                <a:gd name="connsiteX2360" fmla="*/ 1266238 w 1526442"/>
                <a:gd name="connsiteY2360" fmla="*/ 821293 h 1683492"/>
                <a:gd name="connsiteX2361" fmla="*/ 1264166 w 1526442"/>
                <a:gd name="connsiteY2361" fmla="*/ 816359 h 1683492"/>
                <a:gd name="connsiteX2362" fmla="*/ 1268360 w 1526442"/>
                <a:gd name="connsiteY2362" fmla="*/ 813102 h 1683492"/>
                <a:gd name="connsiteX2363" fmla="*/ 1266238 w 1526442"/>
                <a:gd name="connsiteY2363" fmla="*/ 809895 h 1683492"/>
                <a:gd name="connsiteX2364" fmla="*/ 1264166 w 1526442"/>
                <a:gd name="connsiteY2364" fmla="*/ 808267 h 1683492"/>
                <a:gd name="connsiteX2365" fmla="*/ 1260021 w 1526442"/>
                <a:gd name="connsiteY2365" fmla="*/ 809895 h 1683492"/>
                <a:gd name="connsiteX2366" fmla="*/ 1255827 w 1526442"/>
                <a:gd name="connsiteY2366" fmla="*/ 809895 h 1683492"/>
                <a:gd name="connsiteX2367" fmla="*/ 1247538 w 1526442"/>
                <a:gd name="connsiteY2367" fmla="*/ 801803 h 1683492"/>
                <a:gd name="connsiteX2368" fmla="*/ 1241272 w 1526442"/>
                <a:gd name="connsiteY2368" fmla="*/ 796869 h 1683492"/>
                <a:gd name="connsiteX2369" fmla="*/ 1235006 w 1526442"/>
                <a:gd name="connsiteY2369" fmla="*/ 791935 h 1683492"/>
                <a:gd name="connsiteX2370" fmla="*/ 1235006 w 1526442"/>
                <a:gd name="connsiteY2370" fmla="*/ 788531 h 1683492"/>
                <a:gd name="connsiteX2371" fmla="*/ 1232933 w 1526442"/>
                <a:gd name="connsiteY2371" fmla="*/ 783597 h 1683492"/>
                <a:gd name="connsiteX2372" fmla="*/ 1224595 w 1526442"/>
                <a:gd name="connsiteY2372" fmla="*/ 775505 h 1683492"/>
                <a:gd name="connsiteX2373" fmla="*/ 1220450 w 1526442"/>
                <a:gd name="connsiteY2373" fmla="*/ 773926 h 1683492"/>
                <a:gd name="connsiteX2374" fmla="*/ 1220450 w 1526442"/>
                <a:gd name="connsiteY2374" fmla="*/ 773926 h 1683492"/>
                <a:gd name="connsiteX2375" fmla="*/ 1220450 w 1526442"/>
                <a:gd name="connsiteY2375" fmla="*/ 778860 h 1683492"/>
                <a:gd name="connsiteX2376" fmla="*/ 1226716 w 1526442"/>
                <a:gd name="connsiteY2376" fmla="*/ 783794 h 1683492"/>
                <a:gd name="connsiteX2377" fmla="*/ 1226716 w 1526442"/>
                <a:gd name="connsiteY2377" fmla="*/ 787050 h 1683492"/>
                <a:gd name="connsiteX2378" fmla="*/ 1224595 w 1526442"/>
                <a:gd name="connsiteY2378" fmla="*/ 790257 h 1683492"/>
                <a:gd name="connsiteX2379" fmla="*/ 1216306 w 1526442"/>
                <a:gd name="connsiteY2379" fmla="*/ 788629 h 1683492"/>
                <a:gd name="connsiteX2380" fmla="*/ 1212112 w 1526442"/>
                <a:gd name="connsiteY2380" fmla="*/ 787050 h 1683492"/>
                <a:gd name="connsiteX2381" fmla="*/ 1210039 w 1526442"/>
                <a:gd name="connsiteY2381" fmla="*/ 780587 h 1683492"/>
                <a:gd name="connsiteX2382" fmla="*/ 1205895 w 1526442"/>
                <a:gd name="connsiteY2382" fmla="*/ 777330 h 1683492"/>
                <a:gd name="connsiteX2383" fmla="*/ 1205895 w 1526442"/>
                <a:gd name="connsiteY2383" fmla="*/ 785422 h 1683492"/>
                <a:gd name="connsiteX2384" fmla="*/ 1212112 w 1526442"/>
                <a:gd name="connsiteY2384" fmla="*/ 790356 h 1683492"/>
                <a:gd name="connsiteX2385" fmla="*/ 1222523 w 1526442"/>
                <a:gd name="connsiteY2385" fmla="*/ 793613 h 1683492"/>
                <a:gd name="connsiteX2386" fmla="*/ 1230861 w 1526442"/>
                <a:gd name="connsiteY2386" fmla="*/ 795192 h 1683492"/>
                <a:gd name="connsiteX2387" fmla="*/ 1241272 w 1526442"/>
                <a:gd name="connsiteY2387" fmla="*/ 801655 h 1683492"/>
                <a:gd name="connsiteX2388" fmla="*/ 1253755 w 1526442"/>
                <a:gd name="connsiteY2388" fmla="*/ 812954 h 1683492"/>
                <a:gd name="connsiteX2389" fmla="*/ 1255827 w 1526442"/>
                <a:gd name="connsiteY2389" fmla="*/ 816210 h 1683492"/>
                <a:gd name="connsiteX2390" fmla="*/ 1253755 w 1526442"/>
                <a:gd name="connsiteY2390" fmla="*/ 819418 h 1683492"/>
                <a:gd name="connsiteX2391" fmla="*/ 1251683 w 1526442"/>
                <a:gd name="connsiteY2391" fmla="*/ 817839 h 1683492"/>
                <a:gd name="connsiteX2392" fmla="*/ 1247538 w 1526442"/>
                <a:gd name="connsiteY2392" fmla="*/ 816210 h 1683492"/>
                <a:gd name="connsiteX2393" fmla="*/ 1241272 w 1526442"/>
                <a:gd name="connsiteY2393" fmla="*/ 816210 h 1683492"/>
                <a:gd name="connsiteX2394" fmla="*/ 1237127 w 1526442"/>
                <a:gd name="connsiteY2394" fmla="*/ 817839 h 1683492"/>
                <a:gd name="connsiteX2395" fmla="*/ 1230861 w 1526442"/>
                <a:gd name="connsiteY2395" fmla="*/ 822773 h 1683492"/>
                <a:gd name="connsiteX2396" fmla="*/ 1224595 w 1526442"/>
                <a:gd name="connsiteY2396" fmla="*/ 824401 h 1683492"/>
                <a:gd name="connsiteX2397" fmla="*/ 1220450 w 1526442"/>
                <a:gd name="connsiteY2397" fmla="*/ 821145 h 1683492"/>
                <a:gd name="connsiteX2398" fmla="*/ 1218378 w 1526442"/>
                <a:gd name="connsiteY2398" fmla="*/ 817937 h 1683492"/>
                <a:gd name="connsiteX2399" fmla="*/ 1220450 w 1526442"/>
                <a:gd name="connsiteY2399" fmla="*/ 816309 h 1683492"/>
                <a:gd name="connsiteX2400" fmla="*/ 1218378 w 1526442"/>
                <a:gd name="connsiteY2400" fmla="*/ 813053 h 1683492"/>
                <a:gd name="connsiteX2401" fmla="*/ 1214184 w 1526442"/>
                <a:gd name="connsiteY2401" fmla="*/ 809846 h 1683492"/>
                <a:gd name="connsiteX2402" fmla="*/ 1214184 w 1526442"/>
                <a:gd name="connsiteY2402" fmla="*/ 814780 h 1683492"/>
                <a:gd name="connsiteX2403" fmla="*/ 1216306 w 1526442"/>
                <a:gd name="connsiteY2403" fmla="*/ 818036 h 1683492"/>
                <a:gd name="connsiteX2404" fmla="*/ 1216306 w 1526442"/>
                <a:gd name="connsiteY2404" fmla="*/ 822970 h 1683492"/>
                <a:gd name="connsiteX2405" fmla="*/ 1218378 w 1526442"/>
                <a:gd name="connsiteY2405" fmla="*/ 827904 h 1683492"/>
                <a:gd name="connsiteX2406" fmla="*/ 1224398 w 1526442"/>
                <a:gd name="connsiteY2406" fmla="*/ 827904 h 1683492"/>
                <a:gd name="connsiteX2407" fmla="*/ 1232736 w 1526442"/>
                <a:gd name="connsiteY2407" fmla="*/ 826276 h 1683492"/>
                <a:gd name="connsiteX2408" fmla="*/ 1239002 w 1526442"/>
                <a:gd name="connsiteY2408" fmla="*/ 821342 h 1683492"/>
                <a:gd name="connsiteX2409" fmla="*/ 1241075 w 1526442"/>
                <a:gd name="connsiteY2409" fmla="*/ 819714 h 1683492"/>
                <a:gd name="connsiteX2410" fmla="*/ 1249413 w 1526442"/>
                <a:gd name="connsiteY2410" fmla="*/ 824648 h 1683492"/>
                <a:gd name="connsiteX2411" fmla="*/ 1249413 w 1526442"/>
                <a:gd name="connsiteY2411" fmla="*/ 829582 h 1683492"/>
                <a:gd name="connsiteX2412" fmla="*/ 1247341 w 1526442"/>
                <a:gd name="connsiteY2412" fmla="*/ 840881 h 1683492"/>
                <a:gd name="connsiteX2413" fmla="*/ 1245219 w 1526442"/>
                <a:gd name="connsiteY2413" fmla="*/ 844088 h 1683492"/>
                <a:gd name="connsiteX2414" fmla="*/ 1241075 w 1526442"/>
                <a:gd name="connsiteY2414" fmla="*/ 844088 h 1683492"/>
                <a:gd name="connsiteX2415" fmla="*/ 1241075 w 1526442"/>
                <a:gd name="connsiteY2415" fmla="*/ 845716 h 1683492"/>
                <a:gd name="connsiteX2416" fmla="*/ 1245219 w 1526442"/>
                <a:gd name="connsiteY2416" fmla="*/ 848972 h 1683492"/>
                <a:gd name="connsiteX2417" fmla="*/ 1247341 w 1526442"/>
                <a:gd name="connsiteY2417" fmla="*/ 847344 h 1683492"/>
                <a:gd name="connsiteX2418" fmla="*/ 1255630 w 1526442"/>
                <a:gd name="connsiteY2418" fmla="*/ 848972 h 1683492"/>
                <a:gd name="connsiteX2419" fmla="*/ 1259824 w 1526442"/>
                <a:gd name="connsiteY2419" fmla="*/ 853907 h 1683492"/>
                <a:gd name="connsiteX2420" fmla="*/ 1268162 w 1526442"/>
                <a:gd name="connsiteY2420" fmla="*/ 857114 h 1683492"/>
                <a:gd name="connsiteX2421" fmla="*/ 1270235 w 1526442"/>
                <a:gd name="connsiteY2421" fmla="*/ 855535 h 1683492"/>
                <a:gd name="connsiteX2422" fmla="*/ 1276452 w 1526442"/>
                <a:gd name="connsiteY2422" fmla="*/ 852278 h 1683492"/>
                <a:gd name="connsiteX2423" fmla="*/ 1282718 w 1526442"/>
                <a:gd name="connsiteY2423" fmla="*/ 853907 h 1683492"/>
                <a:gd name="connsiteX2424" fmla="*/ 1282718 w 1526442"/>
                <a:gd name="connsiteY2424" fmla="*/ 855535 h 1683492"/>
                <a:gd name="connsiteX2425" fmla="*/ 1280646 w 1526442"/>
                <a:gd name="connsiteY2425" fmla="*/ 858742 h 1683492"/>
                <a:gd name="connsiteX2426" fmla="*/ 1280646 w 1526442"/>
                <a:gd name="connsiteY2426" fmla="*/ 863676 h 1683492"/>
                <a:gd name="connsiteX2427" fmla="*/ 1284790 w 1526442"/>
                <a:gd name="connsiteY2427" fmla="*/ 868610 h 1683492"/>
                <a:gd name="connsiteX2428" fmla="*/ 1282718 w 1526442"/>
                <a:gd name="connsiteY2428" fmla="*/ 873544 h 1683492"/>
                <a:gd name="connsiteX2429" fmla="*/ 1276452 w 1526442"/>
                <a:gd name="connsiteY2429" fmla="*/ 881586 h 1683492"/>
                <a:gd name="connsiteX2430" fmla="*/ 1268162 w 1526442"/>
                <a:gd name="connsiteY2430" fmla="*/ 884843 h 1683492"/>
                <a:gd name="connsiteX2431" fmla="*/ 1263870 w 1526442"/>
                <a:gd name="connsiteY2431" fmla="*/ 884843 h 1683492"/>
                <a:gd name="connsiteX2432" fmla="*/ 1261797 w 1526442"/>
                <a:gd name="connsiteY2432" fmla="*/ 879909 h 1683492"/>
                <a:gd name="connsiteX2433" fmla="*/ 1259725 w 1526442"/>
                <a:gd name="connsiteY2433" fmla="*/ 878281 h 1683492"/>
                <a:gd name="connsiteX2434" fmla="*/ 1255532 w 1526442"/>
                <a:gd name="connsiteY2434" fmla="*/ 873347 h 1683492"/>
                <a:gd name="connsiteX2435" fmla="*/ 1257653 w 1526442"/>
                <a:gd name="connsiteY2435" fmla="*/ 868413 h 1683492"/>
                <a:gd name="connsiteX2436" fmla="*/ 1249315 w 1526442"/>
                <a:gd name="connsiteY2436" fmla="*/ 863479 h 1683492"/>
                <a:gd name="connsiteX2437" fmla="*/ 1243048 w 1526442"/>
                <a:gd name="connsiteY2437" fmla="*/ 861900 h 1683492"/>
                <a:gd name="connsiteX2438" fmla="*/ 1236831 w 1526442"/>
                <a:gd name="connsiteY2438" fmla="*/ 858643 h 1683492"/>
                <a:gd name="connsiteX2439" fmla="*/ 1232638 w 1526442"/>
                <a:gd name="connsiteY2439" fmla="*/ 858643 h 1683492"/>
                <a:gd name="connsiteX2440" fmla="*/ 1228493 w 1526442"/>
                <a:gd name="connsiteY2440" fmla="*/ 861900 h 1683492"/>
                <a:gd name="connsiteX2441" fmla="*/ 1222227 w 1526442"/>
                <a:gd name="connsiteY2441" fmla="*/ 861900 h 1683492"/>
                <a:gd name="connsiteX2442" fmla="*/ 1220154 w 1526442"/>
                <a:gd name="connsiteY2442" fmla="*/ 860271 h 1683492"/>
                <a:gd name="connsiteX2443" fmla="*/ 1218082 w 1526442"/>
                <a:gd name="connsiteY2443" fmla="*/ 855337 h 1683492"/>
                <a:gd name="connsiteX2444" fmla="*/ 1213888 w 1526442"/>
                <a:gd name="connsiteY2444" fmla="*/ 852081 h 1683492"/>
                <a:gd name="connsiteX2445" fmla="*/ 1211816 w 1526442"/>
                <a:gd name="connsiteY2445" fmla="*/ 852081 h 1683492"/>
                <a:gd name="connsiteX2446" fmla="*/ 1211816 w 1526442"/>
                <a:gd name="connsiteY2446" fmla="*/ 853709 h 1683492"/>
                <a:gd name="connsiteX2447" fmla="*/ 1213888 w 1526442"/>
                <a:gd name="connsiteY2447" fmla="*/ 856916 h 1683492"/>
                <a:gd name="connsiteX2448" fmla="*/ 1213888 w 1526442"/>
                <a:gd name="connsiteY2448" fmla="*/ 862541 h 1683492"/>
                <a:gd name="connsiteX2449" fmla="*/ 1211816 w 1526442"/>
                <a:gd name="connsiteY2449" fmla="*/ 867475 h 1683492"/>
                <a:gd name="connsiteX2450" fmla="*/ 1207671 w 1526442"/>
                <a:gd name="connsiteY2450" fmla="*/ 869103 h 1683492"/>
                <a:gd name="connsiteX2451" fmla="*/ 1203477 w 1526442"/>
                <a:gd name="connsiteY2451" fmla="*/ 869103 h 1683492"/>
                <a:gd name="connsiteX2452" fmla="*/ 1199333 w 1526442"/>
                <a:gd name="connsiteY2452" fmla="*/ 870732 h 1683492"/>
                <a:gd name="connsiteX2453" fmla="*/ 1203477 w 1526442"/>
                <a:gd name="connsiteY2453" fmla="*/ 872360 h 1683492"/>
                <a:gd name="connsiteX2454" fmla="*/ 1205599 w 1526442"/>
                <a:gd name="connsiteY2454" fmla="*/ 875567 h 1683492"/>
                <a:gd name="connsiteX2455" fmla="*/ 1205599 w 1526442"/>
                <a:gd name="connsiteY2455" fmla="*/ 878823 h 1683492"/>
                <a:gd name="connsiteX2456" fmla="*/ 1201405 w 1526442"/>
                <a:gd name="connsiteY2456" fmla="*/ 885287 h 1683492"/>
                <a:gd name="connsiteX2457" fmla="*/ 1197260 w 1526442"/>
                <a:gd name="connsiteY2457" fmla="*/ 886866 h 1683492"/>
                <a:gd name="connsiteX2458" fmla="*/ 1197260 w 1526442"/>
                <a:gd name="connsiteY2458" fmla="*/ 890122 h 1683492"/>
                <a:gd name="connsiteX2459" fmla="*/ 1201405 w 1526442"/>
                <a:gd name="connsiteY2459" fmla="*/ 893329 h 1683492"/>
                <a:gd name="connsiteX2460" fmla="*/ 1203477 w 1526442"/>
                <a:gd name="connsiteY2460" fmla="*/ 899793 h 1683492"/>
                <a:gd name="connsiteX2461" fmla="*/ 1207671 w 1526442"/>
                <a:gd name="connsiteY2461" fmla="*/ 901421 h 1683492"/>
                <a:gd name="connsiteX2462" fmla="*/ 1209744 w 1526442"/>
                <a:gd name="connsiteY2462" fmla="*/ 906355 h 1683492"/>
                <a:gd name="connsiteX2463" fmla="*/ 1207671 w 1526442"/>
                <a:gd name="connsiteY2463" fmla="*/ 914447 h 1683492"/>
                <a:gd name="connsiteX2464" fmla="*/ 1207671 w 1526442"/>
                <a:gd name="connsiteY2464" fmla="*/ 916075 h 1683492"/>
                <a:gd name="connsiteX2465" fmla="*/ 1209744 w 1526442"/>
                <a:gd name="connsiteY2465" fmla="*/ 911141 h 1683492"/>
                <a:gd name="connsiteX2466" fmla="*/ 1213888 w 1526442"/>
                <a:gd name="connsiteY2466" fmla="*/ 907934 h 1683492"/>
                <a:gd name="connsiteX2467" fmla="*/ 1211816 w 1526442"/>
                <a:gd name="connsiteY2467" fmla="*/ 903000 h 1683492"/>
                <a:gd name="connsiteX2468" fmla="*/ 1209744 w 1526442"/>
                <a:gd name="connsiteY2468" fmla="*/ 901372 h 1683492"/>
                <a:gd name="connsiteX2469" fmla="*/ 1209744 w 1526442"/>
                <a:gd name="connsiteY2469" fmla="*/ 896438 h 1683492"/>
                <a:gd name="connsiteX2470" fmla="*/ 1211816 w 1526442"/>
                <a:gd name="connsiteY2470" fmla="*/ 891504 h 1683492"/>
                <a:gd name="connsiteX2471" fmla="*/ 1213888 w 1526442"/>
                <a:gd name="connsiteY2471" fmla="*/ 891504 h 1683492"/>
                <a:gd name="connsiteX2472" fmla="*/ 1216010 w 1526442"/>
                <a:gd name="connsiteY2472" fmla="*/ 894711 h 1683492"/>
                <a:gd name="connsiteX2473" fmla="*/ 1220154 w 1526442"/>
                <a:gd name="connsiteY2473" fmla="*/ 897967 h 1683492"/>
                <a:gd name="connsiteX2474" fmla="*/ 1222227 w 1526442"/>
                <a:gd name="connsiteY2474" fmla="*/ 901175 h 1683492"/>
                <a:gd name="connsiteX2475" fmla="*/ 1228493 w 1526442"/>
                <a:gd name="connsiteY2475" fmla="*/ 904382 h 1683492"/>
                <a:gd name="connsiteX2476" fmla="*/ 1230565 w 1526442"/>
                <a:gd name="connsiteY2476" fmla="*/ 902803 h 1683492"/>
                <a:gd name="connsiteX2477" fmla="*/ 1232638 w 1526442"/>
                <a:gd name="connsiteY2477" fmla="*/ 902803 h 1683492"/>
                <a:gd name="connsiteX2478" fmla="*/ 1234710 w 1526442"/>
                <a:gd name="connsiteY2478" fmla="*/ 904382 h 1683492"/>
                <a:gd name="connsiteX2479" fmla="*/ 1236831 w 1526442"/>
                <a:gd name="connsiteY2479" fmla="*/ 902803 h 1683492"/>
                <a:gd name="connsiteX2480" fmla="*/ 1243048 w 1526442"/>
                <a:gd name="connsiteY2480" fmla="*/ 901175 h 1683492"/>
                <a:gd name="connsiteX2481" fmla="*/ 1247242 w 1526442"/>
                <a:gd name="connsiteY2481" fmla="*/ 902803 h 1683492"/>
                <a:gd name="connsiteX2482" fmla="*/ 1249315 w 1526442"/>
                <a:gd name="connsiteY2482" fmla="*/ 904382 h 1683492"/>
                <a:gd name="connsiteX2483" fmla="*/ 1249315 w 1526442"/>
                <a:gd name="connsiteY2483" fmla="*/ 909316 h 1683492"/>
                <a:gd name="connsiteX2484" fmla="*/ 1245120 w 1526442"/>
                <a:gd name="connsiteY2484" fmla="*/ 915779 h 1683492"/>
                <a:gd name="connsiteX2485" fmla="*/ 1243048 w 1526442"/>
                <a:gd name="connsiteY2485" fmla="*/ 920713 h 1683492"/>
                <a:gd name="connsiteX2486" fmla="*/ 1243048 w 1526442"/>
                <a:gd name="connsiteY2486" fmla="*/ 925647 h 1683492"/>
                <a:gd name="connsiteX2487" fmla="*/ 1240976 w 1526442"/>
                <a:gd name="connsiteY2487" fmla="*/ 933739 h 1683492"/>
                <a:gd name="connsiteX2488" fmla="*/ 1238903 w 1526442"/>
                <a:gd name="connsiteY2488" fmla="*/ 935318 h 1683492"/>
                <a:gd name="connsiteX2489" fmla="*/ 1232638 w 1526442"/>
                <a:gd name="connsiteY2489" fmla="*/ 935318 h 1683492"/>
                <a:gd name="connsiteX2490" fmla="*/ 1226421 w 1526442"/>
                <a:gd name="connsiteY2490" fmla="*/ 936946 h 1683492"/>
                <a:gd name="connsiteX2491" fmla="*/ 1220154 w 1526442"/>
                <a:gd name="connsiteY2491" fmla="*/ 935318 h 1683492"/>
                <a:gd name="connsiteX2492" fmla="*/ 1216010 w 1526442"/>
                <a:gd name="connsiteY2492" fmla="*/ 933739 h 1683492"/>
                <a:gd name="connsiteX2493" fmla="*/ 1213888 w 1526442"/>
                <a:gd name="connsiteY2493" fmla="*/ 933739 h 1683492"/>
                <a:gd name="connsiteX2494" fmla="*/ 1209744 w 1526442"/>
                <a:gd name="connsiteY2494" fmla="*/ 936946 h 1683492"/>
                <a:gd name="connsiteX2495" fmla="*/ 1209744 w 1526442"/>
                <a:gd name="connsiteY2495" fmla="*/ 940203 h 1683492"/>
                <a:gd name="connsiteX2496" fmla="*/ 1205599 w 1526442"/>
                <a:gd name="connsiteY2496" fmla="*/ 943410 h 1683492"/>
                <a:gd name="connsiteX2497" fmla="*/ 1197260 w 1526442"/>
                <a:gd name="connsiteY2497" fmla="*/ 943410 h 1683492"/>
                <a:gd name="connsiteX2498" fmla="*/ 1195188 w 1526442"/>
                <a:gd name="connsiteY2498" fmla="*/ 946666 h 1683492"/>
                <a:gd name="connsiteX2499" fmla="*/ 1195188 w 1526442"/>
                <a:gd name="connsiteY2499" fmla="*/ 949873 h 1683492"/>
                <a:gd name="connsiteX2500" fmla="*/ 1188922 w 1526442"/>
                <a:gd name="connsiteY2500" fmla="*/ 951502 h 1683492"/>
                <a:gd name="connsiteX2501" fmla="*/ 1184777 w 1526442"/>
                <a:gd name="connsiteY2501" fmla="*/ 949873 h 1683492"/>
                <a:gd name="connsiteX2502" fmla="*/ 1180633 w 1526442"/>
                <a:gd name="connsiteY2502" fmla="*/ 946666 h 1683492"/>
                <a:gd name="connsiteX2503" fmla="*/ 1170222 w 1526442"/>
                <a:gd name="connsiteY2503" fmla="*/ 941732 h 1683492"/>
                <a:gd name="connsiteX2504" fmla="*/ 1163906 w 1526442"/>
                <a:gd name="connsiteY2504" fmla="*/ 935269 h 1683492"/>
                <a:gd name="connsiteX2505" fmla="*/ 1149104 w 1526442"/>
                <a:gd name="connsiteY2505" fmla="*/ 923970 h 1683492"/>
                <a:gd name="connsiteX2506" fmla="*/ 1147032 w 1526442"/>
                <a:gd name="connsiteY2506" fmla="*/ 919036 h 1683492"/>
                <a:gd name="connsiteX2507" fmla="*/ 1147032 w 1526442"/>
                <a:gd name="connsiteY2507" fmla="*/ 915829 h 1683492"/>
                <a:gd name="connsiteX2508" fmla="*/ 1149104 w 1526442"/>
                <a:gd name="connsiteY2508" fmla="*/ 914200 h 1683492"/>
                <a:gd name="connsiteX2509" fmla="*/ 1153249 w 1526442"/>
                <a:gd name="connsiteY2509" fmla="*/ 914200 h 1683492"/>
                <a:gd name="connsiteX2510" fmla="*/ 1155370 w 1526442"/>
                <a:gd name="connsiteY2510" fmla="*/ 915829 h 1683492"/>
                <a:gd name="connsiteX2511" fmla="*/ 1157443 w 1526442"/>
                <a:gd name="connsiteY2511" fmla="*/ 917408 h 1683492"/>
                <a:gd name="connsiteX2512" fmla="*/ 1169975 w 1526442"/>
                <a:gd name="connsiteY2512" fmla="*/ 922342 h 1683492"/>
                <a:gd name="connsiteX2513" fmla="*/ 1178264 w 1526442"/>
                <a:gd name="connsiteY2513" fmla="*/ 927276 h 1683492"/>
                <a:gd name="connsiteX2514" fmla="*/ 1180386 w 1526442"/>
                <a:gd name="connsiteY2514" fmla="*/ 927276 h 1683492"/>
                <a:gd name="connsiteX2515" fmla="*/ 1188675 w 1526442"/>
                <a:gd name="connsiteY2515" fmla="*/ 925647 h 1683492"/>
                <a:gd name="connsiteX2516" fmla="*/ 1188675 w 1526442"/>
                <a:gd name="connsiteY2516" fmla="*/ 922440 h 1683492"/>
                <a:gd name="connsiteX2517" fmla="*/ 1186603 w 1526442"/>
                <a:gd name="connsiteY2517" fmla="*/ 920812 h 1683492"/>
                <a:gd name="connsiteX2518" fmla="*/ 1184925 w 1526442"/>
                <a:gd name="connsiteY2518" fmla="*/ 920812 h 1683492"/>
                <a:gd name="connsiteX2519" fmla="*/ 1180781 w 1526442"/>
                <a:gd name="connsiteY2519" fmla="*/ 922440 h 1683492"/>
                <a:gd name="connsiteX2520" fmla="*/ 1174515 w 1526442"/>
                <a:gd name="connsiteY2520" fmla="*/ 920812 h 1683492"/>
                <a:gd name="connsiteX2521" fmla="*/ 1164054 w 1526442"/>
                <a:gd name="connsiteY2521" fmla="*/ 914348 h 1683492"/>
                <a:gd name="connsiteX2522" fmla="*/ 1153644 w 1526442"/>
                <a:gd name="connsiteY2522" fmla="*/ 911092 h 1683492"/>
                <a:gd name="connsiteX2523" fmla="*/ 1149499 w 1526442"/>
                <a:gd name="connsiteY2523" fmla="*/ 909513 h 1683492"/>
                <a:gd name="connsiteX2524" fmla="*/ 1147427 w 1526442"/>
                <a:gd name="connsiteY2524" fmla="*/ 907885 h 1683492"/>
                <a:gd name="connsiteX2525" fmla="*/ 1147427 w 1526442"/>
                <a:gd name="connsiteY2525" fmla="*/ 904628 h 1683492"/>
                <a:gd name="connsiteX2526" fmla="*/ 1145354 w 1526442"/>
                <a:gd name="connsiteY2526" fmla="*/ 903050 h 1683492"/>
                <a:gd name="connsiteX2527" fmla="*/ 1141160 w 1526442"/>
                <a:gd name="connsiteY2527" fmla="*/ 903050 h 1683492"/>
                <a:gd name="connsiteX2528" fmla="*/ 1139088 w 1526442"/>
                <a:gd name="connsiteY2528" fmla="*/ 906257 h 1683492"/>
                <a:gd name="connsiteX2529" fmla="*/ 1139088 w 1526442"/>
                <a:gd name="connsiteY2529" fmla="*/ 911191 h 1683492"/>
                <a:gd name="connsiteX2530" fmla="*/ 1137016 w 1526442"/>
                <a:gd name="connsiteY2530" fmla="*/ 921059 h 1683492"/>
                <a:gd name="connsiteX2531" fmla="*/ 1137016 w 1526442"/>
                <a:gd name="connsiteY2531" fmla="*/ 927522 h 1683492"/>
                <a:gd name="connsiteX2532" fmla="*/ 1134943 w 1526442"/>
                <a:gd name="connsiteY2532" fmla="*/ 925894 h 1683492"/>
                <a:gd name="connsiteX2533" fmla="*/ 1122411 w 1526442"/>
                <a:gd name="connsiteY2533" fmla="*/ 914595 h 1683492"/>
                <a:gd name="connsiteX2534" fmla="*/ 1116194 w 1526442"/>
                <a:gd name="connsiteY2534" fmla="*/ 903296 h 1683492"/>
                <a:gd name="connsiteX2535" fmla="*/ 1112000 w 1526442"/>
                <a:gd name="connsiteY2535" fmla="*/ 900040 h 1683492"/>
                <a:gd name="connsiteX2536" fmla="*/ 1112000 w 1526442"/>
                <a:gd name="connsiteY2536" fmla="*/ 898461 h 1683492"/>
                <a:gd name="connsiteX2537" fmla="*/ 1109928 w 1526442"/>
                <a:gd name="connsiteY2537" fmla="*/ 895204 h 1683492"/>
                <a:gd name="connsiteX2538" fmla="*/ 1107856 w 1526442"/>
                <a:gd name="connsiteY2538" fmla="*/ 895204 h 1683492"/>
                <a:gd name="connsiteX2539" fmla="*/ 1105783 w 1526442"/>
                <a:gd name="connsiteY2539" fmla="*/ 896833 h 1683492"/>
                <a:gd name="connsiteX2540" fmla="*/ 1105783 w 1526442"/>
                <a:gd name="connsiteY2540" fmla="*/ 900040 h 1683492"/>
                <a:gd name="connsiteX2541" fmla="*/ 1112000 w 1526442"/>
                <a:gd name="connsiteY2541" fmla="*/ 903296 h 1683492"/>
                <a:gd name="connsiteX2542" fmla="*/ 1120339 w 1526442"/>
                <a:gd name="connsiteY2542" fmla="*/ 914595 h 1683492"/>
                <a:gd name="connsiteX2543" fmla="*/ 1120339 w 1526442"/>
                <a:gd name="connsiteY2543" fmla="*/ 917802 h 1683492"/>
                <a:gd name="connsiteX2544" fmla="*/ 1124533 w 1526442"/>
                <a:gd name="connsiteY2544" fmla="*/ 921059 h 1683492"/>
                <a:gd name="connsiteX2545" fmla="*/ 1126605 w 1526442"/>
                <a:gd name="connsiteY2545" fmla="*/ 924266 h 1683492"/>
                <a:gd name="connsiteX2546" fmla="*/ 1126605 w 1526442"/>
                <a:gd name="connsiteY2546" fmla="*/ 927522 h 1683492"/>
                <a:gd name="connsiteX2547" fmla="*/ 1122411 w 1526442"/>
                <a:gd name="connsiteY2547" fmla="*/ 927522 h 1683492"/>
                <a:gd name="connsiteX2548" fmla="*/ 1116194 w 1526442"/>
                <a:gd name="connsiteY2548" fmla="*/ 929101 h 1683492"/>
                <a:gd name="connsiteX2549" fmla="*/ 1112000 w 1526442"/>
                <a:gd name="connsiteY2549" fmla="*/ 932358 h 1683492"/>
                <a:gd name="connsiteX2550" fmla="*/ 1109928 w 1526442"/>
                <a:gd name="connsiteY2550" fmla="*/ 935565 h 1683492"/>
                <a:gd name="connsiteX2551" fmla="*/ 1103711 w 1526442"/>
                <a:gd name="connsiteY2551" fmla="*/ 937193 h 1683492"/>
                <a:gd name="connsiteX2552" fmla="*/ 1099517 w 1526442"/>
                <a:gd name="connsiteY2552" fmla="*/ 938821 h 1683492"/>
                <a:gd name="connsiteX2553" fmla="*/ 1093301 w 1526442"/>
                <a:gd name="connsiteY2553" fmla="*/ 940449 h 1683492"/>
                <a:gd name="connsiteX2554" fmla="*/ 1089106 w 1526442"/>
                <a:gd name="connsiteY2554" fmla="*/ 940449 h 1683492"/>
                <a:gd name="connsiteX2555" fmla="*/ 1084962 w 1526442"/>
                <a:gd name="connsiteY2555" fmla="*/ 937193 h 1683492"/>
                <a:gd name="connsiteX2556" fmla="*/ 1080768 w 1526442"/>
                <a:gd name="connsiteY2556" fmla="*/ 937193 h 1683492"/>
                <a:gd name="connsiteX2557" fmla="*/ 1076623 w 1526442"/>
                <a:gd name="connsiteY2557" fmla="*/ 933986 h 1683492"/>
                <a:gd name="connsiteX2558" fmla="*/ 1076623 w 1526442"/>
                <a:gd name="connsiteY2558" fmla="*/ 932358 h 1683492"/>
                <a:gd name="connsiteX2559" fmla="*/ 1068285 w 1526442"/>
                <a:gd name="connsiteY2559" fmla="*/ 927424 h 1683492"/>
                <a:gd name="connsiteX2560" fmla="*/ 1064140 w 1526442"/>
                <a:gd name="connsiteY2560" fmla="*/ 924167 h 1683492"/>
                <a:gd name="connsiteX2561" fmla="*/ 1064140 w 1526442"/>
                <a:gd name="connsiteY2561" fmla="*/ 920960 h 1683492"/>
                <a:gd name="connsiteX2562" fmla="*/ 1062068 w 1526442"/>
                <a:gd name="connsiteY2562" fmla="*/ 917704 h 1683492"/>
                <a:gd name="connsiteX2563" fmla="*/ 1059946 w 1526442"/>
                <a:gd name="connsiteY2563" fmla="*/ 917704 h 1683492"/>
                <a:gd name="connsiteX2564" fmla="*/ 1057874 w 1526442"/>
                <a:gd name="connsiteY2564" fmla="*/ 919332 h 1683492"/>
                <a:gd name="connsiteX2565" fmla="*/ 1057874 w 1526442"/>
                <a:gd name="connsiteY2565" fmla="*/ 924266 h 1683492"/>
                <a:gd name="connsiteX2566" fmla="*/ 1059946 w 1526442"/>
                <a:gd name="connsiteY2566" fmla="*/ 927522 h 1683492"/>
                <a:gd name="connsiteX2567" fmla="*/ 1066212 w 1526442"/>
                <a:gd name="connsiteY2567" fmla="*/ 930729 h 1683492"/>
                <a:gd name="connsiteX2568" fmla="*/ 1072478 w 1526442"/>
                <a:gd name="connsiteY2568" fmla="*/ 933986 h 1683492"/>
                <a:gd name="connsiteX2569" fmla="*/ 1076623 w 1526442"/>
                <a:gd name="connsiteY2569" fmla="*/ 940449 h 1683492"/>
                <a:gd name="connsiteX2570" fmla="*/ 1076623 w 1526442"/>
                <a:gd name="connsiteY2570" fmla="*/ 942028 h 1683492"/>
                <a:gd name="connsiteX2571" fmla="*/ 1072478 w 1526442"/>
                <a:gd name="connsiteY2571" fmla="*/ 945285 h 1683492"/>
                <a:gd name="connsiteX2572" fmla="*/ 1062068 w 1526442"/>
                <a:gd name="connsiteY2572" fmla="*/ 945285 h 1683492"/>
                <a:gd name="connsiteX2573" fmla="*/ 1055801 w 1526442"/>
                <a:gd name="connsiteY2573" fmla="*/ 943657 h 1683492"/>
                <a:gd name="connsiteX2574" fmla="*/ 1049536 w 1526442"/>
                <a:gd name="connsiteY2574" fmla="*/ 945285 h 1683492"/>
                <a:gd name="connsiteX2575" fmla="*/ 1045391 w 1526442"/>
                <a:gd name="connsiteY2575" fmla="*/ 948492 h 1683492"/>
                <a:gd name="connsiteX2576" fmla="*/ 1047463 w 1526442"/>
                <a:gd name="connsiteY2576" fmla="*/ 950120 h 1683492"/>
                <a:gd name="connsiteX2577" fmla="*/ 1049536 w 1526442"/>
                <a:gd name="connsiteY2577" fmla="*/ 950120 h 1683492"/>
                <a:gd name="connsiteX2578" fmla="*/ 1051657 w 1526442"/>
                <a:gd name="connsiteY2578" fmla="*/ 953377 h 1683492"/>
                <a:gd name="connsiteX2579" fmla="*/ 1053729 w 1526442"/>
                <a:gd name="connsiteY2579" fmla="*/ 954956 h 1683492"/>
                <a:gd name="connsiteX2580" fmla="*/ 1055801 w 1526442"/>
                <a:gd name="connsiteY2580" fmla="*/ 951748 h 1683492"/>
                <a:gd name="connsiteX2581" fmla="*/ 1057874 w 1526442"/>
                <a:gd name="connsiteY2581" fmla="*/ 948492 h 1683492"/>
                <a:gd name="connsiteX2582" fmla="*/ 1064140 w 1526442"/>
                <a:gd name="connsiteY2582" fmla="*/ 948492 h 1683492"/>
                <a:gd name="connsiteX2583" fmla="*/ 1068285 w 1526442"/>
                <a:gd name="connsiteY2583" fmla="*/ 950120 h 1683492"/>
                <a:gd name="connsiteX2584" fmla="*/ 1074551 w 1526442"/>
                <a:gd name="connsiteY2584" fmla="*/ 951748 h 1683492"/>
                <a:gd name="connsiteX2585" fmla="*/ 1078695 w 1526442"/>
                <a:gd name="connsiteY2585" fmla="*/ 950120 h 1683492"/>
                <a:gd name="connsiteX2586" fmla="*/ 1078695 w 1526442"/>
                <a:gd name="connsiteY2586" fmla="*/ 945186 h 1683492"/>
                <a:gd name="connsiteX2587" fmla="*/ 1097445 w 1526442"/>
                <a:gd name="connsiteY2587" fmla="*/ 945186 h 1683492"/>
                <a:gd name="connsiteX2588" fmla="*/ 1099517 w 1526442"/>
                <a:gd name="connsiteY2588" fmla="*/ 946814 h 1683492"/>
                <a:gd name="connsiteX2589" fmla="*/ 1103711 w 1526442"/>
                <a:gd name="connsiteY2589" fmla="*/ 950021 h 1683492"/>
                <a:gd name="connsiteX2590" fmla="*/ 1112000 w 1526442"/>
                <a:gd name="connsiteY2590" fmla="*/ 951650 h 1683492"/>
                <a:gd name="connsiteX2591" fmla="*/ 1116194 w 1526442"/>
                <a:gd name="connsiteY2591" fmla="*/ 953278 h 1683492"/>
                <a:gd name="connsiteX2592" fmla="*/ 1118266 w 1526442"/>
                <a:gd name="connsiteY2592" fmla="*/ 958212 h 1683492"/>
                <a:gd name="connsiteX2593" fmla="*/ 1116194 w 1526442"/>
                <a:gd name="connsiteY2593" fmla="*/ 961419 h 1683492"/>
                <a:gd name="connsiteX2594" fmla="*/ 1114122 w 1526442"/>
                <a:gd name="connsiteY2594" fmla="*/ 961419 h 1683492"/>
                <a:gd name="connsiteX2595" fmla="*/ 1109928 w 1526442"/>
                <a:gd name="connsiteY2595" fmla="*/ 966353 h 1683492"/>
                <a:gd name="connsiteX2596" fmla="*/ 1099517 w 1526442"/>
                <a:gd name="connsiteY2596" fmla="*/ 966353 h 1683492"/>
                <a:gd name="connsiteX2597" fmla="*/ 1093301 w 1526442"/>
                <a:gd name="connsiteY2597" fmla="*/ 971287 h 1683492"/>
                <a:gd name="connsiteX2598" fmla="*/ 1087034 w 1526442"/>
                <a:gd name="connsiteY2598" fmla="*/ 972866 h 1683492"/>
                <a:gd name="connsiteX2599" fmla="*/ 1082889 w 1526442"/>
                <a:gd name="connsiteY2599" fmla="*/ 971287 h 1683492"/>
                <a:gd name="connsiteX2600" fmla="*/ 1076623 w 1526442"/>
                <a:gd name="connsiteY2600" fmla="*/ 966353 h 1683492"/>
                <a:gd name="connsiteX2601" fmla="*/ 1072478 w 1526442"/>
                <a:gd name="connsiteY2601" fmla="*/ 964774 h 1683492"/>
                <a:gd name="connsiteX2602" fmla="*/ 1068285 w 1526442"/>
                <a:gd name="connsiteY2602" fmla="*/ 964774 h 1683492"/>
                <a:gd name="connsiteX2603" fmla="*/ 1066212 w 1526442"/>
                <a:gd name="connsiteY2603" fmla="*/ 967981 h 1683492"/>
                <a:gd name="connsiteX2604" fmla="*/ 1062068 w 1526442"/>
                <a:gd name="connsiteY2604" fmla="*/ 967981 h 1683492"/>
                <a:gd name="connsiteX2605" fmla="*/ 1059946 w 1526442"/>
                <a:gd name="connsiteY2605" fmla="*/ 966353 h 1683492"/>
                <a:gd name="connsiteX2606" fmla="*/ 1055801 w 1526442"/>
                <a:gd name="connsiteY2606" fmla="*/ 967981 h 1683492"/>
                <a:gd name="connsiteX2607" fmla="*/ 1055801 w 1526442"/>
                <a:gd name="connsiteY2607" fmla="*/ 969610 h 1683492"/>
                <a:gd name="connsiteX2608" fmla="*/ 1066212 w 1526442"/>
                <a:gd name="connsiteY2608" fmla="*/ 969610 h 1683492"/>
                <a:gd name="connsiteX2609" fmla="*/ 1070357 w 1526442"/>
                <a:gd name="connsiteY2609" fmla="*/ 967981 h 1683492"/>
                <a:gd name="connsiteX2610" fmla="*/ 1074551 w 1526442"/>
                <a:gd name="connsiteY2610" fmla="*/ 969610 h 1683492"/>
                <a:gd name="connsiteX2611" fmla="*/ 1076623 w 1526442"/>
                <a:gd name="connsiteY2611" fmla="*/ 971238 h 1683492"/>
                <a:gd name="connsiteX2612" fmla="*/ 1074551 w 1526442"/>
                <a:gd name="connsiteY2612" fmla="*/ 974445 h 1683492"/>
                <a:gd name="connsiteX2613" fmla="*/ 1068285 w 1526442"/>
                <a:gd name="connsiteY2613" fmla="*/ 974445 h 1683492"/>
                <a:gd name="connsiteX2614" fmla="*/ 1062068 w 1526442"/>
                <a:gd name="connsiteY2614" fmla="*/ 977701 h 1683492"/>
                <a:gd name="connsiteX2615" fmla="*/ 1059946 w 1526442"/>
                <a:gd name="connsiteY2615" fmla="*/ 979280 h 1683492"/>
                <a:gd name="connsiteX2616" fmla="*/ 1062068 w 1526442"/>
                <a:gd name="connsiteY2616" fmla="*/ 979280 h 1683492"/>
                <a:gd name="connsiteX2617" fmla="*/ 1066212 w 1526442"/>
                <a:gd name="connsiteY2617" fmla="*/ 977701 h 1683492"/>
                <a:gd name="connsiteX2618" fmla="*/ 1074551 w 1526442"/>
                <a:gd name="connsiteY2618" fmla="*/ 976073 h 1683492"/>
                <a:gd name="connsiteX2619" fmla="*/ 1076623 w 1526442"/>
                <a:gd name="connsiteY2619" fmla="*/ 976073 h 1683492"/>
                <a:gd name="connsiteX2620" fmla="*/ 1078695 w 1526442"/>
                <a:gd name="connsiteY2620" fmla="*/ 979280 h 1683492"/>
                <a:gd name="connsiteX2621" fmla="*/ 1078695 w 1526442"/>
                <a:gd name="connsiteY2621" fmla="*/ 982537 h 1683492"/>
                <a:gd name="connsiteX2622" fmla="*/ 1080768 w 1526442"/>
                <a:gd name="connsiteY2622" fmla="*/ 984165 h 1683492"/>
                <a:gd name="connsiteX2623" fmla="*/ 1084962 w 1526442"/>
                <a:gd name="connsiteY2623" fmla="*/ 979231 h 1683492"/>
                <a:gd name="connsiteX2624" fmla="*/ 1089106 w 1526442"/>
                <a:gd name="connsiteY2624" fmla="*/ 977652 h 1683492"/>
                <a:gd name="connsiteX2625" fmla="*/ 1093301 w 1526442"/>
                <a:gd name="connsiteY2625" fmla="*/ 977652 h 1683492"/>
                <a:gd name="connsiteX2626" fmla="*/ 1097445 w 1526442"/>
                <a:gd name="connsiteY2626" fmla="*/ 972718 h 1683492"/>
                <a:gd name="connsiteX2627" fmla="*/ 1101589 w 1526442"/>
                <a:gd name="connsiteY2627" fmla="*/ 972718 h 1683492"/>
                <a:gd name="connsiteX2628" fmla="*/ 1103711 w 1526442"/>
                <a:gd name="connsiteY2628" fmla="*/ 974346 h 1683492"/>
                <a:gd name="connsiteX2629" fmla="*/ 1112000 w 1526442"/>
                <a:gd name="connsiteY2629" fmla="*/ 979280 h 1683492"/>
                <a:gd name="connsiteX2630" fmla="*/ 1116194 w 1526442"/>
                <a:gd name="connsiteY2630" fmla="*/ 979280 h 1683492"/>
                <a:gd name="connsiteX2631" fmla="*/ 1118266 w 1526442"/>
                <a:gd name="connsiteY2631" fmla="*/ 980909 h 1683492"/>
                <a:gd name="connsiteX2632" fmla="*/ 1118266 w 1526442"/>
                <a:gd name="connsiteY2632" fmla="*/ 993836 h 1683492"/>
                <a:gd name="connsiteX2633" fmla="*/ 1114122 w 1526442"/>
                <a:gd name="connsiteY2633" fmla="*/ 998770 h 1683492"/>
                <a:gd name="connsiteX2634" fmla="*/ 1101589 w 1526442"/>
                <a:gd name="connsiteY2634" fmla="*/ 998770 h 1683492"/>
                <a:gd name="connsiteX2635" fmla="*/ 1095372 w 1526442"/>
                <a:gd name="connsiteY2635" fmla="*/ 997142 h 1683492"/>
                <a:gd name="connsiteX2636" fmla="*/ 1082889 w 1526442"/>
                <a:gd name="connsiteY2636" fmla="*/ 997142 h 1683492"/>
                <a:gd name="connsiteX2637" fmla="*/ 1080768 w 1526442"/>
                <a:gd name="connsiteY2637" fmla="*/ 995563 h 1683492"/>
                <a:gd name="connsiteX2638" fmla="*/ 1076623 w 1526442"/>
                <a:gd name="connsiteY2638" fmla="*/ 1000497 h 1683492"/>
                <a:gd name="connsiteX2639" fmla="*/ 1078695 w 1526442"/>
                <a:gd name="connsiteY2639" fmla="*/ 1000497 h 1683492"/>
                <a:gd name="connsiteX2640" fmla="*/ 1084962 w 1526442"/>
                <a:gd name="connsiteY2640" fmla="*/ 998868 h 1683492"/>
                <a:gd name="connsiteX2641" fmla="*/ 1093301 w 1526442"/>
                <a:gd name="connsiteY2641" fmla="*/ 998868 h 1683492"/>
                <a:gd name="connsiteX2642" fmla="*/ 1101589 w 1526442"/>
                <a:gd name="connsiteY2642" fmla="*/ 1002125 h 1683492"/>
                <a:gd name="connsiteX2643" fmla="*/ 1103711 w 1526442"/>
                <a:gd name="connsiteY2643" fmla="*/ 1005332 h 1683492"/>
                <a:gd name="connsiteX2644" fmla="*/ 1103711 w 1526442"/>
                <a:gd name="connsiteY2644" fmla="*/ 1008589 h 1683492"/>
                <a:gd name="connsiteX2645" fmla="*/ 1107856 w 1526442"/>
                <a:gd name="connsiteY2645" fmla="*/ 1003654 h 1683492"/>
                <a:gd name="connsiteX2646" fmla="*/ 1114122 w 1526442"/>
                <a:gd name="connsiteY2646" fmla="*/ 1002076 h 1683492"/>
                <a:gd name="connsiteX2647" fmla="*/ 1122411 w 1526442"/>
                <a:gd name="connsiteY2647" fmla="*/ 1002076 h 1683492"/>
                <a:gd name="connsiteX2648" fmla="*/ 1128677 w 1526442"/>
                <a:gd name="connsiteY2648" fmla="*/ 1005283 h 1683492"/>
                <a:gd name="connsiteX2649" fmla="*/ 1128677 w 1526442"/>
                <a:gd name="connsiteY2649" fmla="*/ 1008539 h 1683492"/>
                <a:gd name="connsiteX2650" fmla="*/ 1141160 w 1526442"/>
                <a:gd name="connsiteY2650" fmla="*/ 1015003 h 1683492"/>
                <a:gd name="connsiteX2651" fmla="*/ 1141160 w 1526442"/>
                <a:gd name="connsiteY2651" fmla="*/ 1016582 h 1683492"/>
                <a:gd name="connsiteX2652" fmla="*/ 1143233 w 1526442"/>
                <a:gd name="connsiteY2652" fmla="*/ 1019838 h 1683492"/>
                <a:gd name="connsiteX2653" fmla="*/ 1147427 w 1526442"/>
                <a:gd name="connsiteY2653" fmla="*/ 1019838 h 1683492"/>
                <a:gd name="connsiteX2654" fmla="*/ 1149499 w 1526442"/>
                <a:gd name="connsiteY2654" fmla="*/ 1021466 h 1683492"/>
                <a:gd name="connsiteX2655" fmla="*/ 1151571 w 1526442"/>
                <a:gd name="connsiteY2655" fmla="*/ 1021466 h 1683492"/>
                <a:gd name="connsiteX2656" fmla="*/ 1155765 w 1526442"/>
                <a:gd name="connsiteY2656" fmla="*/ 1026400 h 1683492"/>
                <a:gd name="connsiteX2657" fmla="*/ 1159959 w 1526442"/>
                <a:gd name="connsiteY2657" fmla="*/ 1027979 h 1683492"/>
                <a:gd name="connsiteX2658" fmla="*/ 1161982 w 1526442"/>
                <a:gd name="connsiteY2658" fmla="*/ 1031236 h 1683492"/>
                <a:gd name="connsiteX2659" fmla="*/ 1164054 w 1526442"/>
                <a:gd name="connsiteY2659" fmla="*/ 1034443 h 1683492"/>
                <a:gd name="connsiteX2660" fmla="*/ 1168248 w 1526442"/>
                <a:gd name="connsiteY2660" fmla="*/ 1034443 h 1683492"/>
                <a:gd name="connsiteX2661" fmla="*/ 1170370 w 1526442"/>
                <a:gd name="connsiteY2661" fmla="*/ 1037699 h 1683492"/>
                <a:gd name="connsiteX2662" fmla="*/ 1172393 w 1526442"/>
                <a:gd name="connsiteY2662" fmla="*/ 1039327 h 1683492"/>
                <a:gd name="connsiteX2663" fmla="*/ 1172393 w 1526442"/>
                <a:gd name="connsiteY2663" fmla="*/ 1040166 h 1683492"/>
                <a:gd name="connsiteX2664" fmla="*/ 1168248 w 1526442"/>
                <a:gd name="connsiteY2664" fmla="*/ 1046630 h 1683492"/>
                <a:gd name="connsiteX2665" fmla="*/ 1166176 w 1526442"/>
                <a:gd name="connsiteY2665" fmla="*/ 1048258 h 1683492"/>
                <a:gd name="connsiteX2666" fmla="*/ 1161982 w 1526442"/>
                <a:gd name="connsiteY2666" fmla="*/ 1053192 h 1683492"/>
                <a:gd name="connsiteX2667" fmla="*/ 1161982 w 1526442"/>
                <a:gd name="connsiteY2667" fmla="*/ 1058126 h 1683492"/>
                <a:gd name="connsiteX2668" fmla="*/ 1166176 w 1526442"/>
                <a:gd name="connsiteY2668" fmla="*/ 1053192 h 1683492"/>
                <a:gd name="connsiteX2669" fmla="*/ 1172393 w 1526442"/>
                <a:gd name="connsiteY2669" fmla="*/ 1049985 h 1683492"/>
                <a:gd name="connsiteX2670" fmla="*/ 1176587 w 1526442"/>
                <a:gd name="connsiteY2670" fmla="*/ 1048357 h 1683492"/>
                <a:gd name="connsiteX2671" fmla="*/ 1176587 w 1526442"/>
                <a:gd name="connsiteY2671" fmla="*/ 1048357 h 1683492"/>
                <a:gd name="connsiteX2672" fmla="*/ 1174515 w 1526442"/>
                <a:gd name="connsiteY2672" fmla="*/ 1051613 h 1683492"/>
                <a:gd name="connsiteX2673" fmla="*/ 1172393 w 1526442"/>
                <a:gd name="connsiteY2673" fmla="*/ 1056547 h 1683492"/>
                <a:gd name="connsiteX2674" fmla="*/ 1174515 w 1526442"/>
                <a:gd name="connsiteY2674" fmla="*/ 1054919 h 1683492"/>
                <a:gd name="connsiteX2675" fmla="*/ 1176587 w 1526442"/>
                <a:gd name="connsiteY2675" fmla="*/ 1053291 h 1683492"/>
                <a:gd name="connsiteX2676" fmla="*/ 1180781 w 1526442"/>
                <a:gd name="connsiteY2676" fmla="*/ 1050084 h 1683492"/>
                <a:gd name="connsiteX2677" fmla="*/ 1184925 w 1526442"/>
                <a:gd name="connsiteY2677" fmla="*/ 1050084 h 1683492"/>
                <a:gd name="connsiteX2678" fmla="*/ 1186998 w 1526442"/>
                <a:gd name="connsiteY2678" fmla="*/ 1053291 h 1683492"/>
                <a:gd name="connsiteX2679" fmla="*/ 1184925 w 1526442"/>
                <a:gd name="connsiteY2679" fmla="*/ 1058225 h 1683492"/>
                <a:gd name="connsiteX2680" fmla="*/ 1180781 w 1526442"/>
                <a:gd name="connsiteY2680" fmla="*/ 1059853 h 1683492"/>
                <a:gd name="connsiteX2681" fmla="*/ 1174515 w 1526442"/>
                <a:gd name="connsiteY2681" fmla="*/ 1064787 h 1683492"/>
                <a:gd name="connsiteX2682" fmla="*/ 1172393 w 1526442"/>
                <a:gd name="connsiteY2682" fmla="*/ 1068044 h 1683492"/>
                <a:gd name="connsiteX2683" fmla="*/ 1172393 w 1526442"/>
                <a:gd name="connsiteY2683" fmla="*/ 1071251 h 1683492"/>
                <a:gd name="connsiteX2684" fmla="*/ 1174515 w 1526442"/>
                <a:gd name="connsiteY2684" fmla="*/ 1074507 h 1683492"/>
                <a:gd name="connsiteX2685" fmla="*/ 1174515 w 1526442"/>
                <a:gd name="connsiteY2685" fmla="*/ 1077714 h 1683492"/>
                <a:gd name="connsiteX2686" fmla="*/ 1172393 w 1526442"/>
                <a:gd name="connsiteY2686" fmla="*/ 1084178 h 1683492"/>
                <a:gd name="connsiteX2687" fmla="*/ 1172393 w 1526442"/>
                <a:gd name="connsiteY2687" fmla="*/ 1085806 h 1683492"/>
                <a:gd name="connsiteX2688" fmla="*/ 1176587 w 1526442"/>
                <a:gd name="connsiteY2688" fmla="*/ 1084178 h 1683492"/>
                <a:gd name="connsiteX2689" fmla="*/ 1178659 w 1526442"/>
                <a:gd name="connsiteY2689" fmla="*/ 1077714 h 1683492"/>
                <a:gd name="connsiteX2690" fmla="*/ 1182803 w 1526442"/>
                <a:gd name="connsiteY2690" fmla="*/ 1071251 h 1683492"/>
                <a:gd name="connsiteX2691" fmla="*/ 1189070 w 1526442"/>
                <a:gd name="connsiteY2691" fmla="*/ 1068044 h 1683492"/>
                <a:gd name="connsiteX2692" fmla="*/ 1191192 w 1526442"/>
                <a:gd name="connsiteY2692" fmla="*/ 1068044 h 1683492"/>
                <a:gd name="connsiteX2693" fmla="*/ 1191192 w 1526442"/>
                <a:gd name="connsiteY2693" fmla="*/ 1071251 h 1683492"/>
                <a:gd name="connsiteX2694" fmla="*/ 1186998 w 1526442"/>
                <a:gd name="connsiteY2694" fmla="*/ 1076185 h 1683492"/>
                <a:gd name="connsiteX2695" fmla="*/ 1184925 w 1526442"/>
                <a:gd name="connsiteY2695" fmla="*/ 1081119 h 1683492"/>
                <a:gd name="connsiteX2696" fmla="*/ 1184925 w 1526442"/>
                <a:gd name="connsiteY2696" fmla="*/ 1082747 h 1683492"/>
                <a:gd name="connsiteX2697" fmla="*/ 1189070 w 1526442"/>
                <a:gd name="connsiteY2697" fmla="*/ 1082747 h 1683492"/>
                <a:gd name="connsiteX2698" fmla="*/ 1191192 w 1526442"/>
                <a:gd name="connsiteY2698" fmla="*/ 1084326 h 1683492"/>
                <a:gd name="connsiteX2699" fmla="*/ 1191192 w 1526442"/>
                <a:gd name="connsiteY2699" fmla="*/ 1089260 h 1683492"/>
                <a:gd name="connsiteX2700" fmla="*/ 1186998 w 1526442"/>
                <a:gd name="connsiteY2700" fmla="*/ 1092467 h 1683492"/>
                <a:gd name="connsiteX2701" fmla="*/ 1180781 w 1526442"/>
                <a:gd name="connsiteY2701" fmla="*/ 1094095 h 1683492"/>
                <a:gd name="connsiteX2702" fmla="*/ 1180781 w 1526442"/>
                <a:gd name="connsiteY2702" fmla="*/ 1099029 h 1683492"/>
                <a:gd name="connsiteX2703" fmla="*/ 1186998 w 1526442"/>
                <a:gd name="connsiteY2703" fmla="*/ 1095773 h 1683492"/>
                <a:gd name="connsiteX2704" fmla="*/ 1189070 w 1526442"/>
                <a:gd name="connsiteY2704" fmla="*/ 1097401 h 1683492"/>
                <a:gd name="connsiteX2705" fmla="*/ 1186998 w 1526442"/>
                <a:gd name="connsiteY2705" fmla="*/ 1100658 h 1683492"/>
                <a:gd name="connsiteX2706" fmla="*/ 1184925 w 1526442"/>
                <a:gd name="connsiteY2706" fmla="*/ 1103865 h 1683492"/>
                <a:gd name="connsiteX2707" fmla="*/ 1189070 w 1526442"/>
                <a:gd name="connsiteY2707" fmla="*/ 1105493 h 1683492"/>
                <a:gd name="connsiteX2708" fmla="*/ 1191192 w 1526442"/>
                <a:gd name="connsiteY2708" fmla="*/ 1108700 h 1683492"/>
                <a:gd name="connsiteX2709" fmla="*/ 1189070 w 1526442"/>
                <a:gd name="connsiteY2709" fmla="*/ 1110328 h 1683492"/>
                <a:gd name="connsiteX2710" fmla="*/ 1189070 w 1526442"/>
                <a:gd name="connsiteY2710" fmla="*/ 1116792 h 1683492"/>
                <a:gd name="connsiteX2711" fmla="*/ 1186998 w 1526442"/>
                <a:gd name="connsiteY2711" fmla="*/ 1119999 h 1683492"/>
                <a:gd name="connsiteX2712" fmla="*/ 1186998 w 1526442"/>
                <a:gd name="connsiteY2712" fmla="*/ 1129867 h 1683492"/>
                <a:gd name="connsiteX2713" fmla="*/ 1189070 w 1526442"/>
                <a:gd name="connsiteY2713" fmla="*/ 1133074 h 1683492"/>
                <a:gd name="connsiteX2714" fmla="*/ 1189070 w 1526442"/>
                <a:gd name="connsiteY2714" fmla="*/ 1138008 h 1683492"/>
                <a:gd name="connsiteX2715" fmla="*/ 1184925 w 1526442"/>
                <a:gd name="connsiteY2715" fmla="*/ 1139587 h 1683492"/>
                <a:gd name="connsiteX2716" fmla="*/ 1178659 w 1526442"/>
                <a:gd name="connsiteY2716" fmla="*/ 1139587 h 1683492"/>
                <a:gd name="connsiteX2717" fmla="*/ 1176587 w 1526442"/>
                <a:gd name="connsiteY2717" fmla="*/ 1138008 h 1683492"/>
                <a:gd name="connsiteX2718" fmla="*/ 1178659 w 1526442"/>
                <a:gd name="connsiteY2718" fmla="*/ 1136380 h 1683492"/>
                <a:gd name="connsiteX2719" fmla="*/ 1176587 w 1526442"/>
                <a:gd name="connsiteY2719" fmla="*/ 1133124 h 1683492"/>
                <a:gd name="connsiteX2720" fmla="*/ 1174515 w 1526442"/>
                <a:gd name="connsiteY2720" fmla="*/ 1131545 h 1683492"/>
                <a:gd name="connsiteX2721" fmla="*/ 1170370 w 1526442"/>
                <a:gd name="connsiteY2721" fmla="*/ 1133124 h 1683492"/>
                <a:gd name="connsiteX2722" fmla="*/ 1166176 w 1526442"/>
                <a:gd name="connsiteY2722" fmla="*/ 1134752 h 1683492"/>
                <a:gd name="connsiteX2723" fmla="*/ 1164054 w 1526442"/>
                <a:gd name="connsiteY2723" fmla="*/ 1133124 h 1683492"/>
                <a:gd name="connsiteX2724" fmla="*/ 1164054 w 1526442"/>
                <a:gd name="connsiteY2724" fmla="*/ 1128979 h 1683492"/>
                <a:gd name="connsiteX2725" fmla="*/ 1166176 w 1526442"/>
                <a:gd name="connsiteY2725" fmla="*/ 1124045 h 1683492"/>
                <a:gd name="connsiteX2726" fmla="*/ 1164054 w 1526442"/>
                <a:gd name="connsiteY2726" fmla="*/ 1117581 h 1683492"/>
                <a:gd name="connsiteX2727" fmla="*/ 1164054 w 1526442"/>
                <a:gd name="connsiteY2727" fmla="*/ 1112647 h 1683492"/>
                <a:gd name="connsiteX2728" fmla="*/ 1166176 w 1526442"/>
                <a:gd name="connsiteY2728" fmla="*/ 1109391 h 1683492"/>
                <a:gd name="connsiteX2729" fmla="*/ 1164054 w 1526442"/>
                <a:gd name="connsiteY2729" fmla="*/ 1106184 h 1683492"/>
                <a:gd name="connsiteX2730" fmla="*/ 1161982 w 1526442"/>
                <a:gd name="connsiteY2730" fmla="*/ 1106184 h 1683492"/>
                <a:gd name="connsiteX2731" fmla="*/ 1159959 w 1526442"/>
                <a:gd name="connsiteY2731" fmla="*/ 1109391 h 1683492"/>
                <a:gd name="connsiteX2732" fmla="*/ 1159959 w 1526442"/>
                <a:gd name="connsiteY2732" fmla="*/ 1122318 h 1683492"/>
                <a:gd name="connsiteX2733" fmla="*/ 1157837 w 1526442"/>
                <a:gd name="connsiteY2733" fmla="*/ 1130410 h 1683492"/>
                <a:gd name="connsiteX2734" fmla="*/ 1157837 w 1526442"/>
                <a:gd name="connsiteY2734" fmla="*/ 1133913 h 1683492"/>
                <a:gd name="connsiteX2735" fmla="*/ 1155765 w 1526442"/>
                <a:gd name="connsiteY2735" fmla="*/ 1135541 h 1683492"/>
                <a:gd name="connsiteX2736" fmla="*/ 1147427 w 1526442"/>
                <a:gd name="connsiteY2736" fmla="*/ 1135541 h 1683492"/>
                <a:gd name="connsiteX2737" fmla="*/ 1143233 w 1526442"/>
                <a:gd name="connsiteY2737" fmla="*/ 1137169 h 1683492"/>
                <a:gd name="connsiteX2738" fmla="*/ 1139088 w 1526442"/>
                <a:gd name="connsiteY2738" fmla="*/ 1133913 h 1683492"/>
                <a:gd name="connsiteX2739" fmla="*/ 1130750 w 1526442"/>
                <a:gd name="connsiteY2739" fmla="*/ 1128979 h 1683492"/>
                <a:gd name="connsiteX2740" fmla="*/ 1124533 w 1526442"/>
                <a:gd name="connsiteY2740" fmla="*/ 1119111 h 1683492"/>
                <a:gd name="connsiteX2741" fmla="*/ 1120339 w 1526442"/>
                <a:gd name="connsiteY2741" fmla="*/ 1114177 h 1683492"/>
                <a:gd name="connsiteX2742" fmla="*/ 1116194 w 1526442"/>
                <a:gd name="connsiteY2742" fmla="*/ 1110970 h 1683492"/>
                <a:gd name="connsiteX2743" fmla="*/ 1116194 w 1526442"/>
                <a:gd name="connsiteY2743" fmla="*/ 1101102 h 1683492"/>
                <a:gd name="connsiteX2744" fmla="*/ 1112000 w 1526442"/>
                <a:gd name="connsiteY2744" fmla="*/ 1096168 h 1683492"/>
                <a:gd name="connsiteX2745" fmla="*/ 1107856 w 1526442"/>
                <a:gd name="connsiteY2745" fmla="*/ 1091234 h 1683492"/>
                <a:gd name="connsiteX2746" fmla="*/ 1105783 w 1526442"/>
                <a:gd name="connsiteY2746" fmla="*/ 1084770 h 1683492"/>
                <a:gd name="connsiteX2747" fmla="*/ 1107856 w 1526442"/>
                <a:gd name="connsiteY2747" fmla="*/ 1078306 h 1683492"/>
                <a:gd name="connsiteX2748" fmla="*/ 1109928 w 1526442"/>
                <a:gd name="connsiteY2748" fmla="*/ 1075099 h 1683492"/>
                <a:gd name="connsiteX2749" fmla="*/ 1107856 w 1526442"/>
                <a:gd name="connsiteY2749" fmla="*/ 1071843 h 1683492"/>
                <a:gd name="connsiteX2750" fmla="*/ 1105783 w 1526442"/>
                <a:gd name="connsiteY2750" fmla="*/ 1071843 h 1683492"/>
                <a:gd name="connsiteX2751" fmla="*/ 1099517 w 1526442"/>
                <a:gd name="connsiteY2751" fmla="*/ 1073471 h 1683492"/>
                <a:gd name="connsiteX2752" fmla="*/ 1097445 w 1526442"/>
                <a:gd name="connsiteY2752" fmla="*/ 1076678 h 1683492"/>
                <a:gd name="connsiteX2753" fmla="*/ 1093301 w 1526442"/>
                <a:gd name="connsiteY2753" fmla="*/ 1073471 h 1683492"/>
                <a:gd name="connsiteX2754" fmla="*/ 1080768 w 1526442"/>
                <a:gd name="connsiteY2754" fmla="*/ 1060544 h 1683492"/>
                <a:gd name="connsiteX2755" fmla="*/ 1080768 w 1526442"/>
                <a:gd name="connsiteY2755" fmla="*/ 1055610 h 1683492"/>
                <a:gd name="connsiteX2756" fmla="*/ 1076623 w 1526442"/>
                <a:gd name="connsiteY2756" fmla="*/ 1052353 h 1683492"/>
                <a:gd name="connsiteX2757" fmla="*/ 1072478 w 1526442"/>
                <a:gd name="connsiteY2757" fmla="*/ 1053982 h 1683492"/>
                <a:gd name="connsiteX2758" fmla="*/ 1066212 w 1526442"/>
                <a:gd name="connsiteY2758" fmla="*/ 1055610 h 1683492"/>
                <a:gd name="connsiteX2759" fmla="*/ 1059946 w 1526442"/>
                <a:gd name="connsiteY2759" fmla="*/ 1053982 h 1683492"/>
                <a:gd name="connsiteX2760" fmla="*/ 1057874 w 1526442"/>
                <a:gd name="connsiteY2760" fmla="*/ 1053982 h 1683492"/>
                <a:gd name="connsiteX2761" fmla="*/ 1053729 w 1526442"/>
                <a:gd name="connsiteY2761" fmla="*/ 1055610 h 1683492"/>
                <a:gd name="connsiteX2762" fmla="*/ 1049536 w 1526442"/>
                <a:gd name="connsiteY2762" fmla="*/ 1053982 h 1683492"/>
                <a:gd name="connsiteX2763" fmla="*/ 1045391 w 1526442"/>
                <a:gd name="connsiteY2763" fmla="*/ 1050774 h 1683492"/>
                <a:gd name="connsiteX2764" fmla="*/ 1045391 w 1526442"/>
                <a:gd name="connsiteY2764" fmla="*/ 1047518 h 1683492"/>
                <a:gd name="connsiteX2765" fmla="*/ 1037052 w 1526442"/>
                <a:gd name="connsiteY2765" fmla="*/ 1041054 h 1683492"/>
                <a:gd name="connsiteX2766" fmla="*/ 1037052 w 1526442"/>
                <a:gd name="connsiteY2766" fmla="*/ 1037847 h 1683492"/>
                <a:gd name="connsiteX2767" fmla="*/ 1034980 w 1526442"/>
                <a:gd name="connsiteY2767" fmla="*/ 1034591 h 1683492"/>
                <a:gd name="connsiteX2768" fmla="*/ 1032907 w 1526442"/>
                <a:gd name="connsiteY2768" fmla="*/ 1028127 h 1683492"/>
                <a:gd name="connsiteX2769" fmla="*/ 1028714 w 1526442"/>
                <a:gd name="connsiteY2769" fmla="*/ 1023193 h 1683492"/>
                <a:gd name="connsiteX2770" fmla="*/ 1026642 w 1526442"/>
                <a:gd name="connsiteY2770" fmla="*/ 1026400 h 1683492"/>
                <a:gd name="connsiteX2771" fmla="*/ 1026642 w 1526442"/>
                <a:gd name="connsiteY2771" fmla="*/ 1034492 h 1683492"/>
                <a:gd name="connsiteX2772" fmla="*/ 1020375 w 1526442"/>
                <a:gd name="connsiteY2772" fmla="*/ 1037749 h 1683492"/>
                <a:gd name="connsiteX2773" fmla="*/ 1018303 w 1526442"/>
                <a:gd name="connsiteY2773" fmla="*/ 1039327 h 1683492"/>
                <a:gd name="connsiteX2774" fmla="*/ 1024569 w 1526442"/>
                <a:gd name="connsiteY2774" fmla="*/ 1039327 h 1683492"/>
                <a:gd name="connsiteX2775" fmla="*/ 1028714 w 1526442"/>
                <a:gd name="connsiteY2775" fmla="*/ 1040956 h 1683492"/>
                <a:gd name="connsiteX2776" fmla="*/ 1032907 w 1526442"/>
                <a:gd name="connsiteY2776" fmla="*/ 1047419 h 1683492"/>
                <a:gd name="connsiteX2777" fmla="*/ 1034980 w 1526442"/>
                <a:gd name="connsiteY2777" fmla="*/ 1052353 h 1683492"/>
                <a:gd name="connsiteX2778" fmla="*/ 1034980 w 1526442"/>
                <a:gd name="connsiteY2778" fmla="*/ 1054968 h 1683492"/>
                <a:gd name="connsiteX2779" fmla="*/ 1026642 w 1526442"/>
                <a:gd name="connsiteY2779" fmla="*/ 1054968 h 1683492"/>
                <a:gd name="connsiteX2780" fmla="*/ 1022497 w 1526442"/>
                <a:gd name="connsiteY2780" fmla="*/ 1058176 h 1683492"/>
                <a:gd name="connsiteX2781" fmla="*/ 1018303 w 1526442"/>
                <a:gd name="connsiteY2781" fmla="*/ 1059804 h 1683492"/>
                <a:gd name="connsiteX2782" fmla="*/ 1014158 w 1526442"/>
                <a:gd name="connsiteY2782" fmla="*/ 1056597 h 1683492"/>
                <a:gd name="connsiteX2783" fmla="*/ 1014158 w 1526442"/>
                <a:gd name="connsiteY2783" fmla="*/ 1061531 h 1683492"/>
                <a:gd name="connsiteX2784" fmla="*/ 1018303 w 1526442"/>
                <a:gd name="connsiteY2784" fmla="*/ 1063159 h 1683492"/>
                <a:gd name="connsiteX2785" fmla="*/ 1024569 w 1526442"/>
                <a:gd name="connsiteY2785" fmla="*/ 1063159 h 1683492"/>
                <a:gd name="connsiteX2786" fmla="*/ 1030786 w 1526442"/>
                <a:gd name="connsiteY2786" fmla="*/ 1058225 h 1683492"/>
                <a:gd name="connsiteX2787" fmla="*/ 1034980 w 1526442"/>
                <a:gd name="connsiteY2787" fmla="*/ 1058225 h 1683492"/>
                <a:gd name="connsiteX2788" fmla="*/ 1041246 w 1526442"/>
                <a:gd name="connsiteY2788" fmla="*/ 1055018 h 1683492"/>
                <a:gd name="connsiteX2789" fmla="*/ 1043319 w 1526442"/>
                <a:gd name="connsiteY2789" fmla="*/ 1058225 h 1683492"/>
                <a:gd name="connsiteX2790" fmla="*/ 1043319 w 1526442"/>
                <a:gd name="connsiteY2790" fmla="*/ 1061481 h 1683492"/>
                <a:gd name="connsiteX2791" fmla="*/ 1045391 w 1526442"/>
                <a:gd name="connsiteY2791" fmla="*/ 1064689 h 1683492"/>
                <a:gd name="connsiteX2792" fmla="*/ 1053729 w 1526442"/>
                <a:gd name="connsiteY2792" fmla="*/ 1061481 h 1683492"/>
                <a:gd name="connsiteX2793" fmla="*/ 1055801 w 1526442"/>
                <a:gd name="connsiteY2793" fmla="*/ 1061481 h 1683492"/>
                <a:gd name="connsiteX2794" fmla="*/ 1072478 w 1526442"/>
                <a:gd name="connsiteY2794" fmla="*/ 1066415 h 1683492"/>
                <a:gd name="connsiteX2795" fmla="*/ 1078695 w 1526442"/>
                <a:gd name="connsiteY2795" fmla="*/ 1068044 h 1683492"/>
                <a:gd name="connsiteX2796" fmla="*/ 1082889 w 1526442"/>
                <a:gd name="connsiteY2796" fmla="*/ 1068044 h 1683492"/>
                <a:gd name="connsiteX2797" fmla="*/ 1082889 w 1526442"/>
                <a:gd name="connsiteY2797" fmla="*/ 1072978 h 1683492"/>
                <a:gd name="connsiteX2798" fmla="*/ 1087034 w 1526442"/>
                <a:gd name="connsiteY2798" fmla="*/ 1079441 h 1683492"/>
                <a:gd name="connsiteX2799" fmla="*/ 1084962 w 1526442"/>
                <a:gd name="connsiteY2799" fmla="*/ 1084375 h 1683492"/>
                <a:gd name="connsiteX2800" fmla="*/ 1080768 w 1526442"/>
                <a:gd name="connsiteY2800" fmla="*/ 1086004 h 1683492"/>
                <a:gd name="connsiteX2801" fmla="*/ 1076623 w 1526442"/>
                <a:gd name="connsiteY2801" fmla="*/ 1089260 h 1683492"/>
                <a:gd name="connsiteX2802" fmla="*/ 1072478 w 1526442"/>
                <a:gd name="connsiteY2802" fmla="*/ 1090839 h 1683492"/>
                <a:gd name="connsiteX2803" fmla="*/ 1066212 w 1526442"/>
                <a:gd name="connsiteY2803" fmla="*/ 1090839 h 1683492"/>
                <a:gd name="connsiteX2804" fmla="*/ 1049536 w 1526442"/>
                <a:gd name="connsiteY2804" fmla="*/ 1098931 h 1683492"/>
                <a:gd name="connsiteX2805" fmla="*/ 1041246 w 1526442"/>
                <a:gd name="connsiteY2805" fmla="*/ 1098931 h 1683492"/>
                <a:gd name="connsiteX2806" fmla="*/ 1034980 w 1526442"/>
                <a:gd name="connsiteY2806" fmla="*/ 1100559 h 1683492"/>
                <a:gd name="connsiteX2807" fmla="*/ 1028714 w 1526442"/>
                <a:gd name="connsiteY2807" fmla="*/ 1098931 h 1683492"/>
                <a:gd name="connsiteX2808" fmla="*/ 1026642 w 1526442"/>
                <a:gd name="connsiteY2808" fmla="*/ 1092467 h 1683492"/>
                <a:gd name="connsiteX2809" fmla="*/ 1026642 w 1526442"/>
                <a:gd name="connsiteY2809" fmla="*/ 1089260 h 1683492"/>
                <a:gd name="connsiteX2810" fmla="*/ 1024569 w 1526442"/>
                <a:gd name="connsiteY2810" fmla="*/ 1086004 h 1683492"/>
                <a:gd name="connsiteX2811" fmla="*/ 1020375 w 1526442"/>
                <a:gd name="connsiteY2811" fmla="*/ 1086004 h 1683492"/>
                <a:gd name="connsiteX2812" fmla="*/ 1020375 w 1526442"/>
                <a:gd name="connsiteY2812" fmla="*/ 1090938 h 1683492"/>
                <a:gd name="connsiteX2813" fmla="*/ 1022497 w 1526442"/>
                <a:gd name="connsiteY2813" fmla="*/ 1092566 h 1683492"/>
                <a:gd name="connsiteX2814" fmla="*/ 1022497 w 1526442"/>
                <a:gd name="connsiteY2814" fmla="*/ 1095773 h 1683492"/>
                <a:gd name="connsiteX2815" fmla="*/ 1020375 w 1526442"/>
                <a:gd name="connsiteY2815" fmla="*/ 1097401 h 1683492"/>
                <a:gd name="connsiteX2816" fmla="*/ 1014158 w 1526442"/>
                <a:gd name="connsiteY2816" fmla="*/ 1097401 h 1683492"/>
                <a:gd name="connsiteX2817" fmla="*/ 1014158 w 1526442"/>
                <a:gd name="connsiteY2817" fmla="*/ 1095773 h 1683492"/>
                <a:gd name="connsiteX2818" fmla="*/ 1012234 w 1526442"/>
                <a:gd name="connsiteY2818" fmla="*/ 1095773 h 1683492"/>
                <a:gd name="connsiteX2819" fmla="*/ 1005968 w 1526442"/>
                <a:gd name="connsiteY2819" fmla="*/ 1097401 h 1683492"/>
                <a:gd name="connsiteX2820" fmla="*/ 1008040 w 1526442"/>
                <a:gd name="connsiteY2820" fmla="*/ 1100658 h 1683492"/>
                <a:gd name="connsiteX2821" fmla="*/ 1014307 w 1526442"/>
                <a:gd name="connsiteY2821" fmla="*/ 1100658 h 1683492"/>
                <a:gd name="connsiteX2822" fmla="*/ 1016378 w 1526442"/>
                <a:gd name="connsiteY2822" fmla="*/ 1103865 h 1683492"/>
                <a:gd name="connsiteX2823" fmla="*/ 1018451 w 1526442"/>
                <a:gd name="connsiteY2823" fmla="*/ 1107121 h 1683492"/>
                <a:gd name="connsiteX2824" fmla="*/ 1014307 w 1526442"/>
                <a:gd name="connsiteY2824" fmla="*/ 1110328 h 1683492"/>
                <a:gd name="connsiteX2825" fmla="*/ 1012234 w 1526442"/>
                <a:gd name="connsiteY2825" fmla="*/ 1111956 h 1683492"/>
                <a:gd name="connsiteX2826" fmla="*/ 1008040 w 1526442"/>
                <a:gd name="connsiteY2826" fmla="*/ 1111956 h 1683492"/>
                <a:gd name="connsiteX2827" fmla="*/ 1005968 w 1526442"/>
                <a:gd name="connsiteY2827" fmla="*/ 1115164 h 1683492"/>
                <a:gd name="connsiteX2828" fmla="*/ 1005968 w 1526442"/>
                <a:gd name="connsiteY2828" fmla="*/ 1118420 h 1683492"/>
                <a:gd name="connsiteX2829" fmla="*/ 1001823 w 1526442"/>
                <a:gd name="connsiteY2829" fmla="*/ 1121627 h 1683492"/>
                <a:gd name="connsiteX2830" fmla="*/ 989291 w 1526442"/>
                <a:gd name="connsiteY2830" fmla="*/ 1126561 h 1683492"/>
                <a:gd name="connsiteX2831" fmla="*/ 982630 w 1526442"/>
                <a:gd name="connsiteY2831" fmla="*/ 1126561 h 1683492"/>
                <a:gd name="connsiteX2832" fmla="*/ 978436 w 1526442"/>
                <a:gd name="connsiteY2832" fmla="*/ 1124982 h 1683492"/>
                <a:gd name="connsiteX2833" fmla="*/ 972219 w 1526442"/>
                <a:gd name="connsiteY2833" fmla="*/ 1129916 h 1683492"/>
                <a:gd name="connsiteX2834" fmla="*/ 970147 w 1526442"/>
                <a:gd name="connsiteY2834" fmla="*/ 1134850 h 1683492"/>
                <a:gd name="connsiteX2835" fmla="*/ 972219 w 1526442"/>
                <a:gd name="connsiteY2835" fmla="*/ 1136479 h 1683492"/>
                <a:gd name="connsiteX2836" fmla="*/ 982630 w 1526442"/>
                <a:gd name="connsiteY2836" fmla="*/ 1128979 h 1683492"/>
                <a:gd name="connsiteX2837" fmla="*/ 990968 w 1526442"/>
                <a:gd name="connsiteY2837" fmla="*/ 1130607 h 1683492"/>
                <a:gd name="connsiteX2838" fmla="*/ 997432 w 1526442"/>
                <a:gd name="connsiteY2838" fmla="*/ 1128979 h 1683492"/>
                <a:gd name="connsiteX2839" fmla="*/ 1001626 w 1526442"/>
                <a:gd name="connsiteY2839" fmla="*/ 1128979 h 1683492"/>
                <a:gd name="connsiteX2840" fmla="*/ 1003698 w 1526442"/>
                <a:gd name="connsiteY2840" fmla="*/ 1132186 h 1683492"/>
                <a:gd name="connsiteX2841" fmla="*/ 1012036 w 1526442"/>
                <a:gd name="connsiteY2841" fmla="*/ 1133814 h 1683492"/>
                <a:gd name="connsiteX2842" fmla="*/ 1018253 w 1526442"/>
                <a:gd name="connsiteY2842" fmla="*/ 1133814 h 1683492"/>
                <a:gd name="connsiteX2843" fmla="*/ 1024520 w 1526442"/>
                <a:gd name="connsiteY2843" fmla="*/ 1132186 h 1683492"/>
                <a:gd name="connsiteX2844" fmla="*/ 1034930 w 1526442"/>
                <a:gd name="connsiteY2844" fmla="*/ 1132186 h 1683492"/>
                <a:gd name="connsiteX2845" fmla="*/ 1039075 w 1526442"/>
                <a:gd name="connsiteY2845" fmla="*/ 1133814 h 1683492"/>
                <a:gd name="connsiteX2846" fmla="*/ 1045341 w 1526442"/>
                <a:gd name="connsiteY2846" fmla="*/ 1132186 h 1683492"/>
                <a:gd name="connsiteX2847" fmla="*/ 1049486 w 1526442"/>
                <a:gd name="connsiteY2847" fmla="*/ 1133814 h 1683492"/>
                <a:gd name="connsiteX2848" fmla="*/ 1051608 w 1526442"/>
                <a:gd name="connsiteY2848" fmla="*/ 1135443 h 1683492"/>
                <a:gd name="connsiteX2849" fmla="*/ 1053680 w 1526442"/>
                <a:gd name="connsiteY2849" fmla="*/ 1135443 h 1683492"/>
                <a:gd name="connsiteX2850" fmla="*/ 1055752 w 1526442"/>
                <a:gd name="connsiteY2850" fmla="*/ 1138650 h 1683492"/>
                <a:gd name="connsiteX2851" fmla="*/ 1053680 w 1526442"/>
                <a:gd name="connsiteY2851" fmla="*/ 1141857 h 1683492"/>
                <a:gd name="connsiteX2852" fmla="*/ 1047414 w 1526442"/>
                <a:gd name="connsiteY2852" fmla="*/ 1141857 h 1683492"/>
                <a:gd name="connsiteX2853" fmla="*/ 1041197 w 1526442"/>
                <a:gd name="connsiteY2853" fmla="*/ 1140278 h 1683492"/>
                <a:gd name="connsiteX2854" fmla="*/ 1034930 w 1526442"/>
                <a:gd name="connsiteY2854" fmla="*/ 1141857 h 1683492"/>
                <a:gd name="connsiteX2855" fmla="*/ 1030737 w 1526442"/>
                <a:gd name="connsiteY2855" fmla="*/ 1145113 h 1683492"/>
                <a:gd name="connsiteX2856" fmla="*/ 1022447 w 1526442"/>
                <a:gd name="connsiteY2856" fmla="*/ 1146742 h 1683492"/>
                <a:gd name="connsiteX2857" fmla="*/ 1016181 w 1526442"/>
                <a:gd name="connsiteY2857" fmla="*/ 1148370 h 1683492"/>
                <a:gd name="connsiteX2858" fmla="*/ 1012036 w 1526442"/>
                <a:gd name="connsiteY2858" fmla="*/ 1146742 h 1683492"/>
                <a:gd name="connsiteX2859" fmla="*/ 1007843 w 1526442"/>
                <a:gd name="connsiteY2859" fmla="*/ 1145113 h 1683492"/>
                <a:gd name="connsiteX2860" fmla="*/ 1001626 w 1526442"/>
                <a:gd name="connsiteY2860" fmla="*/ 1145113 h 1683492"/>
                <a:gd name="connsiteX2861" fmla="*/ 997432 w 1526442"/>
                <a:gd name="connsiteY2861" fmla="*/ 1148370 h 1683492"/>
                <a:gd name="connsiteX2862" fmla="*/ 999504 w 1526442"/>
                <a:gd name="connsiteY2862" fmla="*/ 1151577 h 1683492"/>
                <a:gd name="connsiteX2863" fmla="*/ 1003698 w 1526442"/>
                <a:gd name="connsiteY2863" fmla="*/ 1149998 h 1683492"/>
                <a:gd name="connsiteX2864" fmla="*/ 1007843 w 1526442"/>
                <a:gd name="connsiteY2864" fmla="*/ 1151577 h 1683492"/>
                <a:gd name="connsiteX2865" fmla="*/ 1020326 w 1526442"/>
                <a:gd name="connsiteY2865" fmla="*/ 1151577 h 1683492"/>
                <a:gd name="connsiteX2866" fmla="*/ 1022447 w 1526442"/>
                <a:gd name="connsiteY2866" fmla="*/ 1153205 h 1683492"/>
                <a:gd name="connsiteX2867" fmla="*/ 1026592 w 1526442"/>
                <a:gd name="connsiteY2867" fmla="*/ 1158139 h 1683492"/>
                <a:gd name="connsiteX2868" fmla="*/ 1028664 w 1526442"/>
                <a:gd name="connsiteY2868" fmla="*/ 1153205 h 1683492"/>
                <a:gd name="connsiteX2869" fmla="*/ 1037003 w 1526442"/>
                <a:gd name="connsiteY2869" fmla="*/ 1146742 h 1683492"/>
                <a:gd name="connsiteX2870" fmla="*/ 1043269 w 1526442"/>
                <a:gd name="connsiteY2870" fmla="*/ 1146742 h 1683492"/>
                <a:gd name="connsiteX2871" fmla="*/ 1047414 w 1526442"/>
                <a:gd name="connsiteY2871" fmla="*/ 1145113 h 1683492"/>
                <a:gd name="connsiteX2872" fmla="*/ 1051608 w 1526442"/>
                <a:gd name="connsiteY2872" fmla="*/ 1146742 h 1683492"/>
                <a:gd name="connsiteX2873" fmla="*/ 1053680 w 1526442"/>
                <a:gd name="connsiteY2873" fmla="*/ 1148370 h 1683492"/>
                <a:gd name="connsiteX2874" fmla="*/ 1057824 w 1526442"/>
                <a:gd name="connsiteY2874" fmla="*/ 1146742 h 1683492"/>
                <a:gd name="connsiteX2875" fmla="*/ 1068235 w 1526442"/>
                <a:gd name="connsiteY2875" fmla="*/ 1146742 h 1683492"/>
                <a:gd name="connsiteX2876" fmla="*/ 1072429 w 1526442"/>
                <a:gd name="connsiteY2876" fmla="*/ 1145113 h 1683492"/>
                <a:gd name="connsiteX2877" fmla="*/ 1082840 w 1526442"/>
                <a:gd name="connsiteY2877" fmla="*/ 1138650 h 1683492"/>
                <a:gd name="connsiteX2878" fmla="*/ 1086985 w 1526442"/>
                <a:gd name="connsiteY2878" fmla="*/ 1135443 h 1683492"/>
                <a:gd name="connsiteX2879" fmla="*/ 1086985 w 1526442"/>
                <a:gd name="connsiteY2879" fmla="*/ 1141857 h 1683492"/>
                <a:gd name="connsiteX2880" fmla="*/ 1091129 w 1526442"/>
                <a:gd name="connsiteY2880" fmla="*/ 1138650 h 1683492"/>
                <a:gd name="connsiteX2881" fmla="*/ 1095323 w 1526442"/>
                <a:gd name="connsiteY2881" fmla="*/ 1138650 h 1683492"/>
                <a:gd name="connsiteX2882" fmla="*/ 1097396 w 1526442"/>
                <a:gd name="connsiteY2882" fmla="*/ 1140278 h 1683492"/>
                <a:gd name="connsiteX2883" fmla="*/ 1105734 w 1526442"/>
                <a:gd name="connsiteY2883" fmla="*/ 1146742 h 1683492"/>
                <a:gd name="connsiteX2884" fmla="*/ 1116145 w 1526442"/>
                <a:gd name="connsiteY2884" fmla="*/ 1148370 h 1683492"/>
                <a:gd name="connsiteX2885" fmla="*/ 1124483 w 1526442"/>
                <a:gd name="connsiteY2885" fmla="*/ 1151577 h 1683492"/>
                <a:gd name="connsiteX2886" fmla="*/ 1132773 w 1526442"/>
                <a:gd name="connsiteY2886" fmla="*/ 1153205 h 1683492"/>
                <a:gd name="connsiteX2887" fmla="*/ 1147575 w 1526442"/>
                <a:gd name="connsiteY2887" fmla="*/ 1153205 h 1683492"/>
                <a:gd name="connsiteX2888" fmla="*/ 1151719 w 1526442"/>
                <a:gd name="connsiteY2888" fmla="*/ 1154833 h 1683492"/>
                <a:gd name="connsiteX2889" fmla="*/ 1160107 w 1526442"/>
                <a:gd name="connsiteY2889" fmla="*/ 1156412 h 1683492"/>
                <a:gd name="connsiteX2890" fmla="*/ 1168396 w 1526442"/>
                <a:gd name="connsiteY2890" fmla="*/ 1153205 h 1683492"/>
                <a:gd name="connsiteX2891" fmla="*/ 1168396 w 1526442"/>
                <a:gd name="connsiteY2891" fmla="*/ 1154833 h 1683492"/>
                <a:gd name="connsiteX2892" fmla="*/ 1164203 w 1526442"/>
                <a:gd name="connsiteY2892" fmla="*/ 1159767 h 1683492"/>
                <a:gd name="connsiteX2893" fmla="*/ 1157986 w 1526442"/>
                <a:gd name="connsiteY2893" fmla="*/ 1162975 h 1683492"/>
                <a:gd name="connsiteX2894" fmla="*/ 1151719 w 1526442"/>
                <a:gd name="connsiteY2894" fmla="*/ 1164603 h 1683492"/>
                <a:gd name="connsiteX2895" fmla="*/ 1147575 w 1526442"/>
                <a:gd name="connsiteY2895" fmla="*/ 1164603 h 1683492"/>
                <a:gd name="connsiteX2896" fmla="*/ 1141309 w 1526442"/>
                <a:gd name="connsiteY2896" fmla="*/ 1167859 h 1683492"/>
                <a:gd name="connsiteX2897" fmla="*/ 1141309 w 1526442"/>
                <a:gd name="connsiteY2897" fmla="*/ 1169438 h 1683492"/>
                <a:gd name="connsiteX2898" fmla="*/ 1145502 w 1526442"/>
                <a:gd name="connsiteY2898" fmla="*/ 1172694 h 1683492"/>
                <a:gd name="connsiteX2899" fmla="*/ 1145502 w 1526442"/>
                <a:gd name="connsiteY2899" fmla="*/ 1174273 h 1683492"/>
                <a:gd name="connsiteX2900" fmla="*/ 1143380 w 1526442"/>
                <a:gd name="connsiteY2900" fmla="*/ 1175902 h 1683492"/>
                <a:gd name="connsiteX2901" fmla="*/ 1141309 w 1526442"/>
                <a:gd name="connsiteY2901" fmla="*/ 1175902 h 1683492"/>
                <a:gd name="connsiteX2902" fmla="*/ 1137164 w 1526442"/>
                <a:gd name="connsiteY2902" fmla="*/ 1172694 h 1683492"/>
                <a:gd name="connsiteX2903" fmla="*/ 1135092 w 1526442"/>
                <a:gd name="connsiteY2903" fmla="*/ 1172694 h 1683492"/>
                <a:gd name="connsiteX2904" fmla="*/ 1132970 w 1526442"/>
                <a:gd name="connsiteY2904" fmla="*/ 1175902 h 1683492"/>
                <a:gd name="connsiteX2905" fmla="*/ 1132970 w 1526442"/>
                <a:gd name="connsiteY2905" fmla="*/ 1177530 h 1683492"/>
                <a:gd name="connsiteX2906" fmla="*/ 1128825 w 1526442"/>
                <a:gd name="connsiteY2906" fmla="*/ 1175902 h 1683492"/>
                <a:gd name="connsiteX2907" fmla="*/ 1122559 w 1526442"/>
                <a:gd name="connsiteY2907" fmla="*/ 1175902 h 1683492"/>
                <a:gd name="connsiteX2908" fmla="*/ 1120486 w 1526442"/>
                <a:gd name="connsiteY2908" fmla="*/ 1177530 h 1683492"/>
                <a:gd name="connsiteX2909" fmla="*/ 1122559 w 1526442"/>
                <a:gd name="connsiteY2909" fmla="*/ 1180737 h 1683492"/>
                <a:gd name="connsiteX2910" fmla="*/ 1124681 w 1526442"/>
                <a:gd name="connsiteY2910" fmla="*/ 1182415 h 1683492"/>
                <a:gd name="connsiteX2911" fmla="*/ 1124681 w 1526442"/>
                <a:gd name="connsiteY2911" fmla="*/ 1185622 h 1683492"/>
                <a:gd name="connsiteX2912" fmla="*/ 1120486 w 1526442"/>
                <a:gd name="connsiteY2912" fmla="*/ 1188829 h 1683492"/>
                <a:gd name="connsiteX2913" fmla="*/ 1116342 w 1526442"/>
                <a:gd name="connsiteY2913" fmla="*/ 1188829 h 1683492"/>
                <a:gd name="connsiteX2914" fmla="*/ 1114270 w 1526442"/>
                <a:gd name="connsiteY2914" fmla="*/ 1187201 h 1683492"/>
                <a:gd name="connsiteX2915" fmla="*/ 1110076 w 1526442"/>
                <a:gd name="connsiteY2915" fmla="*/ 1185622 h 1683492"/>
                <a:gd name="connsiteX2916" fmla="*/ 1110076 w 1526442"/>
                <a:gd name="connsiteY2916" fmla="*/ 1193713 h 1683492"/>
                <a:gd name="connsiteX2917" fmla="*/ 1105931 w 1526442"/>
                <a:gd name="connsiteY2917" fmla="*/ 1193713 h 1683492"/>
                <a:gd name="connsiteX2918" fmla="*/ 1103859 w 1526442"/>
                <a:gd name="connsiteY2918" fmla="*/ 1195292 h 1683492"/>
                <a:gd name="connsiteX2919" fmla="*/ 1099665 w 1526442"/>
                <a:gd name="connsiteY2919" fmla="*/ 1198500 h 1683492"/>
                <a:gd name="connsiteX2920" fmla="*/ 1095521 w 1526442"/>
                <a:gd name="connsiteY2920" fmla="*/ 1196921 h 1683492"/>
                <a:gd name="connsiteX2921" fmla="*/ 1093448 w 1526442"/>
                <a:gd name="connsiteY2921" fmla="*/ 1193713 h 1683492"/>
                <a:gd name="connsiteX2922" fmla="*/ 1091179 w 1526442"/>
                <a:gd name="connsiteY2922" fmla="*/ 1193713 h 1683492"/>
                <a:gd name="connsiteX2923" fmla="*/ 1091179 w 1526442"/>
                <a:gd name="connsiteY2923" fmla="*/ 1201756 h 1683492"/>
                <a:gd name="connsiteX2924" fmla="*/ 1089106 w 1526442"/>
                <a:gd name="connsiteY2924" fmla="*/ 1208220 h 1683492"/>
                <a:gd name="connsiteX2925" fmla="*/ 1084962 w 1526442"/>
                <a:gd name="connsiteY2925" fmla="*/ 1204963 h 1683492"/>
                <a:gd name="connsiteX2926" fmla="*/ 1082889 w 1526442"/>
                <a:gd name="connsiteY2926" fmla="*/ 1201756 h 1683492"/>
                <a:gd name="connsiteX2927" fmla="*/ 1078695 w 1526442"/>
                <a:gd name="connsiteY2927" fmla="*/ 1203384 h 1683492"/>
                <a:gd name="connsiteX2928" fmla="*/ 1078695 w 1526442"/>
                <a:gd name="connsiteY2928" fmla="*/ 1206591 h 1683492"/>
                <a:gd name="connsiteX2929" fmla="*/ 1080768 w 1526442"/>
                <a:gd name="connsiteY2929" fmla="*/ 1208220 h 1683492"/>
                <a:gd name="connsiteX2930" fmla="*/ 1080768 w 1526442"/>
                <a:gd name="connsiteY2930" fmla="*/ 1213154 h 1683492"/>
                <a:gd name="connsiteX2931" fmla="*/ 1074551 w 1526442"/>
                <a:gd name="connsiteY2931" fmla="*/ 1216361 h 1683492"/>
                <a:gd name="connsiteX2932" fmla="*/ 1070357 w 1526442"/>
                <a:gd name="connsiteY2932" fmla="*/ 1216361 h 1683492"/>
                <a:gd name="connsiteX2933" fmla="*/ 1068285 w 1526442"/>
                <a:gd name="connsiteY2933" fmla="*/ 1213154 h 1683492"/>
                <a:gd name="connsiteX2934" fmla="*/ 1064140 w 1526442"/>
                <a:gd name="connsiteY2934" fmla="*/ 1211575 h 1683492"/>
                <a:gd name="connsiteX2935" fmla="*/ 1062068 w 1526442"/>
                <a:gd name="connsiteY2935" fmla="*/ 1211575 h 1683492"/>
                <a:gd name="connsiteX2936" fmla="*/ 1062068 w 1526442"/>
                <a:gd name="connsiteY2936" fmla="*/ 1214782 h 1683492"/>
                <a:gd name="connsiteX2937" fmla="*/ 1064140 w 1526442"/>
                <a:gd name="connsiteY2937" fmla="*/ 1218038 h 1683492"/>
                <a:gd name="connsiteX2938" fmla="*/ 1064140 w 1526442"/>
                <a:gd name="connsiteY2938" fmla="*/ 1221245 h 1683492"/>
                <a:gd name="connsiteX2939" fmla="*/ 1059946 w 1526442"/>
                <a:gd name="connsiteY2939" fmla="*/ 1222874 h 1683492"/>
                <a:gd name="connsiteX2940" fmla="*/ 1053729 w 1526442"/>
                <a:gd name="connsiteY2940" fmla="*/ 1224502 h 1683492"/>
                <a:gd name="connsiteX2941" fmla="*/ 1051657 w 1526442"/>
                <a:gd name="connsiteY2941" fmla="*/ 1227709 h 1683492"/>
                <a:gd name="connsiteX2942" fmla="*/ 1045391 w 1526442"/>
                <a:gd name="connsiteY2942" fmla="*/ 1227709 h 1683492"/>
                <a:gd name="connsiteX2943" fmla="*/ 1041246 w 1526442"/>
                <a:gd name="connsiteY2943" fmla="*/ 1230916 h 1683492"/>
                <a:gd name="connsiteX2944" fmla="*/ 1039124 w 1526442"/>
                <a:gd name="connsiteY2944" fmla="*/ 1235850 h 1683492"/>
                <a:gd name="connsiteX2945" fmla="*/ 1036904 w 1526442"/>
                <a:gd name="connsiteY2945" fmla="*/ 1235850 h 1683492"/>
                <a:gd name="connsiteX2946" fmla="*/ 1034832 w 1526442"/>
                <a:gd name="connsiteY2946" fmla="*/ 1230916 h 1683492"/>
                <a:gd name="connsiteX2947" fmla="*/ 1030638 w 1526442"/>
                <a:gd name="connsiteY2947" fmla="*/ 1230916 h 1683492"/>
                <a:gd name="connsiteX2948" fmla="*/ 1024421 w 1526442"/>
                <a:gd name="connsiteY2948" fmla="*/ 1234173 h 1683492"/>
                <a:gd name="connsiteX2949" fmla="*/ 1018155 w 1526442"/>
                <a:gd name="connsiteY2949" fmla="*/ 1234173 h 1683492"/>
                <a:gd name="connsiteX2950" fmla="*/ 1016083 w 1526442"/>
                <a:gd name="connsiteY2950" fmla="*/ 1235801 h 1683492"/>
                <a:gd name="connsiteX2951" fmla="*/ 1014010 w 1526442"/>
                <a:gd name="connsiteY2951" fmla="*/ 1240735 h 1683492"/>
                <a:gd name="connsiteX2952" fmla="*/ 1009816 w 1526442"/>
                <a:gd name="connsiteY2952" fmla="*/ 1240735 h 1683492"/>
                <a:gd name="connsiteX2953" fmla="*/ 1005672 w 1526442"/>
                <a:gd name="connsiteY2953" fmla="*/ 1239107 h 1683492"/>
                <a:gd name="connsiteX2954" fmla="*/ 1003599 w 1526442"/>
                <a:gd name="connsiteY2954" fmla="*/ 1237478 h 1683492"/>
                <a:gd name="connsiteX2955" fmla="*/ 1001527 w 1526442"/>
                <a:gd name="connsiteY2955" fmla="*/ 1237478 h 1683492"/>
                <a:gd name="connsiteX2956" fmla="*/ 997333 w 1526442"/>
                <a:gd name="connsiteY2956" fmla="*/ 1242412 h 1683492"/>
                <a:gd name="connsiteX2957" fmla="*/ 995261 w 1526442"/>
                <a:gd name="connsiteY2957" fmla="*/ 1240784 h 1683492"/>
                <a:gd name="connsiteX2958" fmla="*/ 993189 w 1526442"/>
                <a:gd name="connsiteY2958" fmla="*/ 1237528 h 1683492"/>
                <a:gd name="connsiteX2959" fmla="*/ 991116 w 1526442"/>
                <a:gd name="connsiteY2959" fmla="*/ 1237528 h 1683492"/>
                <a:gd name="connsiteX2960" fmla="*/ 988995 w 1526442"/>
                <a:gd name="connsiteY2960" fmla="*/ 1242462 h 1683492"/>
                <a:gd name="connsiteX2961" fmla="*/ 984850 w 1526442"/>
                <a:gd name="connsiteY2961" fmla="*/ 1244041 h 1683492"/>
                <a:gd name="connsiteX2962" fmla="*/ 982630 w 1526442"/>
                <a:gd name="connsiteY2962" fmla="*/ 1242462 h 1683492"/>
                <a:gd name="connsiteX2963" fmla="*/ 980557 w 1526442"/>
                <a:gd name="connsiteY2963" fmla="*/ 1240834 h 1683492"/>
                <a:gd name="connsiteX2964" fmla="*/ 978436 w 1526442"/>
                <a:gd name="connsiteY2964" fmla="*/ 1239205 h 1683492"/>
                <a:gd name="connsiteX2965" fmla="*/ 978436 w 1526442"/>
                <a:gd name="connsiteY2965" fmla="*/ 1244139 h 1683492"/>
                <a:gd name="connsiteX2966" fmla="*/ 972219 w 1526442"/>
                <a:gd name="connsiteY2966" fmla="*/ 1244139 h 1683492"/>
                <a:gd name="connsiteX2967" fmla="*/ 968025 w 1526442"/>
                <a:gd name="connsiteY2967" fmla="*/ 1245768 h 1683492"/>
                <a:gd name="connsiteX2968" fmla="*/ 968025 w 1526442"/>
                <a:gd name="connsiteY2968" fmla="*/ 1247396 h 1683492"/>
                <a:gd name="connsiteX2969" fmla="*/ 965953 w 1526442"/>
                <a:gd name="connsiteY2969" fmla="*/ 1250603 h 1683492"/>
                <a:gd name="connsiteX2970" fmla="*/ 961808 w 1526442"/>
                <a:gd name="connsiteY2970" fmla="*/ 1250603 h 1683492"/>
                <a:gd name="connsiteX2971" fmla="*/ 959736 w 1526442"/>
                <a:gd name="connsiteY2971" fmla="*/ 1248975 h 1683492"/>
                <a:gd name="connsiteX2972" fmla="*/ 957960 w 1526442"/>
                <a:gd name="connsiteY2972" fmla="*/ 1248975 h 1683492"/>
                <a:gd name="connsiteX2973" fmla="*/ 957960 w 1526442"/>
                <a:gd name="connsiteY2973" fmla="*/ 1252231 h 1683492"/>
                <a:gd name="connsiteX2974" fmla="*/ 955887 w 1526442"/>
                <a:gd name="connsiteY2974" fmla="*/ 1252231 h 1683492"/>
                <a:gd name="connsiteX2975" fmla="*/ 953815 w 1526442"/>
                <a:gd name="connsiteY2975" fmla="*/ 1250603 h 1683492"/>
                <a:gd name="connsiteX2976" fmla="*/ 951743 w 1526442"/>
                <a:gd name="connsiteY2976" fmla="*/ 1250603 h 1683492"/>
                <a:gd name="connsiteX2977" fmla="*/ 949670 w 1526442"/>
                <a:gd name="connsiteY2977" fmla="*/ 1257116 h 1683492"/>
                <a:gd name="connsiteX2978" fmla="*/ 947549 w 1526442"/>
                <a:gd name="connsiteY2978" fmla="*/ 1257116 h 1683492"/>
                <a:gd name="connsiteX2979" fmla="*/ 943404 w 1526442"/>
                <a:gd name="connsiteY2979" fmla="*/ 1260323 h 1683492"/>
                <a:gd name="connsiteX2980" fmla="*/ 941332 w 1526442"/>
                <a:gd name="connsiteY2980" fmla="*/ 1260323 h 1683492"/>
                <a:gd name="connsiteX2981" fmla="*/ 939259 w 1526442"/>
                <a:gd name="connsiteY2981" fmla="*/ 1257116 h 1683492"/>
                <a:gd name="connsiteX2982" fmla="*/ 930921 w 1526442"/>
                <a:gd name="connsiteY2982" fmla="*/ 1250603 h 1683492"/>
                <a:gd name="connsiteX2983" fmla="*/ 928849 w 1526442"/>
                <a:gd name="connsiteY2983" fmla="*/ 1248975 h 1683492"/>
                <a:gd name="connsiteX2984" fmla="*/ 924655 w 1526442"/>
                <a:gd name="connsiteY2984" fmla="*/ 1250603 h 1683492"/>
                <a:gd name="connsiteX2985" fmla="*/ 924655 w 1526442"/>
                <a:gd name="connsiteY2985" fmla="*/ 1252231 h 1683492"/>
                <a:gd name="connsiteX2986" fmla="*/ 922582 w 1526442"/>
                <a:gd name="connsiteY2986" fmla="*/ 1253859 h 1683492"/>
                <a:gd name="connsiteX2987" fmla="*/ 920510 w 1526442"/>
                <a:gd name="connsiteY2987" fmla="*/ 1257116 h 1683492"/>
                <a:gd name="connsiteX2988" fmla="*/ 916317 w 1526442"/>
                <a:gd name="connsiteY2988" fmla="*/ 1260323 h 1683492"/>
                <a:gd name="connsiteX2989" fmla="*/ 912172 w 1526442"/>
                <a:gd name="connsiteY2989" fmla="*/ 1260323 h 1683492"/>
                <a:gd name="connsiteX2990" fmla="*/ 910100 w 1526442"/>
                <a:gd name="connsiteY2990" fmla="*/ 1258695 h 1683492"/>
                <a:gd name="connsiteX2991" fmla="*/ 908027 w 1526442"/>
                <a:gd name="connsiteY2991" fmla="*/ 1261902 h 1683492"/>
                <a:gd name="connsiteX2992" fmla="*/ 897616 w 1526442"/>
                <a:gd name="connsiteY2992" fmla="*/ 1261902 h 1683492"/>
                <a:gd name="connsiteX2993" fmla="*/ 893423 w 1526442"/>
                <a:gd name="connsiteY2993" fmla="*/ 1256968 h 1683492"/>
                <a:gd name="connsiteX2994" fmla="*/ 889278 w 1526442"/>
                <a:gd name="connsiteY2994" fmla="*/ 1256968 h 1683492"/>
                <a:gd name="connsiteX2995" fmla="*/ 887156 w 1526442"/>
                <a:gd name="connsiteY2995" fmla="*/ 1260175 h 1683492"/>
                <a:gd name="connsiteX2996" fmla="*/ 887156 w 1526442"/>
                <a:gd name="connsiteY2996" fmla="*/ 1263382 h 1683492"/>
                <a:gd name="connsiteX2997" fmla="*/ 883012 w 1526442"/>
                <a:gd name="connsiteY2997" fmla="*/ 1261754 h 1683492"/>
                <a:gd name="connsiteX2998" fmla="*/ 878867 w 1526442"/>
                <a:gd name="connsiteY2998" fmla="*/ 1260175 h 1683492"/>
                <a:gd name="connsiteX2999" fmla="*/ 876746 w 1526442"/>
                <a:gd name="connsiteY2999" fmla="*/ 1255241 h 1683492"/>
                <a:gd name="connsiteX3000" fmla="*/ 878867 w 1526442"/>
                <a:gd name="connsiteY3000" fmla="*/ 1250307 h 1683492"/>
                <a:gd name="connsiteX3001" fmla="*/ 874673 w 1526442"/>
                <a:gd name="connsiteY3001" fmla="*/ 1248679 h 1683492"/>
                <a:gd name="connsiteX3002" fmla="*/ 870529 w 1526442"/>
                <a:gd name="connsiteY3002" fmla="*/ 1247100 h 1683492"/>
                <a:gd name="connsiteX3003" fmla="*/ 868456 w 1526442"/>
                <a:gd name="connsiteY3003" fmla="*/ 1240636 h 1683492"/>
                <a:gd name="connsiteX3004" fmla="*/ 868456 w 1526442"/>
                <a:gd name="connsiteY3004" fmla="*/ 1237528 h 1683492"/>
                <a:gd name="connsiteX3005" fmla="*/ 864262 w 1526442"/>
                <a:gd name="connsiteY3005" fmla="*/ 1232594 h 1683492"/>
                <a:gd name="connsiteX3006" fmla="*/ 862190 w 1526442"/>
                <a:gd name="connsiteY3006" fmla="*/ 1227660 h 1683492"/>
                <a:gd name="connsiteX3007" fmla="*/ 860118 w 1526442"/>
                <a:gd name="connsiteY3007" fmla="*/ 1226032 h 1683492"/>
                <a:gd name="connsiteX3008" fmla="*/ 858045 w 1526442"/>
                <a:gd name="connsiteY3008" fmla="*/ 1226032 h 1683492"/>
                <a:gd name="connsiteX3009" fmla="*/ 855924 w 1526442"/>
                <a:gd name="connsiteY3009" fmla="*/ 1230966 h 1683492"/>
                <a:gd name="connsiteX3010" fmla="*/ 858045 w 1526442"/>
                <a:gd name="connsiteY3010" fmla="*/ 1232594 h 1683492"/>
                <a:gd name="connsiteX3011" fmla="*/ 860118 w 1526442"/>
                <a:gd name="connsiteY3011" fmla="*/ 1237528 h 1683492"/>
                <a:gd name="connsiteX3012" fmla="*/ 864262 w 1526442"/>
                <a:gd name="connsiteY3012" fmla="*/ 1240784 h 1683492"/>
                <a:gd name="connsiteX3013" fmla="*/ 866335 w 1526442"/>
                <a:gd name="connsiteY3013" fmla="*/ 1243991 h 1683492"/>
                <a:gd name="connsiteX3014" fmla="*/ 866335 w 1526442"/>
                <a:gd name="connsiteY3014" fmla="*/ 1250455 h 1683492"/>
                <a:gd name="connsiteX3015" fmla="*/ 864262 w 1526442"/>
                <a:gd name="connsiteY3015" fmla="*/ 1255389 h 1683492"/>
                <a:gd name="connsiteX3016" fmla="*/ 864262 w 1526442"/>
                <a:gd name="connsiteY3016" fmla="*/ 1255389 h 1683492"/>
                <a:gd name="connsiteX3017" fmla="*/ 868456 w 1526442"/>
                <a:gd name="connsiteY3017" fmla="*/ 1257066 h 1683492"/>
                <a:gd name="connsiteX3018" fmla="*/ 870529 w 1526442"/>
                <a:gd name="connsiteY3018" fmla="*/ 1263481 h 1683492"/>
                <a:gd name="connsiteX3019" fmla="*/ 868456 w 1526442"/>
                <a:gd name="connsiteY3019" fmla="*/ 1269944 h 1683492"/>
                <a:gd name="connsiteX3020" fmla="*/ 864262 w 1526442"/>
                <a:gd name="connsiteY3020" fmla="*/ 1274878 h 1683492"/>
                <a:gd name="connsiteX3021" fmla="*/ 860118 w 1526442"/>
                <a:gd name="connsiteY3021" fmla="*/ 1274878 h 1683492"/>
                <a:gd name="connsiteX3022" fmla="*/ 858045 w 1526442"/>
                <a:gd name="connsiteY3022" fmla="*/ 1273201 h 1683492"/>
                <a:gd name="connsiteX3023" fmla="*/ 855924 w 1526442"/>
                <a:gd name="connsiteY3023" fmla="*/ 1273201 h 1683492"/>
                <a:gd name="connsiteX3024" fmla="*/ 849707 w 1526442"/>
                <a:gd name="connsiteY3024" fmla="*/ 1276457 h 1683492"/>
                <a:gd name="connsiteX3025" fmla="*/ 845513 w 1526442"/>
                <a:gd name="connsiteY3025" fmla="*/ 1281391 h 1683492"/>
                <a:gd name="connsiteX3026" fmla="*/ 843441 w 1526442"/>
                <a:gd name="connsiteY3026" fmla="*/ 1283020 h 1683492"/>
                <a:gd name="connsiteX3027" fmla="*/ 837224 w 1526442"/>
                <a:gd name="connsiteY3027" fmla="*/ 1283020 h 1683492"/>
                <a:gd name="connsiteX3028" fmla="*/ 837224 w 1526442"/>
                <a:gd name="connsiteY3028" fmla="*/ 1289483 h 1683492"/>
                <a:gd name="connsiteX3029" fmla="*/ 833030 w 1526442"/>
                <a:gd name="connsiteY3029" fmla="*/ 1292740 h 1683492"/>
                <a:gd name="connsiteX3030" fmla="*/ 828885 w 1526442"/>
                <a:gd name="connsiteY3030" fmla="*/ 1292740 h 1683492"/>
                <a:gd name="connsiteX3031" fmla="*/ 826813 w 1526442"/>
                <a:gd name="connsiteY3031" fmla="*/ 1295947 h 1683492"/>
                <a:gd name="connsiteX3032" fmla="*/ 826813 w 1526442"/>
                <a:gd name="connsiteY3032" fmla="*/ 1302361 h 1683492"/>
                <a:gd name="connsiteX3033" fmla="*/ 822619 w 1526442"/>
                <a:gd name="connsiteY3033" fmla="*/ 1299154 h 1683492"/>
                <a:gd name="connsiteX3034" fmla="*/ 820547 w 1526442"/>
                <a:gd name="connsiteY3034" fmla="*/ 1299154 h 1683492"/>
                <a:gd name="connsiteX3035" fmla="*/ 822619 w 1526442"/>
                <a:gd name="connsiteY3035" fmla="*/ 1302361 h 1683492"/>
                <a:gd name="connsiteX3036" fmla="*/ 822619 w 1526442"/>
                <a:gd name="connsiteY3036" fmla="*/ 1307295 h 1683492"/>
                <a:gd name="connsiteX3037" fmla="*/ 818474 w 1526442"/>
                <a:gd name="connsiteY3037" fmla="*/ 1307295 h 1683492"/>
                <a:gd name="connsiteX3038" fmla="*/ 816402 w 1526442"/>
                <a:gd name="connsiteY3038" fmla="*/ 1305667 h 1683492"/>
                <a:gd name="connsiteX3039" fmla="*/ 812208 w 1526442"/>
                <a:gd name="connsiteY3039" fmla="*/ 1305667 h 1683492"/>
                <a:gd name="connsiteX3040" fmla="*/ 812208 w 1526442"/>
                <a:gd name="connsiteY3040" fmla="*/ 1307295 h 1683492"/>
                <a:gd name="connsiteX3041" fmla="*/ 814281 w 1526442"/>
                <a:gd name="connsiteY3041" fmla="*/ 1308923 h 1683492"/>
                <a:gd name="connsiteX3042" fmla="*/ 814281 w 1526442"/>
                <a:gd name="connsiteY3042" fmla="*/ 1311538 h 1683492"/>
                <a:gd name="connsiteX3043" fmla="*/ 812208 w 1526442"/>
                <a:gd name="connsiteY3043" fmla="*/ 1314795 h 1683492"/>
                <a:gd name="connsiteX3044" fmla="*/ 805991 w 1526442"/>
                <a:gd name="connsiteY3044" fmla="*/ 1316374 h 1683492"/>
                <a:gd name="connsiteX3045" fmla="*/ 797653 w 1526442"/>
                <a:gd name="connsiteY3045" fmla="*/ 1324465 h 1683492"/>
                <a:gd name="connsiteX3046" fmla="*/ 797653 w 1526442"/>
                <a:gd name="connsiteY3046" fmla="*/ 1332557 h 1683492"/>
                <a:gd name="connsiteX3047" fmla="*/ 795580 w 1526442"/>
                <a:gd name="connsiteY3047" fmla="*/ 1335764 h 1683492"/>
                <a:gd name="connsiteX3048" fmla="*/ 791387 w 1526442"/>
                <a:gd name="connsiteY3048" fmla="*/ 1342228 h 1683492"/>
                <a:gd name="connsiteX3049" fmla="*/ 787242 w 1526442"/>
                <a:gd name="connsiteY3049" fmla="*/ 1343856 h 1683492"/>
                <a:gd name="connsiteX3050" fmla="*/ 785170 w 1526442"/>
                <a:gd name="connsiteY3050" fmla="*/ 1342228 h 1683492"/>
                <a:gd name="connsiteX3051" fmla="*/ 785170 w 1526442"/>
                <a:gd name="connsiteY3051" fmla="*/ 1337294 h 1683492"/>
                <a:gd name="connsiteX3052" fmla="*/ 783048 w 1526442"/>
                <a:gd name="connsiteY3052" fmla="*/ 1338922 h 1683492"/>
                <a:gd name="connsiteX3053" fmla="*/ 780976 w 1526442"/>
                <a:gd name="connsiteY3053" fmla="*/ 1340501 h 1683492"/>
                <a:gd name="connsiteX3054" fmla="*/ 778903 w 1526442"/>
                <a:gd name="connsiteY3054" fmla="*/ 1345435 h 1683492"/>
                <a:gd name="connsiteX3055" fmla="*/ 778903 w 1526442"/>
                <a:gd name="connsiteY3055" fmla="*/ 1348642 h 1683492"/>
                <a:gd name="connsiteX3056" fmla="*/ 770466 w 1526442"/>
                <a:gd name="connsiteY3056" fmla="*/ 1356931 h 1683492"/>
                <a:gd name="connsiteX3057" fmla="*/ 766322 w 1526442"/>
                <a:gd name="connsiteY3057" fmla="*/ 1358510 h 1683492"/>
                <a:gd name="connsiteX3058" fmla="*/ 764249 w 1526442"/>
                <a:gd name="connsiteY3058" fmla="*/ 1356931 h 1683492"/>
                <a:gd name="connsiteX3059" fmla="*/ 764249 w 1526442"/>
                <a:gd name="connsiteY3059" fmla="*/ 1353675 h 1683492"/>
                <a:gd name="connsiteX3060" fmla="*/ 762128 w 1526442"/>
                <a:gd name="connsiteY3060" fmla="*/ 1350468 h 1683492"/>
                <a:gd name="connsiteX3061" fmla="*/ 757934 w 1526442"/>
                <a:gd name="connsiteY3061" fmla="*/ 1352096 h 1683492"/>
                <a:gd name="connsiteX3062" fmla="*/ 757934 w 1526442"/>
                <a:gd name="connsiteY3062" fmla="*/ 1355303 h 1683492"/>
                <a:gd name="connsiteX3063" fmla="*/ 755664 w 1526442"/>
                <a:gd name="connsiteY3063" fmla="*/ 1355303 h 1683492"/>
                <a:gd name="connsiteX3064" fmla="*/ 749398 w 1526442"/>
                <a:gd name="connsiteY3064" fmla="*/ 1352096 h 1683492"/>
                <a:gd name="connsiteX3065" fmla="*/ 747326 w 1526442"/>
                <a:gd name="connsiteY3065" fmla="*/ 1348840 h 1683492"/>
                <a:gd name="connsiteX3066" fmla="*/ 743132 w 1526442"/>
                <a:gd name="connsiteY3066" fmla="*/ 1348840 h 1683492"/>
                <a:gd name="connsiteX3067" fmla="*/ 741060 w 1526442"/>
                <a:gd name="connsiteY3067" fmla="*/ 1350468 h 1683492"/>
                <a:gd name="connsiteX3068" fmla="*/ 745253 w 1526442"/>
                <a:gd name="connsiteY3068" fmla="*/ 1353675 h 1683492"/>
                <a:gd name="connsiteX3069" fmla="*/ 747326 w 1526442"/>
                <a:gd name="connsiteY3069" fmla="*/ 1353675 h 1683492"/>
                <a:gd name="connsiteX3070" fmla="*/ 751470 w 1526442"/>
                <a:gd name="connsiteY3070" fmla="*/ 1358609 h 1683492"/>
                <a:gd name="connsiteX3071" fmla="*/ 749398 w 1526442"/>
                <a:gd name="connsiteY3071" fmla="*/ 1363543 h 1683492"/>
                <a:gd name="connsiteX3072" fmla="*/ 747326 w 1526442"/>
                <a:gd name="connsiteY3072" fmla="*/ 1365122 h 1683492"/>
                <a:gd name="connsiteX3073" fmla="*/ 743132 w 1526442"/>
                <a:gd name="connsiteY3073" fmla="*/ 1365122 h 1683492"/>
                <a:gd name="connsiteX3074" fmla="*/ 734843 w 1526442"/>
                <a:gd name="connsiteY3074" fmla="*/ 1370056 h 1683492"/>
                <a:gd name="connsiteX3075" fmla="*/ 728576 w 1526442"/>
                <a:gd name="connsiteY3075" fmla="*/ 1374990 h 1683492"/>
                <a:gd name="connsiteX3076" fmla="*/ 724432 w 1526442"/>
                <a:gd name="connsiteY3076" fmla="*/ 1374990 h 1683492"/>
                <a:gd name="connsiteX3077" fmla="*/ 720238 w 1526442"/>
                <a:gd name="connsiteY3077" fmla="*/ 1373362 h 1683492"/>
                <a:gd name="connsiteX3078" fmla="*/ 722310 w 1526442"/>
                <a:gd name="connsiteY3078" fmla="*/ 1370155 h 1683492"/>
                <a:gd name="connsiteX3079" fmla="*/ 722310 w 1526442"/>
                <a:gd name="connsiteY3079" fmla="*/ 1368526 h 1683492"/>
                <a:gd name="connsiteX3080" fmla="*/ 720238 w 1526442"/>
                <a:gd name="connsiteY3080" fmla="*/ 1366948 h 1683492"/>
                <a:gd name="connsiteX3081" fmla="*/ 718166 w 1526442"/>
                <a:gd name="connsiteY3081" fmla="*/ 1366948 h 1683492"/>
                <a:gd name="connsiteX3082" fmla="*/ 716093 w 1526442"/>
                <a:gd name="connsiteY3082" fmla="*/ 1370155 h 1683492"/>
                <a:gd name="connsiteX3083" fmla="*/ 716093 w 1526442"/>
                <a:gd name="connsiteY3083" fmla="*/ 1375089 h 1683492"/>
                <a:gd name="connsiteX3084" fmla="*/ 711899 w 1526442"/>
                <a:gd name="connsiteY3084" fmla="*/ 1375089 h 1683492"/>
                <a:gd name="connsiteX3085" fmla="*/ 705682 w 1526442"/>
                <a:gd name="connsiteY3085" fmla="*/ 1378345 h 1683492"/>
                <a:gd name="connsiteX3086" fmla="*/ 701489 w 1526442"/>
                <a:gd name="connsiteY3086" fmla="*/ 1376668 h 1683492"/>
                <a:gd name="connsiteX3087" fmla="*/ 697344 w 1526442"/>
                <a:gd name="connsiteY3087" fmla="*/ 1371734 h 1683492"/>
                <a:gd name="connsiteX3088" fmla="*/ 699416 w 1526442"/>
                <a:gd name="connsiteY3088" fmla="*/ 1366800 h 1683492"/>
                <a:gd name="connsiteX3089" fmla="*/ 701489 w 1526442"/>
                <a:gd name="connsiteY3089" fmla="*/ 1363543 h 1683492"/>
                <a:gd name="connsiteX3090" fmla="*/ 699416 w 1526442"/>
                <a:gd name="connsiteY3090" fmla="*/ 1360336 h 1683492"/>
                <a:gd name="connsiteX3091" fmla="*/ 697344 w 1526442"/>
                <a:gd name="connsiteY3091" fmla="*/ 1360336 h 1683492"/>
                <a:gd name="connsiteX3092" fmla="*/ 695272 w 1526442"/>
                <a:gd name="connsiteY3092" fmla="*/ 1366800 h 1683492"/>
                <a:gd name="connsiteX3093" fmla="*/ 693199 w 1526442"/>
                <a:gd name="connsiteY3093" fmla="*/ 1371734 h 1683492"/>
                <a:gd name="connsiteX3094" fmla="*/ 695272 w 1526442"/>
                <a:gd name="connsiteY3094" fmla="*/ 1374941 h 1683492"/>
                <a:gd name="connsiteX3095" fmla="*/ 693199 w 1526442"/>
                <a:gd name="connsiteY3095" fmla="*/ 1378197 h 1683492"/>
                <a:gd name="connsiteX3096" fmla="*/ 689005 w 1526442"/>
                <a:gd name="connsiteY3096" fmla="*/ 1376520 h 1683492"/>
                <a:gd name="connsiteX3097" fmla="*/ 682788 w 1526442"/>
                <a:gd name="connsiteY3097" fmla="*/ 1368477 h 1683492"/>
                <a:gd name="connsiteX3098" fmla="*/ 682788 w 1526442"/>
                <a:gd name="connsiteY3098" fmla="*/ 1363543 h 1683492"/>
                <a:gd name="connsiteX3099" fmla="*/ 684861 w 1526442"/>
                <a:gd name="connsiteY3099" fmla="*/ 1358609 h 1683492"/>
                <a:gd name="connsiteX3100" fmla="*/ 689005 w 1526442"/>
                <a:gd name="connsiteY3100" fmla="*/ 1355402 h 1683492"/>
                <a:gd name="connsiteX3101" fmla="*/ 693199 w 1526442"/>
                <a:gd name="connsiteY3101" fmla="*/ 1352195 h 1683492"/>
                <a:gd name="connsiteX3102" fmla="*/ 691078 w 1526442"/>
                <a:gd name="connsiteY3102" fmla="*/ 1350566 h 1683492"/>
                <a:gd name="connsiteX3103" fmla="*/ 684861 w 1526442"/>
                <a:gd name="connsiteY3103" fmla="*/ 1348938 h 1683492"/>
                <a:gd name="connsiteX3104" fmla="*/ 680667 w 1526442"/>
                <a:gd name="connsiteY3104" fmla="*/ 1345731 h 1683492"/>
                <a:gd name="connsiteX3105" fmla="*/ 680667 w 1526442"/>
                <a:gd name="connsiteY3105" fmla="*/ 1344103 h 1683492"/>
                <a:gd name="connsiteX3106" fmla="*/ 678595 w 1526442"/>
                <a:gd name="connsiteY3106" fmla="*/ 1342475 h 1683492"/>
                <a:gd name="connsiteX3107" fmla="*/ 676522 w 1526442"/>
                <a:gd name="connsiteY3107" fmla="*/ 1344103 h 1683492"/>
                <a:gd name="connsiteX3108" fmla="*/ 674450 w 1526442"/>
                <a:gd name="connsiteY3108" fmla="*/ 1347310 h 1683492"/>
                <a:gd name="connsiteX3109" fmla="*/ 674450 w 1526442"/>
                <a:gd name="connsiteY3109" fmla="*/ 1348938 h 1683492"/>
                <a:gd name="connsiteX3110" fmla="*/ 678595 w 1526442"/>
                <a:gd name="connsiteY3110" fmla="*/ 1353872 h 1683492"/>
                <a:gd name="connsiteX3111" fmla="*/ 676522 w 1526442"/>
                <a:gd name="connsiteY3111" fmla="*/ 1357129 h 1683492"/>
                <a:gd name="connsiteX3112" fmla="*/ 674450 w 1526442"/>
                <a:gd name="connsiteY3112" fmla="*/ 1360385 h 1683492"/>
                <a:gd name="connsiteX3113" fmla="*/ 672378 w 1526442"/>
                <a:gd name="connsiteY3113" fmla="*/ 1365319 h 1683492"/>
                <a:gd name="connsiteX3114" fmla="*/ 668184 w 1526442"/>
                <a:gd name="connsiteY3114" fmla="*/ 1370253 h 1683492"/>
                <a:gd name="connsiteX3115" fmla="*/ 664039 w 1526442"/>
                <a:gd name="connsiteY3115" fmla="*/ 1370253 h 1683492"/>
                <a:gd name="connsiteX3116" fmla="*/ 664039 w 1526442"/>
                <a:gd name="connsiteY3116" fmla="*/ 1365319 h 1683492"/>
                <a:gd name="connsiteX3117" fmla="*/ 661967 w 1526442"/>
                <a:gd name="connsiteY3117" fmla="*/ 1363740 h 1683492"/>
                <a:gd name="connsiteX3118" fmla="*/ 657773 w 1526442"/>
                <a:gd name="connsiteY3118" fmla="*/ 1366997 h 1683492"/>
                <a:gd name="connsiteX3119" fmla="*/ 659845 w 1526442"/>
                <a:gd name="connsiteY3119" fmla="*/ 1370204 h 1683492"/>
                <a:gd name="connsiteX3120" fmla="*/ 661967 w 1526442"/>
                <a:gd name="connsiteY3120" fmla="*/ 1376618 h 1683492"/>
                <a:gd name="connsiteX3121" fmla="*/ 666111 w 1526442"/>
                <a:gd name="connsiteY3121" fmla="*/ 1379875 h 1683492"/>
                <a:gd name="connsiteX3122" fmla="*/ 666111 w 1526442"/>
                <a:gd name="connsiteY3122" fmla="*/ 1383131 h 1683492"/>
                <a:gd name="connsiteX3123" fmla="*/ 664039 w 1526442"/>
                <a:gd name="connsiteY3123" fmla="*/ 1384759 h 1683492"/>
                <a:gd name="connsiteX3124" fmla="*/ 661967 w 1526442"/>
                <a:gd name="connsiteY3124" fmla="*/ 1387966 h 1683492"/>
                <a:gd name="connsiteX3125" fmla="*/ 657773 w 1526442"/>
                <a:gd name="connsiteY3125" fmla="*/ 1389595 h 1683492"/>
                <a:gd name="connsiteX3126" fmla="*/ 651556 w 1526442"/>
                <a:gd name="connsiteY3126" fmla="*/ 1389595 h 1683492"/>
                <a:gd name="connsiteX3127" fmla="*/ 649434 w 1526442"/>
                <a:gd name="connsiteY3127" fmla="*/ 1387966 h 1683492"/>
                <a:gd name="connsiteX3128" fmla="*/ 647362 w 1526442"/>
                <a:gd name="connsiteY3128" fmla="*/ 1387966 h 1683492"/>
                <a:gd name="connsiteX3129" fmla="*/ 643217 w 1526442"/>
                <a:gd name="connsiteY3129" fmla="*/ 1391174 h 1683492"/>
                <a:gd name="connsiteX3130" fmla="*/ 639024 w 1526442"/>
                <a:gd name="connsiteY3130" fmla="*/ 1394381 h 1683492"/>
                <a:gd name="connsiteX3131" fmla="*/ 636951 w 1526442"/>
                <a:gd name="connsiteY3131" fmla="*/ 1391174 h 1683492"/>
                <a:gd name="connsiteX3132" fmla="*/ 634830 w 1526442"/>
                <a:gd name="connsiteY3132" fmla="*/ 1386240 h 1683492"/>
                <a:gd name="connsiteX3133" fmla="*/ 632807 w 1526442"/>
                <a:gd name="connsiteY3133" fmla="*/ 1383032 h 1683492"/>
                <a:gd name="connsiteX3134" fmla="*/ 630735 w 1526442"/>
                <a:gd name="connsiteY3134" fmla="*/ 1383032 h 1683492"/>
                <a:gd name="connsiteX3135" fmla="*/ 628613 w 1526442"/>
                <a:gd name="connsiteY3135" fmla="*/ 1386240 h 1683492"/>
                <a:gd name="connsiteX3136" fmla="*/ 628613 w 1526442"/>
                <a:gd name="connsiteY3136" fmla="*/ 1389496 h 1683492"/>
                <a:gd name="connsiteX3137" fmla="*/ 626540 w 1526442"/>
                <a:gd name="connsiteY3137" fmla="*/ 1392703 h 1683492"/>
                <a:gd name="connsiteX3138" fmla="*/ 622396 w 1526442"/>
                <a:gd name="connsiteY3138" fmla="*/ 1391075 h 1683492"/>
                <a:gd name="connsiteX3139" fmla="*/ 618202 w 1526442"/>
                <a:gd name="connsiteY3139" fmla="*/ 1386141 h 1683492"/>
                <a:gd name="connsiteX3140" fmla="*/ 616130 w 1526442"/>
                <a:gd name="connsiteY3140" fmla="*/ 1382934 h 1683492"/>
                <a:gd name="connsiteX3141" fmla="*/ 614008 w 1526442"/>
                <a:gd name="connsiteY3141" fmla="*/ 1384562 h 1683492"/>
                <a:gd name="connsiteX3142" fmla="*/ 611985 w 1526442"/>
                <a:gd name="connsiteY3142" fmla="*/ 1386141 h 1683492"/>
                <a:gd name="connsiteX3143" fmla="*/ 607791 w 1526442"/>
                <a:gd name="connsiteY3143" fmla="*/ 1387769 h 1683492"/>
                <a:gd name="connsiteX3144" fmla="*/ 605719 w 1526442"/>
                <a:gd name="connsiteY3144" fmla="*/ 1389397 h 1683492"/>
                <a:gd name="connsiteX3145" fmla="*/ 605719 w 1526442"/>
                <a:gd name="connsiteY3145" fmla="*/ 1390976 h 1683492"/>
                <a:gd name="connsiteX3146" fmla="*/ 607791 w 1526442"/>
                <a:gd name="connsiteY3146" fmla="*/ 1395910 h 1683492"/>
                <a:gd name="connsiteX3147" fmla="*/ 607791 w 1526442"/>
                <a:gd name="connsiteY3147" fmla="*/ 1402374 h 1683492"/>
                <a:gd name="connsiteX3148" fmla="*/ 605719 w 1526442"/>
                <a:gd name="connsiteY3148" fmla="*/ 1408788 h 1683492"/>
                <a:gd name="connsiteX3149" fmla="*/ 597775 w 1526442"/>
                <a:gd name="connsiteY3149" fmla="*/ 1415153 h 1683492"/>
                <a:gd name="connsiteX3150" fmla="*/ 593581 w 1526442"/>
                <a:gd name="connsiteY3150" fmla="*/ 1416781 h 1683492"/>
                <a:gd name="connsiteX3151" fmla="*/ 591558 w 1526442"/>
                <a:gd name="connsiteY3151" fmla="*/ 1413574 h 1683492"/>
                <a:gd name="connsiteX3152" fmla="*/ 589437 w 1526442"/>
                <a:gd name="connsiteY3152" fmla="*/ 1407110 h 1683492"/>
                <a:gd name="connsiteX3153" fmla="*/ 585292 w 1526442"/>
                <a:gd name="connsiteY3153" fmla="*/ 1405482 h 1683492"/>
                <a:gd name="connsiteX3154" fmla="*/ 583171 w 1526442"/>
                <a:gd name="connsiteY3154" fmla="*/ 1407110 h 1683492"/>
                <a:gd name="connsiteX3155" fmla="*/ 583171 w 1526442"/>
                <a:gd name="connsiteY3155" fmla="*/ 1410219 h 1683492"/>
                <a:gd name="connsiteX3156" fmla="*/ 576954 w 1526442"/>
                <a:gd name="connsiteY3156" fmla="*/ 1408591 h 1683492"/>
                <a:gd name="connsiteX3157" fmla="*/ 574881 w 1526442"/>
                <a:gd name="connsiteY3157" fmla="*/ 1405384 h 1683492"/>
                <a:gd name="connsiteX3158" fmla="*/ 572760 w 1526442"/>
                <a:gd name="connsiteY3158" fmla="*/ 1403755 h 1683492"/>
                <a:gd name="connsiteX3159" fmla="*/ 570737 w 1526442"/>
                <a:gd name="connsiteY3159" fmla="*/ 1405384 h 1683492"/>
                <a:gd name="connsiteX3160" fmla="*/ 572760 w 1526442"/>
                <a:gd name="connsiteY3160" fmla="*/ 1408591 h 1683492"/>
                <a:gd name="connsiteX3161" fmla="*/ 572760 w 1526442"/>
                <a:gd name="connsiteY3161" fmla="*/ 1413525 h 1683492"/>
                <a:gd name="connsiteX3162" fmla="*/ 570737 w 1526442"/>
                <a:gd name="connsiteY3162" fmla="*/ 1416732 h 1683492"/>
                <a:gd name="connsiteX3163" fmla="*/ 570737 w 1526442"/>
                <a:gd name="connsiteY3163" fmla="*/ 1420087 h 1683492"/>
                <a:gd name="connsiteX3164" fmla="*/ 572760 w 1526442"/>
                <a:gd name="connsiteY3164" fmla="*/ 1423294 h 1683492"/>
                <a:gd name="connsiteX3165" fmla="*/ 576954 w 1526442"/>
                <a:gd name="connsiteY3165" fmla="*/ 1426501 h 1683492"/>
                <a:gd name="connsiteX3166" fmla="*/ 579026 w 1526442"/>
                <a:gd name="connsiteY3166" fmla="*/ 1432965 h 1683492"/>
                <a:gd name="connsiteX3167" fmla="*/ 579026 w 1526442"/>
                <a:gd name="connsiteY3167" fmla="*/ 1445941 h 1683492"/>
                <a:gd name="connsiteX3168" fmla="*/ 574881 w 1526442"/>
                <a:gd name="connsiteY3168" fmla="*/ 1444264 h 1683492"/>
                <a:gd name="connsiteX3169" fmla="*/ 570737 w 1526442"/>
                <a:gd name="connsiteY3169" fmla="*/ 1444264 h 1683492"/>
                <a:gd name="connsiteX3170" fmla="*/ 568615 w 1526442"/>
                <a:gd name="connsiteY3170" fmla="*/ 1447520 h 1683492"/>
                <a:gd name="connsiteX3171" fmla="*/ 564470 w 1526442"/>
                <a:gd name="connsiteY3171" fmla="*/ 1447520 h 1683492"/>
                <a:gd name="connsiteX3172" fmla="*/ 556132 w 1526442"/>
                <a:gd name="connsiteY3172" fmla="*/ 1445941 h 1683492"/>
                <a:gd name="connsiteX3173" fmla="*/ 549915 w 1526442"/>
                <a:gd name="connsiteY3173" fmla="*/ 1445941 h 1683492"/>
                <a:gd name="connsiteX3174" fmla="*/ 547793 w 1526442"/>
                <a:gd name="connsiteY3174" fmla="*/ 1449149 h 1683492"/>
                <a:gd name="connsiteX3175" fmla="*/ 549915 w 1526442"/>
                <a:gd name="connsiteY3175" fmla="*/ 1450727 h 1683492"/>
                <a:gd name="connsiteX3176" fmla="*/ 556132 w 1526442"/>
                <a:gd name="connsiteY3176" fmla="*/ 1455661 h 1683492"/>
                <a:gd name="connsiteX3177" fmla="*/ 562348 w 1526442"/>
                <a:gd name="connsiteY3177" fmla="*/ 1455661 h 1683492"/>
                <a:gd name="connsiteX3178" fmla="*/ 566543 w 1526442"/>
                <a:gd name="connsiteY3178" fmla="*/ 1458868 h 1683492"/>
                <a:gd name="connsiteX3179" fmla="*/ 568615 w 1526442"/>
                <a:gd name="connsiteY3179" fmla="*/ 1460497 h 1683492"/>
                <a:gd name="connsiteX3180" fmla="*/ 570737 w 1526442"/>
                <a:gd name="connsiteY3180" fmla="*/ 1458868 h 1683492"/>
                <a:gd name="connsiteX3181" fmla="*/ 574881 w 1526442"/>
                <a:gd name="connsiteY3181" fmla="*/ 1460497 h 1683492"/>
                <a:gd name="connsiteX3182" fmla="*/ 574881 w 1526442"/>
                <a:gd name="connsiteY3182" fmla="*/ 1462125 h 1683492"/>
                <a:gd name="connsiteX3183" fmla="*/ 572760 w 1526442"/>
                <a:gd name="connsiteY3183" fmla="*/ 1467059 h 1683492"/>
                <a:gd name="connsiteX3184" fmla="*/ 566543 w 1526442"/>
                <a:gd name="connsiteY3184" fmla="*/ 1467059 h 1683492"/>
                <a:gd name="connsiteX3185" fmla="*/ 566543 w 1526442"/>
                <a:gd name="connsiteY3185" fmla="*/ 1470315 h 1683492"/>
                <a:gd name="connsiteX3186" fmla="*/ 568615 w 1526442"/>
                <a:gd name="connsiteY3186" fmla="*/ 1470315 h 1683492"/>
                <a:gd name="connsiteX3187" fmla="*/ 570737 w 1526442"/>
                <a:gd name="connsiteY3187" fmla="*/ 1473523 h 1683492"/>
                <a:gd name="connsiteX3188" fmla="*/ 570737 w 1526442"/>
                <a:gd name="connsiteY3188" fmla="*/ 1481614 h 1683492"/>
                <a:gd name="connsiteX3189" fmla="*/ 568615 w 1526442"/>
                <a:gd name="connsiteY3189" fmla="*/ 1484822 h 1683492"/>
                <a:gd name="connsiteX3190" fmla="*/ 566543 w 1526442"/>
                <a:gd name="connsiteY3190" fmla="*/ 1484822 h 1683492"/>
                <a:gd name="connsiteX3191" fmla="*/ 562348 w 1526442"/>
                <a:gd name="connsiteY3191" fmla="*/ 1483193 h 1683492"/>
                <a:gd name="connsiteX3192" fmla="*/ 558204 w 1526442"/>
                <a:gd name="connsiteY3192" fmla="*/ 1478259 h 1683492"/>
                <a:gd name="connsiteX3193" fmla="*/ 554060 w 1526442"/>
                <a:gd name="connsiteY3193" fmla="*/ 1478259 h 1683492"/>
                <a:gd name="connsiteX3194" fmla="*/ 549915 w 1526442"/>
                <a:gd name="connsiteY3194" fmla="*/ 1476680 h 1683492"/>
                <a:gd name="connsiteX3195" fmla="*/ 545721 w 1526442"/>
                <a:gd name="connsiteY3195" fmla="*/ 1473424 h 1683492"/>
                <a:gd name="connsiteX3196" fmla="*/ 541527 w 1526442"/>
                <a:gd name="connsiteY3196" fmla="*/ 1473424 h 1683492"/>
                <a:gd name="connsiteX3197" fmla="*/ 541527 w 1526442"/>
                <a:gd name="connsiteY3197" fmla="*/ 1475052 h 1683492"/>
                <a:gd name="connsiteX3198" fmla="*/ 539504 w 1526442"/>
                <a:gd name="connsiteY3198" fmla="*/ 1478259 h 1683492"/>
                <a:gd name="connsiteX3199" fmla="*/ 545721 w 1526442"/>
                <a:gd name="connsiteY3199" fmla="*/ 1478259 h 1683492"/>
                <a:gd name="connsiteX3200" fmla="*/ 547793 w 1526442"/>
                <a:gd name="connsiteY3200" fmla="*/ 1479887 h 1683492"/>
                <a:gd name="connsiteX3201" fmla="*/ 556132 w 1526442"/>
                <a:gd name="connsiteY3201" fmla="*/ 1483095 h 1683492"/>
                <a:gd name="connsiteX3202" fmla="*/ 560326 w 1526442"/>
                <a:gd name="connsiteY3202" fmla="*/ 1484723 h 1683492"/>
                <a:gd name="connsiteX3203" fmla="*/ 564470 w 1526442"/>
                <a:gd name="connsiteY3203" fmla="*/ 1486351 h 1683492"/>
                <a:gd name="connsiteX3204" fmla="*/ 566543 w 1526442"/>
                <a:gd name="connsiteY3204" fmla="*/ 1487979 h 1683492"/>
                <a:gd name="connsiteX3205" fmla="*/ 564470 w 1526442"/>
                <a:gd name="connsiteY3205" fmla="*/ 1492913 h 1683492"/>
                <a:gd name="connsiteX3206" fmla="*/ 558204 w 1526442"/>
                <a:gd name="connsiteY3206" fmla="*/ 1496121 h 1683492"/>
                <a:gd name="connsiteX3207" fmla="*/ 554060 w 1526442"/>
                <a:gd name="connsiteY3207" fmla="*/ 1494542 h 1683492"/>
                <a:gd name="connsiteX3208" fmla="*/ 551938 w 1526442"/>
                <a:gd name="connsiteY3208" fmla="*/ 1496121 h 1683492"/>
                <a:gd name="connsiteX3209" fmla="*/ 547793 w 1526442"/>
                <a:gd name="connsiteY3209" fmla="*/ 1496121 h 1683492"/>
                <a:gd name="connsiteX3210" fmla="*/ 539504 w 1526442"/>
                <a:gd name="connsiteY3210" fmla="*/ 1491186 h 1683492"/>
                <a:gd name="connsiteX3211" fmla="*/ 537383 w 1526442"/>
                <a:gd name="connsiteY3211" fmla="*/ 1487979 h 1683492"/>
                <a:gd name="connsiteX3212" fmla="*/ 535310 w 1526442"/>
                <a:gd name="connsiteY3212" fmla="*/ 1487979 h 1683492"/>
                <a:gd name="connsiteX3213" fmla="*/ 533238 w 1526442"/>
                <a:gd name="connsiteY3213" fmla="*/ 1489558 h 1683492"/>
                <a:gd name="connsiteX3214" fmla="*/ 529093 w 1526442"/>
                <a:gd name="connsiteY3214" fmla="*/ 1491186 h 1683492"/>
                <a:gd name="connsiteX3215" fmla="*/ 529093 w 1526442"/>
                <a:gd name="connsiteY3215" fmla="*/ 1496121 h 1683492"/>
                <a:gd name="connsiteX3216" fmla="*/ 535310 w 1526442"/>
                <a:gd name="connsiteY3216" fmla="*/ 1499377 h 1683492"/>
                <a:gd name="connsiteX3217" fmla="*/ 541527 w 1526442"/>
                <a:gd name="connsiteY3217" fmla="*/ 1502584 h 1683492"/>
                <a:gd name="connsiteX3218" fmla="*/ 543649 w 1526442"/>
                <a:gd name="connsiteY3218" fmla="*/ 1505841 h 1683492"/>
                <a:gd name="connsiteX3219" fmla="*/ 543649 w 1526442"/>
                <a:gd name="connsiteY3219" fmla="*/ 1508900 h 1683492"/>
                <a:gd name="connsiteX3220" fmla="*/ 541527 w 1526442"/>
                <a:gd name="connsiteY3220" fmla="*/ 1510479 h 1683492"/>
                <a:gd name="connsiteX3221" fmla="*/ 537383 w 1526442"/>
                <a:gd name="connsiteY3221" fmla="*/ 1507222 h 1683492"/>
                <a:gd name="connsiteX3222" fmla="*/ 533238 w 1526442"/>
                <a:gd name="connsiteY3222" fmla="*/ 1505643 h 1683492"/>
                <a:gd name="connsiteX3223" fmla="*/ 526972 w 1526442"/>
                <a:gd name="connsiteY3223" fmla="*/ 1502387 h 1683492"/>
                <a:gd name="connsiteX3224" fmla="*/ 522827 w 1526442"/>
                <a:gd name="connsiteY3224" fmla="*/ 1499180 h 1683492"/>
                <a:gd name="connsiteX3225" fmla="*/ 520755 w 1526442"/>
                <a:gd name="connsiteY3225" fmla="*/ 1499180 h 1683492"/>
                <a:gd name="connsiteX3226" fmla="*/ 522827 w 1526442"/>
                <a:gd name="connsiteY3226" fmla="*/ 1504114 h 1683492"/>
                <a:gd name="connsiteX3227" fmla="*/ 526972 w 1526442"/>
                <a:gd name="connsiteY3227" fmla="*/ 1507321 h 1683492"/>
                <a:gd name="connsiteX3228" fmla="*/ 535310 w 1526442"/>
                <a:gd name="connsiteY3228" fmla="*/ 1510577 h 1683492"/>
                <a:gd name="connsiteX3229" fmla="*/ 535310 w 1526442"/>
                <a:gd name="connsiteY3229" fmla="*/ 1515511 h 1683492"/>
                <a:gd name="connsiteX3230" fmla="*/ 533238 w 1526442"/>
                <a:gd name="connsiteY3230" fmla="*/ 1517140 h 1683492"/>
                <a:gd name="connsiteX3231" fmla="*/ 524899 w 1526442"/>
                <a:gd name="connsiteY3231" fmla="*/ 1517140 h 1683492"/>
                <a:gd name="connsiteX3232" fmla="*/ 522827 w 1526442"/>
                <a:gd name="connsiteY3232" fmla="*/ 1512206 h 1683492"/>
                <a:gd name="connsiteX3233" fmla="*/ 520755 w 1526442"/>
                <a:gd name="connsiteY3233" fmla="*/ 1508998 h 1683492"/>
                <a:gd name="connsiteX3234" fmla="*/ 518682 w 1526442"/>
                <a:gd name="connsiteY3234" fmla="*/ 1505742 h 1683492"/>
                <a:gd name="connsiteX3235" fmla="*/ 516561 w 1526442"/>
                <a:gd name="connsiteY3235" fmla="*/ 1505742 h 1683492"/>
                <a:gd name="connsiteX3236" fmla="*/ 512416 w 1526442"/>
                <a:gd name="connsiteY3236" fmla="*/ 1508998 h 1683492"/>
                <a:gd name="connsiteX3237" fmla="*/ 512416 w 1526442"/>
                <a:gd name="connsiteY3237" fmla="*/ 1512206 h 1683492"/>
                <a:gd name="connsiteX3238" fmla="*/ 516561 w 1526442"/>
                <a:gd name="connsiteY3238" fmla="*/ 1515413 h 1683492"/>
                <a:gd name="connsiteX3239" fmla="*/ 516561 w 1526442"/>
                <a:gd name="connsiteY3239" fmla="*/ 1520347 h 1683492"/>
                <a:gd name="connsiteX3240" fmla="*/ 518682 w 1526442"/>
                <a:gd name="connsiteY3240" fmla="*/ 1521975 h 1683492"/>
                <a:gd name="connsiteX3241" fmla="*/ 528699 w 1526442"/>
                <a:gd name="connsiteY3241" fmla="*/ 1521975 h 1683492"/>
                <a:gd name="connsiteX3242" fmla="*/ 532843 w 1526442"/>
                <a:gd name="connsiteY3242" fmla="*/ 1523603 h 1683492"/>
                <a:gd name="connsiteX3243" fmla="*/ 532843 w 1526442"/>
                <a:gd name="connsiteY3243" fmla="*/ 1528537 h 1683492"/>
                <a:gd name="connsiteX3244" fmla="*/ 528699 w 1526442"/>
                <a:gd name="connsiteY3244" fmla="*/ 1530165 h 1683492"/>
                <a:gd name="connsiteX3245" fmla="*/ 526577 w 1526442"/>
                <a:gd name="connsiteY3245" fmla="*/ 1533372 h 1683492"/>
                <a:gd name="connsiteX3246" fmla="*/ 522432 w 1526442"/>
                <a:gd name="connsiteY3246" fmla="*/ 1533372 h 1683492"/>
                <a:gd name="connsiteX3247" fmla="*/ 518288 w 1526442"/>
                <a:gd name="connsiteY3247" fmla="*/ 1531744 h 1683492"/>
                <a:gd name="connsiteX3248" fmla="*/ 516166 w 1526442"/>
                <a:gd name="connsiteY3248" fmla="*/ 1531744 h 1683492"/>
                <a:gd name="connsiteX3249" fmla="*/ 507877 w 1526442"/>
                <a:gd name="connsiteY3249" fmla="*/ 1528537 h 1683492"/>
                <a:gd name="connsiteX3250" fmla="*/ 507877 w 1526442"/>
                <a:gd name="connsiteY3250" fmla="*/ 1526958 h 1683492"/>
                <a:gd name="connsiteX3251" fmla="*/ 509949 w 1526442"/>
                <a:gd name="connsiteY3251" fmla="*/ 1525281 h 1683492"/>
                <a:gd name="connsiteX3252" fmla="*/ 505755 w 1526442"/>
                <a:gd name="connsiteY3252" fmla="*/ 1523702 h 1683492"/>
                <a:gd name="connsiteX3253" fmla="*/ 504028 w 1526442"/>
                <a:gd name="connsiteY3253" fmla="*/ 1523702 h 1683492"/>
                <a:gd name="connsiteX3254" fmla="*/ 504028 w 1526442"/>
                <a:gd name="connsiteY3254" fmla="*/ 1528636 h 1683492"/>
                <a:gd name="connsiteX3255" fmla="*/ 501907 w 1526442"/>
                <a:gd name="connsiteY3255" fmla="*/ 1531843 h 1683492"/>
                <a:gd name="connsiteX3256" fmla="*/ 499884 w 1526442"/>
                <a:gd name="connsiteY3256" fmla="*/ 1535099 h 1683492"/>
                <a:gd name="connsiteX3257" fmla="*/ 493618 w 1526442"/>
                <a:gd name="connsiteY3257" fmla="*/ 1535099 h 1683492"/>
                <a:gd name="connsiteX3258" fmla="*/ 489473 w 1526442"/>
                <a:gd name="connsiteY3258" fmla="*/ 1531843 h 1683492"/>
                <a:gd name="connsiteX3259" fmla="*/ 487401 w 1526442"/>
                <a:gd name="connsiteY3259" fmla="*/ 1530264 h 1683492"/>
                <a:gd name="connsiteX3260" fmla="*/ 483207 w 1526442"/>
                <a:gd name="connsiteY3260" fmla="*/ 1530264 h 1683492"/>
                <a:gd name="connsiteX3261" fmla="*/ 483207 w 1526442"/>
                <a:gd name="connsiteY3261" fmla="*/ 1533471 h 1683492"/>
                <a:gd name="connsiteX3262" fmla="*/ 485279 w 1526442"/>
                <a:gd name="connsiteY3262" fmla="*/ 1536678 h 1683492"/>
                <a:gd name="connsiteX3263" fmla="*/ 495690 w 1526442"/>
                <a:gd name="connsiteY3263" fmla="*/ 1539935 h 1683492"/>
                <a:gd name="connsiteX3264" fmla="*/ 504028 w 1526442"/>
                <a:gd name="connsiteY3264" fmla="*/ 1541563 h 1683492"/>
                <a:gd name="connsiteX3265" fmla="*/ 508222 w 1526442"/>
                <a:gd name="connsiteY3265" fmla="*/ 1546497 h 1683492"/>
                <a:gd name="connsiteX3266" fmla="*/ 510295 w 1526442"/>
                <a:gd name="connsiteY3266" fmla="*/ 1554539 h 1683492"/>
                <a:gd name="connsiteX3267" fmla="*/ 504028 w 1526442"/>
                <a:gd name="connsiteY3267" fmla="*/ 1554539 h 1683492"/>
                <a:gd name="connsiteX3268" fmla="*/ 497811 w 1526442"/>
                <a:gd name="connsiteY3268" fmla="*/ 1551332 h 1683492"/>
                <a:gd name="connsiteX3269" fmla="*/ 491496 w 1526442"/>
                <a:gd name="connsiteY3269" fmla="*/ 1544918 h 1683492"/>
                <a:gd name="connsiteX3270" fmla="*/ 487401 w 1526442"/>
                <a:gd name="connsiteY3270" fmla="*/ 1543240 h 1683492"/>
                <a:gd name="connsiteX3271" fmla="*/ 483207 w 1526442"/>
                <a:gd name="connsiteY3271" fmla="*/ 1543240 h 1683492"/>
                <a:gd name="connsiteX3272" fmla="*/ 483207 w 1526442"/>
                <a:gd name="connsiteY3272" fmla="*/ 1546497 h 1683492"/>
                <a:gd name="connsiteX3273" fmla="*/ 485279 w 1526442"/>
                <a:gd name="connsiteY3273" fmla="*/ 1548125 h 1683492"/>
                <a:gd name="connsiteX3274" fmla="*/ 491496 w 1526442"/>
                <a:gd name="connsiteY3274" fmla="*/ 1549753 h 1683492"/>
                <a:gd name="connsiteX3275" fmla="*/ 499884 w 1526442"/>
                <a:gd name="connsiteY3275" fmla="*/ 1556217 h 1683492"/>
                <a:gd name="connsiteX3276" fmla="*/ 504028 w 1526442"/>
                <a:gd name="connsiteY3276" fmla="*/ 1561151 h 1683492"/>
                <a:gd name="connsiteX3277" fmla="*/ 504028 w 1526442"/>
                <a:gd name="connsiteY3277" fmla="*/ 1564358 h 1683492"/>
                <a:gd name="connsiteX3278" fmla="*/ 501907 w 1526442"/>
                <a:gd name="connsiteY3278" fmla="*/ 1569292 h 1683492"/>
                <a:gd name="connsiteX3279" fmla="*/ 504028 w 1526442"/>
                <a:gd name="connsiteY3279" fmla="*/ 1570920 h 1683492"/>
                <a:gd name="connsiteX3280" fmla="*/ 504028 w 1526442"/>
                <a:gd name="connsiteY3280" fmla="*/ 1574177 h 1683492"/>
                <a:gd name="connsiteX3281" fmla="*/ 499884 w 1526442"/>
                <a:gd name="connsiteY3281" fmla="*/ 1577384 h 1683492"/>
                <a:gd name="connsiteX3282" fmla="*/ 499884 w 1526442"/>
                <a:gd name="connsiteY3282" fmla="*/ 1579012 h 1683492"/>
                <a:gd name="connsiteX3283" fmla="*/ 497811 w 1526442"/>
                <a:gd name="connsiteY3283" fmla="*/ 1583946 h 1683492"/>
                <a:gd name="connsiteX3284" fmla="*/ 493618 w 1526442"/>
                <a:gd name="connsiteY3284" fmla="*/ 1583946 h 1683492"/>
                <a:gd name="connsiteX3285" fmla="*/ 489473 w 1526442"/>
                <a:gd name="connsiteY3285" fmla="*/ 1582318 h 1683492"/>
                <a:gd name="connsiteX3286" fmla="*/ 485279 w 1526442"/>
                <a:gd name="connsiteY3286" fmla="*/ 1582318 h 1683492"/>
                <a:gd name="connsiteX3287" fmla="*/ 481085 w 1526442"/>
                <a:gd name="connsiteY3287" fmla="*/ 1579111 h 1683492"/>
                <a:gd name="connsiteX3288" fmla="*/ 476941 w 1526442"/>
                <a:gd name="connsiteY3288" fmla="*/ 1579111 h 1683492"/>
                <a:gd name="connsiteX3289" fmla="*/ 479062 w 1526442"/>
                <a:gd name="connsiteY3289" fmla="*/ 1582318 h 1683492"/>
                <a:gd name="connsiteX3290" fmla="*/ 483207 w 1526442"/>
                <a:gd name="connsiteY3290" fmla="*/ 1583946 h 1683492"/>
                <a:gd name="connsiteX3291" fmla="*/ 491496 w 1526442"/>
                <a:gd name="connsiteY3291" fmla="*/ 1585575 h 1683492"/>
                <a:gd name="connsiteX3292" fmla="*/ 491496 w 1526442"/>
                <a:gd name="connsiteY3292" fmla="*/ 1587203 h 1683492"/>
                <a:gd name="connsiteX3293" fmla="*/ 487401 w 1526442"/>
                <a:gd name="connsiteY3293" fmla="*/ 1592137 h 1683492"/>
                <a:gd name="connsiteX3294" fmla="*/ 483207 w 1526442"/>
                <a:gd name="connsiteY3294" fmla="*/ 1590509 h 1683492"/>
                <a:gd name="connsiteX3295" fmla="*/ 481085 w 1526442"/>
                <a:gd name="connsiteY3295" fmla="*/ 1588880 h 1683492"/>
                <a:gd name="connsiteX3296" fmla="*/ 479062 w 1526442"/>
                <a:gd name="connsiteY3296" fmla="*/ 1588880 h 1683492"/>
                <a:gd name="connsiteX3297" fmla="*/ 476941 w 1526442"/>
                <a:gd name="connsiteY3297" fmla="*/ 1590509 h 1683492"/>
                <a:gd name="connsiteX3298" fmla="*/ 483207 w 1526442"/>
                <a:gd name="connsiteY3298" fmla="*/ 1593716 h 1683492"/>
                <a:gd name="connsiteX3299" fmla="*/ 485279 w 1526442"/>
                <a:gd name="connsiteY3299" fmla="*/ 1595344 h 1683492"/>
                <a:gd name="connsiteX3300" fmla="*/ 485279 w 1526442"/>
                <a:gd name="connsiteY3300" fmla="*/ 1597712 h 1683492"/>
                <a:gd name="connsiteX3301" fmla="*/ 481085 w 1526442"/>
                <a:gd name="connsiteY3301" fmla="*/ 1599291 h 1683492"/>
                <a:gd name="connsiteX3302" fmla="*/ 476941 w 1526442"/>
                <a:gd name="connsiteY3302" fmla="*/ 1602548 h 1683492"/>
                <a:gd name="connsiteX3303" fmla="*/ 474868 w 1526442"/>
                <a:gd name="connsiteY3303" fmla="*/ 1599291 h 1683492"/>
                <a:gd name="connsiteX3304" fmla="*/ 470674 w 1526442"/>
                <a:gd name="connsiteY3304" fmla="*/ 1597712 h 1683492"/>
                <a:gd name="connsiteX3305" fmla="*/ 466530 w 1526442"/>
                <a:gd name="connsiteY3305" fmla="*/ 1597712 h 1683492"/>
                <a:gd name="connsiteX3306" fmla="*/ 468651 w 1526442"/>
                <a:gd name="connsiteY3306" fmla="*/ 1600919 h 1683492"/>
                <a:gd name="connsiteX3307" fmla="*/ 472796 w 1526442"/>
                <a:gd name="connsiteY3307" fmla="*/ 1602548 h 1683492"/>
                <a:gd name="connsiteX3308" fmla="*/ 476941 w 1526442"/>
                <a:gd name="connsiteY3308" fmla="*/ 1604176 h 1683492"/>
                <a:gd name="connsiteX3309" fmla="*/ 476941 w 1526442"/>
                <a:gd name="connsiteY3309" fmla="*/ 1609110 h 1683492"/>
                <a:gd name="connsiteX3310" fmla="*/ 472796 w 1526442"/>
                <a:gd name="connsiteY3310" fmla="*/ 1612366 h 1683492"/>
                <a:gd name="connsiteX3311" fmla="*/ 464457 w 1526442"/>
                <a:gd name="connsiteY3311" fmla="*/ 1610689 h 1683492"/>
                <a:gd name="connsiteX3312" fmla="*/ 460264 w 1526442"/>
                <a:gd name="connsiteY3312" fmla="*/ 1609110 h 1683492"/>
                <a:gd name="connsiteX3313" fmla="*/ 456119 w 1526442"/>
                <a:gd name="connsiteY3313" fmla="*/ 1609110 h 1683492"/>
                <a:gd name="connsiteX3314" fmla="*/ 456119 w 1526442"/>
                <a:gd name="connsiteY3314" fmla="*/ 1610689 h 1683492"/>
                <a:gd name="connsiteX3315" fmla="*/ 462385 w 1526442"/>
                <a:gd name="connsiteY3315" fmla="*/ 1612366 h 1683492"/>
                <a:gd name="connsiteX3316" fmla="*/ 474868 w 1526442"/>
                <a:gd name="connsiteY3316" fmla="*/ 1613945 h 1683492"/>
                <a:gd name="connsiteX3317" fmla="*/ 481085 w 1526442"/>
                <a:gd name="connsiteY3317" fmla="*/ 1615573 h 1683492"/>
                <a:gd name="connsiteX3318" fmla="*/ 481085 w 1526442"/>
                <a:gd name="connsiteY3318" fmla="*/ 1620507 h 1683492"/>
                <a:gd name="connsiteX3319" fmla="*/ 474868 w 1526442"/>
                <a:gd name="connsiteY3319" fmla="*/ 1623764 h 1683492"/>
                <a:gd name="connsiteX3320" fmla="*/ 466530 w 1526442"/>
                <a:gd name="connsiteY3320" fmla="*/ 1625343 h 1683492"/>
                <a:gd name="connsiteX3321" fmla="*/ 458240 w 1526442"/>
                <a:gd name="connsiteY3321" fmla="*/ 1623764 h 1683492"/>
                <a:gd name="connsiteX3322" fmla="*/ 454047 w 1526442"/>
                <a:gd name="connsiteY3322" fmla="*/ 1620507 h 1683492"/>
                <a:gd name="connsiteX3323" fmla="*/ 451974 w 1526442"/>
                <a:gd name="connsiteY3323" fmla="*/ 1622136 h 1683492"/>
                <a:gd name="connsiteX3324" fmla="*/ 454047 w 1526442"/>
                <a:gd name="connsiteY3324" fmla="*/ 1625343 h 1683492"/>
                <a:gd name="connsiteX3325" fmla="*/ 462385 w 1526442"/>
                <a:gd name="connsiteY3325" fmla="*/ 1626971 h 1683492"/>
                <a:gd name="connsiteX3326" fmla="*/ 462385 w 1526442"/>
                <a:gd name="connsiteY3326" fmla="*/ 1630228 h 1683492"/>
                <a:gd name="connsiteX3327" fmla="*/ 460264 w 1526442"/>
                <a:gd name="connsiteY3327" fmla="*/ 1630228 h 1683492"/>
                <a:gd name="connsiteX3328" fmla="*/ 458240 w 1526442"/>
                <a:gd name="connsiteY3328" fmla="*/ 1631806 h 1683492"/>
                <a:gd name="connsiteX3329" fmla="*/ 464556 w 1526442"/>
                <a:gd name="connsiteY3329" fmla="*/ 1631806 h 1683492"/>
                <a:gd name="connsiteX3330" fmla="*/ 470773 w 1526442"/>
                <a:gd name="connsiteY3330" fmla="*/ 1635063 h 1683492"/>
                <a:gd name="connsiteX3331" fmla="*/ 470773 w 1526442"/>
                <a:gd name="connsiteY3331" fmla="*/ 1636691 h 1683492"/>
                <a:gd name="connsiteX3332" fmla="*/ 466628 w 1526442"/>
                <a:gd name="connsiteY3332" fmla="*/ 1638270 h 1683492"/>
                <a:gd name="connsiteX3333" fmla="*/ 458339 w 1526442"/>
                <a:gd name="connsiteY3333" fmla="*/ 1638270 h 1683492"/>
                <a:gd name="connsiteX3334" fmla="*/ 458339 w 1526442"/>
                <a:gd name="connsiteY3334" fmla="*/ 1639898 h 1683492"/>
                <a:gd name="connsiteX3335" fmla="*/ 462484 w 1526442"/>
                <a:gd name="connsiteY3335" fmla="*/ 1641527 h 1683492"/>
                <a:gd name="connsiteX3336" fmla="*/ 472895 w 1526442"/>
                <a:gd name="connsiteY3336" fmla="*/ 1641527 h 1683492"/>
                <a:gd name="connsiteX3337" fmla="*/ 470773 w 1526442"/>
                <a:gd name="connsiteY3337" fmla="*/ 1644734 h 1683492"/>
                <a:gd name="connsiteX3338" fmla="*/ 466628 w 1526442"/>
                <a:gd name="connsiteY3338" fmla="*/ 1647990 h 1683492"/>
                <a:gd name="connsiteX3339" fmla="*/ 460362 w 1526442"/>
                <a:gd name="connsiteY3339" fmla="*/ 1649569 h 1683492"/>
                <a:gd name="connsiteX3340" fmla="*/ 456218 w 1526442"/>
                <a:gd name="connsiteY3340" fmla="*/ 1649569 h 1683492"/>
                <a:gd name="connsiteX3341" fmla="*/ 452073 w 1526442"/>
                <a:gd name="connsiteY3341" fmla="*/ 1646362 h 1683492"/>
                <a:gd name="connsiteX3342" fmla="*/ 445807 w 1526442"/>
                <a:gd name="connsiteY3342" fmla="*/ 1641428 h 1683492"/>
                <a:gd name="connsiteX3343" fmla="*/ 445807 w 1526442"/>
                <a:gd name="connsiteY3343" fmla="*/ 1639800 h 1683492"/>
                <a:gd name="connsiteX3344" fmla="*/ 434952 w 1526442"/>
                <a:gd name="connsiteY3344" fmla="*/ 1639800 h 1683492"/>
                <a:gd name="connsiteX3345" fmla="*/ 432880 w 1526442"/>
                <a:gd name="connsiteY3345" fmla="*/ 1641428 h 1683492"/>
                <a:gd name="connsiteX3346" fmla="*/ 434952 w 1526442"/>
                <a:gd name="connsiteY3346" fmla="*/ 1643007 h 1683492"/>
                <a:gd name="connsiteX3347" fmla="*/ 445363 w 1526442"/>
                <a:gd name="connsiteY3347" fmla="*/ 1647941 h 1683492"/>
                <a:gd name="connsiteX3348" fmla="*/ 451629 w 1526442"/>
                <a:gd name="connsiteY3348" fmla="*/ 1651148 h 1683492"/>
                <a:gd name="connsiteX3349" fmla="*/ 451629 w 1526442"/>
                <a:gd name="connsiteY3349" fmla="*/ 1654404 h 1683492"/>
                <a:gd name="connsiteX3350" fmla="*/ 449507 w 1526442"/>
                <a:gd name="connsiteY3350" fmla="*/ 1655983 h 1683492"/>
                <a:gd name="connsiteX3351" fmla="*/ 449507 w 1526442"/>
                <a:gd name="connsiteY3351" fmla="*/ 1657612 h 1683492"/>
                <a:gd name="connsiteX3352" fmla="*/ 457895 w 1526442"/>
                <a:gd name="connsiteY3352" fmla="*/ 1657612 h 1683492"/>
                <a:gd name="connsiteX3353" fmla="*/ 459918 w 1526442"/>
                <a:gd name="connsiteY3353" fmla="*/ 1659240 h 1683492"/>
                <a:gd name="connsiteX3354" fmla="*/ 462040 w 1526442"/>
                <a:gd name="connsiteY3354" fmla="*/ 1659240 h 1683492"/>
                <a:gd name="connsiteX3355" fmla="*/ 462040 w 1526442"/>
                <a:gd name="connsiteY3355" fmla="*/ 1662447 h 1683492"/>
                <a:gd name="connsiteX3356" fmla="*/ 457895 w 1526442"/>
                <a:gd name="connsiteY3356" fmla="*/ 1662447 h 1683492"/>
                <a:gd name="connsiteX3357" fmla="*/ 453701 w 1526442"/>
                <a:gd name="connsiteY3357" fmla="*/ 1665703 h 1683492"/>
                <a:gd name="connsiteX3358" fmla="*/ 453701 w 1526442"/>
                <a:gd name="connsiteY3358" fmla="*/ 1667282 h 1683492"/>
                <a:gd name="connsiteX3359" fmla="*/ 445560 w 1526442"/>
                <a:gd name="connsiteY3359" fmla="*/ 1668664 h 1683492"/>
                <a:gd name="connsiteX3360" fmla="*/ 433077 w 1526442"/>
                <a:gd name="connsiteY3360" fmla="*/ 1663730 h 1683492"/>
                <a:gd name="connsiteX3361" fmla="*/ 428883 w 1526442"/>
                <a:gd name="connsiteY3361" fmla="*/ 1662101 h 1683492"/>
                <a:gd name="connsiteX3362" fmla="*/ 428883 w 1526442"/>
                <a:gd name="connsiteY3362" fmla="*/ 1663730 h 1683492"/>
                <a:gd name="connsiteX3363" fmla="*/ 434952 w 1526442"/>
                <a:gd name="connsiteY3363" fmla="*/ 1671723 h 1683492"/>
                <a:gd name="connsiteX3364" fmla="*/ 439097 w 1526442"/>
                <a:gd name="connsiteY3364" fmla="*/ 1671723 h 1683492"/>
                <a:gd name="connsiteX3365" fmla="*/ 1007793 w 1526442"/>
                <a:gd name="connsiteY3365" fmla="*/ 1127548 h 1683492"/>
                <a:gd name="connsiteX3366" fmla="*/ 1009866 w 1526442"/>
                <a:gd name="connsiteY3366" fmla="*/ 1129176 h 1683492"/>
                <a:gd name="connsiteX3367" fmla="*/ 1018204 w 1526442"/>
                <a:gd name="connsiteY3367" fmla="*/ 1129176 h 1683492"/>
                <a:gd name="connsiteX3368" fmla="*/ 1034881 w 1526442"/>
                <a:gd name="connsiteY3368" fmla="*/ 1125920 h 1683492"/>
                <a:gd name="connsiteX3369" fmla="*/ 1049683 w 1526442"/>
                <a:gd name="connsiteY3369" fmla="*/ 1129176 h 1683492"/>
                <a:gd name="connsiteX3370" fmla="*/ 1053877 w 1526442"/>
                <a:gd name="connsiteY3370" fmla="*/ 1124242 h 1683492"/>
                <a:gd name="connsiteX3371" fmla="*/ 1062216 w 1526442"/>
                <a:gd name="connsiteY3371" fmla="*/ 1122614 h 1683492"/>
                <a:gd name="connsiteX3372" fmla="*/ 1068433 w 1526442"/>
                <a:gd name="connsiteY3372" fmla="*/ 1127548 h 1683492"/>
                <a:gd name="connsiteX3373" fmla="*/ 1076771 w 1526442"/>
                <a:gd name="connsiteY3373" fmla="*/ 1124341 h 1683492"/>
                <a:gd name="connsiteX3374" fmla="*/ 1080916 w 1526442"/>
                <a:gd name="connsiteY3374" fmla="*/ 1125920 h 1683492"/>
                <a:gd name="connsiteX3375" fmla="*/ 1089254 w 1526442"/>
                <a:gd name="connsiteY3375" fmla="*/ 1119456 h 1683492"/>
                <a:gd name="connsiteX3376" fmla="*/ 1091327 w 1526442"/>
                <a:gd name="connsiteY3376" fmla="*/ 1103322 h 1683492"/>
                <a:gd name="connsiteX3377" fmla="*/ 1085110 w 1526442"/>
                <a:gd name="connsiteY3377" fmla="*/ 1098388 h 1683492"/>
                <a:gd name="connsiteX3378" fmla="*/ 1083037 w 1526442"/>
                <a:gd name="connsiteY3378" fmla="*/ 1093454 h 1683492"/>
                <a:gd name="connsiteX3379" fmla="*/ 1076377 w 1526442"/>
                <a:gd name="connsiteY3379" fmla="*/ 1093454 h 1683492"/>
                <a:gd name="connsiteX3380" fmla="*/ 1055555 w 1526442"/>
                <a:gd name="connsiteY3380" fmla="*/ 1101496 h 1683492"/>
                <a:gd name="connsiteX3381" fmla="*/ 1036805 w 1526442"/>
                <a:gd name="connsiteY3381" fmla="*/ 1103125 h 1683492"/>
                <a:gd name="connsiteX3382" fmla="*/ 1030539 w 1526442"/>
                <a:gd name="connsiteY3382" fmla="*/ 1108059 h 1683492"/>
                <a:gd name="connsiteX3383" fmla="*/ 1024322 w 1526442"/>
                <a:gd name="connsiteY3383" fmla="*/ 1111315 h 1683492"/>
                <a:gd name="connsiteX3384" fmla="*/ 1020128 w 1526442"/>
                <a:gd name="connsiteY3384" fmla="*/ 1117779 h 1683492"/>
                <a:gd name="connsiteX3385" fmla="*/ 1011840 w 1526442"/>
                <a:gd name="connsiteY3385" fmla="*/ 1119358 h 1683492"/>
                <a:gd name="connsiteX3386" fmla="*/ 1011840 w 1526442"/>
                <a:gd name="connsiteY3386" fmla="*/ 1122614 h 1683492"/>
                <a:gd name="connsiteX3387" fmla="*/ 468503 w 1526442"/>
                <a:gd name="connsiteY3387" fmla="*/ 1628254 h 1683492"/>
                <a:gd name="connsiteX3388" fmla="*/ 474720 w 1526442"/>
                <a:gd name="connsiteY3388" fmla="*/ 1631510 h 1683492"/>
                <a:gd name="connsiteX3389" fmla="*/ 476792 w 1526442"/>
                <a:gd name="connsiteY3389" fmla="*/ 1629932 h 1683492"/>
                <a:gd name="connsiteX3390" fmla="*/ 476792 w 1526442"/>
                <a:gd name="connsiteY3390" fmla="*/ 1626675 h 1683492"/>
                <a:gd name="connsiteX3391" fmla="*/ 472648 w 1526442"/>
                <a:gd name="connsiteY3391" fmla="*/ 1626675 h 1683492"/>
                <a:gd name="connsiteX3392" fmla="*/ 505953 w 1526442"/>
                <a:gd name="connsiteY3392" fmla="*/ 1565296 h 1683492"/>
                <a:gd name="connsiteX3393" fmla="*/ 505953 w 1526442"/>
                <a:gd name="connsiteY3393" fmla="*/ 1568503 h 1683492"/>
                <a:gd name="connsiteX3394" fmla="*/ 508074 w 1526442"/>
                <a:gd name="connsiteY3394" fmla="*/ 1565296 h 1683492"/>
                <a:gd name="connsiteX3395" fmla="*/ 510147 w 1526442"/>
                <a:gd name="connsiteY3395" fmla="*/ 1558832 h 1683492"/>
                <a:gd name="connsiteX3396" fmla="*/ 508074 w 1526442"/>
                <a:gd name="connsiteY3396" fmla="*/ 1562089 h 1683492"/>
                <a:gd name="connsiteX3397" fmla="*/ 512219 w 1526442"/>
                <a:gd name="connsiteY3397" fmla="*/ 1560460 h 1683492"/>
                <a:gd name="connsiteX3398" fmla="*/ 512219 w 1526442"/>
                <a:gd name="connsiteY3398" fmla="*/ 1557204 h 1683492"/>
                <a:gd name="connsiteX3399" fmla="*/ 512219 w 1526442"/>
                <a:gd name="connsiteY3399" fmla="*/ 1547533 h 1683492"/>
                <a:gd name="connsiteX3400" fmla="*/ 512219 w 1526442"/>
                <a:gd name="connsiteY3400" fmla="*/ 1549161 h 1683492"/>
                <a:gd name="connsiteX3401" fmla="*/ 514291 w 1526442"/>
                <a:gd name="connsiteY3401" fmla="*/ 1549161 h 1683492"/>
                <a:gd name="connsiteX3402" fmla="*/ 516364 w 1526442"/>
                <a:gd name="connsiteY3402" fmla="*/ 1545905 h 1683492"/>
                <a:gd name="connsiteX3403" fmla="*/ 514291 w 1526442"/>
                <a:gd name="connsiteY3403" fmla="*/ 1547533 h 1683492"/>
                <a:gd name="connsiteX3404" fmla="*/ 505953 w 1526442"/>
                <a:gd name="connsiteY3404" fmla="*/ 1534606 h 1683492"/>
                <a:gd name="connsiteX3405" fmla="*/ 508074 w 1526442"/>
                <a:gd name="connsiteY3405" fmla="*/ 1537862 h 1683492"/>
                <a:gd name="connsiteX3406" fmla="*/ 512219 w 1526442"/>
                <a:gd name="connsiteY3406" fmla="*/ 1537862 h 1683492"/>
                <a:gd name="connsiteX3407" fmla="*/ 514291 w 1526442"/>
                <a:gd name="connsiteY3407" fmla="*/ 1541069 h 1683492"/>
                <a:gd name="connsiteX3408" fmla="*/ 522630 w 1526442"/>
                <a:gd name="connsiteY3408" fmla="*/ 1539441 h 1683492"/>
                <a:gd name="connsiteX3409" fmla="*/ 522630 w 1526442"/>
                <a:gd name="connsiteY3409" fmla="*/ 1537862 h 1683492"/>
                <a:gd name="connsiteX3410" fmla="*/ 518485 w 1526442"/>
                <a:gd name="connsiteY3410" fmla="*/ 1536185 h 1683492"/>
                <a:gd name="connsiteX3411" fmla="*/ 512219 w 1526442"/>
                <a:gd name="connsiteY3411" fmla="*/ 1536185 h 1683492"/>
                <a:gd name="connsiteX3412" fmla="*/ 510147 w 1526442"/>
                <a:gd name="connsiteY3412" fmla="*/ 1532978 h 1683492"/>
                <a:gd name="connsiteX3413" fmla="*/ 537185 w 1526442"/>
                <a:gd name="connsiteY3413" fmla="*/ 1531349 h 1683492"/>
                <a:gd name="connsiteX3414" fmla="*/ 539307 w 1526442"/>
                <a:gd name="connsiteY3414" fmla="*/ 1528142 h 1683492"/>
                <a:gd name="connsiteX3415" fmla="*/ 539307 w 1526442"/>
                <a:gd name="connsiteY3415" fmla="*/ 1524886 h 1683492"/>
                <a:gd name="connsiteX3416" fmla="*/ 537185 w 1526442"/>
                <a:gd name="connsiteY3416" fmla="*/ 1526563 h 1683492"/>
                <a:gd name="connsiteX3417" fmla="*/ 533041 w 1526442"/>
                <a:gd name="connsiteY3417" fmla="*/ 1492617 h 1683492"/>
                <a:gd name="connsiteX3418" fmla="*/ 533041 w 1526442"/>
                <a:gd name="connsiteY3418" fmla="*/ 1494098 h 1683492"/>
                <a:gd name="connsiteX3419" fmla="*/ 539307 w 1526442"/>
                <a:gd name="connsiteY3419" fmla="*/ 1499032 h 1683492"/>
                <a:gd name="connsiteX3420" fmla="*/ 545524 w 1526442"/>
                <a:gd name="connsiteY3420" fmla="*/ 1502239 h 1683492"/>
                <a:gd name="connsiteX3421" fmla="*/ 547596 w 1526442"/>
                <a:gd name="connsiteY3421" fmla="*/ 1503867 h 1683492"/>
                <a:gd name="connsiteX3422" fmla="*/ 549718 w 1526442"/>
                <a:gd name="connsiteY3422" fmla="*/ 1502239 h 1683492"/>
                <a:gd name="connsiteX3423" fmla="*/ 547596 w 1526442"/>
                <a:gd name="connsiteY3423" fmla="*/ 1499032 h 1683492"/>
                <a:gd name="connsiteX3424" fmla="*/ 539307 w 1526442"/>
                <a:gd name="connsiteY3424" fmla="*/ 1495775 h 1683492"/>
                <a:gd name="connsiteX3425" fmla="*/ 537185 w 1526442"/>
                <a:gd name="connsiteY3425" fmla="*/ 1492568 h 1683492"/>
                <a:gd name="connsiteX3426" fmla="*/ 578829 w 1526442"/>
                <a:gd name="connsiteY3426" fmla="*/ 1421518 h 1683492"/>
                <a:gd name="connsiteX3427" fmla="*/ 580950 w 1526442"/>
                <a:gd name="connsiteY3427" fmla="*/ 1426452 h 1683492"/>
                <a:gd name="connsiteX3428" fmla="*/ 582973 w 1526442"/>
                <a:gd name="connsiteY3428" fmla="*/ 1431386 h 1683492"/>
                <a:gd name="connsiteX3429" fmla="*/ 582973 w 1526442"/>
                <a:gd name="connsiteY3429" fmla="*/ 1437850 h 1683492"/>
                <a:gd name="connsiteX3430" fmla="*/ 585095 w 1526442"/>
                <a:gd name="connsiteY3430" fmla="*/ 1442784 h 1683492"/>
                <a:gd name="connsiteX3431" fmla="*/ 589239 w 1526442"/>
                <a:gd name="connsiteY3431" fmla="*/ 1444363 h 1683492"/>
                <a:gd name="connsiteX3432" fmla="*/ 587167 w 1526442"/>
                <a:gd name="connsiteY3432" fmla="*/ 1437948 h 1683492"/>
                <a:gd name="connsiteX3433" fmla="*/ 589239 w 1526442"/>
                <a:gd name="connsiteY3433" fmla="*/ 1431485 h 1683492"/>
                <a:gd name="connsiteX3434" fmla="*/ 585095 w 1526442"/>
                <a:gd name="connsiteY3434" fmla="*/ 1428228 h 1683492"/>
                <a:gd name="connsiteX3435" fmla="*/ 582973 w 1526442"/>
                <a:gd name="connsiteY3435" fmla="*/ 1421765 h 1683492"/>
                <a:gd name="connsiteX3436" fmla="*/ 580950 w 1526442"/>
                <a:gd name="connsiteY3436" fmla="*/ 1420186 h 1683492"/>
                <a:gd name="connsiteX3437" fmla="*/ 614205 w 1526442"/>
                <a:gd name="connsiteY3437" fmla="*/ 1403755 h 1683492"/>
                <a:gd name="connsiteX3438" fmla="*/ 614205 w 1526442"/>
                <a:gd name="connsiteY3438" fmla="*/ 1405285 h 1683492"/>
                <a:gd name="connsiteX3439" fmla="*/ 618400 w 1526442"/>
                <a:gd name="connsiteY3439" fmla="*/ 1406913 h 1683492"/>
                <a:gd name="connsiteX3440" fmla="*/ 618400 w 1526442"/>
                <a:gd name="connsiteY3440" fmla="*/ 1405285 h 1683492"/>
                <a:gd name="connsiteX3441" fmla="*/ 616327 w 1526442"/>
                <a:gd name="connsiteY3441" fmla="*/ 1402078 h 1683492"/>
                <a:gd name="connsiteX3442" fmla="*/ 622593 w 1526442"/>
                <a:gd name="connsiteY3442" fmla="*/ 1395713 h 1683492"/>
                <a:gd name="connsiteX3443" fmla="*/ 624616 w 1526442"/>
                <a:gd name="connsiteY3443" fmla="*/ 1398920 h 1683492"/>
                <a:gd name="connsiteX3444" fmla="*/ 626738 w 1526442"/>
                <a:gd name="connsiteY3444" fmla="*/ 1395713 h 1683492"/>
                <a:gd name="connsiteX3445" fmla="*/ 624616 w 1526442"/>
                <a:gd name="connsiteY3445" fmla="*/ 1394035 h 1683492"/>
                <a:gd name="connsiteX3446" fmla="*/ 680864 w 1526442"/>
                <a:gd name="connsiteY3446" fmla="*/ 1390779 h 1683492"/>
                <a:gd name="connsiteX3447" fmla="*/ 685058 w 1526442"/>
                <a:gd name="connsiteY3447" fmla="*/ 1387572 h 1683492"/>
                <a:gd name="connsiteX3448" fmla="*/ 691275 w 1526442"/>
                <a:gd name="connsiteY3448" fmla="*/ 1389200 h 1683492"/>
                <a:gd name="connsiteX3449" fmla="*/ 691275 w 1526442"/>
                <a:gd name="connsiteY3449" fmla="*/ 1385943 h 1683492"/>
                <a:gd name="connsiteX3450" fmla="*/ 687130 w 1526442"/>
                <a:gd name="connsiteY3450" fmla="*/ 1379480 h 1683492"/>
                <a:gd name="connsiteX3451" fmla="*/ 685058 w 1526442"/>
                <a:gd name="connsiteY3451" fmla="*/ 1377901 h 1683492"/>
                <a:gd name="connsiteX3452" fmla="*/ 682986 w 1526442"/>
                <a:gd name="connsiteY3452" fmla="*/ 1374645 h 1683492"/>
                <a:gd name="connsiteX3453" fmla="*/ 678792 w 1526442"/>
                <a:gd name="connsiteY3453" fmla="*/ 1374645 h 1683492"/>
                <a:gd name="connsiteX3454" fmla="*/ 674647 w 1526442"/>
                <a:gd name="connsiteY3454" fmla="*/ 1377901 h 1683492"/>
                <a:gd name="connsiteX3455" fmla="*/ 672575 w 1526442"/>
                <a:gd name="connsiteY3455" fmla="*/ 1382835 h 1683492"/>
                <a:gd name="connsiteX3456" fmla="*/ 672575 w 1526442"/>
                <a:gd name="connsiteY3456" fmla="*/ 1384463 h 1683492"/>
                <a:gd name="connsiteX3457" fmla="*/ 676720 w 1526442"/>
                <a:gd name="connsiteY3457" fmla="*/ 1387670 h 1683492"/>
                <a:gd name="connsiteX3458" fmla="*/ 678792 w 1526442"/>
                <a:gd name="connsiteY3458" fmla="*/ 1390877 h 1683492"/>
                <a:gd name="connsiteX3459" fmla="*/ 703807 w 1526442"/>
                <a:gd name="connsiteY3459" fmla="*/ 1389200 h 1683492"/>
                <a:gd name="connsiteX3460" fmla="*/ 701686 w 1526442"/>
                <a:gd name="connsiteY3460" fmla="*/ 1384266 h 1683492"/>
                <a:gd name="connsiteX3461" fmla="*/ 703807 w 1526442"/>
                <a:gd name="connsiteY3461" fmla="*/ 1382638 h 1683492"/>
                <a:gd name="connsiteX3462" fmla="*/ 699614 w 1526442"/>
                <a:gd name="connsiteY3462" fmla="*/ 1384266 h 1683492"/>
                <a:gd name="connsiteX3463" fmla="*/ 699614 w 1526442"/>
                <a:gd name="connsiteY3463" fmla="*/ 1387473 h 1683492"/>
                <a:gd name="connsiteX3464" fmla="*/ 701686 w 1526442"/>
                <a:gd name="connsiteY3464" fmla="*/ 1390680 h 1683492"/>
                <a:gd name="connsiteX3465" fmla="*/ 1130651 w 1526442"/>
                <a:gd name="connsiteY3465" fmla="*/ 1184092 h 1683492"/>
                <a:gd name="connsiteX3466" fmla="*/ 1132723 w 1526442"/>
                <a:gd name="connsiteY3466" fmla="*/ 1184092 h 1683492"/>
                <a:gd name="connsiteX3467" fmla="*/ 1136917 w 1526442"/>
                <a:gd name="connsiteY3467" fmla="*/ 1182513 h 1683492"/>
                <a:gd name="connsiteX3468" fmla="*/ 1134845 w 1526442"/>
                <a:gd name="connsiteY3468" fmla="*/ 1179257 h 1683492"/>
                <a:gd name="connsiteX3469" fmla="*/ 1130651 w 1526442"/>
                <a:gd name="connsiteY3469" fmla="*/ 1180836 h 1683492"/>
                <a:gd name="connsiteX3470" fmla="*/ 1053631 w 1526442"/>
                <a:gd name="connsiteY3470" fmla="*/ 1130805 h 1683492"/>
                <a:gd name="connsiteX3471" fmla="*/ 1057775 w 1526442"/>
                <a:gd name="connsiteY3471" fmla="*/ 1132383 h 1683492"/>
                <a:gd name="connsiteX3472" fmla="*/ 1061969 w 1526442"/>
                <a:gd name="connsiteY3472" fmla="*/ 1130805 h 1683492"/>
                <a:gd name="connsiteX3473" fmla="*/ 1061969 w 1526442"/>
                <a:gd name="connsiteY3473" fmla="*/ 1128979 h 1683492"/>
                <a:gd name="connsiteX3474" fmla="*/ 1057775 w 1526442"/>
                <a:gd name="connsiteY3474" fmla="*/ 1127351 h 1683492"/>
                <a:gd name="connsiteX3475" fmla="*/ 1022398 w 1526442"/>
                <a:gd name="connsiteY3475" fmla="*/ 1106578 h 1683492"/>
                <a:gd name="connsiteX3476" fmla="*/ 1024470 w 1526442"/>
                <a:gd name="connsiteY3476" fmla="*/ 1106578 h 1683492"/>
                <a:gd name="connsiteX3477" fmla="*/ 1028615 w 1526442"/>
                <a:gd name="connsiteY3477" fmla="*/ 1104950 h 1683492"/>
                <a:gd name="connsiteX3478" fmla="*/ 1030687 w 1526442"/>
                <a:gd name="connsiteY3478" fmla="*/ 1101694 h 1683492"/>
                <a:gd name="connsiteX3479" fmla="*/ 1026543 w 1526442"/>
                <a:gd name="connsiteY3479" fmla="*/ 1103322 h 1683492"/>
                <a:gd name="connsiteX3480" fmla="*/ 1086935 w 1526442"/>
                <a:gd name="connsiteY3480" fmla="*/ 1090395 h 1683492"/>
                <a:gd name="connsiteX3481" fmla="*/ 1086935 w 1526442"/>
                <a:gd name="connsiteY3481" fmla="*/ 1093651 h 1683492"/>
                <a:gd name="connsiteX3482" fmla="*/ 1091080 w 1526442"/>
                <a:gd name="connsiteY3482" fmla="*/ 1096858 h 1683492"/>
                <a:gd name="connsiteX3483" fmla="*/ 1093202 w 1526442"/>
                <a:gd name="connsiteY3483" fmla="*/ 1093651 h 1683492"/>
                <a:gd name="connsiteX3484" fmla="*/ 1091080 w 1526442"/>
                <a:gd name="connsiteY3484" fmla="*/ 1090395 h 1683492"/>
                <a:gd name="connsiteX3485" fmla="*/ 1089008 w 1526442"/>
                <a:gd name="connsiteY3485" fmla="*/ 1088816 h 1683492"/>
                <a:gd name="connsiteX3486" fmla="*/ 1130651 w 1526442"/>
                <a:gd name="connsiteY3486" fmla="*/ 972471 h 1683492"/>
                <a:gd name="connsiteX3487" fmla="*/ 1130651 w 1526442"/>
                <a:gd name="connsiteY3487" fmla="*/ 977405 h 1683492"/>
                <a:gd name="connsiteX3488" fmla="*/ 1132723 w 1526442"/>
                <a:gd name="connsiteY3488" fmla="*/ 978984 h 1683492"/>
                <a:gd name="connsiteX3489" fmla="*/ 1132723 w 1526442"/>
                <a:gd name="connsiteY3489" fmla="*/ 983918 h 1683492"/>
                <a:gd name="connsiteX3490" fmla="*/ 1136917 w 1526442"/>
                <a:gd name="connsiteY3490" fmla="*/ 991961 h 1683492"/>
                <a:gd name="connsiteX3491" fmla="*/ 1141062 w 1526442"/>
                <a:gd name="connsiteY3491" fmla="*/ 998424 h 1683492"/>
                <a:gd name="connsiteX3492" fmla="*/ 1149400 w 1526442"/>
                <a:gd name="connsiteY3492" fmla="*/ 1000053 h 1683492"/>
                <a:gd name="connsiteX3493" fmla="*/ 1157739 w 1526442"/>
                <a:gd name="connsiteY3493" fmla="*/ 1004987 h 1683492"/>
                <a:gd name="connsiteX3494" fmla="*/ 1163956 w 1526442"/>
                <a:gd name="connsiteY3494" fmla="*/ 1013078 h 1683492"/>
                <a:gd name="connsiteX3495" fmla="*/ 1170271 w 1526442"/>
                <a:gd name="connsiteY3495" fmla="*/ 1014707 h 1683492"/>
                <a:gd name="connsiteX3496" fmla="*/ 1174416 w 1526442"/>
                <a:gd name="connsiteY3496" fmla="*/ 1016286 h 1683492"/>
                <a:gd name="connsiteX3497" fmla="*/ 1176488 w 1526442"/>
                <a:gd name="connsiteY3497" fmla="*/ 1019542 h 1683492"/>
                <a:gd name="connsiteX3498" fmla="*/ 1182705 w 1526442"/>
                <a:gd name="connsiteY3498" fmla="*/ 1021170 h 1683492"/>
                <a:gd name="connsiteX3499" fmla="*/ 1184826 w 1526442"/>
                <a:gd name="connsiteY3499" fmla="*/ 1019542 h 1683492"/>
                <a:gd name="connsiteX3500" fmla="*/ 1184826 w 1526442"/>
                <a:gd name="connsiteY3500" fmla="*/ 1014608 h 1683492"/>
                <a:gd name="connsiteX3501" fmla="*/ 1188971 w 1526442"/>
                <a:gd name="connsiteY3501" fmla="*/ 1012980 h 1683492"/>
                <a:gd name="connsiteX3502" fmla="*/ 1182705 w 1526442"/>
                <a:gd name="connsiteY3502" fmla="*/ 1006516 h 1683492"/>
                <a:gd name="connsiteX3503" fmla="*/ 1176488 w 1526442"/>
                <a:gd name="connsiteY3503" fmla="*/ 1004888 h 1683492"/>
                <a:gd name="connsiteX3504" fmla="*/ 1172294 w 1526442"/>
                <a:gd name="connsiteY3504" fmla="*/ 1004888 h 1683492"/>
                <a:gd name="connsiteX3505" fmla="*/ 1168149 w 1526442"/>
                <a:gd name="connsiteY3505" fmla="*/ 999954 h 1683492"/>
                <a:gd name="connsiteX3506" fmla="*/ 1172294 w 1526442"/>
                <a:gd name="connsiteY3506" fmla="*/ 998326 h 1683492"/>
                <a:gd name="connsiteX3507" fmla="*/ 1174416 w 1526442"/>
                <a:gd name="connsiteY3507" fmla="*/ 995119 h 1683492"/>
                <a:gd name="connsiteX3508" fmla="*/ 1178560 w 1526442"/>
                <a:gd name="connsiteY3508" fmla="*/ 996697 h 1683492"/>
                <a:gd name="connsiteX3509" fmla="*/ 1182705 w 1526442"/>
                <a:gd name="connsiteY3509" fmla="*/ 999954 h 1683492"/>
                <a:gd name="connsiteX3510" fmla="*/ 1191093 w 1526442"/>
                <a:gd name="connsiteY3510" fmla="*/ 1001582 h 1683492"/>
                <a:gd name="connsiteX3511" fmla="*/ 1193116 w 1526442"/>
                <a:gd name="connsiteY3511" fmla="*/ 1003161 h 1683492"/>
                <a:gd name="connsiteX3512" fmla="*/ 1195237 w 1526442"/>
                <a:gd name="connsiteY3512" fmla="*/ 1001582 h 1683492"/>
                <a:gd name="connsiteX3513" fmla="*/ 1191093 w 1526442"/>
                <a:gd name="connsiteY3513" fmla="*/ 995119 h 1683492"/>
                <a:gd name="connsiteX3514" fmla="*/ 1174416 w 1526442"/>
                <a:gd name="connsiteY3514" fmla="*/ 988655 h 1683492"/>
                <a:gd name="connsiteX3515" fmla="*/ 1168149 w 1526442"/>
                <a:gd name="connsiteY3515" fmla="*/ 978787 h 1683492"/>
                <a:gd name="connsiteX3516" fmla="*/ 1166078 w 1526442"/>
                <a:gd name="connsiteY3516" fmla="*/ 977208 h 1683492"/>
                <a:gd name="connsiteX3517" fmla="*/ 1159861 w 1526442"/>
                <a:gd name="connsiteY3517" fmla="*/ 977208 h 1683492"/>
                <a:gd name="connsiteX3518" fmla="*/ 1151472 w 1526442"/>
                <a:gd name="connsiteY3518" fmla="*/ 972274 h 1683492"/>
                <a:gd name="connsiteX3519" fmla="*/ 1145453 w 1526442"/>
                <a:gd name="connsiteY3519" fmla="*/ 972274 h 1683492"/>
                <a:gd name="connsiteX3520" fmla="*/ 1141259 w 1526442"/>
                <a:gd name="connsiteY3520" fmla="*/ 970695 h 1683492"/>
                <a:gd name="connsiteX3521" fmla="*/ 1135042 w 1526442"/>
                <a:gd name="connsiteY3521" fmla="*/ 970695 h 1683492"/>
                <a:gd name="connsiteX3522" fmla="*/ 1114023 w 1526442"/>
                <a:gd name="connsiteY3522" fmla="*/ 975728 h 1683492"/>
                <a:gd name="connsiteX3523" fmla="*/ 1118168 w 1526442"/>
                <a:gd name="connsiteY3523" fmla="*/ 974100 h 1683492"/>
                <a:gd name="connsiteX3524" fmla="*/ 1118168 w 1526442"/>
                <a:gd name="connsiteY3524" fmla="*/ 971090 h 1683492"/>
                <a:gd name="connsiteX3525" fmla="*/ 1120240 w 1526442"/>
                <a:gd name="connsiteY3525" fmla="*/ 966156 h 1683492"/>
                <a:gd name="connsiteX3526" fmla="*/ 1111901 w 1526442"/>
                <a:gd name="connsiteY3526" fmla="*/ 971090 h 1683492"/>
                <a:gd name="connsiteX3527" fmla="*/ 1111901 w 1526442"/>
                <a:gd name="connsiteY3527" fmla="*/ 974297 h 1683492"/>
                <a:gd name="connsiteX3528" fmla="*/ 1130651 w 1526442"/>
                <a:gd name="connsiteY3528" fmla="*/ 964429 h 1683492"/>
                <a:gd name="connsiteX3529" fmla="*/ 1134845 w 1526442"/>
                <a:gd name="connsiteY3529" fmla="*/ 967636 h 1683492"/>
                <a:gd name="connsiteX3530" fmla="*/ 1145453 w 1526442"/>
                <a:gd name="connsiteY3530" fmla="*/ 967636 h 1683492"/>
                <a:gd name="connsiteX3531" fmla="*/ 1153742 w 1526442"/>
                <a:gd name="connsiteY3531" fmla="*/ 970893 h 1683492"/>
                <a:gd name="connsiteX3532" fmla="*/ 1162081 w 1526442"/>
                <a:gd name="connsiteY3532" fmla="*/ 972471 h 1683492"/>
                <a:gd name="connsiteX3533" fmla="*/ 1170468 w 1526442"/>
                <a:gd name="connsiteY3533" fmla="*/ 975728 h 1683492"/>
                <a:gd name="connsiteX3534" fmla="*/ 1176685 w 1526442"/>
                <a:gd name="connsiteY3534" fmla="*/ 975728 h 1683492"/>
                <a:gd name="connsiteX3535" fmla="*/ 1178758 w 1526442"/>
                <a:gd name="connsiteY3535" fmla="*/ 977356 h 1683492"/>
                <a:gd name="connsiteX3536" fmla="*/ 1178758 w 1526442"/>
                <a:gd name="connsiteY3536" fmla="*/ 980563 h 1683492"/>
                <a:gd name="connsiteX3537" fmla="*/ 1182902 w 1526442"/>
                <a:gd name="connsiteY3537" fmla="*/ 983820 h 1683492"/>
                <a:gd name="connsiteX3538" fmla="*/ 1189168 w 1526442"/>
                <a:gd name="connsiteY3538" fmla="*/ 982191 h 1683492"/>
                <a:gd name="connsiteX3539" fmla="*/ 1193313 w 1526442"/>
                <a:gd name="connsiteY3539" fmla="*/ 983820 h 1683492"/>
                <a:gd name="connsiteX3540" fmla="*/ 1199579 w 1526442"/>
                <a:gd name="connsiteY3540" fmla="*/ 983820 h 1683492"/>
                <a:gd name="connsiteX3541" fmla="*/ 1199579 w 1526442"/>
                <a:gd name="connsiteY3541" fmla="*/ 980563 h 1683492"/>
                <a:gd name="connsiteX3542" fmla="*/ 1197507 w 1526442"/>
                <a:gd name="connsiteY3542" fmla="*/ 977356 h 1683492"/>
                <a:gd name="connsiteX3543" fmla="*/ 1197507 w 1526442"/>
                <a:gd name="connsiteY3543" fmla="*/ 972422 h 1683492"/>
                <a:gd name="connsiteX3544" fmla="*/ 1201652 w 1526442"/>
                <a:gd name="connsiteY3544" fmla="*/ 970843 h 1683492"/>
                <a:gd name="connsiteX3545" fmla="*/ 1193313 w 1526442"/>
                <a:gd name="connsiteY3545" fmla="*/ 965909 h 1683492"/>
                <a:gd name="connsiteX3546" fmla="*/ 1187096 w 1526442"/>
                <a:gd name="connsiteY3546" fmla="*/ 965909 h 1683492"/>
                <a:gd name="connsiteX3547" fmla="*/ 1178758 w 1526442"/>
                <a:gd name="connsiteY3547" fmla="*/ 960975 h 1683492"/>
                <a:gd name="connsiteX3548" fmla="*/ 1170123 w 1526442"/>
                <a:gd name="connsiteY3548" fmla="*/ 960975 h 1683492"/>
                <a:gd name="connsiteX3549" fmla="*/ 1157591 w 1526442"/>
                <a:gd name="connsiteY3549" fmla="*/ 962603 h 1683492"/>
                <a:gd name="connsiteX3550" fmla="*/ 1149252 w 1526442"/>
                <a:gd name="connsiteY3550" fmla="*/ 960975 h 1683492"/>
                <a:gd name="connsiteX3551" fmla="*/ 1138842 w 1526442"/>
                <a:gd name="connsiteY3551" fmla="*/ 962603 h 1683492"/>
                <a:gd name="connsiteX3552" fmla="*/ 1132575 w 1526442"/>
                <a:gd name="connsiteY3552" fmla="*/ 960975 h 1683492"/>
                <a:gd name="connsiteX3553" fmla="*/ 1101491 w 1526442"/>
                <a:gd name="connsiteY3553" fmla="*/ 943410 h 1683492"/>
                <a:gd name="connsiteX3554" fmla="*/ 1105684 w 1526442"/>
                <a:gd name="connsiteY3554" fmla="*/ 948344 h 1683492"/>
                <a:gd name="connsiteX3555" fmla="*/ 1116096 w 1526442"/>
                <a:gd name="connsiteY3555" fmla="*/ 948344 h 1683492"/>
                <a:gd name="connsiteX3556" fmla="*/ 1124434 w 1526442"/>
                <a:gd name="connsiteY3556" fmla="*/ 956436 h 1683492"/>
                <a:gd name="connsiteX3557" fmla="*/ 1134845 w 1526442"/>
                <a:gd name="connsiteY3557" fmla="*/ 959692 h 1683492"/>
                <a:gd name="connsiteX3558" fmla="*/ 1147328 w 1526442"/>
                <a:gd name="connsiteY3558" fmla="*/ 958064 h 1683492"/>
                <a:gd name="connsiteX3559" fmla="*/ 1168149 w 1526442"/>
                <a:gd name="connsiteY3559" fmla="*/ 959692 h 1683492"/>
                <a:gd name="connsiteX3560" fmla="*/ 1178560 w 1526442"/>
                <a:gd name="connsiteY3560" fmla="*/ 958064 h 1683492"/>
                <a:gd name="connsiteX3561" fmla="*/ 1176488 w 1526442"/>
                <a:gd name="connsiteY3561" fmla="*/ 954808 h 1683492"/>
                <a:gd name="connsiteX3562" fmla="*/ 1168149 w 1526442"/>
                <a:gd name="connsiteY3562" fmla="*/ 953229 h 1683492"/>
                <a:gd name="connsiteX3563" fmla="*/ 1151472 w 1526442"/>
                <a:gd name="connsiteY3563" fmla="*/ 953229 h 1683492"/>
                <a:gd name="connsiteX3564" fmla="*/ 1145453 w 1526442"/>
                <a:gd name="connsiteY3564" fmla="*/ 951354 h 1683492"/>
                <a:gd name="connsiteX3565" fmla="*/ 1135042 w 1526442"/>
                <a:gd name="connsiteY3565" fmla="*/ 946420 h 1683492"/>
                <a:gd name="connsiteX3566" fmla="*/ 1128776 w 1526442"/>
                <a:gd name="connsiteY3566" fmla="*/ 946420 h 1683492"/>
                <a:gd name="connsiteX3567" fmla="*/ 1124632 w 1526442"/>
                <a:gd name="connsiteY3567" fmla="*/ 941486 h 1683492"/>
                <a:gd name="connsiteX3568" fmla="*/ 1128776 w 1526442"/>
                <a:gd name="connsiteY3568" fmla="*/ 939907 h 1683492"/>
                <a:gd name="connsiteX3569" fmla="*/ 1132920 w 1526442"/>
                <a:gd name="connsiteY3569" fmla="*/ 939907 h 1683492"/>
                <a:gd name="connsiteX3570" fmla="*/ 1145453 w 1526442"/>
                <a:gd name="connsiteY3570" fmla="*/ 946370 h 1683492"/>
                <a:gd name="connsiteX3571" fmla="*/ 1157936 w 1526442"/>
                <a:gd name="connsiteY3571" fmla="*/ 949577 h 1683492"/>
                <a:gd name="connsiteX3572" fmla="*/ 1162081 w 1526442"/>
                <a:gd name="connsiteY3572" fmla="*/ 947949 h 1683492"/>
                <a:gd name="connsiteX3573" fmla="*/ 1157936 w 1526442"/>
                <a:gd name="connsiteY3573" fmla="*/ 944742 h 1683492"/>
                <a:gd name="connsiteX3574" fmla="*/ 1143134 w 1526442"/>
                <a:gd name="connsiteY3574" fmla="*/ 934874 h 1683492"/>
                <a:gd name="connsiteX3575" fmla="*/ 1120240 w 1526442"/>
                <a:gd name="connsiteY3575" fmla="*/ 931667 h 1683492"/>
                <a:gd name="connsiteX3576" fmla="*/ 1116096 w 1526442"/>
                <a:gd name="connsiteY3576" fmla="*/ 933295 h 1683492"/>
                <a:gd name="connsiteX3577" fmla="*/ 1116096 w 1526442"/>
                <a:gd name="connsiteY3577" fmla="*/ 936502 h 1683492"/>
                <a:gd name="connsiteX3578" fmla="*/ 1105684 w 1526442"/>
                <a:gd name="connsiteY3578" fmla="*/ 939759 h 1683492"/>
                <a:gd name="connsiteX3579" fmla="*/ 1211865 w 1526442"/>
                <a:gd name="connsiteY3579" fmla="*/ 958212 h 1683492"/>
                <a:gd name="connsiteX3580" fmla="*/ 1216059 w 1526442"/>
                <a:gd name="connsiteY3580" fmla="*/ 961419 h 1683492"/>
                <a:gd name="connsiteX3581" fmla="*/ 1220204 w 1526442"/>
                <a:gd name="connsiteY3581" fmla="*/ 958212 h 1683492"/>
                <a:gd name="connsiteX3582" fmla="*/ 1218131 w 1526442"/>
                <a:gd name="connsiteY3582" fmla="*/ 954956 h 1683492"/>
                <a:gd name="connsiteX3583" fmla="*/ 1213937 w 1526442"/>
                <a:gd name="connsiteY3583" fmla="*/ 956584 h 1683492"/>
                <a:gd name="connsiteX3584" fmla="*/ 1218131 w 1526442"/>
                <a:gd name="connsiteY3584" fmla="*/ 866143 h 1683492"/>
                <a:gd name="connsiteX3585" fmla="*/ 1211865 w 1526442"/>
                <a:gd name="connsiteY3585" fmla="*/ 876011 h 1683492"/>
                <a:gd name="connsiteX3586" fmla="*/ 1213937 w 1526442"/>
                <a:gd name="connsiteY3586" fmla="*/ 880945 h 1683492"/>
                <a:gd name="connsiteX3587" fmla="*/ 1218131 w 1526442"/>
                <a:gd name="connsiteY3587" fmla="*/ 884201 h 1683492"/>
                <a:gd name="connsiteX3588" fmla="*/ 1222276 w 1526442"/>
                <a:gd name="connsiteY3588" fmla="*/ 885830 h 1683492"/>
                <a:gd name="connsiteX3589" fmla="*/ 1230614 w 1526442"/>
                <a:gd name="connsiteY3589" fmla="*/ 890764 h 1683492"/>
                <a:gd name="connsiteX3590" fmla="*/ 1234759 w 1526442"/>
                <a:gd name="connsiteY3590" fmla="*/ 890764 h 1683492"/>
                <a:gd name="connsiteX3591" fmla="*/ 1243098 w 1526442"/>
                <a:gd name="connsiteY3591" fmla="*/ 892392 h 1683492"/>
                <a:gd name="connsiteX3592" fmla="*/ 1249364 w 1526442"/>
                <a:gd name="connsiteY3592" fmla="*/ 889136 h 1683492"/>
                <a:gd name="connsiteX3593" fmla="*/ 1249364 w 1526442"/>
                <a:gd name="connsiteY3593" fmla="*/ 882277 h 1683492"/>
                <a:gd name="connsiteX3594" fmla="*/ 1253508 w 1526442"/>
                <a:gd name="connsiteY3594" fmla="*/ 879070 h 1683492"/>
                <a:gd name="connsiteX3595" fmla="*/ 1253508 w 1526442"/>
                <a:gd name="connsiteY3595" fmla="*/ 870978 h 1683492"/>
                <a:gd name="connsiteX3596" fmla="*/ 1238706 w 1526442"/>
                <a:gd name="connsiteY3596" fmla="*/ 862886 h 1683492"/>
                <a:gd name="connsiteX3597" fmla="*/ 1228296 w 1526442"/>
                <a:gd name="connsiteY3597" fmla="*/ 864515 h 1683492"/>
                <a:gd name="connsiteX3598" fmla="*/ 1286813 w 1526442"/>
                <a:gd name="connsiteY3598" fmla="*/ 861209 h 1683492"/>
                <a:gd name="connsiteX3599" fmla="*/ 1291007 w 1526442"/>
                <a:gd name="connsiteY3599" fmla="*/ 861209 h 1683492"/>
                <a:gd name="connsiteX3600" fmla="*/ 1295151 w 1526442"/>
                <a:gd name="connsiteY3600" fmla="*/ 856275 h 1683492"/>
                <a:gd name="connsiteX3601" fmla="*/ 1295151 w 1526442"/>
                <a:gd name="connsiteY3601" fmla="*/ 853068 h 1683492"/>
                <a:gd name="connsiteX3602" fmla="*/ 1291007 w 1526442"/>
                <a:gd name="connsiteY3602" fmla="*/ 853068 h 1683492"/>
                <a:gd name="connsiteX3603" fmla="*/ 1286813 w 1526442"/>
                <a:gd name="connsiteY3603" fmla="*/ 856275 h 1683492"/>
                <a:gd name="connsiteX3604" fmla="*/ 1255580 w 1526442"/>
                <a:gd name="connsiteY3604" fmla="*/ 827263 h 1683492"/>
                <a:gd name="connsiteX3605" fmla="*/ 1253508 w 1526442"/>
                <a:gd name="connsiteY3605" fmla="*/ 830519 h 1683492"/>
                <a:gd name="connsiteX3606" fmla="*/ 1253508 w 1526442"/>
                <a:gd name="connsiteY3606" fmla="*/ 838562 h 1683492"/>
                <a:gd name="connsiteX3607" fmla="*/ 1255580 w 1526442"/>
                <a:gd name="connsiteY3607" fmla="*/ 843496 h 1683492"/>
                <a:gd name="connsiteX3608" fmla="*/ 1261847 w 1526442"/>
                <a:gd name="connsiteY3608" fmla="*/ 846752 h 1683492"/>
                <a:gd name="connsiteX3609" fmla="*/ 1265992 w 1526442"/>
                <a:gd name="connsiteY3609" fmla="*/ 845124 h 1683492"/>
                <a:gd name="connsiteX3610" fmla="*/ 1265992 w 1526442"/>
                <a:gd name="connsiteY3610" fmla="*/ 840190 h 1683492"/>
                <a:gd name="connsiteX3611" fmla="*/ 1268113 w 1526442"/>
                <a:gd name="connsiteY3611" fmla="*/ 836933 h 1683492"/>
                <a:gd name="connsiteX3612" fmla="*/ 1268113 w 1526442"/>
                <a:gd name="connsiteY3612" fmla="*/ 830519 h 1683492"/>
                <a:gd name="connsiteX3613" fmla="*/ 1261847 w 1526442"/>
                <a:gd name="connsiteY3613" fmla="*/ 827263 h 1683492"/>
                <a:gd name="connsiteX3614" fmla="*/ 1301418 w 1526442"/>
                <a:gd name="connsiteY3614" fmla="*/ 803037 h 1683492"/>
                <a:gd name="connsiteX3615" fmla="*/ 1301418 w 1526442"/>
                <a:gd name="connsiteY3615" fmla="*/ 815964 h 1683492"/>
                <a:gd name="connsiteX3616" fmla="*/ 1297224 w 1526442"/>
                <a:gd name="connsiteY3616" fmla="*/ 822427 h 1683492"/>
                <a:gd name="connsiteX3617" fmla="*/ 1299345 w 1526442"/>
                <a:gd name="connsiteY3617" fmla="*/ 827361 h 1683492"/>
                <a:gd name="connsiteX3618" fmla="*/ 1305562 w 1526442"/>
                <a:gd name="connsiteY3618" fmla="*/ 832295 h 1683492"/>
                <a:gd name="connsiteX3619" fmla="*/ 1313950 w 1526442"/>
                <a:gd name="connsiteY3619" fmla="*/ 830717 h 1683492"/>
                <a:gd name="connsiteX3620" fmla="*/ 1322239 w 1526442"/>
                <a:gd name="connsiteY3620" fmla="*/ 830717 h 1683492"/>
                <a:gd name="connsiteX3621" fmla="*/ 1324361 w 1526442"/>
                <a:gd name="connsiteY3621" fmla="*/ 829088 h 1683492"/>
                <a:gd name="connsiteX3622" fmla="*/ 1326384 w 1526442"/>
                <a:gd name="connsiteY3622" fmla="*/ 834022 h 1683492"/>
                <a:gd name="connsiteX3623" fmla="*/ 1330578 w 1526442"/>
                <a:gd name="connsiteY3623" fmla="*/ 835651 h 1683492"/>
                <a:gd name="connsiteX3624" fmla="*/ 1334772 w 1526442"/>
                <a:gd name="connsiteY3624" fmla="*/ 829187 h 1683492"/>
                <a:gd name="connsiteX3625" fmla="*/ 1336795 w 1526442"/>
                <a:gd name="connsiteY3625" fmla="*/ 827559 h 1683492"/>
                <a:gd name="connsiteX3626" fmla="*/ 1336795 w 1526442"/>
                <a:gd name="connsiteY3626" fmla="*/ 817691 h 1683492"/>
                <a:gd name="connsiteX3627" fmla="*/ 1332650 w 1526442"/>
                <a:gd name="connsiteY3627" fmla="*/ 816062 h 1683492"/>
                <a:gd name="connsiteX3628" fmla="*/ 1330578 w 1526442"/>
                <a:gd name="connsiteY3628" fmla="*/ 819270 h 1683492"/>
                <a:gd name="connsiteX3629" fmla="*/ 1330578 w 1526442"/>
                <a:gd name="connsiteY3629" fmla="*/ 824204 h 1683492"/>
                <a:gd name="connsiteX3630" fmla="*/ 1326384 w 1526442"/>
                <a:gd name="connsiteY3630" fmla="*/ 820947 h 1683492"/>
                <a:gd name="connsiteX3631" fmla="*/ 1322239 w 1526442"/>
                <a:gd name="connsiteY3631" fmla="*/ 816013 h 1683492"/>
                <a:gd name="connsiteX3632" fmla="*/ 1322239 w 1526442"/>
                <a:gd name="connsiteY3632" fmla="*/ 811079 h 1683492"/>
                <a:gd name="connsiteX3633" fmla="*/ 1318095 w 1526442"/>
                <a:gd name="connsiteY3633" fmla="*/ 806145 h 1683492"/>
                <a:gd name="connsiteX3634" fmla="*/ 1322239 w 1526442"/>
                <a:gd name="connsiteY3634" fmla="*/ 802938 h 1683492"/>
                <a:gd name="connsiteX3635" fmla="*/ 1324361 w 1526442"/>
                <a:gd name="connsiteY3635" fmla="*/ 802938 h 1683492"/>
                <a:gd name="connsiteX3636" fmla="*/ 1324361 w 1526442"/>
                <a:gd name="connsiteY3636" fmla="*/ 798004 h 1683492"/>
                <a:gd name="connsiteX3637" fmla="*/ 1320167 w 1526442"/>
                <a:gd name="connsiteY3637" fmla="*/ 796376 h 1683492"/>
                <a:gd name="connsiteX3638" fmla="*/ 1313950 w 1526442"/>
                <a:gd name="connsiteY3638" fmla="*/ 801310 h 1683492"/>
                <a:gd name="connsiteX3639" fmla="*/ 1309757 w 1526442"/>
                <a:gd name="connsiteY3639" fmla="*/ 799731 h 1683492"/>
                <a:gd name="connsiteX3640" fmla="*/ 1305562 w 1526442"/>
                <a:gd name="connsiteY3640" fmla="*/ 801310 h 1683492"/>
                <a:gd name="connsiteX3641" fmla="*/ 1309757 w 1526442"/>
                <a:gd name="connsiteY3641" fmla="*/ 704356 h 1683492"/>
                <a:gd name="connsiteX3642" fmla="*/ 1303540 w 1526442"/>
                <a:gd name="connsiteY3642" fmla="*/ 707612 h 1683492"/>
                <a:gd name="connsiteX3643" fmla="*/ 1305562 w 1526442"/>
                <a:gd name="connsiteY3643" fmla="*/ 710820 h 1683492"/>
                <a:gd name="connsiteX3644" fmla="*/ 1309757 w 1526442"/>
                <a:gd name="connsiteY3644" fmla="*/ 714027 h 1683492"/>
                <a:gd name="connsiteX3645" fmla="*/ 1309757 w 1526442"/>
                <a:gd name="connsiteY3645" fmla="*/ 717283 h 1683492"/>
                <a:gd name="connsiteX3646" fmla="*/ 1307635 w 1526442"/>
                <a:gd name="connsiteY3646" fmla="*/ 720490 h 1683492"/>
                <a:gd name="connsiteX3647" fmla="*/ 1305562 w 1526442"/>
                <a:gd name="connsiteY3647" fmla="*/ 728582 h 1683492"/>
                <a:gd name="connsiteX3648" fmla="*/ 1311828 w 1526442"/>
                <a:gd name="connsiteY3648" fmla="*/ 735046 h 1683492"/>
                <a:gd name="connsiteX3649" fmla="*/ 1311828 w 1526442"/>
                <a:gd name="connsiteY3649" fmla="*/ 744914 h 1683492"/>
                <a:gd name="connsiteX3650" fmla="*/ 1309757 w 1526442"/>
                <a:gd name="connsiteY3650" fmla="*/ 751377 h 1683492"/>
                <a:gd name="connsiteX3651" fmla="*/ 1309757 w 1526442"/>
                <a:gd name="connsiteY3651" fmla="*/ 757841 h 1683492"/>
                <a:gd name="connsiteX3652" fmla="*/ 1311828 w 1526442"/>
                <a:gd name="connsiteY3652" fmla="*/ 761097 h 1683492"/>
                <a:gd name="connsiteX3653" fmla="*/ 1313950 w 1526442"/>
                <a:gd name="connsiteY3653" fmla="*/ 757841 h 1683492"/>
                <a:gd name="connsiteX3654" fmla="*/ 1315974 w 1526442"/>
                <a:gd name="connsiteY3654" fmla="*/ 749798 h 1683492"/>
                <a:gd name="connsiteX3655" fmla="*/ 1318095 w 1526442"/>
                <a:gd name="connsiteY3655" fmla="*/ 746542 h 1683492"/>
                <a:gd name="connsiteX3656" fmla="*/ 1318095 w 1526442"/>
                <a:gd name="connsiteY3656" fmla="*/ 738450 h 1683492"/>
                <a:gd name="connsiteX3657" fmla="*/ 1313950 w 1526442"/>
                <a:gd name="connsiteY3657" fmla="*/ 730408 h 1683492"/>
                <a:gd name="connsiteX3658" fmla="*/ 1311828 w 1526442"/>
                <a:gd name="connsiteY3658" fmla="*/ 719109 h 1683492"/>
                <a:gd name="connsiteX3659" fmla="*/ 1313950 w 1526442"/>
                <a:gd name="connsiteY3659" fmla="*/ 712645 h 1683492"/>
                <a:gd name="connsiteX3660" fmla="*/ 1313950 w 1526442"/>
                <a:gd name="connsiteY3660" fmla="*/ 707711 h 1683492"/>
                <a:gd name="connsiteX3661" fmla="*/ 1255482 w 1526442"/>
                <a:gd name="connsiteY3661" fmla="*/ 718911 h 1683492"/>
                <a:gd name="connsiteX3662" fmla="*/ 1253410 w 1526442"/>
                <a:gd name="connsiteY3662" fmla="*/ 723845 h 1683492"/>
                <a:gd name="connsiteX3663" fmla="*/ 1255482 w 1526442"/>
                <a:gd name="connsiteY3663" fmla="*/ 725474 h 1683492"/>
                <a:gd name="connsiteX3664" fmla="*/ 1263870 w 1526442"/>
                <a:gd name="connsiteY3664" fmla="*/ 725474 h 1683492"/>
                <a:gd name="connsiteX3665" fmla="*/ 1268064 w 1526442"/>
                <a:gd name="connsiteY3665" fmla="*/ 722217 h 1683492"/>
                <a:gd name="connsiteX3666" fmla="*/ 1263870 w 1526442"/>
                <a:gd name="connsiteY3666" fmla="*/ 719010 h 1683492"/>
                <a:gd name="connsiteX3667" fmla="*/ 1257653 w 1526442"/>
                <a:gd name="connsiteY3667" fmla="*/ 717382 h 1683492"/>
                <a:gd name="connsiteX3668" fmla="*/ 1247193 w 1526442"/>
                <a:gd name="connsiteY3668" fmla="*/ 709043 h 1683492"/>
                <a:gd name="connsiteX3669" fmla="*/ 1249265 w 1526442"/>
                <a:gd name="connsiteY3669" fmla="*/ 713977 h 1683492"/>
                <a:gd name="connsiteX3670" fmla="*/ 1253410 w 1526442"/>
                <a:gd name="connsiteY3670" fmla="*/ 712398 h 1683492"/>
                <a:gd name="connsiteX3671" fmla="*/ 1251337 w 1526442"/>
                <a:gd name="connsiteY3671" fmla="*/ 707464 h 1683492"/>
                <a:gd name="connsiteX3672" fmla="*/ 1249265 w 1526442"/>
                <a:gd name="connsiteY3672" fmla="*/ 707464 h 1683492"/>
                <a:gd name="connsiteX3673" fmla="*/ 1293030 w 1526442"/>
                <a:gd name="connsiteY3673" fmla="*/ 607303 h 1683492"/>
                <a:gd name="connsiteX3674" fmla="*/ 1299247 w 1526442"/>
                <a:gd name="connsiteY3674" fmla="*/ 613767 h 1683492"/>
                <a:gd name="connsiteX3675" fmla="*/ 1303441 w 1526442"/>
                <a:gd name="connsiteY3675" fmla="*/ 616974 h 1683492"/>
                <a:gd name="connsiteX3676" fmla="*/ 1307536 w 1526442"/>
                <a:gd name="connsiteY3676" fmla="*/ 618602 h 1683492"/>
                <a:gd name="connsiteX3677" fmla="*/ 1307536 w 1526442"/>
                <a:gd name="connsiteY3677" fmla="*/ 613668 h 1683492"/>
                <a:gd name="connsiteX3678" fmla="*/ 1303441 w 1526442"/>
                <a:gd name="connsiteY3678" fmla="*/ 612040 h 1683492"/>
                <a:gd name="connsiteX3679" fmla="*/ 1297125 w 1526442"/>
                <a:gd name="connsiteY3679" fmla="*/ 605577 h 1683492"/>
                <a:gd name="connsiteX3680" fmla="*/ 1295053 w 1526442"/>
                <a:gd name="connsiteY3680" fmla="*/ 605577 h 1683492"/>
                <a:gd name="connsiteX3681" fmla="*/ 1338818 w 1526442"/>
                <a:gd name="connsiteY3681" fmla="*/ 631530 h 1683492"/>
                <a:gd name="connsiteX3682" fmla="*/ 1340890 w 1526442"/>
                <a:gd name="connsiteY3682" fmla="*/ 634737 h 1683492"/>
                <a:gd name="connsiteX3683" fmla="*/ 1345084 w 1526442"/>
                <a:gd name="connsiteY3683" fmla="*/ 634737 h 1683492"/>
                <a:gd name="connsiteX3684" fmla="*/ 1349229 w 1526442"/>
                <a:gd name="connsiteY3684" fmla="*/ 631530 h 1683492"/>
                <a:gd name="connsiteX3685" fmla="*/ 1347107 w 1526442"/>
                <a:gd name="connsiteY3685" fmla="*/ 628273 h 1683492"/>
                <a:gd name="connsiteX3686" fmla="*/ 1347107 w 1526442"/>
                <a:gd name="connsiteY3686" fmla="*/ 621810 h 1683492"/>
                <a:gd name="connsiteX3687" fmla="*/ 1351301 w 1526442"/>
                <a:gd name="connsiteY3687" fmla="*/ 618602 h 1683492"/>
                <a:gd name="connsiteX3688" fmla="*/ 1351301 w 1526442"/>
                <a:gd name="connsiteY3688" fmla="*/ 612139 h 1683492"/>
                <a:gd name="connsiteX3689" fmla="*/ 1342963 w 1526442"/>
                <a:gd name="connsiteY3689" fmla="*/ 620231 h 1683492"/>
                <a:gd name="connsiteX3690" fmla="*/ 1342963 w 1526442"/>
                <a:gd name="connsiteY3690" fmla="*/ 625165 h 1683492"/>
                <a:gd name="connsiteX3691" fmla="*/ 1318144 w 1526442"/>
                <a:gd name="connsiteY3691" fmla="*/ 596103 h 1683492"/>
                <a:gd name="connsiteX3692" fmla="*/ 1320217 w 1526442"/>
                <a:gd name="connsiteY3692" fmla="*/ 597682 h 1683492"/>
                <a:gd name="connsiteX3693" fmla="*/ 1324411 w 1526442"/>
                <a:gd name="connsiteY3693" fmla="*/ 596103 h 1683492"/>
                <a:gd name="connsiteX3694" fmla="*/ 1326434 w 1526442"/>
                <a:gd name="connsiteY3694" fmla="*/ 589640 h 1683492"/>
                <a:gd name="connsiteX3695" fmla="*/ 1324411 w 1526442"/>
                <a:gd name="connsiteY3695" fmla="*/ 584706 h 1683492"/>
                <a:gd name="connsiteX3696" fmla="*/ 1322289 w 1526442"/>
                <a:gd name="connsiteY3696" fmla="*/ 587962 h 1683492"/>
                <a:gd name="connsiteX3697" fmla="*/ 1322289 w 1526442"/>
                <a:gd name="connsiteY3697" fmla="*/ 573456 h 1683492"/>
                <a:gd name="connsiteX3698" fmla="*/ 1322289 w 1526442"/>
                <a:gd name="connsiteY3698" fmla="*/ 575084 h 1683492"/>
                <a:gd name="connsiteX3699" fmla="*/ 1324411 w 1526442"/>
                <a:gd name="connsiteY3699" fmla="*/ 578341 h 1683492"/>
                <a:gd name="connsiteX3700" fmla="*/ 1326434 w 1526442"/>
                <a:gd name="connsiteY3700" fmla="*/ 576712 h 1683492"/>
                <a:gd name="connsiteX3701" fmla="*/ 1326434 w 1526442"/>
                <a:gd name="connsiteY3701" fmla="*/ 573456 h 1683492"/>
                <a:gd name="connsiteX3702" fmla="*/ 1353521 w 1526442"/>
                <a:gd name="connsiteY3702" fmla="*/ 507241 h 1683492"/>
                <a:gd name="connsiteX3703" fmla="*/ 1357666 w 1526442"/>
                <a:gd name="connsiteY3703" fmla="*/ 512175 h 1683492"/>
                <a:gd name="connsiteX3704" fmla="*/ 1357666 w 1526442"/>
                <a:gd name="connsiteY3704" fmla="*/ 515432 h 1683492"/>
                <a:gd name="connsiteX3705" fmla="*/ 1363932 w 1526442"/>
                <a:gd name="connsiteY3705" fmla="*/ 510498 h 1683492"/>
                <a:gd name="connsiteX3706" fmla="*/ 1368077 w 1526442"/>
                <a:gd name="connsiteY3706" fmla="*/ 504034 h 1683492"/>
                <a:gd name="connsiteX3707" fmla="*/ 1366053 w 1526442"/>
                <a:gd name="connsiteY3707" fmla="*/ 497571 h 1683492"/>
                <a:gd name="connsiteX3708" fmla="*/ 1368077 w 1526442"/>
                <a:gd name="connsiteY3708" fmla="*/ 492636 h 1683492"/>
                <a:gd name="connsiteX3709" fmla="*/ 1366053 w 1526442"/>
                <a:gd name="connsiteY3709" fmla="*/ 491058 h 1683492"/>
                <a:gd name="connsiteX3710" fmla="*/ 1361860 w 1526442"/>
                <a:gd name="connsiteY3710" fmla="*/ 492636 h 1683492"/>
                <a:gd name="connsiteX3711" fmla="*/ 1359787 w 1526442"/>
                <a:gd name="connsiteY3711" fmla="*/ 497571 h 1683492"/>
                <a:gd name="connsiteX3712" fmla="*/ 1332699 w 1526442"/>
                <a:gd name="connsiteY3712" fmla="*/ 416800 h 1683492"/>
                <a:gd name="connsiteX3713" fmla="*/ 1336844 w 1526442"/>
                <a:gd name="connsiteY3713" fmla="*/ 416800 h 1683492"/>
                <a:gd name="connsiteX3714" fmla="*/ 1338966 w 1526442"/>
                <a:gd name="connsiteY3714" fmla="*/ 413544 h 1683492"/>
                <a:gd name="connsiteX3715" fmla="*/ 1347255 w 1526442"/>
                <a:gd name="connsiteY3715" fmla="*/ 415172 h 1683492"/>
                <a:gd name="connsiteX3716" fmla="*/ 1351449 w 1526442"/>
                <a:gd name="connsiteY3716" fmla="*/ 410238 h 1683492"/>
                <a:gd name="connsiteX3717" fmla="*/ 1353521 w 1526442"/>
                <a:gd name="connsiteY3717" fmla="*/ 402146 h 1683492"/>
                <a:gd name="connsiteX3718" fmla="*/ 1347255 w 1526442"/>
                <a:gd name="connsiteY3718" fmla="*/ 398939 h 1683492"/>
                <a:gd name="connsiteX3719" fmla="*/ 1336844 w 1526442"/>
                <a:gd name="connsiteY3719" fmla="*/ 402146 h 1683492"/>
                <a:gd name="connsiteX3720" fmla="*/ 1332699 w 1526442"/>
                <a:gd name="connsiteY3720" fmla="*/ 410238 h 1683492"/>
                <a:gd name="connsiteX3721" fmla="*/ 1407697 w 1526442"/>
                <a:gd name="connsiteY3721" fmla="*/ 245589 h 1683492"/>
                <a:gd name="connsiteX3722" fmla="*/ 1409720 w 1526442"/>
                <a:gd name="connsiteY3722" fmla="*/ 242333 h 1683492"/>
                <a:gd name="connsiteX3723" fmla="*/ 1411891 w 1526442"/>
                <a:gd name="connsiteY3723" fmla="*/ 235919 h 1683492"/>
                <a:gd name="connsiteX3724" fmla="*/ 1409769 w 1526442"/>
                <a:gd name="connsiteY3724" fmla="*/ 226051 h 1683492"/>
                <a:gd name="connsiteX3725" fmla="*/ 1411891 w 1526442"/>
                <a:gd name="connsiteY3725" fmla="*/ 222794 h 1683492"/>
                <a:gd name="connsiteX3726" fmla="*/ 1409769 w 1526442"/>
                <a:gd name="connsiteY3726" fmla="*/ 216331 h 1683492"/>
                <a:gd name="connsiteX3727" fmla="*/ 1405625 w 1526442"/>
                <a:gd name="connsiteY3727" fmla="*/ 219587 h 1683492"/>
                <a:gd name="connsiteX3728" fmla="*/ 1403553 w 1526442"/>
                <a:gd name="connsiteY3728" fmla="*/ 222794 h 1683492"/>
                <a:gd name="connsiteX3729" fmla="*/ 1405625 w 1526442"/>
                <a:gd name="connsiteY3729" fmla="*/ 226051 h 1683492"/>
                <a:gd name="connsiteX3730" fmla="*/ 1405625 w 1526442"/>
                <a:gd name="connsiteY3730" fmla="*/ 230985 h 1683492"/>
                <a:gd name="connsiteX3731" fmla="*/ 1403553 w 1526442"/>
                <a:gd name="connsiteY3731" fmla="*/ 235919 h 1683492"/>
                <a:gd name="connsiteX3732" fmla="*/ 1386876 w 1526442"/>
                <a:gd name="connsiteY3732" fmla="*/ 264980 h 1683492"/>
                <a:gd name="connsiteX3733" fmla="*/ 1388898 w 1526442"/>
                <a:gd name="connsiteY3733" fmla="*/ 266559 h 1683492"/>
                <a:gd name="connsiteX3734" fmla="*/ 1391020 w 1526442"/>
                <a:gd name="connsiteY3734" fmla="*/ 261625 h 1683492"/>
                <a:gd name="connsiteX3735" fmla="*/ 1391020 w 1526442"/>
                <a:gd name="connsiteY3735" fmla="*/ 251757 h 1683492"/>
                <a:gd name="connsiteX3736" fmla="*/ 1388898 w 1526442"/>
                <a:gd name="connsiteY3736" fmla="*/ 248500 h 1683492"/>
                <a:gd name="connsiteX3737" fmla="*/ 1384754 w 1526442"/>
                <a:gd name="connsiteY3737" fmla="*/ 251757 h 1683492"/>
                <a:gd name="connsiteX3738" fmla="*/ 1382681 w 1526442"/>
                <a:gd name="connsiteY3738" fmla="*/ 258220 h 1683492"/>
                <a:gd name="connsiteX3739" fmla="*/ 1372073 w 1526442"/>
                <a:gd name="connsiteY3739" fmla="*/ 247168 h 1683492"/>
                <a:gd name="connsiteX3740" fmla="*/ 1376267 w 1526442"/>
                <a:gd name="connsiteY3740" fmla="*/ 250425 h 1683492"/>
                <a:gd name="connsiteX3741" fmla="*/ 1380412 w 1526442"/>
                <a:gd name="connsiteY3741" fmla="*/ 245491 h 1683492"/>
                <a:gd name="connsiteX3742" fmla="*/ 1382484 w 1526442"/>
                <a:gd name="connsiteY3742" fmla="*/ 239027 h 1683492"/>
                <a:gd name="connsiteX3743" fmla="*/ 1384556 w 1526442"/>
                <a:gd name="connsiteY3743" fmla="*/ 235771 h 1683492"/>
                <a:gd name="connsiteX3744" fmla="*/ 1384556 w 1526442"/>
                <a:gd name="connsiteY3744" fmla="*/ 230985 h 1683492"/>
                <a:gd name="connsiteX3745" fmla="*/ 1380412 w 1526442"/>
                <a:gd name="connsiteY3745" fmla="*/ 227777 h 1683492"/>
                <a:gd name="connsiteX3746" fmla="*/ 1376267 w 1526442"/>
                <a:gd name="connsiteY3746" fmla="*/ 229356 h 1683492"/>
                <a:gd name="connsiteX3747" fmla="*/ 1372419 w 1526442"/>
                <a:gd name="connsiteY3747" fmla="*/ 235919 h 1683492"/>
                <a:gd name="connsiteX3748" fmla="*/ 1374491 w 1526442"/>
                <a:gd name="connsiteY3748" fmla="*/ 240853 h 1683492"/>
                <a:gd name="connsiteX3749" fmla="*/ 995162 w 1526442"/>
                <a:gd name="connsiteY3749" fmla="*/ 19413 h 1683492"/>
                <a:gd name="connsiteX3750" fmla="*/ 997234 w 1526442"/>
                <a:gd name="connsiteY3750" fmla="*/ 21041 h 1683492"/>
                <a:gd name="connsiteX3751" fmla="*/ 999307 w 1526442"/>
                <a:gd name="connsiteY3751" fmla="*/ 17834 h 1683492"/>
                <a:gd name="connsiteX3752" fmla="*/ 999307 w 1526442"/>
                <a:gd name="connsiteY3752" fmla="*/ 12900 h 1683492"/>
                <a:gd name="connsiteX3753" fmla="*/ 997234 w 1526442"/>
                <a:gd name="connsiteY3753" fmla="*/ 9644 h 1683492"/>
                <a:gd name="connsiteX3754" fmla="*/ 993090 w 1526442"/>
                <a:gd name="connsiteY3754" fmla="*/ 9644 h 1683492"/>
                <a:gd name="connsiteX3755" fmla="*/ 991017 w 1526442"/>
                <a:gd name="connsiteY3755" fmla="*/ 14578 h 1683492"/>
                <a:gd name="connsiteX3756" fmla="*/ 995162 w 1526442"/>
                <a:gd name="connsiteY3756" fmla="*/ 30761 h 1683492"/>
                <a:gd name="connsiteX3757" fmla="*/ 997234 w 1526442"/>
                <a:gd name="connsiteY3757" fmla="*/ 32340 h 1683492"/>
                <a:gd name="connsiteX3758" fmla="*/ 1001429 w 1526442"/>
                <a:gd name="connsiteY3758" fmla="*/ 32340 h 1683492"/>
                <a:gd name="connsiteX3759" fmla="*/ 1005573 w 1526442"/>
                <a:gd name="connsiteY3759" fmla="*/ 29133 h 1683492"/>
                <a:gd name="connsiteX3760" fmla="*/ 1005573 w 1526442"/>
                <a:gd name="connsiteY3760" fmla="*/ 22719 h 1683492"/>
                <a:gd name="connsiteX3761" fmla="*/ 1001429 w 1526442"/>
                <a:gd name="connsiteY3761" fmla="*/ 24347 h 1683492"/>
                <a:gd name="connsiteX3762" fmla="*/ 995162 w 1526442"/>
                <a:gd name="connsiteY3762" fmla="*/ 25926 h 1683492"/>
                <a:gd name="connsiteX3763" fmla="*/ 966002 w 1526442"/>
                <a:gd name="connsiteY3763" fmla="*/ 30761 h 1683492"/>
                <a:gd name="connsiteX3764" fmla="*/ 970196 w 1526442"/>
                <a:gd name="connsiteY3764" fmla="*/ 38804 h 1683492"/>
                <a:gd name="connsiteX3765" fmla="*/ 972268 w 1526442"/>
                <a:gd name="connsiteY3765" fmla="*/ 42060 h 1683492"/>
                <a:gd name="connsiteX3766" fmla="*/ 976413 w 1526442"/>
                <a:gd name="connsiteY3766" fmla="*/ 42060 h 1683492"/>
                <a:gd name="connsiteX3767" fmla="*/ 980607 w 1526442"/>
                <a:gd name="connsiteY3767" fmla="*/ 37126 h 1683492"/>
                <a:gd name="connsiteX3768" fmla="*/ 982679 w 1526442"/>
                <a:gd name="connsiteY3768" fmla="*/ 35498 h 1683492"/>
                <a:gd name="connsiteX3769" fmla="*/ 974340 w 1526442"/>
                <a:gd name="connsiteY3769" fmla="*/ 27406 h 1683492"/>
                <a:gd name="connsiteX3770" fmla="*/ 972268 w 1526442"/>
                <a:gd name="connsiteY3770" fmla="*/ 24199 h 1683492"/>
                <a:gd name="connsiteX3771" fmla="*/ 970196 w 1526442"/>
                <a:gd name="connsiteY3771" fmla="*/ 19265 h 1683492"/>
                <a:gd name="connsiteX3772" fmla="*/ 966002 w 1526442"/>
                <a:gd name="connsiteY3772" fmla="*/ 22522 h 1683492"/>
                <a:gd name="connsiteX3773" fmla="*/ 966002 w 1526442"/>
                <a:gd name="connsiteY3773" fmla="*/ 27456 h 1683492"/>
                <a:gd name="connsiteX3774" fmla="*/ 963930 w 1526442"/>
                <a:gd name="connsiteY3774" fmla="*/ 27456 h 1683492"/>
                <a:gd name="connsiteX3775" fmla="*/ 947253 w 1526442"/>
                <a:gd name="connsiteY3775" fmla="*/ 37225 h 1683492"/>
                <a:gd name="connsiteX3776" fmla="*/ 947253 w 1526442"/>
                <a:gd name="connsiteY3776" fmla="*/ 42159 h 1683492"/>
                <a:gd name="connsiteX3777" fmla="*/ 949374 w 1526442"/>
                <a:gd name="connsiteY3777" fmla="*/ 43787 h 1683492"/>
                <a:gd name="connsiteX3778" fmla="*/ 953519 w 1526442"/>
                <a:gd name="connsiteY3778" fmla="*/ 42159 h 1683492"/>
                <a:gd name="connsiteX3779" fmla="*/ 953519 w 1526442"/>
                <a:gd name="connsiteY3779" fmla="*/ 38903 h 1683492"/>
                <a:gd name="connsiteX3780" fmla="*/ 947253 w 1526442"/>
                <a:gd name="connsiteY3780" fmla="*/ 35696 h 1683492"/>
                <a:gd name="connsiteX3781" fmla="*/ 839000 w 1526442"/>
                <a:gd name="connsiteY3781" fmla="*/ 61451 h 1683492"/>
                <a:gd name="connsiteX3782" fmla="*/ 841073 w 1526442"/>
                <a:gd name="connsiteY3782" fmla="*/ 67915 h 1683492"/>
                <a:gd name="connsiteX3783" fmla="*/ 847338 w 1526442"/>
                <a:gd name="connsiteY3783" fmla="*/ 69494 h 1683492"/>
                <a:gd name="connsiteX3784" fmla="*/ 855628 w 1526442"/>
                <a:gd name="connsiteY3784" fmla="*/ 77585 h 1683492"/>
                <a:gd name="connsiteX3785" fmla="*/ 861894 w 1526442"/>
                <a:gd name="connsiteY3785" fmla="*/ 79214 h 1683492"/>
                <a:gd name="connsiteX3786" fmla="*/ 863966 w 1526442"/>
                <a:gd name="connsiteY3786" fmla="*/ 72750 h 1683492"/>
                <a:gd name="connsiteX3787" fmla="*/ 863966 w 1526442"/>
                <a:gd name="connsiteY3787" fmla="*/ 66336 h 1683492"/>
                <a:gd name="connsiteX3788" fmla="*/ 866039 w 1526442"/>
                <a:gd name="connsiteY3788" fmla="*/ 64708 h 1683492"/>
                <a:gd name="connsiteX3789" fmla="*/ 866039 w 1526442"/>
                <a:gd name="connsiteY3789" fmla="*/ 59774 h 1683492"/>
                <a:gd name="connsiteX3790" fmla="*/ 859822 w 1526442"/>
                <a:gd name="connsiteY3790" fmla="*/ 59774 h 1683492"/>
                <a:gd name="connsiteX3791" fmla="*/ 853555 w 1526442"/>
                <a:gd name="connsiteY3791" fmla="*/ 51682 h 1683492"/>
                <a:gd name="connsiteX3792" fmla="*/ 849411 w 1526442"/>
                <a:gd name="connsiteY3792" fmla="*/ 50054 h 1683492"/>
                <a:gd name="connsiteX3793" fmla="*/ 847338 w 1526442"/>
                <a:gd name="connsiteY3793" fmla="*/ 53310 h 1683492"/>
                <a:gd name="connsiteX3794" fmla="*/ 847338 w 1526442"/>
                <a:gd name="connsiteY3794" fmla="*/ 59774 h 1683492"/>
                <a:gd name="connsiteX3795" fmla="*/ 849411 w 1526442"/>
                <a:gd name="connsiteY3795" fmla="*/ 61402 h 1683492"/>
                <a:gd name="connsiteX3796" fmla="*/ 847338 w 1526442"/>
                <a:gd name="connsiteY3796" fmla="*/ 64609 h 1683492"/>
                <a:gd name="connsiteX3797" fmla="*/ 843145 w 1526442"/>
                <a:gd name="connsiteY3797" fmla="*/ 61402 h 1683492"/>
                <a:gd name="connsiteX3798" fmla="*/ 830661 w 1526442"/>
                <a:gd name="connsiteY3798" fmla="*/ 66385 h 1683492"/>
                <a:gd name="connsiteX3799" fmla="*/ 836928 w 1526442"/>
                <a:gd name="connsiteY3799" fmla="*/ 76253 h 1683492"/>
                <a:gd name="connsiteX3800" fmla="*/ 839000 w 1526442"/>
                <a:gd name="connsiteY3800" fmla="*/ 77882 h 1683492"/>
                <a:gd name="connsiteX3801" fmla="*/ 839000 w 1526442"/>
                <a:gd name="connsiteY3801" fmla="*/ 69543 h 1683492"/>
                <a:gd name="connsiteX3802" fmla="*/ 834806 w 1526442"/>
                <a:gd name="connsiteY3802" fmla="*/ 66336 h 1683492"/>
                <a:gd name="connsiteX3803" fmla="*/ 797357 w 1526442"/>
                <a:gd name="connsiteY3803" fmla="*/ 66385 h 1683492"/>
                <a:gd name="connsiteX3804" fmla="*/ 797357 w 1526442"/>
                <a:gd name="connsiteY3804" fmla="*/ 69592 h 1683492"/>
                <a:gd name="connsiteX3805" fmla="*/ 805695 w 1526442"/>
                <a:gd name="connsiteY3805" fmla="*/ 71221 h 1683492"/>
                <a:gd name="connsiteX3806" fmla="*/ 809840 w 1526442"/>
                <a:gd name="connsiteY3806" fmla="*/ 74477 h 1683492"/>
                <a:gd name="connsiteX3807" fmla="*/ 813984 w 1526442"/>
                <a:gd name="connsiteY3807" fmla="*/ 74477 h 1683492"/>
                <a:gd name="connsiteX3808" fmla="*/ 813984 w 1526442"/>
                <a:gd name="connsiteY3808" fmla="*/ 71221 h 1683492"/>
                <a:gd name="connsiteX3809" fmla="*/ 809939 w 1526442"/>
                <a:gd name="connsiteY3809" fmla="*/ 68161 h 1683492"/>
                <a:gd name="connsiteX3810" fmla="*/ 807866 w 1526442"/>
                <a:gd name="connsiteY3810" fmla="*/ 66533 h 1683492"/>
                <a:gd name="connsiteX3811" fmla="*/ 805794 w 1526442"/>
                <a:gd name="connsiteY3811" fmla="*/ 61599 h 1683492"/>
                <a:gd name="connsiteX3812" fmla="*/ 801600 w 1526442"/>
                <a:gd name="connsiteY3812" fmla="*/ 59971 h 1683492"/>
                <a:gd name="connsiteX3813" fmla="*/ 797455 w 1526442"/>
                <a:gd name="connsiteY3813" fmla="*/ 63178 h 1683492"/>
                <a:gd name="connsiteX3814" fmla="*/ 774463 w 1526442"/>
                <a:gd name="connsiteY3814" fmla="*/ 122929 h 1683492"/>
                <a:gd name="connsiteX3815" fmla="*/ 778608 w 1526442"/>
                <a:gd name="connsiteY3815" fmla="*/ 124508 h 1683492"/>
                <a:gd name="connsiteX3816" fmla="*/ 782752 w 1526442"/>
                <a:gd name="connsiteY3816" fmla="*/ 122929 h 1683492"/>
                <a:gd name="connsiteX3817" fmla="*/ 784874 w 1526442"/>
                <a:gd name="connsiteY3817" fmla="*/ 119673 h 1683492"/>
                <a:gd name="connsiteX3818" fmla="*/ 780679 w 1526442"/>
                <a:gd name="connsiteY3818" fmla="*/ 113209 h 1683492"/>
                <a:gd name="connsiteX3819" fmla="*/ 778608 w 1526442"/>
                <a:gd name="connsiteY3819" fmla="*/ 106746 h 1683492"/>
                <a:gd name="connsiteX3820" fmla="*/ 772341 w 1526442"/>
                <a:gd name="connsiteY3820" fmla="*/ 101812 h 1683492"/>
                <a:gd name="connsiteX3821" fmla="*/ 768147 w 1526442"/>
                <a:gd name="connsiteY3821" fmla="*/ 101812 h 1683492"/>
                <a:gd name="connsiteX3822" fmla="*/ 768147 w 1526442"/>
                <a:gd name="connsiteY3822" fmla="*/ 108275 h 1683492"/>
                <a:gd name="connsiteX3823" fmla="*/ 772341 w 1526442"/>
                <a:gd name="connsiteY3823" fmla="*/ 113209 h 1683492"/>
                <a:gd name="connsiteX3824" fmla="*/ 772341 w 1526442"/>
                <a:gd name="connsiteY3824" fmla="*/ 119673 h 1683492"/>
                <a:gd name="connsiteX3825" fmla="*/ 785268 w 1526442"/>
                <a:gd name="connsiteY3825" fmla="*/ 182631 h 1683492"/>
                <a:gd name="connsiteX3826" fmla="*/ 795679 w 1526442"/>
                <a:gd name="connsiteY3826" fmla="*/ 182631 h 1683492"/>
                <a:gd name="connsiteX3827" fmla="*/ 797752 w 1526442"/>
                <a:gd name="connsiteY3827" fmla="*/ 179375 h 1683492"/>
                <a:gd name="connsiteX3828" fmla="*/ 795679 w 1526442"/>
                <a:gd name="connsiteY3828" fmla="*/ 172960 h 1683492"/>
                <a:gd name="connsiteX3829" fmla="*/ 791485 w 1526442"/>
                <a:gd name="connsiteY3829" fmla="*/ 171332 h 1683492"/>
                <a:gd name="connsiteX3830" fmla="*/ 791485 w 1526442"/>
                <a:gd name="connsiteY3830" fmla="*/ 166398 h 1683492"/>
                <a:gd name="connsiteX3831" fmla="*/ 787341 w 1526442"/>
                <a:gd name="connsiteY3831" fmla="*/ 164770 h 1683492"/>
                <a:gd name="connsiteX3832" fmla="*/ 781075 w 1526442"/>
                <a:gd name="connsiteY3832" fmla="*/ 164770 h 1683492"/>
                <a:gd name="connsiteX3833" fmla="*/ 779002 w 1526442"/>
                <a:gd name="connsiteY3833" fmla="*/ 171233 h 1683492"/>
                <a:gd name="connsiteX3834" fmla="*/ 779002 w 1526442"/>
                <a:gd name="connsiteY3834" fmla="*/ 176167 h 1683492"/>
                <a:gd name="connsiteX3835" fmla="*/ 783147 w 1526442"/>
                <a:gd name="connsiteY3835" fmla="*/ 181102 h 1683492"/>
                <a:gd name="connsiteX3836" fmla="*/ 785268 w 1526442"/>
                <a:gd name="connsiteY3836" fmla="*/ 189095 h 1683492"/>
                <a:gd name="connsiteX3837" fmla="*/ 785268 w 1526442"/>
                <a:gd name="connsiteY3837" fmla="*/ 205229 h 1683492"/>
                <a:gd name="connsiteX3838" fmla="*/ 795679 w 1526442"/>
                <a:gd name="connsiteY3838" fmla="*/ 211693 h 1683492"/>
                <a:gd name="connsiteX3839" fmla="*/ 799824 w 1526442"/>
                <a:gd name="connsiteY3839" fmla="*/ 208485 h 1683492"/>
                <a:gd name="connsiteX3840" fmla="*/ 799824 w 1526442"/>
                <a:gd name="connsiteY3840" fmla="*/ 195558 h 1683492"/>
                <a:gd name="connsiteX3841" fmla="*/ 793558 w 1526442"/>
                <a:gd name="connsiteY3841" fmla="*/ 189095 h 1683492"/>
                <a:gd name="connsiteX3842" fmla="*/ 785268 w 1526442"/>
                <a:gd name="connsiteY3842" fmla="*/ 189095 h 1683492"/>
                <a:gd name="connsiteX3843" fmla="*/ 685305 w 1526442"/>
                <a:gd name="connsiteY3843" fmla="*/ 130922 h 1683492"/>
                <a:gd name="connsiteX3844" fmla="*/ 687377 w 1526442"/>
                <a:gd name="connsiteY3844" fmla="*/ 127715 h 1683492"/>
                <a:gd name="connsiteX3845" fmla="*/ 685305 w 1526442"/>
                <a:gd name="connsiteY3845" fmla="*/ 126087 h 1683492"/>
                <a:gd name="connsiteX3846" fmla="*/ 685305 w 1526442"/>
                <a:gd name="connsiteY3846" fmla="*/ 121153 h 1683492"/>
                <a:gd name="connsiteX3847" fmla="*/ 683232 w 1526442"/>
                <a:gd name="connsiteY3847" fmla="*/ 119525 h 1683492"/>
                <a:gd name="connsiteX3848" fmla="*/ 681111 w 1526442"/>
                <a:gd name="connsiteY3848" fmla="*/ 121153 h 1683492"/>
                <a:gd name="connsiteX3849" fmla="*/ 679039 w 1526442"/>
                <a:gd name="connsiteY3849" fmla="*/ 126087 h 1683492"/>
                <a:gd name="connsiteX3850" fmla="*/ 670503 w 1526442"/>
                <a:gd name="connsiteY3850" fmla="*/ 169704 h 1683492"/>
                <a:gd name="connsiteX3851" fmla="*/ 672625 w 1526442"/>
                <a:gd name="connsiteY3851" fmla="*/ 171332 h 1683492"/>
                <a:gd name="connsiteX3852" fmla="*/ 676769 w 1526442"/>
                <a:gd name="connsiteY3852" fmla="*/ 164869 h 1683492"/>
                <a:gd name="connsiteX3853" fmla="*/ 674697 w 1526442"/>
                <a:gd name="connsiteY3853" fmla="*/ 156777 h 1683492"/>
                <a:gd name="connsiteX3854" fmla="*/ 666358 w 1526442"/>
                <a:gd name="connsiteY3854" fmla="*/ 150313 h 1683492"/>
                <a:gd name="connsiteX3855" fmla="*/ 666358 w 1526442"/>
                <a:gd name="connsiteY3855" fmla="*/ 139014 h 1683492"/>
                <a:gd name="connsiteX3856" fmla="*/ 670503 w 1526442"/>
                <a:gd name="connsiteY3856" fmla="*/ 130922 h 1683492"/>
                <a:gd name="connsiteX3857" fmla="*/ 670503 w 1526442"/>
                <a:gd name="connsiteY3857" fmla="*/ 121054 h 1683492"/>
                <a:gd name="connsiteX3858" fmla="*/ 666358 w 1526442"/>
                <a:gd name="connsiteY3858" fmla="*/ 114591 h 1683492"/>
                <a:gd name="connsiteX3859" fmla="*/ 666358 w 1526442"/>
                <a:gd name="connsiteY3859" fmla="*/ 104723 h 1683492"/>
                <a:gd name="connsiteX3860" fmla="*/ 664286 w 1526442"/>
                <a:gd name="connsiteY3860" fmla="*/ 101466 h 1683492"/>
                <a:gd name="connsiteX3861" fmla="*/ 658019 w 1526442"/>
                <a:gd name="connsiteY3861" fmla="*/ 107930 h 1683492"/>
                <a:gd name="connsiteX3862" fmla="*/ 658019 w 1526442"/>
                <a:gd name="connsiteY3862" fmla="*/ 122732 h 1683492"/>
                <a:gd name="connsiteX3863" fmla="*/ 653875 w 1526442"/>
                <a:gd name="connsiteY3863" fmla="*/ 129195 h 1683492"/>
                <a:gd name="connsiteX3864" fmla="*/ 653875 w 1526442"/>
                <a:gd name="connsiteY3864" fmla="*/ 137238 h 1683492"/>
                <a:gd name="connsiteX3865" fmla="*/ 662214 w 1526442"/>
                <a:gd name="connsiteY3865" fmla="*/ 150165 h 1683492"/>
                <a:gd name="connsiteX3866" fmla="*/ 664286 w 1526442"/>
                <a:gd name="connsiteY3866" fmla="*/ 160033 h 1683492"/>
                <a:gd name="connsiteX3867" fmla="*/ 281059 w 1526442"/>
                <a:gd name="connsiteY3867" fmla="*/ 219784 h 1683492"/>
                <a:gd name="connsiteX3868" fmla="*/ 283181 w 1526442"/>
                <a:gd name="connsiteY3868" fmla="*/ 222991 h 1683492"/>
                <a:gd name="connsiteX3869" fmla="*/ 285204 w 1526442"/>
                <a:gd name="connsiteY3869" fmla="*/ 227925 h 1683492"/>
                <a:gd name="connsiteX3870" fmla="*/ 291470 w 1526442"/>
                <a:gd name="connsiteY3870" fmla="*/ 229504 h 1683492"/>
                <a:gd name="connsiteX3871" fmla="*/ 291470 w 1526442"/>
                <a:gd name="connsiteY3871" fmla="*/ 222991 h 1683492"/>
                <a:gd name="connsiteX3872" fmla="*/ 287326 w 1526442"/>
                <a:gd name="connsiteY3872" fmla="*/ 218057 h 1683492"/>
                <a:gd name="connsiteX3873" fmla="*/ 35295 w 1526442"/>
                <a:gd name="connsiteY3873" fmla="*/ 489528 h 1683492"/>
                <a:gd name="connsiteX3874" fmla="*/ 39440 w 1526442"/>
                <a:gd name="connsiteY3874" fmla="*/ 494462 h 1683492"/>
                <a:gd name="connsiteX3875" fmla="*/ 47778 w 1526442"/>
                <a:gd name="connsiteY3875" fmla="*/ 496090 h 1683492"/>
                <a:gd name="connsiteX3876" fmla="*/ 54044 w 1526442"/>
                <a:gd name="connsiteY3876" fmla="*/ 497719 h 1683492"/>
                <a:gd name="connsiteX3877" fmla="*/ 60261 w 1526442"/>
                <a:gd name="connsiteY3877" fmla="*/ 497719 h 1683492"/>
                <a:gd name="connsiteX3878" fmla="*/ 56117 w 1526442"/>
                <a:gd name="connsiteY3878" fmla="*/ 492784 h 1683492"/>
                <a:gd name="connsiteX3879" fmla="*/ 51972 w 1526442"/>
                <a:gd name="connsiteY3879" fmla="*/ 492784 h 1683492"/>
                <a:gd name="connsiteX3880" fmla="*/ 45706 w 1526442"/>
                <a:gd name="connsiteY3880" fmla="*/ 486321 h 1683492"/>
                <a:gd name="connsiteX3881" fmla="*/ 39440 w 1526442"/>
                <a:gd name="connsiteY3881" fmla="*/ 487949 h 1683492"/>
                <a:gd name="connsiteX3882" fmla="*/ 35295 w 1526442"/>
                <a:gd name="connsiteY3882" fmla="*/ 486321 h 1683492"/>
                <a:gd name="connsiteX3883" fmla="*/ -82 w 1526442"/>
                <a:gd name="connsiteY3883" fmla="*/ 489528 h 1683492"/>
                <a:gd name="connsiteX3884" fmla="*/ 6184 w 1526442"/>
                <a:gd name="connsiteY3884" fmla="*/ 497422 h 1683492"/>
                <a:gd name="connsiteX3885" fmla="*/ 14523 w 1526442"/>
                <a:gd name="connsiteY3885" fmla="*/ 497422 h 1683492"/>
                <a:gd name="connsiteX3886" fmla="*/ 20789 w 1526442"/>
                <a:gd name="connsiteY3886" fmla="*/ 500630 h 1683492"/>
                <a:gd name="connsiteX3887" fmla="*/ 29078 w 1526442"/>
                <a:gd name="connsiteY3887" fmla="*/ 495696 h 1683492"/>
                <a:gd name="connsiteX3888" fmla="*/ 20789 w 1526442"/>
                <a:gd name="connsiteY3888" fmla="*/ 489232 h 1683492"/>
                <a:gd name="connsiteX3889" fmla="*/ 10378 w 1526442"/>
                <a:gd name="connsiteY3889" fmla="*/ 485975 h 1683492"/>
                <a:gd name="connsiteX3890" fmla="*/ 2040 w 1526442"/>
                <a:gd name="connsiteY3890" fmla="*/ 487604 h 1683492"/>
                <a:gd name="connsiteX3891" fmla="*/ 274744 w 1526442"/>
                <a:gd name="connsiteY3891" fmla="*/ 746098 h 1683492"/>
                <a:gd name="connsiteX3892" fmla="*/ 274744 w 1526442"/>
                <a:gd name="connsiteY3892" fmla="*/ 751032 h 1683492"/>
                <a:gd name="connsiteX3893" fmla="*/ 276866 w 1526442"/>
                <a:gd name="connsiteY3893" fmla="*/ 752660 h 1683492"/>
                <a:gd name="connsiteX3894" fmla="*/ 281010 w 1526442"/>
                <a:gd name="connsiteY3894" fmla="*/ 747726 h 1683492"/>
                <a:gd name="connsiteX3895" fmla="*/ 276866 w 1526442"/>
                <a:gd name="connsiteY3895" fmla="*/ 746098 h 1683492"/>
                <a:gd name="connsiteX3896" fmla="*/ 277063 w 1526442"/>
                <a:gd name="connsiteY3896" fmla="*/ 773728 h 1683492"/>
                <a:gd name="connsiteX3897" fmla="*/ 281208 w 1526442"/>
                <a:gd name="connsiteY3897" fmla="*/ 775307 h 1683492"/>
                <a:gd name="connsiteX3898" fmla="*/ 285352 w 1526442"/>
                <a:gd name="connsiteY3898" fmla="*/ 776936 h 1683492"/>
                <a:gd name="connsiteX3899" fmla="*/ 297884 w 1526442"/>
                <a:gd name="connsiteY3899" fmla="*/ 775307 h 1683492"/>
                <a:gd name="connsiteX3900" fmla="*/ 302029 w 1526442"/>
                <a:gd name="connsiteY3900" fmla="*/ 778564 h 1683492"/>
                <a:gd name="connsiteX3901" fmla="*/ 304151 w 1526442"/>
                <a:gd name="connsiteY3901" fmla="*/ 780192 h 1683492"/>
                <a:gd name="connsiteX3902" fmla="*/ 306174 w 1526442"/>
                <a:gd name="connsiteY3902" fmla="*/ 776936 h 1683492"/>
                <a:gd name="connsiteX3903" fmla="*/ 302029 w 1526442"/>
                <a:gd name="connsiteY3903" fmla="*/ 772002 h 1683492"/>
                <a:gd name="connsiteX3904" fmla="*/ 291618 w 1526442"/>
                <a:gd name="connsiteY3904" fmla="*/ 770373 h 1683492"/>
                <a:gd name="connsiteX3905" fmla="*/ 289546 w 1526442"/>
                <a:gd name="connsiteY3905" fmla="*/ 772002 h 1683492"/>
                <a:gd name="connsiteX3906" fmla="*/ 283329 w 1526442"/>
                <a:gd name="connsiteY3906" fmla="*/ 768794 h 1683492"/>
                <a:gd name="connsiteX3907" fmla="*/ 279135 w 1526442"/>
                <a:gd name="connsiteY3907" fmla="*/ 768794 h 1683492"/>
                <a:gd name="connsiteX3908" fmla="*/ 274941 w 1526442"/>
                <a:gd name="connsiteY3908" fmla="*/ 770373 h 1683492"/>
                <a:gd name="connsiteX3909" fmla="*/ 285352 w 1526442"/>
                <a:gd name="connsiteY3909" fmla="*/ 783597 h 1683492"/>
                <a:gd name="connsiteX3910" fmla="*/ 287474 w 1526442"/>
                <a:gd name="connsiteY3910" fmla="*/ 785225 h 1683492"/>
                <a:gd name="connsiteX3911" fmla="*/ 289546 w 1526442"/>
                <a:gd name="connsiteY3911" fmla="*/ 785225 h 1683492"/>
                <a:gd name="connsiteX3912" fmla="*/ 289546 w 1526442"/>
                <a:gd name="connsiteY3912" fmla="*/ 781968 h 1683492"/>
                <a:gd name="connsiteX3913" fmla="*/ 287474 w 1526442"/>
                <a:gd name="connsiteY3913" fmla="*/ 822378 h 1683492"/>
                <a:gd name="connsiteX3914" fmla="*/ 289546 w 1526442"/>
                <a:gd name="connsiteY3914" fmla="*/ 825585 h 1683492"/>
                <a:gd name="connsiteX3915" fmla="*/ 293740 w 1526442"/>
                <a:gd name="connsiteY3915" fmla="*/ 825585 h 1683492"/>
                <a:gd name="connsiteX3916" fmla="*/ 297884 w 1526442"/>
                <a:gd name="connsiteY3916" fmla="*/ 828842 h 1683492"/>
                <a:gd name="connsiteX3917" fmla="*/ 302029 w 1526442"/>
                <a:gd name="connsiteY3917" fmla="*/ 827213 h 1683492"/>
                <a:gd name="connsiteX3918" fmla="*/ 299957 w 1526442"/>
                <a:gd name="connsiteY3918" fmla="*/ 824006 h 1683492"/>
                <a:gd name="connsiteX3919" fmla="*/ 293740 w 1526442"/>
                <a:gd name="connsiteY3919" fmla="*/ 820750 h 1683492"/>
                <a:gd name="connsiteX3920" fmla="*/ 289546 w 1526442"/>
                <a:gd name="connsiteY3920" fmla="*/ 820750 h 1683492"/>
                <a:gd name="connsiteX3921" fmla="*/ 281208 w 1526442"/>
                <a:gd name="connsiteY3921" fmla="*/ 836884 h 1683492"/>
                <a:gd name="connsiteX3922" fmla="*/ 281208 w 1526442"/>
                <a:gd name="connsiteY3922" fmla="*/ 840141 h 1683492"/>
                <a:gd name="connsiteX3923" fmla="*/ 287474 w 1526442"/>
                <a:gd name="connsiteY3923" fmla="*/ 841769 h 1683492"/>
                <a:gd name="connsiteX3924" fmla="*/ 291618 w 1526442"/>
                <a:gd name="connsiteY3924" fmla="*/ 838512 h 1683492"/>
                <a:gd name="connsiteX3925" fmla="*/ 285352 w 1526442"/>
                <a:gd name="connsiteY3925" fmla="*/ 836884 h 1683492"/>
                <a:gd name="connsiteX3926" fmla="*/ 281208 w 1526442"/>
                <a:gd name="connsiteY3926" fmla="*/ 835305 h 1683492"/>
                <a:gd name="connsiteX3927" fmla="*/ 289398 w 1526442"/>
                <a:gd name="connsiteY3927" fmla="*/ 862541 h 1683492"/>
                <a:gd name="connsiteX3928" fmla="*/ 293592 w 1526442"/>
                <a:gd name="connsiteY3928" fmla="*/ 862541 h 1683492"/>
                <a:gd name="connsiteX3929" fmla="*/ 295615 w 1526442"/>
                <a:gd name="connsiteY3929" fmla="*/ 860962 h 1683492"/>
                <a:gd name="connsiteX3930" fmla="*/ 291470 w 1526442"/>
                <a:gd name="connsiteY3930" fmla="*/ 856028 h 1683492"/>
                <a:gd name="connsiteX3931" fmla="*/ 291470 w 1526442"/>
                <a:gd name="connsiteY3931" fmla="*/ 852821 h 1683492"/>
                <a:gd name="connsiteX3932" fmla="*/ 289398 w 1526442"/>
                <a:gd name="connsiteY3932" fmla="*/ 856028 h 1683492"/>
                <a:gd name="connsiteX3933" fmla="*/ 299809 w 1526442"/>
                <a:gd name="connsiteY3933" fmla="*/ 869005 h 1683492"/>
                <a:gd name="connsiteX3934" fmla="*/ 299809 w 1526442"/>
                <a:gd name="connsiteY3934" fmla="*/ 870633 h 1683492"/>
                <a:gd name="connsiteX3935" fmla="*/ 301733 w 1526442"/>
                <a:gd name="connsiteY3935" fmla="*/ 870633 h 1683492"/>
                <a:gd name="connsiteX3936" fmla="*/ 301733 w 1526442"/>
                <a:gd name="connsiteY3936" fmla="*/ 869005 h 1683492"/>
                <a:gd name="connsiteX3937" fmla="*/ 278987 w 1526442"/>
                <a:gd name="connsiteY3937" fmla="*/ 872261 h 1683492"/>
                <a:gd name="connsiteX3938" fmla="*/ 281059 w 1526442"/>
                <a:gd name="connsiteY3938" fmla="*/ 870633 h 1683492"/>
                <a:gd name="connsiteX3939" fmla="*/ 278987 w 1526442"/>
                <a:gd name="connsiteY3939" fmla="*/ 867376 h 1683492"/>
                <a:gd name="connsiteX3940" fmla="*/ 276915 w 1526442"/>
                <a:gd name="connsiteY3940" fmla="*/ 870633 h 1683492"/>
                <a:gd name="connsiteX3941" fmla="*/ 287326 w 1526442"/>
                <a:gd name="connsiteY3941" fmla="*/ 870633 h 1683492"/>
                <a:gd name="connsiteX3942" fmla="*/ 289398 w 1526442"/>
                <a:gd name="connsiteY3942" fmla="*/ 872261 h 1683492"/>
                <a:gd name="connsiteX3943" fmla="*/ 291470 w 1526442"/>
                <a:gd name="connsiteY3943" fmla="*/ 870633 h 1683492"/>
                <a:gd name="connsiteX3944" fmla="*/ 289398 w 1526442"/>
                <a:gd name="connsiteY3944" fmla="*/ 869005 h 1683492"/>
                <a:gd name="connsiteX3945" fmla="*/ 285204 w 1526442"/>
                <a:gd name="connsiteY3945" fmla="*/ 878725 h 1683492"/>
                <a:gd name="connsiteX3946" fmla="*/ 289398 w 1526442"/>
                <a:gd name="connsiteY3946" fmla="*/ 877096 h 1683492"/>
                <a:gd name="connsiteX3947" fmla="*/ 289398 w 1526442"/>
                <a:gd name="connsiteY3947" fmla="*/ 875468 h 1683492"/>
                <a:gd name="connsiteX3948" fmla="*/ 285204 w 1526442"/>
                <a:gd name="connsiteY3948" fmla="*/ 875468 h 1683492"/>
                <a:gd name="connsiteX3949" fmla="*/ 289398 w 1526442"/>
                <a:gd name="connsiteY3949" fmla="*/ 890024 h 1683492"/>
                <a:gd name="connsiteX3950" fmla="*/ 291470 w 1526442"/>
                <a:gd name="connsiteY3950" fmla="*/ 886767 h 1683492"/>
                <a:gd name="connsiteX3951" fmla="*/ 283181 w 1526442"/>
                <a:gd name="connsiteY3951" fmla="*/ 886767 h 1683492"/>
                <a:gd name="connsiteX3952" fmla="*/ 285204 w 1526442"/>
                <a:gd name="connsiteY3952" fmla="*/ 890024 h 1683492"/>
                <a:gd name="connsiteX3953" fmla="*/ 295615 w 1526442"/>
                <a:gd name="connsiteY3953" fmla="*/ 894958 h 1683492"/>
                <a:gd name="connsiteX3954" fmla="*/ 299809 w 1526442"/>
                <a:gd name="connsiteY3954" fmla="*/ 894958 h 1683492"/>
                <a:gd name="connsiteX3955" fmla="*/ 299809 w 1526442"/>
                <a:gd name="connsiteY3955" fmla="*/ 891751 h 1683492"/>
                <a:gd name="connsiteX3956" fmla="*/ 297736 w 1526442"/>
                <a:gd name="connsiteY3956" fmla="*/ 890122 h 1683492"/>
                <a:gd name="connsiteX3957" fmla="*/ 293592 w 1526442"/>
                <a:gd name="connsiteY3957" fmla="*/ 893329 h 1683492"/>
                <a:gd name="connsiteX3958" fmla="*/ 272770 w 1526442"/>
                <a:gd name="connsiteY3958" fmla="*/ 909760 h 1683492"/>
                <a:gd name="connsiteX3959" fmla="*/ 278987 w 1526442"/>
                <a:gd name="connsiteY3959" fmla="*/ 908132 h 1683492"/>
                <a:gd name="connsiteX3960" fmla="*/ 281059 w 1526442"/>
                <a:gd name="connsiteY3960" fmla="*/ 908132 h 1683492"/>
                <a:gd name="connsiteX3961" fmla="*/ 281059 w 1526442"/>
                <a:gd name="connsiteY3961" fmla="*/ 904875 h 1683492"/>
                <a:gd name="connsiteX3962" fmla="*/ 272770 w 1526442"/>
                <a:gd name="connsiteY3962" fmla="*/ 904875 h 1683492"/>
                <a:gd name="connsiteX3963" fmla="*/ 270649 w 1526442"/>
                <a:gd name="connsiteY3963" fmla="*/ 908132 h 1683492"/>
                <a:gd name="connsiteX3964" fmla="*/ 285204 w 1526442"/>
                <a:gd name="connsiteY3964" fmla="*/ 921059 h 1683492"/>
                <a:gd name="connsiteX3965" fmla="*/ 295615 w 1526442"/>
                <a:gd name="connsiteY3965" fmla="*/ 912967 h 1683492"/>
                <a:gd name="connsiteX3966" fmla="*/ 301881 w 1526442"/>
                <a:gd name="connsiteY3966" fmla="*/ 908033 h 1683492"/>
                <a:gd name="connsiteX3967" fmla="*/ 301881 w 1526442"/>
                <a:gd name="connsiteY3967" fmla="*/ 904776 h 1683492"/>
                <a:gd name="connsiteX3968" fmla="*/ 295615 w 1526442"/>
                <a:gd name="connsiteY3968" fmla="*/ 904776 h 1683492"/>
                <a:gd name="connsiteX3969" fmla="*/ 289398 w 1526442"/>
                <a:gd name="connsiteY3969" fmla="*/ 909710 h 1683492"/>
                <a:gd name="connsiteX3970" fmla="*/ 285204 w 1526442"/>
                <a:gd name="connsiteY3970" fmla="*/ 909710 h 1683492"/>
                <a:gd name="connsiteX3971" fmla="*/ 283181 w 1526442"/>
                <a:gd name="connsiteY3971" fmla="*/ 912918 h 1683492"/>
                <a:gd name="connsiteX3972" fmla="*/ 281059 w 1526442"/>
                <a:gd name="connsiteY3972" fmla="*/ 914546 h 1683492"/>
                <a:gd name="connsiteX3973" fmla="*/ 281059 w 1526442"/>
                <a:gd name="connsiteY3973" fmla="*/ 921009 h 1683492"/>
                <a:gd name="connsiteX3974" fmla="*/ 285204 w 1526442"/>
                <a:gd name="connsiteY3974" fmla="*/ 921009 h 1683492"/>
                <a:gd name="connsiteX3975" fmla="*/ 295615 w 1526442"/>
                <a:gd name="connsiteY3975" fmla="*/ 917802 h 1683492"/>
                <a:gd name="connsiteX3976" fmla="*/ 297736 w 1526442"/>
                <a:gd name="connsiteY3976" fmla="*/ 919430 h 1683492"/>
                <a:gd name="connsiteX3977" fmla="*/ 301881 w 1526442"/>
                <a:gd name="connsiteY3977" fmla="*/ 916223 h 1683492"/>
                <a:gd name="connsiteX3978" fmla="*/ 301881 w 1526442"/>
                <a:gd name="connsiteY3978" fmla="*/ 914595 h 1683492"/>
                <a:gd name="connsiteX3979" fmla="*/ 291470 w 1526442"/>
                <a:gd name="connsiteY3979" fmla="*/ 924266 h 1683492"/>
                <a:gd name="connsiteX3980" fmla="*/ 295615 w 1526442"/>
                <a:gd name="connsiteY3980" fmla="*/ 924266 h 1683492"/>
                <a:gd name="connsiteX3981" fmla="*/ 293592 w 1526442"/>
                <a:gd name="connsiteY3981" fmla="*/ 921059 h 1683492"/>
                <a:gd name="connsiteX3982" fmla="*/ 291470 w 1526442"/>
                <a:gd name="connsiteY3982" fmla="*/ 922687 h 1683492"/>
                <a:gd name="connsiteX3983" fmla="*/ 281059 w 1526442"/>
                <a:gd name="connsiteY3983" fmla="*/ 927522 h 1683492"/>
                <a:gd name="connsiteX3984" fmla="*/ 285204 w 1526442"/>
                <a:gd name="connsiteY3984" fmla="*/ 924266 h 1683492"/>
                <a:gd name="connsiteX3985" fmla="*/ 281059 w 1526442"/>
                <a:gd name="connsiteY3985" fmla="*/ 922687 h 1683492"/>
                <a:gd name="connsiteX3986" fmla="*/ 278987 w 1526442"/>
                <a:gd name="connsiteY3986" fmla="*/ 924266 h 1683492"/>
                <a:gd name="connsiteX3987" fmla="*/ 278987 w 1526442"/>
                <a:gd name="connsiteY3987" fmla="*/ 927522 h 1683492"/>
                <a:gd name="connsiteX3988" fmla="*/ 268576 w 1526442"/>
                <a:gd name="connsiteY3988" fmla="*/ 948492 h 1683492"/>
                <a:gd name="connsiteX3989" fmla="*/ 268576 w 1526442"/>
                <a:gd name="connsiteY3989" fmla="*/ 953426 h 1683492"/>
                <a:gd name="connsiteX3990" fmla="*/ 274793 w 1526442"/>
                <a:gd name="connsiteY3990" fmla="*/ 953426 h 1683492"/>
                <a:gd name="connsiteX3991" fmla="*/ 278987 w 1526442"/>
                <a:gd name="connsiteY3991" fmla="*/ 946962 h 1683492"/>
                <a:gd name="connsiteX3992" fmla="*/ 285204 w 1526442"/>
                <a:gd name="connsiteY3992" fmla="*/ 945334 h 1683492"/>
                <a:gd name="connsiteX3993" fmla="*/ 287326 w 1526442"/>
                <a:gd name="connsiteY3993" fmla="*/ 942078 h 1683492"/>
                <a:gd name="connsiteX3994" fmla="*/ 285204 w 1526442"/>
                <a:gd name="connsiteY3994" fmla="*/ 940499 h 1683492"/>
                <a:gd name="connsiteX3995" fmla="*/ 281059 w 1526442"/>
                <a:gd name="connsiteY3995" fmla="*/ 942078 h 1683492"/>
                <a:gd name="connsiteX3996" fmla="*/ 274793 w 1526442"/>
                <a:gd name="connsiteY3996" fmla="*/ 943706 h 1683492"/>
                <a:gd name="connsiteX3997" fmla="*/ 272770 w 1526442"/>
                <a:gd name="connsiteY3997" fmla="*/ 946962 h 1683492"/>
                <a:gd name="connsiteX3998" fmla="*/ 268576 w 1526442"/>
                <a:gd name="connsiteY3998" fmla="*/ 948245 h 1683492"/>
                <a:gd name="connsiteX3999" fmla="*/ 264382 w 1526442"/>
                <a:gd name="connsiteY3999" fmla="*/ 966255 h 1683492"/>
                <a:gd name="connsiteX4000" fmla="*/ 266504 w 1526442"/>
                <a:gd name="connsiteY4000" fmla="*/ 972718 h 1683492"/>
                <a:gd name="connsiteX4001" fmla="*/ 270649 w 1526442"/>
                <a:gd name="connsiteY4001" fmla="*/ 972718 h 1683492"/>
                <a:gd name="connsiteX4002" fmla="*/ 272770 w 1526442"/>
                <a:gd name="connsiteY4002" fmla="*/ 969511 h 1683492"/>
                <a:gd name="connsiteX4003" fmla="*/ 266504 w 1526442"/>
                <a:gd name="connsiteY4003" fmla="*/ 966255 h 1683492"/>
                <a:gd name="connsiteX4004" fmla="*/ 422666 w 1526442"/>
                <a:gd name="connsiteY4004" fmla="*/ 1683466 h 1683492"/>
                <a:gd name="connsiteX4005" fmla="*/ 426860 w 1526442"/>
                <a:gd name="connsiteY4005" fmla="*/ 1677002 h 1683492"/>
                <a:gd name="connsiteX4006" fmla="*/ 433077 w 1526442"/>
                <a:gd name="connsiteY4006" fmla="*/ 1677002 h 1683492"/>
                <a:gd name="connsiteX4007" fmla="*/ 435149 w 1526442"/>
                <a:gd name="connsiteY4007" fmla="*/ 1678581 h 1683492"/>
                <a:gd name="connsiteX4008" fmla="*/ 433077 w 1526442"/>
                <a:gd name="connsiteY4008" fmla="*/ 1681838 h 1683492"/>
                <a:gd name="connsiteX4009" fmla="*/ 428883 w 1526442"/>
                <a:gd name="connsiteY4009" fmla="*/ 1681838 h 1683492"/>
                <a:gd name="connsiteX4010" fmla="*/ 424738 w 1526442"/>
                <a:gd name="connsiteY4010" fmla="*/ 1683466 h 1683492"/>
                <a:gd name="connsiteX4011" fmla="*/ 385217 w 1526442"/>
                <a:gd name="connsiteY4011" fmla="*/ 1662447 h 1683492"/>
                <a:gd name="connsiteX4012" fmla="*/ 387240 w 1526442"/>
                <a:gd name="connsiteY4012" fmla="*/ 1662447 h 1683492"/>
                <a:gd name="connsiteX4013" fmla="*/ 387240 w 1526442"/>
                <a:gd name="connsiteY4013" fmla="*/ 1660819 h 1683492"/>
                <a:gd name="connsiteX4014" fmla="*/ 391434 w 1526442"/>
                <a:gd name="connsiteY4014" fmla="*/ 1655885 h 1683492"/>
                <a:gd name="connsiteX4015" fmla="*/ 391434 w 1526442"/>
                <a:gd name="connsiteY4015" fmla="*/ 1652677 h 1683492"/>
                <a:gd name="connsiteX4016" fmla="*/ 387240 w 1526442"/>
                <a:gd name="connsiteY4016" fmla="*/ 1652677 h 1683492"/>
                <a:gd name="connsiteX4017" fmla="*/ 387240 w 1526442"/>
                <a:gd name="connsiteY4017" fmla="*/ 1654306 h 1683492"/>
                <a:gd name="connsiteX4018" fmla="*/ 383095 w 1526442"/>
                <a:gd name="connsiteY4018" fmla="*/ 1657513 h 1683492"/>
                <a:gd name="connsiteX4019" fmla="*/ 358080 w 1526442"/>
                <a:gd name="connsiteY4019" fmla="*/ 1622086 h 1683492"/>
                <a:gd name="connsiteX4020" fmla="*/ 360201 w 1526442"/>
                <a:gd name="connsiteY4020" fmla="*/ 1623715 h 1683492"/>
                <a:gd name="connsiteX4021" fmla="*/ 364395 w 1526442"/>
                <a:gd name="connsiteY4021" fmla="*/ 1623715 h 1683492"/>
                <a:gd name="connsiteX4022" fmla="*/ 368540 w 1526442"/>
                <a:gd name="connsiteY4022" fmla="*/ 1622086 h 1683492"/>
                <a:gd name="connsiteX4023" fmla="*/ 366418 w 1526442"/>
                <a:gd name="connsiteY4023" fmla="*/ 1618879 h 1683492"/>
                <a:gd name="connsiteX4024" fmla="*/ 362274 w 1526442"/>
                <a:gd name="connsiteY4024" fmla="*/ 1620458 h 1683492"/>
                <a:gd name="connsiteX4025" fmla="*/ 343524 w 1526442"/>
                <a:gd name="connsiteY4025" fmla="*/ 1620458 h 1683492"/>
                <a:gd name="connsiteX4026" fmla="*/ 345597 w 1526442"/>
                <a:gd name="connsiteY4026" fmla="*/ 1625392 h 1683492"/>
                <a:gd name="connsiteX4027" fmla="*/ 349790 w 1526442"/>
                <a:gd name="connsiteY4027" fmla="*/ 1625392 h 1683492"/>
                <a:gd name="connsiteX4028" fmla="*/ 349790 w 1526442"/>
                <a:gd name="connsiteY4028" fmla="*/ 1622185 h 1683492"/>
                <a:gd name="connsiteX4029" fmla="*/ 345597 w 1526442"/>
                <a:gd name="connsiteY4029" fmla="*/ 1620557 h 1683492"/>
                <a:gd name="connsiteX4030" fmla="*/ 304052 w 1526442"/>
                <a:gd name="connsiteY4030" fmla="*/ 1625392 h 1683492"/>
                <a:gd name="connsiteX4031" fmla="*/ 306075 w 1526442"/>
                <a:gd name="connsiteY4031" fmla="*/ 1627020 h 1683492"/>
                <a:gd name="connsiteX4032" fmla="*/ 308197 w 1526442"/>
                <a:gd name="connsiteY4032" fmla="*/ 1627020 h 1683492"/>
                <a:gd name="connsiteX4033" fmla="*/ 310269 w 1526442"/>
                <a:gd name="connsiteY4033" fmla="*/ 1630277 h 1683492"/>
                <a:gd name="connsiteX4034" fmla="*/ 314463 w 1526442"/>
                <a:gd name="connsiteY4034" fmla="*/ 1628599 h 1683492"/>
                <a:gd name="connsiteX4035" fmla="*/ 312341 w 1526442"/>
                <a:gd name="connsiteY4035" fmla="*/ 1623665 h 1683492"/>
                <a:gd name="connsiteX4036" fmla="*/ 308197 w 1526442"/>
                <a:gd name="connsiteY4036" fmla="*/ 1623665 h 1683492"/>
                <a:gd name="connsiteX4037" fmla="*/ 254021 w 1526442"/>
                <a:gd name="connsiteY4037" fmla="*/ 1434840 h 1683492"/>
                <a:gd name="connsiteX4038" fmla="*/ 258215 w 1526442"/>
                <a:gd name="connsiteY4038" fmla="*/ 1434840 h 1683492"/>
                <a:gd name="connsiteX4039" fmla="*/ 264432 w 1526442"/>
                <a:gd name="connsiteY4039" fmla="*/ 1431583 h 1683492"/>
                <a:gd name="connsiteX4040" fmla="*/ 268626 w 1526442"/>
                <a:gd name="connsiteY4040" fmla="*/ 1425120 h 1683492"/>
                <a:gd name="connsiteX4041" fmla="*/ 266553 w 1526442"/>
                <a:gd name="connsiteY4041" fmla="*/ 1426699 h 1683492"/>
                <a:gd name="connsiteX4042" fmla="*/ 262409 w 1526442"/>
                <a:gd name="connsiteY4042" fmla="*/ 1429955 h 1683492"/>
                <a:gd name="connsiteX4043" fmla="*/ 254021 w 1526442"/>
                <a:gd name="connsiteY4043" fmla="*/ 1428327 h 1683492"/>
                <a:gd name="connsiteX4044" fmla="*/ 254021 w 1526442"/>
                <a:gd name="connsiteY4044" fmla="*/ 1429955 h 1683492"/>
                <a:gd name="connsiteX4045" fmla="*/ 256143 w 1526442"/>
                <a:gd name="connsiteY4045" fmla="*/ 1429955 h 1683492"/>
                <a:gd name="connsiteX4046" fmla="*/ 260287 w 1526442"/>
                <a:gd name="connsiteY4046" fmla="*/ 1426699 h 1683492"/>
                <a:gd name="connsiteX4047" fmla="*/ 262409 w 1526442"/>
                <a:gd name="connsiteY4047" fmla="*/ 1423492 h 1683492"/>
                <a:gd name="connsiteX4048" fmla="*/ 260287 w 1526442"/>
                <a:gd name="connsiteY4048" fmla="*/ 1423492 h 1683492"/>
                <a:gd name="connsiteX4049" fmla="*/ 224861 w 1526442"/>
                <a:gd name="connsiteY4049" fmla="*/ 1365319 h 1683492"/>
                <a:gd name="connsiteX4050" fmla="*/ 222788 w 1526442"/>
                <a:gd name="connsiteY4050" fmla="*/ 1368576 h 1683492"/>
                <a:gd name="connsiteX4051" fmla="*/ 229055 w 1526442"/>
                <a:gd name="connsiteY4051" fmla="*/ 1368576 h 1683492"/>
                <a:gd name="connsiteX4052" fmla="*/ 229055 w 1526442"/>
                <a:gd name="connsiteY4052" fmla="*/ 1365319 h 1683492"/>
                <a:gd name="connsiteX4053" fmla="*/ 224861 w 1526442"/>
                <a:gd name="connsiteY4053" fmla="*/ 1365319 h 1683492"/>
                <a:gd name="connsiteX4054" fmla="*/ 220766 w 1526442"/>
                <a:gd name="connsiteY4054" fmla="*/ 1357277 h 1683492"/>
                <a:gd name="connsiteX4055" fmla="*/ 222788 w 1526442"/>
                <a:gd name="connsiteY4055" fmla="*/ 1360533 h 1683492"/>
                <a:gd name="connsiteX4056" fmla="*/ 229055 w 1526442"/>
                <a:gd name="connsiteY4056" fmla="*/ 1362112 h 1683492"/>
                <a:gd name="connsiteX4057" fmla="*/ 229055 w 1526442"/>
                <a:gd name="connsiteY4057" fmla="*/ 1357178 h 1683492"/>
                <a:gd name="connsiteX4058" fmla="*/ 224861 w 1526442"/>
                <a:gd name="connsiteY4058" fmla="*/ 1355550 h 1683492"/>
                <a:gd name="connsiteX4059" fmla="*/ 224861 w 1526442"/>
                <a:gd name="connsiteY4059" fmla="*/ 1297526 h 1683492"/>
                <a:gd name="connsiteX4060" fmla="*/ 231176 w 1526442"/>
                <a:gd name="connsiteY4060" fmla="*/ 1299105 h 1683492"/>
                <a:gd name="connsiteX4061" fmla="*/ 235321 w 1526442"/>
                <a:gd name="connsiteY4061" fmla="*/ 1295897 h 1683492"/>
                <a:gd name="connsiteX4062" fmla="*/ 231176 w 1526442"/>
                <a:gd name="connsiteY4062" fmla="*/ 1294269 h 1683492"/>
                <a:gd name="connsiteX4063" fmla="*/ 229055 w 1526442"/>
                <a:gd name="connsiteY4063" fmla="*/ 1291013 h 1683492"/>
                <a:gd name="connsiteX4064" fmla="*/ 231176 w 1526442"/>
                <a:gd name="connsiteY4064" fmla="*/ 1292690 h 1683492"/>
                <a:gd name="connsiteX4065" fmla="*/ 237591 w 1526442"/>
                <a:gd name="connsiteY4065" fmla="*/ 1292690 h 1683492"/>
                <a:gd name="connsiteX4066" fmla="*/ 241784 w 1526442"/>
                <a:gd name="connsiteY4066" fmla="*/ 1291013 h 1683492"/>
                <a:gd name="connsiteX4067" fmla="*/ 235518 w 1526442"/>
                <a:gd name="connsiteY4067" fmla="*/ 1287806 h 1683492"/>
                <a:gd name="connsiteX4068" fmla="*/ 229252 w 1526442"/>
                <a:gd name="connsiteY4068" fmla="*/ 1289434 h 1683492"/>
                <a:gd name="connsiteX4069" fmla="*/ 216571 w 1526442"/>
                <a:gd name="connsiteY4069" fmla="*/ 1289434 h 1683492"/>
                <a:gd name="connsiteX4070" fmla="*/ 216571 w 1526442"/>
                <a:gd name="connsiteY4070" fmla="*/ 1292690 h 1683492"/>
                <a:gd name="connsiteX4071" fmla="*/ 220766 w 1526442"/>
                <a:gd name="connsiteY4071" fmla="*/ 1291013 h 1683492"/>
                <a:gd name="connsiteX4072" fmla="*/ 220766 w 1526442"/>
                <a:gd name="connsiteY4072" fmla="*/ 1287806 h 1683492"/>
                <a:gd name="connsiteX4073" fmla="*/ 216571 w 1526442"/>
                <a:gd name="connsiteY4073" fmla="*/ 1287806 h 1683492"/>
                <a:gd name="connsiteX4074" fmla="*/ 233199 w 1526442"/>
                <a:gd name="connsiteY4074" fmla="*/ 1236146 h 1683492"/>
                <a:gd name="connsiteX4075" fmla="*/ 233199 w 1526442"/>
                <a:gd name="connsiteY4075" fmla="*/ 1237528 h 1683492"/>
                <a:gd name="connsiteX4076" fmla="*/ 235321 w 1526442"/>
                <a:gd name="connsiteY4076" fmla="*/ 1239156 h 1683492"/>
                <a:gd name="connsiteX4077" fmla="*/ 237591 w 1526442"/>
                <a:gd name="connsiteY4077" fmla="*/ 1239156 h 1683492"/>
                <a:gd name="connsiteX4078" fmla="*/ 241784 w 1526442"/>
                <a:gd name="connsiteY4078" fmla="*/ 1234222 h 1683492"/>
                <a:gd name="connsiteX4079" fmla="*/ 241784 w 1526442"/>
                <a:gd name="connsiteY4079" fmla="*/ 1230966 h 1683492"/>
                <a:gd name="connsiteX4080" fmla="*/ 239663 w 1526442"/>
                <a:gd name="connsiteY4080" fmla="*/ 1232594 h 1683492"/>
                <a:gd name="connsiteX4081" fmla="*/ 291520 w 1526442"/>
                <a:gd name="connsiteY4081" fmla="*/ 1215127 h 1683492"/>
                <a:gd name="connsiteX4082" fmla="*/ 297786 w 1526442"/>
                <a:gd name="connsiteY4082" fmla="*/ 1216706 h 1683492"/>
                <a:gd name="connsiteX4083" fmla="*/ 306075 w 1526442"/>
                <a:gd name="connsiteY4083" fmla="*/ 1215127 h 1683492"/>
                <a:gd name="connsiteX4084" fmla="*/ 306075 w 1526442"/>
                <a:gd name="connsiteY4084" fmla="*/ 1211920 h 1683492"/>
                <a:gd name="connsiteX4085" fmla="*/ 297786 w 1526442"/>
                <a:gd name="connsiteY4085" fmla="*/ 1210292 h 1683492"/>
                <a:gd name="connsiteX4086" fmla="*/ 291520 w 1526442"/>
                <a:gd name="connsiteY4086" fmla="*/ 1211920 h 1683492"/>
                <a:gd name="connsiteX4087" fmla="*/ 268626 w 1526442"/>
                <a:gd name="connsiteY4087" fmla="*/ 1186066 h 1683492"/>
                <a:gd name="connsiteX4088" fmla="*/ 268626 w 1526442"/>
                <a:gd name="connsiteY4088" fmla="*/ 1189273 h 1683492"/>
                <a:gd name="connsiteX4089" fmla="*/ 270698 w 1526442"/>
                <a:gd name="connsiteY4089" fmla="*/ 1190901 h 1683492"/>
                <a:gd name="connsiteX4090" fmla="*/ 281109 w 1526442"/>
                <a:gd name="connsiteY4090" fmla="*/ 1189273 h 1683492"/>
                <a:gd name="connsiteX4091" fmla="*/ 279037 w 1526442"/>
                <a:gd name="connsiteY4091" fmla="*/ 1186066 h 1683492"/>
                <a:gd name="connsiteX4092" fmla="*/ 268626 w 1526442"/>
                <a:gd name="connsiteY4092" fmla="*/ 1186066 h 1683492"/>
                <a:gd name="connsiteX4093" fmla="*/ 297786 w 1526442"/>
                <a:gd name="connsiteY4093" fmla="*/ 1184437 h 1683492"/>
                <a:gd name="connsiteX4094" fmla="*/ 299858 w 1526442"/>
                <a:gd name="connsiteY4094" fmla="*/ 1187645 h 1683492"/>
                <a:gd name="connsiteX4095" fmla="*/ 306075 w 1526442"/>
                <a:gd name="connsiteY4095" fmla="*/ 1186066 h 1683492"/>
                <a:gd name="connsiteX4096" fmla="*/ 310269 w 1526442"/>
                <a:gd name="connsiteY4096" fmla="*/ 1184437 h 1683492"/>
                <a:gd name="connsiteX4097" fmla="*/ 304052 w 1526442"/>
                <a:gd name="connsiteY4097" fmla="*/ 1182859 h 1683492"/>
                <a:gd name="connsiteX4098" fmla="*/ 281109 w 1526442"/>
                <a:gd name="connsiteY4098" fmla="*/ 1179503 h 1683492"/>
                <a:gd name="connsiteX4099" fmla="*/ 289447 w 1526442"/>
                <a:gd name="connsiteY4099" fmla="*/ 1182760 h 1683492"/>
                <a:gd name="connsiteX4100" fmla="*/ 295664 w 1526442"/>
                <a:gd name="connsiteY4100" fmla="*/ 1182760 h 1683492"/>
                <a:gd name="connsiteX4101" fmla="*/ 299858 w 1526442"/>
                <a:gd name="connsiteY4101" fmla="*/ 1179503 h 1683492"/>
                <a:gd name="connsiteX4102" fmla="*/ 295664 w 1526442"/>
                <a:gd name="connsiteY4102" fmla="*/ 1177875 h 1683492"/>
                <a:gd name="connsiteX4103" fmla="*/ 287375 w 1526442"/>
                <a:gd name="connsiteY4103" fmla="*/ 1176247 h 1683492"/>
                <a:gd name="connsiteX4104" fmla="*/ 281109 w 1526442"/>
                <a:gd name="connsiteY4104" fmla="*/ 1177875 h 1683492"/>
                <a:gd name="connsiteX4105" fmla="*/ 345597 w 1526442"/>
                <a:gd name="connsiteY4105" fmla="*/ 1059902 h 1683492"/>
                <a:gd name="connsiteX4106" fmla="*/ 345597 w 1526442"/>
                <a:gd name="connsiteY4106" fmla="*/ 1064837 h 1683492"/>
                <a:gd name="connsiteX4107" fmla="*/ 349790 w 1526442"/>
                <a:gd name="connsiteY4107" fmla="*/ 1066465 h 1683492"/>
                <a:gd name="connsiteX4108" fmla="*/ 351863 w 1526442"/>
                <a:gd name="connsiteY4108" fmla="*/ 1063258 h 1683492"/>
                <a:gd name="connsiteX4109" fmla="*/ 347669 w 1526442"/>
                <a:gd name="connsiteY4109" fmla="*/ 1060001 h 1683492"/>
                <a:gd name="connsiteX4110" fmla="*/ 339380 w 1526442"/>
                <a:gd name="connsiteY4110" fmla="*/ 1045100 h 1683492"/>
                <a:gd name="connsiteX4111" fmla="*/ 339380 w 1526442"/>
                <a:gd name="connsiteY4111" fmla="*/ 1048307 h 1683492"/>
                <a:gd name="connsiteX4112" fmla="*/ 345597 w 1526442"/>
                <a:gd name="connsiteY4112" fmla="*/ 1051564 h 1683492"/>
                <a:gd name="connsiteX4113" fmla="*/ 349790 w 1526442"/>
                <a:gd name="connsiteY4113" fmla="*/ 1051564 h 1683492"/>
                <a:gd name="connsiteX4114" fmla="*/ 347669 w 1526442"/>
                <a:gd name="connsiteY4114" fmla="*/ 1046630 h 1683492"/>
                <a:gd name="connsiteX4115" fmla="*/ 339380 w 1526442"/>
                <a:gd name="connsiteY4115" fmla="*/ 1045100 h 1683492"/>
                <a:gd name="connsiteX4116" fmla="*/ 320630 w 1526442"/>
                <a:gd name="connsiteY4116" fmla="*/ 1003062 h 1683492"/>
                <a:gd name="connsiteX4117" fmla="*/ 324775 w 1526442"/>
                <a:gd name="connsiteY4117" fmla="*/ 1003062 h 1683492"/>
                <a:gd name="connsiteX4118" fmla="*/ 331041 w 1526442"/>
                <a:gd name="connsiteY4118" fmla="*/ 998128 h 1683492"/>
                <a:gd name="connsiteX4119" fmla="*/ 335186 w 1526442"/>
                <a:gd name="connsiteY4119" fmla="*/ 996500 h 1683492"/>
                <a:gd name="connsiteX4120" fmla="*/ 335186 w 1526442"/>
                <a:gd name="connsiteY4120" fmla="*/ 994921 h 1683492"/>
                <a:gd name="connsiteX4121" fmla="*/ 331041 w 1526442"/>
                <a:gd name="connsiteY4121" fmla="*/ 994921 h 1683492"/>
                <a:gd name="connsiteX4122" fmla="*/ 324775 w 1526442"/>
                <a:gd name="connsiteY4122" fmla="*/ 991665 h 1683492"/>
                <a:gd name="connsiteX4123" fmla="*/ 320630 w 1526442"/>
                <a:gd name="connsiteY4123" fmla="*/ 994921 h 1683492"/>
                <a:gd name="connsiteX4124" fmla="*/ 318558 w 1526442"/>
                <a:gd name="connsiteY4124" fmla="*/ 998128 h 1683492"/>
                <a:gd name="connsiteX4125" fmla="*/ 320630 w 1526442"/>
                <a:gd name="connsiteY4125" fmla="*/ 1025710 h 1683492"/>
                <a:gd name="connsiteX4126" fmla="*/ 324775 w 1526442"/>
                <a:gd name="connsiteY4126" fmla="*/ 1028917 h 1683492"/>
                <a:gd name="connsiteX4127" fmla="*/ 331041 w 1526442"/>
                <a:gd name="connsiteY4127" fmla="*/ 1027289 h 1683492"/>
                <a:gd name="connsiteX4128" fmla="*/ 335186 w 1526442"/>
                <a:gd name="connsiteY4128" fmla="*/ 1022354 h 1683492"/>
                <a:gd name="connsiteX4129" fmla="*/ 335186 w 1526442"/>
                <a:gd name="connsiteY4129" fmla="*/ 1015891 h 1683492"/>
                <a:gd name="connsiteX4130" fmla="*/ 328969 w 1526442"/>
                <a:gd name="connsiteY4130" fmla="*/ 1014312 h 1683492"/>
                <a:gd name="connsiteX4131" fmla="*/ 322703 w 1526442"/>
                <a:gd name="connsiteY4131" fmla="*/ 1015891 h 1683492"/>
                <a:gd name="connsiteX4132" fmla="*/ 297736 w 1526442"/>
                <a:gd name="connsiteY4132" fmla="*/ 1027289 h 1683492"/>
                <a:gd name="connsiteX4133" fmla="*/ 304003 w 1526442"/>
                <a:gd name="connsiteY4133" fmla="*/ 1030545 h 1683492"/>
                <a:gd name="connsiteX4134" fmla="*/ 308147 w 1526442"/>
                <a:gd name="connsiteY4134" fmla="*/ 1025611 h 1683492"/>
                <a:gd name="connsiteX4135" fmla="*/ 308147 w 1526442"/>
                <a:gd name="connsiteY4135" fmla="*/ 1022354 h 1683492"/>
                <a:gd name="connsiteX4136" fmla="*/ 310219 w 1526442"/>
                <a:gd name="connsiteY4136" fmla="*/ 1014312 h 1683492"/>
                <a:gd name="connsiteX4137" fmla="*/ 301881 w 1526442"/>
                <a:gd name="connsiteY4137" fmla="*/ 1017519 h 1683492"/>
                <a:gd name="connsiteX4138" fmla="*/ 297736 w 1526442"/>
                <a:gd name="connsiteY4138" fmla="*/ 1020776 h 1683492"/>
                <a:gd name="connsiteX4139" fmla="*/ 256093 w 1526442"/>
                <a:gd name="connsiteY4139" fmla="*/ 1056399 h 1683492"/>
                <a:gd name="connsiteX4140" fmla="*/ 253972 w 1526442"/>
                <a:gd name="connsiteY4140" fmla="*/ 1059606 h 1683492"/>
                <a:gd name="connsiteX4141" fmla="*/ 256093 w 1526442"/>
                <a:gd name="connsiteY4141" fmla="*/ 1066070 h 1683492"/>
                <a:gd name="connsiteX4142" fmla="*/ 262261 w 1526442"/>
                <a:gd name="connsiteY4142" fmla="*/ 1066070 h 1683492"/>
                <a:gd name="connsiteX4143" fmla="*/ 262261 w 1526442"/>
                <a:gd name="connsiteY4143" fmla="*/ 1062863 h 1683492"/>
                <a:gd name="connsiteX4144" fmla="*/ 258067 w 1526442"/>
                <a:gd name="connsiteY4144" fmla="*/ 1056399 h 1683492"/>
                <a:gd name="connsiteX4145" fmla="*/ 339380 w 1526442"/>
                <a:gd name="connsiteY4145" fmla="*/ 1116150 h 1683492"/>
                <a:gd name="connsiteX4146" fmla="*/ 339380 w 1526442"/>
                <a:gd name="connsiteY4146" fmla="*/ 1117779 h 1683492"/>
                <a:gd name="connsiteX4147" fmla="*/ 343524 w 1526442"/>
                <a:gd name="connsiteY4147" fmla="*/ 1117779 h 1683492"/>
                <a:gd name="connsiteX4148" fmla="*/ 343524 w 1526442"/>
                <a:gd name="connsiteY4148" fmla="*/ 1120986 h 1683492"/>
                <a:gd name="connsiteX4149" fmla="*/ 341452 w 1526442"/>
                <a:gd name="connsiteY4149" fmla="*/ 1127449 h 1683492"/>
                <a:gd name="connsiteX4150" fmla="*/ 343524 w 1526442"/>
                <a:gd name="connsiteY4150" fmla="*/ 1129078 h 1683492"/>
                <a:gd name="connsiteX4151" fmla="*/ 349790 w 1526442"/>
                <a:gd name="connsiteY4151" fmla="*/ 1127449 h 1683492"/>
                <a:gd name="connsiteX4152" fmla="*/ 351863 w 1526442"/>
                <a:gd name="connsiteY4152" fmla="*/ 1117581 h 1683492"/>
                <a:gd name="connsiteX4153" fmla="*/ 356007 w 1526442"/>
                <a:gd name="connsiteY4153" fmla="*/ 1114325 h 1683492"/>
                <a:gd name="connsiteX4154" fmla="*/ 353985 w 1526442"/>
                <a:gd name="connsiteY4154" fmla="*/ 1111118 h 1683492"/>
                <a:gd name="connsiteX4155" fmla="*/ 351863 w 1526442"/>
                <a:gd name="connsiteY4155" fmla="*/ 1112746 h 1683492"/>
                <a:gd name="connsiteX4156" fmla="*/ 345597 w 1526442"/>
                <a:gd name="connsiteY4156" fmla="*/ 1111118 h 1683492"/>
                <a:gd name="connsiteX4157" fmla="*/ 253972 w 1526442"/>
                <a:gd name="connsiteY4157" fmla="*/ 1135541 h 1683492"/>
                <a:gd name="connsiteX4158" fmla="*/ 258165 w 1526442"/>
                <a:gd name="connsiteY4158" fmla="*/ 1138748 h 1683492"/>
                <a:gd name="connsiteX4159" fmla="*/ 268576 w 1526442"/>
                <a:gd name="connsiteY4159" fmla="*/ 1140377 h 1683492"/>
                <a:gd name="connsiteX4160" fmla="*/ 270649 w 1526442"/>
                <a:gd name="connsiteY4160" fmla="*/ 1143633 h 1683492"/>
                <a:gd name="connsiteX4161" fmla="*/ 276915 w 1526442"/>
                <a:gd name="connsiteY4161" fmla="*/ 1145212 h 1683492"/>
                <a:gd name="connsiteX4162" fmla="*/ 281059 w 1526442"/>
                <a:gd name="connsiteY4162" fmla="*/ 1141956 h 1683492"/>
                <a:gd name="connsiteX4163" fmla="*/ 299809 w 1526442"/>
                <a:gd name="connsiteY4163" fmla="*/ 1138748 h 1683492"/>
                <a:gd name="connsiteX4164" fmla="*/ 312292 w 1526442"/>
                <a:gd name="connsiteY4164" fmla="*/ 1138748 h 1683492"/>
                <a:gd name="connsiteX4165" fmla="*/ 324775 w 1526442"/>
                <a:gd name="connsiteY4165" fmla="*/ 1130706 h 1683492"/>
                <a:gd name="connsiteX4166" fmla="*/ 322703 w 1526442"/>
                <a:gd name="connsiteY4166" fmla="*/ 1120838 h 1683492"/>
                <a:gd name="connsiteX4167" fmla="*/ 318558 w 1526442"/>
                <a:gd name="connsiteY4167" fmla="*/ 1112795 h 1683492"/>
                <a:gd name="connsiteX4168" fmla="*/ 310219 w 1526442"/>
                <a:gd name="connsiteY4168" fmla="*/ 1112795 h 1683492"/>
                <a:gd name="connsiteX4169" fmla="*/ 304003 w 1526442"/>
                <a:gd name="connsiteY4169" fmla="*/ 1109539 h 1683492"/>
                <a:gd name="connsiteX4170" fmla="*/ 299809 w 1526442"/>
                <a:gd name="connsiteY4170" fmla="*/ 1094983 h 1683492"/>
                <a:gd name="connsiteX4171" fmla="*/ 293592 w 1526442"/>
                <a:gd name="connsiteY4171" fmla="*/ 1085115 h 1683492"/>
                <a:gd name="connsiteX4172" fmla="*/ 281059 w 1526442"/>
                <a:gd name="connsiteY4172" fmla="*/ 1083487 h 1683492"/>
                <a:gd name="connsiteX4173" fmla="*/ 274793 w 1526442"/>
                <a:gd name="connsiteY4173" fmla="*/ 1077024 h 1683492"/>
                <a:gd name="connsiteX4174" fmla="*/ 264382 w 1526442"/>
                <a:gd name="connsiteY4174" fmla="*/ 1075445 h 1683492"/>
                <a:gd name="connsiteX4175" fmla="*/ 256093 w 1526442"/>
                <a:gd name="connsiteY4175" fmla="*/ 1072188 h 1683492"/>
                <a:gd name="connsiteX4176" fmla="*/ 256093 w 1526442"/>
                <a:gd name="connsiteY4176" fmla="*/ 1077122 h 1683492"/>
                <a:gd name="connsiteX4177" fmla="*/ 247755 w 1526442"/>
                <a:gd name="connsiteY4177" fmla="*/ 1083586 h 1683492"/>
                <a:gd name="connsiteX4178" fmla="*/ 247755 w 1526442"/>
                <a:gd name="connsiteY4178" fmla="*/ 1091678 h 1683492"/>
                <a:gd name="connsiteX4179" fmla="*/ 256093 w 1526442"/>
                <a:gd name="connsiteY4179" fmla="*/ 1094885 h 1683492"/>
                <a:gd name="connsiteX4180" fmla="*/ 258165 w 1526442"/>
                <a:gd name="connsiteY4180" fmla="*/ 1099819 h 1683492"/>
                <a:gd name="connsiteX4181" fmla="*/ 251948 w 1526442"/>
                <a:gd name="connsiteY4181" fmla="*/ 1096562 h 1683492"/>
                <a:gd name="connsiteX4182" fmla="*/ 245682 w 1526442"/>
                <a:gd name="connsiteY4182" fmla="*/ 1099819 h 1683492"/>
                <a:gd name="connsiteX4183" fmla="*/ 245682 w 1526442"/>
                <a:gd name="connsiteY4183" fmla="*/ 1104753 h 1683492"/>
                <a:gd name="connsiteX4184" fmla="*/ 243561 w 1526442"/>
                <a:gd name="connsiteY4184" fmla="*/ 1107960 h 1683492"/>
                <a:gd name="connsiteX4185" fmla="*/ 251948 w 1526442"/>
                <a:gd name="connsiteY4185" fmla="*/ 1112894 h 1683492"/>
                <a:gd name="connsiteX4186" fmla="*/ 245682 w 1526442"/>
                <a:gd name="connsiteY4186" fmla="*/ 1114473 h 1683492"/>
                <a:gd name="connsiteX4187" fmla="*/ 243561 w 1526442"/>
                <a:gd name="connsiteY4187" fmla="*/ 1117729 h 1683492"/>
                <a:gd name="connsiteX4188" fmla="*/ 247755 w 1526442"/>
                <a:gd name="connsiteY4188" fmla="*/ 1122663 h 1683492"/>
                <a:gd name="connsiteX4189" fmla="*/ 264382 w 1526442"/>
                <a:gd name="connsiteY4189" fmla="*/ 1125871 h 1683492"/>
                <a:gd name="connsiteX4190" fmla="*/ 266504 w 1526442"/>
                <a:gd name="connsiteY4190" fmla="*/ 1129127 h 1683492"/>
                <a:gd name="connsiteX4191" fmla="*/ 272770 w 1526442"/>
                <a:gd name="connsiteY4191" fmla="*/ 1130755 h 1683492"/>
                <a:gd name="connsiteX4192" fmla="*/ 283181 w 1526442"/>
                <a:gd name="connsiteY4192" fmla="*/ 1124292 h 1683492"/>
                <a:gd name="connsiteX4193" fmla="*/ 274793 w 1526442"/>
                <a:gd name="connsiteY4193" fmla="*/ 1132334 h 1683492"/>
                <a:gd name="connsiteX4194" fmla="*/ 268576 w 1526442"/>
                <a:gd name="connsiteY4194" fmla="*/ 1132334 h 1683492"/>
                <a:gd name="connsiteX4195" fmla="*/ 258165 w 1526442"/>
                <a:gd name="connsiteY4195" fmla="*/ 1129127 h 1683492"/>
                <a:gd name="connsiteX4196" fmla="*/ 253972 w 1526442"/>
                <a:gd name="connsiteY4196" fmla="*/ 1130755 h 168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</a:cxnLst>
              <a:rect l="l" t="t" r="r" b="b"/>
              <a:pathLst>
                <a:path w="1526442" h="1683492">
                  <a:moveTo>
                    <a:pt x="451826" y="1667035"/>
                  </a:moveTo>
                  <a:lnTo>
                    <a:pt x="437271" y="1660572"/>
                  </a:lnTo>
                  <a:lnTo>
                    <a:pt x="426860" y="1660572"/>
                  </a:lnTo>
                  <a:lnTo>
                    <a:pt x="426860" y="1652529"/>
                  </a:lnTo>
                  <a:lnTo>
                    <a:pt x="428883" y="1652529"/>
                  </a:lnTo>
                  <a:lnTo>
                    <a:pt x="428883" y="1649273"/>
                  </a:lnTo>
                  <a:lnTo>
                    <a:pt x="426860" y="1649273"/>
                  </a:lnTo>
                  <a:lnTo>
                    <a:pt x="422666" y="1652529"/>
                  </a:lnTo>
                  <a:lnTo>
                    <a:pt x="420594" y="1652529"/>
                  </a:lnTo>
                  <a:lnTo>
                    <a:pt x="420594" y="1660572"/>
                  </a:lnTo>
                  <a:lnTo>
                    <a:pt x="414328" y="1658993"/>
                  </a:lnTo>
                  <a:lnTo>
                    <a:pt x="412255" y="1658993"/>
                  </a:lnTo>
                  <a:lnTo>
                    <a:pt x="412255" y="1667035"/>
                  </a:lnTo>
                  <a:lnTo>
                    <a:pt x="408061" y="1668664"/>
                  </a:lnTo>
                  <a:lnTo>
                    <a:pt x="406039" y="1667035"/>
                  </a:lnTo>
                  <a:lnTo>
                    <a:pt x="408061" y="1662101"/>
                  </a:lnTo>
                  <a:lnTo>
                    <a:pt x="410183" y="1657167"/>
                  </a:lnTo>
                  <a:lnTo>
                    <a:pt x="408061" y="1652233"/>
                  </a:lnTo>
                  <a:lnTo>
                    <a:pt x="416449" y="1645770"/>
                  </a:lnTo>
                  <a:lnTo>
                    <a:pt x="414328" y="1644142"/>
                  </a:lnTo>
                  <a:lnTo>
                    <a:pt x="410183" y="1645770"/>
                  </a:lnTo>
                  <a:lnTo>
                    <a:pt x="403917" y="1657069"/>
                  </a:lnTo>
                  <a:lnTo>
                    <a:pt x="399772" y="1662003"/>
                  </a:lnTo>
                  <a:lnTo>
                    <a:pt x="397651" y="1660375"/>
                  </a:lnTo>
                  <a:lnTo>
                    <a:pt x="397651" y="1655441"/>
                  </a:lnTo>
                  <a:lnTo>
                    <a:pt x="403917" y="1652233"/>
                  </a:lnTo>
                  <a:lnTo>
                    <a:pt x="406039" y="1645770"/>
                  </a:lnTo>
                  <a:lnTo>
                    <a:pt x="410183" y="1639306"/>
                  </a:lnTo>
                  <a:lnTo>
                    <a:pt x="403917" y="1640934"/>
                  </a:lnTo>
                  <a:lnTo>
                    <a:pt x="401844" y="1640934"/>
                  </a:lnTo>
                  <a:lnTo>
                    <a:pt x="399772" y="1645868"/>
                  </a:lnTo>
                  <a:lnTo>
                    <a:pt x="393506" y="1647497"/>
                  </a:lnTo>
                  <a:lnTo>
                    <a:pt x="393506" y="1645868"/>
                  </a:lnTo>
                  <a:lnTo>
                    <a:pt x="395628" y="1640934"/>
                  </a:lnTo>
                  <a:lnTo>
                    <a:pt x="399772" y="1636000"/>
                  </a:lnTo>
                  <a:lnTo>
                    <a:pt x="397651" y="1634372"/>
                  </a:lnTo>
                  <a:lnTo>
                    <a:pt x="395628" y="1636000"/>
                  </a:lnTo>
                  <a:lnTo>
                    <a:pt x="391434" y="1639208"/>
                  </a:lnTo>
                  <a:lnTo>
                    <a:pt x="387240" y="1640836"/>
                  </a:lnTo>
                  <a:lnTo>
                    <a:pt x="387240" y="1645770"/>
                  </a:lnTo>
                  <a:lnTo>
                    <a:pt x="385217" y="1639306"/>
                  </a:lnTo>
                  <a:lnTo>
                    <a:pt x="383095" y="1637678"/>
                  </a:lnTo>
                  <a:lnTo>
                    <a:pt x="381023" y="1637678"/>
                  </a:lnTo>
                  <a:lnTo>
                    <a:pt x="376829" y="1640934"/>
                  </a:lnTo>
                  <a:lnTo>
                    <a:pt x="374806" y="1640934"/>
                  </a:lnTo>
                  <a:lnTo>
                    <a:pt x="376829" y="1637678"/>
                  </a:lnTo>
                  <a:lnTo>
                    <a:pt x="385217" y="1632744"/>
                  </a:lnTo>
                  <a:lnTo>
                    <a:pt x="387240" y="1626280"/>
                  </a:lnTo>
                  <a:lnTo>
                    <a:pt x="391434" y="1626280"/>
                  </a:lnTo>
                  <a:lnTo>
                    <a:pt x="397651" y="1621346"/>
                  </a:lnTo>
                  <a:lnTo>
                    <a:pt x="397651" y="1619718"/>
                  </a:lnTo>
                  <a:lnTo>
                    <a:pt x="389361" y="1622975"/>
                  </a:lnTo>
                  <a:lnTo>
                    <a:pt x="383095" y="1626182"/>
                  </a:lnTo>
                  <a:lnTo>
                    <a:pt x="381023" y="1624553"/>
                  </a:lnTo>
                  <a:lnTo>
                    <a:pt x="383095" y="1622975"/>
                  </a:lnTo>
                  <a:lnTo>
                    <a:pt x="389361" y="1621346"/>
                  </a:lnTo>
                  <a:lnTo>
                    <a:pt x="395628" y="1618139"/>
                  </a:lnTo>
                  <a:lnTo>
                    <a:pt x="401844" y="1614883"/>
                  </a:lnTo>
                  <a:lnTo>
                    <a:pt x="406039" y="1613254"/>
                  </a:lnTo>
                  <a:lnTo>
                    <a:pt x="406039" y="1608320"/>
                  </a:lnTo>
                  <a:lnTo>
                    <a:pt x="403917" y="1603386"/>
                  </a:lnTo>
                  <a:lnTo>
                    <a:pt x="399772" y="1603386"/>
                  </a:lnTo>
                  <a:lnTo>
                    <a:pt x="393506" y="1611478"/>
                  </a:lnTo>
                  <a:lnTo>
                    <a:pt x="383095" y="1617942"/>
                  </a:lnTo>
                  <a:lnTo>
                    <a:pt x="374806" y="1619521"/>
                  </a:lnTo>
                  <a:lnTo>
                    <a:pt x="374806" y="1617942"/>
                  </a:lnTo>
                  <a:lnTo>
                    <a:pt x="376829" y="1616264"/>
                  </a:lnTo>
                  <a:lnTo>
                    <a:pt x="381023" y="1614685"/>
                  </a:lnTo>
                  <a:lnTo>
                    <a:pt x="387240" y="1609751"/>
                  </a:lnTo>
                  <a:lnTo>
                    <a:pt x="387240" y="1603337"/>
                  </a:lnTo>
                  <a:lnTo>
                    <a:pt x="385217" y="1598403"/>
                  </a:lnTo>
                  <a:lnTo>
                    <a:pt x="381023" y="1598403"/>
                  </a:lnTo>
                  <a:lnTo>
                    <a:pt x="378951" y="1600031"/>
                  </a:lnTo>
                  <a:lnTo>
                    <a:pt x="378951" y="1603288"/>
                  </a:lnTo>
                  <a:lnTo>
                    <a:pt x="381023" y="1604867"/>
                  </a:lnTo>
                  <a:lnTo>
                    <a:pt x="381023" y="1608123"/>
                  </a:lnTo>
                  <a:lnTo>
                    <a:pt x="376829" y="1611379"/>
                  </a:lnTo>
                  <a:lnTo>
                    <a:pt x="372684" y="1609702"/>
                  </a:lnTo>
                  <a:lnTo>
                    <a:pt x="362274" y="1609702"/>
                  </a:lnTo>
                  <a:lnTo>
                    <a:pt x="358080" y="1612958"/>
                  </a:lnTo>
                  <a:lnTo>
                    <a:pt x="356007" y="1616166"/>
                  </a:lnTo>
                  <a:lnTo>
                    <a:pt x="351863" y="1617843"/>
                  </a:lnTo>
                  <a:lnTo>
                    <a:pt x="347669" y="1616166"/>
                  </a:lnTo>
                  <a:lnTo>
                    <a:pt x="345597" y="1614587"/>
                  </a:lnTo>
                  <a:lnTo>
                    <a:pt x="339380" y="1614587"/>
                  </a:lnTo>
                  <a:lnTo>
                    <a:pt x="335186" y="1617843"/>
                  </a:lnTo>
                  <a:lnTo>
                    <a:pt x="331041" y="1616166"/>
                  </a:lnTo>
                  <a:lnTo>
                    <a:pt x="328969" y="1617843"/>
                  </a:lnTo>
                  <a:lnTo>
                    <a:pt x="328969" y="1622777"/>
                  </a:lnTo>
                  <a:lnTo>
                    <a:pt x="326847" y="1624356"/>
                  </a:lnTo>
                  <a:lnTo>
                    <a:pt x="316436" y="1622777"/>
                  </a:lnTo>
                  <a:lnTo>
                    <a:pt x="316436" y="1619521"/>
                  </a:lnTo>
                  <a:lnTo>
                    <a:pt x="318558" y="1616264"/>
                  </a:lnTo>
                  <a:lnTo>
                    <a:pt x="324775" y="1614685"/>
                  </a:lnTo>
                  <a:lnTo>
                    <a:pt x="328969" y="1611478"/>
                  </a:lnTo>
                  <a:lnTo>
                    <a:pt x="326847" y="1609801"/>
                  </a:lnTo>
                  <a:lnTo>
                    <a:pt x="320630" y="1608222"/>
                  </a:lnTo>
                  <a:lnTo>
                    <a:pt x="320630" y="1602646"/>
                  </a:lnTo>
                  <a:lnTo>
                    <a:pt x="316436" y="1599390"/>
                  </a:lnTo>
                  <a:lnTo>
                    <a:pt x="314413" y="1597811"/>
                  </a:lnTo>
                  <a:lnTo>
                    <a:pt x="310219" y="1597811"/>
                  </a:lnTo>
                  <a:lnTo>
                    <a:pt x="301733" y="1604077"/>
                  </a:lnTo>
                  <a:lnTo>
                    <a:pt x="297588" y="1602449"/>
                  </a:lnTo>
                  <a:lnTo>
                    <a:pt x="295467" y="1597515"/>
                  </a:lnTo>
                  <a:lnTo>
                    <a:pt x="301733" y="1594258"/>
                  </a:lnTo>
                  <a:lnTo>
                    <a:pt x="299661" y="1591051"/>
                  </a:lnTo>
                  <a:lnTo>
                    <a:pt x="293444" y="1591051"/>
                  </a:lnTo>
                  <a:lnTo>
                    <a:pt x="293444" y="1589423"/>
                  </a:lnTo>
                  <a:lnTo>
                    <a:pt x="301733" y="1586216"/>
                  </a:lnTo>
                  <a:lnTo>
                    <a:pt x="305878" y="1586216"/>
                  </a:lnTo>
                  <a:lnTo>
                    <a:pt x="310072" y="1582960"/>
                  </a:lnTo>
                  <a:lnTo>
                    <a:pt x="307999" y="1579752"/>
                  </a:lnTo>
                  <a:lnTo>
                    <a:pt x="303855" y="1579752"/>
                  </a:lnTo>
                  <a:lnTo>
                    <a:pt x="297588" y="1581331"/>
                  </a:lnTo>
                  <a:lnTo>
                    <a:pt x="291322" y="1584588"/>
                  </a:lnTo>
                  <a:lnTo>
                    <a:pt x="283033" y="1586216"/>
                  </a:lnTo>
                  <a:lnTo>
                    <a:pt x="278839" y="1584588"/>
                  </a:lnTo>
                  <a:lnTo>
                    <a:pt x="278839" y="1581331"/>
                  </a:lnTo>
                  <a:lnTo>
                    <a:pt x="285056" y="1579752"/>
                  </a:lnTo>
                  <a:lnTo>
                    <a:pt x="289250" y="1576496"/>
                  </a:lnTo>
                  <a:lnTo>
                    <a:pt x="287178" y="1571562"/>
                  </a:lnTo>
                  <a:lnTo>
                    <a:pt x="295467" y="1569934"/>
                  </a:lnTo>
                  <a:lnTo>
                    <a:pt x="297588" y="1566727"/>
                  </a:lnTo>
                  <a:lnTo>
                    <a:pt x="297588" y="1565098"/>
                  </a:lnTo>
                  <a:lnTo>
                    <a:pt x="291322" y="1563470"/>
                  </a:lnTo>
                  <a:lnTo>
                    <a:pt x="287178" y="1566727"/>
                  </a:lnTo>
                  <a:lnTo>
                    <a:pt x="280912" y="1568305"/>
                  </a:lnTo>
                  <a:lnTo>
                    <a:pt x="276767" y="1565098"/>
                  </a:lnTo>
                  <a:lnTo>
                    <a:pt x="280912" y="1561891"/>
                  </a:lnTo>
                  <a:lnTo>
                    <a:pt x="289250" y="1561891"/>
                  </a:lnTo>
                  <a:lnTo>
                    <a:pt x="291322" y="1558635"/>
                  </a:lnTo>
                  <a:lnTo>
                    <a:pt x="297588" y="1555428"/>
                  </a:lnTo>
                  <a:lnTo>
                    <a:pt x="295467" y="1553750"/>
                  </a:lnTo>
                  <a:lnTo>
                    <a:pt x="297588" y="1550543"/>
                  </a:lnTo>
                  <a:lnTo>
                    <a:pt x="295467" y="1548964"/>
                  </a:lnTo>
                  <a:lnTo>
                    <a:pt x="287178" y="1550543"/>
                  </a:lnTo>
                  <a:lnTo>
                    <a:pt x="285056" y="1553750"/>
                  </a:lnTo>
                  <a:lnTo>
                    <a:pt x="283033" y="1557006"/>
                  </a:lnTo>
                  <a:lnTo>
                    <a:pt x="277063" y="1557006"/>
                  </a:lnTo>
                  <a:lnTo>
                    <a:pt x="279135" y="1553750"/>
                  </a:lnTo>
                  <a:lnTo>
                    <a:pt x="283329" y="1552171"/>
                  </a:lnTo>
                  <a:lnTo>
                    <a:pt x="285352" y="1547237"/>
                  </a:lnTo>
                  <a:lnTo>
                    <a:pt x="281208" y="1545609"/>
                  </a:lnTo>
                  <a:lnTo>
                    <a:pt x="285352" y="1544030"/>
                  </a:lnTo>
                  <a:lnTo>
                    <a:pt x="285352" y="1540773"/>
                  </a:lnTo>
                  <a:lnTo>
                    <a:pt x="281208" y="1539145"/>
                  </a:lnTo>
                  <a:lnTo>
                    <a:pt x="277063" y="1539145"/>
                  </a:lnTo>
                  <a:lnTo>
                    <a:pt x="277063" y="1537566"/>
                  </a:lnTo>
                  <a:lnTo>
                    <a:pt x="279135" y="1535889"/>
                  </a:lnTo>
                  <a:lnTo>
                    <a:pt x="279135" y="1530955"/>
                  </a:lnTo>
                  <a:lnTo>
                    <a:pt x="274941" y="1530955"/>
                  </a:lnTo>
                  <a:lnTo>
                    <a:pt x="270796" y="1532583"/>
                  </a:lnTo>
                  <a:lnTo>
                    <a:pt x="266652" y="1532583"/>
                  </a:lnTo>
                  <a:lnTo>
                    <a:pt x="266652" y="1530955"/>
                  </a:lnTo>
                  <a:lnTo>
                    <a:pt x="268724" y="1526021"/>
                  </a:lnTo>
                  <a:lnTo>
                    <a:pt x="272918" y="1522764"/>
                  </a:lnTo>
                  <a:lnTo>
                    <a:pt x="274941" y="1522764"/>
                  </a:lnTo>
                  <a:lnTo>
                    <a:pt x="281208" y="1514673"/>
                  </a:lnTo>
                  <a:lnTo>
                    <a:pt x="279135" y="1511465"/>
                  </a:lnTo>
                  <a:lnTo>
                    <a:pt x="279135" y="1508900"/>
                  </a:lnTo>
                  <a:lnTo>
                    <a:pt x="281208" y="1507222"/>
                  </a:lnTo>
                  <a:lnTo>
                    <a:pt x="279135" y="1505643"/>
                  </a:lnTo>
                  <a:lnTo>
                    <a:pt x="277063" y="1505643"/>
                  </a:lnTo>
                  <a:lnTo>
                    <a:pt x="274941" y="1508900"/>
                  </a:lnTo>
                  <a:lnTo>
                    <a:pt x="272918" y="1503966"/>
                  </a:lnTo>
                  <a:lnTo>
                    <a:pt x="268724" y="1505594"/>
                  </a:lnTo>
                  <a:lnTo>
                    <a:pt x="266652" y="1507173"/>
                  </a:lnTo>
                  <a:lnTo>
                    <a:pt x="262261" y="1507173"/>
                  </a:lnTo>
                  <a:lnTo>
                    <a:pt x="260139" y="1500709"/>
                  </a:lnTo>
                  <a:lnTo>
                    <a:pt x="262261" y="1497502"/>
                  </a:lnTo>
                  <a:lnTo>
                    <a:pt x="270550" y="1494295"/>
                  </a:lnTo>
                  <a:lnTo>
                    <a:pt x="270550" y="1492667"/>
                  </a:lnTo>
                  <a:lnTo>
                    <a:pt x="266405" y="1489410"/>
                  </a:lnTo>
                  <a:lnTo>
                    <a:pt x="262261" y="1489410"/>
                  </a:lnTo>
                  <a:lnTo>
                    <a:pt x="255994" y="1492667"/>
                  </a:lnTo>
                  <a:lnTo>
                    <a:pt x="251850" y="1492667"/>
                  </a:lnTo>
                  <a:lnTo>
                    <a:pt x="249728" y="1489410"/>
                  </a:lnTo>
                  <a:lnTo>
                    <a:pt x="251850" y="1486203"/>
                  </a:lnTo>
                  <a:lnTo>
                    <a:pt x="255994" y="1484575"/>
                  </a:lnTo>
                  <a:lnTo>
                    <a:pt x="262261" y="1486203"/>
                  </a:lnTo>
                  <a:lnTo>
                    <a:pt x="270550" y="1484575"/>
                  </a:lnTo>
                  <a:lnTo>
                    <a:pt x="274695" y="1482947"/>
                  </a:lnTo>
                  <a:lnTo>
                    <a:pt x="270550" y="1482947"/>
                  </a:lnTo>
                  <a:lnTo>
                    <a:pt x="266405" y="1481368"/>
                  </a:lnTo>
                  <a:lnTo>
                    <a:pt x="260139" y="1481368"/>
                  </a:lnTo>
                  <a:lnTo>
                    <a:pt x="255994" y="1482947"/>
                  </a:lnTo>
                  <a:lnTo>
                    <a:pt x="251850" y="1482947"/>
                  </a:lnTo>
                  <a:lnTo>
                    <a:pt x="247656" y="1479739"/>
                  </a:lnTo>
                  <a:lnTo>
                    <a:pt x="255994" y="1474805"/>
                  </a:lnTo>
                  <a:lnTo>
                    <a:pt x="264284" y="1474805"/>
                  </a:lnTo>
                  <a:lnTo>
                    <a:pt x="266405" y="1473177"/>
                  </a:lnTo>
                  <a:lnTo>
                    <a:pt x="264284" y="1473177"/>
                  </a:lnTo>
                  <a:lnTo>
                    <a:pt x="260139" y="1471549"/>
                  </a:lnTo>
                  <a:lnTo>
                    <a:pt x="255994" y="1469970"/>
                  </a:lnTo>
                  <a:lnTo>
                    <a:pt x="258067" y="1468292"/>
                  </a:lnTo>
                  <a:lnTo>
                    <a:pt x="262261" y="1469970"/>
                  </a:lnTo>
                  <a:lnTo>
                    <a:pt x="266405" y="1471549"/>
                  </a:lnTo>
                  <a:lnTo>
                    <a:pt x="274695" y="1468292"/>
                  </a:lnTo>
                  <a:lnTo>
                    <a:pt x="276816" y="1465085"/>
                  </a:lnTo>
                  <a:lnTo>
                    <a:pt x="276816" y="1463506"/>
                  </a:lnTo>
                  <a:lnTo>
                    <a:pt x="272671" y="1465085"/>
                  </a:lnTo>
                  <a:lnTo>
                    <a:pt x="268478" y="1466714"/>
                  </a:lnTo>
                  <a:lnTo>
                    <a:pt x="264284" y="1465085"/>
                  </a:lnTo>
                  <a:lnTo>
                    <a:pt x="255994" y="1465085"/>
                  </a:lnTo>
                  <a:lnTo>
                    <a:pt x="253873" y="1468292"/>
                  </a:lnTo>
                  <a:lnTo>
                    <a:pt x="249728" y="1469970"/>
                  </a:lnTo>
                  <a:lnTo>
                    <a:pt x="243462" y="1468292"/>
                  </a:lnTo>
                  <a:lnTo>
                    <a:pt x="243462" y="1463358"/>
                  </a:lnTo>
                  <a:lnTo>
                    <a:pt x="247656" y="1460102"/>
                  </a:lnTo>
                  <a:lnTo>
                    <a:pt x="253873" y="1458474"/>
                  </a:lnTo>
                  <a:lnTo>
                    <a:pt x="260139" y="1455267"/>
                  </a:lnTo>
                  <a:lnTo>
                    <a:pt x="245337" y="1455267"/>
                  </a:lnTo>
                  <a:lnTo>
                    <a:pt x="243215" y="1450333"/>
                  </a:lnTo>
                  <a:lnTo>
                    <a:pt x="245337" y="1445399"/>
                  </a:lnTo>
                  <a:lnTo>
                    <a:pt x="266158" y="1445399"/>
                  </a:lnTo>
                  <a:lnTo>
                    <a:pt x="272425" y="1443721"/>
                  </a:lnTo>
                  <a:lnTo>
                    <a:pt x="282836" y="1443721"/>
                  </a:lnTo>
                  <a:lnTo>
                    <a:pt x="286980" y="1438787"/>
                  </a:lnTo>
                  <a:lnTo>
                    <a:pt x="289052" y="1437208"/>
                  </a:lnTo>
                  <a:lnTo>
                    <a:pt x="277063" y="1437208"/>
                  </a:lnTo>
                  <a:lnTo>
                    <a:pt x="270796" y="1440415"/>
                  </a:lnTo>
                  <a:lnTo>
                    <a:pt x="262507" y="1442044"/>
                  </a:lnTo>
                  <a:lnTo>
                    <a:pt x="256241" y="1443622"/>
                  </a:lnTo>
                  <a:lnTo>
                    <a:pt x="249975" y="1443622"/>
                  </a:lnTo>
                  <a:lnTo>
                    <a:pt x="247903" y="1440415"/>
                  </a:lnTo>
                  <a:lnTo>
                    <a:pt x="260386" y="1440415"/>
                  </a:lnTo>
                  <a:lnTo>
                    <a:pt x="264530" y="1437208"/>
                  </a:lnTo>
                  <a:lnTo>
                    <a:pt x="270796" y="1430745"/>
                  </a:lnTo>
                  <a:lnTo>
                    <a:pt x="277063" y="1429116"/>
                  </a:lnTo>
                  <a:lnTo>
                    <a:pt x="279135" y="1430745"/>
                  </a:lnTo>
                  <a:lnTo>
                    <a:pt x="285352" y="1434001"/>
                  </a:lnTo>
                  <a:lnTo>
                    <a:pt x="287474" y="1434001"/>
                  </a:lnTo>
                  <a:lnTo>
                    <a:pt x="289546" y="1432323"/>
                  </a:lnTo>
                  <a:lnTo>
                    <a:pt x="287474" y="1430745"/>
                  </a:lnTo>
                  <a:lnTo>
                    <a:pt x="281208" y="1425811"/>
                  </a:lnTo>
                  <a:lnTo>
                    <a:pt x="277063" y="1425811"/>
                  </a:lnTo>
                  <a:lnTo>
                    <a:pt x="274941" y="1422603"/>
                  </a:lnTo>
                  <a:lnTo>
                    <a:pt x="277063" y="1420975"/>
                  </a:lnTo>
                  <a:lnTo>
                    <a:pt x="281208" y="1420975"/>
                  </a:lnTo>
                  <a:lnTo>
                    <a:pt x="283329" y="1419396"/>
                  </a:lnTo>
                  <a:lnTo>
                    <a:pt x="285352" y="1419396"/>
                  </a:lnTo>
                  <a:lnTo>
                    <a:pt x="289546" y="1422603"/>
                  </a:lnTo>
                  <a:lnTo>
                    <a:pt x="293740" y="1429067"/>
                  </a:lnTo>
                  <a:lnTo>
                    <a:pt x="297884" y="1430695"/>
                  </a:lnTo>
                  <a:lnTo>
                    <a:pt x="299957" y="1430695"/>
                  </a:lnTo>
                  <a:lnTo>
                    <a:pt x="297884" y="1425761"/>
                  </a:lnTo>
                  <a:lnTo>
                    <a:pt x="293740" y="1424182"/>
                  </a:lnTo>
                  <a:lnTo>
                    <a:pt x="293740" y="1414314"/>
                  </a:lnTo>
                  <a:lnTo>
                    <a:pt x="297884" y="1409380"/>
                  </a:lnTo>
                  <a:lnTo>
                    <a:pt x="297884" y="1407752"/>
                  </a:lnTo>
                  <a:lnTo>
                    <a:pt x="293740" y="1407752"/>
                  </a:lnTo>
                  <a:lnTo>
                    <a:pt x="289546" y="1411008"/>
                  </a:lnTo>
                  <a:lnTo>
                    <a:pt x="287474" y="1411008"/>
                  </a:lnTo>
                  <a:lnTo>
                    <a:pt x="283329" y="1407752"/>
                  </a:lnTo>
                  <a:lnTo>
                    <a:pt x="281208" y="1409380"/>
                  </a:lnTo>
                  <a:lnTo>
                    <a:pt x="272918" y="1417472"/>
                  </a:lnTo>
                  <a:lnTo>
                    <a:pt x="268724" y="1419100"/>
                  </a:lnTo>
                  <a:lnTo>
                    <a:pt x="266652" y="1417472"/>
                  </a:lnTo>
                  <a:lnTo>
                    <a:pt x="266652" y="1415153"/>
                  </a:lnTo>
                  <a:lnTo>
                    <a:pt x="270796" y="1413574"/>
                  </a:lnTo>
                  <a:lnTo>
                    <a:pt x="270796" y="1411946"/>
                  </a:lnTo>
                  <a:lnTo>
                    <a:pt x="264530" y="1413574"/>
                  </a:lnTo>
                  <a:lnTo>
                    <a:pt x="262507" y="1418508"/>
                  </a:lnTo>
                  <a:lnTo>
                    <a:pt x="260386" y="1418508"/>
                  </a:lnTo>
                  <a:lnTo>
                    <a:pt x="251948" y="1425021"/>
                  </a:lnTo>
                  <a:lnTo>
                    <a:pt x="247755" y="1426600"/>
                  </a:lnTo>
                  <a:lnTo>
                    <a:pt x="241538" y="1434741"/>
                  </a:lnTo>
                  <a:lnTo>
                    <a:pt x="239416" y="1434741"/>
                  </a:lnTo>
                  <a:lnTo>
                    <a:pt x="237344" y="1426600"/>
                  </a:lnTo>
                  <a:lnTo>
                    <a:pt x="239416" y="1421666"/>
                  </a:lnTo>
                  <a:lnTo>
                    <a:pt x="241538" y="1418459"/>
                  </a:lnTo>
                  <a:lnTo>
                    <a:pt x="237591" y="1415153"/>
                  </a:lnTo>
                  <a:lnTo>
                    <a:pt x="237591" y="1410219"/>
                  </a:lnTo>
                  <a:lnTo>
                    <a:pt x="239663" y="1407012"/>
                  </a:lnTo>
                  <a:lnTo>
                    <a:pt x="243807" y="1405384"/>
                  </a:lnTo>
                  <a:lnTo>
                    <a:pt x="254218" y="1402176"/>
                  </a:lnTo>
                  <a:lnTo>
                    <a:pt x="258412" y="1402176"/>
                  </a:lnTo>
                  <a:lnTo>
                    <a:pt x="264629" y="1397242"/>
                  </a:lnTo>
                  <a:lnTo>
                    <a:pt x="266751" y="1397242"/>
                  </a:lnTo>
                  <a:lnTo>
                    <a:pt x="264629" y="1393986"/>
                  </a:lnTo>
                  <a:lnTo>
                    <a:pt x="260485" y="1393986"/>
                  </a:lnTo>
                  <a:lnTo>
                    <a:pt x="256340" y="1397242"/>
                  </a:lnTo>
                  <a:lnTo>
                    <a:pt x="252195" y="1395663"/>
                  </a:lnTo>
                  <a:lnTo>
                    <a:pt x="250074" y="1400598"/>
                  </a:lnTo>
                  <a:lnTo>
                    <a:pt x="245929" y="1402226"/>
                  </a:lnTo>
                  <a:lnTo>
                    <a:pt x="241784" y="1402226"/>
                  </a:lnTo>
                  <a:lnTo>
                    <a:pt x="237591" y="1397292"/>
                  </a:lnTo>
                  <a:lnTo>
                    <a:pt x="237591" y="1389249"/>
                  </a:lnTo>
                  <a:lnTo>
                    <a:pt x="241784" y="1387621"/>
                  </a:lnTo>
                  <a:lnTo>
                    <a:pt x="243807" y="1382687"/>
                  </a:lnTo>
                  <a:lnTo>
                    <a:pt x="241784" y="1377753"/>
                  </a:lnTo>
                  <a:lnTo>
                    <a:pt x="239663" y="1377753"/>
                  </a:lnTo>
                  <a:lnTo>
                    <a:pt x="235518" y="1380960"/>
                  </a:lnTo>
                  <a:lnTo>
                    <a:pt x="231374" y="1380960"/>
                  </a:lnTo>
                  <a:lnTo>
                    <a:pt x="231374" y="1376026"/>
                  </a:lnTo>
                  <a:lnTo>
                    <a:pt x="235518" y="1372819"/>
                  </a:lnTo>
                  <a:lnTo>
                    <a:pt x="241784" y="1372819"/>
                  </a:lnTo>
                  <a:lnTo>
                    <a:pt x="245929" y="1369612"/>
                  </a:lnTo>
                  <a:lnTo>
                    <a:pt x="254218" y="1367984"/>
                  </a:lnTo>
                  <a:lnTo>
                    <a:pt x="258412" y="1364727"/>
                  </a:lnTo>
                  <a:lnTo>
                    <a:pt x="262606" y="1363148"/>
                  </a:lnTo>
                  <a:lnTo>
                    <a:pt x="264629" y="1358214"/>
                  </a:lnTo>
                  <a:lnTo>
                    <a:pt x="266751" y="1356635"/>
                  </a:lnTo>
                  <a:lnTo>
                    <a:pt x="268823" y="1359892"/>
                  </a:lnTo>
                  <a:lnTo>
                    <a:pt x="270895" y="1356635"/>
                  </a:lnTo>
                  <a:lnTo>
                    <a:pt x="283428" y="1356635"/>
                  </a:lnTo>
                  <a:lnTo>
                    <a:pt x="285451" y="1358214"/>
                  </a:lnTo>
                  <a:lnTo>
                    <a:pt x="291717" y="1358214"/>
                  </a:lnTo>
                  <a:lnTo>
                    <a:pt x="289645" y="1355007"/>
                  </a:lnTo>
                  <a:lnTo>
                    <a:pt x="283428" y="1353379"/>
                  </a:lnTo>
                  <a:lnTo>
                    <a:pt x="281306" y="1348445"/>
                  </a:lnTo>
                  <a:lnTo>
                    <a:pt x="279234" y="1348445"/>
                  </a:lnTo>
                  <a:lnTo>
                    <a:pt x="264432" y="1354908"/>
                  </a:lnTo>
                  <a:lnTo>
                    <a:pt x="260287" y="1354908"/>
                  </a:lnTo>
                  <a:lnTo>
                    <a:pt x="256143" y="1356537"/>
                  </a:lnTo>
                  <a:lnTo>
                    <a:pt x="256143" y="1361471"/>
                  </a:lnTo>
                  <a:lnTo>
                    <a:pt x="251998" y="1364678"/>
                  </a:lnTo>
                  <a:lnTo>
                    <a:pt x="245732" y="1364678"/>
                  </a:lnTo>
                  <a:lnTo>
                    <a:pt x="241587" y="1369612"/>
                  </a:lnTo>
                  <a:lnTo>
                    <a:pt x="237591" y="1369612"/>
                  </a:lnTo>
                  <a:lnTo>
                    <a:pt x="237591" y="1364678"/>
                  </a:lnTo>
                  <a:lnTo>
                    <a:pt x="233397" y="1363099"/>
                  </a:lnTo>
                  <a:lnTo>
                    <a:pt x="233397" y="1359892"/>
                  </a:lnTo>
                  <a:lnTo>
                    <a:pt x="239663" y="1356635"/>
                  </a:lnTo>
                  <a:lnTo>
                    <a:pt x="233397" y="1353379"/>
                  </a:lnTo>
                  <a:lnTo>
                    <a:pt x="229252" y="1353379"/>
                  </a:lnTo>
                  <a:lnTo>
                    <a:pt x="225058" y="1350172"/>
                  </a:lnTo>
                  <a:lnTo>
                    <a:pt x="225058" y="1348544"/>
                  </a:lnTo>
                  <a:lnTo>
                    <a:pt x="233397" y="1345336"/>
                  </a:lnTo>
                  <a:lnTo>
                    <a:pt x="237591" y="1342080"/>
                  </a:lnTo>
                  <a:lnTo>
                    <a:pt x="241784" y="1340452"/>
                  </a:lnTo>
                  <a:lnTo>
                    <a:pt x="243807" y="1343708"/>
                  </a:lnTo>
                  <a:lnTo>
                    <a:pt x="250074" y="1343708"/>
                  </a:lnTo>
                  <a:lnTo>
                    <a:pt x="254218" y="1342080"/>
                  </a:lnTo>
                  <a:lnTo>
                    <a:pt x="260485" y="1338873"/>
                  </a:lnTo>
                  <a:lnTo>
                    <a:pt x="264629" y="1338873"/>
                  </a:lnTo>
                  <a:lnTo>
                    <a:pt x="266751" y="1335616"/>
                  </a:lnTo>
                  <a:lnTo>
                    <a:pt x="264629" y="1334037"/>
                  </a:lnTo>
                  <a:lnTo>
                    <a:pt x="260485" y="1332409"/>
                  </a:lnTo>
                  <a:lnTo>
                    <a:pt x="254218" y="1337343"/>
                  </a:lnTo>
                  <a:lnTo>
                    <a:pt x="250074" y="1340550"/>
                  </a:lnTo>
                  <a:lnTo>
                    <a:pt x="245929" y="1338971"/>
                  </a:lnTo>
                  <a:lnTo>
                    <a:pt x="241784" y="1335715"/>
                  </a:lnTo>
                  <a:lnTo>
                    <a:pt x="239663" y="1335715"/>
                  </a:lnTo>
                  <a:lnTo>
                    <a:pt x="235518" y="1337343"/>
                  </a:lnTo>
                  <a:lnTo>
                    <a:pt x="229252" y="1342277"/>
                  </a:lnTo>
                  <a:lnTo>
                    <a:pt x="229252" y="1339070"/>
                  </a:lnTo>
                  <a:lnTo>
                    <a:pt x="225058" y="1337442"/>
                  </a:lnTo>
                  <a:lnTo>
                    <a:pt x="222986" y="1339070"/>
                  </a:lnTo>
                  <a:lnTo>
                    <a:pt x="216769" y="1339070"/>
                  </a:lnTo>
                  <a:lnTo>
                    <a:pt x="218841" y="1337442"/>
                  </a:lnTo>
                  <a:lnTo>
                    <a:pt x="222986" y="1335814"/>
                  </a:lnTo>
                  <a:lnTo>
                    <a:pt x="233397" y="1332607"/>
                  </a:lnTo>
                  <a:lnTo>
                    <a:pt x="243807" y="1327672"/>
                  </a:lnTo>
                  <a:lnTo>
                    <a:pt x="248001" y="1326044"/>
                  </a:lnTo>
                  <a:lnTo>
                    <a:pt x="258412" y="1324416"/>
                  </a:lnTo>
                  <a:lnTo>
                    <a:pt x="264629" y="1317952"/>
                  </a:lnTo>
                  <a:lnTo>
                    <a:pt x="275040" y="1308084"/>
                  </a:lnTo>
                  <a:lnTo>
                    <a:pt x="287572" y="1303150"/>
                  </a:lnTo>
                  <a:lnTo>
                    <a:pt x="295861" y="1299894"/>
                  </a:lnTo>
                  <a:lnTo>
                    <a:pt x="301733" y="1299894"/>
                  </a:lnTo>
                  <a:lnTo>
                    <a:pt x="303855" y="1296687"/>
                  </a:lnTo>
                  <a:lnTo>
                    <a:pt x="303855" y="1295059"/>
                  </a:lnTo>
                  <a:lnTo>
                    <a:pt x="297588" y="1293430"/>
                  </a:lnTo>
                  <a:lnTo>
                    <a:pt x="289250" y="1296687"/>
                  </a:lnTo>
                  <a:lnTo>
                    <a:pt x="272622" y="1303150"/>
                  </a:lnTo>
                  <a:lnTo>
                    <a:pt x="264234" y="1309614"/>
                  </a:lnTo>
                  <a:lnTo>
                    <a:pt x="258018" y="1317656"/>
                  </a:lnTo>
                  <a:lnTo>
                    <a:pt x="251801" y="1320913"/>
                  </a:lnTo>
                  <a:lnTo>
                    <a:pt x="239268" y="1322492"/>
                  </a:lnTo>
                  <a:lnTo>
                    <a:pt x="235124" y="1324120"/>
                  </a:lnTo>
                  <a:lnTo>
                    <a:pt x="222788" y="1331274"/>
                  </a:lnTo>
                  <a:lnTo>
                    <a:pt x="216571" y="1331274"/>
                  </a:lnTo>
                  <a:lnTo>
                    <a:pt x="214450" y="1328067"/>
                  </a:lnTo>
                  <a:lnTo>
                    <a:pt x="218644" y="1324811"/>
                  </a:lnTo>
                  <a:lnTo>
                    <a:pt x="216571" y="1314943"/>
                  </a:lnTo>
                  <a:lnTo>
                    <a:pt x="220766" y="1310009"/>
                  </a:lnTo>
                  <a:lnTo>
                    <a:pt x="224861" y="1310009"/>
                  </a:lnTo>
                  <a:lnTo>
                    <a:pt x="231176" y="1313216"/>
                  </a:lnTo>
                  <a:lnTo>
                    <a:pt x="243610" y="1313216"/>
                  </a:lnTo>
                  <a:lnTo>
                    <a:pt x="249876" y="1311588"/>
                  </a:lnTo>
                  <a:lnTo>
                    <a:pt x="247804" y="1310009"/>
                  </a:lnTo>
                  <a:lnTo>
                    <a:pt x="241587" y="1306752"/>
                  </a:lnTo>
                  <a:lnTo>
                    <a:pt x="237591" y="1306752"/>
                  </a:lnTo>
                  <a:lnTo>
                    <a:pt x="233397" y="1310009"/>
                  </a:lnTo>
                  <a:lnTo>
                    <a:pt x="229252" y="1308380"/>
                  </a:lnTo>
                  <a:lnTo>
                    <a:pt x="227180" y="1303446"/>
                  </a:lnTo>
                  <a:lnTo>
                    <a:pt x="227180" y="1301769"/>
                  </a:lnTo>
                  <a:lnTo>
                    <a:pt x="233397" y="1300190"/>
                  </a:lnTo>
                  <a:lnTo>
                    <a:pt x="239663" y="1303446"/>
                  </a:lnTo>
                  <a:lnTo>
                    <a:pt x="245929" y="1303446"/>
                  </a:lnTo>
                  <a:lnTo>
                    <a:pt x="252195" y="1301769"/>
                  </a:lnTo>
                  <a:lnTo>
                    <a:pt x="250074" y="1300190"/>
                  </a:lnTo>
                  <a:lnTo>
                    <a:pt x="245929" y="1298562"/>
                  </a:lnTo>
                  <a:lnTo>
                    <a:pt x="243807" y="1298562"/>
                  </a:lnTo>
                  <a:lnTo>
                    <a:pt x="241784" y="1296983"/>
                  </a:lnTo>
                  <a:lnTo>
                    <a:pt x="241784" y="1295355"/>
                  </a:lnTo>
                  <a:lnTo>
                    <a:pt x="248001" y="1293726"/>
                  </a:lnTo>
                  <a:lnTo>
                    <a:pt x="252195" y="1293726"/>
                  </a:lnTo>
                  <a:lnTo>
                    <a:pt x="258412" y="1295355"/>
                  </a:lnTo>
                  <a:lnTo>
                    <a:pt x="260485" y="1293726"/>
                  </a:lnTo>
                  <a:lnTo>
                    <a:pt x="260485" y="1285881"/>
                  </a:lnTo>
                  <a:lnTo>
                    <a:pt x="258412" y="1284204"/>
                  </a:lnTo>
                  <a:lnTo>
                    <a:pt x="254218" y="1284204"/>
                  </a:lnTo>
                  <a:lnTo>
                    <a:pt x="252195" y="1285881"/>
                  </a:lnTo>
                  <a:lnTo>
                    <a:pt x="245929" y="1287460"/>
                  </a:lnTo>
                  <a:lnTo>
                    <a:pt x="231374" y="1282526"/>
                  </a:lnTo>
                  <a:lnTo>
                    <a:pt x="222788" y="1282526"/>
                  </a:lnTo>
                  <a:lnTo>
                    <a:pt x="220766" y="1279270"/>
                  </a:lnTo>
                  <a:lnTo>
                    <a:pt x="220766" y="1277691"/>
                  </a:lnTo>
                  <a:lnTo>
                    <a:pt x="226982" y="1277691"/>
                  </a:lnTo>
                  <a:lnTo>
                    <a:pt x="231176" y="1279270"/>
                  </a:lnTo>
                  <a:lnTo>
                    <a:pt x="235321" y="1277691"/>
                  </a:lnTo>
                  <a:lnTo>
                    <a:pt x="233199" y="1276063"/>
                  </a:lnTo>
                  <a:lnTo>
                    <a:pt x="226982" y="1276063"/>
                  </a:lnTo>
                  <a:lnTo>
                    <a:pt x="224861" y="1274484"/>
                  </a:lnTo>
                  <a:lnTo>
                    <a:pt x="224861" y="1271227"/>
                  </a:lnTo>
                  <a:lnTo>
                    <a:pt x="235321" y="1271227"/>
                  </a:lnTo>
                  <a:lnTo>
                    <a:pt x="237393" y="1269599"/>
                  </a:lnTo>
                  <a:lnTo>
                    <a:pt x="285253" y="1269599"/>
                  </a:lnTo>
                  <a:lnTo>
                    <a:pt x="283230" y="1266342"/>
                  </a:lnTo>
                  <a:lnTo>
                    <a:pt x="274842" y="1263135"/>
                  </a:lnTo>
                  <a:lnTo>
                    <a:pt x="264432" y="1263135"/>
                  </a:lnTo>
                  <a:lnTo>
                    <a:pt x="251998" y="1266342"/>
                  </a:lnTo>
                  <a:lnTo>
                    <a:pt x="245732" y="1266342"/>
                  </a:lnTo>
                  <a:lnTo>
                    <a:pt x="243610" y="1264764"/>
                  </a:lnTo>
                  <a:lnTo>
                    <a:pt x="239465" y="1263135"/>
                  </a:lnTo>
                  <a:lnTo>
                    <a:pt x="233199" y="1264764"/>
                  </a:lnTo>
                  <a:lnTo>
                    <a:pt x="229055" y="1267971"/>
                  </a:lnTo>
                  <a:lnTo>
                    <a:pt x="226982" y="1266342"/>
                  </a:lnTo>
                  <a:lnTo>
                    <a:pt x="226982" y="1263135"/>
                  </a:lnTo>
                  <a:lnTo>
                    <a:pt x="231176" y="1258201"/>
                  </a:lnTo>
                  <a:lnTo>
                    <a:pt x="237393" y="1254945"/>
                  </a:lnTo>
                  <a:lnTo>
                    <a:pt x="241587" y="1251738"/>
                  </a:lnTo>
                  <a:lnTo>
                    <a:pt x="247804" y="1250109"/>
                  </a:lnTo>
                  <a:lnTo>
                    <a:pt x="251998" y="1243646"/>
                  </a:lnTo>
                  <a:lnTo>
                    <a:pt x="256143" y="1240439"/>
                  </a:lnTo>
                  <a:lnTo>
                    <a:pt x="260287" y="1240439"/>
                  </a:lnTo>
                  <a:lnTo>
                    <a:pt x="262409" y="1242067"/>
                  </a:lnTo>
                  <a:lnTo>
                    <a:pt x="268626" y="1242067"/>
                  </a:lnTo>
                  <a:lnTo>
                    <a:pt x="272820" y="1240439"/>
                  </a:lnTo>
                  <a:lnTo>
                    <a:pt x="277063" y="1240439"/>
                  </a:lnTo>
                  <a:lnTo>
                    <a:pt x="279135" y="1242067"/>
                  </a:lnTo>
                  <a:lnTo>
                    <a:pt x="287474" y="1243646"/>
                  </a:lnTo>
                  <a:lnTo>
                    <a:pt x="293740" y="1250109"/>
                  </a:lnTo>
                  <a:lnTo>
                    <a:pt x="299957" y="1248481"/>
                  </a:lnTo>
                  <a:lnTo>
                    <a:pt x="306174" y="1251738"/>
                  </a:lnTo>
                  <a:lnTo>
                    <a:pt x="314561" y="1258201"/>
                  </a:lnTo>
                  <a:lnTo>
                    <a:pt x="322851" y="1261408"/>
                  </a:lnTo>
                  <a:lnTo>
                    <a:pt x="331189" y="1264665"/>
                  </a:lnTo>
                  <a:lnTo>
                    <a:pt x="335334" y="1263037"/>
                  </a:lnTo>
                  <a:lnTo>
                    <a:pt x="339528" y="1263037"/>
                  </a:lnTo>
                  <a:lnTo>
                    <a:pt x="339528" y="1258103"/>
                  </a:lnTo>
                  <a:lnTo>
                    <a:pt x="333262" y="1259731"/>
                  </a:lnTo>
                  <a:lnTo>
                    <a:pt x="331189" y="1261310"/>
                  </a:lnTo>
                  <a:lnTo>
                    <a:pt x="324923" y="1259731"/>
                  </a:lnTo>
                  <a:lnTo>
                    <a:pt x="318706" y="1256524"/>
                  </a:lnTo>
                  <a:lnTo>
                    <a:pt x="310368" y="1246656"/>
                  </a:lnTo>
                  <a:lnTo>
                    <a:pt x="312440" y="1245027"/>
                  </a:lnTo>
                  <a:lnTo>
                    <a:pt x="324923" y="1245027"/>
                  </a:lnTo>
                  <a:lnTo>
                    <a:pt x="335334" y="1241820"/>
                  </a:lnTo>
                  <a:lnTo>
                    <a:pt x="337406" y="1238564"/>
                  </a:lnTo>
                  <a:lnTo>
                    <a:pt x="337406" y="1235357"/>
                  </a:lnTo>
                  <a:lnTo>
                    <a:pt x="329117" y="1233729"/>
                  </a:lnTo>
                  <a:lnTo>
                    <a:pt x="324923" y="1235357"/>
                  </a:lnTo>
                  <a:lnTo>
                    <a:pt x="324923" y="1237528"/>
                  </a:lnTo>
                  <a:lnTo>
                    <a:pt x="326995" y="1240784"/>
                  </a:lnTo>
                  <a:lnTo>
                    <a:pt x="324923" y="1240784"/>
                  </a:lnTo>
                  <a:lnTo>
                    <a:pt x="314561" y="1242412"/>
                  </a:lnTo>
                  <a:lnTo>
                    <a:pt x="310368" y="1239156"/>
                  </a:lnTo>
                  <a:lnTo>
                    <a:pt x="310368" y="1235949"/>
                  </a:lnTo>
                  <a:lnTo>
                    <a:pt x="314561" y="1234321"/>
                  </a:lnTo>
                  <a:lnTo>
                    <a:pt x="316535" y="1234321"/>
                  </a:lnTo>
                  <a:lnTo>
                    <a:pt x="318657" y="1232692"/>
                  </a:lnTo>
                  <a:lnTo>
                    <a:pt x="316535" y="1229485"/>
                  </a:lnTo>
                  <a:lnTo>
                    <a:pt x="312390" y="1229485"/>
                  </a:lnTo>
                  <a:lnTo>
                    <a:pt x="310318" y="1231064"/>
                  </a:lnTo>
                  <a:lnTo>
                    <a:pt x="306124" y="1229485"/>
                  </a:lnTo>
                  <a:lnTo>
                    <a:pt x="304101" y="1229485"/>
                  </a:lnTo>
                  <a:lnTo>
                    <a:pt x="304101" y="1232594"/>
                  </a:lnTo>
                  <a:lnTo>
                    <a:pt x="306124" y="1235850"/>
                  </a:lnTo>
                  <a:lnTo>
                    <a:pt x="306124" y="1239057"/>
                  </a:lnTo>
                  <a:lnTo>
                    <a:pt x="301980" y="1243991"/>
                  </a:lnTo>
                  <a:lnTo>
                    <a:pt x="295714" y="1245620"/>
                  </a:lnTo>
                  <a:lnTo>
                    <a:pt x="291569" y="1243991"/>
                  </a:lnTo>
                  <a:lnTo>
                    <a:pt x="285204" y="1237528"/>
                  </a:lnTo>
                  <a:lnTo>
                    <a:pt x="278987" y="1237528"/>
                  </a:lnTo>
                  <a:lnTo>
                    <a:pt x="276915" y="1235949"/>
                  </a:lnTo>
                  <a:lnTo>
                    <a:pt x="274793" y="1232692"/>
                  </a:lnTo>
                  <a:lnTo>
                    <a:pt x="272770" y="1232692"/>
                  </a:lnTo>
                  <a:lnTo>
                    <a:pt x="270649" y="1235949"/>
                  </a:lnTo>
                  <a:lnTo>
                    <a:pt x="262261" y="1235949"/>
                  </a:lnTo>
                  <a:lnTo>
                    <a:pt x="255994" y="1237528"/>
                  </a:lnTo>
                  <a:lnTo>
                    <a:pt x="251850" y="1240784"/>
                  </a:lnTo>
                  <a:lnTo>
                    <a:pt x="243462" y="1247248"/>
                  </a:lnTo>
                  <a:lnTo>
                    <a:pt x="239317" y="1248827"/>
                  </a:lnTo>
                  <a:lnTo>
                    <a:pt x="237245" y="1247248"/>
                  </a:lnTo>
                  <a:lnTo>
                    <a:pt x="237245" y="1243991"/>
                  </a:lnTo>
                  <a:lnTo>
                    <a:pt x="245584" y="1235949"/>
                  </a:lnTo>
                  <a:lnTo>
                    <a:pt x="247656" y="1234321"/>
                  </a:lnTo>
                  <a:lnTo>
                    <a:pt x="249728" y="1232692"/>
                  </a:lnTo>
                  <a:lnTo>
                    <a:pt x="249728" y="1231064"/>
                  </a:lnTo>
                  <a:lnTo>
                    <a:pt x="251850" y="1229485"/>
                  </a:lnTo>
                  <a:lnTo>
                    <a:pt x="255994" y="1226229"/>
                  </a:lnTo>
                  <a:lnTo>
                    <a:pt x="255994" y="1224650"/>
                  </a:lnTo>
                  <a:lnTo>
                    <a:pt x="258067" y="1219716"/>
                  </a:lnTo>
                  <a:lnTo>
                    <a:pt x="262261" y="1221344"/>
                  </a:lnTo>
                  <a:lnTo>
                    <a:pt x="266405" y="1224601"/>
                  </a:lnTo>
                  <a:lnTo>
                    <a:pt x="274695" y="1226180"/>
                  </a:lnTo>
                  <a:lnTo>
                    <a:pt x="285105" y="1226180"/>
                  </a:lnTo>
                  <a:lnTo>
                    <a:pt x="283082" y="1224601"/>
                  </a:lnTo>
                  <a:lnTo>
                    <a:pt x="278888" y="1222972"/>
                  </a:lnTo>
                  <a:lnTo>
                    <a:pt x="274695" y="1224601"/>
                  </a:lnTo>
                  <a:lnTo>
                    <a:pt x="270550" y="1221344"/>
                  </a:lnTo>
                  <a:lnTo>
                    <a:pt x="262261" y="1214782"/>
                  </a:lnTo>
                  <a:lnTo>
                    <a:pt x="260139" y="1209848"/>
                  </a:lnTo>
                  <a:lnTo>
                    <a:pt x="255994" y="1208220"/>
                  </a:lnTo>
                  <a:lnTo>
                    <a:pt x="255994" y="1204963"/>
                  </a:lnTo>
                  <a:lnTo>
                    <a:pt x="258067" y="1204963"/>
                  </a:lnTo>
                  <a:lnTo>
                    <a:pt x="266405" y="1206591"/>
                  </a:lnTo>
                  <a:lnTo>
                    <a:pt x="272671" y="1214683"/>
                  </a:lnTo>
                  <a:lnTo>
                    <a:pt x="280961" y="1219617"/>
                  </a:lnTo>
                  <a:lnTo>
                    <a:pt x="280961" y="1218038"/>
                  </a:lnTo>
                  <a:lnTo>
                    <a:pt x="278888" y="1213104"/>
                  </a:lnTo>
                  <a:lnTo>
                    <a:pt x="276816" y="1208170"/>
                  </a:lnTo>
                  <a:lnTo>
                    <a:pt x="278888" y="1209798"/>
                  </a:lnTo>
                  <a:lnTo>
                    <a:pt x="283082" y="1213006"/>
                  </a:lnTo>
                  <a:lnTo>
                    <a:pt x="285105" y="1216213"/>
                  </a:lnTo>
                  <a:lnTo>
                    <a:pt x="297638" y="1222726"/>
                  </a:lnTo>
                  <a:lnTo>
                    <a:pt x="301733" y="1222726"/>
                  </a:lnTo>
                  <a:lnTo>
                    <a:pt x="303855" y="1221097"/>
                  </a:lnTo>
                  <a:lnTo>
                    <a:pt x="312144" y="1221097"/>
                  </a:lnTo>
                  <a:lnTo>
                    <a:pt x="314265" y="1222726"/>
                  </a:lnTo>
                  <a:lnTo>
                    <a:pt x="322554" y="1227660"/>
                  </a:lnTo>
                  <a:lnTo>
                    <a:pt x="328821" y="1229288"/>
                  </a:lnTo>
                  <a:lnTo>
                    <a:pt x="328821" y="1230867"/>
                  </a:lnTo>
                  <a:lnTo>
                    <a:pt x="335038" y="1230867"/>
                  </a:lnTo>
                  <a:lnTo>
                    <a:pt x="335038" y="1229288"/>
                  </a:lnTo>
                  <a:lnTo>
                    <a:pt x="328821" y="1224354"/>
                  </a:lnTo>
                  <a:lnTo>
                    <a:pt x="314265" y="1214486"/>
                  </a:lnTo>
                  <a:lnTo>
                    <a:pt x="312144" y="1211279"/>
                  </a:lnTo>
                  <a:lnTo>
                    <a:pt x="314265" y="1209650"/>
                  </a:lnTo>
                  <a:lnTo>
                    <a:pt x="322554" y="1206394"/>
                  </a:lnTo>
                  <a:lnTo>
                    <a:pt x="322554" y="1203187"/>
                  </a:lnTo>
                  <a:lnTo>
                    <a:pt x="324627" y="1198253"/>
                  </a:lnTo>
                  <a:lnTo>
                    <a:pt x="326699" y="1198253"/>
                  </a:lnTo>
                  <a:lnTo>
                    <a:pt x="326699" y="1196674"/>
                  </a:lnTo>
                  <a:lnTo>
                    <a:pt x="322554" y="1196674"/>
                  </a:lnTo>
                  <a:lnTo>
                    <a:pt x="318410" y="1198253"/>
                  </a:lnTo>
                  <a:lnTo>
                    <a:pt x="307999" y="1196674"/>
                  </a:lnTo>
                  <a:lnTo>
                    <a:pt x="305878" y="1199930"/>
                  </a:lnTo>
                  <a:lnTo>
                    <a:pt x="307999" y="1201509"/>
                  </a:lnTo>
                  <a:lnTo>
                    <a:pt x="312144" y="1204716"/>
                  </a:lnTo>
                  <a:lnTo>
                    <a:pt x="310072" y="1206345"/>
                  </a:lnTo>
                  <a:lnTo>
                    <a:pt x="301733" y="1206345"/>
                  </a:lnTo>
                  <a:lnTo>
                    <a:pt x="299661" y="1207973"/>
                  </a:lnTo>
                  <a:lnTo>
                    <a:pt x="293444" y="1206345"/>
                  </a:lnTo>
                  <a:lnTo>
                    <a:pt x="287178" y="1207973"/>
                  </a:lnTo>
                  <a:lnTo>
                    <a:pt x="285056" y="1204716"/>
                  </a:lnTo>
                  <a:lnTo>
                    <a:pt x="278839" y="1203138"/>
                  </a:lnTo>
                  <a:lnTo>
                    <a:pt x="278839" y="1199930"/>
                  </a:lnTo>
                  <a:lnTo>
                    <a:pt x="280912" y="1198253"/>
                  </a:lnTo>
                  <a:lnTo>
                    <a:pt x="285056" y="1195046"/>
                  </a:lnTo>
                  <a:lnTo>
                    <a:pt x="280912" y="1195046"/>
                  </a:lnTo>
                  <a:lnTo>
                    <a:pt x="272622" y="1196674"/>
                  </a:lnTo>
                  <a:lnTo>
                    <a:pt x="272622" y="1195046"/>
                  </a:lnTo>
                  <a:lnTo>
                    <a:pt x="280912" y="1193467"/>
                  </a:lnTo>
                  <a:lnTo>
                    <a:pt x="291322" y="1190210"/>
                  </a:lnTo>
                  <a:lnTo>
                    <a:pt x="295467" y="1188582"/>
                  </a:lnTo>
                  <a:lnTo>
                    <a:pt x="301733" y="1188582"/>
                  </a:lnTo>
                  <a:lnTo>
                    <a:pt x="303855" y="1190210"/>
                  </a:lnTo>
                  <a:lnTo>
                    <a:pt x="310072" y="1188582"/>
                  </a:lnTo>
                  <a:lnTo>
                    <a:pt x="316535" y="1188582"/>
                  </a:lnTo>
                  <a:lnTo>
                    <a:pt x="324874" y="1190210"/>
                  </a:lnTo>
                  <a:lnTo>
                    <a:pt x="324874" y="1186954"/>
                  </a:lnTo>
                  <a:lnTo>
                    <a:pt x="329067" y="1185375"/>
                  </a:lnTo>
                  <a:lnTo>
                    <a:pt x="331140" y="1182168"/>
                  </a:lnTo>
                  <a:lnTo>
                    <a:pt x="335284" y="1180490"/>
                  </a:lnTo>
                  <a:lnTo>
                    <a:pt x="337357" y="1177283"/>
                  </a:lnTo>
                  <a:lnTo>
                    <a:pt x="335284" y="1175655"/>
                  </a:lnTo>
                  <a:lnTo>
                    <a:pt x="331140" y="1180589"/>
                  </a:lnTo>
                  <a:lnTo>
                    <a:pt x="326946" y="1180589"/>
                  </a:lnTo>
                  <a:lnTo>
                    <a:pt x="326946" y="1177382"/>
                  </a:lnTo>
                  <a:lnTo>
                    <a:pt x="329067" y="1172448"/>
                  </a:lnTo>
                  <a:lnTo>
                    <a:pt x="333212" y="1161149"/>
                  </a:lnTo>
                  <a:lnTo>
                    <a:pt x="333212" y="1154685"/>
                  </a:lnTo>
                  <a:lnTo>
                    <a:pt x="335284" y="1154685"/>
                  </a:lnTo>
                  <a:lnTo>
                    <a:pt x="337357" y="1156264"/>
                  </a:lnTo>
                  <a:lnTo>
                    <a:pt x="341551" y="1161198"/>
                  </a:lnTo>
                  <a:lnTo>
                    <a:pt x="339478" y="1162777"/>
                  </a:lnTo>
                  <a:lnTo>
                    <a:pt x="339478" y="1166034"/>
                  </a:lnTo>
                  <a:lnTo>
                    <a:pt x="345695" y="1167662"/>
                  </a:lnTo>
                  <a:lnTo>
                    <a:pt x="351961" y="1166034"/>
                  </a:lnTo>
                  <a:lnTo>
                    <a:pt x="354083" y="1169241"/>
                  </a:lnTo>
                  <a:lnTo>
                    <a:pt x="358178" y="1169241"/>
                  </a:lnTo>
                  <a:lnTo>
                    <a:pt x="358178" y="1167662"/>
                  </a:lnTo>
                  <a:lnTo>
                    <a:pt x="362372" y="1169241"/>
                  </a:lnTo>
                  <a:lnTo>
                    <a:pt x="364494" y="1169241"/>
                  </a:lnTo>
                  <a:lnTo>
                    <a:pt x="364494" y="1166034"/>
                  </a:lnTo>
                  <a:lnTo>
                    <a:pt x="360300" y="1162777"/>
                  </a:lnTo>
                  <a:lnTo>
                    <a:pt x="351961" y="1162777"/>
                  </a:lnTo>
                  <a:lnTo>
                    <a:pt x="351961" y="1161198"/>
                  </a:lnTo>
                  <a:lnTo>
                    <a:pt x="356106" y="1159570"/>
                  </a:lnTo>
                  <a:lnTo>
                    <a:pt x="364494" y="1159570"/>
                  </a:lnTo>
                  <a:lnTo>
                    <a:pt x="364494" y="1156314"/>
                  </a:lnTo>
                  <a:lnTo>
                    <a:pt x="360300" y="1154735"/>
                  </a:lnTo>
                  <a:lnTo>
                    <a:pt x="356007" y="1154735"/>
                  </a:lnTo>
                  <a:lnTo>
                    <a:pt x="353985" y="1151478"/>
                  </a:lnTo>
                  <a:lnTo>
                    <a:pt x="351863" y="1151478"/>
                  </a:lnTo>
                  <a:lnTo>
                    <a:pt x="349790" y="1153106"/>
                  </a:lnTo>
                  <a:lnTo>
                    <a:pt x="345597" y="1153106"/>
                  </a:lnTo>
                  <a:lnTo>
                    <a:pt x="341452" y="1151478"/>
                  </a:lnTo>
                  <a:lnTo>
                    <a:pt x="341452" y="1148715"/>
                  </a:lnTo>
                  <a:lnTo>
                    <a:pt x="343524" y="1145459"/>
                  </a:lnTo>
                  <a:lnTo>
                    <a:pt x="347669" y="1145459"/>
                  </a:lnTo>
                  <a:lnTo>
                    <a:pt x="351863" y="1138995"/>
                  </a:lnTo>
                  <a:lnTo>
                    <a:pt x="356007" y="1137416"/>
                  </a:lnTo>
                  <a:lnTo>
                    <a:pt x="366418" y="1137416"/>
                  </a:lnTo>
                  <a:lnTo>
                    <a:pt x="366418" y="1133913"/>
                  </a:lnTo>
                  <a:lnTo>
                    <a:pt x="362274" y="1132285"/>
                  </a:lnTo>
                  <a:lnTo>
                    <a:pt x="356007" y="1132285"/>
                  </a:lnTo>
                  <a:lnTo>
                    <a:pt x="353985" y="1130706"/>
                  </a:lnTo>
                  <a:lnTo>
                    <a:pt x="356007" y="1128979"/>
                  </a:lnTo>
                  <a:lnTo>
                    <a:pt x="362274" y="1125722"/>
                  </a:lnTo>
                  <a:lnTo>
                    <a:pt x="366418" y="1122515"/>
                  </a:lnTo>
                  <a:lnTo>
                    <a:pt x="370612" y="1120887"/>
                  </a:lnTo>
                  <a:lnTo>
                    <a:pt x="370612" y="1119259"/>
                  </a:lnTo>
                  <a:lnTo>
                    <a:pt x="374806" y="1116052"/>
                  </a:lnTo>
                  <a:lnTo>
                    <a:pt x="372684" y="1112845"/>
                  </a:lnTo>
                  <a:lnTo>
                    <a:pt x="368540" y="1112845"/>
                  </a:lnTo>
                  <a:lnTo>
                    <a:pt x="368540" y="1109588"/>
                  </a:lnTo>
                  <a:lnTo>
                    <a:pt x="376829" y="1109588"/>
                  </a:lnTo>
                  <a:lnTo>
                    <a:pt x="376829" y="1104654"/>
                  </a:lnTo>
                  <a:lnTo>
                    <a:pt x="372684" y="1103026"/>
                  </a:lnTo>
                  <a:lnTo>
                    <a:pt x="366418" y="1104654"/>
                  </a:lnTo>
                  <a:lnTo>
                    <a:pt x="360201" y="1107861"/>
                  </a:lnTo>
                  <a:lnTo>
                    <a:pt x="353985" y="1107861"/>
                  </a:lnTo>
                  <a:lnTo>
                    <a:pt x="351863" y="1104654"/>
                  </a:lnTo>
                  <a:lnTo>
                    <a:pt x="347669" y="1106282"/>
                  </a:lnTo>
                  <a:lnTo>
                    <a:pt x="341452" y="1106282"/>
                  </a:lnTo>
                  <a:lnTo>
                    <a:pt x="337258" y="1103026"/>
                  </a:lnTo>
                  <a:lnTo>
                    <a:pt x="328969" y="1103026"/>
                  </a:lnTo>
                  <a:lnTo>
                    <a:pt x="324775" y="1098092"/>
                  </a:lnTo>
                  <a:lnTo>
                    <a:pt x="318558" y="1098092"/>
                  </a:lnTo>
                  <a:lnTo>
                    <a:pt x="314413" y="1096464"/>
                  </a:lnTo>
                  <a:lnTo>
                    <a:pt x="314413" y="1093257"/>
                  </a:lnTo>
                  <a:lnTo>
                    <a:pt x="312292" y="1086793"/>
                  </a:lnTo>
                  <a:lnTo>
                    <a:pt x="304003" y="1083537"/>
                  </a:lnTo>
                  <a:lnTo>
                    <a:pt x="291470" y="1078603"/>
                  </a:lnTo>
                  <a:lnTo>
                    <a:pt x="281059" y="1075395"/>
                  </a:lnTo>
                  <a:lnTo>
                    <a:pt x="274793" y="1068932"/>
                  </a:lnTo>
                  <a:lnTo>
                    <a:pt x="274793" y="1065675"/>
                  </a:lnTo>
                  <a:lnTo>
                    <a:pt x="272770" y="1059212"/>
                  </a:lnTo>
                  <a:lnTo>
                    <a:pt x="268576" y="1054278"/>
                  </a:lnTo>
                  <a:lnTo>
                    <a:pt x="264382" y="1051071"/>
                  </a:lnTo>
                  <a:lnTo>
                    <a:pt x="264382" y="1047814"/>
                  </a:lnTo>
                  <a:lnTo>
                    <a:pt x="272770" y="1042880"/>
                  </a:lnTo>
                  <a:lnTo>
                    <a:pt x="278987" y="1042880"/>
                  </a:lnTo>
                  <a:lnTo>
                    <a:pt x="283181" y="1041252"/>
                  </a:lnTo>
                  <a:lnTo>
                    <a:pt x="287326" y="1042880"/>
                  </a:lnTo>
                  <a:lnTo>
                    <a:pt x="293592" y="1042880"/>
                  </a:lnTo>
                  <a:lnTo>
                    <a:pt x="299809" y="1047814"/>
                  </a:lnTo>
                  <a:lnTo>
                    <a:pt x="306026" y="1049442"/>
                  </a:lnTo>
                  <a:lnTo>
                    <a:pt x="312292" y="1049442"/>
                  </a:lnTo>
                  <a:lnTo>
                    <a:pt x="314413" y="1051071"/>
                  </a:lnTo>
                  <a:lnTo>
                    <a:pt x="320630" y="1051071"/>
                  </a:lnTo>
                  <a:lnTo>
                    <a:pt x="326847" y="1054278"/>
                  </a:lnTo>
                  <a:lnTo>
                    <a:pt x="331041" y="1055906"/>
                  </a:lnTo>
                  <a:lnTo>
                    <a:pt x="335186" y="1055906"/>
                  </a:lnTo>
                  <a:lnTo>
                    <a:pt x="339380" y="1060840"/>
                  </a:lnTo>
                  <a:lnTo>
                    <a:pt x="343524" y="1072139"/>
                  </a:lnTo>
                  <a:lnTo>
                    <a:pt x="347669" y="1077073"/>
                  </a:lnTo>
                  <a:lnTo>
                    <a:pt x="353985" y="1080329"/>
                  </a:lnTo>
                  <a:lnTo>
                    <a:pt x="360201" y="1085264"/>
                  </a:lnTo>
                  <a:lnTo>
                    <a:pt x="366418" y="1086892"/>
                  </a:lnTo>
                  <a:lnTo>
                    <a:pt x="370612" y="1086892"/>
                  </a:lnTo>
                  <a:lnTo>
                    <a:pt x="372684" y="1081958"/>
                  </a:lnTo>
                  <a:lnTo>
                    <a:pt x="372684" y="1080329"/>
                  </a:lnTo>
                  <a:lnTo>
                    <a:pt x="368540" y="1081958"/>
                  </a:lnTo>
                  <a:lnTo>
                    <a:pt x="364395" y="1081958"/>
                  </a:lnTo>
                  <a:lnTo>
                    <a:pt x="360201" y="1080329"/>
                  </a:lnTo>
                  <a:lnTo>
                    <a:pt x="353985" y="1072238"/>
                  </a:lnTo>
                  <a:lnTo>
                    <a:pt x="353985" y="1070609"/>
                  </a:lnTo>
                  <a:lnTo>
                    <a:pt x="356007" y="1069030"/>
                  </a:lnTo>
                  <a:lnTo>
                    <a:pt x="362274" y="1075494"/>
                  </a:lnTo>
                  <a:lnTo>
                    <a:pt x="366418" y="1075494"/>
                  </a:lnTo>
                  <a:lnTo>
                    <a:pt x="366418" y="1072238"/>
                  </a:lnTo>
                  <a:lnTo>
                    <a:pt x="370612" y="1072238"/>
                  </a:lnTo>
                  <a:lnTo>
                    <a:pt x="370612" y="1069030"/>
                  </a:lnTo>
                  <a:lnTo>
                    <a:pt x="362274" y="1064096"/>
                  </a:lnTo>
                  <a:lnTo>
                    <a:pt x="353985" y="1059162"/>
                  </a:lnTo>
                  <a:lnTo>
                    <a:pt x="351863" y="1054228"/>
                  </a:lnTo>
                  <a:lnTo>
                    <a:pt x="353985" y="1052600"/>
                  </a:lnTo>
                  <a:lnTo>
                    <a:pt x="356007" y="1052600"/>
                  </a:lnTo>
                  <a:lnTo>
                    <a:pt x="360201" y="1059064"/>
                  </a:lnTo>
                  <a:lnTo>
                    <a:pt x="364395" y="1059064"/>
                  </a:lnTo>
                  <a:lnTo>
                    <a:pt x="360201" y="1052600"/>
                  </a:lnTo>
                  <a:lnTo>
                    <a:pt x="353985" y="1046136"/>
                  </a:lnTo>
                  <a:lnTo>
                    <a:pt x="347669" y="1042929"/>
                  </a:lnTo>
                  <a:lnTo>
                    <a:pt x="345597" y="1039673"/>
                  </a:lnTo>
                  <a:lnTo>
                    <a:pt x="347669" y="1036466"/>
                  </a:lnTo>
                  <a:lnTo>
                    <a:pt x="353985" y="1039673"/>
                  </a:lnTo>
                  <a:lnTo>
                    <a:pt x="368540" y="1042929"/>
                  </a:lnTo>
                  <a:lnTo>
                    <a:pt x="372684" y="1041301"/>
                  </a:lnTo>
                  <a:lnTo>
                    <a:pt x="372684" y="1038094"/>
                  </a:lnTo>
                  <a:lnTo>
                    <a:pt x="366418" y="1031630"/>
                  </a:lnTo>
                  <a:lnTo>
                    <a:pt x="364395" y="1031630"/>
                  </a:lnTo>
                  <a:lnTo>
                    <a:pt x="360201" y="1034838"/>
                  </a:lnTo>
                  <a:lnTo>
                    <a:pt x="347669" y="1034838"/>
                  </a:lnTo>
                  <a:lnTo>
                    <a:pt x="345597" y="1031630"/>
                  </a:lnTo>
                  <a:lnTo>
                    <a:pt x="347669" y="1028374"/>
                  </a:lnTo>
                  <a:lnTo>
                    <a:pt x="356007" y="1025167"/>
                  </a:lnTo>
                  <a:lnTo>
                    <a:pt x="360201" y="1025167"/>
                  </a:lnTo>
                  <a:lnTo>
                    <a:pt x="364395" y="1028374"/>
                  </a:lnTo>
                  <a:lnTo>
                    <a:pt x="366418" y="1026746"/>
                  </a:lnTo>
                  <a:lnTo>
                    <a:pt x="364395" y="1023539"/>
                  </a:lnTo>
                  <a:lnTo>
                    <a:pt x="360201" y="1018605"/>
                  </a:lnTo>
                  <a:lnTo>
                    <a:pt x="358080" y="1018605"/>
                  </a:lnTo>
                  <a:lnTo>
                    <a:pt x="356007" y="1020233"/>
                  </a:lnTo>
                  <a:lnTo>
                    <a:pt x="351863" y="1021812"/>
                  </a:lnTo>
                  <a:lnTo>
                    <a:pt x="349790" y="1023440"/>
                  </a:lnTo>
                  <a:lnTo>
                    <a:pt x="339380" y="1029904"/>
                  </a:lnTo>
                  <a:lnTo>
                    <a:pt x="335186" y="1029904"/>
                  </a:lnTo>
                  <a:lnTo>
                    <a:pt x="335186" y="1026647"/>
                  </a:lnTo>
                  <a:lnTo>
                    <a:pt x="339380" y="1025068"/>
                  </a:lnTo>
                  <a:lnTo>
                    <a:pt x="341452" y="1020134"/>
                  </a:lnTo>
                  <a:lnTo>
                    <a:pt x="345597" y="1015200"/>
                  </a:lnTo>
                  <a:lnTo>
                    <a:pt x="353985" y="1015200"/>
                  </a:lnTo>
                  <a:lnTo>
                    <a:pt x="358080" y="1011993"/>
                  </a:lnTo>
                  <a:lnTo>
                    <a:pt x="362274" y="1010365"/>
                  </a:lnTo>
                  <a:lnTo>
                    <a:pt x="364395" y="1008737"/>
                  </a:lnTo>
                  <a:lnTo>
                    <a:pt x="364395" y="1007158"/>
                  </a:lnTo>
                  <a:lnTo>
                    <a:pt x="356007" y="1007158"/>
                  </a:lnTo>
                  <a:lnTo>
                    <a:pt x="349790" y="1010365"/>
                  </a:lnTo>
                  <a:lnTo>
                    <a:pt x="345597" y="1011993"/>
                  </a:lnTo>
                  <a:lnTo>
                    <a:pt x="343524" y="1010365"/>
                  </a:lnTo>
                  <a:lnTo>
                    <a:pt x="335186" y="1011993"/>
                  </a:lnTo>
                  <a:lnTo>
                    <a:pt x="333113" y="1010365"/>
                  </a:lnTo>
                  <a:lnTo>
                    <a:pt x="333113" y="1005431"/>
                  </a:lnTo>
                  <a:lnTo>
                    <a:pt x="337258" y="1003803"/>
                  </a:lnTo>
                  <a:lnTo>
                    <a:pt x="341452" y="1000595"/>
                  </a:lnTo>
                  <a:lnTo>
                    <a:pt x="349790" y="1000595"/>
                  </a:lnTo>
                  <a:lnTo>
                    <a:pt x="360201" y="997339"/>
                  </a:lnTo>
                  <a:lnTo>
                    <a:pt x="368540" y="994132"/>
                  </a:lnTo>
                  <a:lnTo>
                    <a:pt x="370612" y="990875"/>
                  </a:lnTo>
                  <a:lnTo>
                    <a:pt x="364395" y="990875"/>
                  </a:lnTo>
                  <a:lnTo>
                    <a:pt x="358080" y="992504"/>
                  </a:lnTo>
                  <a:lnTo>
                    <a:pt x="353985" y="995711"/>
                  </a:lnTo>
                  <a:lnTo>
                    <a:pt x="347669" y="994132"/>
                  </a:lnTo>
                  <a:lnTo>
                    <a:pt x="345597" y="989198"/>
                  </a:lnTo>
                  <a:lnTo>
                    <a:pt x="343524" y="987569"/>
                  </a:lnTo>
                  <a:lnTo>
                    <a:pt x="337258" y="989198"/>
                  </a:lnTo>
                  <a:lnTo>
                    <a:pt x="335186" y="987569"/>
                  </a:lnTo>
                  <a:lnTo>
                    <a:pt x="335186" y="984313"/>
                  </a:lnTo>
                  <a:lnTo>
                    <a:pt x="339380" y="981106"/>
                  </a:lnTo>
                  <a:lnTo>
                    <a:pt x="341452" y="974642"/>
                  </a:lnTo>
                  <a:lnTo>
                    <a:pt x="345597" y="971386"/>
                  </a:lnTo>
                  <a:lnTo>
                    <a:pt x="349790" y="969807"/>
                  </a:lnTo>
                  <a:lnTo>
                    <a:pt x="349790" y="968179"/>
                  </a:lnTo>
                  <a:lnTo>
                    <a:pt x="347669" y="968179"/>
                  </a:lnTo>
                  <a:lnTo>
                    <a:pt x="341452" y="969807"/>
                  </a:lnTo>
                  <a:lnTo>
                    <a:pt x="335186" y="977849"/>
                  </a:lnTo>
                  <a:lnTo>
                    <a:pt x="335186" y="981106"/>
                  </a:lnTo>
                  <a:lnTo>
                    <a:pt x="328969" y="982734"/>
                  </a:lnTo>
                  <a:lnTo>
                    <a:pt x="328969" y="985941"/>
                  </a:lnTo>
                  <a:lnTo>
                    <a:pt x="324775" y="984313"/>
                  </a:lnTo>
                  <a:lnTo>
                    <a:pt x="326847" y="979379"/>
                  </a:lnTo>
                  <a:lnTo>
                    <a:pt x="326847" y="972915"/>
                  </a:lnTo>
                  <a:lnTo>
                    <a:pt x="328969" y="964824"/>
                  </a:lnTo>
                  <a:lnTo>
                    <a:pt x="324775" y="958409"/>
                  </a:lnTo>
                  <a:lnTo>
                    <a:pt x="322703" y="953475"/>
                  </a:lnTo>
                  <a:lnTo>
                    <a:pt x="326847" y="948541"/>
                  </a:lnTo>
                  <a:lnTo>
                    <a:pt x="324775" y="943607"/>
                  </a:lnTo>
                  <a:lnTo>
                    <a:pt x="324775" y="943607"/>
                  </a:lnTo>
                  <a:lnTo>
                    <a:pt x="322703" y="946814"/>
                  </a:lnTo>
                  <a:lnTo>
                    <a:pt x="320630" y="956682"/>
                  </a:lnTo>
                  <a:lnTo>
                    <a:pt x="322703" y="961616"/>
                  </a:lnTo>
                  <a:lnTo>
                    <a:pt x="324775" y="968080"/>
                  </a:lnTo>
                  <a:lnTo>
                    <a:pt x="324775" y="981007"/>
                  </a:lnTo>
                  <a:lnTo>
                    <a:pt x="320630" y="985941"/>
                  </a:lnTo>
                  <a:lnTo>
                    <a:pt x="318558" y="985941"/>
                  </a:lnTo>
                  <a:lnTo>
                    <a:pt x="314413" y="982734"/>
                  </a:lnTo>
                  <a:lnTo>
                    <a:pt x="310219" y="979478"/>
                  </a:lnTo>
                  <a:lnTo>
                    <a:pt x="310219" y="989346"/>
                  </a:lnTo>
                  <a:lnTo>
                    <a:pt x="301733" y="989346"/>
                  </a:lnTo>
                  <a:lnTo>
                    <a:pt x="305878" y="990925"/>
                  </a:lnTo>
                  <a:lnTo>
                    <a:pt x="307999" y="995859"/>
                  </a:lnTo>
                  <a:lnTo>
                    <a:pt x="305878" y="1000793"/>
                  </a:lnTo>
                  <a:lnTo>
                    <a:pt x="301733" y="1004000"/>
                  </a:lnTo>
                  <a:lnTo>
                    <a:pt x="297588" y="1005628"/>
                  </a:lnTo>
                  <a:lnTo>
                    <a:pt x="293444" y="1004000"/>
                  </a:lnTo>
                  <a:lnTo>
                    <a:pt x="291322" y="1005628"/>
                  </a:lnTo>
                  <a:lnTo>
                    <a:pt x="287178" y="1008835"/>
                  </a:lnTo>
                  <a:lnTo>
                    <a:pt x="277063" y="1008835"/>
                  </a:lnTo>
                  <a:lnTo>
                    <a:pt x="274941" y="1005628"/>
                  </a:lnTo>
                  <a:lnTo>
                    <a:pt x="274941" y="1002372"/>
                  </a:lnTo>
                  <a:lnTo>
                    <a:pt x="272918" y="999165"/>
                  </a:lnTo>
                  <a:lnTo>
                    <a:pt x="270796" y="995908"/>
                  </a:lnTo>
                  <a:lnTo>
                    <a:pt x="266652" y="995908"/>
                  </a:lnTo>
                  <a:lnTo>
                    <a:pt x="266652" y="1000842"/>
                  </a:lnTo>
                  <a:lnTo>
                    <a:pt x="264530" y="1000842"/>
                  </a:lnTo>
                  <a:lnTo>
                    <a:pt x="262507" y="992750"/>
                  </a:lnTo>
                  <a:lnTo>
                    <a:pt x="262507" y="985399"/>
                  </a:lnTo>
                  <a:lnTo>
                    <a:pt x="260386" y="983820"/>
                  </a:lnTo>
                  <a:lnTo>
                    <a:pt x="260386" y="980563"/>
                  </a:lnTo>
                  <a:lnTo>
                    <a:pt x="266652" y="977356"/>
                  </a:lnTo>
                  <a:lnTo>
                    <a:pt x="272918" y="977356"/>
                  </a:lnTo>
                  <a:lnTo>
                    <a:pt x="274941" y="978935"/>
                  </a:lnTo>
                  <a:lnTo>
                    <a:pt x="277063" y="974001"/>
                  </a:lnTo>
                  <a:lnTo>
                    <a:pt x="281208" y="972373"/>
                  </a:lnTo>
                  <a:lnTo>
                    <a:pt x="296010" y="972373"/>
                  </a:lnTo>
                  <a:lnTo>
                    <a:pt x="302276" y="964330"/>
                  </a:lnTo>
                  <a:lnTo>
                    <a:pt x="308147" y="956288"/>
                  </a:lnTo>
                  <a:lnTo>
                    <a:pt x="308147" y="953081"/>
                  </a:lnTo>
                  <a:lnTo>
                    <a:pt x="306026" y="953081"/>
                  </a:lnTo>
                  <a:lnTo>
                    <a:pt x="304003" y="956288"/>
                  </a:lnTo>
                  <a:lnTo>
                    <a:pt x="299809" y="961222"/>
                  </a:lnTo>
                  <a:lnTo>
                    <a:pt x="293592" y="966156"/>
                  </a:lnTo>
                  <a:lnTo>
                    <a:pt x="287326" y="969412"/>
                  </a:lnTo>
                  <a:lnTo>
                    <a:pt x="278987" y="967784"/>
                  </a:lnTo>
                  <a:lnTo>
                    <a:pt x="272770" y="962850"/>
                  </a:lnTo>
                  <a:lnTo>
                    <a:pt x="272770" y="959643"/>
                  </a:lnTo>
                  <a:lnTo>
                    <a:pt x="278987" y="956386"/>
                  </a:lnTo>
                  <a:lnTo>
                    <a:pt x="287326" y="951452"/>
                  </a:lnTo>
                  <a:lnTo>
                    <a:pt x="291470" y="949824"/>
                  </a:lnTo>
                  <a:lnTo>
                    <a:pt x="293592" y="948196"/>
                  </a:lnTo>
                  <a:lnTo>
                    <a:pt x="293592" y="941732"/>
                  </a:lnTo>
                  <a:lnTo>
                    <a:pt x="297736" y="941732"/>
                  </a:lnTo>
                  <a:lnTo>
                    <a:pt x="299809" y="940153"/>
                  </a:lnTo>
                  <a:lnTo>
                    <a:pt x="299809" y="938525"/>
                  </a:lnTo>
                  <a:lnTo>
                    <a:pt x="297736" y="935269"/>
                  </a:lnTo>
                  <a:lnTo>
                    <a:pt x="297736" y="933690"/>
                  </a:lnTo>
                  <a:lnTo>
                    <a:pt x="295615" y="935269"/>
                  </a:lnTo>
                  <a:lnTo>
                    <a:pt x="291470" y="936897"/>
                  </a:lnTo>
                  <a:lnTo>
                    <a:pt x="278987" y="936897"/>
                  </a:lnTo>
                  <a:lnTo>
                    <a:pt x="276915" y="935269"/>
                  </a:lnTo>
                  <a:lnTo>
                    <a:pt x="278987" y="930335"/>
                  </a:lnTo>
                  <a:lnTo>
                    <a:pt x="287326" y="927128"/>
                  </a:lnTo>
                  <a:lnTo>
                    <a:pt x="289398" y="927128"/>
                  </a:lnTo>
                  <a:lnTo>
                    <a:pt x="293592" y="930335"/>
                  </a:lnTo>
                  <a:lnTo>
                    <a:pt x="299809" y="930335"/>
                  </a:lnTo>
                  <a:lnTo>
                    <a:pt x="306026" y="927128"/>
                  </a:lnTo>
                  <a:lnTo>
                    <a:pt x="310219" y="919036"/>
                  </a:lnTo>
                  <a:lnTo>
                    <a:pt x="308147" y="915829"/>
                  </a:lnTo>
                  <a:lnTo>
                    <a:pt x="308147" y="912572"/>
                  </a:lnTo>
                  <a:lnTo>
                    <a:pt x="316436" y="906109"/>
                  </a:lnTo>
                  <a:lnTo>
                    <a:pt x="314413" y="899645"/>
                  </a:lnTo>
                  <a:lnTo>
                    <a:pt x="314413" y="893181"/>
                  </a:lnTo>
                  <a:lnTo>
                    <a:pt x="312292" y="889974"/>
                  </a:lnTo>
                  <a:lnTo>
                    <a:pt x="304003" y="889974"/>
                  </a:lnTo>
                  <a:lnTo>
                    <a:pt x="301881" y="885040"/>
                  </a:lnTo>
                  <a:lnTo>
                    <a:pt x="295615" y="885040"/>
                  </a:lnTo>
                  <a:lnTo>
                    <a:pt x="291470" y="883412"/>
                  </a:lnTo>
                  <a:lnTo>
                    <a:pt x="291470" y="882277"/>
                  </a:lnTo>
                  <a:lnTo>
                    <a:pt x="295615" y="880649"/>
                  </a:lnTo>
                  <a:lnTo>
                    <a:pt x="299809" y="882277"/>
                  </a:lnTo>
                  <a:lnTo>
                    <a:pt x="304003" y="880649"/>
                  </a:lnTo>
                  <a:lnTo>
                    <a:pt x="308147" y="875715"/>
                  </a:lnTo>
                  <a:lnTo>
                    <a:pt x="308147" y="870781"/>
                  </a:lnTo>
                  <a:lnTo>
                    <a:pt x="312292" y="867524"/>
                  </a:lnTo>
                  <a:lnTo>
                    <a:pt x="312292" y="864317"/>
                  </a:lnTo>
                  <a:lnTo>
                    <a:pt x="308147" y="861110"/>
                  </a:lnTo>
                  <a:lnTo>
                    <a:pt x="304003" y="861110"/>
                  </a:lnTo>
                  <a:lnTo>
                    <a:pt x="301881" y="859482"/>
                  </a:lnTo>
                  <a:lnTo>
                    <a:pt x="301881" y="854548"/>
                  </a:lnTo>
                  <a:lnTo>
                    <a:pt x="306026" y="852920"/>
                  </a:lnTo>
                  <a:lnTo>
                    <a:pt x="306026" y="852920"/>
                  </a:lnTo>
                  <a:lnTo>
                    <a:pt x="306026" y="849663"/>
                  </a:lnTo>
                  <a:lnTo>
                    <a:pt x="301881" y="844729"/>
                  </a:lnTo>
                  <a:lnTo>
                    <a:pt x="301881" y="838266"/>
                  </a:lnTo>
                  <a:lnTo>
                    <a:pt x="304003" y="836637"/>
                  </a:lnTo>
                  <a:lnTo>
                    <a:pt x="308147" y="841571"/>
                  </a:lnTo>
                  <a:lnTo>
                    <a:pt x="308147" y="838315"/>
                  </a:lnTo>
                  <a:lnTo>
                    <a:pt x="306026" y="835108"/>
                  </a:lnTo>
                  <a:lnTo>
                    <a:pt x="306026" y="831851"/>
                  </a:lnTo>
                  <a:lnTo>
                    <a:pt x="308147" y="826917"/>
                  </a:lnTo>
                  <a:lnTo>
                    <a:pt x="308147" y="821983"/>
                  </a:lnTo>
                  <a:lnTo>
                    <a:pt x="304003" y="817049"/>
                  </a:lnTo>
                  <a:lnTo>
                    <a:pt x="304003" y="812115"/>
                  </a:lnTo>
                  <a:lnTo>
                    <a:pt x="301881" y="808908"/>
                  </a:lnTo>
                  <a:lnTo>
                    <a:pt x="306026" y="805652"/>
                  </a:lnTo>
                  <a:lnTo>
                    <a:pt x="308147" y="799237"/>
                  </a:lnTo>
                  <a:lnTo>
                    <a:pt x="301733" y="799237"/>
                  </a:lnTo>
                  <a:lnTo>
                    <a:pt x="295467" y="804171"/>
                  </a:lnTo>
                  <a:lnTo>
                    <a:pt x="291322" y="804171"/>
                  </a:lnTo>
                  <a:lnTo>
                    <a:pt x="287178" y="807379"/>
                  </a:lnTo>
                  <a:lnTo>
                    <a:pt x="280912" y="807379"/>
                  </a:lnTo>
                  <a:lnTo>
                    <a:pt x="283033" y="804171"/>
                  </a:lnTo>
                  <a:lnTo>
                    <a:pt x="289250" y="799237"/>
                  </a:lnTo>
                  <a:lnTo>
                    <a:pt x="293444" y="799237"/>
                  </a:lnTo>
                  <a:lnTo>
                    <a:pt x="297588" y="795981"/>
                  </a:lnTo>
                  <a:lnTo>
                    <a:pt x="299661" y="791047"/>
                  </a:lnTo>
                  <a:lnTo>
                    <a:pt x="303855" y="787790"/>
                  </a:lnTo>
                  <a:lnTo>
                    <a:pt x="310072" y="784583"/>
                  </a:lnTo>
                  <a:lnTo>
                    <a:pt x="312144" y="781327"/>
                  </a:lnTo>
                  <a:lnTo>
                    <a:pt x="312144" y="776393"/>
                  </a:lnTo>
                  <a:lnTo>
                    <a:pt x="307999" y="773186"/>
                  </a:lnTo>
                  <a:lnTo>
                    <a:pt x="303855" y="768252"/>
                  </a:lnTo>
                  <a:lnTo>
                    <a:pt x="301733" y="763318"/>
                  </a:lnTo>
                  <a:lnTo>
                    <a:pt x="299661" y="761739"/>
                  </a:lnTo>
                  <a:lnTo>
                    <a:pt x="297588" y="761739"/>
                  </a:lnTo>
                  <a:lnTo>
                    <a:pt x="293444" y="758482"/>
                  </a:lnTo>
                  <a:lnTo>
                    <a:pt x="293444" y="753548"/>
                  </a:lnTo>
                  <a:lnTo>
                    <a:pt x="295467" y="751920"/>
                  </a:lnTo>
                  <a:lnTo>
                    <a:pt x="295467" y="742052"/>
                  </a:lnTo>
                  <a:lnTo>
                    <a:pt x="291322" y="737118"/>
                  </a:lnTo>
                  <a:lnTo>
                    <a:pt x="280912" y="729075"/>
                  </a:lnTo>
                  <a:lnTo>
                    <a:pt x="278839" y="727447"/>
                  </a:lnTo>
                  <a:lnTo>
                    <a:pt x="276767" y="722513"/>
                  </a:lnTo>
                  <a:lnTo>
                    <a:pt x="274645" y="720885"/>
                  </a:lnTo>
                  <a:lnTo>
                    <a:pt x="274645" y="717678"/>
                  </a:lnTo>
                  <a:lnTo>
                    <a:pt x="276767" y="716050"/>
                  </a:lnTo>
                  <a:lnTo>
                    <a:pt x="283033" y="711116"/>
                  </a:lnTo>
                  <a:lnTo>
                    <a:pt x="287178" y="709487"/>
                  </a:lnTo>
                  <a:lnTo>
                    <a:pt x="289250" y="706280"/>
                  </a:lnTo>
                  <a:lnTo>
                    <a:pt x="287178" y="704652"/>
                  </a:lnTo>
                  <a:lnTo>
                    <a:pt x="283033" y="704652"/>
                  </a:lnTo>
                  <a:lnTo>
                    <a:pt x="283033" y="703024"/>
                  </a:lnTo>
                  <a:lnTo>
                    <a:pt x="287178" y="699817"/>
                  </a:lnTo>
                  <a:lnTo>
                    <a:pt x="289250" y="693353"/>
                  </a:lnTo>
                  <a:lnTo>
                    <a:pt x="293444" y="690097"/>
                  </a:lnTo>
                  <a:lnTo>
                    <a:pt x="293444" y="689850"/>
                  </a:lnTo>
                  <a:lnTo>
                    <a:pt x="291322" y="688271"/>
                  </a:lnTo>
                  <a:lnTo>
                    <a:pt x="293444" y="683337"/>
                  </a:lnTo>
                  <a:lnTo>
                    <a:pt x="291322" y="681758"/>
                  </a:lnTo>
                  <a:lnTo>
                    <a:pt x="287178" y="680130"/>
                  </a:lnTo>
                  <a:lnTo>
                    <a:pt x="283033" y="673666"/>
                  </a:lnTo>
                  <a:lnTo>
                    <a:pt x="274645" y="668732"/>
                  </a:lnTo>
                  <a:lnTo>
                    <a:pt x="272622" y="663798"/>
                  </a:lnTo>
                  <a:lnTo>
                    <a:pt x="268428" y="662170"/>
                  </a:lnTo>
                  <a:lnTo>
                    <a:pt x="266356" y="662170"/>
                  </a:lnTo>
                  <a:lnTo>
                    <a:pt x="266356" y="665377"/>
                  </a:lnTo>
                  <a:lnTo>
                    <a:pt x="262261" y="665377"/>
                  </a:lnTo>
                  <a:lnTo>
                    <a:pt x="260139" y="663798"/>
                  </a:lnTo>
                  <a:lnTo>
                    <a:pt x="260139" y="658864"/>
                  </a:lnTo>
                  <a:lnTo>
                    <a:pt x="255994" y="657285"/>
                  </a:lnTo>
                  <a:lnTo>
                    <a:pt x="249728" y="654029"/>
                  </a:lnTo>
                  <a:lnTo>
                    <a:pt x="247656" y="650822"/>
                  </a:lnTo>
                  <a:lnTo>
                    <a:pt x="243462" y="649193"/>
                  </a:lnTo>
                  <a:lnTo>
                    <a:pt x="243462" y="650822"/>
                  </a:lnTo>
                  <a:lnTo>
                    <a:pt x="239317" y="650822"/>
                  </a:lnTo>
                  <a:lnTo>
                    <a:pt x="239317" y="649193"/>
                  </a:lnTo>
                  <a:lnTo>
                    <a:pt x="241439" y="644259"/>
                  </a:lnTo>
                  <a:lnTo>
                    <a:pt x="233051" y="637796"/>
                  </a:lnTo>
                  <a:lnTo>
                    <a:pt x="224713" y="632862"/>
                  </a:lnTo>
                  <a:lnTo>
                    <a:pt x="222788" y="632862"/>
                  </a:lnTo>
                  <a:lnTo>
                    <a:pt x="218644" y="636069"/>
                  </a:lnTo>
                  <a:lnTo>
                    <a:pt x="214450" y="634441"/>
                  </a:lnTo>
                  <a:lnTo>
                    <a:pt x="204039" y="626398"/>
                  </a:lnTo>
                  <a:lnTo>
                    <a:pt x="195750" y="624770"/>
                  </a:lnTo>
                  <a:lnTo>
                    <a:pt x="191556" y="619836"/>
                  </a:lnTo>
                  <a:lnTo>
                    <a:pt x="185339" y="618208"/>
                  </a:lnTo>
                  <a:lnTo>
                    <a:pt x="177000" y="618208"/>
                  </a:lnTo>
                  <a:lnTo>
                    <a:pt x="172807" y="623142"/>
                  </a:lnTo>
                  <a:lnTo>
                    <a:pt x="168662" y="628076"/>
                  </a:lnTo>
                  <a:lnTo>
                    <a:pt x="162396" y="633010"/>
                  </a:lnTo>
                  <a:lnTo>
                    <a:pt x="158251" y="636217"/>
                  </a:lnTo>
                  <a:lnTo>
                    <a:pt x="158251" y="629753"/>
                  </a:lnTo>
                  <a:lnTo>
                    <a:pt x="162396" y="624819"/>
                  </a:lnTo>
                  <a:lnTo>
                    <a:pt x="162396" y="619885"/>
                  </a:lnTo>
                  <a:lnTo>
                    <a:pt x="160324" y="618257"/>
                  </a:lnTo>
                  <a:lnTo>
                    <a:pt x="151985" y="616629"/>
                  </a:lnTo>
                  <a:lnTo>
                    <a:pt x="149913" y="621563"/>
                  </a:lnTo>
                  <a:lnTo>
                    <a:pt x="147840" y="624819"/>
                  </a:lnTo>
                  <a:lnTo>
                    <a:pt x="143696" y="628026"/>
                  </a:lnTo>
                  <a:lnTo>
                    <a:pt x="139502" y="626447"/>
                  </a:lnTo>
                  <a:lnTo>
                    <a:pt x="135357" y="618356"/>
                  </a:lnTo>
                  <a:lnTo>
                    <a:pt x="131163" y="616727"/>
                  </a:lnTo>
                  <a:lnTo>
                    <a:pt x="131163" y="621661"/>
                  </a:lnTo>
                  <a:lnTo>
                    <a:pt x="127019" y="631530"/>
                  </a:lnTo>
                  <a:lnTo>
                    <a:pt x="124946" y="633158"/>
                  </a:lnTo>
                  <a:lnTo>
                    <a:pt x="120753" y="631530"/>
                  </a:lnTo>
                  <a:lnTo>
                    <a:pt x="118680" y="625066"/>
                  </a:lnTo>
                  <a:lnTo>
                    <a:pt x="122874" y="620132"/>
                  </a:lnTo>
                  <a:lnTo>
                    <a:pt x="127019" y="616876"/>
                  </a:lnTo>
                  <a:lnTo>
                    <a:pt x="127019" y="613668"/>
                  </a:lnTo>
                  <a:lnTo>
                    <a:pt x="122874" y="615297"/>
                  </a:lnTo>
                  <a:lnTo>
                    <a:pt x="120753" y="612040"/>
                  </a:lnTo>
                  <a:lnTo>
                    <a:pt x="112463" y="616974"/>
                  </a:lnTo>
                  <a:lnTo>
                    <a:pt x="108269" y="616974"/>
                  </a:lnTo>
                  <a:lnTo>
                    <a:pt x="106197" y="620231"/>
                  </a:lnTo>
                  <a:lnTo>
                    <a:pt x="104125" y="621810"/>
                  </a:lnTo>
                  <a:lnTo>
                    <a:pt x="102053" y="618602"/>
                  </a:lnTo>
                  <a:lnTo>
                    <a:pt x="102053" y="615395"/>
                  </a:lnTo>
                  <a:lnTo>
                    <a:pt x="99931" y="608932"/>
                  </a:lnTo>
                  <a:lnTo>
                    <a:pt x="97859" y="603998"/>
                  </a:lnTo>
                  <a:lnTo>
                    <a:pt x="95786" y="603998"/>
                  </a:lnTo>
                  <a:lnTo>
                    <a:pt x="93714" y="605626"/>
                  </a:lnTo>
                  <a:lnTo>
                    <a:pt x="91642" y="608882"/>
                  </a:lnTo>
                  <a:lnTo>
                    <a:pt x="89520" y="615346"/>
                  </a:lnTo>
                  <a:lnTo>
                    <a:pt x="87497" y="616925"/>
                  </a:lnTo>
                  <a:lnTo>
                    <a:pt x="87497" y="621859"/>
                  </a:lnTo>
                  <a:lnTo>
                    <a:pt x="89520" y="629951"/>
                  </a:lnTo>
                  <a:lnTo>
                    <a:pt x="87497" y="634885"/>
                  </a:lnTo>
                  <a:lnTo>
                    <a:pt x="87497" y="636513"/>
                  </a:lnTo>
                  <a:lnTo>
                    <a:pt x="81182" y="633306"/>
                  </a:lnTo>
                  <a:lnTo>
                    <a:pt x="74965" y="628372"/>
                  </a:lnTo>
                  <a:lnTo>
                    <a:pt x="68699" y="625165"/>
                  </a:lnTo>
                  <a:lnTo>
                    <a:pt x="60360" y="621908"/>
                  </a:lnTo>
                  <a:lnTo>
                    <a:pt x="56215" y="615494"/>
                  </a:lnTo>
                  <a:lnTo>
                    <a:pt x="52071" y="613866"/>
                  </a:lnTo>
                  <a:lnTo>
                    <a:pt x="52071" y="612238"/>
                  </a:lnTo>
                  <a:lnTo>
                    <a:pt x="54143" y="610609"/>
                  </a:lnTo>
                  <a:lnTo>
                    <a:pt x="45805" y="607402"/>
                  </a:lnTo>
                  <a:lnTo>
                    <a:pt x="41660" y="599310"/>
                  </a:lnTo>
                  <a:lnTo>
                    <a:pt x="37466" y="594376"/>
                  </a:lnTo>
                  <a:lnTo>
                    <a:pt x="31249" y="587913"/>
                  </a:lnTo>
                  <a:lnTo>
                    <a:pt x="33321" y="581449"/>
                  </a:lnTo>
                  <a:lnTo>
                    <a:pt x="35394" y="578242"/>
                  </a:lnTo>
                  <a:lnTo>
                    <a:pt x="45805" y="578242"/>
                  </a:lnTo>
                  <a:lnTo>
                    <a:pt x="49949" y="574986"/>
                  </a:lnTo>
                  <a:lnTo>
                    <a:pt x="54143" y="573357"/>
                  </a:lnTo>
                  <a:lnTo>
                    <a:pt x="64554" y="573357"/>
                  </a:lnTo>
                  <a:lnTo>
                    <a:pt x="66626" y="574986"/>
                  </a:lnTo>
                  <a:lnTo>
                    <a:pt x="70771" y="571778"/>
                  </a:lnTo>
                  <a:lnTo>
                    <a:pt x="74965" y="568522"/>
                  </a:lnTo>
                  <a:lnTo>
                    <a:pt x="72892" y="565315"/>
                  </a:lnTo>
                  <a:lnTo>
                    <a:pt x="66626" y="566894"/>
                  </a:lnTo>
                  <a:lnTo>
                    <a:pt x="56215" y="561960"/>
                  </a:lnTo>
                  <a:lnTo>
                    <a:pt x="54143" y="561960"/>
                  </a:lnTo>
                  <a:lnTo>
                    <a:pt x="52071" y="565216"/>
                  </a:lnTo>
                  <a:lnTo>
                    <a:pt x="39538" y="555348"/>
                  </a:lnTo>
                  <a:lnTo>
                    <a:pt x="39538" y="547256"/>
                  </a:lnTo>
                  <a:lnTo>
                    <a:pt x="43732" y="545677"/>
                  </a:lnTo>
                  <a:lnTo>
                    <a:pt x="47877" y="542421"/>
                  </a:lnTo>
                  <a:lnTo>
                    <a:pt x="52071" y="535957"/>
                  </a:lnTo>
                  <a:lnTo>
                    <a:pt x="54143" y="532750"/>
                  </a:lnTo>
                  <a:lnTo>
                    <a:pt x="50097" y="532750"/>
                  </a:lnTo>
                  <a:lnTo>
                    <a:pt x="45952" y="534378"/>
                  </a:lnTo>
                  <a:lnTo>
                    <a:pt x="41808" y="540842"/>
                  </a:lnTo>
                  <a:lnTo>
                    <a:pt x="37614" y="540842"/>
                  </a:lnTo>
                  <a:lnTo>
                    <a:pt x="35542" y="542421"/>
                  </a:lnTo>
                  <a:lnTo>
                    <a:pt x="31397" y="547355"/>
                  </a:lnTo>
                  <a:lnTo>
                    <a:pt x="23059" y="544148"/>
                  </a:lnTo>
                  <a:lnTo>
                    <a:pt x="20986" y="539214"/>
                  </a:lnTo>
                  <a:lnTo>
                    <a:pt x="23059" y="534280"/>
                  </a:lnTo>
                  <a:lnTo>
                    <a:pt x="27203" y="532652"/>
                  </a:lnTo>
                  <a:lnTo>
                    <a:pt x="25131" y="529395"/>
                  </a:lnTo>
                  <a:lnTo>
                    <a:pt x="20986" y="529395"/>
                  </a:lnTo>
                  <a:lnTo>
                    <a:pt x="18865" y="531023"/>
                  </a:lnTo>
                  <a:lnTo>
                    <a:pt x="18865" y="522931"/>
                  </a:lnTo>
                  <a:lnTo>
                    <a:pt x="23059" y="517997"/>
                  </a:lnTo>
                  <a:lnTo>
                    <a:pt x="25131" y="517997"/>
                  </a:lnTo>
                  <a:lnTo>
                    <a:pt x="27203" y="516419"/>
                  </a:lnTo>
                  <a:lnTo>
                    <a:pt x="31397" y="516419"/>
                  </a:lnTo>
                  <a:lnTo>
                    <a:pt x="35542" y="519626"/>
                  </a:lnTo>
                  <a:lnTo>
                    <a:pt x="35542" y="512225"/>
                  </a:lnTo>
                  <a:lnTo>
                    <a:pt x="48025" y="509018"/>
                  </a:lnTo>
                  <a:lnTo>
                    <a:pt x="58436" y="510646"/>
                  </a:lnTo>
                  <a:lnTo>
                    <a:pt x="66774" y="515580"/>
                  </a:lnTo>
                  <a:lnTo>
                    <a:pt x="79257" y="517208"/>
                  </a:lnTo>
                  <a:lnTo>
                    <a:pt x="91790" y="522142"/>
                  </a:lnTo>
                  <a:lnTo>
                    <a:pt x="102201" y="522142"/>
                  </a:lnTo>
                  <a:lnTo>
                    <a:pt x="108418" y="525349"/>
                  </a:lnTo>
                  <a:lnTo>
                    <a:pt x="120900" y="531813"/>
                  </a:lnTo>
                  <a:lnTo>
                    <a:pt x="129042" y="531813"/>
                  </a:lnTo>
                  <a:lnTo>
                    <a:pt x="137380" y="528606"/>
                  </a:lnTo>
                  <a:lnTo>
                    <a:pt x="126970" y="528606"/>
                  </a:lnTo>
                  <a:lnTo>
                    <a:pt x="114486" y="523672"/>
                  </a:lnTo>
                  <a:lnTo>
                    <a:pt x="106148" y="517257"/>
                  </a:lnTo>
                  <a:lnTo>
                    <a:pt x="97809" y="517257"/>
                  </a:lnTo>
                  <a:lnTo>
                    <a:pt x="87448" y="515629"/>
                  </a:lnTo>
                  <a:lnTo>
                    <a:pt x="81132" y="510695"/>
                  </a:lnTo>
                  <a:lnTo>
                    <a:pt x="81132" y="507291"/>
                  </a:lnTo>
                  <a:lnTo>
                    <a:pt x="95934" y="505662"/>
                  </a:lnTo>
                  <a:lnTo>
                    <a:pt x="118828" y="505662"/>
                  </a:lnTo>
                  <a:lnTo>
                    <a:pt x="131312" y="510596"/>
                  </a:lnTo>
                  <a:lnTo>
                    <a:pt x="135505" y="515530"/>
                  </a:lnTo>
                  <a:lnTo>
                    <a:pt x="139650" y="515530"/>
                  </a:lnTo>
                  <a:lnTo>
                    <a:pt x="141722" y="518738"/>
                  </a:lnTo>
                  <a:lnTo>
                    <a:pt x="147989" y="520366"/>
                  </a:lnTo>
                  <a:lnTo>
                    <a:pt x="147989" y="517159"/>
                  </a:lnTo>
                  <a:lnTo>
                    <a:pt x="145916" y="515530"/>
                  </a:lnTo>
                  <a:lnTo>
                    <a:pt x="145916" y="510596"/>
                  </a:lnTo>
                  <a:lnTo>
                    <a:pt x="152133" y="505662"/>
                  </a:lnTo>
                  <a:lnTo>
                    <a:pt x="156327" y="505662"/>
                  </a:lnTo>
                  <a:lnTo>
                    <a:pt x="154255" y="497620"/>
                  </a:lnTo>
                  <a:lnTo>
                    <a:pt x="150061" y="495992"/>
                  </a:lnTo>
                  <a:lnTo>
                    <a:pt x="147989" y="495992"/>
                  </a:lnTo>
                  <a:lnTo>
                    <a:pt x="143844" y="492735"/>
                  </a:lnTo>
                  <a:lnTo>
                    <a:pt x="143844" y="489528"/>
                  </a:lnTo>
                  <a:lnTo>
                    <a:pt x="139650" y="487900"/>
                  </a:lnTo>
                  <a:lnTo>
                    <a:pt x="135505" y="489528"/>
                  </a:lnTo>
                  <a:lnTo>
                    <a:pt x="129239" y="492735"/>
                  </a:lnTo>
                  <a:lnTo>
                    <a:pt x="123022" y="494363"/>
                  </a:lnTo>
                  <a:lnTo>
                    <a:pt x="110490" y="492735"/>
                  </a:lnTo>
                  <a:lnTo>
                    <a:pt x="106345" y="489528"/>
                  </a:lnTo>
                  <a:lnTo>
                    <a:pt x="106345" y="486272"/>
                  </a:lnTo>
                  <a:lnTo>
                    <a:pt x="104273" y="484693"/>
                  </a:lnTo>
                  <a:lnTo>
                    <a:pt x="98007" y="478229"/>
                  </a:lnTo>
                  <a:lnTo>
                    <a:pt x="95934" y="478229"/>
                  </a:lnTo>
                  <a:lnTo>
                    <a:pt x="93862" y="479857"/>
                  </a:lnTo>
                  <a:lnTo>
                    <a:pt x="93862" y="483064"/>
                  </a:lnTo>
                  <a:lnTo>
                    <a:pt x="98007" y="486272"/>
                  </a:lnTo>
                  <a:lnTo>
                    <a:pt x="95934" y="492735"/>
                  </a:lnTo>
                  <a:lnTo>
                    <a:pt x="93862" y="495992"/>
                  </a:lnTo>
                  <a:lnTo>
                    <a:pt x="83451" y="495992"/>
                  </a:lnTo>
                  <a:lnTo>
                    <a:pt x="75113" y="492735"/>
                  </a:lnTo>
                  <a:lnTo>
                    <a:pt x="64702" y="482867"/>
                  </a:lnTo>
                  <a:lnTo>
                    <a:pt x="64702" y="481239"/>
                  </a:lnTo>
                  <a:lnTo>
                    <a:pt x="73041" y="478032"/>
                  </a:lnTo>
                  <a:lnTo>
                    <a:pt x="83451" y="474775"/>
                  </a:lnTo>
                  <a:lnTo>
                    <a:pt x="83451" y="471568"/>
                  </a:lnTo>
                  <a:lnTo>
                    <a:pt x="81330" y="471568"/>
                  </a:lnTo>
                  <a:lnTo>
                    <a:pt x="73041" y="473196"/>
                  </a:lnTo>
                  <a:lnTo>
                    <a:pt x="66774" y="476404"/>
                  </a:lnTo>
                  <a:lnTo>
                    <a:pt x="60508" y="474775"/>
                  </a:lnTo>
                  <a:lnTo>
                    <a:pt x="60508" y="469841"/>
                  </a:lnTo>
                  <a:lnTo>
                    <a:pt x="62630" y="468213"/>
                  </a:lnTo>
                  <a:lnTo>
                    <a:pt x="68846" y="466634"/>
                  </a:lnTo>
                  <a:lnTo>
                    <a:pt x="75113" y="463378"/>
                  </a:lnTo>
                  <a:lnTo>
                    <a:pt x="79257" y="456914"/>
                  </a:lnTo>
                  <a:lnTo>
                    <a:pt x="79257" y="453707"/>
                  </a:lnTo>
                  <a:lnTo>
                    <a:pt x="75113" y="452079"/>
                  </a:lnTo>
                  <a:lnTo>
                    <a:pt x="73041" y="453707"/>
                  </a:lnTo>
                  <a:lnTo>
                    <a:pt x="68846" y="456914"/>
                  </a:lnTo>
                  <a:lnTo>
                    <a:pt x="62630" y="460171"/>
                  </a:lnTo>
                  <a:lnTo>
                    <a:pt x="54291" y="461749"/>
                  </a:lnTo>
                  <a:lnTo>
                    <a:pt x="48025" y="460171"/>
                  </a:lnTo>
                  <a:lnTo>
                    <a:pt x="45952" y="456914"/>
                  </a:lnTo>
                  <a:lnTo>
                    <a:pt x="48025" y="453707"/>
                  </a:lnTo>
                  <a:lnTo>
                    <a:pt x="50097" y="450450"/>
                  </a:lnTo>
                  <a:lnTo>
                    <a:pt x="54291" y="448872"/>
                  </a:lnTo>
                  <a:lnTo>
                    <a:pt x="52219" y="445615"/>
                  </a:lnTo>
                  <a:lnTo>
                    <a:pt x="50097" y="443987"/>
                  </a:lnTo>
                  <a:lnTo>
                    <a:pt x="43683" y="443987"/>
                  </a:lnTo>
                  <a:lnTo>
                    <a:pt x="39489" y="440780"/>
                  </a:lnTo>
                  <a:lnTo>
                    <a:pt x="33272" y="429481"/>
                  </a:lnTo>
                  <a:lnTo>
                    <a:pt x="29078" y="426224"/>
                  </a:lnTo>
                  <a:lnTo>
                    <a:pt x="22861" y="423017"/>
                  </a:lnTo>
                  <a:lnTo>
                    <a:pt x="20789" y="419761"/>
                  </a:lnTo>
                  <a:lnTo>
                    <a:pt x="24934" y="418182"/>
                  </a:lnTo>
                  <a:lnTo>
                    <a:pt x="31200" y="414925"/>
                  </a:lnTo>
                  <a:lnTo>
                    <a:pt x="35344" y="411718"/>
                  </a:lnTo>
                  <a:lnTo>
                    <a:pt x="37417" y="410090"/>
                  </a:lnTo>
                  <a:lnTo>
                    <a:pt x="43683" y="410090"/>
                  </a:lnTo>
                  <a:lnTo>
                    <a:pt x="41611" y="408462"/>
                  </a:lnTo>
                  <a:lnTo>
                    <a:pt x="39489" y="406834"/>
                  </a:lnTo>
                  <a:lnTo>
                    <a:pt x="33272" y="405255"/>
                  </a:lnTo>
                  <a:lnTo>
                    <a:pt x="31200" y="401998"/>
                  </a:lnTo>
                  <a:lnTo>
                    <a:pt x="33272" y="400370"/>
                  </a:lnTo>
                  <a:lnTo>
                    <a:pt x="37417" y="400370"/>
                  </a:lnTo>
                  <a:lnTo>
                    <a:pt x="49900" y="395436"/>
                  </a:lnTo>
                  <a:lnTo>
                    <a:pt x="49900" y="389367"/>
                  </a:lnTo>
                  <a:lnTo>
                    <a:pt x="56166" y="389367"/>
                  </a:lnTo>
                  <a:lnTo>
                    <a:pt x="58238" y="386160"/>
                  </a:lnTo>
                  <a:lnTo>
                    <a:pt x="64504" y="386160"/>
                  </a:lnTo>
                  <a:lnTo>
                    <a:pt x="66577" y="387788"/>
                  </a:lnTo>
                  <a:lnTo>
                    <a:pt x="72843" y="386160"/>
                  </a:lnTo>
                  <a:lnTo>
                    <a:pt x="77037" y="384532"/>
                  </a:lnTo>
                  <a:lnTo>
                    <a:pt x="85326" y="384532"/>
                  </a:lnTo>
                  <a:lnTo>
                    <a:pt x="85326" y="387788"/>
                  </a:lnTo>
                  <a:lnTo>
                    <a:pt x="93665" y="387788"/>
                  </a:lnTo>
                  <a:lnTo>
                    <a:pt x="95737" y="382854"/>
                  </a:lnTo>
                  <a:lnTo>
                    <a:pt x="99882" y="381275"/>
                  </a:lnTo>
                  <a:lnTo>
                    <a:pt x="106148" y="381275"/>
                  </a:lnTo>
                  <a:lnTo>
                    <a:pt x="110292" y="379647"/>
                  </a:lnTo>
                  <a:lnTo>
                    <a:pt x="118631" y="379647"/>
                  </a:lnTo>
                  <a:lnTo>
                    <a:pt x="145719" y="373183"/>
                  </a:lnTo>
                  <a:lnTo>
                    <a:pt x="149863" y="373183"/>
                  </a:lnTo>
                  <a:lnTo>
                    <a:pt x="151936" y="376391"/>
                  </a:lnTo>
                  <a:lnTo>
                    <a:pt x="154057" y="373183"/>
                  </a:lnTo>
                  <a:lnTo>
                    <a:pt x="151936" y="369927"/>
                  </a:lnTo>
                  <a:lnTo>
                    <a:pt x="154057" y="366720"/>
                  </a:lnTo>
                  <a:lnTo>
                    <a:pt x="162346" y="363513"/>
                  </a:lnTo>
                  <a:lnTo>
                    <a:pt x="174879" y="363513"/>
                  </a:lnTo>
                  <a:lnTo>
                    <a:pt x="181096" y="361885"/>
                  </a:lnTo>
                  <a:lnTo>
                    <a:pt x="185290" y="363513"/>
                  </a:lnTo>
                  <a:lnTo>
                    <a:pt x="191507" y="365092"/>
                  </a:lnTo>
                  <a:lnTo>
                    <a:pt x="197773" y="361885"/>
                  </a:lnTo>
                  <a:lnTo>
                    <a:pt x="206111" y="360256"/>
                  </a:lnTo>
                  <a:lnTo>
                    <a:pt x="214401" y="361885"/>
                  </a:lnTo>
                  <a:lnTo>
                    <a:pt x="218595" y="365092"/>
                  </a:lnTo>
                  <a:lnTo>
                    <a:pt x="224811" y="365092"/>
                  </a:lnTo>
                  <a:lnTo>
                    <a:pt x="226933" y="368348"/>
                  </a:lnTo>
                  <a:lnTo>
                    <a:pt x="235272" y="373282"/>
                  </a:lnTo>
                  <a:lnTo>
                    <a:pt x="239416" y="371654"/>
                  </a:lnTo>
                  <a:lnTo>
                    <a:pt x="243561" y="370026"/>
                  </a:lnTo>
                  <a:lnTo>
                    <a:pt x="245682" y="368447"/>
                  </a:lnTo>
                  <a:lnTo>
                    <a:pt x="249827" y="363513"/>
                  </a:lnTo>
                  <a:lnTo>
                    <a:pt x="256093" y="357049"/>
                  </a:lnTo>
                  <a:lnTo>
                    <a:pt x="260238" y="348957"/>
                  </a:lnTo>
                  <a:lnTo>
                    <a:pt x="268576" y="347329"/>
                  </a:lnTo>
                  <a:lnTo>
                    <a:pt x="272770" y="342395"/>
                  </a:lnTo>
                  <a:lnTo>
                    <a:pt x="278987" y="334303"/>
                  </a:lnTo>
                  <a:lnTo>
                    <a:pt x="283181" y="332675"/>
                  </a:lnTo>
                  <a:lnTo>
                    <a:pt x="287326" y="327741"/>
                  </a:lnTo>
                  <a:lnTo>
                    <a:pt x="281059" y="324534"/>
                  </a:lnTo>
                  <a:lnTo>
                    <a:pt x="281059" y="319600"/>
                  </a:lnTo>
                  <a:lnTo>
                    <a:pt x="287326" y="313136"/>
                  </a:lnTo>
                  <a:lnTo>
                    <a:pt x="301733" y="313136"/>
                  </a:lnTo>
                  <a:lnTo>
                    <a:pt x="310072" y="309880"/>
                  </a:lnTo>
                  <a:lnTo>
                    <a:pt x="310072" y="303416"/>
                  </a:lnTo>
                  <a:lnTo>
                    <a:pt x="301733" y="303416"/>
                  </a:lnTo>
                  <a:lnTo>
                    <a:pt x="295467" y="300209"/>
                  </a:lnTo>
                  <a:lnTo>
                    <a:pt x="295467" y="293746"/>
                  </a:lnTo>
                  <a:lnTo>
                    <a:pt x="301733" y="292117"/>
                  </a:lnTo>
                  <a:lnTo>
                    <a:pt x="310072" y="293746"/>
                  </a:lnTo>
                  <a:lnTo>
                    <a:pt x="318410" y="290489"/>
                  </a:lnTo>
                  <a:lnTo>
                    <a:pt x="326699" y="287282"/>
                  </a:lnTo>
                  <a:lnTo>
                    <a:pt x="328821" y="284025"/>
                  </a:lnTo>
                  <a:lnTo>
                    <a:pt x="326699" y="282447"/>
                  </a:lnTo>
                  <a:lnTo>
                    <a:pt x="326699" y="275983"/>
                  </a:lnTo>
                  <a:lnTo>
                    <a:pt x="324627" y="275983"/>
                  </a:lnTo>
                  <a:lnTo>
                    <a:pt x="320482" y="280917"/>
                  </a:lnTo>
                  <a:lnTo>
                    <a:pt x="318410" y="285851"/>
                  </a:lnTo>
                  <a:lnTo>
                    <a:pt x="316288" y="287479"/>
                  </a:lnTo>
                  <a:lnTo>
                    <a:pt x="303855" y="287479"/>
                  </a:lnTo>
                  <a:lnTo>
                    <a:pt x="299661" y="285851"/>
                  </a:lnTo>
                  <a:lnTo>
                    <a:pt x="295467" y="285851"/>
                  </a:lnTo>
                  <a:lnTo>
                    <a:pt x="289250" y="290785"/>
                  </a:lnTo>
                  <a:lnTo>
                    <a:pt x="283033" y="290785"/>
                  </a:lnTo>
                  <a:lnTo>
                    <a:pt x="280912" y="287578"/>
                  </a:lnTo>
                  <a:lnTo>
                    <a:pt x="274645" y="282644"/>
                  </a:lnTo>
                  <a:lnTo>
                    <a:pt x="270500" y="284223"/>
                  </a:lnTo>
                  <a:lnTo>
                    <a:pt x="266356" y="287479"/>
                  </a:lnTo>
                  <a:lnTo>
                    <a:pt x="264234" y="285851"/>
                  </a:lnTo>
                  <a:lnTo>
                    <a:pt x="260090" y="284223"/>
                  </a:lnTo>
                  <a:lnTo>
                    <a:pt x="251801" y="284223"/>
                  </a:lnTo>
                  <a:lnTo>
                    <a:pt x="251801" y="276180"/>
                  </a:lnTo>
                  <a:lnTo>
                    <a:pt x="249679" y="276180"/>
                  </a:lnTo>
                  <a:lnTo>
                    <a:pt x="249679" y="272924"/>
                  </a:lnTo>
                  <a:lnTo>
                    <a:pt x="251801" y="267990"/>
                  </a:lnTo>
                  <a:lnTo>
                    <a:pt x="255945" y="266362"/>
                  </a:lnTo>
                  <a:lnTo>
                    <a:pt x="260090" y="261428"/>
                  </a:lnTo>
                  <a:lnTo>
                    <a:pt x="262211" y="258220"/>
                  </a:lnTo>
                  <a:lnTo>
                    <a:pt x="266356" y="258220"/>
                  </a:lnTo>
                  <a:lnTo>
                    <a:pt x="266356" y="254964"/>
                  </a:lnTo>
                  <a:lnTo>
                    <a:pt x="264234" y="251757"/>
                  </a:lnTo>
                  <a:lnTo>
                    <a:pt x="264234" y="248500"/>
                  </a:lnTo>
                  <a:lnTo>
                    <a:pt x="266356" y="245293"/>
                  </a:lnTo>
                  <a:lnTo>
                    <a:pt x="270500" y="245293"/>
                  </a:lnTo>
                  <a:lnTo>
                    <a:pt x="278839" y="242037"/>
                  </a:lnTo>
                  <a:lnTo>
                    <a:pt x="280912" y="240409"/>
                  </a:lnTo>
                  <a:lnTo>
                    <a:pt x="283033" y="235475"/>
                  </a:lnTo>
                  <a:lnTo>
                    <a:pt x="293444" y="233896"/>
                  </a:lnTo>
                  <a:lnTo>
                    <a:pt x="297588" y="228962"/>
                  </a:lnTo>
                  <a:lnTo>
                    <a:pt x="301733" y="227383"/>
                  </a:lnTo>
                  <a:lnTo>
                    <a:pt x="312144" y="227383"/>
                  </a:lnTo>
                  <a:lnTo>
                    <a:pt x="316535" y="226051"/>
                  </a:lnTo>
                  <a:lnTo>
                    <a:pt x="316535" y="224422"/>
                  </a:lnTo>
                  <a:lnTo>
                    <a:pt x="312390" y="224422"/>
                  </a:lnTo>
                  <a:lnTo>
                    <a:pt x="312390" y="221215"/>
                  </a:lnTo>
                  <a:lnTo>
                    <a:pt x="316535" y="219587"/>
                  </a:lnTo>
                  <a:lnTo>
                    <a:pt x="322801" y="219587"/>
                  </a:lnTo>
                  <a:lnTo>
                    <a:pt x="322801" y="221215"/>
                  </a:lnTo>
                  <a:lnTo>
                    <a:pt x="326946" y="221215"/>
                  </a:lnTo>
                  <a:lnTo>
                    <a:pt x="335284" y="213123"/>
                  </a:lnTo>
                  <a:lnTo>
                    <a:pt x="333212" y="209867"/>
                  </a:lnTo>
                  <a:lnTo>
                    <a:pt x="335284" y="204933"/>
                  </a:lnTo>
                  <a:lnTo>
                    <a:pt x="343623" y="199999"/>
                  </a:lnTo>
                  <a:lnTo>
                    <a:pt x="347768" y="198371"/>
                  </a:lnTo>
                  <a:lnTo>
                    <a:pt x="354083" y="193437"/>
                  </a:lnTo>
                  <a:lnTo>
                    <a:pt x="358178" y="193437"/>
                  </a:lnTo>
                  <a:lnTo>
                    <a:pt x="362372" y="191808"/>
                  </a:lnTo>
                  <a:lnTo>
                    <a:pt x="364494" y="193437"/>
                  </a:lnTo>
                  <a:lnTo>
                    <a:pt x="366517" y="199900"/>
                  </a:lnTo>
                  <a:lnTo>
                    <a:pt x="364494" y="211199"/>
                  </a:lnTo>
                  <a:lnTo>
                    <a:pt x="366517" y="216133"/>
                  </a:lnTo>
                  <a:lnTo>
                    <a:pt x="368638" y="224225"/>
                  </a:lnTo>
                  <a:lnTo>
                    <a:pt x="366517" y="235524"/>
                  </a:lnTo>
                  <a:lnTo>
                    <a:pt x="368638" y="235524"/>
                  </a:lnTo>
                  <a:lnTo>
                    <a:pt x="370711" y="230590"/>
                  </a:lnTo>
                  <a:lnTo>
                    <a:pt x="372783" y="220722"/>
                  </a:lnTo>
                  <a:lnTo>
                    <a:pt x="370711" y="212630"/>
                  </a:lnTo>
                  <a:lnTo>
                    <a:pt x="370711" y="194867"/>
                  </a:lnTo>
                  <a:lnTo>
                    <a:pt x="374905" y="193239"/>
                  </a:lnTo>
                  <a:lnTo>
                    <a:pt x="379049" y="193239"/>
                  </a:lnTo>
                  <a:lnTo>
                    <a:pt x="381122" y="190032"/>
                  </a:lnTo>
                  <a:lnTo>
                    <a:pt x="383194" y="186776"/>
                  </a:lnTo>
                  <a:lnTo>
                    <a:pt x="387338" y="186776"/>
                  </a:lnTo>
                  <a:lnTo>
                    <a:pt x="387338" y="191710"/>
                  </a:lnTo>
                  <a:lnTo>
                    <a:pt x="389460" y="193338"/>
                  </a:lnTo>
                  <a:lnTo>
                    <a:pt x="393605" y="193338"/>
                  </a:lnTo>
                  <a:lnTo>
                    <a:pt x="395726" y="194966"/>
                  </a:lnTo>
                  <a:lnTo>
                    <a:pt x="395726" y="203009"/>
                  </a:lnTo>
                  <a:lnTo>
                    <a:pt x="401943" y="206265"/>
                  </a:lnTo>
                  <a:lnTo>
                    <a:pt x="412354" y="204637"/>
                  </a:lnTo>
                  <a:lnTo>
                    <a:pt x="414426" y="203009"/>
                  </a:lnTo>
                  <a:lnTo>
                    <a:pt x="420692" y="203009"/>
                  </a:lnTo>
                  <a:lnTo>
                    <a:pt x="420692" y="200394"/>
                  </a:lnTo>
                  <a:lnTo>
                    <a:pt x="418571" y="197186"/>
                  </a:lnTo>
                  <a:lnTo>
                    <a:pt x="420692" y="193930"/>
                  </a:lnTo>
                  <a:lnTo>
                    <a:pt x="424837" y="190723"/>
                  </a:lnTo>
                  <a:lnTo>
                    <a:pt x="424837" y="185789"/>
                  </a:lnTo>
                  <a:lnTo>
                    <a:pt x="426959" y="182582"/>
                  </a:lnTo>
                  <a:lnTo>
                    <a:pt x="433176" y="182582"/>
                  </a:lnTo>
                  <a:lnTo>
                    <a:pt x="443586" y="177648"/>
                  </a:lnTo>
                  <a:lnTo>
                    <a:pt x="447780" y="172714"/>
                  </a:lnTo>
                  <a:lnTo>
                    <a:pt x="447780" y="164869"/>
                  </a:lnTo>
                  <a:lnTo>
                    <a:pt x="441514" y="164869"/>
                  </a:lnTo>
                  <a:lnTo>
                    <a:pt x="439393" y="161612"/>
                  </a:lnTo>
                  <a:lnTo>
                    <a:pt x="441514" y="158405"/>
                  </a:lnTo>
                  <a:lnTo>
                    <a:pt x="445659" y="153471"/>
                  </a:lnTo>
                  <a:lnTo>
                    <a:pt x="447780" y="147007"/>
                  </a:lnTo>
                  <a:lnTo>
                    <a:pt x="445659" y="142073"/>
                  </a:lnTo>
                  <a:lnTo>
                    <a:pt x="447780" y="134031"/>
                  </a:lnTo>
                  <a:lnTo>
                    <a:pt x="451925" y="130774"/>
                  </a:lnTo>
                  <a:lnTo>
                    <a:pt x="462336" y="129195"/>
                  </a:lnTo>
                  <a:lnTo>
                    <a:pt x="470625" y="125939"/>
                  </a:lnTo>
                  <a:lnTo>
                    <a:pt x="479013" y="122732"/>
                  </a:lnTo>
                  <a:lnTo>
                    <a:pt x="481036" y="124311"/>
                  </a:lnTo>
                  <a:lnTo>
                    <a:pt x="483158" y="127567"/>
                  </a:lnTo>
                  <a:lnTo>
                    <a:pt x="483158" y="132501"/>
                  </a:lnTo>
                  <a:lnTo>
                    <a:pt x="489424" y="142369"/>
                  </a:lnTo>
                  <a:lnTo>
                    <a:pt x="489424" y="169852"/>
                  </a:lnTo>
                  <a:lnTo>
                    <a:pt x="493568" y="171480"/>
                  </a:lnTo>
                  <a:lnTo>
                    <a:pt x="501858" y="179523"/>
                  </a:lnTo>
                  <a:lnTo>
                    <a:pt x="503979" y="184457"/>
                  </a:lnTo>
                  <a:lnTo>
                    <a:pt x="508173" y="187664"/>
                  </a:lnTo>
                  <a:lnTo>
                    <a:pt x="508173" y="168076"/>
                  </a:lnTo>
                  <a:lnTo>
                    <a:pt x="499835" y="158208"/>
                  </a:lnTo>
                  <a:lnTo>
                    <a:pt x="497762" y="150116"/>
                  </a:lnTo>
                  <a:lnTo>
                    <a:pt x="501858" y="142024"/>
                  </a:lnTo>
                  <a:lnTo>
                    <a:pt x="503979" y="137090"/>
                  </a:lnTo>
                  <a:lnTo>
                    <a:pt x="501858" y="133883"/>
                  </a:lnTo>
                  <a:lnTo>
                    <a:pt x="497762" y="128949"/>
                  </a:lnTo>
                  <a:lnTo>
                    <a:pt x="497762" y="124015"/>
                  </a:lnTo>
                  <a:lnTo>
                    <a:pt x="495641" y="119081"/>
                  </a:lnTo>
                  <a:lnTo>
                    <a:pt x="497762" y="115874"/>
                  </a:lnTo>
                  <a:lnTo>
                    <a:pt x="503979" y="110940"/>
                  </a:lnTo>
                  <a:lnTo>
                    <a:pt x="510245" y="110940"/>
                  </a:lnTo>
                  <a:lnTo>
                    <a:pt x="514390" y="112518"/>
                  </a:lnTo>
                  <a:lnTo>
                    <a:pt x="520656" y="110940"/>
                  </a:lnTo>
                  <a:lnTo>
                    <a:pt x="524801" y="110940"/>
                  </a:lnTo>
                  <a:lnTo>
                    <a:pt x="535211" y="112518"/>
                  </a:lnTo>
                  <a:lnTo>
                    <a:pt x="550013" y="112518"/>
                  </a:lnTo>
                  <a:lnTo>
                    <a:pt x="562447" y="107584"/>
                  </a:lnTo>
                  <a:lnTo>
                    <a:pt x="577249" y="107584"/>
                  </a:lnTo>
                  <a:lnTo>
                    <a:pt x="581443" y="110841"/>
                  </a:lnTo>
                  <a:lnTo>
                    <a:pt x="581443" y="123719"/>
                  </a:lnTo>
                  <a:lnTo>
                    <a:pt x="587660" y="122140"/>
                  </a:lnTo>
                  <a:lnTo>
                    <a:pt x="591854" y="117206"/>
                  </a:lnTo>
                  <a:lnTo>
                    <a:pt x="587660" y="113999"/>
                  </a:lnTo>
                  <a:lnTo>
                    <a:pt x="587660" y="109065"/>
                  </a:lnTo>
                  <a:lnTo>
                    <a:pt x="598071" y="100973"/>
                  </a:lnTo>
                  <a:lnTo>
                    <a:pt x="604288" y="104229"/>
                  </a:lnTo>
                  <a:lnTo>
                    <a:pt x="608482" y="107436"/>
                  </a:lnTo>
                  <a:lnTo>
                    <a:pt x="610554" y="115528"/>
                  </a:lnTo>
                  <a:lnTo>
                    <a:pt x="612676" y="117107"/>
                  </a:lnTo>
                  <a:lnTo>
                    <a:pt x="614699" y="112173"/>
                  </a:lnTo>
                  <a:lnTo>
                    <a:pt x="614699" y="105117"/>
                  </a:lnTo>
                  <a:lnTo>
                    <a:pt x="608482" y="101861"/>
                  </a:lnTo>
                  <a:lnTo>
                    <a:pt x="608482" y="96927"/>
                  </a:lnTo>
                  <a:lnTo>
                    <a:pt x="610554" y="95299"/>
                  </a:lnTo>
                  <a:lnTo>
                    <a:pt x="616820" y="96927"/>
                  </a:lnTo>
                  <a:lnTo>
                    <a:pt x="623087" y="98555"/>
                  </a:lnTo>
                  <a:lnTo>
                    <a:pt x="627231" y="95299"/>
                  </a:lnTo>
                  <a:lnTo>
                    <a:pt x="635521" y="93670"/>
                  </a:lnTo>
                  <a:lnTo>
                    <a:pt x="645981" y="95299"/>
                  </a:lnTo>
                  <a:lnTo>
                    <a:pt x="645981" y="113061"/>
                  </a:lnTo>
                  <a:lnTo>
                    <a:pt x="641836" y="121153"/>
                  </a:lnTo>
                  <a:lnTo>
                    <a:pt x="641836" y="127617"/>
                  </a:lnTo>
                  <a:lnTo>
                    <a:pt x="637642" y="137485"/>
                  </a:lnTo>
                  <a:lnTo>
                    <a:pt x="635521" y="142419"/>
                  </a:lnTo>
                  <a:lnTo>
                    <a:pt x="635521" y="147353"/>
                  </a:lnTo>
                  <a:lnTo>
                    <a:pt x="633497" y="150560"/>
                  </a:lnTo>
                  <a:lnTo>
                    <a:pt x="627231" y="152188"/>
                  </a:lnTo>
                  <a:lnTo>
                    <a:pt x="625110" y="155395"/>
                  </a:lnTo>
                  <a:lnTo>
                    <a:pt x="629304" y="158652"/>
                  </a:lnTo>
                  <a:lnTo>
                    <a:pt x="631425" y="161859"/>
                  </a:lnTo>
                  <a:lnTo>
                    <a:pt x="627231" y="166793"/>
                  </a:lnTo>
                  <a:lnTo>
                    <a:pt x="623087" y="171727"/>
                  </a:lnTo>
                  <a:lnTo>
                    <a:pt x="618893" y="178190"/>
                  </a:lnTo>
                  <a:lnTo>
                    <a:pt x="612676" y="181398"/>
                  </a:lnTo>
                  <a:lnTo>
                    <a:pt x="610554" y="184654"/>
                  </a:lnTo>
                  <a:lnTo>
                    <a:pt x="608482" y="191118"/>
                  </a:lnTo>
                  <a:lnTo>
                    <a:pt x="604288" y="197581"/>
                  </a:lnTo>
                  <a:lnTo>
                    <a:pt x="602265" y="202515"/>
                  </a:lnTo>
                  <a:lnTo>
                    <a:pt x="604288" y="204094"/>
                  </a:lnTo>
                  <a:lnTo>
                    <a:pt x="608482" y="204094"/>
                  </a:lnTo>
                  <a:lnTo>
                    <a:pt x="612676" y="197680"/>
                  </a:lnTo>
                  <a:lnTo>
                    <a:pt x="616820" y="194423"/>
                  </a:lnTo>
                  <a:lnTo>
                    <a:pt x="616820" y="191216"/>
                  </a:lnTo>
                  <a:lnTo>
                    <a:pt x="623087" y="186282"/>
                  </a:lnTo>
                  <a:lnTo>
                    <a:pt x="629304" y="178240"/>
                  </a:lnTo>
                  <a:lnTo>
                    <a:pt x="631425" y="173306"/>
                  </a:lnTo>
                  <a:lnTo>
                    <a:pt x="635521" y="171678"/>
                  </a:lnTo>
                  <a:lnTo>
                    <a:pt x="639714" y="168421"/>
                  </a:lnTo>
                  <a:lnTo>
                    <a:pt x="641836" y="165214"/>
                  </a:lnTo>
                  <a:lnTo>
                    <a:pt x="641836" y="160280"/>
                  </a:lnTo>
                  <a:lnTo>
                    <a:pt x="645981" y="157023"/>
                  </a:lnTo>
                  <a:lnTo>
                    <a:pt x="648053" y="152089"/>
                  </a:lnTo>
                  <a:lnTo>
                    <a:pt x="652247" y="148833"/>
                  </a:lnTo>
                  <a:lnTo>
                    <a:pt x="654319" y="152089"/>
                  </a:lnTo>
                  <a:lnTo>
                    <a:pt x="654319" y="157023"/>
                  </a:lnTo>
                  <a:lnTo>
                    <a:pt x="658464" y="161957"/>
                  </a:lnTo>
                  <a:lnTo>
                    <a:pt x="660536" y="166892"/>
                  </a:lnTo>
                  <a:lnTo>
                    <a:pt x="662658" y="173355"/>
                  </a:lnTo>
                  <a:lnTo>
                    <a:pt x="668875" y="179769"/>
                  </a:lnTo>
                  <a:lnTo>
                    <a:pt x="668875" y="187861"/>
                  </a:lnTo>
                  <a:lnTo>
                    <a:pt x="673069" y="191118"/>
                  </a:lnTo>
                  <a:lnTo>
                    <a:pt x="677213" y="191118"/>
                  </a:lnTo>
                  <a:lnTo>
                    <a:pt x="679285" y="192696"/>
                  </a:lnTo>
                  <a:lnTo>
                    <a:pt x="683479" y="192696"/>
                  </a:lnTo>
                  <a:lnTo>
                    <a:pt x="683479" y="191118"/>
                  </a:lnTo>
                  <a:lnTo>
                    <a:pt x="685552" y="187861"/>
                  </a:lnTo>
                  <a:lnTo>
                    <a:pt x="685552" y="184654"/>
                  </a:lnTo>
                  <a:lnTo>
                    <a:pt x="679285" y="181398"/>
                  </a:lnTo>
                  <a:lnTo>
                    <a:pt x="679285" y="176464"/>
                  </a:lnTo>
                  <a:lnTo>
                    <a:pt x="679285" y="176464"/>
                  </a:lnTo>
                  <a:lnTo>
                    <a:pt x="683479" y="174835"/>
                  </a:lnTo>
                  <a:lnTo>
                    <a:pt x="687624" y="179769"/>
                  </a:lnTo>
                  <a:lnTo>
                    <a:pt x="695963" y="179769"/>
                  </a:lnTo>
                  <a:lnTo>
                    <a:pt x="700107" y="181398"/>
                  </a:lnTo>
                  <a:lnTo>
                    <a:pt x="702179" y="184654"/>
                  </a:lnTo>
                  <a:lnTo>
                    <a:pt x="706373" y="184654"/>
                  </a:lnTo>
                  <a:lnTo>
                    <a:pt x="708446" y="183026"/>
                  </a:lnTo>
                  <a:lnTo>
                    <a:pt x="712590" y="183026"/>
                  </a:lnTo>
                  <a:lnTo>
                    <a:pt x="714711" y="186233"/>
                  </a:lnTo>
                  <a:lnTo>
                    <a:pt x="716784" y="184654"/>
                  </a:lnTo>
                  <a:lnTo>
                    <a:pt x="716784" y="172960"/>
                  </a:lnTo>
                  <a:lnTo>
                    <a:pt x="714711" y="168026"/>
                  </a:lnTo>
                  <a:lnTo>
                    <a:pt x="718857" y="159984"/>
                  </a:lnTo>
                  <a:lnTo>
                    <a:pt x="718857" y="150116"/>
                  </a:lnTo>
                  <a:lnTo>
                    <a:pt x="716192" y="147106"/>
                  </a:lnTo>
                  <a:lnTo>
                    <a:pt x="714119" y="139014"/>
                  </a:lnTo>
                  <a:lnTo>
                    <a:pt x="714119" y="132551"/>
                  </a:lnTo>
                  <a:lnTo>
                    <a:pt x="718264" y="121252"/>
                  </a:lnTo>
                  <a:lnTo>
                    <a:pt x="720336" y="117995"/>
                  </a:lnTo>
                  <a:lnTo>
                    <a:pt x="718264" y="113061"/>
                  </a:lnTo>
                  <a:lnTo>
                    <a:pt x="720336" y="111482"/>
                  </a:lnTo>
                  <a:lnTo>
                    <a:pt x="720336" y="103489"/>
                  </a:lnTo>
                  <a:lnTo>
                    <a:pt x="724530" y="100233"/>
                  </a:lnTo>
                  <a:lnTo>
                    <a:pt x="730747" y="98654"/>
                  </a:lnTo>
                  <a:lnTo>
                    <a:pt x="734942" y="101861"/>
                  </a:lnTo>
                  <a:lnTo>
                    <a:pt x="739086" y="103489"/>
                  </a:lnTo>
                  <a:lnTo>
                    <a:pt x="745352" y="103489"/>
                  </a:lnTo>
                  <a:lnTo>
                    <a:pt x="747424" y="108423"/>
                  </a:lnTo>
                  <a:lnTo>
                    <a:pt x="751569" y="110051"/>
                  </a:lnTo>
                  <a:lnTo>
                    <a:pt x="755763" y="116515"/>
                  </a:lnTo>
                  <a:lnTo>
                    <a:pt x="761980" y="127814"/>
                  </a:lnTo>
                  <a:lnTo>
                    <a:pt x="761980" y="134278"/>
                  </a:lnTo>
                  <a:lnTo>
                    <a:pt x="768197" y="142320"/>
                  </a:lnTo>
                  <a:lnTo>
                    <a:pt x="772391" y="150412"/>
                  </a:lnTo>
                  <a:lnTo>
                    <a:pt x="774512" y="164967"/>
                  </a:lnTo>
                  <a:lnTo>
                    <a:pt x="772391" y="168174"/>
                  </a:lnTo>
                  <a:lnTo>
                    <a:pt x="768197" y="171431"/>
                  </a:lnTo>
                  <a:lnTo>
                    <a:pt x="768197" y="176365"/>
                  </a:lnTo>
                  <a:lnTo>
                    <a:pt x="770318" y="182828"/>
                  </a:lnTo>
                  <a:lnTo>
                    <a:pt x="774512" y="184457"/>
                  </a:lnTo>
                  <a:lnTo>
                    <a:pt x="778657" y="195756"/>
                  </a:lnTo>
                  <a:lnTo>
                    <a:pt x="776584" y="202219"/>
                  </a:lnTo>
                  <a:lnTo>
                    <a:pt x="776584" y="207153"/>
                  </a:lnTo>
                  <a:lnTo>
                    <a:pt x="780729" y="212087"/>
                  </a:lnTo>
                  <a:lnTo>
                    <a:pt x="786995" y="212087"/>
                  </a:lnTo>
                  <a:lnTo>
                    <a:pt x="793212" y="217021"/>
                  </a:lnTo>
                  <a:lnTo>
                    <a:pt x="799478" y="217021"/>
                  </a:lnTo>
                  <a:lnTo>
                    <a:pt x="807817" y="215442"/>
                  </a:lnTo>
                  <a:lnTo>
                    <a:pt x="811962" y="207351"/>
                  </a:lnTo>
                  <a:lnTo>
                    <a:pt x="816156" y="204094"/>
                  </a:lnTo>
                  <a:lnTo>
                    <a:pt x="816156" y="210558"/>
                  </a:lnTo>
                  <a:lnTo>
                    <a:pt x="818228" y="213814"/>
                  </a:lnTo>
                  <a:lnTo>
                    <a:pt x="820300" y="213814"/>
                  </a:lnTo>
                  <a:lnTo>
                    <a:pt x="824444" y="212186"/>
                  </a:lnTo>
                  <a:lnTo>
                    <a:pt x="830711" y="213814"/>
                  </a:lnTo>
                  <a:lnTo>
                    <a:pt x="832783" y="217021"/>
                  </a:lnTo>
                  <a:lnTo>
                    <a:pt x="830711" y="220278"/>
                  </a:lnTo>
                  <a:lnTo>
                    <a:pt x="834856" y="223485"/>
                  </a:lnTo>
                  <a:lnTo>
                    <a:pt x="839050" y="223485"/>
                  </a:lnTo>
                  <a:lnTo>
                    <a:pt x="843194" y="225113"/>
                  </a:lnTo>
                  <a:lnTo>
                    <a:pt x="849411" y="225113"/>
                  </a:lnTo>
                  <a:lnTo>
                    <a:pt x="851483" y="223485"/>
                  </a:lnTo>
                  <a:lnTo>
                    <a:pt x="849411" y="221906"/>
                  </a:lnTo>
                  <a:lnTo>
                    <a:pt x="843145" y="218650"/>
                  </a:lnTo>
                  <a:lnTo>
                    <a:pt x="841073" y="215442"/>
                  </a:lnTo>
                  <a:lnTo>
                    <a:pt x="841073" y="212186"/>
                  </a:lnTo>
                  <a:lnTo>
                    <a:pt x="836928" y="210558"/>
                  </a:lnTo>
                  <a:lnTo>
                    <a:pt x="832734" y="208979"/>
                  </a:lnTo>
                  <a:lnTo>
                    <a:pt x="832734" y="202022"/>
                  </a:lnTo>
                  <a:lnTo>
                    <a:pt x="830661" y="197088"/>
                  </a:lnTo>
                  <a:lnTo>
                    <a:pt x="822323" y="192154"/>
                  </a:lnTo>
                  <a:lnTo>
                    <a:pt x="822323" y="188947"/>
                  </a:lnTo>
                  <a:lnTo>
                    <a:pt x="820251" y="180855"/>
                  </a:lnTo>
                  <a:lnTo>
                    <a:pt x="816106" y="175921"/>
                  </a:lnTo>
                  <a:lnTo>
                    <a:pt x="816106" y="172714"/>
                  </a:lnTo>
                  <a:lnTo>
                    <a:pt x="818179" y="164622"/>
                  </a:lnTo>
                  <a:lnTo>
                    <a:pt x="816106" y="158158"/>
                  </a:lnTo>
                  <a:lnTo>
                    <a:pt x="811912" y="150066"/>
                  </a:lnTo>
                  <a:lnTo>
                    <a:pt x="811912" y="145132"/>
                  </a:lnTo>
                  <a:lnTo>
                    <a:pt x="813984" y="141876"/>
                  </a:lnTo>
                  <a:lnTo>
                    <a:pt x="811912" y="133833"/>
                  </a:lnTo>
                  <a:lnTo>
                    <a:pt x="809840" y="132205"/>
                  </a:lnTo>
                  <a:lnTo>
                    <a:pt x="809840" y="126087"/>
                  </a:lnTo>
                  <a:lnTo>
                    <a:pt x="805695" y="117995"/>
                  </a:lnTo>
                  <a:lnTo>
                    <a:pt x="803573" y="111581"/>
                  </a:lnTo>
                  <a:lnTo>
                    <a:pt x="805695" y="106647"/>
                  </a:lnTo>
                  <a:lnTo>
                    <a:pt x="801502" y="100183"/>
                  </a:lnTo>
                  <a:lnTo>
                    <a:pt x="801502" y="93769"/>
                  </a:lnTo>
                  <a:lnTo>
                    <a:pt x="803573" y="92190"/>
                  </a:lnTo>
                  <a:lnTo>
                    <a:pt x="816106" y="93769"/>
                  </a:lnTo>
                  <a:lnTo>
                    <a:pt x="818179" y="97026"/>
                  </a:lnTo>
                  <a:lnTo>
                    <a:pt x="822323" y="97026"/>
                  </a:lnTo>
                  <a:lnTo>
                    <a:pt x="824396" y="93769"/>
                  </a:lnTo>
                  <a:lnTo>
                    <a:pt x="828589" y="93769"/>
                  </a:lnTo>
                  <a:lnTo>
                    <a:pt x="839000" y="105117"/>
                  </a:lnTo>
                  <a:lnTo>
                    <a:pt x="849411" y="110051"/>
                  </a:lnTo>
                  <a:lnTo>
                    <a:pt x="853555" y="106795"/>
                  </a:lnTo>
                  <a:lnTo>
                    <a:pt x="853555" y="100233"/>
                  </a:lnTo>
                  <a:lnTo>
                    <a:pt x="849411" y="98654"/>
                  </a:lnTo>
                  <a:lnTo>
                    <a:pt x="853555" y="88786"/>
                  </a:lnTo>
                  <a:lnTo>
                    <a:pt x="857749" y="88786"/>
                  </a:lnTo>
                  <a:lnTo>
                    <a:pt x="863966" y="90414"/>
                  </a:lnTo>
                  <a:lnTo>
                    <a:pt x="870232" y="88786"/>
                  </a:lnTo>
                  <a:lnTo>
                    <a:pt x="876449" y="85579"/>
                  </a:lnTo>
                  <a:lnTo>
                    <a:pt x="884788" y="87157"/>
                  </a:lnTo>
                  <a:lnTo>
                    <a:pt x="888982" y="90414"/>
                  </a:lnTo>
                  <a:lnTo>
                    <a:pt x="895199" y="92042"/>
                  </a:lnTo>
                  <a:lnTo>
                    <a:pt x="897320" y="93621"/>
                  </a:lnTo>
                  <a:lnTo>
                    <a:pt x="901465" y="103489"/>
                  </a:lnTo>
                  <a:lnTo>
                    <a:pt x="901465" y="106696"/>
                  </a:lnTo>
                  <a:lnTo>
                    <a:pt x="907731" y="113160"/>
                  </a:lnTo>
                  <a:lnTo>
                    <a:pt x="907731" y="119623"/>
                  </a:lnTo>
                  <a:lnTo>
                    <a:pt x="905610" y="124557"/>
                  </a:lnTo>
                  <a:lnTo>
                    <a:pt x="909803" y="135906"/>
                  </a:lnTo>
                  <a:lnTo>
                    <a:pt x="909803" y="142172"/>
                  </a:lnTo>
                  <a:lnTo>
                    <a:pt x="911876" y="147106"/>
                  </a:lnTo>
                  <a:lnTo>
                    <a:pt x="918142" y="148685"/>
                  </a:lnTo>
                  <a:lnTo>
                    <a:pt x="926431" y="148685"/>
                  </a:lnTo>
                  <a:lnTo>
                    <a:pt x="934770" y="153619"/>
                  </a:lnTo>
                  <a:lnTo>
                    <a:pt x="943108" y="160083"/>
                  </a:lnTo>
                  <a:lnTo>
                    <a:pt x="943108" y="152040"/>
                  </a:lnTo>
                  <a:lnTo>
                    <a:pt x="934770" y="148784"/>
                  </a:lnTo>
                  <a:lnTo>
                    <a:pt x="930625" y="143850"/>
                  </a:lnTo>
                  <a:lnTo>
                    <a:pt x="924359" y="143850"/>
                  </a:lnTo>
                  <a:lnTo>
                    <a:pt x="918142" y="140642"/>
                  </a:lnTo>
                  <a:lnTo>
                    <a:pt x="916020" y="137386"/>
                  </a:lnTo>
                  <a:lnTo>
                    <a:pt x="916020" y="129343"/>
                  </a:lnTo>
                  <a:lnTo>
                    <a:pt x="911876" y="122880"/>
                  </a:lnTo>
                  <a:lnTo>
                    <a:pt x="911876" y="119623"/>
                  </a:lnTo>
                  <a:lnTo>
                    <a:pt x="916020" y="111581"/>
                  </a:lnTo>
                  <a:lnTo>
                    <a:pt x="913948" y="105117"/>
                  </a:lnTo>
                  <a:lnTo>
                    <a:pt x="916020" y="100183"/>
                  </a:lnTo>
                  <a:lnTo>
                    <a:pt x="916020" y="96976"/>
                  </a:lnTo>
                  <a:lnTo>
                    <a:pt x="913948" y="93720"/>
                  </a:lnTo>
                  <a:lnTo>
                    <a:pt x="907731" y="90513"/>
                  </a:lnTo>
                  <a:lnTo>
                    <a:pt x="899393" y="82421"/>
                  </a:lnTo>
                  <a:lnTo>
                    <a:pt x="895199" y="80793"/>
                  </a:lnTo>
                  <a:lnTo>
                    <a:pt x="888982" y="80793"/>
                  </a:lnTo>
                  <a:lnTo>
                    <a:pt x="882716" y="84049"/>
                  </a:lnTo>
                  <a:lnTo>
                    <a:pt x="878571" y="84049"/>
                  </a:lnTo>
                  <a:lnTo>
                    <a:pt x="870232" y="80793"/>
                  </a:lnTo>
                  <a:lnTo>
                    <a:pt x="870232" y="72799"/>
                  </a:lnTo>
                  <a:lnTo>
                    <a:pt x="874377" y="66336"/>
                  </a:lnTo>
                  <a:lnTo>
                    <a:pt x="880643" y="66336"/>
                  </a:lnTo>
                  <a:lnTo>
                    <a:pt x="880643" y="63227"/>
                  </a:lnTo>
                  <a:lnTo>
                    <a:pt x="870232" y="56764"/>
                  </a:lnTo>
                  <a:lnTo>
                    <a:pt x="868160" y="50300"/>
                  </a:lnTo>
                  <a:lnTo>
                    <a:pt x="870232" y="45366"/>
                  </a:lnTo>
                  <a:lnTo>
                    <a:pt x="872305" y="40432"/>
                  </a:lnTo>
                  <a:lnTo>
                    <a:pt x="874377" y="40432"/>
                  </a:lnTo>
                  <a:lnTo>
                    <a:pt x="880643" y="45366"/>
                  </a:lnTo>
                  <a:lnTo>
                    <a:pt x="884788" y="51830"/>
                  </a:lnTo>
                  <a:lnTo>
                    <a:pt x="886860" y="51830"/>
                  </a:lnTo>
                  <a:lnTo>
                    <a:pt x="893126" y="41962"/>
                  </a:lnTo>
                  <a:lnTo>
                    <a:pt x="899393" y="40334"/>
                  </a:lnTo>
                  <a:lnTo>
                    <a:pt x="905610" y="37126"/>
                  </a:lnTo>
                  <a:lnTo>
                    <a:pt x="907731" y="33870"/>
                  </a:lnTo>
                  <a:lnTo>
                    <a:pt x="913948" y="27406"/>
                  </a:lnTo>
                  <a:lnTo>
                    <a:pt x="920214" y="25778"/>
                  </a:lnTo>
                  <a:lnTo>
                    <a:pt x="916020" y="30712"/>
                  </a:lnTo>
                  <a:lnTo>
                    <a:pt x="913948" y="33919"/>
                  </a:lnTo>
                  <a:lnTo>
                    <a:pt x="913948" y="37176"/>
                  </a:lnTo>
                  <a:lnTo>
                    <a:pt x="920214" y="33919"/>
                  </a:lnTo>
                  <a:lnTo>
                    <a:pt x="926431" y="33919"/>
                  </a:lnTo>
                  <a:lnTo>
                    <a:pt x="928553" y="37176"/>
                  </a:lnTo>
                  <a:lnTo>
                    <a:pt x="930625" y="40383"/>
                  </a:lnTo>
                  <a:lnTo>
                    <a:pt x="934770" y="43639"/>
                  </a:lnTo>
                  <a:lnTo>
                    <a:pt x="934770" y="46846"/>
                  </a:lnTo>
                  <a:lnTo>
                    <a:pt x="930625" y="51780"/>
                  </a:lnTo>
                  <a:lnTo>
                    <a:pt x="932697" y="55037"/>
                  </a:lnTo>
                  <a:lnTo>
                    <a:pt x="936842" y="51780"/>
                  </a:lnTo>
                  <a:lnTo>
                    <a:pt x="941036" y="45317"/>
                  </a:lnTo>
                  <a:lnTo>
                    <a:pt x="949374" y="46945"/>
                  </a:lnTo>
                  <a:lnTo>
                    <a:pt x="953519" y="51879"/>
                  </a:lnTo>
                  <a:lnTo>
                    <a:pt x="953519" y="56813"/>
                  </a:lnTo>
                  <a:lnTo>
                    <a:pt x="957663" y="64905"/>
                  </a:lnTo>
                  <a:lnTo>
                    <a:pt x="961858" y="72997"/>
                  </a:lnTo>
                  <a:lnTo>
                    <a:pt x="961858" y="81039"/>
                  </a:lnTo>
                  <a:lnTo>
                    <a:pt x="966002" y="76105"/>
                  </a:lnTo>
                  <a:lnTo>
                    <a:pt x="966002" y="69543"/>
                  </a:lnTo>
                  <a:lnTo>
                    <a:pt x="963930" y="64609"/>
                  </a:lnTo>
                  <a:lnTo>
                    <a:pt x="961858" y="61402"/>
                  </a:lnTo>
                  <a:lnTo>
                    <a:pt x="959785" y="54938"/>
                  </a:lnTo>
                  <a:lnTo>
                    <a:pt x="959785" y="50004"/>
                  </a:lnTo>
                  <a:lnTo>
                    <a:pt x="963930" y="53261"/>
                  </a:lnTo>
                  <a:lnTo>
                    <a:pt x="976413" y="59724"/>
                  </a:lnTo>
                  <a:lnTo>
                    <a:pt x="982679" y="69592"/>
                  </a:lnTo>
                  <a:lnTo>
                    <a:pt x="991017" y="72849"/>
                  </a:lnTo>
                  <a:lnTo>
                    <a:pt x="999307" y="74477"/>
                  </a:lnTo>
                  <a:lnTo>
                    <a:pt x="999307" y="72849"/>
                  </a:lnTo>
                  <a:lnTo>
                    <a:pt x="995162" y="69592"/>
                  </a:lnTo>
                  <a:lnTo>
                    <a:pt x="986824" y="66385"/>
                  </a:lnTo>
                  <a:lnTo>
                    <a:pt x="980755" y="58293"/>
                  </a:lnTo>
                  <a:lnTo>
                    <a:pt x="980755" y="50152"/>
                  </a:lnTo>
                  <a:lnTo>
                    <a:pt x="982827" y="42110"/>
                  </a:lnTo>
                  <a:lnTo>
                    <a:pt x="995310" y="42110"/>
                  </a:lnTo>
                  <a:lnTo>
                    <a:pt x="1005721" y="47044"/>
                  </a:lnTo>
                  <a:lnTo>
                    <a:pt x="1012234" y="47044"/>
                  </a:lnTo>
                  <a:lnTo>
                    <a:pt x="1014307" y="43837"/>
                  </a:lnTo>
                  <a:lnTo>
                    <a:pt x="1012234" y="40580"/>
                  </a:lnTo>
                  <a:lnTo>
                    <a:pt x="1008040" y="38952"/>
                  </a:lnTo>
                  <a:lnTo>
                    <a:pt x="1008040" y="35745"/>
                  </a:lnTo>
                  <a:lnTo>
                    <a:pt x="1014307" y="29281"/>
                  </a:lnTo>
                  <a:lnTo>
                    <a:pt x="1018451" y="26025"/>
                  </a:lnTo>
                  <a:lnTo>
                    <a:pt x="1016378" y="22818"/>
                  </a:lnTo>
                  <a:lnTo>
                    <a:pt x="1014307" y="19561"/>
                  </a:lnTo>
                  <a:lnTo>
                    <a:pt x="1016378" y="13147"/>
                  </a:lnTo>
                  <a:lnTo>
                    <a:pt x="1024717" y="13147"/>
                  </a:lnTo>
                  <a:lnTo>
                    <a:pt x="1028862" y="9891"/>
                  </a:lnTo>
                  <a:lnTo>
                    <a:pt x="1028862" y="4956"/>
                  </a:lnTo>
                  <a:lnTo>
                    <a:pt x="1033055" y="1700"/>
                  </a:lnTo>
                  <a:lnTo>
                    <a:pt x="1035128" y="3328"/>
                  </a:lnTo>
                  <a:lnTo>
                    <a:pt x="1039272" y="4956"/>
                  </a:lnTo>
                  <a:lnTo>
                    <a:pt x="1041394" y="6585"/>
                  </a:lnTo>
                  <a:lnTo>
                    <a:pt x="1045539" y="9792"/>
                  </a:lnTo>
                  <a:lnTo>
                    <a:pt x="1047611" y="17884"/>
                  </a:lnTo>
                  <a:lnTo>
                    <a:pt x="1051805" y="19463"/>
                  </a:lnTo>
                  <a:lnTo>
                    <a:pt x="1053877" y="17884"/>
                  </a:lnTo>
                  <a:lnTo>
                    <a:pt x="1053877" y="12950"/>
                  </a:lnTo>
                  <a:lnTo>
                    <a:pt x="1051805" y="8016"/>
                  </a:lnTo>
                  <a:lnTo>
                    <a:pt x="1051805" y="4808"/>
                  </a:lnTo>
                  <a:lnTo>
                    <a:pt x="1055950" y="1552"/>
                  </a:lnTo>
                  <a:lnTo>
                    <a:pt x="1060094" y="-27"/>
                  </a:lnTo>
                  <a:lnTo>
                    <a:pt x="1068433" y="1552"/>
                  </a:lnTo>
                  <a:lnTo>
                    <a:pt x="1078844" y="1552"/>
                  </a:lnTo>
                  <a:lnTo>
                    <a:pt x="1085110" y="3180"/>
                  </a:lnTo>
                  <a:lnTo>
                    <a:pt x="1085110" y="6437"/>
                  </a:lnTo>
                  <a:lnTo>
                    <a:pt x="1089254" y="4808"/>
                  </a:lnTo>
                  <a:lnTo>
                    <a:pt x="1093448" y="3180"/>
                  </a:lnTo>
                  <a:lnTo>
                    <a:pt x="1099665" y="4808"/>
                  </a:lnTo>
                  <a:lnTo>
                    <a:pt x="1112148" y="4808"/>
                  </a:lnTo>
                  <a:lnTo>
                    <a:pt x="1116342" y="8016"/>
                  </a:lnTo>
                  <a:lnTo>
                    <a:pt x="1120486" y="8016"/>
                  </a:lnTo>
                  <a:lnTo>
                    <a:pt x="1124681" y="6437"/>
                  </a:lnTo>
                  <a:lnTo>
                    <a:pt x="1128825" y="8016"/>
                  </a:lnTo>
                  <a:lnTo>
                    <a:pt x="1130898" y="12950"/>
                  </a:lnTo>
                  <a:lnTo>
                    <a:pt x="1141309" y="17884"/>
                  </a:lnTo>
                  <a:lnTo>
                    <a:pt x="1145502" y="16255"/>
                  </a:lnTo>
                  <a:lnTo>
                    <a:pt x="1145502" y="14627"/>
                  </a:lnTo>
                  <a:lnTo>
                    <a:pt x="1149647" y="14627"/>
                  </a:lnTo>
                  <a:lnTo>
                    <a:pt x="1160107" y="21091"/>
                  </a:lnTo>
                  <a:lnTo>
                    <a:pt x="1164203" y="21091"/>
                  </a:lnTo>
                  <a:lnTo>
                    <a:pt x="1172541" y="26025"/>
                  </a:lnTo>
                  <a:lnTo>
                    <a:pt x="1187343" y="27653"/>
                  </a:lnTo>
                  <a:lnTo>
                    <a:pt x="1189415" y="29281"/>
                  </a:lnTo>
                  <a:lnTo>
                    <a:pt x="1197754" y="27653"/>
                  </a:lnTo>
                  <a:lnTo>
                    <a:pt x="1199826" y="30910"/>
                  </a:lnTo>
                  <a:lnTo>
                    <a:pt x="1203971" y="34117"/>
                  </a:lnTo>
                  <a:lnTo>
                    <a:pt x="1210237" y="30910"/>
                  </a:lnTo>
                  <a:lnTo>
                    <a:pt x="1216503" y="32488"/>
                  </a:lnTo>
                  <a:lnTo>
                    <a:pt x="1222720" y="37422"/>
                  </a:lnTo>
                  <a:lnTo>
                    <a:pt x="1233131" y="40630"/>
                  </a:lnTo>
                  <a:lnTo>
                    <a:pt x="1241469" y="45564"/>
                  </a:lnTo>
                  <a:lnTo>
                    <a:pt x="1243542" y="50498"/>
                  </a:lnTo>
                  <a:lnTo>
                    <a:pt x="1249808" y="53754"/>
                  </a:lnTo>
                  <a:lnTo>
                    <a:pt x="1258146" y="58688"/>
                  </a:lnTo>
                  <a:lnTo>
                    <a:pt x="1258146" y="61945"/>
                  </a:lnTo>
                  <a:lnTo>
                    <a:pt x="1253952" y="66879"/>
                  </a:lnTo>
                  <a:lnTo>
                    <a:pt x="1247735" y="66879"/>
                  </a:lnTo>
                  <a:lnTo>
                    <a:pt x="1243542" y="65250"/>
                  </a:lnTo>
                  <a:lnTo>
                    <a:pt x="1237325" y="68507"/>
                  </a:lnTo>
                  <a:lnTo>
                    <a:pt x="1233131" y="71714"/>
                  </a:lnTo>
                  <a:lnTo>
                    <a:pt x="1224398" y="71714"/>
                  </a:lnTo>
                  <a:lnTo>
                    <a:pt x="1218181" y="73342"/>
                  </a:lnTo>
                  <a:lnTo>
                    <a:pt x="1209842" y="71714"/>
                  </a:lnTo>
                  <a:lnTo>
                    <a:pt x="1197359" y="66780"/>
                  </a:lnTo>
                  <a:lnTo>
                    <a:pt x="1191142" y="65152"/>
                  </a:lnTo>
                  <a:lnTo>
                    <a:pt x="1186948" y="65152"/>
                  </a:lnTo>
                  <a:lnTo>
                    <a:pt x="1180731" y="63523"/>
                  </a:lnTo>
                  <a:lnTo>
                    <a:pt x="1172343" y="61945"/>
                  </a:lnTo>
                  <a:lnTo>
                    <a:pt x="1168199" y="65152"/>
                  </a:lnTo>
                  <a:lnTo>
                    <a:pt x="1164005" y="65152"/>
                  </a:lnTo>
                  <a:lnTo>
                    <a:pt x="1161932" y="63523"/>
                  </a:lnTo>
                  <a:lnTo>
                    <a:pt x="1153594" y="63523"/>
                  </a:lnTo>
                  <a:lnTo>
                    <a:pt x="1143184" y="68458"/>
                  </a:lnTo>
                  <a:lnTo>
                    <a:pt x="1139039" y="70036"/>
                  </a:lnTo>
                  <a:lnTo>
                    <a:pt x="1132773" y="66829"/>
                  </a:lnTo>
                  <a:lnTo>
                    <a:pt x="1126556" y="68458"/>
                  </a:lnTo>
                  <a:lnTo>
                    <a:pt x="1118217" y="71665"/>
                  </a:lnTo>
                  <a:lnTo>
                    <a:pt x="1109879" y="70036"/>
                  </a:lnTo>
                  <a:lnTo>
                    <a:pt x="1105734" y="65102"/>
                  </a:lnTo>
                  <a:lnTo>
                    <a:pt x="1103662" y="60168"/>
                  </a:lnTo>
                  <a:lnTo>
                    <a:pt x="1107806" y="58540"/>
                  </a:lnTo>
                  <a:lnTo>
                    <a:pt x="1111951" y="56912"/>
                  </a:lnTo>
                  <a:lnTo>
                    <a:pt x="1111951" y="53359"/>
                  </a:lnTo>
                  <a:lnTo>
                    <a:pt x="1109879" y="51731"/>
                  </a:lnTo>
                  <a:lnTo>
                    <a:pt x="1099468" y="51731"/>
                  </a:lnTo>
                  <a:lnTo>
                    <a:pt x="1093251" y="56665"/>
                  </a:lnTo>
                  <a:lnTo>
                    <a:pt x="1095323" y="61599"/>
                  </a:lnTo>
                  <a:lnTo>
                    <a:pt x="1099468" y="66533"/>
                  </a:lnTo>
                  <a:lnTo>
                    <a:pt x="1103662" y="68161"/>
                  </a:lnTo>
                  <a:lnTo>
                    <a:pt x="1101540" y="71369"/>
                  </a:lnTo>
                  <a:lnTo>
                    <a:pt x="1095323" y="74625"/>
                  </a:lnTo>
                  <a:lnTo>
                    <a:pt x="1093251" y="72997"/>
                  </a:lnTo>
                  <a:lnTo>
                    <a:pt x="1086985" y="72997"/>
                  </a:lnTo>
                  <a:lnTo>
                    <a:pt x="1078646" y="74625"/>
                  </a:lnTo>
                  <a:lnTo>
                    <a:pt x="1076574" y="76204"/>
                  </a:lnTo>
                  <a:lnTo>
                    <a:pt x="1070308" y="76204"/>
                  </a:lnTo>
                  <a:lnTo>
                    <a:pt x="1062018" y="74625"/>
                  </a:lnTo>
                  <a:lnTo>
                    <a:pt x="1053680" y="74625"/>
                  </a:lnTo>
                  <a:lnTo>
                    <a:pt x="1043269" y="77832"/>
                  </a:lnTo>
                  <a:lnTo>
                    <a:pt x="1030737" y="85924"/>
                  </a:lnTo>
                  <a:lnTo>
                    <a:pt x="1030737" y="98851"/>
                  </a:lnTo>
                  <a:lnTo>
                    <a:pt x="1026592" y="102058"/>
                  </a:lnTo>
                  <a:lnTo>
                    <a:pt x="1026592" y="106992"/>
                  </a:lnTo>
                  <a:lnTo>
                    <a:pt x="1028664" y="108621"/>
                  </a:lnTo>
                  <a:lnTo>
                    <a:pt x="1034930" y="106992"/>
                  </a:lnTo>
                  <a:lnTo>
                    <a:pt x="1034930" y="100233"/>
                  </a:lnTo>
                  <a:lnTo>
                    <a:pt x="1037003" y="97026"/>
                  </a:lnTo>
                  <a:lnTo>
                    <a:pt x="1037003" y="95397"/>
                  </a:lnTo>
                  <a:lnTo>
                    <a:pt x="1039075" y="92190"/>
                  </a:lnTo>
                  <a:lnTo>
                    <a:pt x="1047414" y="92190"/>
                  </a:lnTo>
                  <a:lnTo>
                    <a:pt x="1051608" y="90562"/>
                  </a:lnTo>
                  <a:lnTo>
                    <a:pt x="1053680" y="93769"/>
                  </a:lnTo>
                  <a:lnTo>
                    <a:pt x="1051608" y="97026"/>
                  </a:lnTo>
                  <a:lnTo>
                    <a:pt x="1049486" y="101960"/>
                  </a:lnTo>
                  <a:lnTo>
                    <a:pt x="1049486" y="105216"/>
                  </a:lnTo>
                  <a:lnTo>
                    <a:pt x="1051608" y="105216"/>
                  </a:lnTo>
                  <a:lnTo>
                    <a:pt x="1055752" y="100282"/>
                  </a:lnTo>
                  <a:lnTo>
                    <a:pt x="1057824" y="92240"/>
                  </a:lnTo>
                  <a:cubicBezTo>
                    <a:pt x="1057824" y="92240"/>
                    <a:pt x="1062018" y="87306"/>
                    <a:pt x="1062018" y="85776"/>
                  </a:cubicBezTo>
                  <a:lnTo>
                    <a:pt x="1070308" y="82520"/>
                  </a:lnTo>
                  <a:lnTo>
                    <a:pt x="1089057" y="82520"/>
                  </a:lnTo>
                  <a:lnTo>
                    <a:pt x="1095323" y="80891"/>
                  </a:lnTo>
                  <a:lnTo>
                    <a:pt x="1097396" y="80891"/>
                  </a:lnTo>
                  <a:lnTo>
                    <a:pt x="1099468" y="85825"/>
                  </a:lnTo>
                  <a:lnTo>
                    <a:pt x="1103662" y="93868"/>
                  </a:lnTo>
                  <a:lnTo>
                    <a:pt x="1105734" y="95496"/>
                  </a:lnTo>
                  <a:lnTo>
                    <a:pt x="1109879" y="95496"/>
                  </a:lnTo>
                  <a:lnTo>
                    <a:pt x="1109879" y="90562"/>
                  </a:lnTo>
                  <a:lnTo>
                    <a:pt x="1107806" y="84098"/>
                  </a:lnTo>
                  <a:lnTo>
                    <a:pt x="1109879" y="82470"/>
                  </a:lnTo>
                  <a:lnTo>
                    <a:pt x="1116145" y="80842"/>
                  </a:lnTo>
                  <a:lnTo>
                    <a:pt x="1122361" y="82470"/>
                  </a:lnTo>
                  <a:lnTo>
                    <a:pt x="1130700" y="80842"/>
                  </a:lnTo>
                  <a:lnTo>
                    <a:pt x="1141111" y="79263"/>
                  </a:lnTo>
                  <a:lnTo>
                    <a:pt x="1149450" y="76007"/>
                  </a:lnTo>
                  <a:lnTo>
                    <a:pt x="1157788" y="74428"/>
                  </a:lnTo>
                  <a:lnTo>
                    <a:pt x="1170123" y="74428"/>
                  </a:lnTo>
                  <a:lnTo>
                    <a:pt x="1178413" y="76007"/>
                  </a:lnTo>
                  <a:lnTo>
                    <a:pt x="1186751" y="79263"/>
                  </a:lnTo>
                  <a:lnTo>
                    <a:pt x="1192968" y="80842"/>
                  </a:lnTo>
                  <a:lnTo>
                    <a:pt x="1197162" y="82470"/>
                  </a:lnTo>
                  <a:lnTo>
                    <a:pt x="1205500" y="84098"/>
                  </a:lnTo>
                  <a:lnTo>
                    <a:pt x="1209645" y="87306"/>
                  </a:lnTo>
                  <a:lnTo>
                    <a:pt x="1213789" y="88934"/>
                  </a:lnTo>
                  <a:lnTo>
                    <a:pt x="1217983" y="87306"/>
                  </a:lnTo>
                  <a:lnTo>
                    <a:pt x="1224200" y="85727"/>
                  </a:lnTo>
                  <a:lnTo>
                    <a:pt x="1226322" y="87306"/>
                  </a:lnTo>
                  <a:lnTo>
                    <a:pt x="1228394" y="90562"/>
                  </a:lnTo>
                  <a:lnTo>
                    <a:pt x="1232539" y="90562"/>
                  </a:lnTo>
                  <a:lnTo>
                    <a:pt x="1238805" y="85628"/>
                  </a:lnTo>
                  <a:lnTo>
                    <a:pt x="1249216" y="85628"/>
                  </a:lnTo>
                  <a:lnTo>
                    <a:pt x="1259627" y="82371"/>
                  </a:lnTo>
                  <a:lnTo>
                    <a:pt x="1263771" y="77437"/>
                  </a:lnTo>
                  <a:lnTo>
                    <a:pt x="1267965" y="75809"/>
                  </a:lnTo>
                  <a:lnTo>
                    <a:pt x="1272110" y="77437"/>
                  </a:lnTo>
                  <a:lnTo>
                    <a:pt x="1276254" y="82371"/>
                  </a:lnTo>
                  <a:lnTo>
                    <a:pt x="1282521" y="85628"/>
                  </a:lnTo>
                  <a:lnTo>
                    <a:pt x="1282521" y="88835"/>
                  </a:lnTo>
                  <a:lnTo>
                    <a:pt x="1278376" y="92092"/>
                  </a:lnTo>
                  <a:lnTo>
                    <a:pt x="1278376" y="93670"/>
                  </a:lnTo>
                  <a:lnTo>
                    <a:pt x="1282521" y="96927"/>
                  </a:lnTo>
                  <a:lnTo>
                    <a:pt x="1282521" y="103390"/>
                  </a:lnTo>
                  <a:lnTo>
                    <a:pt x="1274182" y="109854"/>
                  </a:lnTo>
                  <a:lnTo>
                    <a:pt x="1263771" y="113061"/>
                  </a:lnTo>
                  <a:lnTo>
                    <a:pt x="1257554" y="111482"/>
                  </a:lnTo>
                  <a:lnTo>
                    <a:pt x="1251288" y="108226"/>
                  </a:lnTo>
                  <a:lnTo>
                    <a:pt x="1247143" y="105019"/>
                  </a:lnTo>
                  <a:lnTo>
                    <a:pt x="1245022" y="106598"/>
                  </a:lnTo>
                  <a:lnTo>
                    <a:pt x="1245022" y="109854"/>
                  </a:lnTo>
                  <a:lnTo>
                    <a:pt x="1251288" y="114788"/>
                  </a:lnTo>
                  <a:lnTo>
                    <a:pt x="1253360" y="117995"/>
                  </a:lnTo>
                  <a:lnTo>
                    <a:pt x="1251288" y="117995"/>
                  </a:lnTo>
                  <a:lnTo>
                    <a:pt x="1245022" y="116416"/>
                  </a:lnTo>
                  <a:lnTo>
                    <a:pt x="1240877" y="113160"/>
                  </a:lnTo>
                  <a:lnTo>
                    <a:pt x="1236733" y="113160"/>
                  </a:lnTo>
                  <a:lnTo>
                    <a:pt x="1236733" y="116416"/>
                  </a:lnTo>
                  <a:lnTo>
                    <a:pt x="1240877" y="121350"/>
                  </a:lnTo>
                  <a:lnTo>
                    <a:pt x="1245022" y="122979"/>
                  </a:lnTo>
                  <a:lnTo>
                    <a:pt x="1251288" y="122979"/>
                  </a:lnTo>
                  <a:lnTo>
                    <a:pt x="1259627" y="126186"/>
                  </a:lnTo>
                  <a:lnTo>
                    <a:pt x="1265844" y="126186"/>
                  </a:lnTo>
                  <a:lnTo>
                    <a:pt x="1276254" y="121252"/>
                  </a:lnTo>
                  <a:lnTo>
                    <a:pt x="1280448" y="121252"/>
                  </a:lnTo>
                  <a:lnTo>
                    <a:pt x="1282521" y="122880"/>
                  </a:lnTo>
                  <a:lnTo>
                    <a:pt x="1282521" y="116416"/>
                  </a:lnTo>
                  <a:lnTo>
                    <a:pt x="1303342" y="116416"/>
                  </a:lnTo>
                  <a:lnTo>
                    <a:pt x="1307437" y="117995"/>
                  </a:lnTo>
                  <a:lnTo>
                    <a:pt x="1307437" y="121252"/>
                  </a:lnTo>
                  <a:lnTo>
                    <a:pt x="1311632" y="124459"/>
                  </a:lnTo>
                  <a:lnTo>
                    <a:pt x="1315776" y="122880"/>
                  </a:lnTo>
                  <a:lnTo>
                    <a:pt x="1317897" y="121252"/>
                  </a:lnTo>
                  <a:lnTo>
                    <a:pt x="1319970" y="122880"/>
                  </a:lnTo>
                  <a:lnTo>
                    <a:pt x="1322042" y="126087"/>
                  </a:lnTo>
                  <a:lnTo>
                    <a:pt x="1326187" y="129343"/>
                  </a:lnTo>
                  <a:lnTo>
                    <a:pt x="1336597" y="130922"/>
                  </a:lnTo>
                  <a:lnTo>
                    <a:pt x="1340791" y="134179"/>
                  </a:lnTo>
                  <a:lnTo>
                    <a:pt x="1340791" y="137238"/>
                  </a:lnTo>
                  <a:lnTo>
                    <a:pt x="1349130" y="142172"/>
                  </a:lnTo>
                  <a:lnTo>
                    <a:pt x="1357419" y="145428"/>
                  </a:lnTo>
                  <a:lnTo>
                    <a:pt x="1363685" y="150363"/>
                  </a:lnTo>
                  <a:lnTo>
                    <a:pt x="1363685" y="160231"/>
                  </a:lnTo>
                  <a:lnTo>
                    <a:pt x="1361613" y="161809"/>
                  </a:lnTo>
                  <a:lnTo>
                    <a:pt x="1361613" y="168273"/>
                  </a:lnTo>
                  <a:lnTo>
                    <a:pt x="1357419" y="169901"/>
                  </a:lnTo>
                  <a:lnTo>
                    <a:pt x="1349130" y="174835"/>
                  </a:lnTo>
                  <a:lnTo>
                    <a:pt x="1344985" y="176464"/>
                  </a:lnTo>
                  <a:lnTo>
                    <a:pt x="1340791" y="174835"/>
                  </a:lnTo>
                  <a:lnTo>
                    <a:pt x="1338719" y="176464"/>
                  </a:lnTo>
                  <a:lnTo>
                    <a:pt x="1338719" y="179671"/>
                  </a:lnTo>
                  <a:lnTo>
                    <a:pt x="1336597" y="181299"/>
                  </a:lnTo>
                  <a:lnTo>
                    <a:pt x="1330381" y="184555"/>
                  </a:lnTo>
                  <a:lnTo>
                    <a:pt x="1317897" y="189489"/>
                  </a:lnTo>
                  <a:lnTo>
                    <a:pt x="1309559" y="189489"/>
                  </a:lnTo>
                  <a:lnTo>
                    <a:pt x="1307437" y="191118"/>
                  </a:lnTo>
                  <a:lnTo>
                    <a:pt x="1301220" y="191118"/>
                  </a:lnTo>
                  <a:lnTo>
                    <a:pt x="1297026" y="187861"/>
                  </a:lnTo>
                  <a:lnTo>
                    <a:pt x="1294954" y="184654"/>
                  </a:lnTo>
                  <a:lnTo>
                    <a:pt x="1292931" y="186233"/>
                  </a:lnTo>
                  <a:lnTo>
                    <a:pt x="1292931" y="189489"/>
                  </a:lnTo>
                  <a:lnTo>
                    <a:pt x="1297026" y="191118"/>
                  </a:lnTo>
                  <a:lnTo>
                    <a:pt x="1294954" y="192696"/>
                  </a:lnTo>
                  <a:lnTo>
                    <a:pt x="1288738" y="192696"/>
                  </a:lnTo>
                  <a:lnTo>
                    <a:pt x="1282471" y="191118"/>
                  </a:lnTo>
                  <a:lnTo>
                    <a:pt x="1276205" y="194325"/>
                  </a:lnTo>
                  <a:lnTo>
                    <a:pt x="1274132" y="194325"/>
                  </a:lnTo>
                  <a:lnTo>
                    <a:pt x="1269988" y="191118"/>
                  </a:lnTo>
                  <a:lnTo>
                    <a:pt x="1261650" y="191118"/>
                  </a:lnTo>
                  <a:lnTo>
                    <a:pt x="1257505" y="194325"/>
                  </a:lnTo>
                  <a:lnTo>
                    <a:pt x="1249166" y="197581"/>
                  </a:lnTo>
                  <a:lnTo>
                    <a:pt x="1242900" y="197581"/>
                  </a:lnTo>
                  <a:lnTo>
                    <a:pt x="1240828" y="195953"/>
                  </a:lnTo>
                  <a:lnTo>
                    <a:pt x="1234562" y="195953"/>
                  </a:lnTo>
                  <a:lnTo>
                    <a:pt x="1228345" y="194325"/>
                  </a:lnTo>
                  <a:lnTo>
                    <a:pt x="1224398" y="194325"/>
                  </a:lnTo>
                  <a:lnTo>
                    <a:pt x="1222325" y="195953"/>
                  </a:lnTo>
                  <a:lnTo>
                    <a:pt x="1213987" y="197581"/>
                  </a:lnTo>
                  <a:lnTo>
                    <a:pt x="1209842" y="195953"/>
                  </a:lnTo>
                  <a:lnTo>
                    <a:pt x="1201504" y="191019"/>
                  </a:lnTo>
                  <a:lnTo>
                    <a:pt x="1197359" y="191019"/>
                  </a:lnTo>
                  <a:lnTo>
                    <a:pt x="1195287" y="189391"/>
                  </a:lnTo>
                  <a:lnTo>
                    <a:pt x="1184925" y="189391"/>
                  </a:lnTo>
                  <a:lnTo>
                    <a:pt x="1180781" y="186134"/>
                  </a:lnTo>
                  <a:lnTo>
                    <a:pt x="1176587" y="186134"/>
                  </a:lnTo>
                  <a:lnTo>
                    <a:pt x="1168248" y="187762"/>
                  </a:lnTo>
                  <a:lnTo>
                    <a:pt x="1164054" y="187762"/>
                  </a:lnTo>
                  <a:lnTo>
                    <a:pt x="1155765" y="184555"/>
                  </a:lnTo>
                  <a:lnTo>
                    <a:pt x="1151571" y="186134"/>
                  </a:lnTo>
                  <a:lnTo>
                    <a:pt x="1147427" y="189391"/>
                  </a:lnTo>
                  <a:lnTo>
                    <a:pt x="1143233" y="191019"/>
                  </a:lnTo>
                  <a:lnTo>
                    <a:pt x="1134943" y="189391"/>
                  </a:lnTo>
                  <a:lnTo>
                    <a:pt x="1128677" y="192598"/>
                  </a:lnTo>
                  <a:lnTo>
                    <a:pt x="1126605" y="194226"/>
                  </a:lnTo>
                  <a:lnTo>
                    <a:pt x="1124533" y="194226"/>
                  </a:lnTo>
                  <a:lnTo>
                    <a:pt x="1124533" y="189292"/>
                  </a:lnTo>
                  <a:lnTo>
                    <a:pt x="1120339" y="187664"/>
                  </a:lnTo>
                  <a:lnTo>
                    <a:pt x="1114122" y="187664"/>
                  </a:lnTo>
                  <a:lnTo>
                    <a:pt x="1112000" y="186036"/>
                  </a:lnTo>
                  <a:lnTo>
                    <a:pt x="1107856" y="186036"/>
                  </a:lnTo>
                  <a:lnTo>
                    <a:pt x="1105783" y="189292"/>
                  </a:lnTo>
                  <a:lnTo>
                    <a:pt x="1116194" y="189292"/>
                  </a:lnTo>
                  <a:lnTo>
                    <a:pt x="1120339" y="192499"/>
                  </a:lnTo>
                  <a:lnTo>
                    <a:pt x="1120339" y="198963"/>
                  </a:lnTo>
                  <a:lnTo>
                    <a:pt x="1114122" y="200591"/>
                  </a:lnTo>
                  <a:lnTo>
                    <a:pt x="1105783" y="200591"/>
                  </a:lnTo>
                  <a:lnTo>
                    <a:pt x="1099517" y="203798"/>
                  </a:lnTo>
                  <a:lnTo>
                    <a:pt x="1093301" y="205426"/>
                  </a:lnTo>
                  <a:lnTo>
                    <a:pt x="1082889" y="207055"/>
                  </a:lnTo>
                  <a:lnTo>
                    <a:pt x="1078695" y="208683"/>
                  </a:lnTo>
                  <a:lnTo>
                    <a:pt x="1076623" y="211890"/>
                  </a:lnTo>
                  <a:lnTo>
                    <a:pt x="1070357" y="213518"/>
                  </a:lnTo>
                  <a:lnTo>
                    <a:pt x="1064140" y="213518"/>
                  </a:lnTo>
                  <a:lnTo>
                    <a:pt x="1057874" y="216725"/>
                  </a:lnTo>
                  <a:lnTo>
                    <a:pt x="1051706" y="216725"/>
                  </a:lnTo>
                  <a:lnTo>
                    <a:pt x="1049584" y="221659"/>
                  </a:lnTo>
                  <a:lnTo>
                    <a:pt x="1047512" y="224866"/>
                  </a:lnTo>
                  <a:lnTo>
                    <a:pt x="1051706" y="228123"/>
                  </a:lnTo>
                  <a:lnTo>
                    <a:pt x="1053779" y="233057"/>
                  </a:lnTo>
                  <a:lnTo>
                    <a:pt x="1053779" y="237991"/>
                  </a:lnTo>
                  <a:lnTo>
                    <a:pt x="1055851" y="241198"/>
                  </a:lnTo>
                  <a:lnTo>
                    <a:pt x="1059996" y="241198"/>
                  </a:lnTo>
                  <a:lnTo>
                    <a:pt x="1062117" y="237991"/>
                  </a:lnTo>
                  <a:lnTo>
                    <a:pt x="1064190" y="233057"/>
                  </a:lnTo>
                  <a:lnTo>
                    <a:pt x="1068334" y="229800"/>
                  </a:lnTo>
                  <a:lnTo>
                    <a:pt x="1074600" y="228222"/>
                  </a:lnTo>
                  <a:lnTo>
                    <a:pt x="1078745" y="226593"/>
                  </a:lnTo>
                  <a:lnTo>
                    <a:pt x="1085011" y="224965"/>
                  </a:lnTo>
                  <a:lnTo>
                    <a:pt x="1091179" y="224965"/>
                  </a:lnTo>
                  <a:lnTo>
                    <a:pt x="1093301" y="223337"/>
                  </a:lnTo>
                  <a:lnTo>
                    <a:pt x="1097445" y="218403"/>
                  </a:lnTo>
                  <a:lnTo>
                    <a:pt x="1107856" y="216775"/>
                  </a:lnTo>
                  <a:lnTo>
                    <a:pt x="1122658" y="211841"/>
                  </a:lnTo>
                  <a:lnTo>
                    <a:pt x="1126852" y="211841"/>
                  </a:lnTo>
                  <a:lnTo>
                    <a:pt x="1126852" y="218156"/>
                  </a:lnTo>
                  <a:lnTo>
                    <a:pt x="1128924" y="218156"/>
                  </a:lnTo>
                  <a:lnTo>
                    <a:pt x="1133069" y="214949"/>
                  </a:lnTo>
                  <a:lnTo>
                    <a:pt x="1133069" y="210015"/>
                  </a:lnTo>
                  <a:lnTo>
                    <a:pt x="1137262" y="203551"/>
                  </a:lnTo>
                  <a:lnTo>
                    <a:pt x="1141407" y="203551"/>
                  </a:lnTo>
                  <a:lnTo>
                    <a:pt x="1149746" y="205180"/>
                  </a:lnTo>
                  <a:lnTo>
                    <a:pt x="1170123" y="205180"/>
                  </a:lnTo>
                  <a:lnTo>
                    <a:pt x="1176340" y="206808"/>
                  </a:lnTo>
                  <a:lnTo>
                    <a:pt x="1182557" y="208436"/>
                  </a:lnTo>
                  <a:lnTo>
                    <a:pt x="1199234" y="206808"/>
                  </a:lnTo>
                  <a:lnTo>
                    <a:pt x="1205500" y="208436"/>
                  </a:lnTo>
                  <a:lnTo>
                    <a:pt x="1211717" y="211643"/>
                  </a:lnTo>
                  <a:lnTo>
                    <a:pt x="1222128" y="213271"/>
                  </a:lnTo>
                  <a:lnTo>
                    <a:pt x="1242950" y="213271"/>
                  </a:lnTo>
                  <a:lnTo>
                    <a:pt x="1242950" y="216479"/>
                  </a:lnTo>
                  <a:lnTo>
                    <a:pt x="1245022" y="219735"/>
                  </a:lnTo>
                  <a:lnTo>
                    <a:pt x="1245022" y="222942"/>
                  </a:lnTo>
                  <a:lnTo>
                    <a:pt x="1238805" y="224570"/>
                  </a:lnTo>
                  <a:lnTo>
                    <a:pt x="1238805" y="229504"/>
                  </a:lnTo>
                  <a:lnTo>
                    <a:pt x="1234759" y="235919"/>
                  </a:lnTo>
                  <a:lnTo>
                    <a:pt x="1230614" y="237547"/>
                  </a:lnTo>
                  <a:lnTo>
                    <a:pt x="1213937" y="239175"/>
                  </a:lnTo>
                  <a:lnTo>
                    <a:pt x="1205648" y="242382"/>
                  </a:lnTo>
                  <a:lnTo>
                    <a:pt x="1203527" y="242382"/>
                  </a:lnTo>
                  <a:lnTo>
                    <a:pt x="1199382" y="240754"/>
                  </a:lnTo>
                  <a:lnTo>
                    <a:pt x="1197310" y="242382"/>
                  </a:lnTo>
                  <a:lnTo>
                    <a:pt x="1195237" y="245639"/>
                  </a:lnTo>
                  <a:lnTo>
                    <a:pt x="1197310" y="250573"/>
                  </a:lnTo>
                  <a:lnTo>
                    <a:pt x="1195237" y="255507"/>
                  </a:lnTo>
                  <a:lnTo>
                    <a:pt x="1195237" y="258763"/>
                  </a:lnTo>
                  <a:lnTo>
                    <a:pt x="1197310" y="258763"/>
                  </a:lnTo>
                  <a:lnTo>
                    <a:pt x="1205648" y="257135"/>
                  </a:lnTo>
                  <a:lnTo>
                    <a:pt x="1216059" y="253879"/>
                  </a:lnTo>
                  <a:lnTo>
                    <a:pt x="1222276" y="252300"/>
                  </a:lnTo>
                  <a:lnTo>
                    <a:pt x="1234759" y="252300"/>
                  </a:lnTo>
                  <a:cubicBezTo>
                    <a:pt x="1239002" y="253109"/>
                    <a:pt x="1243197" y="254181"/>
                    <a:pt x="1247292" y="255507"/>
                  </a:cubicBezTo>
                  <a:lnTo>
                    <a:pt x="1251436" y="255507"/>
                  </a:lnTo>
                  <a:lnTo>
                    <a:pt x="1257702" y="258763"/>
                  </a:lnTo>
                  <a:lnTo>
                    <a:pt x="1259775" y="257135"/>
                  </a:lnTo>
                  <a:lnTo>
                    <a:pt x="1261847" y="253879"/>
                  </a:lnTo>
                  <a:lnTo>
                    <a:pt x="1263919" y="252300"/>
                  </a:lnTo>
                  <a:lnTo>
                    <a:pt x="1268113" y="253879"/>
                  </a:lnTo>
                  <a:lnTo>
                    <a:pt x="1272257" y="257135"/>
                  </a:lnTo>
                  <a:lnTo>
                    <a:pt x="1278524" y="249043"/>
                  </a:lnTo>
                  <a:lnTo>
                    <a:pt x="1280596" y="240951"/>
                  </a:lnTo>
                  <a:lnTo>
                    <a:pt x="1280596" y="232712"/>
                  </a:lnTo>
                  <a:lnTo>
                    <a:pt x="1282669" y="229455"/>
                  </a:lnTo>
                  <a:lnTo>
                    <a:pt x="1282669" y="221413"/>
                  </a:lnTo>
                  <a:lnTo>
                    <a:pt x="1288935" y="219784"/>
                  </a:lnTo>
                  <a:lnTo>
                    <a:pt x="1297224" y="219784"/>
                  </a:lnTo>
                  <a:lnTo>
                    <a:pt x="1303540" y="221413"/>
                  </a:lnTo>
                  <a:lnTo>
                    <a:pt x="1313950" y="221413"/>
                  </a:lnTo>
                  <a:lnTo>
                    <a:pt x="1322239" y="219784"/>
                  </a:lnTo>
                  <a:lnTo>
                    <a:pt x="1326384" y="221413"/>
                  </a:lnTo>
                  <a:lnTo>
                    <a:pt x="1328506" y="226347"/>
                  </a:lnTo>
                  <a:lnTo>
                    <a:pt x="1326384" y="237646"/>
                  </a:lnTo>
                  <a:lnTo>
                    <a:pt x="1328506" y="244109"/>
                  </a:lnTo>
                  <a:lnTo>
                    <a:pt x="1320167" y="250721"/>
                  </a:lnTo>
                  <a:lnTo>
                    <a:pt x="1315974" y="260589"/>
                  </a:lnTo>
                  <a:lnTo>
                    <a:pt x="1313950" y="268681"/>
                  </a:lnTo>
                  <a:lnTo>
                    <a:pt x="1311828" y="273615"/>
                  </a:lnTo>
                  <a:lnTo>
                    <a:pt x="1291007" y="289798"/>
                  </a:lnTo>
                  <a:lnTo>
                    <a:pt x="1286813" y="289798"/>
                  </a:lnTo>
                  <a:lnTo>
                    <a:pt x="1284741" y="288170"/>
                  </a:lnTo>
                  <a:lnTo>
                    <a:pt x="1278524" y="289798"/>
                  </a:lnTo>
                  <a:lnTo>
                    <a:pt x="1274330" y="294732"/>
                  </a:lnTo>
                  <a:lnTo>
                    <a:pt x="1270186" y="293104"/>
                  </a:lnTo>
                  <a:lnTo>
                    <a:pt x="1268113" y="293104"/>
                  </a:lnTo>
                  <a:lnTo>
                    <a:pt x="1263919" y="301196"/>
                  </a:lnTo>
                  <a:lnTo>
                    <a:pt x="1261847" y="304403"/>
                  </a:lnTo>
                  <a:lnTo>
                    <a:pt x="1255580" y="307660"/>
                  </a:lnTo>
                  <a:lnTo>
                    <a:pt x="1251436" y="310867"/>
                  </a:lnTo>
                  <a:lnTo>
                    <a:pt x="1247292" y="310867"/>
                  </a:lnTo>
                  <a:lnTo>
                    <a:pt x="1247292" y="309238"/>
                  </a:lnTo>
                  <a:lnTo>
                    <a:pt x="1245170" y="310867"/>
                  </a:lnTo>
                  <a:lnTo>
                    <a:pt x="1245170" y="315801"/>
                  </a:lnTo>
                  <a:lnTo>
                    <a:pt x="1243098" y="320735"/>
                  </a:lnTo>
                  <a:lnTo>
                    <a:pt x="1236881" y="327198"/>
                  </a:lnTo>
                  <a:lnTo>
                    <a:pt x="1230614" y="330405"/>
                  </a:lnTo>
                  <a:lnTo>
                    <a:pt x="1228542" y="335339"/>
                  </a:lnTo>
                  <a:lnTo>
                    <a:pt x="1218131" y="341803"/>
                  </a:lnTo>
                  <a:lnTo>
                    <a:pt x="1211865" y="348267"/>
                  </a:lnTo>
                  <a:lnTo>
                    <a:pt x="1205648" y="348267"/>
                  </a:lnTo>
                  <a:lnTo>
                    <a:pt x="1197310" y="354730"/>
                  </a:lnTo>
                  <a:lnTo>
                    <a:pt x="1195237" y="357987"/>
                  </a:lnTo>
                  <a:lnTo>
                    <a:pt x="1191093" y="357987"/>
                  </a:lnTo>
                  <a:lnTo>
                    <a:pt x="1191093" y="367855"/>
                  </a:lnTo>
                  <a:lnTo>
                    <a:pt x="1186899" y="375947"/>
                  </a:lnTo>
                  <a:lnTo>
                    <a:pt x="1188971" y="377525"/>
                  </a:lnTo>
                  <a:lnTo>
                    <a:pt x="1191093" y="374318"/>
                  </a:lnTo>
                  <a:lnTo>
                    <a:pt x="1193116" y="371062"/>
                  </a:lnTo>
                  <a:lnTo>
                    <a:pt x="1199382" y="363019"/>
                  </a:lnTo>
                  <a:lnTo>
                    <a:pt x="1203527" y="356556"/>
                  </a:lnTo>
                  <a:lnTo>
                    <a:pt x="1211865" y="353299"/>
                  </a:lnTo>
                  <a:lnTo>
                    <a:pt x="1213937" y="353299"/>
                  </a:lnTo>
                  <a:lnTo>
                    <a:pt x="1216059" y="356556"/>
                  </a:lnTo>
                  <a:lnTo>
                    <a:pt x="1220204" y="350092"/>
                  </a:lnTo>
                  <a:lnTo>
                    <a:pt x="1232687" y="342000"/>
                  </a:lnTo>
                  <a:lnTo>
                    <a:pt x="1236881" y="340372"/>
                  </a:lnTo>
                  <a:lnTo>
                    <a:pt x="1238953" y="335438"/>
                  </a:lnTo>
                  <a:lnTo>
                    <a:pt x="1251436" y="327396"/>
                  </a:lnTo>
                  <a:lnTo>
                    <a:pt x="1259775" y="319304"/>
                  </a:lnTo>
                  <a:lnTo>
                    <a:pt x="1263919" y="317676"/>
                  </a:lnTo>
                  <a:lnTo>
                    <a:pt x="1268113" y="319304"/>
                  </a:lnTo>
                  <a:lnTo>
                    <a:pt x="1274330" y="317676"/>
                  </a:lnTo>
                  <a:lnTo>
                    <a:pt x="1278524" y="314468"/>
                  </a:lnTo>
                  <a:lnTo>
                    <a:pt x="1280596" y="312840"/>
                  </a:lnTo>
                  <a:lnTo>
                    <a:pt x="1286813" y="311212"/>
                  </a:lnTo>
                  <a:lnTo>
                    <a:pt x="1297224" y="311212"/>
                  </a:lnTo>
                  <a:lnTo>
                    <a:pt x="1305562" y="308005"/>
                  </a:lnTo>
                  <a:lnTo>
                    <a:pt x="1311828" y="301541"/>
                  </a:lnTo>
                  <a:lnTo>
                    <a:pt x="1318144" y="301541"/>
                  </a:lnTo>
                  <a:lnTo>
                    <a:pt x="1324411" y="298285"/>
                  </a:lnTo>
                  <a:lnTo>
                    <a:pt x="1328555" y="295078"/>
                  </a:lnTo>
                  <a:lnTo>
                    <a:pt x="1332699" y="295078"/>
                  </a:lnTo>
                  <a:lnTo>
                    <a:pt x="1338966" y="290144"/>
                  </a:lnTo>
                  <a:lnTo>
                    <a:pt x="1347255" y="282052"/>
                  </a:lnTo>
                  <a:lnTo>
                    <a:pt x="1351449" y="275588"/>
                  </a:lnTo>
                  <a:lnTo>
                    <a:pt x="1351449" y="272332"/>
                  </a:lnTo>
                  <a:lnTo>
                    <a:pt x="1355643" y="267398"/>
                  </a:lnTo>
                  <a:lnTo>
                    <a:pt x="1357666" y="264191"/>
                  </a:lnTo>
                  <a:lnTo>
                    <a:pt x="1359787" y="262562"/>
                  </a:lnTo>
                  <a:lnTo>
                    <a:pt x="1359787" y="265819"/>
                  </a:lnTo>
                  <a:lnTo>
                    <a:pt x="1363932" y="270753"/>
                  </a:lnTo>
                  <a:lnTo>
                    <a:pt x="1363932" y="273960"/>
                  </a:lnTo>
                  <a:lnTo>
                    <a:pt x="1361860" y="278894"/>
                  </a:lnTo>
                  <a:lnTo>
                    <a:pt x="1363932" y="283828"/>
                  </a:lnTo>
                  <a:lnTo>
                    <a:pt x="1366053" y="290292"/>
                  </a:lnTo>
                  <a:lnTo>
                    <a:pt x="1363932" y="291871"/>
                  </a:lnTo>
                  <a:lnTo>
                    <a:pt x="1363932" y="296805"/>
                  </a:lnTo>
                  <a:lnTo>
                    <a:pt x="1366053" y="293548"/>
                  </a:lnTo>
                  <a:lnTo>
                    <a:pt x="1368077" y="288614"/>
                  </a:lnTo>
                  <a:lnTo>
                    <a:pt x="1372270" y="283680"/>
                  </a:lnTo>
                  <a:lnTo>
                    <a:pt x="1370199" y="282052"/>
                  </a:lnTo>
                  <a:lnTo>
                    <a:pt x="1370199" y="275588"/>
                  </a:lnTo>
                  <a:lnTo>
                    <a:pt x="1372270" y="273960"/>
                  </a:lnTo>
                  <a:lnTo>
                    <a:pt x="1376464" y="275588"/>
                  </a:lnTo>
                  <a:lnTo>
                    <a:pt x="1376464" y="278795"/>
                  </a:lnTo>
                  <a:lnTo>
                    <a:pt x="1380609" y="283729"/>
                  </a:lnTo>
                  <a:lnTo>
                    <a:pt x="1386876" y="283729"/>
                  </a:lnTo>
                  <a:lnTo>
                    <a:pt x="1393092" y="280473"/>
                  </a:lnTo>
                  <a:lnTo>
                    <a:pt x="1395164" y="277266"/>
                  </a:lnTo>
                  <a:lnTo>
                    <a:pt x="1393092" y="274009"/>
                  </a:lnTo>
                  <a:lnTo>
                    <a:pt x="1393092" y="270802"/>
                  </a:lnTo>
                  <a:lnTo>
                    <a:pt x="1397286" y="270802"/>
                  </a:lnTo>
                  <a:lnTo>
                    <a:pt x="1399309" y="267546"/>
                  </a:lnTo>
                  <a:lnTo>
                    <a:pt x="1399309" y="255309"/>
                  </a:lnTo>
                  <a:lnTo>
                    <a:pt x="1401431" y="252102"/>
                  </a:lnTo>
                  <a:lnTo>
                    <a:pt x="1405575" y="250474"/>
                  </a:lnTo>
                  <a:lnTo>
                    <a:pt x="1407697" y="253681"/>
                  </a:lnTo>
                  <a:lnTo>
                    <a:pt x="1413914" y="255309"/>
                  </a:lnTo>
                  <a:lnTo>
                    <a:pt x="1420131" y="253681"/>
                  </a:lnTo>
                  <a:lnTo>
                    <a:pt x="1424325" y="250474"/>
                  </a:lnTo>
                  <a:lnTo>
                    <a:pt x="1432663" y="247218"/>
                  </a:lnTo>
                  <a:lnTo>
                    <a:pt x="1440952" y="247218"/>
                  </a:lnTo>
                  <a:lnTo>
                    <a:pt x="1445146" y="245639"/>
                  </a:lnTo>
                  <a:lnTo>
                    <a:pt x="1455557" y="247218"/>
                  </a:lnTo>
                  <a:lnTo>
                    <a:pt x="1463896" y="252152"/>
                  </a:lnTo>
                  <a:lnTo>
                    <a:pt x="1474307" y="253731"/>
                  </a:lnTo>
                  <a:lnTo>
                    <a:pt x="1480523" y="255359"/>
                  </a:lnTo>
                  <a:lnTo>
                    <a:pt x="1486790" y="256987"/>
                  </a:lnTo>
                  <a:lnTo>
                    <a:pt x="1490934" y="261921"/>
                  </a:lnTo>
                  <a:lnTo>
                    <a:pt x="1495128" y="261921"/>
                  </a:lnTo>
                  <a:lnTo>
                    <a:pt x="1503467" y="265177"/>
                  </a:lnTo>
                  <a:lnTo>
                    <a:pt x="1505539" y="270112"/>
                  </a:lnTo>
                  <a:lnTo>
                    <a:pt x="1505539" y="273319"/>
                  </a:lnTo>
                  <a:lnTo>
                    <a:pt x="1515949" y="281410"/>
                  </a:lnTo>
                  <a:lnTo>
                    <a:pt x="1518022" y="284618"/>
                  </a:lnTo>
                  <a:lnTo>
                    <a:pt x="1524288" y="287874"/>
                  </a:lnTo>
                  <a:lnTo>
                    <a:pt x="1526360" y="297742"/>
                  </a:lnTo>
                  <a:lnTo>
                    <a:pt x="1526360" y="304206"/>
                  </a:lnTo>
                  <a:lnTo>
                    <a:pt x="1522166" y="307462"/>
                  </a:lnTo>
                  <a:lnTo>
                    <a:pt x="1515949" y="310669"/>
                  </a:lnTo>
                  <a:lnTo>
                    <a:pt x="1509733" y="313926"/>
                  </a:lnTo>
                  <a:lnTo>
                    <a:pt x="1507611" y="317133"/>
                  </a:lnTo>
                  <a:lnTo>
                    <a:pt x="1503467" y="318761"/>
                  </a:lnTo>
                  <a:lnTo>
                    <a:pt x="1497201" y="321968"/>
                  </a:lnTo>
                  <a:lnTo>
                    <a:pt x="1490934" y="331836"/>
                  </a:lnTo>
                  <a:lnTo>
                    <a:pt x="1486790" y="335043"/>
                  </a:lnTo>
                  <a:lnTo>
                    <a:pt x="1484717" y="336672"/>
                  </a:lnTo>
                  <a:lnTo>
                    <a:pt x="1478500" y="335043"/>
                  </a:lnTo>
                  <a:lnTo>
                    <a:pt x="1470113" y="330109"/>
                  </a:lnTo>
                  <a:lnTo>
                    <a:pt x="1466165" y="330109"/>
                  </a:lnTo>
                  <a:lnTo>
                    <a:pt x="1459899" y="333316"/>
                  </a:lnTo>
                  <a:lnTo>
                    <a:pt x="1457876" y="338251"/>
                  </a:lnTo>
                  <a:lnTo>
                    <a:pt x="1457876" y="341458"/>
                  </a:lnTo>
                  <a:lnTo>
                    <a:pt x="1459899" y="343086"/>
                  </a:lnTo>
                  <a:lnTo>
                    <a:pt x="1459899" y="346293"/>
                  </a:lnTo>
                  <a:lnTo>
                    <a:pt x="1464093" y="351227"/>
                  </a:lnTo>
                  <a:lnTo>
                    <a:pt x="1466165" y="352806"/>
                  </a:lnTo>
                  <a:lnTo>
                    <a:pt x="1466165" y="356062"/>
                  </a:lnTo>
                  <a:lnTo>
                    <a:pt x="1464093" y="359270"/>
                  </a:lnTo>
                  <a:lnTo>
                    <a:pt x="1453682" y="359270"/>
                  </a:lnTo>
                  <a:lnTo>
                    <a:pt x="1443271" y="364204"/>
                  </a:lnTo>
                  <a:lnTo>
                    <a:pt x="1437054" y="369138"/>
                  </a:lnTo>
                  <a:lnTo>
                    <a:pt x="1426594" y="369138"/>
                  </a:lnTo>
                  <a:lnTo>
                    <a:pt x="1422450" y="367509"/>
                  </a:lnTo>
                  <a:lnTo>
                    <a:pt x="1416183" y="364302"/>
                  </a:lnTo>
                  <a:lnTo>
                    <a:pt x="1409917" y="364302"/>
                  </a:lnTo>
                  <a:lnTo>
                    <a:pt x="1407894" y="362674"/>
                  </a:lnTo>
                  <a:lnTo>
                    <a:pt x="1403700" y="362674"/>
                  </a:lnTo>
                  <a:lnTo>
                    <a:pt x="1401628" y="361046"/>
                  </a:lnTo>
                  <a:lnTo>
                    <a:pt x="1397089" y="361046"/>
                  </a:lnTo>
                  <a:lnTo>
                    <a:pt x="1394967" y="364302"/>
                  </a:lnTo>
                  <a:lnTo>
                    <a:pt x="1392895" y="364302"/>
                  </a:lnTo>
                  <a:lnTo>
                    <a:pt x="1388701" y="362674"/>
                  </a:lnTo>
                  <a:lnTo>
                    <a:pt x="1384556" y="364302"/>
                  </a:lnTo>
                  <a:lnTo>
                    <a:pt x="1382484" y="367509"/>
                  </a:lnTo>
                  <a:lnTo>
                    <a:pt x="1374145" y="367509"/>
                  </a:lnTo>
                  <a:lnTo>
                    <a:pt x="1372073" y="369138"/>
                  </a:lnTo>
                  <a:lnTo>
                    <a:pt x="1367879" y="370716"/>
                  </a:lnTo>
                  <a:lnTo>
                    <a:pt x="1361662" y="369138"/>
                  </a:lnTo>
                  <a:lnTo>
                    <a:pt x="1355446" y="367509"/>
                  </a:lnTo>
                  <a:lnTo>
                    <a:pt x="1347058" y="369138"/>
                  </a:lnTo>
                  <a:lnTo>
                    <a:pt x="1342913" y="372345"/>
                  </a:lnTo>
                  <a:lnTo>
                    <a:pt x="1336647" y="370716"/>
                  </a:lnTo>
                  <a:lnTo>
                    <a:pt x="1330430" y="372345"/>
                  </a:lnTo>
                  <a:lnTo>
                    <a:pt x="1336647" y="373973"/>
                  </a:lnTo>
                  <a:lnTo>
                    <a:pt x="1355446" y="373973"/>
                  </a:lnTo>
                  <a:lnTo>
                    <a:pt x="1359590" y="372345"/>
                  </a:lnTo>
                  <a:lnTo>
                    <a:pt x="1365857" y="372345"/>
                  </a:lnTo>
                  <a:lnTo>
                    <a:pt x="1372073" y="373973"/>
                  </a:lnTo>
                  <a:lnTo>
                    <a:pt x="1378290" y="375601"/>
                  </a:lnTo>
                  <a:lnTo>
                    <a:pt x="1393092" y="375601"/>
                  </a:lnTo>
                  <a:lnTo>
                    <a:pt x="1399309" y="378808"/>
                  </a:lnTo>
                  <a:lnTo>
                    <a:pt x="1401431" y="378808"/>
                  </a:lnTo>
                  <a:lnTo>
                    <a:pt x="1405575" y="375601"/>
                  </a:lnTo>
                  <a:lnTo>
                    <a:pt x="1411891" y="375601"/>
                  </a:lnTo>
                  <a:lnTo>
                    <a:pt x="1416035" y="377180"/>
                  </a:lnTo>
                  <a:lnTo>
                    <a:pt x="1418108" y="380437"/>
                  </a:lnTo>
                  <a:lnTo>
                    <a:pt x="1424374" y="382065"/>
                  </a:lnTo>
                  <a:lnTo>
                    <a:pt x="1428519" y="385272"/>
                  </a:lnTo>
                  <a:lnTo>
                    <a:pt x="1428519" y="390206"/>
                  </a:lnTo>
                  <a:lnTo>
                    <a:pt x="1422302" y="395140"/>
                  </a:lnTo>
                  <a:lnTo>
                    <a:pt x="1413963" y="395140"/>
                  </a:lnTo>
                  <a:lnTo>
                    <a:pt x="1416035" y="398396"/>
                  </a:lnTo>
                  <a:lnTo>
                    <a:pt x="1416035" y="403330"/>
                  </a:lnTo>
                  <a:lnTo>
                    <a:pt x="1409769" y="406587"/>
                  </a:lnTo>
                  <a:lnTo>
                    <a:pt x="1397336" y="408166"/>
                  </a:lnTo>
                  <a:lnTo>
                    <a:pt x="1391069" y="408166"/>
                  </a:lnTo>
                  <a:lnTo>
                    <a:pt x="1382731" y="409794"/>
                  </a:lnTo>
                  <a:lnTo>
                    <a:pt x="1370248" y="408166"/>
                  </a:lnTo>
                  <a:lnTo>
                    <a:pt x="1366103" y="404959"/>
                  </a:lnTo>
                  <a:lnTo>
                    <a:pt x="1353571" y="396867"/>
                  </a:lnTo>
                  <a:lnTo>
                    <a:pt x="1343159" y="395239"/>
                  </a:lnTo>
                  <a:lnTo>
                    <a:pt x="1339015" y="395239"/>
                  </a:lnTo>
                  <a:lnTo>
                    <a:pt x="1332749" y="400173"/>
                  </a:lnTo>
                  <a:lnTo>
                    <a:pt x="1328604" y="406636"/>
                  </a:lnTo>
                  <a:lnTo>
                    <a:pt x="1320266" y="411570"/>
                  </a:lnTo>
                  <a:lnTo>
                    <a:pt x="1318194" y="414777"/>
                  </a:lnTo>
                  <a:lnTo>
                    <a:pt x="1311927" y="414777"/>
                  </a:lnTo>
                  <a:lnTo>
                    <a:pt x="1316072" y="416406"/>
                  </a:lnTo>
                  <a:lnTo>
                    <a:pt x="1322338" y="416406"/>
                  </a:lnTo>
                  <a:lnTo>
                    <a:pt x="1322338" y="423412"/>
                  </a:lnTo>
                  <a:lnTo>
                    <a:pt x="1320266" y="426619"/>
                  </a:lnTo>
                  <a:lnTo>
                    <a:pt x="1316072" y="425040"/>
                  </a:lnTo>
                  <a:lnTo>
                    <a:pt x="1316072" y="428346"/>
                  </a:lnTo>
                  <a:lnTo>
                    <a:pt x="1318194" y="431553"/>
                  </a:lnTo>
                  <a:lnTo>
                    <a:pt x="1324460" y="434810"/>
                  </a:lnTo>
                  <a:lnTo>
                    <a:pt x="1328604" y="433181"/>
                  </a:lnTo>
                  <a:lnTo>
                    <a:pt x="1330677" y="429974"/>
                  </a:lnTo>
                  <a:lnTo>
                    <a:pt x="1336894" y="426718"/>
                  </a:lnTo>
                  <a:lnTo>
                    <a:pt x="1343159" y="421784"/>
                  </a:lnTo>
                  <a:lnTo>
                    <a:pt x="1351498" y="418577"/>
                  </a:lnTo>
                  <a:lnTo>
                    <a:pt x="1361909" y="416948"/>
                  </a:lnTo>
                  <a:lnTo>
                    <a:pt x="1370248" y="413692"/>
                  </a:lnTo>
                  <a:lnTo>
                    <a:pt x="1376514" y="412113"/>
                  </a:lnTo>
                  <a:lnTo>
                    <a:pt x="1378537" y="415320"/>
                  </a:lnTo>
                  <a:lnTo>
                    <a:pt x="1382731" y="416948"/>
                  </a:lnTo>
                  <a:lnTo>
                    <a:pt x="1388947" y="418577"/>
                  </a:lnTo>
                  <a:lnTo>
                    <a:pt x="1393141" y="421784"/>
                  </a:lnTo>
                  <a:lnTo>
                    <a:pt x="1393141" y="425040"/>
                  </a:lnTo>
                  <a:lnTo>
                    <a:pt x="1391069" y="426619"/>
                  </a:lnTo>
                  <a:lnTo>
                    <a:pt x="1382731" y="433083"/>
                  </a:lnTo>
                  <a:lnTo>
                    <a:pt x="1380659" y="439546"/>
                  </a:lnTo>
                  <a:lnTo>
                    <a:pt x="1374392" y="444480"/>
                  </a:lnTo>
                  <a:lnTo>
                    <a:pt x="1372320" y="449414"/>
                  </a:lnTo>
                  <a:lnTo>
                    <a:pt x="1361909" y="455878"/>
                  </a:lnTo>
                  <a:lnTo>
                    <a:pt x="1355692" y="463920"/>
                  </a:lnTo>
                  <a:lnTo>
                    <a:pt x="1345281" y="478723"/>
                  </a:lnTo>
                  <a:lnTo>
                    <a:pt x="1341088" y="485186"/>
                  </a:lnTo>
                  <a:lnTo>
                    <a:pt x="1334871" y="488393"/>
                  </a:lnTo>
                  <a:lnTo>
                    <a:pt x="1334871" y="496485"/>
                  </a:lnTo>
                  <a:lnTo>
                    <a:pt x="1332749" y="502949"/>
                  </a:lnTo>
                  <a:lnTo>
                    <a:pt x="1332749" y="507883"/>
                  </a:lnTo>
                  <a:lnTo>
                    <a:pt x="1328604" y="511139"/>
                  </a:lnTo>
                  <a:lnTo>
                    <a:pt x="1328604" y="519182"/>
                  </a:lnTo>
                  <a:lnTo>
                    <a:pt x="1324460" y="529050"/>
                  </a:lnTo>
                  <a:lnTo>
                    <a:pt x="1322338" y="538918"/>
                  </a:lnTo>
                  <a:lnTo>
                    <a:pt x="1324460" y="543852"/>
                  </a:lnTo>
                  <a:lnTo>
                    <a:pt x="1326482" y="550315"/>
                  </a:lnTo>
                  <a:lnTo>
                    <a:pt x="1324460" y="558407"/>
                  </a:lnTo>
                  <a:lnTo>
                    <a:pt x="1318194" y="561614"/>
                  </a:lnTo>
                  <a:lnTo>
                    <a:pt x="1314049" y="564871"/>
                  </a:lnTo>
                  <a:lnTo>
                    <a:pt x="1316072" y="572963"/>
                  </a:lnTo>
                  <a:lnTo>
                    <a:pt x="1314049" y="576170"/>
                  </a:lnTo>
                  <a:lnTo>
                    <a:pt x="1311927" y="581104"/>
                  </a:lnTo>
                  <a:lnTo>
                    <a:pt x="1309855" y="587567"/>
                  </a:lnTo>
                  <a:lnTo>
                    <a:pt x="1307733" y="594031"/>
                  </a:lnTo>
                  <a:lnTo>
                    <a:pt x="1301517" y="598965"/>
                  </a:lnTo>
                  <a:lnTo>
                    <a:pt x="1297323" y="598965"/>
                  </a:lnTo>
                  <a:lnTo>
                    <a:pt x="1295250" y="594031"/>
                  </a:lnTo>
                  <a:lnTo>
                    <a:pt x="1295250" y="590824"/>
                  </a:lnTo>
                  <a:lnTo>
                    <a:pt x="1291106" y="589196"/>
                  </a:lnTo>
                  <a:lnTo>
                    <a:pt x="1289033" y="587567"/>
                  </a:lnTo>
                  <a:lnTo>
                    <a:pt x="1293227" y="584360"/>
                  </a:lnTo>
                  <a:lnTo>
                    <a:pt x="1291106" y="582732"/>
                  </a:lnTo>
                  <a:lnTo>
                    <a:pt x="1286912" y="581104"/>
                  </a:lnTo>
                  <a:lnTo>
                    <a:pt x="1282767" y="582732"/>
                  </a:lnTo>
                  <a:lnTo>
                    <a:pt x="1278672" y="582732"/>
                  </a:lnTo>
                  <a:lnTo>
                    <a:pt x="1276550" y="585939"/>
                  </a:lnTo>
                  <a:lnTo>
                    <a:pt x="1276550" y="586235"/>
                  </a:lnTo>
                  <a:lnTo>
                    <a:pt x="1278672" y="587863"/>
                  </a:lnTo>
                  <a:lnTo>
                    <a:pt x="1278672" y="591169"/>
                  </a:lnTo>
                  <a:lnTo>
                    <a:pt x="1274478" y="592797"/>
                  </a:lnTo>
                  <a:lnTo>
                    <a:pt x="1276550" y="596054"/>
                  </a:lnTo>
                  <a:lnTo>
                    <a:pt x="1280744" y="600988"/>
                  </a:lnTo>
                  <a:lnTo>
                    <a:pt x="1284889" y="602616"/>
                  </a:lnTo>
                  <a:lnTo>
                    <a:pt x="1289083" y="605823"/>
                  </a:lnTo>
                  <a:lnTo>
                    <a:pt x="1291155" y="610757"/>
                  </a:lnTo>
                  <a:lnTo>
                    <a:pt x="1293276" y="617221"/>
                  </a:lnTo>
                  <a:lnTo>
                    <a:pt x="1299493" y="618849"/>
                  </a:lnTo>
                  <a:lnTo>
                    <a:pt x="1305710" y="622056"/>
                  </a:lnTo>
                  <a:lnTo>
                    <a:pt x="1314099" y="626990"/>
                  </a:lnTo>
                  <a:lnTo>
                    <a:pt x="1316121" y="635033"/>
                  </a:lnTo>
                  <a:lnTo>
                    <a:pt x="1314099" y="638289"/>
                  </a:lnTo>
                  <a:lnTo>
                    <a:pt x="1309904" y="639917"/>
                  </a:lnTo>
                  <a:lnTo>
                    <a:pt x="1303687" y="636661"/>
                  </a:lnTo>
                  <a:lnTo>
                    <a:pt x="1297372" y="628569"/>
                  </a:lnTo>
                  <a:lnTo>
                    <a:pt x="1295300" y="625362"/>
                  </a:lnTo>
                  <a:lnTo>
                    <a:pt x="1291155" y="625362"/>
                  </a:lnTo>
                  <a:lnTo>
                    <a:pt x="1289083" y="623734"/>
                  </a:lnTo>
                  <a:lnTo>
                    <a:pt x="1286961" y="625362"/>
                  </a:lnTo>
                  <a:lnTo>
                    <a:pt x="1286961" y="631826"/>
                  </a:lnTo>
                  <a:lnTo>
                    <a:pt x="1291155" y="635033"/>
                  </a:lnTo>
                  <a:lnTo>
                    <a:pt x="1291155" y="638289"/>
                  </a:lnTo>
                  <a:lnTo>
                    <a:pt x="1284889" y="636661"/>
                  </a:lnTo>
                  <a:lnTo>
                    <a:pt x="1284889" y="636661"/>
                  </a:lnTo>
                  <a:lnTo>
                    <a:pt x="1282816" y="638289"/>
                  </a:lnTo>
                  <a:lnTo>
                    <a:pt x="1284889" y="641496"/>
                  </a:lnTo>
                  <a:lnTo>
                    <a:pt x="1289083" y="643125"/>
                  </a:lnTo>
                  <a:lnTo>
                    <a:pt x="1289083" y="644753"/>
                  </a:lnTo>
                  <a:lnTo>
                    <a:pt x="1286961" y="646381"/>
                  </a:lnTo>
                  <a:lnTo>
                    <a:pt x="1289083" y="647960"/>
                  </a:lnTo>
                  <a:lnTo>
                    <a:pt x="1293276" y="647960"/>
                  </a:lnTo>
                  <a:lnTo>
                    <a:pt x="1299493" y="649588"/>
                  </a:lnTo>
                  <a:lnTo>
                    <a:pt x="1301566" y="652795"/>
                  </a:lnTo>
                  <a:lnTo>
                    <a:pt x="1301566" y="657729"/>
                  </a:lnTo>
                  <a:lnTo>
                    <a:pt x="1299493" y="659308"/>
                  </a:lnTo>
                  <a:lnTo>
                    <a:pt x="1303687" y="660936"/>
                  </a:lnTo>
                  <a:lnTo>
                    <a:pt x="1307783" y="660936"/>
                  </a:lnTo>
                  <a:lnTo>
                    <a:pt x="1314099" y="654473"/>
                  </a:lnTo>
                  <a:lnTo>
                    <a:pt x="1316121" y="649539"/>
                  </a:lnTo>
                  <a:lnTo>
                    <a:pt x="1318243" y="649539"/>
                  </a:lnTo>
                  <a:lnTo>
                    <a:pt x="1320315" y="651167"/>
                  </a:lnTo>
                  <a:lnTo>
                    <a:pt x="1322387" y="654374"/>
                  </a:lnTo>
                  <a:lnTo>
                    <a:pt x="1324509" y="654374"/>
                  </a:lnTo>
                  <a:lnTo>
                    <a:pt x="1328654" y="657631"/>
                  </a:lnTo>
                  <a:lnTo>
                    <a:pt x="1334920" y="659209"/>
                  </a:lnTo>
                  <a:lnTo>
                    <a:pt x="1334920" y="669078"/>
                  </a:lnTo>
                  <a:lnTo>
                    <a:pt x="1332798" y="670706"/>
                  </a:lnTo>
                  <a:lnTo>
                    <a:pt x="1332798" y="678748"/>
                  </a:lnTo>
                  <a:lnTo>
                    <a:pt x="1330726" y="686840"/>
                  </a:lnTo>
                  <a:lnTo>
                    <a:pt x="1330726" y="689850"/>
                  </a:lnTo>
                  <a:lnTo>
                    <a:pt x="1328654" y="697942"/>
                  </a:lnTo>
                  <a:lnTo>
                    <a:pt x="1324509" y="701198"/>
                  </a:lnTo>
                  <a:lnTo>
                    <a:pt x="1324509" y="706132"/>
                  </a:lnTo>
                  <a:lnTo>
                    <a:pt x="1322387" y="709339"/>
                  </a:lnTo>
                  <a:lnTo>
                    <a:pt x="1320315" y="707760"/>
                  </a:lnTo>
                  <a:lnTo>
                    <a:pt x="1316121" y="702826"/>
                  </a:lnTo>
                  <a:lnTo>
                    <a:pt x="1309904" y="701247"/>
                  </a:lnTo>
                  <a:lnTo>
                    <a:pt x="1305710" y="696313"/>
                  </a:lnTo>
                  <a:lnTo>
                    <a:pt x="1301566" y="696313"/>
                  </a:lnTo>
                  <a:lnTo>
                    <a:pt x="1295300" y="694735"/>
                  </a:lnTo>
                  <a:lnTo>
                    <a:pt x="1293276" y="693106"/>
                  </a:lnTo>
                  <a:lnTo>
                    <a:pt x="1295300" y="688172"/>
                  </a:lnTo>
                  <a:lnTo>
                    <a:pt x="1291155" y="684916"/>
                  </a:lnTo>
                  <a:lnTo>
                    <a:pt x="1286961" y="683288"/>
                  </a:lnTo>
                  <a:lnTo>
                    <a:pt x="1284889" y="684916"/>
                  </a:lnTo>
                  <a:lnTo>
                    <a:pt x="1282816" y="684916"/>
                  </a:lnTo>
                  <a:lnTo>
                    <a:pt x="1276550" y="679982"/>
                  </a:lnTo>
                  <a:lnTo>
                    <a:pt x="1270334" y="679982"/>
                  </a:lnTo>
                  <a:lnTo>
                    <a:pt x="1266139" y="681610"/>
                  </a:lnTo>
                  <a:lnTo>
                    <a:pt x="1268261" y="683189"/>
                  </a:lnTo>
                  <a:lnTo>
                    <a:pt x="1268261" y="686445"/>
                  </a:lnTo>
                  <a:lnTo>
                    <a:pt x="1263870" y="686445"/>
                  </a:lnTo>
                  <a:lnTo>
                    <a:pt x="1261797" y="684817"/>
                  </a:lnTo>
                  <a:lnTo>
                    <a:pt x="1255532" y="684817"/>
                  </a:lnTo>
                  <a:lnTo>
                    <a:pt x="1251387" y="686445"/>
                  </a:lnTo>
                  <a:lnTo>
                    <a:pt x="1251387" y="688074"/>
                  </a:lnTo>
                  <a:lnTo>
                    <a:pt x="1257653" y="688074"/>
                  </a:lnTo>
                  <a:lnTo>
                    <a:pt x="1261797" y="689653"/>
                  </a:lnTo>
                  <a:lnTo>
                    <a:pt x="1263870" y="691281"/>
                  </a:lnTo>
                  <a:lnTo>
                    <a:pt x="1263870" y="692909"/>
                  </a:lnTo>
                  <a:lnTo>
                    <a:pt x="1259725" y="694537"/>
                  </a:lnTo>
                  <a:lnTo>
                    <a:pt x="1251387" y="701001"/>
                  </a:lnTo>
                  <a:lnTo>
                    <a:pt x="1245120" y="704208"/>
                  </a:lnTo>
                  <a:lnTo>
                    <a:pt x="1240976" y="702580"/>
                  </a:lnTo>
                  <a:lnTo>
                    <a:pt x="1238903" y="701001"/>
                  </a:lnTo>
                  <a:lnTo>
                    <a:pt x="1238903" y="696067"/>
                  </a:lnTo>
                  <a:lnTo>
                    <a:pt x="1236831" y="694488"/>
                  </a:lnTo>
                  <a:lnTo>
                    <a:pt x="1234710" y="696067"/>
                  </a:lnTo>
                  <a:lnTo>
                    <a:pt x="1234710" y="701001"/>
                  </a:lnTo>
                  <a:lnTo>
                    <a:pt x="1236831" y="704208"/>
                  </a:lnTo>
                  <a:lnTo>
                    <a:pt x="1232638" y="707464"/>
                  </a:lnTo>
                  <a:lnTo>
                    <a:pt x="1234710" y="709043"/>
                  </a:lnTo>
                  <a:lnTo>
                    <a:pt x="1236831" y="712300"/>
                  </a:lnTo>
                  <a:lnTo>
                    <a:pt x="1234710" y="715507"/>
                  </a:lnTo>
                  <a:lnTo>
                    <a:pt x="1236831" y="717135"/>
                  </a:lnTo>
                  <a:lnTo>
                    <a:pt x="1236831" y="720342"/>
                  </a:lnTo>
                  <a:lnTo>
                    <a:pt x="1232638" y="721970"/>
                  </a:lnTo>
                  <a:lnTo>
                    <a:pt x="1226421" y="720342"/>
                  </a:lnTo>
                  <a:lnTo>
                    <a:pt x="1222227" y="720342"/>
                  </a:lnTo>
                  <a:lnTo>
                    <a:pt x="1220154" y="723599"/>
                  </a:lnTo>
                  <a:lnTo>
                    <a:pt x="1224299" y="725227"/>
                  </a:lnTo>
                  <a:lnTo>
                    <a:pt x="1239101" y="725227"/>
                  </a:lnTo>
                  <a:lnTo>
                    <a:pt x="1239101" y="736526"/>
                  </a:lnTo>
                  <a:lnTo>
                    <a:pt x="1241173" y="738105"/>
                  </a:lnTo>
                  <a:lnTo>
                    <a:pt x="1243245" y="734898"/>
                  </a:lnTo>
                  <a:lnTo>
                    <a:pt x="1251584" y="733269"/>
                  </a:lnTo>
                  <a:lnTo>
                    <a:pt x="1257850" y="734898"/>
                  </a:lnTo>
                  <a:lnTo>
                    <a:pt x="1259922" y="738105"/>
                  </a:lnTo>
                  <a:lnTo>
                    <a:pt x="1268261" y="738105"/>
                  </a:lnTo>
                  <a:lnTo>
                    <a:pt x="1272406" y="739733"/>
                  </a:lnTo>
                  <a:lnTo>
                    <a:pt x="1276550" y="738105"/>
                  </a:lnTo>
                  <a:lnTo>
                    <a:pt x="1280744" y="736526"/>
                  </a:lnTo>
                  <a:lnTo>
                    <a:pt x="1282816" y="736526"/>
                  </a:lnTo>
                  <a:lnTo>
                    <a:pt x="1282816" y="751032"/>
                  </a:lnTo>
                  <a:lnTo>
                    <a:pt x="1278672" y="752660"/>
                  </a:lnTo>
                  <a:lnTo>
                    <a:pt x="1274478" y="751032"/>
                  </a:lnTo>
                  <a:lnTo>
                    <a:pt x="1270334" y="749453"/>
                  </a:lnTo>
                  <a:lnTo>
                    <a:pt x="1266139" y="752660"/>
                  </a:lnTo>
                  <a:lnTo>
                    <a:pt x="1261995" y="752660"/>
                  </a:lnTo>
                  <a:lnTo>
                    <a:pt x="1259922" y="751032"/>
                  </a:lnTo>
                  <a:lnTo>
                    <a:pt x="1249512" y="752660"/>
                  </a:lnTo>
                  <a:lnTo>
                    <a:pt x="1239200" y="752660"/>
                  </a:lnTo>
                  <a:lnTo>
                    <a:pt x="1237127" y="749453"/>
                  </a:lnTo>
                  <a:lnTo>
                    <a:pt x="1235006" y="752660"/>
                  </a:lnTo>
                  <a:lnTo>
                    <a:pt x="1237127" y="754288"/>
                  </a:lnTo>
                  <a:lnTo>
                    <a:pt x="1239200" y="757496"/>
                  </a:lnTo>
                  <a:lnTo>
                    <a:pt x="1243344" y="757496"/>
                  </a:lnTo>
                  <a:lnTo>
                    <a:pt x="1247538" y="755917"/>
                  </a:lnTo>
                  <a:lnTo>
                    <a:pt x="1260021" y="755917"/>
                  </a:lnTo>
                  <a:lnTo>
                    <a:pt x="1264166" y="757496"/>
                  </a:lnTo>
                  <a:lnTo>
                    <a:pt x="1268360" y="760752"/>
                  </a:lnTo>
                  <a:lnTo>
                    <a:pt x="1272504" y="760752"/>
                  </a:lnTo>
                  <a:lnTo>
                    <a:pt x="1276649" y="762380"/>
                  </a:lnTo>
                  <a:lnTo>
                    <a:pt x="1280843" y="767314"/>
                  </a:lnTo>
                  <a:lnTo>
                    <a:pt x="1284988" y="772248"/>
                  </a:lnTo>
                  <a:lnTo>
                    <a:pt x="1289181" y="777182"/>
                  </a:lnTo>
                  <a:lnTo>
                    <a:pt x="1291254" y="778810"/>
                  </a:lnTo>
                  <a:lnTo>
                    <a:pt x="1284988" y="778810"/>
                  </a:lnTo>
                  <a:lnTo>
                    <a:pt x="1282915" y="777182"/>
                  </a:lnTo>
                  <a:lnTo>
                    <a:pt x="1282915" y="778662"/>
                  </a:lnTo>
                  <a:lnTo>
                    <a:pt x="1280843" y="781870"/>
                  </a:lnTo>
                  <a:lnTo>
                    <a:pt x="1284988" y="786804"/>
                  </a:lnTo>
                  <a:lnTo>
                    <a:pt x="1284988" y="793465"/>
                  </a:lnTo>
                  <a:lnTo>
                    <a:pt x="1282915" y="796672"/>
                  </a:lnTo>
                  <a:lnTo>
                    <a:pt x="1284988" y="801606"/>
                  </a:lnTo>
                  <a:lnTo>
                    <a:pt x="1284988" y="806540"/>
                  </a:lnTo>
                  <a:lnTo>
                    <a:pt x="1282915" y="809796"/>
                  </a:lnTo>
                  <a:lnTo>
                    <a:pt x="1278771" y="819664"/>
                  </a:lnTo>
                  <a:lnTo>
                    <a:pt x="1274577" y="822921"/>
                  </a:lnTo>
                  <a:lnTo>
                    <a:pt x="1270432" y="822921"/>
                  </a:lnTo>
                  <a:lnTo>
                    <a:pt x="1266238" y="821293"/>
                  </a:lnTo>
                  <a:lnTo>
                    <a:pt x="1264166" y="816359"/>
                  </a:lnTo>
                  <a:lnTo>
                    <a:pt x="1268360" y="813102"/>
                  </a:lnTo>
                  <a:lnTo>
                    <a:pt x="1266238" y="809895"/>
                  </a:lnTo>
                  <a:lnTo>
                    <a:pt x="1264166" y="808267"/>
                  </a:lnTo>
                  <a:lnTo>
                    <a:pt x="1260021" y="809895"/>
                  </a:lnTo>
                  <a:lnTo>
                    <a:pt x="1255827" y="809895"/>
                  </a:lnTo>
                  <a:lnTo>
                    <a:pt x="1247538" y="801803"/>
                  </a:lnTo>
                  <a:lnTo>
                    <a:pt x="1241272" y="796869"/>
                  </a:lnTo>
                  <a:lnTo>
                    <a:pt x="1235006" y="791935"/>
                  </a:lnTo>
                  <a:lnTo>
                    <a:pt x="1235006" y="788531"/>
                  </a:lnTo>
                  <a:lnTo>
                    <a:pt x="1232933" y="783597"/>
                  </a:lnTo>
                  <a:lnTo>
                    <a:pt x="1224595" y="775505"/>
                  </a:lnTo>
                  <a:lnTo>
                    <a:pt x="1220450" y="773926"/>
                  </a:lnTo>
                  <a:lnTo>
                    <a:pt x="1220450" y="773926"/>
                  </a:lnTo>
                  <a:lnTo>
                    <a:pt x="1220450" y="778860"/>
                  </a:lnTo>
                  <a:lnTo>
                    <a:pt x="1226716" y="783794"/>
                  </a:lnTo>
                  <a:lnTo>
                    <a:pt x="1226716" y="787050"/>
                  </a:lnTo>
                  <a:lnTo>
                    <a:pt x="1224595" y="790257"/>
                  </a:lnTo>
                  <a:lnTo>
                    <a:pt x="1216306" y="788629"/>
                  </a:lnTo>
                  <a:lnTo>
                    <a:pt x="1212112" y="787050"/>
                  </a:lnTo>
                  <a:lnTo>
                    <a:pt x="1210039" y="780587"/>
                  </a:lnTo>
                  <a:lnTo>
                    <a:pt x="1205895" y="777330"/>
                  </a:lnTo>
                  <a:lnTo>
                    <a:pt x="1205895" y="785422"/>
                  </a:lnTo>
                  <a:lnTo>
                    <a:pt x="1212112" y="790356"/>
                  </a:lnTo>
                  <a:lnTo>
                    <a:pt x="1222523" y="793613"/>
                  </a:lnTo>
                  <a:lnTo>
                    <a:pt x="1230861" y="795192"/>
                  </a:lnTo>
                  <a:lnTo>
                    <a:pt x="1241272" y="801655"/>
                  </a:lnTo>
                  <a:lnTo>
                    <a:pt x="1253755" y="812954"/>
                  </a:lnTo>
                  <a:lnTo>
                    <a:pt x="1255827" y="816210"/>
                  </a:lnTo>
                  <a:lnTo>
                    <a:pt x="1253755" y="819418"/>
                  </a:lnTo>
                  <a:lnTo>
                    <a:pt x="1251683" y="817839"/>
                  </a:lnTo>
                  <a:lnTo>
                    <a:pt x="1247538" y="816210"/>
                  </a:lnTo>
                  <a:lnTo>
                    <a:pt x="1241272" y="816210"/>
                  </a:lnTo>
                  <a:lnTo>
                    <a:pt x="1237127" y="817839"/>
                  </a:lnTo>
                  <a:lnTo>
                    <a:pt x="1230861" y="822773"/>
                  </a:lnTo>
                  <a:lnTo>
                    <a:pt x="1224595" y="824401"/>
                  </a:lnTo>
                  <a:lnTo>
                    <a:pt x="1220450" y="821145"/>
                  </a:lnTo>
                  <a:lnTo>
                    <a:pt x="1218378" y="817937"/>
                  </a:lnTo>
                  <a:lnTo>
                    <a:pt x="1220450" y="816309"/>
                  </a:lnTo>
                  <a:lnTo>
                    <a:pt x="1218378" y="813053"/>
                  </a:lnTo>
                  <a:lnTo>
                    <a:pt x="1214184" y="809846"/>
                  </a:lnTo>
                  <a:lnTo>
                    <a:pt x="1214184" y="814780"/>
                  </a:lnTo>
                  <a:lnTo>
                    <a:pt x="1216306" y="818036"/>
                  </a:lnTo>
                  <a:lnTo>
                    <a:pt x="1216306" y="822970"/>
                  </a:lnTo>
                  <a:lnTo>
                    <a:pt x="1218378" y="827904"/>
                  </a:lnTo>
                  <a:lnTo>
                    <a:pt x="1224398" y="827904"/>
                  </a:lnTo>
                  <a:lnTo>
                    <a:pt x="1232736" y="826276"/>
                  </a:lnTo>
                  <a:lnTo>
                    <a:pt x="1239002" y="821342"/>
                  </a:lnTo>
                  <a:lnTo>
                    <a:pt x="1241075" y="819714"/>
                  </a:lnTo>
                  <a:lnTo>
                    <a:pt x="1249413" y="824648"/>
                  </a:lnTo>
                  <a:lnTo>
                    <a:pt x="1249413" y="829582"/>
                  </a:lnTo>
                  <a:lnTo>
                    <a:pt x="1247341" y="840881"/>
                  </a:lnTo>
                  <a:lnTo>
                    <a:pt x="1245219" y="844088"/>
                  </a:lnTo>
                  <a:lnTo>
                    <a:pt x="1241075" y="844088"/>
                  </a:lnTo>
                  <a:lnTo>
                    <a:pt x="1241075" y="845716"/>
                  </a:lnTo>
                  <a:lnTo>
                    <a:pt x="1245219" y="848972"/>
                  </a:lnTo>
                  <a:lnTo>
                    <a:pt x="1247341" y="847344"/>
                  </a:lnTo>
                  <a:lnTo>
                    <a:pt x="1255630" y="848972"/>
                  </a:lnTo>
                  <a:lnTo>
                    <a:pt x="1259824" y="853907"/>
                  </a:lnTo>
                  <a:lnTo>
                    <a:pt x="1268162" y="857114"/>
                  </a:lnTo>
                  <a:lnTo>
                    <a:pt x="1270235" y="855535"/>
                  </a:lnTo>
                  <a:lnTo>
                    <a:pt x="1276452" y="852278"/>
                  </a:lnTo>
                  <a:lnTo>
                    <a:pt x="1282718" y="853907"/>
                  </a:lnTo>
                  <a:lnTo>
                    <a:pt x="1282718" y="855535"/>
                  </a:lnTo>
                  <a:lnTo>
                    <a:pt x="1280646" y="858742"/>
                  </a:lnTo>
                  <a:lnTo>
                    <a:pt x="1280646" y="863676"/>
                  </a:lnTo>
                  <a:lnTo>
                    <a:pt x="1284790" y="868610"/>
                  </a:lnTo>
                  <a:lnTo>
                    <a:pt x="1282718" y="873544"/>
                  </a:lnTo>
                  <a:lnTo>
                    <a:pt x="1276452" y="881586"/>
                  </a:lnTo>
                  <a:lnTo>
                    <a:pt x="1268162" y="884843"/>
                  </a:lnTo>
                  <a:lnTo>
                    <a:pt x="1263870" y="884843"/>
                  </a:lnTo>
                  <a:lnTo>
                    <a:pt x="1261797" y="879909"/>
                  </a:lnTo>
                  <a:lnTo>
                    <a:pt x="1259725" y="878281"/>
                  </a:lnTo>
                  <a:lnTo>
                    <a:pt x="1255532" y="873347"/>
                  </a:lnTo>
                  <a:lnTo>
                    <a:pt x="1257653" y="868413"/>
                  </a:lnTo>
                  <a:lnTo>
                    <a:pt x="1249315" y="863479"/>
                  </a:lnTo>
                  <a:lnTo>
                    <a:pt x="1243048" y="861900"/>
                  </a:lnTo>
                  <a:lnTo>
                    <a:pt x="1236831" y="858643"/>
                  </a:lnTo>
                  <a:lnTo>
                    <a:pt x="1232638" y="858643"/>
                  </a:lnTo>
                  <a:lnTo>
                    <a:pt x="1228493" y="861900"/>
                  </a:lnTo>
                  <a:lnTo>
                    <a:pt x="1222227" y="861900"/>
                  </a:lnTo>
                  <a:lnTo>
                    <a:pt x="1220154" y="860271"/>
                  </a:lnTo>
                  <a:lnTo>
                    <a:pt x="1218082" y="855337"/>
                  </a:lnTo>
                  <a:lnTo>
                    <a:pt x="1213888" y="852081"/>
                  </a:lnTo>
                  <a:lnTo>
                    <a:pt x="1211816" y="852081"/>
                  </a:lnTo>
                  <a:lnTo>
                    <a:pt x="1211816" y="853709"/>
                  </a:lnTo>
                  <a:lnTo>
                    <a:pt x="1213888" y="856916"/>
                  </a:lnTo>
                  <a:lnTo>
                    <a:pt x="1213888" y="862541"/>
                  </a:lnTo>
                  <a:lnTo>
                    <a:pt x="1211816" y="867475"/>
                  </a:lnTo>
                  <a:lnTo>
                    <a:pt x="1207671" y="869103"/>
                  </a:lnTo>
                  <a:lnTo>
                    <a:pt x="1203477" y="869103"/>
                  </a:lnTo>
                  <a:lnTo>
                    <a:pt x="1199333" y="870732"/>
                  </a:lnTo>
                  <a:lnTo>
                    <a:pt x="1203477" y="872360"/>
                  </a:lnTo>
                  <a:lnTo>
                    <a:pt x="1205599" y="875567"/>
                  </a:lnTo>
                  <a:lnTo>
                    <a:pt x="1205599" y="878823"/>
                  </a:lnTo>
                  <a:lnTo>
                    <a:pt x="1201405" y="885287"/>
                  </a:lnTo>
                  <a:lnTo>
                    <a:pt x="1197260" y="886866"/>
                  </a:lnTo>
                  <a:lnTo>
                    <a:pt x="1197260" y="890122"/>
                  </a:lnTo>
                  <a:lnTo>
                    <a:pt x="1201405" y="893329"/>
                  </a:lnTo>
                  <a:lnTo>
                    <a:pt x="1203477" y="899793"/>
                  </a:lnTo>
                  <a:lnTo>
                    <a:pt x="1207671" y="901421"/>
                  </a:lnTo>
                  <a:lnTo>
                    <a:pt x="1209744" y="906355"/>
                  </a:lnTo>
                  <a:lnTo>
                    <a:pt x="1207671" y="914447"/>
                  </a:lnTo>
                  <a:lnTo>
                    <a:pt x="1207671" y="916075"/>
                  </a:lnTo>
                  <a:lnTo>
                    <a:pt x="1209744" y="911141"/>
                  </a:lnTo>
                  <a:lnTo>
                    <a:pt x="1213888" y="907934"/>
                  </a:lnTo>
                  <a:lnTo>
                    <a:pt x="1211816" y="903000"/>
                  </a:lnTo>
                  <a:lnTo>
                    <a:pt x="1209744" y="901372"/>
                  </a:lnTo>
                  <a:lnTo>
                    <a:pt x="1209744" y="896438"/>
                  </a:lnTo>
                  <a:lnTo>
                    <a:pt x="1211816" y="891504"/>
                  </a:lnTo>
                  <a:lnTo>
                    <a:pt x="1213888" y="891504"/>
                  </a:lnTo>
                  <a:lnTo>
                    <a:pt x="1216010" y="894711"/>
                  </a:lnTo>
                  <a:lnTo>
                    <a:pt x="1220154" y="897967"/>
                  </a:lnTo>
                  <a:lnTo>
                    <a:pt x="1222227" y="901175"/>
                  </a:lnTo>
                  <a:lnTo>
                    <a:pt x="1228493" y="904382"/>
                  </a:lnTo>
                  <a:lnTo>
                    <a:pt x="1230565" y="902803"/>
                  </a:lnTo>
                  <a:lnTo>
                    <a:pt x="1232638" y="902803"/>
                  </a:lnTo>
                  <a:lnTo>
                    <a:pt x="1234710" y="904382"/>
                  </a:lnTo>
                  <a:lnTo>
                    <a:pt x="1236831" y="902803"/>
                  </a:lnTo>
                  <a:lnTo>
                    <a:pt x="1243048" y="901175"/>
                  </a:lnTo>
                  <a:lnTo>
                    <a:pt x="1247242" y="902803"/>
                  </a:lnTo>
                  <a:lnTo>
                    <a:pt x="1249315" y="904382"/>
                  </a:lnTo>
                  <a:lnTo>
                    <a:pt x="1249315" y="909316"/>
                  </a:lnTo>
                  <a:lnTo>
                    <a:pt x="1245120" y="915779"/>
                  </a:lnTo>
                  <a:lnTo>
                    <a:pt x="1243048" y="920713"/>
                  </a:lnTo>
                  <a:lnTo>
                    <a:pt x="1243048" y="925647"/>
                  </a:lnTo>
                  <a:lnTo>
                    <a:pt x="1240976" y="933739"/>
                  </a:lnTo>
                  <a:lnTo>
                    <a:pt x="1238903" y="935318"/>
                  </a:lnTo>
                  <a:lnTo>
                    <a:pt x="1232638" y="935318"/>
                  </a:lnTo>
                  <a:lnTo>
                    <a:pt x="1226421" y="936946"/>
                  </a:lnTo>
                  <a:lnTo>
                    <a:pt x="1220154" y="935318"/>
                  </a:lnTo>
                  <a:lnTo>
                    <a:pt x="1216010" y="933739"/>
                  </a:lnTo>
                  <a:lnTo>
                    <a:pt x="1213888" y="933739"/>
                  </a:lnTo>
                  <a:lnTo>
                    <a:pt x="1209744" y="936946"/>
                  </a:lnTo>
                  <a:lnTo>
                    <a:pt x="1209744" y="940203"/>
                  </a:lnTo>
                  <a:lnTo>
                    <a:pt x="1205599" y="943410"/>
                  </a:lnTo>
                  <a:lnTo>
                    <a:pt x="1197260" y="943410"/>
                  </a:lnTo>
                  <a:lnTo>
                    <a:pt x="1195188" y="946666"/>
                  </a:lnTo>
                  <a:lnTo>
                    <a:pt x="1195188" y="949873"/>
                  </a:lnTo>
                  <a:lnTo>
                    <a:pt x="1188922" y="951502"/>
                  </a:lnTo>
                  <a:lnTo>
                    <a:pt x="1184777" y="949873"/>
                  </a:lnTo>
                  <a:lnTo>
                    <a:pt x="1180633" y="946666"/>
                  </a:lnTo>
                  <a:lnTo>
                    <a:pt x="1170222" y="941732"/>
                  </a:lnTo>
                  <a:lnTo>
                    <a:pt x="1163906" y="935269"/>
                  </a:lnTo>
                  <a:lnTo>
                    <a:pt x="1149104" y="923970"/>
                  </a:lnTo>
                  <a:lnTo>
                    <a:pt x="1147032" y="919036"/>
                  </a:lnTo>
                  <a:lnTo>
                    <a:pt x="1147032" y="915829"/>
                  </a:lnTo>
                  <a:lnTo>
                    <a:pt x="1149104" y="914200"/>
                  </a:lnTo>
                  <a:lnTo>
                    <a:pt x="1153249" y="914200"/>
                  </a:lnTo>
                  <a:lnTo>
                    <a:pt x="1155370" y="915829"/>
                  </a:lnTo>
                  <a:lnTo>
                    <a:pt x="1157443" y="917408"/>
                  </a:lnTo>
                  <a:lnTo>
                    <a:pt x="1169975" y="922342"/>
                  </a:lnTo>
                  <a:lnTo>
                    <a:pt x="1178264" y="927276"/>
                  </a:lnTo>
                  <a:lnTo>
                    <a:pt x="1180386" y="927276"/>
                  </a:lnTo>
                  <a:lnTo>
                    <a:pt x="1188675" y="925647"/>
                  </a:lnTo>
                  <a:lnTo>
                    <a:pt x="1188675" y="922440"/>
                  </a:lnTo>
                  <a:lnTo>
                    <a:pt x="1186603" y="920812"/>
                  </a:lnTo>
                  <a:lnTo>
                    <a:pt x="1184925" y="920812"/>
                  </a:lnTo>
                  <a:lnTo>
                    <a:pt x="1180781" y="922440"/>
                  </a:lnTo>
                  <a:lnTo>
                    <a:pt x="1174515" y="920812"/>
                  </a:lnTo>
                  <a:lnTo>
                    <a:pt x="1164054" y="914348"/>
                  </a:lnTo>
                  <a:lnTo>
                    <a:pt x="1153644" y="911092"/>
                  </a:lnTo>
                  <a:lnTo>
                    <a:pt x="1149499" y="909513"/>
                  </a:lnTo>
                  <a:lnTo>
                    <a:pt x="1147427" y="907885"/>
                  </a:lnTo>
                  <a:lnTo>
                    <a:pt x="1147427" y="904628"/>
                  </a:lnTo>
                  <a:lnTo>
                    <a:pt x="1145354" y="903050"/>
                  </a:lnTo>
                  <a:lnTo>
                    <a:pt x="1141160" y="903050"/>
                  </a:lnTo>
                  <a:lnTo>
                    <a:pt x="1139088" y="906257"/>
                  </a:lnTo>
                  <a:lnTo>
                    <a:pt x="1139088" y="911191"/>
                  </a:lnTo>
                  <a:lnTo>
                    <a:pt x="1137016" y="921059"/>
                  </a:lnTo>
                  <a:lnTo>
                    <a:pt x="1137016" y="927522"/>
                  </a:lnTo>
                  <a:lnTo>
                    <a:pt x="1134943" y="925894"/>
                  </a:lnTo>
                  <a:lnTo>
                    <a:pt x="1122411" y="914595"/>
                  </a:lnTo>
                  <a:lnTo>
                    <a:pt x="1116194" y="903296"/>
                  </a:lnTo>
                  <a:lnTo>
                    <a:pt x="1112000" y="900040"/>
                  </a:lnTo>
                  <a:lnTo>
                    <a:pt x="1112000" y="898461"/>
                  </a:lnTo>
                  <a:lnTo>
                    <a:pt x="1109928" y="895204"/>
                  </a:lnTo>
                  <a:lnTo>
                    <a:pt x="1107856" y="895204"/>
                  </a:lnTo>
                  <a:lnTo>
                    <a:pt x="1105783" y="896833"/>
                  </a:lnTo>
                  <a:lnTo>
                    <a:pt x="1105783" y="900040"/>
                  </a:lnTo>
                  <a:lnTo>
                    <a:pt x="1112000" y="903296"/>
                  </a:lnTo>
                  <a:lnTo>
                    <a:pt x="1120339" y="914595"/>
                  </a:lnTo>
                  <a:lnTo>
                    <a:pt x="1120339" y="917802"/>
                  </a:lnTo>
                  <a:lnTo>
                    <a:pt x="1124533" y="921059"/>
                  </a:lnTo>
                  <a:lnTo>
                    <a:pt x="1126605" y="924266"/>
                  </a:lnTo>
                  <a:lnTo>
                    <a:pt x="1126605" y="927522"/>
                  </a:lnTo>
                  <a:lnTo>
                    <a:pt x="1122411" y="927522"/>
                  </a:lnTo>
                  <a:lnTo>
                    <a:pt x="1116194" y="929101"/>
                  </a:lnTo>
                  <a:lnTo>
                    <a:pt x="1112000" y="932358"/>
                  </a:lnTo>
                  <a:lnTo>
                    <a:pt x="1109928" y="935565"/>
                  </a:lnTo>
                  <a:lnTo>
                    <a:pt x="1103711" y="937193"/>
                  </a:lnTo>
                  <a:lnTo>
                    <a:pt x="1099517" y="938821"/>
                  </a:lnTo>
                  <a:lnTo>
                    <a:pt x="1093301" y="940449"/>
                  </a:lnTo>
                  <a:lnTo>
                    <a:pt x="1089106" y="940449"/>
                  </a:lnTo>
                  <a:lnTo>
                    <a:pt x="1084962" y="937193"/>
                  </a:lnTo>
                  <a:lnTo>
                    <a:pt x="1080768" y="937193"/>
                  </a:lnTo>
                  <a:lnTo>
                    <a:pt x="1076623" y="933986"/>
                  </a:lnTo>
                  <a:lnTo>
                    <a:pt x="1076623" y="932358"/>
                  </a:lnTo>
                  <a:lnTo>
                    <a:pt x="1068285" y="927424"/>
                  </a:lnTo>
                  <a:lnTo>
                    <a:pt x="1064140" y="924167"/>
                  </a:lnTo>
                  <a:lnTo>
                    <a:pt x="1064140" y="920960"/>
                  </a:lnTo>
                  <a:lnTo>
                    <a:pt x="1062068" y="917704"/>
                  </a:lnTo>
                  <a:lnTo>
                    <a:pt x="1059946" y="917704"/>
                  </a:lnTo>
                  <a:lnTo>
                    <a:pt x="1057874" y="919332"/>
                  </a:lnTo>
                  <a:lnTo>
                    <a:pt x="1057874" y="924266"/>
                  </a:lnTo>
                  <a:lnTo>
                    <a:pt x="1059946" y="927522"/>
                  </a:lnTo>
                  <a:lnTo>
                    <a:pt x="1066212" y="930729"/>
                  </a:lnTo>
                  <a:lnTo>
                    <a:pt x="1072478" y="933986"/>
                  </a:lnTo>
                  <a:lnTo>
                    <a:pt x="1076623" y="940449"/>
                  </a:lnTo>
                  <a:lnTo>
                    <a:pt x="1076623" y="942028"/>
                  </a:lnTo>
                  <a:lnTo>
                    <a:pt x="1072478" y="945285"/>
                  </a:lnTo>
                  <a:lnTo>
                    <a:pt x="1062068" y="945285"/>
                  </a:lnTo>
                  <a:lnTo>
                    <a:pt x="1055801" y="943657"/>
                  </a:lnTo>
                  <a:lnTo>
                    <a:pt x="1049536" y="945285"/>
                  </a:lnTo>
                  <a:lnTo>
                    <a:pt x="1045391" y="948492"/>
                  </a:lnTo>
                  <a:lnTo>
                    <a:pt x="1047463" y="950120"/>
                  </a:lnTo>
                  <a:lnTo>
                    <a:pt x="1049536" y="950120"/>
                  </a:lnTo>
                  <a:lnTo>
                    <a:pt x="1051657" y="953377"/>
                  </a:lnTo>
                  <a:lnTo>
                    <a:pt x="1053729" y="954956"/>
                  </a:lnTo>
                  <a:lnTo>
                    <a:pt x="1055801" y="951748"/>
                  </a:lnTo>
                  <a:lnTo>
                    <a:pt x="1057874" y="948492"/>
                  </a:lnTo>
                  <a:lnTo>
                    <a:pt x="1064140" y="948492"/>
                  </a:lnTo>
                  <a:lnTo>
                    <a:pt x="1068285" y="950120"/>
                  </a:lnTo>
                  <a:lnTo>
                    <a:pt x="1074551" y="951748"/>
                  </a:lnTo>
                  <a:lnTo>
                    <a:pt x="1078695" y="950120"/>
                  </a:lnTo>
                  <a:lnTo>
                    <a:pt x="1078695" y="945186"/>
                  </a:lnTo>
                  <a:lnTo>
                    <a:pt x="1097445" y="945186"/>
                  </a:lnTo>
                  <a:lnTo>
                    <a:pt x="1099517" y="946814"/>
                  </a:lnTo>
                  <a:lnTo>
                    <a:pt x="1103711" y="950021"/>
                  </a:lnTo>
                  <a:lnTo>
                    <a:pt x="1112000" y="951650"/>
                  </a:lnTo>
                  <a:lnTo>
                    <a:pt x="1116194" y="953278"/>
                  </a:lnTo>
                  <a:lnTo>
                    <a:pt x="1118266" y="958212"/>
                  </a:lnTo>
                  <a:lnTo>
                    <a:pt x="1116194" y="961419"/>
                  </a:lnTo>
                  <a:lnTo>
                    <a:pt x="1114122" y="961419"/>
                  </a:lnTo>
                  <a:lnTo>
                    <a:pt x="1109928" y="966353"/>
                  </a:lnTo>
                  <a:lnTo>
                    <a:pt x="1099517" y="966353"/>
                  </a:lnTo>
                  <a:lnTo>
                    <a:pt x="1093301" y="971287"/>
                  </a:lnTo>
                  <a:lnTo>
                    <a:pt x="1087034" y="972866"/>
                  </a:lnTo>
                  <a:lnTo>
                    <a:pt x="1082889" y="971287"/>
                  </a:lnTo>
                  <a:lnTo>
                    <a:pt x="1076623" y="966353"/>
                  </a:lnTo>
                  <a:lnTo>
                    <a:pt x="1072478" y="964774"/>
                  </a:lnTo>
                  <a:lnTo>
                    <a:pt x="1068285" y="964774"/>
                  </a:lnTo>
                  <a:lnTo>
                    <a:pt x="1066212" y="967981"/>
                  </a:lnTo>
                  <a:lnTo>
                    <a:pt x="1062068" y="967981"/>
                  </a:lnTo>
                  <a:lnTo>
                    <a:pt x="1059946" y="966353"/>
                  </a:lnTo>
                  <a:lnTo>
                    <a:pt x="1055801" y="967981"/>
                  </a:lnTo>
                  <a:lnTo>
                    <a:pt x="1055801" y="969610"/>
                  </a:lnTo>
                  <a:lnTo>
                    <a:pt x="1066212" y="969610"/>
                  </a:lnTo>
                  <a:lnTo>
                    <a:pt x="1070357" y="967981"/>
                  </a:lnTo>
                  <a:lnTo>
                    <a:pt x="1074551" y="969610"/>
                  </a:lnTo>
                  <a:lnTo>
                    <a:pt x="1076623" y="971238"/>
                  </a:lnTo>
                  <a:lnTo>
                    <a:pt x="1074551" y="974445"/>
                  </a:lnTo>
                  <a:lnTo>
                    <a:pt x="1068285" y="974445"/>
                  </a:lnTo>
                  <a:lnTo>
                    <a:pt x="1062068" y="977701"/>
                  </a:lnTo>
                  <a:lnTo>
                    <a:pt x="1059946" y="979280"/>
                  </a:lnTo>
                  <a:lnTo>
                    <a:pt x="1062068" y="979280"/>
                  </a:lnTo>
                  <a:lnTo>
                    <a:pt x="1066212" y="977701"/>
                  </a:lnTo>
                  <a:lnTo>
                    <a:pt x="1074551" y="976073"/>
                  </a:lnTo>
                  <a:lnTo>
                    <a:pt x="1076623" y="976073"/>
                  </a:lnTo>
                  <a:lnTo>
                    <a:pt x="1078695" y="979280"/>
                  </a:lnTo>
                  <a:lnTo>
                    <a:pt x="1078695" y="982537"/>
                  </a:lnTo>
                  <a:lnTo>
                    <a:pt x="1080768" y="984165"/>
                  </a:lnTo>
                  <a:lnTo>
                    <a:pt x="1084962" y="979231"/>
                  </a:lnTo>
                  <a:lnTo>
                    <a:pt x="1089106" y="977652"/>
                  </a:lnTo>
                  <a:lnTo>
                    <a:pt x="1093301" y="977652"/>
                  </a:lnTo>
                  <a:lnTo>
                    <a:pt x="1097445" y="972718"/>
                  </a:lnTo>
                  <a:lnTo>
                    <a:pt x="1101589" y="972718"/>
                  </a:lnTo>
                  <a:lnTo>
                    <a:pt x="1103711" y="974346"/>
                  </a:lnTo>
                  <a:lnTo>
                    <a:pt x="1112000" y="979280"/>
                  </a:lnTo>
                  <a:lnTo>
                    <a:pt x="1116194" y="979280"/>
                  </a:lnTo>
                  <a:lnTo>
                    <a:pt x="1118266" y="980909"/>
                  </a:lnTo>
                  <a:lnTo>
                    <a:pt x="1118266" y="993836"/>
                  </a:lnTo>
                  <a:lnTo>
                    <a:pt x="1114122" y="998770"/>
                  </a:lnTo>
                  <a:lnTo>
                    <a:pt x="1101589" y="998770"/>
                  </a:lnTo>
                  <a:lnTo>
                    <a:pt x="1095372" y="997142"/>
                  </a:lnTo>
                  <a:lnTo>
                    <a:pt x="1082889" y="997142"/>
                  </a:lnTo>
                  <a:lnTo>
                    <a:pt x="1080768" y="995563"/>
                  </a:lnTo>
                  <a:lnTo>
                    <a:pt x="1076623" y="1000497"/>
                  </a:lnTo>
                  <a:lnTo>
                    <a:pt x="1078695" y="1000497"/>
                  </a:lnTo>
                  <a:lnTo>
                    <a:pt x="1084962" y="998868"/>
                  </a:lnTo>
                  <a:lnTo>
                    <a:pt x="1093301" y="998868"/>
                  </a:lnTo>
                  <a:lnTo>
                    <a:pt x="1101589" y="1002125"/>
                  </a:lnTo>
                  <a:lnTo>
                    <a:pt x="1103711" y="1005332"/>
                  </a:lnTo>
                  <a:lnTo>
                    <a:pt x="1103711" y="1008589"/>
                  </a:lnTo>
                  <a:lnTo>
                    <a:pt x="1107856" y="1003654"/>
                  </a:lnTo>
                  <a:lnTo>
                    <a:pt x="1114122" y="1002076"/>
                  </a:lnTo>
                  <a:lnTo>
                    <a:pt x="1122411" y="1002076"/>
                  </a:lnTo>
                  <a:lnTo>
                    <a:pt x="1128677" y="1005283"/>
                  </a:lnTo>
                  <a:lnTo>
                    <a:pt x="1128677" y="1008539"/>
                  </a:lnTo>
                  <a:lnTo>
                    <a:pt x="1141160" y="1015003"/>
                  </a:lnTo>
                  <a:lnTo>
                    <a:pt x="1141160" y="1016582"/>
                  </a:lnTo>
                  <a:lnTo>
                    <a:pt x="1143233" y="1019838"/>
                  </a:lnTo>
                  <a:lnTo>
                    <a:pt x="1147427" y="1019838"/>
                  </a:lnTo>
                  <a:lnTo>
                    <a:pt x="1149499" y="1021466"/>
                  </a:lnTo>
                  <a:lnTo>
                    <a:pt x="1151571" y="1021466"/>
                  </a:lnTo>
                  <a:lnTo>
                    <a:pt x="1155765" y="1026400"/>
                  </a:lnTo>
                  <a:lnTo>
                    <a:pt x="1159959" y="1027979"/>
                  </a:lnTo>
                  <a:lnTo>
                    <a:pt x="1161982" y="1031236"/>
                  </a:lnTo>
                  <a:lnTo>
                    <a:pt x="1164054" y="1034443"/>
                  </a:lnTo>
                  <a:lnTo>
                    <a:pt x="1168248" y="1034443"/>
                  </a:lnTo>
                  <a:lnTo>
                    <a:pt x="1170370" y="1037699"/>
                  </a:lnTo>
                  <a:lnTo>
                    <a:pt x="1172393" y="1039327"/>
                  </a:lnTo>
                  <a:lnTo>
                    <a:pt x="1172393" y="1040166"/>
                  </a:lnTo>
                  <a:lnTo>
                    <a:pt x="1168248" y="1046630"/>
                  </a:lnTo>
                  <a:lnTo>
                    <a:pt x="1166176" y="1048258"/>
                  </a:lnTo>
                  <a:lnTo>
                    <a:pt x="1161982" y="1053192"/>
                  </a:lnTo>
                  <a:lnTo>
                    <a:pt x="1161982" y="1058126"/>
                  </a:lnTo>
                  <a:lnTo>
                    <a:pt x="1166176" y="1053192"/>
                  </a:lnTo>
                  <a:lnTo>
                    <a:pt x="1172393" y="1049985"/>
                  </a:lnTo>
                  <a:lnTo>
                    <a:pt x="1176587" y="1048357"/>
                  </a:lnTo>
                  <a:lnTo>
                    <a:pt x="1176587" y="1048357"/>
                  </a:lnTo>
                  <a:lnTo>
                    <a:pt x="1174515" y="1051613"/>
                  </a:lnTo>
                  <a:lnTo>
                    <a:pt x="1172393" y="1056547"/>
                  </a:lnTo>
                  <a:lnTo>
                    <a:pt x="1174515" y="1054919"/>
                  </a:lnTo>
                  <a:lnTo>
                    <a:pt x="1176587" y="1053291"/>
                  </a:lnTo>
                  <a:lnTo>
                    <a:pt x="1180781" y="1050084"/>
                  </a:lnTo>
                  <a:lnTo>
                    <a:pt x="1184925" y="1050084"/>
                  </a:lnTo>
                  <a:lnTo>
                    <a:pt x="1186998" y="1053291"/>
                  </a:lnTo>
                  <a:lnTo>
                    <a:pt x="1184925" y="1058225"/>
                  </a:lnTo>
                  <a:lnTo>
                    <a:pt x="1180781" y="1059853"/>
                  </a:lnTo>
                  <a:lnTo>
                    <a:pt x="1174515" y="1064787"/>
                  </a:lnTo>
                  <a:lnTo>
                    <a:pt x="1172393" y="1068044"/>
                  </a:lnTo>
                  <a:lnTo>
                    <a:pt x="1172393" y="1071251"/>
                  </a:lnTo>
                  <a:lnTo>
                    <a:pt x="1174515" y="1074507"/>
                  </a:lnTo>
                  <a:lnTo>
                    <a:pt x="1174515" y="1077714"/>
                  </a:lnTo>
                  <a:lnTo>
                    <a:pt x="1172393" y="1084178"/>
                  </a:lnTo>
                  <a:lnTo>
                    <a:pt x="1172393" y="1085806"/>
                  </a:lnTo>
                  <a:lnTo>
                    <a:pt x="1176587" y="1084178"/>
                  </a:lnTo>
                  <a:lnTo>
                    <a:pt x="1178659" y="1077714"/>
                  </a:lnTo>
                  <a:lnTo>
                    <a:pt x="1182803" y="1071251"/>
                  </a:lnTo>
                  <a:lnTo>
                    <a:pt x="1189070" y="1068044"/>
                  </a:lnTo>
                  <a:lnTo>
                    <a:pt x="1191192" y="1068044"/>
                  </a:lnTo>
                  <a:lnTo>
                    <a:pt x="1191192" y="1071251"/>
                  </a:lnTo>
                  <a:lnTo>
                    <a:pt x="1186998" y="1076185"/>
                  </a:lnTo>
                  <a:lnTo>
                    <a:pt x="1184925" y="1081119"/>
                  </a:lnTo>
                  <a:lnTo>
                    <a:pt x="1184925" y="1082747"/>
                  </a:lnTo>
                  <a:lnTo>
                    <a:pt x="1189070" y="1082747"/>
                  </a:lnTo>
                  <a:lnTo>
                    <a:pt x="1191192" y="1084326"/>
                  </a:lnTo>
                  <a:lnTo>
                    <a:pt x="1191192" y="1089260"/>
                  </a:lnTo>
                  <a:lnTo>
                    <a:pt x="1186998" y="1092467"/>
                  </a:lnTo>
                  <a:lnTo>
                    <a:pt x="1180781" y="1094095"/>
                  </a:lnTo>
                  <a:lnTo>
                    <a:pt x="1180781" y="1099029"/>
                  </a:lnTo>
                  <a:lnTo>
                    <a:pt x="1186998" y="1095773"/>
                  </a:lnTo>
                  <a:lnTo>
                    <a:pt x="1189070" y="1097401"/>
                  </a:lnTo>
                  <a:lnTo>
                    <a:pt x="1186998" y="1100658"/>
                  </a:lnTo>
                  <a:lnTo>
                    <a:pt x="1184925" y="1103865"/>
                  </a:lnTo>
                  <a:lnTo>
                    <a:pt x="1189070" y="1105493"/>
                  </a:lnTo>
                  <a:lnTo>
                    <a:pt x="1191192" y="1108700"/>
                  </a:lnTo>
                  <a:lnTo>
                    <a:pt x="1189070" y="1110328"/>
                  </a:lnTo>
                  <a:lnTo>
                    <a:pt x="1189070" y="1116792"/>
                  </a:lnTo>
                  <a:lnTo>
                    <a:pt x="1186998" y="1119999"/>
                  </a:lnTo>
                  <a:lnTo>
                    <a:pt x="1186998" y="1129867"/>
                  </a:lnTo>
                  <a:lnTo>
                    <a:pt x="1189070" y="1133074"/>
                  </a:lnTo>
                  <a:lnTo>
                    <a:pt x="1189070" y="1138008"/>
                  </a:lnTo>
                  <a:lnTo>
                    <a:pt x="1184925" y="1139587"/>
                  </a:lnTo>
                  <a:lnTo>
                    <a:pt x="1178659" y="1139587"/>
                  </a:lnTo>
                  <a:lnTo>
                    <a:pt x="1176587" y="1138008"/>
                  </a:lnTo>
                  <a:lnTo>
                    <a:pt x="1178659" y="1136380"/>
                  </a:lnTo>
                  <a:lnTo>
                    <a:pt x="1176587" y="1133124"/>
                  </a:lnTo>
                  <a:lnTo>
                    <a:pt x="1174515" y="1131545"/>
                  </a:lnTo>
                  <a:lnTo>
                    <a:pt x="1170370" y="1133124"/>
                  </a:lnTo>
                  <a:lnTo>
                    <a:pt x="1166176" y="1134752"/>
                  </a:lnTo>
                  <a:lnTo>
                    <a:pt x="1164054" y="1133124"/>
                  </a:lnTo>
                  <a:lnTo>
                    <a:pt x="1164054" y="1128979"/>
                  </a:lnTo>
                  <a:lnTo>
                    <a:pt x="1166176" y="1124045"/>
                  </a:lnTo>
                  <a:lnTo>
                    <a:pt x="1164054" y="1117581"/>
                  </a:lnTo>
                  <a:lnTo>
                    <a:pt x="1164054" y="1112647"/>
                  </a:lnTo>
                  <a:lnTo>
                    <a:pt x="1166176" y="1109391"/>
                  </a:lnTo>
                  <a:lnTo>
                    <a:pt x="1164054" y="1106184"/>
                  </a:lnTo>
                  <a:lnTo>
                    <a:pt x="1161982" y="1106184"/>
                  </a:lnTo>
                  <a:lnTo>
                    <a:pt x="1159959" y="1109391"/>
                  </a:lnTo>
                  <a:lnTo>
                    <a:pt x="1159959" y="1122318"/>
                  </a:lnTo>
                  <a:lnTo>
                    <a:pt x="1157837" y="1130410"/>
                  </a:lnTo>
                  <a:lnTo>
                    <a:pt x="1157837" y="1133913"/>
                  </a:lnTo>
                  <a:lnTo>
                    <a:pt x="1155765" y="1135541"/>
                  </a:lnTo>
                  <a:lnTo>
                    <a:pt x="1147427" y="1135541"/>
                  </a:lnTo>
                  <a:lnTo>
                    <a:pt x="1143233" y="1137169"/>
                  </a:lnTo>
                  <a:lnTo>
                    <a:pt x="1139088" y="1133913"/>
                  </a:lnTo>
                  <a:lnTo>
                    <a:pt x="1130750" y="1128979"/>
                  </a:lnTo>
                  <a:lnTo>
                    <a:pt x="1124533" y="1119111"/>
                  </a:lnTo>
                  <a:lnTo>
                    <a:pt x="1120339" y="1114177"/>
                  </a:lnTo>
                  <a:lnTo>
                    <a:pt x="1116194" y="1110970"/>
                  </a:lnTo>
                  <a:lnTo>
                    <a:pt x="1116194" y="1101102"/>
                  </a:lnTo>
                  <a:lnTo>
                    <a:pt x="1112000" y="1096168"/>
                  </a:lnTo>
                  <a:lnTo>
                    <a:pt x="1107856" y="1091234"/>
                  </a:lnTo>
                  <a:lnTo>
                    <a:pt x="1105783" y="1084770"/>
                  </a:lnTo>
                  <a:lnTo>
                    <a:pt x="1107856" y="1078306"/>
                  </a:lnTo>
                  <a:lnTo>
                    <a:pt x="1109928" y="1075099"/>
                  </a:lnTo>
                  <a:lnTo>
                    <a:pt x="1107856" y="1071843"/>
                  </a:lnTo>
                  <a:lnTo>
                    <a:pt x="1105783" y="1071843"/>
                  </a:lnTo>
                  <a:lnTo>
                    <a:pt x="1099517" y="1073471"/>
                  </a:lnTo>
                  <a:lnTo>
                    <a:pt x="1097445" y="1076678"/>
                  </a:lnTo>
                  <a:lnTo>
                    <a:pt x="1093301" y="1073471"/>
                  </a:lnTo>
                  <a:lnTo>
                    <a:pt x="1080768" y="1060544"/>
                  </a:lnTo>
                  <a:lnTo>
                    <a:pt x="1080768" y="1055610"/>
                  </a:lnTo>
                  <a:lnTo>
                    <a:pt x="1076623" y="1052353"/>
                  </a:lnTo>
                  <a:lnTo>
                    <a:pt x="1072478" y="1053982"/>
                  </a:lnTo>
                  <a:lnTo>
                    <a:pt x="1066212" y="1055610"/>
                  </a:lnTo>
                  <a:lnTo>
                    <a:pt x="1059946" y="1053982"/>
                  </a:lnTo>
                  <a:lnTo>
                    <a:pt x="1057874" y="1053982"/>
                  </a:lnTo>
                  <a:lnTo>
                    <a:pt x="1053729" y="1055610"/>
                  </a:lnTo>
                  <a:lnTo>
                    <a:pt x="1049536" y="1053982"/>
                  </a:lnTo>
                  <a:lnTo>
                    <a:pt x="1045391" y="1050774"/>
                  </a:lnTo>
                  <a:lnTo>
                    <a:pt x="1045391" y="1047518"/>
                  </a:lnTo>
                  <a:lnTo>
                    <a:pt x="1037052" y="1041054"/>
                  </a:lnTo>
                  <a:lnTo>
                    <a:pt x="1037052" y="1037847"/>
                  </a:lnTo>
                  <a:lnTo>
                    <a:pt x="1034980" y="1034591"/>
                  </a:lnTo>
                  <a:lnTo>
                    <a:pt x="1032907" y="1028127"/>
                  </a:lnTo>
                  <a:lnTo>
                    <a:pt x="1028714" y="1023193"/>
                  </a:lnTo>
                  <a:lnTo>
                    <a:pt x="1026642" y="1026400"/>
                  </a:lnTo>
                  <a:lnTo>
                    <a:pt x="1026642" y="1034492"/>
                  </a:lnTo>
                  <a:lnTo>
                    <a:pt x="1020375" y="1037749"/>
                  </a:lnTo>
                  <a:lnTo>
                    <a:pt x="1018303" y="1039327"/>
                  </a:lnTo>
                  <a:lnTo>
                    <a:pt x="1024569" y="1039327"/>
                  </a:lnTo>
                  <a:lnTo>
                    <a:pt x="1028714" y="1040956"/>
                  </a:lnTo>
                  <a:lnTo>
                    <a:pt x="1032907" y="1047419"/>
                  </a:lnTo>
                  <a:lnTo>
                    <a:pt x="1034980" y="1052353"/>
                  </a:lnTo>
                  <a:lnTo>
                    <a:pt x="1034980" y="1054968"/>
                  </a:lnTo>
                  <a:lnTo>
                    <a:pt x="1026642" y="1054968"/>
                  </a:lnTo>
                  <a:lnTo>
                    <a:pt x="1022497" y="1058176"/>
                  </a:lnTo>
                  <a:lnTo>
                    <a:pt x="1018303" y="1059804"/>
                  </a:lnTo>
                  <a:lnTo>
                    <a:pt x="1014158" y="1056597"/>
                  </a:lnTo>
                  <a:lnTo>
                    <a:pt x="1014158" y="1061531"/>
                  </a:lnTo>
                  <a:lnTo>
                    <a:pt x="1018303" y="1063159"/>
                  </a:lnTo>
                  <a:lnTo>
                    <a:pt x="1024569" y="1063159"/>
                  </a:lnTo>
                  <a:lnTo>
                    <a:pt x="1030786" y="1058225"/>
                  </a:lnTo>
                  <a:lnTo>
                    <a:pt x="1034980" y="1058225"/>
                  </a:lnTo>
                  <a:lnTo>
                    <a:pt x="1041246" y="1055018"/>
                  </a:lnTo>
                  <a:lnTo>
                    <a:pt x="1043319" y="1058225"/>
                  </a:lnTo>
                  <a:lnTo>
                    <a:pt x="1043319" y="1061481"/>
                  </a:lnTo>
                  <a:lnTo>
                    <a:pt x="1045391" y="1064689"/>
                  </a:lnTo>
                  <a:lnTo>
                    <a:pt x="1053729" y="1061481"/>
                  </a:lnTo>
                  <a:lnTo>
                    <a:pt x="1055801" y="1061481"/>
                  </a:lnTo>
                  <a:lnTo>
                    <a:pt x="1072478" y="1066415"/>
                  </a:lnTo>
                  <a:lnTo>
                    <a:pt x="1078695" y="1068044"/>
                  </a:lnTo>
                  <a:lnTo>
                    <a:pt x="1082889" y="1068044"/>
                  </a:lnTo>
                  <a:lnTo>
                    <a:pt x="1082889" y="1072978"/>
                  </a:lnTo>
                  <a:lnTo>
                    <a:pt x="1087034" y="1079441"/>
                  </a:lnTo>
                  <a:lnTo>
                    <a:pt x="1084962" y="1084375"/>
                  </a:lnTo>
                  <a:lnTo>
                    <a:pt x="1080768" y="1086004"/>
                  </a:lnTo>
                  <a:lnTo>
                    <a:pt x="1076623" y="1089260"/>
                  </a:lnTo>
                  <a:lnTo>
                    <a:pt x="1072478" y="1090839"/>
                  </a:lnTo>
                  <a:lnTo>
                    <a:pt x="1066212" y="1090839"/>
                  </a:lnTo>
                  <a:lnTo>
                    <a:pt x="1049536" y="1098931"/>
                  </a:lnTo>
                  <a:lnTo>
                    <a:pt x="1041246" y="1098931"/>
                  </a:lnTo>
                  <a:lnTo>
                    <a:pt x="1034980" y="1100559"/>
                  </a:lnTo>
                  <a:lnTo>
                    <a:pt x="1028714" y="1098931"/>
                  </a:lnTo>
                  <a:lnTo>
                    <a:pt x="1026642" y="1092467"/>
                  </a:lnTo>
                  <a:lnTo>
                    <a:pt x="1026642" y="1089260"/>
                  </a:lnTo>
                  <a:lnTo>
                    <a:pt x="1024569" y="1086004"/>
                  </a:lnTo>
                  <a:lnTo>
                    <a:pt x="1020375" y="1086004"/>
                  </a:lnTo>
                  <a:lnTo>
                    <a:pt x="1020375" y="1090938"/>
                  </a:lnTo>
                  <a:lnTo>
                    <a:pt x="1022497" y="1092566"/>
                  </a:lnTo>
                  <a:lnTo>
                    <a:pt x="1022497" y="1095773"/>
                  </a:lnTo>
                  <a:lnTo>
                    <a:pt x="1020375" y="1097401"/>
                  </a:lnTo>
                  <a:lnTo>
                    <a:pt x="1014158" y="1097401"/>
                  </a:lnTo>
                  <a:lnTo>
                    <a:pt x="1014158" y="1095773"/>
                  </a:lnTo>
                  <a:lnTo>
                    <a:pt x="1012234" y="1095773"/>
                  </a:lnTo>
                  <a:lnTo>
                    <a:pt x="1005968" y="1097401"/>
                  </a:lnTo>
                  <a:lnTo>
                    <a:pt x="1008040" y="1100658"/>
                  </a:lnTo>
                  <a:lnTo>
                    <a:pt x="1014307" y="1100658"/>
                  </a:lnTo>
                  <a:lnTo>
                    <a:pt x="1016378" y="1103865"/>
                  </a:lnTo>
                  <a:lnTo>
                    <a:pt x="1018451" y="1107121"/>
                  </a:lnTo>
                  <a:lnTo>
                    <a:pt x="1014307" y="1110328"/>
                  </a:lnTo>
                  <a:lnTo>
                    <a:pt x="1012234" y="1111956"/>
                  </a:lnTo>
                  <a:lnTo>
                    <a:pt x="1008040" y="1111956"/>
                  </a:lnTo>
                  <a:lnTo>
                    <a:pt x="1005968" y="1115164"/>
                  </a:lnTo>
                  <a:lnTo>
                    <a:pt x="1005968" y="1118420"/>
                  </a:lnTo>
                  <a:lnTo>
                    <a:pt x="1001823" y="1121627"/>
                  </a:lnTo>
                  <a:lnTo>
                    <a:pt x="989291" y="1126561"/>
                  </a:lnTo>
                  <a:lnTo>
                    <a:pt x="982630" y="1126561"/>
                  </a:lnTo>
                  <a:lnTo>
                    <a:pt x="978436" y="1124982"/>
                  </a:lnTo>
                  <a:lnTo>
                    <a:pt x="972219" y="1129916"/>
                  </a:lnTo>
                  <a:lnTo>
                    <a:pt x="970147" y="1134850"/>
                  </a:lnTo>
                  <a:lnTo>
                    <a:pt x="972219" y="1136479"/>
                  </a:lnTo>
                  <a:lnTo>
                    <a:pt x="982630" y="1128979"/>
                  </a:lnTo>
                  <a:lnTo>
                    <a:pt x="990968" y="1130607"/>
                  </a:lnTo>
                  <a:lnTo>
                    <a:pt x="997432" y="1128979"/>
                  </a:lnTo>
                  <a:lnTo>
                    <a:pt x="1001626" y="1128979"/>
                  </a:lnTo>
                  <a:lnTo>
                    <a:pt x="1003698" y="1132186"/>
                  </a:lnTo>
                  <a:lnTo>
                    <a:pt x="1012036" y="1133814"/>
                  </a:lnTo>
                  <a:lnTo>
                    <a:pt x="1018253" y="1133814"/>
                  </a:lnTo>
                  <a:lnTo>
                    <a:pt x="1024520" y="1132186"/>
                  </a:lnTo>
                  <a:lnTo>
                    <a:pt x="1034930" y="1132186"/>
                  </a:lnTo>
                  <a:lnTo>
                    <a:pt x="1039075" y="1133814"/>
                  </a:lnTo>
                  <a:lnTo>
                    <a:pt x="1045341" y="1132186"/>
                  </a:lnTo>
                  <a:lnTo>
                    <a:pt x="1049486" y="1133814"/>
                  </a:lnTo>
                  <a:lnTo>
                    <a:pt x="1051608" y="1135443"/>
                  </a:lnTo>
                  <a:lnTo>
                    <a:pt x="1053680" y="1135443"/>
                  </a:lnTo>
                  <a:lnTo>
                    <a:pt x="1055752" y="1138650"/>
                  </a:lnTo>
                  <a:lnTo>
                    <a:pt x="1053680" y="1141857"/>
                  </a:lnTo>
                  <a:lnTo>
                    <a:pt x="1047414" y="1141857"/>
                  </a:lnTo>
                  <a:lnTo>
                    <a:pt x="1041197" y="1140278"/>
                  </a:lnTo>
                  <a:lnTo>
                    <a:pt x="1034930" y="1141857"/>
                  </a:lnTo>
                  <a:lnTo>
                    <a:pt x="1030737" y="1145113"/>
                  </a:lnTo>
                  <a:lnTo>
                    <a:pt x="1022447" y="1146742"/>
                  </a:lnTo>
                  <a:lnTo>
                    <a:pt x="1016181" y="1148370"/>
                  </a:lnTo>
                  <a:lnTo>
                    <a:pt x="1012036" y="1146742"/>
                  </a:lnTo>
                  <a:lnTo>
                    <a:pt x="1007843" y="1145113"/>
                  </a:lnTo>
                  <a:lnTo>
                    <a:pt x="1001626" y="1145113"/>
                  </a:lnTo>
                  <a:lnTo>
                    <a:pt x="997432" y="1148370"/>
                  </a:lnTo>
                  <a:lnTo>
                    <a:pt x="999504" y="1151577"/>
                  </a:lnTo>
                  <a:lnTo>
                    <a:pt x="1003698" y="1149998"/>
                  </a:lnTo>
                  <a:lnTo>
                    <a:pt x="1007843" y="1151577"/>
                  </a:lnTo>
                  <a:lnTo>
                    <a:pt x="1020326" y="1151577"/>
                  </a:lnTo>
                  <a:lnTo>
                    <a:pt x="1022447" y="1153205"/>
                  </a:lnTo>
                  <a:lnTo>
                    <a:pt x="1026592" y="1158139"/>
                  </a:lnTo>
                  <a:lnTo>
                    <a:pt x="1028664" y="1153205"/>
                  </a:lnTo>
                  <a:lnTo>
                    <a:pt x="1037003" y="1146742"/>
                  </a:lnTo>
                  <a:lnTo>
                    <a:pt x="1043269" y="1146742"/>
                  </a:lnTo>
                  <a:lnTo>
                    <a:pt x="1047414" y="1145113"/>
                  </a:lnTo>
                  <a:lnTo>
                    <a:pt x="1051608" y="1146742"/>
                  </a:lnTo>
                  <a:lnTo>
                    <a:pt x="1053680" y="1148370"/>
                  </a:lnTo>
                  <a:lnTo>
                    <a:pt x="1057824" y="1146742"/>
                  </a:lnTo>
                  <a:lnTo>
                    <a:pt x="1068235" y="1146742"/>
                  </a:lnTo>
                  <a:lnTo>
                    <a:pt x="1072429" y="1145113"/>
                  </a:lnTo>
                  <a:lnTo>
                    <a:pt x="1082840" y="1138650"/>
                  </a:lnTo>
                  <a:lnTo>
                    <a:pt x="1086985" y="1135443"/>
                  </a:lnTo>
                  <a:lnTo>
                    <a:pt x="1086985" y="1141857"/>
                  </a:lnTo>
                  <a:lnTo>
                    <a:pt x="1091129" y="1138650"/>
                  </a:lnTo>
                  <a:lnTo>
                    <a:pt x="1095323" y="1138650"/>
                  </a:lnTo>
                  <a:lnTo>
                    <a:pt x="1097396" y="1140278"/>
                  </a:lnTo>
                  <a:lnTo>
                    <a:pt x="1105734" y="1146742"/>
                  </a:lnTo>
                  <a:lnTo>
                    <a:pt x="1116145" y="1148370"/>
                  </a:lnTo>
                  <a:lnTo>
                    <a:pt x="1124483" y="1151577"/>
                  </a:lnTo>
                  <a:lnTo>
                    <a:pt x="1132773" y="1153205"/>
                  </a:lnTo>
                  <a:lnTo>
                    <a:pt x="1147575" y="1153205"/>
                  </a:lnTo>
                  <a:lnTo>
                    <a:pt x="1151719" y="1154833"/>
                  </a:lnTo>
                  <a:lnTo>
                    <a:pt x="1160107" y="1156412"/>
                  </a:lnTo>
                  <a:lnTo>
                    <a:pt x="1168396" y="1153205"/>
                  </a:lnTo>
                  <a:lnTo>
                    <a:pt x="1168396" y="1154833"/>
                  </a:lnTo>
                  <a:lnTo>
                    <a:pt x="1164203" y="1159767"/>
                  </a:lnTo>
                  <a:lnTo>
                    <a:pt x="1157986" y="1162975"/>
                  </a:lnTo>
                  <a:lnTo>
                    <a:pt x="1151719" y="1164603"/>
                  </a:lnTo>
                  <a:lnTo>
                    <a:pt x="1147575" y="1164603"/>
                  </a:lnTo>
                  <a:lnTo>
                    <a:pt x="1141309" y="1167859"/>
                  </a:lnTo>
                  <a:lnTo>
                    <a:pt x="1141309" y="1169438"/>
                  </a:lnTo>
                  <a:lnTo>
                    <a:pt x="1145502" y="1172694"/>
                  </a:lnTo>
                  <a:lnTo>
                    <a:pt x="1145502" y="1174273"/>
                  </a:lnTo>
                  <a:lnTo>
                    <a:pt x="1143380" y="1175902"/>
                  </a:lnTo>
                  <a:lnTo>
                    <a:pt x="1141309" y="1175902"/>
                  </a:lnTo>
                  <a:lnTo>
                    <a:pt x="1137164" y="1172694"/>
                  </a:lnTo>
                  <a:lnTo>
                    <a:pt x="1135092" y="1172694"/>
                  </a:lnTo>
                  <a:lnTo>
                    <a:pt x="1132970" y="1175902"/>
                  </a:lnTo>
                  <a:lnTo>
                    <a:pt x="1132970" y="1177530"/>
                  </a:lnTo>
                  <a:lnTo>
                    <a:pt x="1128825" y="1175902"/>
                  </a:lnTo>
                  <a:lnTo>
                    <a:pt x="1122559" y="1175902"/>
                  </a:lnTo>
                  <a:lnTo>
                    <a:pt x="1120486" y="1177530"/>
                  </a:lnTo>
                  <a:lnTo>
                    <a:pt x="1122559" y="1180737"/>
                  </a:lnTo>
                  <a:lnTo>
                    <a:pt x="1124681" y="1182415"/>
                  </a:lnTo>
                  <a:lnTo>
                    <a:pt x="1124681" y="1185622"/>
                  </a:lnTo>
                  <a:lnTo>
                    <a:pt x="1120486" y="1188829"/>
                  </a:lnTo>
                  <a:lnTo>
                    <a:pt x="1116342" y="1188829"/>
                  </a:lnTo>
                  <a:lnTo>
                    <a:pt x="1114270" y="1187201"/>
                  </a:lnTo>
                  <a:lnTo>
                    <a:pt x="1110076" y="1185622"/>
                  </a:lnTo>
                  <a:lnTo>
                    <a:pt x="1110076" y="1193713"/>
                  </a:lnTo>
                  <a:lnTo>
                    <a:pt x="1105931" y="1193713"/>
                  </a:lnTo>
                  <a:lnTo>
                    <a:pt x="1103859" y="1195292"/>
                  </a:lnTo>
                  <a:lnTo>
                    <a:pt x="1099665" y="1198500"/>
                  </a:lnTo>
                  <a:lnTo>
                    <a:pt x="1095521" y="1196921"/>
                  </a:lnTo>
                  <a:lnTo>
                    <a:pt x="1093448" y="1193713"/>
                  </a:lnTo>
                  <a:lnTo>
                    <a:pt x="1091179" y="1193713"/>
                  </a:lnTo>
                  <a:lnTo>
                    <a:pt x="1091179" y="1201756"/>
                  </a:lnTo>
                  <a:lnTo>
                    <a:pt x="1089106" y="1208220"/>
                  </a:lnTo>
                  <a:lnTo>
                    <a:pt x="1084962" y="1204963"/>
                  </a:lnTo>
                  <a:lnTo>
                    <a:pt x="1082889" y="1201756"/>
                  </a:lnTo>
                  <a:lnTo>
                    <a:pt x="1078695" y="1203384"/>
                  </a:lnTo>
                  <a:lnTo>
                    <a:pt x="1078695" y="1206591"/>
                  </a:lnTo>
                  <a:lnTo>
                    <a:pt x="1080768" y="1208220"/>
                  </a:lnTo>
                  <a:lnTo>
                    <a:pt x="1080768" y="1213154"/>
                  </a:lnTo>
                  <a:lnTo>
                    <a:pt x="1074551" y="1216361"/>
                  </a:lnTo>
                  <a:lnTo>
                    <a:pt x="1070357" y="1216361"/>
                  </a:lnTo>
                  <a:lnTo>
                    <a:pt x="1068285" y="1213154"/>
                  </a:lnTo>
                  <a:lnTo>
                    <a:pt x="1064140" y="1211575"/>
                  </a:lnTo>
                  <a:lnTo>
                    <a:pt x="1062068" y="1211575"/>
                  </a:lnTo>
                  <a:lnTo>
                    <a:pt x="1062068" y="1214782"/>
                  </a:lnTo>
                  <a:lnTo>
                    <a:pt x="1064140" y="1218038"/>
                  </a:lnTo>
                  <a:lnTo>
                    <a:pt x="1064140" y="1221245"/>
                  </a:lnTo>
                  <a:lnTo>
                    <a:pt x="1059946" y="1222874"/>
                  </a:lnTo>
                  <a:lnTo>
                    <a:pt x="1053729" y="1224502"/>
                  </a:lnTo>
                  <a:lnTo>
                    <a:pt x="1051657" y="1227709"/>
                  </a:lnTo>
                  <a:lnTo>
                    <a:pt x="1045391" y="1227709"/>
                  </a:lnTo>
                  <a:lnTo>
                    <a:pt x="1041246" y="1230916"/>
                  </a:lnTo>
                  <a:lnTo>
                    <a:pt x="1039124" y="1235850"/>
                  </a:lnTo>
                  <a:lnTo>
                    <a:pt x="1036904" y="1235850"/>
                  </a:lnTo>
                  <a:lnTo>
                    <a:pt x="1034832" y="1230916"/>
                  </a:lnTo>
                  <a:lnTo>
                    <a:pt x="1030638" y="1230916"/>
                  </a:lnTo>
                  <a:lnTo>
                    <a:pt x="1024421" y="1234173"/>
                  </a:lnTo>
                  <a:lnTo>
                    <a:pt x="1018155" y="1234173"/>
                  </a:lnTo>
                  <a:lnTo>
                    <a:pt x="1016083" y="1235801"/>
                  </a:lnTo>
                  <a:lnTo>
                    <a:pt x="1014010" y="1240735"/>
                  </a:lnTo>
                  <a:lnTo>
                    <a:pt x="1009816" y="1240735"/>
                  </a:lnTo>
                  <a:lnTo>
                    <a:pt x="1005672" y="1239107"/>
                  </a:lnTo>
                  <a:lnTo>
                    <a:pt x="1003599" y="1237478"/>
                  </a:lnTo>
                  <a:lnTo>
                    <a:pt x="1001527" y="1237478"/>
                  </a:lnTo>
                  <a:lnTo>
                    <a:pt x="997333" y="1242412"/>
                  </a:lnTo>
                  <a:lnTo>
                    <a:pt x="995261" y="1240784"/>
                  </a:lnTo>
                  <a:lnTo>
                    <a:pt x="993189" y="1237528"/>
                  </a:lnTo>
                  <a:lnTo>
                    <a:pt x="991116" y="1237528"/>
                  </a:lnTo>
                  <a:lnTo>
                    <a:pt x="988995" y="1242462"/>
                  </a:lnTo>
                  <a:lnTo>
                    <a:pt x="984850" y="1244041"/>
                  </a:lnTo>
                  <a:lnTo>
                    <a:pt x="982630" y="1242462"/>
                  </a:lnTo>
                  <a:lnTo>
                    <a:pt x="980557" y="1240834"/>
                  </a:lnTo>
                  <a:lnTo>
                    <a:pt x="978436" y="1239205"/>
                  </a:lnTo>
                  <a:lnTo>
                    <a:pt x="978436" y="1244139"/>
                  </a:lnTo>
                  <a:lnTo>
                    <a:pt x="972219" y="1244139"/>
                  </a:lnTo>
                  <a:lnTo>
                    <a:pt x="968025" y="1245768"/>
                  </a:lnTo>
                  <a:lnTo>
                    <a:pt x="968025" y="1247396"/>
                  </a:lnTo>
                  <a:lnTo>
                    <a:pt x="965953" y="1250603"/>
                  </a:lnTo>
                  <a:lnTo>
                    <a:pt x="961808" y="1250603"/>
                  </a:lnTo>
                  <a:lnTo>
                    <a:pt x="959736" y="1248975"/>
                  </a:lnTo>
                  <a:lnTo>
                    <a:pt x="957960" y="1248975"/>
                  </a:lnTo>
                  <a:lnTo>
                    <a:pt x="957960" y="1252231"/>
                  </a:lnTo>
                  <a:lnTo>
                    <a:pt x="955887" y="1252231"/>
                  </a:lnTo>
                  <a:lnTo>
                    <a:pt x="953815" y="1250603"/>
                  </a:lnTo>
                  <a:lnTo>
                    <a:pt x="951743" y="1250603"/>
                  </a:lnTo>
                  <a:lnTo>
                    <a:pt x="949670" y="1257116"/>
                  </a:lnTo>
                  <a:lnTo>
                    <a:pt x="947549" y="1257116"/>
                  </a:lnTo>
                  <a:lnTo>
                    <a:pt x="943404" y="1260323"/>
                  </a:lnTo>
                  <a:lnTo>
                    <a:pt x="941332" y="1260323"/>
                  </a:lnTo>
                  <a:lnTo>
                    <a:pt x="939259" y="1257116"/>
                  </a:lnTo>
                  <a:lnTo>
                    <a:pt x="930921" y="1250603"/>
                  </a:lnTo>
                  <a:lnTo>
                    <a:pt x="928849" y="1248975"/>
                  </a:lnTo>
                  <a:lnTo>
                    <a:pt x="924655" y="1250603"/>
                  </a:lnTo>
                  <a:lnTo>
                    <a:pt x="924655" y="1252231"/>
                  </a:lnTo>
                  <a:lnTo>
                    <a:pt x="922582" y="1253859"/>
                  </a:lnTo>
                  <a:lnTo>
                    <a:pt x="920510" y="1257116"/>
                  </a:lnTo>
                  <a:lnTo>
                    <a:pt x="916317" y="1260323"/>
                  </a:lnTo>
                  <a:lnTo>
                    <a:pt x="912172" y="1260323"/>
                  </a:lnTo>
                  <a:lnTo>
                    <a:pt x="910100" y="1258695"/>
                  </a:lnTo>
                  <a:lnTo>
                    <a:pt x="908027" y="1261902"/>
                  </a:lnTo>
                  <a:lnTo>
                    <a:pt x="897616" y="1261902"/>
                  </a:lnTo>
                  <a:lnTo>
                    <a:pt x="893423" y="1256968"/>
                  </a:lnTo>
                  <a:lnTo>
                    <a:pt x="889278" y="1256968"/>
                  </a:lnTo>
                  <a:lnTo>
                    <a:pt x="887156" y="1260175"/>
                  </a:lnTo>
                  <a:lnTo>
                    <a:pt x="887156" y="1263382"/>
                  </a:lnTo>
                  <a:lnTo>
                    <a:pt x="883012" y="1261754"/>
                  </a:lnTo>
                  <a:lnTo>
                    <a:pt x="878867" y="1260175"/>
                  </a:lnTo>
                  <a:lnTo>
                    <a:pt x="876746" y="1255241"/>
                  </a:lnTo>
                  <a:lnTo>
                    <a:pt x="878867" y="1250307"/>
                  </a:lnTo>
                  <a:lnTo>
                    <a:pt x="874673" y="1248679"/>
                  </a:lnTo>
                  <a:lnTo>
                    <a:pt x="870529" y="1247100"/>
                  </a:lnTo>
                  <a:lnTo>
                    <a:pt x="868456" y="1240636"/>
                  </a:lnTo>
                  <a:lnTo>
                    <a:pt x="868456" y="1237528"/>
                  </a:lnTo>
                  <a:lnTo>
                    <a:pt x="864262" y="1232594"/>
                  </a:lnTo>
                  <a:lnTo>
                    <a:pt x="862190" y="1227660"/>
                  </a:lnTo>
                  <a:lnTo>
                    <a:pt x="860118" y="1226032"/>
                  </a:lnTo>
                  <a:lnTo>
                    <a:pt x="858045" y="1226032"/>
                  </a:lnTo>
                  <a:lnTo>
                    <a:pt x="855924" y="1230966"/>
                  </a:lnTo>
                  <a:lnTo>
                    <a:pt x="858045" y="1232594"/>
                  </a:lnTo>
                  <a:lnTo>
                    <a:pt x="860118" y="1237528"/>
                  </a:lnTo>
                  <a:lnTo>
                    <a:pt x="864262" y="1240784"/>
                  </a:lnTo>
                  <a:lnTo>
                    <a:pt x="866335" y="1243991"/>
                  </a:lnTo>
                  <a:lnTo>
                    <a:pt x="866335" y="1250455"/>
                  </a:lnTo>
                  <a:lnTo>
                    <a:pt x="864262" y="1255389"/>
                  </a:lnTo>
                  <a:lnTo>
                    <a:pt x="864262" y="1255389"/>
                  </a:lnTo>
                  <a:lnTo>
                    <a:pt x="868456" y="1257066"/>
                  </a:lnTo>
                  <a:lnTo>
                    <a:pt x="870529" y="1263481"/>
                  </a:lnTo>
                  <a:lnTo>
                    <a:pt x="868456" y="1269944"/>
                  </a:lnTo>
                  <a:lnTo>
                    <a:pt x="864262" y="1274878"/>
                  </a:lnTo>
                  <a:lnTo>
                    <a:pt x="860118" y="1274878"/>
                  </a:lnTo>
                  <a:lnTo>
                    <a:pt x="858045" y="1273201"/>
                  </a:lnTo>
                  <a:lnTo>
                    <a:pt x="855924" y="1273201"/>
                  </a:lnTo>
                  <a:lnTo>
                    <a:pt x="849707" y="1276457"/>
                  </a:lnTo>
                  <a:lnTo>
                    <a:pt x="845513" y="1281391"/>
                  </a:lnTo>
                  <a:lnTo>
                    <a:pt x="843441" y="1283020"/>
                  </a:lnTo>
                  <a:lnTo>
                    <a:pt x="837224" y="1283020"/>
                  </a:lnTo>
                  <a:lnTo>
                    <a:pt x="837224" y="1289483"/>
                  </a:lnTo>
                  <a:lnTo>
                    <a:pt x="833030" y="1292740"/>
                  </a:lnTo>
                  <a:lnTo>
                    <a:pt x="828885" y="1292740"/>
                  </a:lnTo>
                  <a:lnTo>
                    <a:pt x="826813" y="1295947"/>
                  </a:lnTo>
                  <a:lnTo>
                    <a:pt x="826813" y="1302361"/>
                  </a:lnTo>
                  <a:lnTo>
                    <a:pt x="822619" y="1299154"/>
                  </a:lnTo>
                  <a:lnTo>
                    <a:pt x="820547" y="1299154"/>
                  </a:lnTo>
                  <a:lnTo>
                    <a:pt x="822619" y="1302361"/>
                  </a:lnTo>
                  <a:lnTo>
                    <a:pt x="822619" y="1307295"/>
                  </a:lnTo>
                  <a:lnTo>
                    <a:pt x="818474" y="1307295"/>
                  </a:lnTo>
                  <a:lnTo>
                    <a:pt x="816402" y="1305667"/>
                  </a:lnTo>
                  <a:lnTo>
                    <a:pt x="812208" y="1305667"/>
                  </a:lnTo>
                  <a:lnTo>
                    <a:pt x="812208" y="1307295"/>
                  </a:lnTo>
                  <a:lnTo>
                    <a:pt x="814281" y="1308923"/>
                  </a:lnTo>
                  <a:lnTo>
                    <a:pt x="814281" y="1311538"/>
                  </a:lnTo>
                  <a:lnTo>
                    <a:pt x="812208" y="1314795"/>
                  </a:lnTo>
                  <a:lnTo>
                    <a:pt x="805991" y="1316374"/>
                  </a:lnTo>
                  <a:lnTo>
                    <a:pt x="797653" y="1324465"/>
                  </a:lnTo>
                  <a:lnTo>
                    <a:pt x="797653" y="1332557"/>
                  </a:lnTo>
                  <a:lnTo>
                    <a:pt x="795580" y="1335764"/>
                  </a:lnTo>
                  <a:lnTo>
                    <a:pt x="791387" y="1342228"/>
                  </a:lnTo>
                  <a:lnTo>
                    <a:pt x="787242" y="1343856"/>
                  </a:lnTo>
                  <a:lnTo>
                    <a:pt x="785170" y="1342228"/>
                  </a:lnTo>
                  <a:lnTo>
                    <a:pt x="785170" y="1337294"/>
                  </a:lnTo>
                  <a:lnTo>
                    <a:pt x="783048" y="1338922"/>
                  </a:lnTo>
                  <a:lnTo>
                    <a:pt x="780976" y="1340501"/>
                  </a:lnTo>
                  <a:lnTo>
                    <a:pt x="778903" y="1345435"/>
                  </a:lnTo>
                  <a:lnTo>
                    <a:pt x="778903" y="1348642"/>
                  </a:lnTo>
                  <a:lnTo>
                    <a:pt x="770466" y="1356931"/>
                  </a:lnTo>
                  <a:lnTo>
                    <a:pt x="766322" y="1358510"/>
                  </a:lnTo>
                  <a:lnTo>
                    <a:pt x="764249" y="1356931"/>
                  </a:lnTo>
                  <a:lnTo>
                    <a:pt x="764249" y="1353675"/>
                  </a:lnTo>
                  <a:lnTo>
                    <a:pt x="762128" y="1350468"/>
                  </a:lnTo>
                  <a:lnTo>
                    <a:pt x="757934" y="1352096"/>
                  </a:lnTo>
                  <a:lnTo>
                    <a:pt x="757934" y="1355303"/>
                  </a:lnTo>
                  <a:lnTo>
                    <a:pt x="755664" y="1355303"/>
                  </a:lnTo>
                  <a:lnTo>
                    <a:pt x="749398" y="1352096"/>
                  </a:lnTo>
                  <a:lnTo>
                    <a:pt x="747326" y="1348840"/>
                  </a:lnTo>
                  <a:lnTo>
                    <a:pt x="743132" y="1348840"/>
                  </a:lnTo>
                  <a:lnTo>
                    <a:pt x="741060" y="1350468"/>
                  </a:lnTo>
                  <a:lnTo>
                    <a:pt x="745253" y="1353675"/>
                  </a:lnTo>
                  <a:lnTo>
                    <a:pt x="747326" y="1353675"/>
                  </a:lnTo>
                  <a:lnTo>
                    <a:pt x="751470" y="1358609"/>
                  </a:lnTo>
                  <a:lnTo>
                    <a:pt x="749398" y="1363543"/>
                  </a:lnTo>
                  <a:lnTo>
                    <a:pt x="747326" y="1365122"/>
                  </a:lnTo>
                  <a:lnTo>
                    <a:pt x="743132" y="1365122"/>
                  </a:lnTo>
                  <a:lnTo>
                    <a:pt x="734843" y="1370056"/>
                  </a:lnTo>
                  <a:lnTo>
                    <a:pt x="728576" y="1374990"/>
                  </a:lnTo>
                  <a:lnTo>
                    <a:pt x="724432" y="1374990"/>
                  </a:lnTo>
                  <a:lnTo>
                    <a:pt x="720238" y="1373362"/>
                  </a:lnTo>
                  <a:lnTo>
                    <a:pt x="722310" y="1370155"/>
                  </a:lnTo>
                  <a:lnTo>
                    <a:pt x="722310" y="1368526"/>
                  </a:lnTo>
                  <a:lnTo>
                    <a:pt x="720238" y="1366948"/>
                  </a:lnTo>
                  <a:lnTo>
                    <a:pt x="718166" y="1366948"/>
                  </a:lnTo>
                  <a:lnTo>
                    <a:pt x="716093" y="1370155"/>
                  </a:lnTo>
                  <a:lnTo>
                    <a:pt x="716093" y="1375089"/>
                  </a:lnTo>
                  <a:lnTo>
                    <a:pt x="711899" y="1375089"/>
                  </a:lnTo>
                  <a:lnTo>
                    <a:pt x="705682" y="1378345"/>
                  </a:lnTo>
                  <a:lnTo>
                    <a:pt x="701489" y="1376668"/>
                  </a:lnTo>
                  <a:lnTo>
                    <a:pt x="697344" y="1371734"/>
                  </a:lnTo>
                  <a:lnTo>
                    <a:pt x="699416" y="1366800"/>
                  </a:lnTo>
                  <a:lnTo>
                    <a:pt x="701489" y="1363543"/>
                  </a:lnTo>
                  <a:lnTo>
                    <a:pt x="699416" y="1360336"/>
                  </a:lnTo>
                  <a:lnTo>
                    <a:pt x="697344" y="1360336"/>
                  </a:lnTo>
                  <a:lnTo>
                    <a:pt x="695272" y="1366800"/>
                  </a:lnTo>
                  <a:lnTo>
                    <a:pt x="693199" y="1371734"/>
                  </a:lnTo>
                  <a:lnTo>
                    <a:pt x="695272" y="1374941"/>
                  </a:lnTo>
                  <a:lnTo>
                    <a:pt x="693199" y="1378197"/>
                  </a:lnTo>
                  <a:lnTo>
                    <a:pt x="689005" y="1376520"/>
                  </a:lnTo>
                  <a:lnTo>
                    <a:pt x="682788" y="1368477"/>
                  </a:lnTo>
                  <a:lnTo>
                    <a:pt x="682788" y="1363543"/>
                  </a:lnTo>
                  <a:lnTo>
                    <a:pt x="684861" y="1358609"/>
                  </a:lnTo>
                  <a:lnTo>
                    <a:pt x="689005" y="1355402"/>
                  </a:lnTo>
                  <a:lnTo>
                    <a:pt x="693199" y="1352195"/>
                  </a:lnTo>
                  <a:lnTo>
                    <a:pt x="691078" y="1350566"/>
                  </a:lnTo>
                  <a:lnTo>
                    <a:pt x="684861" y="1348938"/>
                  </a:lnTo>
                  <a:lnTo>
                    <a:pt x="680667" y="1345731"/>
                  </a:lnTo>
                  <a:lnTo>
                    <a:pt x="680667" y="1344103"/>
                  </a:lnTo>
                  <a:lnTo>
                    <a:pt x="678595" y="1342475"/>
                  </a:lnTo>
                  <a:lnTo>
                    <a:pt x="676522" y="1344103"/>
                  </a:lnTo>
                  <a:lnTo>
                    <a:pt x="674450" y="1347310"/>
                  </a:lnTo>
                  <a:lnTo>
                    <a:pt x="674450" y="1348938"/>
                  </a:lnTo>
                  <a:lnTo>
                    <a:pt x="678595" y="1353872"/>
                  </a:lnTo>
                  <a:lnTo>
                    <a:pt x="676522" y="1357129"/>
                  </a:lnTo>
                  <a:lnTo>
                    <a:pt x="674450" y="1360385"/>
                  </a:lnTo>
                  <a:lnTo>
                    <a:pt x="672378" y="1365319"/>
                  </a:lnTo>
                  <a:lnTo>
                    <a:pt x="668184" y="1370253"/>
                  </a:lnTo>
                  <a:lnTo>
                    <a:pt x="664039" y="1370253"/>
                  </a:lnTo>
                  <a:lnTo>
                    <a:pt x="664039" y="1365319"/>
                  </a:lnTo>
                  <a:lnTo>
                    <a:pt x="661967" y="1363740"/>
                  </a:lnTo>
                  <a:lnTo>
                    <a:pt x="657773" y="1366997"/>
                  </a:lnTo>
                  <a:lnTo>
                    <a:pt x="659845" y="1370204"/>
                  </a:lnTo>
                  <a:lnTo>
                    <a:pt x="661967" y="1376618"/>
                  </a:lnTo>
                  <a:lnTo>
                    <a:pt x="666111" y="1379875"/>
                  </a:lnTo>
                  <a:lnTo>
                    <a:pt x="666111" y="1383131"/>
                  </a:lnTo>
                  <a:lnTo>
                    <a:pt x="664039" y="1384759"/>
                  </a:lnTo>
                  <a:lnTo>
                    <a:pt x="661967" y="1387966"/>
                  </a:lnTo>
                  <a:lnTo>
                    <a:pt x="657773" y="1389595"/>
                  </a:lnTo>
                  <a:lnTo>
                    <a:pt x="651556" y="1389595"/>
                  </a:lnTo>
                  <a:lnTo>
                    <a:pt x="649434" y="1387966"/>
                  </a:lnTo>
                  <a:lnTo>
                    <a:pt x="647362" y="1387966"/>
                  </a:lnTo>
                  <a:lnTo>
                    <a:pt x="643217" y="1391174"/>
                  </a:lnTo>
                  <a:lnTo>
                    <a:pt x="639024" y="1394381"/>
                  </a:lnTo>
                  <a:lnTo>
                    <a:pt x="636951" y="1391174"/>
                  </a:lnTo>
                  <a:lnTo>
                    <a:pt x="634830" y="1386240"/>
                  </a:lnTo>
                  <a:lnTo>
                    <a:pt x="632807" y="1383032"/>
                  </a:lnTo>
                  <a:lnTo>
                    <a:pt x="630735" y="1383032"/>
                  </a:lnTo>
                  <a:lnTo>
                    <a:pt x="628613" y="1386240"/>
                  </a:lnTo>
                  <a:lnTo>
                    <a:pt x="628613" y="1389496"/>
                  </a:lnTo>
                  <a:lnTo>
                    <a:pt x="626540" y="1392703"/>
                  </a:lnTo>
                  <a:lnTo>
                    <a:pt x="622396" y="1391075"/>
                  </a:lnTo>
                  <a:lnTo>
                    <a:pt x="618202" y="1386141"/>
                  </a:lnTo>
                  <a:lnTo>
                    <a:pt x="616130" y="1382934"/>
                  </a:lnTo>
                  <a:lnTo>
                    <a:pt x="614008" y="1384562"/>
                  </a:lnTo>
                  <a:lnTo>
                    <a:pt x="611985" y="1386141"/>
                  </a:lnTo>
                  <a:lnTo>
                    <a:pt x="607791" y="1387769"/>
                  </a:lnTo>
                  <a:lnTo>
                    <a:pt x="605719" y="1389397"/>
                  </a:lnTo>
                  <a:lnTo>
                    <a:pt x="605719" y="1390976"/>
                  </a:lnTo>
                  <a:lnTo>
                    <a:pt x="607791" y="1395910"/>
                  </a:lnTo>
                  <a:lnTo>
                    <a:pt x="607791" y="1402374"/>
                  </a:lnTo>
                  <a:lnTo>
                    <a:pt x="605719" y="1408788"/>
                  </a:lnTo>
                  <a:lnTo>
                    <a:pt x="597775" y="1415153"/>
                  </a:lnTo>
                  <a:lnTo>
                    <a:pt x="593581" y="1416781"/>
                  </a:lnTo>
                  <a:lnTo>
                    <a:pt x="591558" y="1413574"/>
                  </a:lnTo>
                  <a:lnTo>
                    <a:pt x="589437" y="1407110"/>
                  </a:lnTo>
                  <a:lnTo>
                    <a:pt x="585292" y="1405482"/>
                  </a:lnTo>
                  <a:lnTo>
                    <a:pt x="583171" y="1407110"/>
                  </a:lnTo>
                  <a:lnTo>
                    <a:pt x="583171" y="1410219"/>
                  </a:lnTo>
                  <a:lnTo>
                    <a:pt x="576954" y="1408591"/>
                  </a:lnTo>
                  <a:lnTo>
                    <a:pt x="574881" y="1405384"/>
                  </a:lnTo>
                  <a:lnTo>
                    <a:pt x="572760" y="1403755"/>
                  </a:lnTo>
                  <a:lnTo>
                    <a:pt x="570737" y="1405384"/>
                  </a:lnTo>
                  <a:lnTo>
                    <a:pt x="572760" y="1408591"/>
                  </a:lnTo>
                  <a:lnTo>
                    <a:pt x="572760" y="1413525"/>
                  </a:lnTo>
                  <a:lnTo>
                    <a:pt x="570737" y="1416732"/>
                  </a:lnTo>
                  <a:lnTo>
                    <a:pt x="570737" y="1420087"/>
                  </a:lnTo>
                  <a:lnTo>
                    <a:pt x="572760" y="1423294"/>
                  </a:lnTo>
                  <a:lnTo>
                    <a:pt x="576954" y="1426501"/>
                  </a:lnTo>
                  <a:lnTo>
                    <a:pt x="579026" y="1432965"/>
                  </a:lnTo>
                  <a:lnTo>
                    <a:pt x="579026" y="1445941"/>
                  </a:lnTo>
                  <a:lnTo>
                    <a:pt x="574881" y="1444264"/>
                  </a:lnTo>
                  <a:lnTo>
                    <a:pt x="570737" y="1444264"/>
                  </a:lnTo>
                  <a:lnTo>
                    <a:pt x="568615" y="1447520"/>
                  </a:lnTo>
                  <a:lnTo>
                    <a:pt x="564470" y="1447520"/>
                  </a:lnTo>
                  <a:lnTo>
                    <a:pt x="556132" y="1445941"/>
                  </a:lnTo>
                  <a:lnTo>
                    <a:pt x="549915" y="1445941"/>
                  </a:lnTo>
                  <a:lnTo>
                    <a:pt x="547793" y="1449149"/>
                  </a:lnTo>
                  <a:lnTo>
                    <a:pt x="549915" y="1450727"/>
                  </a:lnTo>
                  <a:lnTo>
                    <a:pt x="556132" y="1455661"/>
                  </a:lnTo>
                  <a:lnTo>
                    <a:pt x="562348" y="1455661"/>
                  </a:lnTo>
                  <a:lnTo>
                    <a:pt x="566543" y="1458868"/>
                  </a:lnTo>
                  <a:lnTo>
                    <a:pt x="568615" y="1460497"/>
                  </a:lnTo>
                  <a:lnTo>
                    <a:pt x="570737" y="1458868"/>
                  </a:lnTo>
                  <a:lnTo>
                    <a:pt x="574881" y="1460497"/>
                  </a:lnTo>
                  <a:lnTo>
                    <a:pt x="574881" y="1462125"/>
                  </a:lnTo>
                  <a:lnTo>
                    <a:pt x="572760" y="1467059"/>
                  </a:lnTo>
                  <a:lnTo>
                    <a:pt x="566543" y="1467059"/>
                  </a:lnTo>
                  <a:lnTo>
                    <a:pt x="566543" y="1470315"/>
                  </a:lnTo>
                  <a:lnTo>
                    <a:pt x="568615" y="1470315"/>
                  </a:lnTo>
                  <a:lnTo>
                    <a:pt x="570737" y="1473523"/>
                  </a:lnTo>
                  <a:lnTo>
                    <a:pt x="570737" y="1481614"/>
                  </a:lnTo>
                  <a:lnTo>
                    <a:pt x="568615" y="1484822"/>
                  </a:lnTo>
                  <a:lnTo>
                    <a:pt x="566543" y="1484822"/>
                  </a:lnTo>
                  <a:lnTo>
                    <a:pt x="562348" y="1483193"/>
                  </a:lnTo>
                  <a:lnTo>
                    <a:pt x="558204" y="1478259"/>
                  </a:lnTo>
                  <a:lnTo>
                    <a:pt x="554060" y="1478259"/>
                  </a:lnTo>
                  <a:lnTo>
                    <a:pt x="549915" y="1476680"/>
                  </a:lnTo>
                  <a:lnTo>
                    <a:pt x="545721" y="1473424"/>
                  </a:lnTo>
                  <a:lnTo>
                    <a:pt x="541527" y="1473424"/>
                  </a:lnTo>
                  <a:lnTo>
                    <a:pt x="541527" y="1475052"/>
                  </a:lnTo>
                  <a:lnTo>
                    <a:pt x="539504" y="1478259"/>
                  </a:lnTo>
                  <a:lnTo>
                    <a:pt x="545721" y="1478259"/>
                  </a:lnTo>
                  <a:lnTo>
                    <a:pt x="547793" y="1479887"/>
                  </a:lnTo>
                  <a:lnTo>
                    <a:pt x="556132" y="1483095"/>
                  </a:lnTo>
                  <a:lnTo>
                    <a:pt x="560326" y="1484723"/>
                  </a:lnTo>
                  <a:lnTo>
                    <a:pt x="564470" y="1486351"/>
                  </a:lnTo>
                  <a:lnTo>
                    <a:pt x="566543" y="1487979"/>
                  </a:lnTo>
                  <a:lnTo>
                    <a:pt x="564470" y="1492913"/>
                  </a:lnTo>
                  <a:lnTo>
                    <a:pt x="558204" y="1496121"/>
                  </a:lnTo>
                  <a:lnTo>
                    <a:pt x="554060" y="1494542"/>
                  </a:lnTo>
                  <a:lnTo>
                    <a:pt x="551938" y="1496121"/>
                  </a:lnTo>
                  <a:lnTo>
                    <a:pt x="547793" y="1496121"/>
                  </a:lnTo>
                  <a:lnTo>
                    <a:pt x="539504" y="1491186"/>
                  </a:lnTo>
                  <a:lnTo>
                    <a:pt x="537383" y="1487979"/>
                  </a:lnTo>
                  <a:lnTo>
                    <a:pt x="535310" y="1487979"/>
                  </a:lnTo>
                  <a:lnTo>
                    <a:pt x="533238" y="1489558"/>
                  </a:lnTo>
                  <a:lnTo>
                    <a:pt x="529093" y="1491186"/>
                  </a:lnTo>
                  <a:lnTo>
                    <a:pt x="529093" y="1496121"/>
                  </a:lnTo>
                  <a:lnTo>
                    <a:pt x="535310" y="1499377"/>
                  </a:lnTo>
                  <a:lnTo>
                    <a:pt x="541527" y="1502584"/>
                  </a:lnTo>
                  <a:lnTo>
                    <a:pt x="543649" y="1505841"/>
                  </a:lnTo>
                  <a:lnTo>
                    <a:pt x="543649" y="1508900"/>
                  </a:lnTo>
                  <a:lnTo>
                    <a:pt x="541527" y="1510479"/>
                  </a:lnTo>
                  <a:lnTo>
                    <a:pt x="537383" y="1507222"/>
                  </a:lnTo>
                  <a:lnTo>
                    <a:pt x="533238" y="1505643"/>
                  </a:lnTo>
                  <a:lnTo>
                    <a:pt x="526972" y="1502387"/>
                  </a:lnTo>
                  <a:lnTo>
                    <a:pt x="522827" y="1499180"/>
                  </a:lnTo>
                  <a:lnTo>
                    <a:pt x="520755" y="1499180"/>
                  </a:lnTo>
                  <a:lnTo>
                    <a:pt x="522827" y="1504114"/>
                  </a:lnTo>
                  <a:lnTo>
                    <a:pt x="526972" y="1507321"/>
                  </a:lnTo>
                  <a:lnTo>
                    <a:pt x="535310" y="1510577"/>
                  </a:lnTo>
                  <a:lnTo>
                    <a:pt x="535310" y="1515511"/>
                  </a:lnTo>
                  <a:lnTo>
                    <a:pt x="533238" y="1517140"/>
                  </a:lnTo>
                  <a:lnTo>
                    <a:pt x="524899" y="1517140"/>
                  </a:lnTo>
                  <a:lnTo>
                    <a:pt x="522827" y="1512206"/>
                  </a:lnTo>
                  <a:lnTo>
                    <a:pt x="520755" y="1508998"/>
                  </a:lnTo>
                  <a:lnTo>
                    <a:pt x="518682" y="1505742"/>
                  </a:lnTo>
                  <a:lnTo>
                    <a:pt x="516561" y="1505742"/>
                  </a:lnTo>
                  <a:lnTo>
                    <a:pt x="512416" y="1508998"/>
                  </a:lnTo>
                  <a:lnTo>
                    <a:pt x="512416" y="1512206"/>
                  </a:lnTo>
                  <a:lnTo>
                    <a:pt x="516561" y="1515413"/>
                  </a:lnTo>
                  <a:lnTo>
                    <a:pt x="516561" y="1520347"/>
                  </a:lnTo>
                  <a:lnTo>
                    <a:pt x="518682" y="1521975"/>
                  </a:lnTo>
                  <a:lnTo>
                    <a:pt x="528699" y="1521975"/>
                  </a:lnTo>
                  <a:lnTo>
                    <a:pt x="532843" y="1523603"/>
                  </a:lnTo>
                  <a:lnTo>
                    <a:pt x="532843" y="1528537"/>
                  </a:lnTo>
                  <a:lnTo>
                    <a:pt x="528699" y="1530165"/>
                  </a:lnTo>
                  <a:lnTo>
                    <a:pt x="526577" y="1533372"/>
                  </a:lnTo>
                  <a:lnTo>
                    <a:pt x="522432" y="1533372"/>
                  </a:lnTo>
                  <a:lnTo>
                    <a:pt x="518288" y="1531744"/>
                  </a:lnTo>
                  <a:lnTo>
                    <a:pt x="516166" y="1531744"/>
                  </a:lnTo>
                  <a:lnTo>
                    <a:pt x="507877" y="1528537"/>
                  </a:lnTo>
                  <a:lnTo>
                    <a:pt x="507877" y="1526958"/>
                  </a:lnTo>
                  <a:lnTo>
                    <a:pt x="509949" y="1525281"/>
                  </a:lnTo>
                  <a:lnTo>
                    <a:pt x="505755" y="1523702"/>
                  </a:lnTo>
                  <a:lnTo>
                    <a:pt x="504028" y="1523702"/>
                  </a:lnTo>
                  <a:lnTo>
                    <a:pt x="504028" y="1528636"/>
                  </a:lnTo>
                  <a:lnTo>
                    <a:pt x="501907" y="1531843"/>
                  </a:lnTo>
                  <a:lnTo>
                    <a:pt x="499884" y="1535099"/>
                  </a:lnTo>
                  <a:lnTo>
                    <a:pt x="493618" y="1535099"/>
                  </a:lnTo>
                  <a:lnTo>
                    <a:pt x="489473" y="1531843"/>
                  </a:lnTo>
                  <a:lnTo>
                    <a:pt x="487401" y="1530264"/>
                  </a:lnTo>
                  <a:lnTo>
                    <a:pt x="483207" y="1530264"/>
                  </a:lnTo>
                  <a:lnTo>
                    <a:pt x="483207" y="1533471"/>
                  </a:lnTo>
                  <a:lnTo>
                    <a:pt x="485279" y="1536678"/>
                  </a:lnTo>
                  <a:lnTo>
                    <a:pt x="495690" y="1539935"/>
                  </a:lnTo>
                  <a:lnTo>
                    <a:pt x="504028" y="1541563"/>
                  </a:lnTo>
                  <a:lnTo>
                    <a:pt x="508222" y="1546497"/>
                  </a:lnTo>
                  <a:lnTo>
                    <a:pt x="510295" y="1554539"/>
                  </a:lnTo>
                  <a:lnTo>
                    <a:pt x="504028" y="1554539"/>
                  </a:lnTo>
                  <a:lnTo>
                    <a:pt x="497811" y="1551332"/>
                  </a:lnTo>
                  <a:lnTo>
                    <a:pt x="491496" y="1544918"/>
                  </a:lnTo>
                  <a:lnTo>
                    <a:pt x="487401" y="1543240"/>
                  </a:lnTo>
                  <a:lnTo>
                    <a:pt x="483207" y="1543240"/>
                  </a:lnTo>
                  <a:lnTo>
                    <a:pt x="483207" y="1546497"/>
                  </a:lnTo>
                  <a:lnTo>
                    <a:pt x="485279" y="1548125"/>
                  </a:lnTo>
                  <a:lnTo>
                    <a:pt x="491496" y="1549753"/>
                  </a:lnTo>
                  <a:lnTo>
                    <a:pt x="499884" y="1556217"/>
                  </a:lnTo>
                  <a:lnTo>
                    <a:pt x="504028" y="1561151"/>
                  </a:lnTo>
                  <a:lnTo>
                    <a:pt x="504028" y="1564358"/>
                  </a:lnTo>
                  <a:lnTo>
                    <a:pt x="501907" y="1569292"/>
                  </a:lnTo>
                  <a:lnTo>
                    <a:pt x="504028" y="1570920"/>
                  </a:lnTo>
                  <a:lnTo>
                    <a:pt x="504028" y="1574177"/>
                  </a:lnTo>
                  <a:lnTo>
                    <a:pt x="499884" y="1577384"/>
                  </a:lnTo>
                  <a:lnTo>
                    <a:pt x="499884" y="1579012"/>
                  </a:lnTo>
                  <a:lnTo>
                    <a:pt x="497811" y="1583946"/>
                  </a:lnTo>
                  <a:lnTo>
                    <a:pt x="493618" y="1583946"/>
                  </a:lnTo>
                  <a:lnTo>
                    <a:pt x="489473" y="1582318"/>
                  </a:lnTo>
                  <a:lnTo>
                    <a:pt x="485279" y="1582318"/>
                  </a:lnTo>
                  <a:lnTo>
                    <a:pt x="481085" y="1579111"/>
                  </a:lnTo>
                  <a:lnTo>
                    <a:pt x="476941" y="1579111"/>
                  </a:lnTo>
                  <a:lnTo>
                    <a:pt x="479062" y="1582318"/>
                  </a:lnTo>
                  <a:lnTo>
                    <a:pt x="483207" y="1583946"/>
                  </a:lnTo>
                  <a:lnTo>
                    <a:pt x="491496" y="1585575"/>
                  </a:lnTo>
                  <a:lnTo>
                    <a:pt x="491496" y="1587203"/>
                  </a:lnTo>
                  <a:lnTo>
                    <a:pt x="487401" y="1592137"/>
                  </a:lnTo>
                  <a:lnTo>
                    <a:pt x="483207" y="1590509"/>
                  </a:lnTo>
                  <a:lnTo>
                    <a:pt x="481085" y="1588880"/>
                  </a:lnTo>
                  <a:lnTo>
                    <a:pt x="479062" y="1588880"/>
                  </a:lnTo>
                  <a:lnTo>
                    <a:pt x="476941" y="1590509"/>
                  </a:lnTo>
                  <a:lnTo>
                    <a:pt x="483207" y="1593716"/>
                  </a:lnTo>
                  <a:lnTo>
                    <a:pt x="485279" y="1595344"/>
                  </a:lnTo>
                  <a:lnTo>
                    <a:pt x="485279" y="1597712"/>
                  </a:lnTo>
                  <a:lnTo>
                    <a:pt x="481085" y="1599291"/>
                  </a:lnTo>
                  <a:lnTo>
                    <a:pt x="476941" y="1602548"/>
                  </a:lnTo>
                  <a:lnTo>
                    <a:pt x="474868" y="1599291"/>
                  </a:lnTo>
                  <a:lnTo>
                    <a:pt x="470674" y="1597712"/>
                  </a:lnTo>
                  <a:lnTo>
                    <a:pt x="466530" y="1597712"/>
                  </a:lnTo>
                  <a:lnTo>
                    <a:pt x="468651" y="1600919"/>
                  </a:lnTo>
                  <a:lnTo>
                    <a:pt x="472796" y="1602548"/>
                  </a:lnTo>
                  <a:lnTo>
                    <a:pt x="476941" y="1604176"/>
                  </a:lnTo>
                  <a:lnTo>
                    <a:pt x="476941" y="1609110"/>
                  </a:lnTo>
                  <a:lnTo>
                    <a:pt x="472796" y="1612366"/>
                  </a:lnTo>
                  <a:lnTo>
                    <a:pt x="464457" y="1610689"/>
                  </a:lnTo>
                  <a:lnTo>
                    <a:pt x="460264" y="1609110"/>
                  </a:lnTo>
                  <a:lnTo>
                    <a:pt x="456119" y="1609110"/>
                  </a:lnTo>
                  <a:lnTo>
                    <a:pt x="456119" y="1610689"/>
                  </a:lnTo>
                  <a:lnTo>
                    <a:pt x="462385" y="1612366"/>
                  </a:lnTo>
                  <a:lnTo>
                    <a:pt x="474868" y="1613945"/>
                  </a:lnTo>
                  <a:lnTo>
                    <a:pt x="481085" y="1615573"/>
                  </a:lnTo>
                  <a:lnTo>
                    <a:pt x="481085" y="1620507"/>
                  </a:lnTo>
                  <a:lnTo>
                    <a:pt x="474868" y="1623764"/>
                  </a:lnTo>
                  <a:lnTo>
                    <a:pt x="466530" y="1625343"/>
                  </a:lnTo>
                  <a:lnTo>
                    <a:pt x="458240" y="1623764"/>
                  </a:lnTo>
                  <a:lnTo>
                    <a:pt x="454047" y="1620507"/>
                  </a:lnTo>
                  <a:lnTo>
                    <a:pt x="451974" y="1622136"/>
                  </a:lnTo>
                  <a:lnTo>
                    <a:pt x="454047" y="1625343"/>
                  </a:lnTo>
                  <a:lnTo>
                    <a:pt x="462385" y="1626971"/>
                  </a:lnTo>
                  <a:lnTo>
                    <a:pt x="462385" y="1630228"/>
                  </a:lnTo>
                  <a:lnTo>
                    <a:pt x="460264" y="1630228"/>
                  </a:lnTo>
                  <a:lnTo>
                    <a:pt x="458240" y="1631806"/>
                  </a:lnTo>
                  <a:lnTo>
                    <a:pt x="464556" y="1631806"/>
                  </a:lnTo>
                  <a:lnTo>
                    <a:pt x="470773" y="1635063"/>
                  </a:lnTo>
                  <a:lnTo>
                    <a:pt x="470773" y="1636691"/>
                  </a:lnTo>
                  <a:lnTo>
                    <a:pt x="466628" y="1638270"/>
                  </a:lnTo>
                  <a:lnTo>
                    <a:pt x="458339" y="1638270"/>
                  </a:lnTo>
                  <a:lnTo>
                    <a:pt x="458339" y="1639898"/>
                  </a:lnTo>
                  <a:lnTo>
                    <a:pt x="462484" y="1641527"/>
                  </a:lnTo>
                  <a:lnTo>
                    <a:pt x="472895" y="1641527"/>
                  </a:lnTo>
                  <a:lnTo>
                    <a:pt x="470773" y="1644734"/>
                  </a:lnTo>
                  <a:lnTo>
                    <a:pt x="466628" y="1647990"/>
                  </a:lnTo>
                  <a:lnTo>
                    <a:pt x="460362" y="1649569"/>
                  </a:lnTo>
                  <a:lnTo>
                    <a:pt x="456218" y="1649569"/>
                  </a:lnTo>
                  <a:lnTo>
                    <a:pt x="452073" y="1646362"/>
                  </a:lnTo>
                  <a:lnTo>
                    <a:pt x="445807" y="1641428"/>
                  </a:lnTo>
                  <a:lnTo>
                    <a:pt x="445807" y="1639800"/>
                  </a:lnTo>
                  <a:lnTo>
                    <a:pt x="434952" y="1639800"/>
                  </a:lnTo>
                  <a:lnTo>
                    <a:pt x="432880" y="1641428"/>
                  </a:lnTo>
                  <a:lnTo>
                    <a:pt x="434952" y="1643007"/>
                  </a:lnTo>
                  <a:lnTo>
                    <a:pt x="445363" y="1647941"/>
                  </a:lnTo>
                  <a:lnTo>
                    <a:pt x="451629" y="1651148"/>
                  </a:lnTo>
                  <a:lnTo>
                    <a:pt x="451629" y="1654404"/>
                  </a:lnTo>
                  <a:lnTo>
                    <a:pt x="449507" y="1655983"/>
                  </a:lnTo>
                  <a:lnTo>
                    <a:pt x="449507" y="1657612"/>
                  </a:lnTo>
                  <a:lnTo>
                    <a:pt x="457895" y="1657612"/>
                  </a:lnTo>
                  <a:lnTo>
                    <a:pt x="459918" y="1659240"/>
                  </a:lnTo>
                  <a:lnTo>
                    <a:pt x="462040" y="1659240"/>
                  </a:lnTo>
                  <a:lnTo>
                    <a:pt x="462040" y="1662447"/>
                  </a:lnTo>
                  <a:lnTo>
                    <a:pt x="457895" y="1662447"/>
                  </a:lnTo>
                  <a:lnTo>
                    <a:pt x="453701" y="1665703"/>
                  </a:lnTo>
                  <a:lnTo>
                    <a:pt x="453701" y="1667282"/>
                  </a:lnTo>
                  <a:close/>
                  <a:moveTo>
                    <a:pt x="445560" y="1668664"/>
                  </a:moveTo>
                  <a:lnTo>
                    <a:pt x="433077" y="1663730"/>
                  </a:lnTo>
                  <a:lnTo>
                    <a:pt x="428883" y="1662101"/>
                  </a:lnTo>
                  <a:lnTo>
                    <a:pt x="428883" y="1663730"/>
                  </a:lnTo>
                  <a:lnTo>
                    <a:pt x="434952" y="1671723"/>
                  </a:lnTo>
                  <a:lnTo>
                    <a:pt x="439097" y="1671723"/>
                  </a:lnTo>
                  <a:close/>
                  <a:moveTo>
                    <a:pt x="1007793" y="1127548"/>
                  </a:moveTo>
                  <a:lnTo>
                    <a:pt x="1009866" y="1129176"/>
                  </a:lnTo>
                  <a:lnTo>
                    <a:pt x="1018204" y="1129176"/>
                  </a:lnTo>
                  <a:lnTo>
                    <a:pt x="1034881" y="1125920"/>
                  </a:lnTo>
                  <a:lnTo>
                    <a:pt x="1049683" y="1129176"/>
                  </a:lnTo>
                  <a:lnTo>
                    <a:pt x="1053877" y="1124242"/>
                  </a:lnTo>
                  <a:lnTo>
                    <a:pt x="1062216" y="1122614"/>
                  </a:lnTo>
                  <a:lnTo>
                    <a:pt x="1068433" y="1127548"/>
                  </a:lnTo>
                  <a:lnTo>
                    <a:pt x="1076771" y="1124341"/>
                  </a:lnTo>
                  <a:lnTo>
                    <a:pt x="1080916" y="1125920"/>
                  </a:lnTo>
                  <a:lnTo>
                    <a:pt x="1089254" y="1119456"/>
                  </a:lnTo>
                  <a:lnTo>
                    <a:pt x="1091327" y="1103322"/>
                  </a:lnTo>
                  <a:lnTo>
                    <a:pt x="1085110" y="1098388"/>
                  </a:lnTo>
                  <a:lnTo>
                    <a:pt x="1083037" y="1093454"/>
                  </a:lnTo>
                  <a:lnTo>
                    <a:pt x="1076377" y="1093454"/>
                  </a:lnTo>
                  <a:lnTo>
                    <a:pt x="1055555" y="1101496"/>
                  </a:lnTo>
                  <a:lnTo>
                    <a:pt x="1036805" y="1103125"/>
                  </a:lnTo>
                  <a:lnTo>
                    <a:pt x="1030539" y="1108059"/>
                  </a:lnTo>
                  <a:lnTo>
                    <a:pt x="1024322" y="1111315"/>
                  </a:lnTo>
                  <a:lnTo>
                    <a:pt x="1020128" y="1117779"/>
                  </a:lnTo>
                  <a:lnTo>
                    <a:pt x="1011840" y="1119358"/>
                  </a:lnTo>
                  <a:lnTo>
                    <a:pt x="1011840" y="1122614"/>
                  </a:lnTo>
                  <a:close/>
                  <a:moveTo>
                    <a:pt x="468503" y="1628254"/>
                  </a:moveTo>
                  <a:lnTo>
                    <a:pt x="474720" y="1631510"/>
                  </a:lnTo>
                  <a:lnTo>
                    <a:pt x="476792" y="1629932"/>
                  </a:lnTo>
                  <a:lnTo>
                    <a:pt x="476792" y="1626675"/>
                  </a:lnTo>
                  <a:lnTo>
                    <a:pt x="472648" y="1626675"/>
                  </a:lnTo>
                  <a:close/>
                  <a:moveTo>
                    <a:pt x="505953" y="1565296"/>
                  </a:moveTo>
                  <a:lnTo>
                    <a:pt x="505953" y="1568503"/>
                  </a:lnTo>
                  <a:lnTo>
                    <a:pt x="508074" y="1565296"/>
                  </a:lnTo>
                  <a:close/>
                  <a:moveTo>
                    <a:pt x="510147" y="1558832"/>
                  </a:moveTo>
                  <a:lnTo>
                    <a:pt x="508074" y="1562089"/>
                  </a:lnTo>
                  <a:lnTo>
                    <a:pt x="512219" y="1560460"/>
                  </a:lnTo>
                  <a:lnTo>
                    <a:pt x="512219" y="1557204"/>
                  </a:lnTo>
                  <a:close/>
                  <a:moveTo>
                    <a:pt x="512219" y="1547533"/>
                  </a:moveTo>
                  <a:lnTo>
                    <a:pt x="512219" y="1549161"/>
                  </a:lnTo>
                  <a:lnTo>
                    <a:pt x="514291" y="1549161"/>
                  </a:lnTo>
                  <a:lnTo>
                    <a:pt x="516364" y="1545905"/>
                  </a:lnTo>
                  <a:lnTo>
                    <a:pt x="514291" y="1547533"/>
                  </a:lnTo>
                  <a:close/>
                  <a:moveTo>
                    <a:pt x="505953" y="1534606"/>
                  </a:moveTo>
                  <a:lnTo>
                    <a:pt x="508074" y="1537862"/>
                  </a:lnTo>
                  <a:lnTo>
                    <a:pt x="512219" y="1537862"/>
                  </a:lnTo>
                  <a:lnTo>
                    <a:pt x="514291" y="1541069"/>
                  </a:lnTo>
                  <a:lnTo>
                    <a:pt x="522630" y="1539441"/>
                  </a:lnTo>
                  <a:lnTo>
                    <a:pt x="522630" y="1537862"/>
                  </a:lnTo>
                  <a:lnTo>
                    <a:pt x="518485" y="1536185"/>
                  </a:lnTo>
                  <a:lnTo>
                    <a:pt x="512219" y="1536185"/>
                  </a:lnTo>
                  <a:lnTo>
                    <a:pt x="510147" y="1532978"/>
                  </a:lnTo>
                  <a:close/>
                  <a:moveTo>
                    <a:pt x="537185" y="1531349"/>
                  </a:moveTo>
                  <a:lnTo>
                    <a:pt x="539307" y="1528142"/>
                  </a:lnTo>
                  <a:lnTo>
                    <a:pt x="539307" y="1524886"/>
                  </a:lnTo>
                  <a:lnTo>
                    <a:pt x="537185" y="1526563"/>
                  </a:lnTo>
                  <a:close/>
                  <a:moveTo>
                    <a:pt x="533041" y="1492617"/>
                  </a:moveTo>
                  <a:lnTo>
                    <a:pt x="533041" y="1494098"/>
                  </a:lnTo>
                  <a:lnTo>
                    <a:pt x="539307" y="1499032"/>
                  </a:lnTo>
                  <a:lnTo>
                    <a:pt x="545524" y="1502239"/>
                  </a:lnTo>
                  <a:lnTo>
                    <a:pt x="547596" y="1503867"/>
                  </a:lnTo>
                  <a:lnTo>
                    <a:pt x="549718" y="1502239"/>
                  </a:lnTo>
                  <a:lnTo>
                    <a:pt x="547596" y="1499032"/>
                  </a:lnTo>
                  <a:lnTo>
                    <a:pt x="539307" y="1495775"/>
                  </a:lnTo>
                  <a:lnTo>
                    <a:pt x="537185" y="1492568"/>
                  </a:lnTo>
                  <a:close/>
                  <a:moveTo>
                    <a:pt x="578829" y="1421518"/>
                  </a:moveTo>
                  <a:lnTo>
                    <a:pt x="580950" y="1426452"/>
                  </a:lnTo>
                  <a:lnTo>
                    <a:pt x="582973" y="1431386"/>
                  </a:lnTo>
                  <a:lnTo>
                    <a:pt x="582973" y="1437850"/>
                  </a:lnTo>
                  <a:lnTo>
                    <a:pt x="585095" y="1442784"/>
                  </a:lnTo>
                  <a:lnTo>
                    <a:pt x="589239" y="1444363"/>
                  </a:lnTo>
                  <a:lnTo>
                    <a:pt x="587167" y="1437948"/>
                  </a:lnTo>
                  <a:lnTo>
                    <a:pt x="589239" y="1431485"/>
                  </a:lnTo>
                  <a:lnTo>
                    <a:pt x="585095" y="1428228"/>
                  </a:lnTo>
                  <a:lnTo>
                    <a:pt x="582973" y="1421765"/>
                  </a:lnTo>
                  <a:lnTo>
                    <a:pt x="580950" y="1420186"/>
                  </a:lnTo>
                  <a:close/>
                  <a:moveTo>
                    <a:pt x="614205" y="1403755"/>
                  </a:moveTo>
                  <a:lnTo>
                    <a:pt x="614205" y="1405285"/>
                  </a:lnTo>
                  <a:lnTo>
                    <a:pt x="618400" y="1406913"/>
                  </a:lnTo>
                  <a:lnTo>
                    <a:pt x="618400" y="1405285"/>
                  </a:lnTo>
                  <a:lnTo>
                    <a:pt x="616327" y="1402078"/>
                  </a:lnTo>
                  <a:close/>
                  <a:moveTo>
                    <a:pt x="622593" y="1395713"/>
                  </a:moveTo>
                  <a:lnTo>
                    <a:pt x="624616" y="1398920"/>
                  </a:lnTo>
                  <a:lnTo>
                    <a:pt x="626738" y="1395713"/>
                  </a:lnTo>
                  <a:lnTo>
                    <a:pt x="624616" y="1394035"/>
                  </a:lnTo>
                  <a:close/>
                  <a:moveTo>
                    <a:pt x="680864" y="1390779"/>
                  </a:moveTo>
                  <a:lnTo>
                    <a:pt x="685058" y="1387572"/>
                  </a:lnTo>
                  <a:lnTo>
                    <a:pt x="691275" y="1389200"/>
                  </a:lnTo>
                  <a:lnTo>
                    <a:pt x="691275" y="1385943"/>
                  </a:lnTo>
                  <a:lnTo>
                    <a:pt x="687130" y="1379480"/>
                  </a:lnTo>
                  <a:lnTo>
                    <a:pt x="685058" y="1377901"/>
                  </a:lnTo>
                  <a:lnTo>
                    <a:pt x="682986" y="1374645"/>
                  </a:lnTo>
                  <a:lnTo>
                    <a:pt x="678792" y="1374645"/>
                  </a:lnTo>
                  <a:lnTo>
                    <a:pt x="674647" y="1377901"/>
                  </a:lnTo>
                  <a:lnTo>
                    <a:pt x="672575" y="1382835"/>
                  </a:lnTo>
                  <a:lnTo>
                    <a:pt x="672575" y="1384463"/>
                  </a:lnTo>
                  <a:lnTo>
                    <a:pt x="676720" y="1387670"/>
                  </a:lnTo>
                  <a:lnTo>
                    <a:pt x="678792" y="1390877"/>
                  </a:lnTo>
                  <a:close/>
                  <a:moveTo>
                    <a:pt x="703807" y="1389200"/>
                  </a:moveTo>
                  <a:lnTo>
                    <a:pt x="701686" y="1384266"/>
                  </a:lnTo>
                  <a:lnTo>
                    <a:pt x="703807" y="1382638"/>
                  </a:lnTo>
                  <a:lnTo>
                    <a:pt x="699614" y="1384266"/>
                  </a:lnTo>
                  <a:lnTo>
                    <a:pt x="699614" y="1387473"/>
                  </a:lnTo>
                  <a:lnTo>
                    <a:pt x="701686" y="1390680"/>
                  </a:lnTo>
                  <a:close/>
                  <a:moveTo>
                    <a:pt x="1130651" y="1184092"/>
                  </a:moveTo>
                  <a:lnTo>
                    <a:pt x="1132723" y="1184092"/>
                  </a:lnTo>
                  <a:lnTo>
                    <a:pt x="1136917" y="1182513"/>
                  </a:lnTo>
                  <a:lnTo>
                    <a:pt x="1134845" y="1179257"/>
                  </a:lnTo>
                  <a:lnTo>
                    <a:pt x="1130651" y="1180836"/>
                  </a:lnTo>
                  <a:close/>
                  <a:moveTo>
                    <a:pt x="1053631" y="1130805"/>
                  </a:moveTo>
                  <a:lnTo>
                    <a:pt x="1057775" y="1132383"/>
                  </a:lnTo>
                  <a:lnTo>
                    <a:pt x="1061969" y="1130805"/>
                  </a:lnTo>
                  <a:lnTo>
                    <a:pt x="1061969" y="1128979"/>
                  </a:lnTo>
                  <a:lnTo>
                    <a:pt x="1057775" y="1127351"/>
                  </a:lnTo>
                  <a:close/>
                  <a:moveTo>
                    <a:pt x="1022398" y="1106578"/>
                  </a:moveTo>
                  <a:lnTo>
                    <a:pt x="1024470" y="1106578"/>
                  </a:lnTo>
                  <a:lnTo>
                    <a:pt x="1028615" y="1104950"/>
                  </a:lnTo>
                  <a:lnTo>
                    <a:pt x="1030687" y="1101694"/>
                  </a:lnTo>
                  <a:lnTo>
                    <a:pt x="1026543" y="1103322"/>
                  </a:lnTo>
                  <a:close/>
                  <a:moveTo>
                    <a:pt x="1086935" y="1090395"/>
                  </a:moveTo>
                  <a:lnTo>
                    <a:pt x="1086935" y="1093651"/>
                  </a:lnTo>
                  <a:lnTo>
                    <a:pt x="1091080" y="1096858"/>
                  </a:lnTo>
                  <a:lnTo>
                    <a:pt x="1093202" y="1093651"/>
                  </a:lnTo>
                  <a:lnTo>
                    <a:pt x="1091080" y="1090395"/>
                  </a:lnTo>
                  <a:lnTo>
                    <a:pt x="1089008" y="1088816"/>
                  </a:lnTo>
                  <a:close/>
                  <a:moveTo>
                    <a:pt x="1130651" y="972471"/>
                  </a:moveTo>
                  <a:lnTo>
                    <a:pt x="1130651" y="977405"/>
                  </a:lnTo>
                  <a:lnTo>
                    <a:pt x="1132723" y="978984"/>
                  </a:lnTo>
                  <a:lnTo>
                    <a:pt x="1132723" y="983918"/>
                  </a:lnTo>
                  <a:lnTo>
                    <a:pt x="1136917" y="991961"/>
                  </a:lnTo>
                  <a:lnTo>
                    <a:pt x="1141062" y="998424"/>
                  </a:lnTo>
                  <a:lnTo>
                    <a:pt x="1149400" y="1000053"/>
                  </a:lnTo>
                  <a:lnTo>
                    <a:pt x="1157739" y="1004987"/>
                  </a:lnTo>
                  <a:lnTo>
                    <a:pt x="1163956" y="1013078"/>
                  </a:lnTo>
                  <a:lnTo>
                    <a:pt x="1170271" y="1014707"/>
                  </a:lnTo>
                  <a:lnTo>
                    <a:pt x="1174416" y="1016286"/>
                  </a:lnTo>
                  <a:lnTo>
                    <a:pt x="1176488" y="1019542"/>
                  </a:lnTo>
                  <a:lnTo>
                    <a:pt x="1182705" y="1021170"/>
                  </a:lnTo>
                  <a:lnTo>
                    <a:pt x="1184826" y="1019542"/>
                  </a:lnTo>
                  <a:lnTo>
                    <a:pt x="1184826" y="1014608"/>
                  </a:lnTo>
                  <a:lnTo>
                    <a:pt x="1188971" y="1012980"/>
                  </a:lnTo>
                  <a:lnTo>
                    <a:pt x="1182705" y="1006516"/>
                  </a:lnTo>
                  <a:lnTo>
                    <a:pt x="1176488" y="1004888"/>
                  </a:lnTo>
                  <a:lnTo>
                    <a:pt x="1172294" y="1004888"/>
                  </a:lnTo>
                  <a:lnTo>
                    <a:pt x="1168149" y="999954"/>
                  </a:lnTo>
                  <a:lnTo>
                    <a:pt x="1172294" y="998326"/>
                  </a:lnTo>
                  <a:lnTo>
                    <a:pt x="1174416" y="995119"/>
                  </a:lnTo>
                  <a:lnTo>
                    <a:pt x="1178560" y="996697"/>
                  </a:lnTo>
                  <a:lnTo>
                    <a:pt x="1182705" y="999954"/>
                  </a:lnTo>
                  <a:lnTo>
                    <a:pt x="1191093" y="1001582"/>
                  </a:lnTo>
                  <a:lnTo>
                    <a:pt x="1193116" y="1003161"/>
                  </a:lnTo>
                  <a:lnTo>
                    <a:pt x="1195237" y="1001582"/>
                  </a:lnTo>
                  <a:lnTo>
                    <a:pt x="1191093" y="995119"/>
                  </a:lnTo>
                  <a:lnTo>
                    <a:pt x="1174416" y="988655"/>
                  </a:lnTo>
                  <a:lnTo>
                    <a:pt x="1168149" y="978787"/>
                  </a:lnTo>
                  <a:lnTo>
                    <a:pt x="1166078" y="977208"/>
                  </a:lnTo>
                  <a:lnTo>
                    <a:pt x="1159861" y="977208"/>
                  </a:lnTo>
                  <a:lnTo>
                    <a:pt x="1151472" y="972274"/>
                  </a:lnTo>
                  <a:lnTo>
                    <a:pt x="1145453" y="972274"/>
                  </a:lnTo>
                  <a:lnTo>
                    <a:pt x="1141259" y="970695"/>
                  </a:lnTo>
                  <a:lnTo>
                    <a:pt x="1135042" y="970695"/>
                  </a:lnTo>
                  <a:close/>
                  <a:moveTo>
                    <a:pt x="1114023" y="975728"/>
                  </a:moveTo>
                  <a:lnTo>
                    <a:pt x="1118168" y="974100"/>
                  </a:lnTo>
                  <a:lnTo>
                    <a:pt x="1118168" y="971090"/>
                  </a:lnTo>
                  <a:lnTo>
                    <a:pt x="1120240" y="966156"/>
                  </a:lnTo>
                  <a:lnTo>
                    <a:pt x="1111901" y="971090"/>
                  </a:lnTo>
                  <a:lnTo>
                    <a:pt x="1111901" y="974297"/>
                  </a:lnTo>
                  <a:close/>
                  <a:moveTo>
                    <a:pt x="1130651" y="964429"/>
                  </a:moveTo>
                  <a:lnTo>
                    <a:pt x="1134845" y="967636"/>
                  </a:lnTo>
                  <a:lnTo>
                    <a:pt x="1145453" y="967636"/>
                  </a:lnTo>
                  <a:lnTo>
                    <a:pt x="1153742" y="970893"/>
                  </a:lnTo>
                  <a:lnTo>
                    <a:pt x="1162081" y="972471"/>
                  </a:lnTo>
                  <a:lnTo>
                    <a:pt x="1170468" y="975728"/>
                  </a:lnTo>
                  <a:lnTo>
                    <a:pt x="1176685" y="975728"/>
                  </a:lnTo>
                  <a:lnTo>
                    <a:pt x="1178758" y="977356"/>
                  </a:lnTo>
                  <a:lnTo>
                    <a:pt x="1178758" y="980563"/>
                  </a:lnTo>
                  <a:lnTo>
                    <a:pt x="1182902" y="983820"/>
                  </a:lnTo>
                  <a:lnTo>
                    <a:pt x="1189168" y="982191"/>
                  </a:lnTo>
                  <a:lnTo>
                    <a:pt x="1193313" y="983820"/>
                  </a:lnTo>
                  <a:lnTo>
                    <a:pt x="1199579" y="983820"/>
                  </a:lnTo>
                  <a:lnTo>
                    <a:pt x="1199579" y="980563"/>
                  </a:lnTo>
                  <a:lnTo>
                    <a:pt x="1197507" y="977356"/>
                  </a:lnTo>
                  <a:lnTo>
                    <a:pt x="1197507" y="972422"/>
                  </a:lnTo>
                  <a:lnTo>
                    <a:pt x="1201652" y="970843"/>
                  </a:lnTo>
                  <a:lnTo>
                    <a:pt x="1193313" y="965909"/>
                  </a:lnTo>
                  <a:lnTo>
                    <a:pt x="1187096" y="965909"/>
                  </a:lnTo>
                  <a:lnTo>
                    <a:pt x="1178758" y="960975"/>
                  </a:lnTo>
                  <a:lnTo>
                    <a:pt x="1170123" y="960975"/>
                  </a:lnTo>
                  <a:lnTo>
                    <a:pt x="1157591" y="962603"/>
                  </a:lnTo>
                  <a:lnTo>
                    <a:pt x="1149252" y="960975"/>
                  </a:lnTo>
                  <a:lnTo>
                    <a:pt x="1138842" y="962603"/>
                  </a:lnTo>
                  <a:lnTo>
                    <a:pt x="1132575" y="960975"/>
                  </a:lnTo>
                  <a:close/>
                  <a:moveTo>
                    <a:pt x="1101491" y="943410"/>
                  </a:moveTo>
                  <a:lnTo>
                    <a:pt x="1105684" y="948344"/>
                  </a:lnTo>
                  <a:lnTo>
                    <a:pt x="1116096" y="948344"/>
                  </a:lnTo>
                  <a:lnTo>
                    <a:pt x="1124434" y="956436"/>
                  </a:lnTo>
                  <a:lnTo>
                    <a:pt x="1134845" y="959692"/>
                  </a:lnTo>
                  <a:lnTo>
                    <a:pt x="1147328" y="958064"/>
                  </a:lnTo>
                  <a:lnTo>
                    <a:pt x="1168149" y="959692"/>
                  </a:lnTo>
                  <a:lnTo>
                    <a:pt x="1178560" y="958064"/>
                  </a:lnTo>
                  <a:lnTo>
                    <a:pt x="1176488" y="954808"/>
                  </a:lnTo>
                  <a:lnTo>
                    <a:pt x="1168149" y="953229"/>
                  </a:lnTo>
                  <a:lnTo>
                    <a:pt x="1151472" y="953229"/>
                  </a:lnTo>
                  <a:lnTo>
                    <a:pt x="1145453" y="951354"/>
                  </a:lnTo>
                  <a:lnTo>
                    <a:pt x="1135042" y="946420"/>
                  </a:lnTo>
                  <a:lnTo>
                    <a:pt x="1128776" y="946420"/>
                  </a:lnTo>
                  <a:lnTo>
                    <a:pt x="1124632" y="941486"/>
                  </a:lnTo>
                  <a:lnTo>
                    <a:pt x="1128776" y="939907"/>
                  </a:lnTo>
                  <a:lnTo>
                    <a:pt x="1132920" y="939907"/>
                  </a:lnTo>
                  <a:lnTo>
                    <a:pt x="1145453" y="946370"/>
                  </a:lnTo>
                  <a:lnTo>
                    <a:pt x="1157936" y="949577"/>
                  </a:lnTo>
                  <a:lnTo>
                    <a:pt x="1162081" y="947949"/>
                  </a:lnTo>
                  <a:lnTo>
                    <a:pt x="1157936" y="944742"/>
                  </a:lnTo>
                  <a:lnTo>
                    <a:pt x="1143134" y="934874"/>
                  </a:lnTo>
                  <a:lnTo>
                    <a:pt x="1120240" y="931667"/>
                  </a:lnTo>
                  <a:lnTo>
                    <a:pt x="1116096" y="933295"/>
                  </a:lnTo>
                  <a:lnTo>
                    <a:pt x="1116096" y="936502"/>
                  </a:lnTo>
                  <a:lnTo>
                    <a:pt x="1105684" y="939759"/>
                  </a:lnTo>
                  <a:close/>
                  <a:moveTo>
                    <a:pt x="1211865" y="958212"/>
                  </a:moveTo>
                  <a:lnTo>
                    <a:pt x="1216059" y="961419"/>
                  </a:lnTo>
                  <a:lnTo>
                    <a:pt x="1220204" y="958212"/>
                  </a:lnTo>
                  <a:lnTo>
                    <a:pt x="1218131" y="954956"/>
                  </a:lnTo>
                  <a:lnTo>
                    <a:pt x="1213937" y="956584"/>
                  </a:lnTo>
                  <a:close/>
                  <a:moveTo>
                    <a:pt x="1218131" y="866143"/>
                  </a:moveTo>
                  <a:lnTo>
                    <a:pt x="1211865" y="876011"/>
                  </a:lnTo>
                  <a:lnTo>
                    <a:pt x="1213937" y="880945"/>
                  </a:lnTo>
                  <a:lnTo>
                    <a:pt x="1218131" y="884201"/>
                  </a:lnTo>
                  <a:lnTo>
                    <a:pt x="1222276" y="885830"/>
                  </a:lnTo>
                  <a:lnTo>
                    <a:pt x="1230614" y="890764"/>
                  </a:lnTo>
                  <a:lnTo>
                    <a:pt x="1234759" y="890764"/>
                  </a:lnTo>
                  <a:lnTo>
                    <a:pt x="1243098" y="892392"/>
                  </a:lnTo>
                  <a:lnTo>
                    <a:pt x="1249364" y="889136"/>
                  </a:lnTo>
                  <a:lnTo>
                    <a:pt x="1249364" y="882277"/>
                  </a:lnTo>
                  <a:lnTo>
                    <a:pt x="1253508" y="879070"/>
                  </a:lnTo>
                  <a:lnTo>
                    <a:pt x="1253508" y="870978"/>
                  </a:lnTo>
                  <a:lnTo>
                    <a:pt x="1238706" y="862886"/>
                  </a:lnTo>
                  <a:lnTo>
                    <a:pt x="1228296" y="864515"/>
                  </a:lnTo>
                  <a:close/>
                  <a:moveTo>
                    <a:pt x="1286813" y="861209"/>
                  </a:moveTo>
                  <a:lnTo>
                    <a:pt x="1291007" y="861209"/>
                  </a:lnTo>
                  <a:lnTo>
                    <a:pt x="1295151" y="856275"/>
                  </a:lnTo>
                  <a:lnTo>
                    <a:pt x="1295151" y="853068"/>
                  </a:lnTo>
                  <a:lnTo>
                    <a:pt x="1291007" y="853068"/>
                  </a:lnTo>
                  <a:lnTo>
                    <a:pt x="1286813" y="856275"/>
                  </a:lnTo>
                  <a:close/>
                  <a:moveTo>
                    <a:pt x="1255580" y="827263"/>
                  </a:moveTo>
                  <a:lnTo>
                    <a:pt x="1253508" y="830519"/>
                  </a:lnTo>
                  <a:lnTo>
                    <a:pt x="1253508" y="838562"/>
                  </a:lnTo>
                  <a:lnTo>
                    <a:pt x="1255580" y="843496"/>
                  </a:lnTo>
                  <a:lnTo>
                    <a:pt x="1261847" y="846752"/>
                  </a:lnTo>
                  <a:lnTo>
                    <a:pt x="1265992" y="845124"/>
                  </a:lnTo>
                  <a:lnTo>
                    <a:pt x="1265992" y="840190"/>
                  </a:lnTo>
                  <a:lnTo>
                    <a:pt x="1268113" y="836933"/>
                  </a:lnTo>
                  <a:lnTo>
                    <a:pt x="1268113" y="830519"/>
                  </a:lnTo>
                  <a:lnTo>
                    <a:pt x="1261847" y="827263"/>
                  </a:lnTo>
                  <a:close/>
                  <a:moveTo>
                    <a:pt x="1301418" y="803037"/>
                  </a:moveTo>
                  <a:lnTo>
                    <a:pt x="1301418" y="815964"/>
                  </a:lnTo>
                  <a:lnTo>
                    <a:pt x="1297224" y="822427"/>
                  </a:lnTo>
                  <a:lnTo>
                    <a:pt x="1299345" y="827361"/>
                  </a:lnTo>
                  <a:lnTo>
                    <a:pt x="1305562" y="832295"/>
                  </a:lnTo>
                  <a:lnTo>
                    <a:pt x="1313950" y="830717"/>
                  </a:lnTo>
                  <a:lnTo>
                    <a:pt x="1322239" y="830717"/>
                  </a:lnTo>
                  <a:lnTo>
                    <a:pt x="1324361" y="829088"/>
                  </a:lnTo>
                  <a:lnTo>
                    <a:pt x="1326384" y="834022"/>
                  </a:lnTo>
                  <a:lnTo>
                    <a:pt x="1330578" y="835651"/>
                  </a:lnTo>
                  <a:lnTo>
                    <a:pt x="1334772" y="829187"/>
                  </a:lnTo>
                  <a:lnTo>
                    <a:pt x="1336795" y="827559"/>
                  </a:lnTo>
                  <a:lnTo>
                    <a:pt x="1336795" y="817691"/>
                  </a:lnTo>
                  <a:lnTo>
                    <a:pt x="1332650" y="816062"/>
                  </a:lnTo>
                  <a:lnTo>
                    <a:pt x="1330578" y="819270"/>
                  </a:lnTo>
                  <a:lnTo>
                    <a:pt x="1330578" y="824204"/>
                  </a:lnTo>
                  <a:lnTo>
                    <a:pt x="1326384" y="820947"/>
                  </a:lnTo>
                  <a:lnTo>
                    <a:pt x="1322239" y="816013"/>
                  </a:lnTo>
                  <a:lnTo>
                    <a:pt x="1322239" y="811079"/>
                  </a:lnTo>
                  <a:lnTo>
                    <a:pt x="1318095" y="806145"/>
                  </a:lnTo>
                  <a:lnTo>
                    <a:pt x="1322239" y="802938"/>
                  </a:lnTo>
                  <a:lnTo>
                    <a:pt x="1324361" y="802938"/>
                  </a:lnTo>
                  <a:lnTo>
                    <a:pt x="1324361" y="798004"/>
                  </a:lnTo>
                  <a:lnTo>
                    <a:pt x="1320167" y="796376"/>
                  </a:lnTo>
                  <a:lnTo>
                    <a:pt x="1313950" y="801310"/>
                  </a:lnTo>
                  <a:lnTo>
                    <a:pt x="1309757" y="799731"/>
                  </a:lnTo>
                  <a:lnTo>
                    <a:pt x="1305562" y="801310"/>
                  </a:lnTo>
                  <a:close/>
                  <a:moveTo>
                    <a:pt x="1309757" y="704356"/>
                  </a:moveTo>
                  <a:lnTo>
                    <a:pt x="1303540" y="707612"/>
                  </a:lnTo>
                  <a:lnTo>
                    <a:pt x="1305562" y="710820"/>
                  </a:lnTo>
                  <a:lnTo>
                    <a:pt x="1309757" y="714027"/>
                  </a:lnTo>
                  <a:lnTo>
                    <a:pt x="1309757" y="717283"/>
                  </a:lnTo>
                  <a:lnTo>
                    <a:pt x="1307635" y="720490"/>
                  </a:lnTo>
                  <a:lnTo>
                    <a:pt x="1305562" y="728582"/>
                  </a:lnTo>
                  <a:lnTo>
                    <a:pt x="1311828" y="735046"/>
                  </a:lnTo>
                  <a:lnTo>
                    <a:pt x="1311828" y="744914"/>
                  </a:lnTo>
                  <a:lnTo>
                    <a:pt x="1309757" y="751377"/>
                  </a:lnTo>
                  <a:lnTo>
                    <a:pt x="1309757" y="757841"/>
                  </a:lnTo>
                  <a:lnTo>
                    <a:pt x="1311828" y="761097"/>
                  </a:lnTo>
                  <a:lnTo>
                    <a:pt x="1313950" y="757841"/>
                  </a:lnTo>
                  <a:lnTo>
                    <a:pt x="1315974" y="749798"/>
                  </a:lnTo>
                  <a:lnTo>
                    <a:pt x="1318095" y="746542"/>
                  </a:lnTo>
                  <a:lnTo>
                    <a:pt x="1318095" y="738450"/>
                  </a:lnTo>
                  <a:lnTo>
                    <a:pt x="1313950" y="730408"/>
                  </a:lnTo>
                  <a:lnTo>
                    <a:pt x="1311828" y="719109"/>
                  </a:lnTo>
                  <a:lnTo>
                    <a:pt x="1313950" y="712645"/>
                  </a:lnTo>
                  <a:lnTo>
                    <a:pt x="1313950" y="707711"/>
                  </a:lnTo>
                  <a:close/>
                  <a:moveTo>
                    <a:pt x="1255482" y="718911"/>
                  </a:moveTo>
                  <a:lnTo>
                    <a:pt x="1253410" y="723845"/>
                  </a:lnTo>
                  <a:lnTo>
                    <a:pt x="1255482" y="725474"/>
                  </a:lnTo>
                  <a:lnTo>
                    <a:pt x="1263870" y="725474"/>
                  </a:lnTo>
                  <a:lnTo>
                    <a:pt x="1268064" y="722217"/>
                  </a:lnTo>
                  <a:lnTo>
                    <a:pt x="1263870" y="719010"/>
                  </a:lnTo>
                  <a:lnTo>
                    <a:pt x="1257653" y="717382"/>
                  </a:lnTo>
                  <a:close/>
                  <a:moveTo>
                    <a:pt x="1247193" y="709043"/>
                  </a:moveTo>
                  <a:lnTo>
                    <a:pt x="1249265" y="713977"/>
                  </a:lnTo>
                  <a:lnTo>
                    <a:pt x="1253410" y="712398"/>
                  </a:lnTo>
                  <a:lnTo>
                    <a:pt x="1251337" y="707464"/>
                  </a:lnTo>
                  <a:lnTo>
                    <a:pt x="1249265" y="707464"/>
                  </a:lnTo>
                  <a:close/>
                  <a:moveTo>
                    <a:pt x="1293030" y="607303"/>
                  </a:moveTo>
                  <a:lnTo>
                    <a:pt x="1299247" y="613767"/>
                  </a:lnTo>
                  <a:lnTo>
                    <a:pt x="1303441" y="616974"/>
                  </a:lnTo>
                  <a:lnTo>
                    <a:pt x="1307536" y="618602"/>
                  </a:lnTo>
                  <a:lnTo>
                    <a:pt x="1307536" y="613668"/>
                  </a:lnTo>
                  <a:lnTo>
                    <a:pt x="1303441" y="612040"/>
                  </a:lnTo>
                  <a:lnTo>
                    <a:pt x="1297125" y="605577"/>
                  </a:lnTo>
                  <a:lnTo>
                    <a:pt x="1295053" y="605577"/>
                  </a:lnTo>
                  <a:close/>
                  <a:moveTo>
                    <a:pt x="1338818" y="631530"/>
                  </a:moveTo>
                  <a:lnTo>
                    <a:pt x="1340890" y="634737"/>
                  </a:lnTo>
                  <a:lnTo>
                    <a:pt x="1345084" y="634737"/>
                  </a:lnTo>
                  <a:lnTo>
                    <a:pt x="1349229" y="631530"/>
                  </a:lnTo>
                  <a:lnTo>
                    <a:pt x="1347107" y="628273"/>
                  </a:lnTo>
                  <a:lnTo>
                    <a:pt x="1347107" y="621810"/>
                  </a:lnTo>
                  <a:lnTo>
                    <a:pt x="1351301" y="618602"/>
                  </a:lnTo>
                  <a:lnTo>
                    <a:pt x="1351301" y="612139"/>
                  </a:lnTo>
                  <a:lnTo>
                    <a:pt x="1342963" y="620231"/>
                  </a:lnTo>
                  <a:lnTo>
                    <a:pt x="1342963" y="625165"/>
                  </a:lnTo>
                  <a:close/>
                  <a:moveTo>
                    <a:pt x="1318144" y="596103"/>
                  </a:moveTo>
                  <a:lnTo>
                    <a:pt x="1320217" y="597682"/>
                  </a:lnTo>
                  <a:lnTo>
                    <a:pt x="1324411" y="596103"/>
                  </a:lnTo>
                  <a:lnTo>
                    <a:pt x="1326434" y="589640"/>
                  </a:lnTo>
                  <a:lnTo>
                    <a:pt x="1324411" y="584706"/>
                  </a:lnTo>
                  <a:lnTo>
                    <a:pt x="1322289" y="587962"/>
                  </a:lnTo>
                  <a:close/>
                  <a:moveTo>
                    <a:pt x="1322289" y="573456"/>
                  </a:moveTo>
                  <a:lnTo>
                    <a:pt x="1322289" y="575084"/>
                  </a:lnTo>
                  <a:lnTo>
                    <a:pt x="1324411" y="578341"/>
                  </a:lnTo>
                  <a:lnTo>
                    <a:pt x="1326434" y="576712"/>
                  </a:lnTo>
                  <a:lnTo>
                    <a:pt x="1326434" y="573456"/>
                  </a:lnTo>
                  <a:close/>
                  <a:moveTo>
                    <a:pt x="1353521" y="507241"/>
                  </a:moveTo>
                  <a:lnTo>
                    <a:pt x="1357666" y="512175"/>
                  </a:lnTo>
                  <a:lnTo>
                    <a:pt x="1357666" y="515432"/>
                  </a:lnTo>
                  <a:lnTo>
                    <a:pt x="1363932" y="510498"/>
                  </a:lnTo>
                  <a:lnTo>
                    <a:pt x="1368077" y="504034"/>
                  </a:lnTo>
                  <a:lnTo>
                    <a:pt x="1366053" y="497571"/>
                  </a:lnTo>
                  <a:lnTo>
                    <a:pt x="1368077" y="492636"/>
                  </a:lnTo>
                  <a:lnTo>
                    <a:pt x="1366053" y="491058"/>
                  </a:lnTo>
                  <a:lnTo>
                    <a:pt x="1361860" y="492636"/>
                  </a:lnTo>
                  <a:lnTo>
                    <a:pt x="1359787" y="497571"/>
                  </a:lnTo>
                  <a:close/>
                  <a:moveTo>
                    <a:pt x="1332699" y="416800"/>
                  </a:moveTo>
                  <a:lnTo>
                    <a:pt x="1336844" y="416800"/>
                  </a:lnTo>
                  <a:lnTo>
                    <a:pt x="1338966" y="413544"/>
                  </a:lnTo>
                  <a:lnTo>
                    <a:pt x="1347255" y="415172"/>
                  </a:lnTo>
                  <a:lnTo>
                    <a:pt x="1351449" y="410238"/>
                  </a:lnTo>
                  <a:lnTo>
                    <a:pt x="1353521" y="402146"/>
                  </a:lnTo>
                  <a:lnTo>
                    <a:pt x="1347255" y="398939"/>
                  </a:lnTo>
                  <a:lnTo>
                    <a:pt x="1336844" y="402146"/>
                  </a:lnTo>
                  <a:lnTo>
                    <a:pt x="1332699" y="410238"/>
                  </a:lnTo>
                  <a:close/>
                  <a:moveTo>
                    <a:pt x="1407697" y="245589"/>
                  </a:moveTo>
                  <a:lnTo>
                    <a:pt x="1409720" y="242333"/>
                  </a:lnTo>
                  <a:lnTo>
                    <a:pt x="1411891" y="235919"/>
                  </a:lnTo>
                  <a:lnTo>
                    <a:pt x="1409769" y="226051"/>
                  </a:lnTo>
                  <a:lnTo>
                    <a:pt x="1411891" y="222794"/>
                  </a:lnTo>
                  <a:lnTo>
                    <a:pt x="1409769" y="216331"/>
                  </a:lnTo>
                  <a:lnTo>
                    <a:pt x="1405625" y="219587"/>
                  </a:lnTo>
                  <a:lnTo>
                    <a:pt x="1403553" y="222794"/>
                  </a:lnTo>
                  <a:lnTo>
                    <a:pt x="1405625" y="226051"/>
                  </a:lnTo>
                  <a:lnTo>
                    <a:pt x="1405625" y="230985"/>
                  </a:lnTo>
                  <a:lnTo>
                    <a:pt x="1403553" y="235919"/>
                  </a:lnTo>
                  <a:close/>
                  <a:moveTo>
                    <a:pt x="1386876" y="264980"/>
                  </a:moveTo>
                  <a:cubicBezTo>
                    <a:pt x="1384754" y="264980"/>
                    <a:pt x="1388898" y="266559"/>
                    <a:pt x="1388898" y="266559"/>
                  </a:cubicBezTo>
                  <a:lnTo>
                    <a:pt x="1391020" y="261625"/>
                  </a:lnTo>
                  <a:lnTo>
                    <a:pt x="1391020" y="251757"/>
                  </a:lnTo>
                  <a:lnTo>
                    <a:pt x="1388898" y="248500"/>
                  </a:lnTo>
                  <a:lnTo>
                    <a:pt x="1384754" y="251757"/>
                  </a:lnTo>
                  <a:lnTo>
                    <a:pt x="1382681" y="258220"/>
                  </a:lnTo>
                  <a:close/>
                  <a:moveTo>
                    <a:pt x="1372073" y="247168"/>
                  </a:moveTo>
                  <a:lnTo>
                    <a:pt x="1376267" y="250425"/>
                  </a:lnTo>
                  <a:lnTo>
                    <a:pt x="1380412" y="245491"/>
                  </a:lnTo>
                  <a:lnTo>
                    <a:pt x="1382484" y="239027"/>
                  </a:lnTo>
                  <a:lnTo>
                    <a:pt x="1384556" y="235771"/>
                  </a:lnTo>
                  <a:lnTo>
                    <a:pt x="1384556" y="230985"/>
                  </a:lnTo>
                  <a:lnTo>
                    <a:pt x="1380412" y="227777"/>
                  </a:lnTo>
                  <a:lnTo>
                    <a:pt x="1376267" y="229356"/>
                  </a:lnTo>
                  <a:lnTo>
                    <a:pt x="1372419" y="235919"/>
                  </a:lnTo>
                  <a:lnTo>
                    <a:pt x="1374491" y="240853"/>
                  </a:lnTo>
                  <a:close/>
                  <a:moveTo>
                    <a:pt x="995162" y="19413"/>
                  </a:moveTo>
                  <a:lnTo>
                    <a:pt x="997234" y="21041"/>
                  </a:lnTo>
                  <a:lnTo>
                    <a:pt x="999307" y="17834"/>
                  </a:lnTo>
                  <a:lnTo>
                    <a:pt x="999307" y="12900"/>
                  </a:lnTo>
                  <a:lnTo>
                    <a:pt x="997234" y="9644"/>
                  </a:lnTo>
                  <a:lnTo>
                    <a:pt x="993090" y="9644"/>
                  </a:lnTo>
                  <a:lnTo>
                    <a:pt x="991017" y="14578"/>
                  </a:lnTo>
                  <a:close/>
                  <a:moveTo>
                    <a:pt x="995162" y="30761"/>
                  </a:moveTo>
                  <a:lnTo>
                    <a:pt x="997234" y="32340"/>
                  </a:lnTo>
                  <a:lnTo>
                    <a:pt x="1001429" y="32340"/>
                  </a:lnTo>
                  <a:lnTo>
                    <a:pt x="1005573" y="29133"/>
                  </a:lnTo>
                  <a:lnTo>
                    <a:pt x="1005573" y="22719"/>
                  </a:lnTo>
                  <a:lnTo>
                    <a:pt x="1001429" y="24347"/>
                  </a:lnTo>
                  <a:lnTo>
                    <a:pt x="995162" y="25926"/>
                  </a:lnTo>
                  <a:close/>
                  <a:moveTo>
                    <a:pt x="966002" y="30761"/>
                  </a:moveTo>
                  <a:lnTo>
                    <a:pt x="970196" y="38804"/>
                  </a:lnTo>
                  <a:lnTo>
                    <a:pt x="972268" y="42060"/>
                  </a:lnTo>
                  <a:lnTo>
                    <a:pt x="976413" y="42060"/>
                  </a:lnTo>
                  <a:lnTo>
                    <a:pt x="980607" y="37126"/>
                  </a:lnTo>
                  <a:lnTo>
                    <a:pt x="982679" y="35498"/>
                  </a:lnTo>
                  <a:lnTo>
                    <a:pt x="974340" y="27406"/>
                  </a:lnTo>
                  <a:lnTo>
                    <a:pt x="972268" y="24199"/>
                  </a:lnTo>
                  <a:lnTo>
                    <a:pt x="970196" y="19265"/>
                  </a:lnTo>
                  <a:lnTo>
                    <a:pt x="966002" y="22522"/>
                  </a:lnTo>
                  <a:lnTo>
                    <a:pt x="966002" y="27456"/>
                  </a:lnTo>
                  <a:lnTo>
                    <a:pt x="963930" y="27456"/>
                  </a:lnTo>
                  <a:close/>
                  <a:moveTo>
                    <a:pt x="947253" y="37225"/>
                  </a:moveTo>
                  <a:lnTo>
                    <a:pt x="947253" y="42159"/>
                  </a:lnTo>
                  <a:lnTo>
                    <a:pt x="949374" y="43787"/>
                  </a:lnTo>
                  <a:lnTo>
                    <a:pt x="953519" y="42159"/>
                  </a:lnTo>
                  <a:lnTo>
                    <a:pt x="953519" y="38903"/>
                  </a:lnTo>
                  <a:lnTo>
                    <a:pt x="947253" y="35696"/>
                  </a:lnTo>
                  <a:close/>
                  <a:moveTo>
                    <a:pt x="839000" y="61451"/>
                  </a:moveTo>
                  <a:lnTo>
                    <a:pt x="841073" y="67915"/>
                  </a:lnTo>
                  <a:lnTo>
                    <a:pt x="847338" y="69494"/>
                  </a:lnTo>
                  <a:lnTo>
                    <a:pt x="855628" y="77585"/>
                  </a:lnTo>
                  <a:lnTo>
                    <a:pt x="861894" y="79214"/>
                  </a:lnTo>
                  <a:lnTo>
                    <a:pt x="863966" y="72750"/>
                  </a:lnTo>
                  <a:lnTo>
                    <a:pt x="863966" y="66336"/>
                  </a:lnTo>
                  <a:lnTo>
                    <a:pt x="866039" y="64708"/>
                  </a:lnTo>
                  <a:lnTo>
                    <a:pt x="866039" y="59774"/>
                  </a:lnTo>
                  <a:lnTo>
                    <a:pt x="859822" y="59774"/>
                  </a:lnTo>
                  <a:lnTo>
                    <a:pt x="853555" y="51682"/>
                  </a:lnTo>
                  <a:lnTo>
                    <a:pt x="849411" y="50054"/>
                  </a:lnTo>
                  <a:lnTo>
                    <a:pt x="847338" y="53310"/>
                  </a:lnTo>
                  <a:lnTo>
                    <a:pt x="847338" y="59774"/>
                  </a:lnTo>
                  <a:lnTo>
                    <a:pt x="849411" y="61402"/>
                  </a:lnTo>
                  <a:lnTo>
                    <a:pt x="847338" y="64609"/>
                  </a:lnTo>
                  <a:lnTo>
                    <a:pt x="843145" y="61402"/>
                  </a:lnTo>
                  <a:close/>
                  <a:moveTo>
                    <a:pt x="830661" y="66385"/>
                  </a:moveTo>
                  <a:lnTo>
                    <a:pt x="836928" y="76253"/>
                  </a:lnTo>
                  <a:lnTo>
                    <a:pt x="839000" y="77882"/>
                  </a:lnTo>
                  <a:lnTo>
                    <a:pt x="839000" y="69543"/>
                  </a:lnTo>
                  <a:lnTo>
                    <a:pt x="834806" y="66336"/>
                  </a:lnTo>
                  <a:close/>
                  <a:moveTo>
                    <a:pt x="797357" y="66385"/>
                  </a:moveTo>
                  <a:lnTo>
                    <a:pt x="797357" y="69592"/>
                  </a:lnTo>
                  <a:lnTo>
                    <a:pt x="805695" y="71221"/>
                  </a:lnTo>
                  <a:lnTo>
                    <a:pt x="809840" y="74477"/>
                  </a:lnTo>
                  <a:lnTo>
                    <a:pt x="813984" y="74477"/>
                  </a:lnTo>
                  <a:lnTo>
                    <a:pt x="813984" y="71221"/>
                  </a:lnTo>
                  <a:lnTo>
                    <a:pt x="809939" y="68161"/>
                  </a:lnTo>
                  <a:lnTo>
                    <a:pt x="807866" y="66533"/>
                  </a:lnTo>
                  <a:lnTo>
                    <a:pt x="805794" y="61599"/>
                  </a:lnTo>
                  <a:lnTo>
                    <a:pt x="801600" y="59971"/>
                  </a:lnTo>
                  <a:lnTo>
                    <a:pt x="797455" y="63178"/>
                  </a:lnTo>
                  <a:close/>
                  <a:moveTo>
                    <a:pt x="774463" y="122929"/>
                  </a:moveTo>
                  <a:lnTo>
                    <a:pt x="778608" y="124508"/>
                  </a:lnTo>
                  <a:lnTo>
                    <a:pt x="782752" y="122929"/>
                  </a:lnTo>
                  <a:lnTo>
                    <a:pt x="784874" y="119673"/>
                  </a:lnTo>
                  <a:lnTo>
                    <a:pt x="780679" y="113209"/>
                  </a:lnTo>
                  <a:lnTo>
                    <a:pt x="778608" y="106746"/>
                  </a:lnTo>
                  <a:lnTo>
                    <a:pt x="772341" y="101812"/>
                  </a:lnTo>
                  <a:lnTo>
                    <a:pt x="768147" y="101812"/>
                  </a:lnTo>
                  <a:lnTo>
                    <a:pt x="768147" y="108275"/>
                  </a:lnTo>
                  <a:lnTo>
                    <a:pt x="772341" y="113209"/>
                  </a:lnTo>
                  <a:lnTo>
                    <a:pt x="772341" y="119673"/>
                  </a:lnTo>
                  <a:close/>
                  <a:moveTo>
                    <a:pt x="785268" y="182631"/>
                  </a:moveTo>
                  <a:lnTo>
                    <a:pt x="795679" y="182631"/>
                  </a:lnTo>
                  <a:lnTo>
                    <a:pt x="797752" y="179375"/>
                  </a:lnTo>
                  <a:lnTo>
                    <a:pt x="795679" y="172960"/>
                  </a:lnTo>
                  <a:lnTo>
                    <a:pt x="791485" y="171332"/>
                  </a:lnTo>
                  <a:lnTo>
                    <a:pt x="791485" y="166398"/>
                  </a:lnTo>
                  <a:lnTo>
                    <a:pt x="787341" y="164770"/>
                  </a:lnTo>
                  <a:lnTo>
                    <a:pt x="781075" y="164770"/>
                  </a:lnTo>
                  <a:lnTo>
                    <a:pt x="779002" y="171233"/>
                  </a:lnTo>
                  <a:lnTo>
                    <a:pt x="779002" y="176167"/>
                  </a:lnTo>
                  <a:lnTo>
                    <a:pt x="783147" y="181102"/>
                  </a:lnTo>
                  <a:close/>
                  <a:moveTo>
                    <a:pt x="785268" y="189095"/>
                  </a:moveTo>
                  <a:lnTo>
                    <a:pt x="785268" y="205229"/>
                  </a:lnTo>
                  <a:lnTo>
                    <a:pt x="795679" y="211693"/>
                  </a:lnTo>
                  <a:lnTo>
                    <a:pt x="799824" y="208485"/>
                  </a:lnTo>
                  <a:lnTo>
                    <a:pt x="799824" y="195558"/>
                  </a:lnTo>
                  <a:lnTo>
                    <a:pt x="793558" y="189095"/>
                  </a:lnTo>
                  <a:lnTo>
                    <a:pt x="785268" y="189095"/>
                  </a:lnTo>
                  <a:close/>
                  <a:moveTo>
                    <a:pt x="685305" y="130922"/>
                  </a:moveTo>
                  <a:lnTo>
                    <a:pt x="687377" y="127715"/>
                  </a:lnTo>
                  <a:lnTo>
                    <a:pt x="685305" y="126087"/>
                  </a:lnTo>
                  <a:lnTo>
                    <a:pt x="685305" y="121153"/>
                  </a:lnTo>
                  <a:lnTo>
                    <a:pt x="683232" y="119525"/>
                  </a:lnTo>
                  <a:lnTo>
                    <a:pt x="681111" y="121153"/>
                  </a:lnTo>
                  <a:lnTo>
                    <a:pt x="679039" y="126087"/>
                  </a:lnTo>
                  <a:close/>
                  <a:moveTo>
                    <a:pt x="670503" y="169704"/>
                  </a:moveTo>
                  <a:lnTo>
                    <a:pt x="672625" y="171332"/>
                  </a:lnTo>
                  <a:lnTo>
                    <a:pt x="676769" y="164869"/>
                  </a:lnTo>
                  <a:lnTo>
                    <a:pt x="674697" y="156777"/>
                  </a:lnTo>
                  <a:lnTo>
                    <a:pt x="666358" y="150313"/>
                  </a:lnTo>
                  <a:lnTo>
                    <a:pt x="666358" y="139014"/>
                  </a:lnTo>
                  <a:lnTo>
                    <a:pt x="670503" y="130922"/>
                  </a:lnTo>
                  <a:lnTo>
                    <a:pt x="670503" y="121054"/>
                  </a:lnTo>
                  <a:lnTo>
                    <a:pt x="666358" y="114591"/>
                  </a:lnTo>
                  <a:lnTo>
                    <a:pt x="666358" y="104723"/>
                  </a:lnTo>
                  <a:lnTo>
                    <a:pt x="664286" y="101466"/>
                  </a:lnTo>
                  <a:lnTo>
                    <a:pt x="658019" y="107930"/>
                  </a:lnTo>
                  <a:lnTo>
                    <a:pt x="658019" y="122732"/>
                  </a:lnTo>
                  <a:lnTo>
                    <a:pt x="653875" y="129195"/>
                  </a:lnTo>
                  <a:lnTo>
                    <a:pt x="653875" y="137238"/>
                  </a:lnTo>
                  <a:lnTo>
                    <a:pt x="662214" y="150165"/>
                  </a:lnTo>
                  <a:lnTo>
                    <a:pt x="664286" y="160033"/>
                  </a:lnTo>
                  <a:close/>
                  <a:moveTo>
                    <a:pt x="281059" y="219784"/>
                  </a:moveTo>
                  <a:lnTo>
                    <a:pt x="283181" y="222991"/>
                  </a:lnTo>
                  <a:lnTo>
                    <a:pt x="285204" y="227925"/>
                  </a:lnTo>
                  <a:lnTo>
                    <a:pt x="291470" y="229504"/>
                  </a:lnTo>
                  <a:lnTo>
                    <a:pt x="291470" y="222991"/>
                  </a:lnTo>
                  <a:lnTo>
                    <a:pt x="287326" y="218057"/>
                  </a:lnTo>
                  <a:close/>
                  <a:moveTo>
                    <a:pt x="35295" y="489528"/>
                  </a:moveTo>
                  <a:lnTo>
                    <a:pt x="39440" y="494462"/>
                  </a:lnTo>
                  <a:lnTo>
                    <a:pt x="47778" y="496090"/>
                  </a:lnTo>
                  <a:lnTo>
                    <a:pt x="54044" y="497719"/>
                  </a:lnTo>
                  <a:lnTo>
                    <a:pt x="60261" y="497719"/>
                  </a:lnTo>
                  <a:lnTo>
                    <a:pt x="56117" y="492784"/>
                  </a:lnTo>
                  <a:lnTo>
                    <a:pt x="51972" y="492784"/>
                  </a:lnTo>
                  <a:lnTo>
                    <a:pt x="45706" y="486321"/>
                  </a:lnTo>
                  <a:lnTo>
                    <a:pt x="39440" y="487949"/>
                  </a:lnTo>
                  <a:lnTo>
                    <a:pt x="35295" y="486321"/>
                  </a:lnTo>
                  <a:close/>
                  <a:moveTo>
                    <a:pt x="-82" y="489528"/>
                  </a:moveTo>
                  <a:lnTo>
                    <a:pt x="6184" y="497422"/>
                  </a:lnTo>
                  <a:lnTo>
                    <a:pt x="14523" y="497422"/>
                  </a:lnTo>
                  <a:lnTo>
                    <a:pt x="20789" y="500630"/>
                  </a:lnTo>
                  <a:lnTo>
                    <a:pt x="29078" y="495696"/>
                  </a:lnTo>
                  <a:lnTo>
                    <a:pt x="20789" y="489232"/>
                  </a:lnTo>
                  <a:lnTo>
                    <a:pt x="10378" y="485975"/>
                  </a:lnTo>
                  <a:lnTo>
                    <a:pt x="2040" y="487604"/>
                  </a:lnTo>
                  <a:close/>
                  <a:moveTo>
                    <a:pt x="274744" y="746098"/>
                  </a:moveTo>
                  <a:lnTo>
                    <a:pt x="274744" y="751032"/>
                  </a:lnTo>
                  <a:lnTo>
                    <a:pt x="276866" y="752660"/>
                  </a:lnTo>
                  <a:lnTo>
                    <a:pt x="281010" y="747726"/>
                  </a:lnTo>
                  <a:lnTo>
                    <a:pt x="276866" y="746098"/>
                  </a:lnTo>
                  <a:close/>
                  <a:moveTo>
                    <a:pt x="277063" y="773728"/>
                  </a:moveTo>
                  <a:lnTo>
                    <a:pt x="281208" y="775307"/>
                  </a:lnTo>
                  <a:lnTo>
                    <a:pt x="285352" y="776936"/>
                  </a:lnTo>
                  <a:lnTo>
                    <a:pt x="297884" y="775307"/>
                  </a:lnTo>
                  <a:lnTo>
                    <a:pt x="302029" y="778564"/>
                  </a:lnTo>
                  <a:lnTo>
                    <a:pt x="304151" y="780192"/>
                  </a:lnTo>
                  <a:lnTo>
                    <a:pt x="306174" y="776936"/>
                  </a:lnTo>
                  <a:lnTo>
                    <a:pt x="302029" y="772002"/>
                  </a:lnTo>
                  <a:lnTo>
                    <a:pt x="291618" y="770373"/>
                  </a:lnTo>
                  <a:lnTo>
                    <a:pt x="289546" y="772002"/>
                  </a:lnTo>
                  <a:lnTo>
                    <a:pt x="283329" y="768794"/>
                  </a:lnTo>
                  <a:lnTo>
                    <a:pt x="279135" y="768794"/>
                  </a:lnTo>
                  <a:lnTo>
                    <a:pt x="274941" y="770373"/>
                  </a:lnTo>
                  <a:close/>
                  <a:moveTo>
                    <a:pt x="285352" y="783597"/>
                  </a:moveTo>
                  <a:lnTo>
                    <a:pt x="287474" y="785225"/>
                  </a:lnTo>
                  <a:lnTo>
                    <a:pt x="289546" y="785225"/>
                  </a:lnTo>
                  <a:lnTo>
                    <a:pt x="289546" y="781968"/>
                  </a:lnTo>
                  <a:close/>
                  <a:moveTo>
                    <a:pt x="287474" y="822378"/>
                  </a:moveTo>
                  <a:lnTo>
                    <a:pt x="289546" y="825585"/>
                  </a:lnTo>
                  <a:lnTo>
                    <a:pt x="293740" y="825585"/>
                  </a:lnTo>
                  <a:lnTo>
                    <a:pt x="297884" y="828842"/>
                  </a:lnTo>
                  <a:lnTo>
                    <a:pt x="302029" y="827213"/>
                  </a:lnTo>
                  <a:lnTo>
                    <a:pt x="299957" y="824006"/>
                  </a:lnTo>
                  <a:lnTo>
                    <a:pt x="293740" y="820750"/>
                  </a:lnTo>
                  <a:lnTo>
                    <a:pt x="289546" y="820750"/>
                  </a:lnTo>
                  <a:close/>
                  <a:moveTo>
                    <a:pt x="281208" y="836884"/>
                  </a:moveTo>
                  <a:lnTo>
                    <a:pt x="281208" y="840141"/>
                  </a:lnTo>
                  <a:lnTo>
                    <a:pt x="287474" y="841769"/>
                  </a:lnTo>
                  <a:lnTo>
                    <a:pt x="291618" y="838512"/>
                  </a:lnTo>
                  <a:lnTo>
                    <a:pt x="285352" y="836884"/>
                  </a:lnTo>
                  <a:lnTo>
                    <a:pt x="281208" y="835305"/>
                  </a:lnTo>
                  <a:close/>
                  <a:moveTo>
                    <a:pt x="289398" y="862541"/>
                  </a:moveTo>
                  <a:lnTo>
                    <a:pt x="293592" y="862541"/>
                  </a:lnTo>
                  <a:lnTo>
                    <a:pt x="295615" y="860962"/>
                  </a:lnTo>
                  <a:lnTo>
                    <a:pt x="291470" y="856028"/>
                  </a:lnTo>
                  <a:lnTo>
                    <a:pt x="291470" y="852821"/>
                  </a:lnTo>
                  <a:lnTo>
                    <a:pt x="289398" y="856028"/>
                  </a:lnTo>
                  <a:close/>
                  <a:moveTo>
                    <a:pt x="299809" y="869005"/>
                  </a:moveTo>
                  <a:lnTo>
                    <a:pt x="299809" y="870633"/>
                  </a:lnTo>
                  <a:lnTo>
                    <a:pt x="301733" y="870633"/>
                  </a:lnTo>
                  <a:lnTo>
                    <a:pt x="301733" y="869005"/>
                  </a:lnTo>
                  <a:close/>
                  <a:moveTo>
                    <a:pt x="278987" y="872261"/>
                  </a:moveTo>
                  <a:lnTo>
                    <a:pt x="281059" y="870633"/>
                  </a:lnTo>
                  <a:lnTo>
                    <a:pt x="278987" y="867376"/>
                  </a:lnTo>
                  <a:lnTo>
                    <a:pt x="276915" y="870633"/>
                  </a:lnTo>
                  <a:close/>
                  <a:moveTo>
                    <a:pt x="287326" y="870633"/>
                  </a:moveTo>
                  <a:lnTo>
                    <a:pt x="289398" y="872261"/>
                  </a:lnTo>
                  <a:lnTo>
                    <a:pt x="291470" y="870633"/>
                  </a:lnTo>
                  <a:lnTo>
                    <a:pt x="289398" y="869005"/>
                  </a:lnTo>
                  <a:close/>
                  <a:moveTo>
                    <a:pt x="285204" y="878725"/>
                  </a:moveTo>
                  <a:lnTo>
                    <a:pt x="289398" y="877096"/>
                  </a:lnTo>
                  <a:lnTo>
                    <a:pt x="289398" y="875468"/>
                  </a:lnTo>
                  <a:lnTo>
                    <a:pt x="285204" y="875468"/>
                  </a:lnTo>
                  <a:close/>
                  <a:moveTo>
                    <a:pt x="289398" y="890024"/>
                  </a:moveTo>
                  <a:lnTo>
                    <a:pt x="291470" y="886767"/>
                  </a:lnTo>
                  <a:lnTo>
                    <a:pt x="283181" y="886767"/>
                  </a:lnTo>
                  <a:lnTo>
                    <a:pt x="285204" y="890024"/>
                  </a:lnTo>
                  <a:close/>
                  <a:moveTo>
                    <a:pt x="295615" y="894958"/>
                  </a:moveTo>
                  <a:lnTo>
                    <a:pt x="299809" y="894958"/>
                  </a:lnTo>
                  <a:lnTo>
                    <a:pt x="299809" y="891751"/>
                  </a:lnTo>
                  <a:lnTo>
                    <a:pt x="297736" y="890122"/>
                  </a:lnTo>
                  <a:lnTo>
                    <a:pt x="293592" y="893329"/>
                  </a:lnTo>
                  <a:close/>
                  <a:moveTo>
                    <a:pt x="272770" y="909760"/>
                  </a:moveTo>
                  <a:lnTo>
                    <a:pt x="278987" y="908132"/>
                  </a:lnTo>
                  <a:lnTo>
                    <a:pt x="281059" y="908132"/>
                  </a:lnTo>
                  <a:lnTo>
                    <a:pt x="281059" y="904875"/>
                  </a:lnTo>
                  <a:lnTo>
                    <a:pt x="272770" y="904875"/>
                  </a:lnTo>
                  <a:lnTo>
                    <a:pt x="270649" y="908132"/>
                  </a:lnTo>
                  <a:close/>
                  <a:moveTo>
                    <a:pt x="285204" y="921059"/>
                  </a:moveTo>
                  <a:lnTo>
                    <a:pt x="295615" y="912967"/>
                  </a:lnTo>
                  <a:lnTo>
                    <a:pt x="301881" y="908033"/>
                  </a:lnTo>
                  <a:lnTo>
                    <a:pt x="301881" y="904776"/>
                  </a:lnTo>
                  <a:lnTo>
                    <a:pt x="295615" y="904776"/>
                  </a:lnTo>
                  <a:lnTo>
                    <a:pt x="289398" y="909710"/>
                  </a:lnTo>
                  <a:lnTo>
                    <a:pt x="285204" y="909710"/>
                  </a:lnTo>
                  <a:lnTo>
                    <a:pt x="283181" y="912918"/>
                  </a:lnTo>
                  <a:lnTo>
                    <a:pt x="281059" y="914546"/>
                  </a:lnTo>
                  <a:lnTo>
                    <a:pt x="281059" y="921009"/>
                  </a:lnTo>
                  <a:lnTo>
                    <a:pt x="285204" y="921009"/>
                  </a:lnTo>
                  <a:close/>
                  <a:moveTo>
                    <a:pt x="295615" y="917802"/>
                  </a:moveTo>
                  <a:lnTo>
                    <a:pt x="297736" y="919430"/>
                  </a:lnTo>
                  <a:lnTo>
                    <a:pt x="301881" y="916223"/>
                  </a:lnTo>
                  <a:lnTo>
                    <a:pt x="301881" y="914595"/>
                  </a:lnTo>
                  <a:close/>
                  <a:moveTo>
                    <a:pt x="291470" y="924266"/>
                  </a:moveTo>
                  <a:lnTo>
                    <a:pt x="295615" y="924266"/>
                  </a:lnTo>
                  <a:lnTo>
                    <a:pt x="293592" y="921059"/>
                  </a:lnTo>
                  <a:lnTo>
                    <a:pt x="291470" y="922687"/>
                  </a:lnTo>
                  <a:close/>
                  <a:moveTo>
                    <a:pt x="281059" y="927522"/>
                  </a:moveTo>
                  <a:lnTo>
                    <a:pt x="285204" y="924266"/>
                  </a:lnTo>
                  <a:lnTo>
                    <a:pt x="281059" y="922687"/>
                  </a:lnTo>
                  <a:lnTo>
                    <a:pt x="278987" y="924266"/>
                  </a:lnTo>
                  <a:lnTo>
                    <a:pt x="278987" y="927522"/>
                  </a:lnTo>
                  <a:close/>
                  <a:moveTo>
                    <a:pt x="268576" y="948492"/>
                  </a:moveTo>
                  <a:lnTo>
                    <a:pt x="268576" y="953426"/>
                  </a:lnTo>
                  <a:lnTo>
                    <a:pt x="274793" y="953426"/>
                  </a:lnTo>
                  <a:lnTo>
                    <a:pt x="278987" y="946962"/>
                  </a:lnTo>
                  <a:lnTo>
                    <a:pt x="285204" y="945334"/>
                  </a:lnTo>
                  <a:lnTo>
                    <a:pt x="287326" y="942078"/>
                  </a:lnTo>
                  <a:lnTo>
                    <a:pt x="285204" y="940499"/>
                  </a:lnTo>
                  <a:lnTo>
                    <a:pt x="281059" y="942078"/>
                  </a:lnTo>
                  <a:lnTo>
                    <a:pt x="274793" y="943706"/>
                  </a:lnTo>
                  <a:lnTo>
                    <a:pt x="272770" y="946962"/>
                  </a:lnTo>
                  <a:cubicBezTo>
                    <a:pt x="271512" y="947757"/>
                    <a:pt x="270061" y="948196"/>
                    <a:pt x="268576" y="948245"/>
                  </a:cubicBezTo>
                  <a:close/>
                  <a:moveTo>
                    <a:pt x="264382" y="966255"/>
                  </a:moveTo>
                  <a:lnTo>
                    <a:pt x="266504" y="972718"/>
                  </a:lnTo>
                  <a:lnTo>
                    <a:pt x="270649" y="972718"/>
                  </a:lnTo>
                  <a:lnTo>
                    <a:pt x="272770" y="969511"/>
                  </a:lnTo>
                  <a:lnTo>
                    <a:pt x="266504" y="966255"/>
                  </a:lnTo>
                  <a:close/>
                  <a:moveTo>
                    <a:pt x="422666" y="1683466"/>
                  </a:moveTo>
                  <a:lnTo>
                    <a:pt x="426860" y="1677002"/>
                  </a:lnTo>
                  <a:lnTo>
                    <a:pt x="433077" y="1677002"/>
                  </a:lnTo>
                  <a:lnTo>
                    <a:pt x="435149" y="1678581"/>
                  </a:lnTo>
                  <a:lnTo>
                    <a:pt x="433077" y="1681838"/>
                  </a:lnTo>
                  <a:lnTo>
                    <a:pt x="428883" y="1681838"/>
                  </a:lnTo>
                  <a:lnTo>
                    <a:pt x="424738" y="1683466"/>
                  </a:lnTo>
                  <a:close/>
                  <a:moveTo>
                    <a:pt x="385217" y="1662447"/>
                  </a:moveTo>
                  <a:lnTo>
                    <a:pt x="387240" y="1662447"/>
                  </a:lnTo>
                  <a:lnTo>
                    <a:pt x="387240" y="1660819"/>
                  </a:lnTo>
                  <a:lnTo>
                    <a:pt x="391434" y="1655885"/>
                  </a:lnTo>
                  <a:lnTo>
                    <a:pt x="391434" y="1652677"/>
                  </a:lnTo>
                  <a:lnTo>
                    <a:pt x="387240" y="1652677"/>
                  </a:lnTo>
                  <a:lnTo>
                    <a:pt x="387240" y="1654306"/>
                  </a:lnTo>
                  <a:lnTo>
                    <a:pt x="383095" y="1657513"/>
                  </a:lnTo>
                  <a:close/>
                  <a:moveTo>
                    <a:pt x="358080" y="1622086"/>
                  </a:moveTo>
                  <a:lnTo>
                    <a:pt x="360201" y="1623715"/>
                  </a:lnTo>
                  <a:lnTo>
                    <a:pt x="364395" y="1623715"/>
                  </a:lnTo>
                  <a:lnTo>
                    <a:pt x="368540" y="1622086"/>
                  </a:lnTo>
                  <a:lnTo>
                    <a:pt x="366418" y="1618879"/>
                  </a:lnTo>
                  <a:lnTo>
                    <a:pt x="362274" y="1620458"/>
                  </a:lnTo>
                  <a:close/>
                  <a:moveTo>
                    <a:pt x="343524" y="1620458"/>
                  </a:moveTo>
                  <a:lnTo>
                    <a:pt x="345597" y="1625392"/>
                  </a:lnTo>
                  <a:lnTo>
                    <a:pt x="349790" y="1625392"/>
                  </a:lnTo>
                  <a:lnTo>
                    <a:pt x="349790" y="1622185"/>
                  </a:lnTo>
                  <a:lnTo>
                    <a:pt x="345597" y="1620557"/>
                  </a:lnTo>
                  <a:close/>
                  <a:moveTo>
                    <a:pt x="304052" y="1625392"/>
                  </a:moveTo>
                  <a:lnTo>
                    <a:pt x="306075" y="1627020"/>
                  </a:lnTo>
                  <a:lnTo>
                    <a:pt x="308197" y="1627020"/>
                  </a:lnTo>
                  <a:lnTo>
                    <a:pt x="310269" y="1630277"/>
                  </a:lnTo>
                  <a:lnTo>
                    <a:pt x="314463" y="1628599"/>
                  </a:lnTo>
                  <a:lnTo>
                    <a:pt x="312341" y="1623665"/>
                  </a:lnTo>
                  <a:lnTo>
                    <a:pt x="308197" y="1623665"/>
                  </a:lnTo>
                  <a:close/>
                  <a:moveTo>
                    <a:pt x="254021" y="1434840"/>
                  </a:moveTo>
                  <a:lnTo>
                    <a:pt x="258215" y="1434840"/>
                  </a:lnTo>
                  <a:lnTo>
                    <a:pt x="264432" y="1431583"/>
                  </a:lnTo>
                  <a:lnTo>
                    <a:pt x="268626" y="1425120"/>
                  </a:lnTo>
                  <a:lnTo>
                    <a:pt x="266553" y="1426699"/>
                  </a:lnTo>
                  <a:lnTo>
                    <a:pt x="262409" y="1429955"/>
                  </a:lnTo>
                  <a:close/>
                  <a:moveTo>
                    <a:pt x="254021" y="1428327"/>
                  </a:moveTo>
                  <a:lnTo>
                    <a:pt x="254021" y="1429955"/>
                  </a:lnTo>
                  <a:lnTo>
                    <a:pt x="256143" y="1429955"/>
                  </a:lnTo>
                  <a:lnTo>
                    <a:pt x="260287" y="1426699"/>
                  </a:lnTo>
                  <a:lnTo>
                    <a:pt x="262409" y="1423492"/>
                  </a:lnTo>
                  <a:lnTo>
                    <a:pt x="260287" y="1423492"/>
                  </a:lnTo>
                  <a:close/>
                  <a:moveTo>
                    <a:pt x="224861" y="1365319"/>
                  </a:moveTo>
                  <a:lnTo>
                    <a:pt x="222788" y="1368576"/>
                  </a:lnTo>
                  <a:lnTo>
                    <a:pt x="229055" y="1368576"/>
                  </a:lnTo>
                  <a:lnTo>
                    <a:pt x="229055" y="1365319"/>
                  </a:lnTo>
                  <a:lnTo>
                    <a:pt x="224861" y="1365319"/>
                  </a:lnTo>
                  <a:close/>
                  <a:moveTo>
                    <a:pt x="220766" y="1357277"/>
                  </a:moveTo>
                  <a:lnTo>
                    <a:pt x="222788" y="1360533"/>
                  </a:lnTo>
                  <a:lnTo>
                    <a:pt x="229055" y="1362112"/>
                  </a:lnTo>
                  <a:lnTo>
                    <a:pt x="229055" y="1357178"/>
                  </a:lnTo>
                  <a:lnTo>
                    <a:pt x="224861" y="1355550"/>
                  </a:lnTo>
                  <a:close/>
                  <a:moveTo>
                    <a:pt x="224861" y="1297526"/>
                  </a:moveTo>
                  <a:lnTo>
                    <a:pt x="231176" y="1299105"/>
                  </a:lnTo>
                  <a:lnTo>
                    <a:pt x="235321" y="1295897"/>
                  </a:lnTo>
                  <a:lnTo>
                    <a:pt x="231176" y="1294269"/>
                  </a:lnTo>
                  <a:close/>
                  <a:moveTo>
                    <a:pt x="229055" y="1291013"/>
                  </a:moveTo>
                  <a:lnTo>
                    <a:pt x="231176" y="1292690"/>
                  </a:lnTo>
                  <a:lnTo>
                    <a:pt x="237591" y="1292690"/>
                  </a:lnTo>
                  <a:lnTo>
                    <a:pt x="241784" y="1291013"/>
                  </a:lnTo>
                  <a:lnTo>
                    <a:pt x="235518" y="1287806"/>
                  </a:lnTo>
                  <a:lnTo>
                    <a:pt x="229252" y="1289434"/>
                  </a:lnTo>
                  <a:close/>
                  <a:moveTo>
                    <a:pt x="216571" y="1289434"/>
                  </a:moveTo>
                  <a:lnTo>
                    <a:pt x="216571" y="1292690"/>
                  </a:lnTo>
                  <a:lnTo>
                    <a:pt x="220766" y="1291013"/>
                  </a:lnTo>
                  <a:lnTo>
                    <a:pt x="220766" y="1287806"/>
                  </a:lnTo>
                  <a:lnTo>
                    <a:pt x="216571" y="1287806"/>
                  </a:lnTo>
                  <a:close/>
                  <a:moveTo>
                    <a:pt x="233199" y="1236146"/>
                  </a:moveTo>
                  <a:lnTo>
                    <a:pt x="233199" y="1237528"/>
                  </a:lnTo>
                  <a:lnTo>
                    <a:pt x="235321" y="1239156"/>
                  </a:lnTo>
                  <a:lnTo>
                    <a:pt x="237591" y="1239156"/>
                  </a:lnTo>
                  <a:lnTo>
                    <a:pt x="241784" y="1234222"/>
                  </a:lnTo>
                  <a:lnTo>
                    <a:pt x="241784" y="1230966"/>
                  </a:lnTo>
                  <a:lnTo>
                    <a:pt x="239663" y="1232594"/>
                  </a:lnTo>
                  <a:close/>
                  <a:moveTo>
                    <a:pt x="291520" y="1215127"/>
                  </a:moveTo>
                  <a:lnTo>
                    <a:pt x="297786" y="1216706"/>
                  </a:lnTo>
                  <a:lnTo>
                    <a:pt x="306075" y="1215127"/>
                  </a:lnTo>
                  <a:lnTo>
                    <a:pt x="306075" y="1211920"/>
                  </a:lnTo>
                  <a:lnTo>
                    <a:pt x="297786" y="1210292"/>
                  </a:lnTo>
                  <a:lnTo>
                    <a:pt x="291520" y="1211920"/>
                  </a:lnTo>
                  <a:close/>
                  <a:moveTo>
                    <a:pt x="268626" y="1186066"/>
                  </a:moveTo>
                  <a:lnTo>
                    <a:pt x="268626" y="1189273"/>
                  </a:lnTo>
                  <a:lnTo>
                    <a:pt x="270698" y="1190901"/>
                  </a:lnTo>
                  <a:lnTo>
                    <a:pt x="281109" y="1189273"/>
                  </a:lnTo>
                  <a:lnTo>
                    <a:pt x="279037" y="1186066"/>
                  </a:lnTo>
                  <a:lnTo>
                    <a:pt x="268626" y="1186066"/>
                  </a:lnTo>
                  <a:close/>
                  <a:moveTo>
                    <a:pt x="297786" y="1184437"/>
                  </a:moveTo>
                  <a:lnTo>
                    <a:pt x="299858" y="1187645"/>
                  </a:lnTo>
                  <a:lnTo>
                    <a:pt x="306075" y="1186066"/>
                  </a:lnTo>
                  <a:lnTo>
                    <a:pt x="310269" y="1184437"/>
                  </a:lnTo>
                  <a:lnTo>
                    <a:pt x="304052" y="1182859"/>
                  </a:lnTo>
                  <a:close/>
                  <a:moveTo>
                    <a:pt x="281109" y="1179503"/>
                  </a:moveTo>
                  <a:lnTo>
                    <a:pt x="289447" y="1182760"/>
                  </a:lnTo>
                  <a:lnTo>
                    <a:pt x="295664" y="1182760"/>
                  </a:lnTo>
                  <a:lnTo>
                    <a:pt x="299858" y="1179503"/>
                  </a:lnTo>
                  <a:lnTo>
                    <a:pt x="295664" y="1177875"/>
                  </a:lnTo>
                  <a:lnTo>
                    <a:pt x="287375" y="1176247"/>
                  </a:lnTo>
                  <a:lnTo>
                    <a:pt x="281109" y="1177875"/>
                  </a:lnTo>
                  <a:close/>
                  <a:moveTo>
                    <a:pt x="345597" y="1059902"/>
                  </a:moveTo>
                  <a:lnTo>
                    <a:pt x="345597" y="1064837"/>
                  </a:lnTo>
                  <a:lnTo>
                    <a:pt x="349790" y="1066465"/>
                  </a:lnTo>
                  <a:lnTo>
                    <a:pt x="351863" y="1063258"/>
                  </a:lnTo>
                  <a:lnTo>
                    <a:pt x="347669" y="1060001"/>
                  </a:lnTo>
                  <a:close/>
                  <a:moveTo>
                    <a:pt x="339380" y="1045100"/>
                  </a:moveTo>
                  <a:lnTo>
                    <a:pt x="339380" y="1048307"/>
                  </a:lnTo>
                  <a:lnTo>
                    <a:pt x="345597" y="1051564"/>
                  </a:lnTo>
                  <a:lnTo>
                    <a:pt x="349790" y="1051564"/>
                  </a:lnTo>
                  <a:lnTo>
                    <a:pt x="347669" y="1046630"/>
                  </a:lnTo>
                  <a:cubicBezTo>
                    <a:pt x="344945" y="1045924"/>
                    <a:pt x="342177" y="1045411"/>
                    <a:pt x="339380" y="1045100"/>
                  </a:cubicBezTo>
                  <a:close/>
                  <a:moveTo>
                    <a:pt x="320630" y="1003062"/>
                  </a:moveTo>
                  <a:lnTo>
                    <a:pt x="324775" y="1003062"/>
                  </a:lnTo>
                  <a:lnTo>
                    <a:pt x="331041" y="998128"/>
                  </a:lnTo>
                  <a:lnTo>
                    <a:pt x="335186" y="996500"/>
                  </a:lnTo>
                  <a:lnTo>
                    <a:pt x="335186" y="994921"/>
                  </a:lnTo>
                  <a:lnTo>
                    <a:pt x="331041" y="994921"/>
                  </a:lnTo>
                  <a:lnTo>
                    <a:pt x="324775" y="991665"/>
                  </a:lnTo>
                  <a:lnTo>
                    <a:pt x="320630" y="994921"/>
                  </a:lnTo>
                  <a:lnTo>
                    <a:pt x="318558" y="998128"/>
                  </a:lnTo>
                  <a:close/>
                  <a:moveTo>
                    <a:pt x="320630" y="1025710"/>
                  </a:moveTo>
                  <a:lnTo>
                    <a:pt x="324775" y="1028917"/>
                  </a:lnTo>
                  <a:lnTo>
                    <a:pt x="331041" y="1027289"/>
                  </a:lnTo>
                  <a:lnTo>
                    <a:pt x="335186" y="1022354"/>
                  </a:lnTo>
                  <a:lnTo>
                    <a:pt x="335186" y="1015891"/>
                  </a:lnTo>
                  <a:lnTo>
                    <a:pt x="328969" y="1014312"/>
                  </a:lnTo>
                  <a:lnTo>
                    <a:pt x="322703" y="1015891"/>
                  </a:lnTo>
                  <a:close/>
                  <a:moveTo>
                    <a:pt x="297736" y="1027289"/>
                  </a:moveTo>
                  <a:lnTo>
                    <a:pt x="304003" y="1030545"/>
                  </a:lnTo>
                  <a:lnTo>
                    <a:pt x="308147" y="1025611"/>
                  </a:lnTo>
                  <a:lnTo>
                    <a:pt x="308147" y="1022354"/>
                  </a:lnTo>
                  <a:lnTo>
                    <a:pt x="310219" y="1014312"/>
                  </a:lnTo>
                  <a:lnTo>
                    <a:pt x="301881" y="1017519"/>
                  </a:lnTo>
                  <a:lnTo>
                    <a:pt x="297736" y="1020776"/>
                  </a:lnTo>
                  <a:close/>
                  <a:moveTo>
                    <a:pt x="256093" y="1056399"/>
                  </a:moveTo>
                  <a:lnTo>
                    <a:pt x="253972" y="1059606"/>
                  </a:lnTo>
                  <a:lnTo>
                    <a:pt x="256093" y="1066070"/>
                  </a:lnTo>
                  <a:lnTo>
                    <a:pt x="262261" y="1066070"/>
                  </a:lnTo>
                  <a:lnTo>
                    <a:pt x="262261" y="1062863"/>
                  </a:lnTo>
                  <a:lnTo>
                    <a:pt x="258067" y="1056399"/>
                  </a:lnTo>
                  <a:close/>
                  <a:moveTo>
                    <a:pt x="339380" y="1116150"/>
                  </a:moveTo>
                  <a:lnTo>
                    <a:pt x="339380" y="1117779"/>
                  </a:lnTo>
                  <a:lnTo>
                    <a:pt x="343524" y="1117779"/>
                  </a:lnTo>
                  <a:lnTo>
                    <a:pt x="343524" y="1120986"/>
                  </a:lnTo>
                  <a:lnTo>
                    <a:pt x="341452" y="1127449"/>
                  </a:lnTo>
                  <a:lnTo>
                    <a:pt x="343524" y="1129078"/>
                  </a:lnTo>
                  <a:lnTo>
                    <a:pt x="349790" y="1127449"/>
                  </a:lnTo>
                  <a:lnTo>
                    <a:pt x="351863" y="1117581"/>
                  </a:lnTo>
                  <a:lnTo>
                    <a:pt x="356007" y="1114325"/>
                  </a:lnTo>
                  <a:lnTo>
                    <a:pt x="353985" y="1111118"/>
                  </a:lnTo>
                  <a:lnTo>
                    <a:pt x="351863" y="1112746"/>
                  </a:lnTo>
                  <a:lnTo>
                    <a:pt x="345597" y="1111118"/>
                  </a:lnTo>
                  <a:close/>
                  <a:moveTo>
                    <a:pt x="253972" y="1135541"/>
                  </a:moveTo>
                  <a:lnTo>
                    <a:pt x="258165" y="1138748"/>
                  </a:lnTo>
                  <a:lnTo>
                    <a:pt x="268576" y="1140377"/>
                  </a:lnTo>
                  <a:lnTo>
                    <a:pt x="270649" y="1143633"/>
                  </a:lnTo>
                  <a:lnTo>
                    <a:pt x="276915" y="1145212"/>
                  </a:lnTo>
                  <a:lnTo>
                    <a:pt x="281059" y="1141956"/>
                  </a:lnTo>
                  <a:lnTo>
                    <a:pt x="299809" y="1138748"/>
                  </a:lnTo>
                  <a:lnTo>
                    <a:pt x="312292" y="1138748"/>
                  </a:lnTo>
                  <a:lnTo>
                    <a:pt x="324775" y="1130706"/>
                  </a:lnTo>
                  <a:lnTo>
                    <a:pt x="322703" y="1120838"/>
                  </a:lnTo>
                  <a:lnTo>
                    <a:pt x="318558" y="1112795"/>
                  </a:lnTo>
                  <a:lnTo>
                    <a:pt x="310219" y="1112795"/>
                  </a:lnTo>
                  <a:lnTo>
                    <a:pt x="304003" y="1109539"/>
                  </a:lnTo>
                  <a:lnTo>
                    <a:pt x="299809" y="1094983"/>
                  </a:lnTo>
                  <a:lnTo>
                    <a:pt x="293592" y="1085115"/>
                  </a:lnTo>
                  <a:lnTo>
                    <a:pt x="281059" y="1083487"/>
                  </a:lnTo>
                  <a:lnTo>
                    <a:pt x="274793" y="1077024"/>
                  </a:lnTo>
                  <a:lnTo>
                    <a:pt x="264382" y="1075445"/>
                  </a:lnTo>
                  <a:lnTo>
                    <a:pt x="256093" y="1072188"/>
                  </a:lnTo>
                  <a:lnTo>
                    <a:pt x="256093" y="1077122"/>
                  </a:lnTo>
                  <a:lnTo>
                    <a:pt x="247755" y="1083586"/>
                  </a:lnTo>
                  <a:lnTo>
                    <a:pt x="247755" y="1091678"/>
                  </a:lnTo>
                  <a:lnTo>
                    <a:pt x="256093" y="1094885"/>
                  </a:lnTo>
                  <a:lnTo>
                    <a:pt x="258165" y="1099819"/>
                  </a:lnTo>
                  <a:lnTo>
                    <a:pt x="251948" y="1096562"/>
                  </a:lnTo>
                  <a:lnTo>
                    <a:pt x="245682" y="1099819"/>
                  </a:lnTo>
                  <a:lnTo>
                    <a:pt x="245682" y="1104753"/>
                  </a:lnTo>
                  <a:lnTo>
                    <a:pt x="243561" y="1107960"/>
                  </a:lnTo>
                  <a:lnTo>
                    <a:pt x="251948" y="1112894"/>
                  </a:lnTo>
                  <a:lnTo>
                    <a:pt x="245682" y="1114473"/>
                  </a:lnTo>
                  <a:lnTo>
                    <a:pt x="243561" y="1117729"/>
                  </a:lnTo>
                  <a:lnTo>
                    <a:pt x="247755" y="1122663"/>
                  </a:lnTo>
                  <a:lnTo>
                    <a:pt x="264382" y="1125871"/>
                  </a:lnTo>
                  <a:lnTo>
                    <a:pt x="266504" y="1129127"/>
                  </a:lnTo>
                  <a:lnTo>
                    <a:pt x="272770" y="1130755"/>
                  </a:lnTo>
                  <a:lnTo>
                    <a:pt x="283181" y="1124292"/>
                  </a:lnTo>
                  <a:lnTo>
                    <a:pt x="274793" y="1132334"/>
                  </a:lnTo>
                  <a:lnTo>
                    <a:pt x="268576" y="1132334"/>
                  </a:lnTo>
                  <a:lnTo>
                    <a:pt x="258165" y="1129127"/>
                  </a:lnTo>
                  <a:lnTo>
                    <a:pt x="253972" y="113075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Graphic 2">
              <a:extLst>
                <a:ext uri="{FF2B5EF4-FFF2-40B4-BE49-F238E27FC236}">
                  <a16:creationId xmlns:a16="http://schemas.microsoft.com/office/drawing/2014/main" id="{DEDAAF1F-00D3-471C-B0EC-67BCBB72764A}"/>
                </a:ext>
              </a:extLst>
            </p:cNvPr>
            <p:cNvSpPr/>
            <p:nvPr/>
          </p:nvSpPr>
          <p:spPr>
            <a:xfrm>
              <a:off x="3322758" y="4105871"/>
              <a:ext cx="101533" cy="37249"/>
            </a:xfrm>
            <a:custGeom>
              <a:avLst/>
              <a:gdLst>
                <a:gd name="connsiteX0" fmla="*/ 100128 w 111756"/>
                <a:gd name="connsiteY0" fmla="*/ 31896 h 41001"/>
                <a:gd name="connsiteX1" fmla="*/ 111674 w 111756"/>
                <a:gd name="connsiteY1" fmla="*/ 37965 h 41001"/>
                <a:gd name="connsiteX2" fmla="*/ 102053 w 111756"/>
                <a:gd name="connsiteY2" fmla="*/ 40975 h 41001"/>
                <a:gd name="connsiteX3" fmla="*/ 100128 w 111756"/>
                <a:gd name="connsiteY3" fmla="*/ 36435 h 41001"/>
                <a:gd name="connsiteX4" fmla="*/ 100128 w 111756"/>
                <a:gd name="connsiteY4" fmla="*/ 31896 h 41001"/>
                <a:gd name="connsiteX5" fmla="*/ 105901 w 111756"/>
                <a:gd name="connsiteY5" fmla="*/ 15120 h 41001"/>
                <a:gd name="connsiteX6" fmla="*/ 100128 w 111756"/>
                <a:gd name="connsiteY6" fmla="*/ 21239 h 41001"/>
                <a:gd name="connsiteX7" fmla="*/ 105901 w 111756"/>
                <a:gd name="connsiteY7" fmla="*/ 25827 h 41001"/>
                <a:gd name="connsiteX8" fmla="*/ 109750 w 111756"/>
                <a:gd name="connsiteY8" fmla="*/ 19709 h 41001"/>
                <a:gd name="connsiteX9" fmla="*/ 105901 w 111756"/>
                <a:gd name="connsiteY9" fmla="*/ 15120 h 41001"/>
                <a:gd name="connsiteX10" fmla="*/ 71363 w 111756"/>
                <a:gd name="connsiteY10" fmla="*/ 24298 h 41001"/>
                <a:gd name="connsiteX11" fmla="*/ 65590 w 111756"/>
                <a:gd name="connsiteY11" fmla="*/ 27308 h 41001"/>
                <a:gd name="connsiteX12" fmla="*/ 69439 w 111756"/>
                <a:gd name="connsiteY12" fmla="*/ 31896 h 41001"/>
                <a:gd name="connsiteX13" fmla="*/ 79307 w 111756"/>
                <a:gd name="connsiteY13" fmla="*/ 33376 h 41001"/>
                <a:gd name="connsiteX14" fmla="*/ 71560 w 111756"/>
                <a:gd name="connsiteY14" fmla="*/ 24298 h 41001"/>
                <a:gd name="connsiteX15" fmla="*/ 53995 w 111756"/>
                <a:gd name="connsiteY15" fmla="*/ 4562 h 41001"/>
                <a:gd name="connsiteX16" fmla="*/ 59768 w 111756"/>
                <a:gd name="connsiteY16" fmla="*/ -27 h 41001"/>
                <a:gd name="connsiteX17" fmla="*/ 69636 w 111756"/>
                <a:gd name="connsiteY17" fmla="*/ -27 h 41001"/>
                <a:gd name="connsiteX18" fmla="*/ 63863 w 111756"/>
                <a:gd name="connsiteY18" fmla="*/ 6091 h 41001"/>
                <a:gd name="connsiteX19" fmla="*/ 63863 w 111756"/>
                <a:gd name="connsiteY19" fmla="*/ 12160 h 41001"/>
                <a:gd name="connsiteX20" fmla="*/ 56117 w 111756"/>
                <a:gd name="connsiteY20" fmla="*/ 7621 h 41001"/>
                <a:gd name="connsiteX21" fmla="*/ 54193 w 111756"/>
                <a:gd name="connsiteY21" fmla="*/ 4562 h 41001"/>
                <a:gd name="connsiteX22" fmla="*/ 9589 w 111756"/>
                <a:gd name="connsiteY22" fmla="*/ 15170 h 41001"/>
                <a:gd name="connsiteX23" fmla="*/ 13437 w 111756"/>
                <a:gd name="connsiteY23" fmla="*/ 18229 h 41001"/>
                <a:gd name="connsiteX24" fmla="*/ -82 w 111756"/>
                <a:gd name="connsiteY24" fmla="*/ 19758 h 4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" h="41001">
                  <a:moveTo>
                    <a:pt x="100128" y="31896"/>
                  </a:moveTo>
                  <a:lnTo>
                    <a:pt x="111674" y="37965"/>
                  </a:lnTo>
                  <a:lnTo>
                    <a:pt x="102053" y="40975"/>
                  </a:lnTo>
                  <a:lnTo>
                    <a:pt x="100128" y="36435"/>
                  </a:lnTo>
                  <a:lnTo>
                    <a:pt x="100128" y="31896"/>
                  </a:lnTo>
                  <a:close/>
                  <a:moveTo>
                    <a:pt x="105901" y="15120"/>
                  </a:moveTo>
                  <a:lnTo>
                    <a:pt x="100128" y="21239"/>
                  </a:lnTo>
                  <a:lnTo>
                    <a:pt x="105901" y="25827"/>
                  </a:lnTo>
                  <a:lnTo>
                    <a:pt x="109750" y="19709"/>
                  </a:lnTo>
                  <a:lnTo>
                    <a:pt x="105901" y="15120"/>
                  </a:lnTo>
                  <a:close/>
                  <a:moveTo>
                    <a:pt x="71363" y="24298"/>
                  </a:moveTo>
                  <a:lnTo>
                    <a:pt x="65590" y="27308"/>
                  </a:lnTo>
                  <a:lnTo>
                    <a:pt x="69439" y="31896"/>
                  </a:lnTo>
                  <a:lnTo>
                    <a:pt x="79307" y="33376"/>
                  </a:lnTo>
                  <a:lnTo>
                    <a:pt x="71560" y="24298"/>
                  </a:lnTo>
                  <a:close/>
                  <a:moveTo>
                    <a:pt x="53995" y="4562"/>
                  </a:moveTo>
                  <a:lnTo>
                    <a:pt x="59768" y="-27"/>
                  </a:lnTo>
                  <a:lnTo>
                    <a:pt x="69636" y="-27"/>
                  </a:lnTo>
                  <a:lnTo>
                    <a:pt x="63863" y="6091"/>
                  </a:lnTo>
                  <a:lnTo>
                    <a:pt x="63863" y="12160"/>
                  </a:lnTo>
                  <a:lnTo>
                    <a:pt x="56117" y="7621"/>
                  </a:lnTo>
                  <a:lnTo>
                    <a:pt x="54193" y="4562"/>
                  </a:lnTo>
                  <a:close/>
                  <a:moveTo>
                    <a:pt x="9589" y="15170"/>
                  </a:moveTo>
                  <a:lnTo>
                    <a:pt x="13437" y="18229"/>
                  </a:lnTo>
                  <a:lnTo>
                    <a:pt x="-82" y="1975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Graphic 2">
              <a:extLst>
                <a:ext uri="{FF2B5EF4-FFF2-40B4-BE49-F238E27FC236}">
                  <a16:creationId xmlns:a16="http://schemas.microsoft.com/office/drawing/2014/main" id="{6B3289F6-9345-4AA7-91BF-58BFFFCDAE50}"/>
                </a:ext>
              </a:extLst>
            </p:cNvPr>
            <p:cNvSpPr/>
            <p:nvPr/>
          </p:nvSpPr>
          <p:spPr>
            <a:xfrm>
              <a:off x="3244625" y="4102419"/>
              <a:ext cx="67776" cy="16944"/>
            </a:xfrm>
            <a:custGeom>
              <a:avLst/>
              <a:gdLst>
                <a:gd name="connsiteX0" fmla="*/ 59225 w 74602"/>
                <a:gd name="connsiteY0" fmla="*/ 14627 h 18650"/>
                <a:gd name="connsiteX1" fmla="*/ 64998 w 74602"/>
                <a:gd name="connsiteY1" fmla="*/ 10630 h 18650"/>
                <a:gd name="connsiteX2" fmla="*/ 74521 w 74602"/>
                <a:gd name="connsiteY2" fmla="*/ 11963 h 18650"/>
                <a:gd name="connsiteX3" fmla="*/ 72646 w 74602"/>
                <a:gd name="connsiteY3" fmla="*/ 14627 h 18650"/>
                <a:gd name="connsiteX4" fmla="*/ 51577 w 74602"/>
                <a:gd name="connsiteY4" fmla="*/ 1305 h 18650"/>
                <a:gd name="connsiteX5" fmla="*/ 47729 w 74602"/>
                <a:gd name="connsiteY5" fmla="*/ -27 h 18650"/>
                <a:gd name="connsiteX6" fmla="*/ 34358 w 74602"/>
                <a:gd name="connsiteY6" fmla="*/ 1305 h 18650"/>
                <a:gd name="connsiteX7" fmla="*/ 7566 w 74602"/>
                <a:gd name="connsiteY7" fmla="*/ -27 h 18650"/>
                <a:gd name="connsiteX8" fmla="*/ 5641 w 74602"/>
                <a:gd name="connsiteY8" fmla="*/ 3970 h 18650"/>
                <a:gd name="connsiteX9" fmla="*/ -82 w 74602"/>
                <a:gd name="connsiteY9" fmla="*/ 5302 h 18650"/>
                <a:gd name="connsiteX10" fmla="*/ -82 w 74602"/>
                <a:gd name="connsiteY10" fmla="*/ 11963 h 18650"/>
                <a:gd name="connsiteX11" fmla="*/ 1793 w 74602"/>
                <a:gd name="connsiteY11" fmla="*/ 15959 h 18650"/>
                <a:gd name="connsiteX12" fmla="*/ 17138 w 74602"/>
                <a:gd name="connsiteY12" fmla="*/ 15959 h 18650"/>
                <a:gd name="connsiteX13" fmla="*/ 24786 w 74602"/>
                <a:gd name="connsiteY13" fmla="*/ 18624 h 18650"/>
                <a:gd name="connsiteX14" fmla="*/ 36233 w 74602"/>
                <a:gd name="connsiteY14" fmla="*/ 15959 h 18650"/>
                <a:gd name="connsiteX15" fmla="*/ 40081 w 74602"/>
                <a:gd name="connsiteY15" fmla="*/ 18624 h 18650"/>
                <a:gd name="connsiteX16" fmla="*/ 51577 w 74602"/>
                <a:gd name="connsiteY16" fmla="*/ 13295 h 18650"/>
                <a:gd name="connsiteX17" fmla="*/ 61149 w 74602"/>
                <a:gd name="connsiteY17" fmla="*/ 6634 h 18650"/>
                <a:gd name="connsiteX18" fmla="*/ 53502 w 74602"/>
                <a:gd name="connsiteY18" fmla="*/ 5302 h 1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4602" h="18650">
                  <a:moveTo>
                    <a:pt x="59225" y="14627"/>
                  </a:moveTo>
                  <a:lnTo>
                    <a:pt x="64998" y="10630"/>
                  </a:lnTo>
                  <a:lnTo>
                    <a:pt x="74521" y="11963"/>
                  </a:lnTo>
                  <a:lnTo>
                    <a:pt x="72646" y="14627"/>
                  </a:lnTo>
                  <a:close/>
                  <a:moveTo>
                    <a:pt x="51577" y="1305"/>
                  </a:moveTo>
                  <a:lnTo>
                    <a:pt x="47729" y="-27"/>
                  </a:lnTo>
                  <a:lnTo>
                    <a:pt x="34358" y="1305"/>
                  </a:lnTo>
                  <a:lnTo>
                    <a:pt x="7566" y="-27"/>
                  </a:lnTo>
                  <a:lnTo>
                    <a:pt x="5641" y="3970"/>
                  </a:lnTo>
                  <a:lnTo>
                    <a:pt x="-82" y="5302"/>
                  </a:lnTo>
                  <a:lnTo>
                    <a:pt x="-82" y="11963"/>
                  </a:lnTo>
                  <a:lnTo>
                    <a:pt x="1793" y="15959"/>
                  </a:lnTo>
                  <a:lnTo>
                    <a:pt x="17138" y="15959"/>
                  </a:lnTo>
                  <a:lnTo>
                    <a:pt x="24786" y="18624"/>
                  </a:lnTo>
                  <a:lnTo>
                    <a:pt x="36233" y="15959"/>
                  </a:lnTo>
                  <a:lnTo>
                    <a:pt x="40081" y="18624"/>
                  </a:lnTo>
                  <a:lnTo>
                    <a:pt x="51577" y="13295"/>
                  </a:lnTo>
                  <a:lnTo>
                    <a:pt x="61149" y="6634"/>
                  </a:lnTo>
                  <a:lnTo>
                    <a:pt x="53502" y="530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Graphic 2">
              <a:extLst>
                <a:ext uri="{FF2B5EF4-FFF2-40B4-BE49-F238E27FC236}">
                  <a16:creationId xmlns:a16="http://schemas.microsoft.com/office/drawing/2014/main" id="{3F87913A-7BC9-4D5D-AB22-2E12069B3B1E}"/>
                </a:ext>
              </a:extLst>
            </p:cNvPr>
            <p:cNvSpPr/>
            <p:nvPr/>
          </p:nvSpPr>
          <p:spPr>
            <a:xfrm>
              <a:off x="3088540" y="4058358"/>
              <a:ext cx="125692" cy="71181"/>
            </a:xfrm>
            <a:custGeom>
              <a:avLst/>
              <a:gdLst>
                <a:gd name="connsiteX0" fmla="*/ 122578 w 138350"/>
                <a:gd name="connsiteY0" fmla="*/ 54198 h 78352"/>
                <a:gd name="connsiteX1" fmla="*/ 128400 w 138350"/>
                <a:gd name="connsiteY1" fmla="*/ 57257 h 78352"/>
                <a:gd name="connsiteX2" fmla="*/ 134222 w 138350"/>
                <a:gd name="connsiteY2" fmla="*/ 58738 h 78352"/>
                <a:gd name="connsiteX3" fmla="*/ 130374 w 138350"/>
                <a:gd name="connsiteY3" fmla="*/ 61747 h 78352"/>
                <a:gd name="connsiteX4" fmla="*/ 122578 w 138350"/>
                <a:gd name="connsiteY4" fmla="*/ 58738 h 78352"/>
                <a:gd name="connsiteX5" fmla="*/ 120605 w 138350"/>
                <a:gd name="connsiteY5" fmla="*/ 55728 h 78352"/>
                <a:gd name="connsiteX6" fmla="*/ 122578 w 138350"/>
                <a:gd name="connsiteY6" fmla="*/ 54198 h 78352"/>
                <a:gd name="connsiteX7" fmla="*/ 15608 w 138350"/>
                <a:gd name="connsiteY7" fmla="*/ 7473 h 78352"/>
                <a:gd name="connsiteX8" fmla="*/ 15608 w 138350"/>
                <a:gd name="connsiteY8" fmla="*/ 9002 h 78352"/>
                <a:gd name="connsiteX9" fmla="*/ 11711 w 138350"/>
                <a:gd name="connsiteY9" fmla="*/ 16502 h 78352"/>
                <a:gd name="connsiteX10" fmla="*/ 15608 w 138350"/>
                <a:gd name="connsiteY10" fmla="*/ 21042 h 78352"/>
                <a:gd name="connsiteX11" fmla="*/ 13684 w 138350"/>
                <a:gd name="connsiteY11" fmla="*/ 27061 h 78352"/>
                <a:gd name="connsiteX12" fmla="*/ 7812 w 138350"/>
                <a:gd name="connsiteY12" fmla="*/ 30120 h 78352"/>
                <a:gd name="connsiteX13" fmla="*/ 5839 w 138350"/>
                <a:gd name="connsiteY13" fmla="*/ 31600 h 78352"/>
                <a:gd name="connsiteX14" fmla="*/ 9786 w 138350"/>
                <a:gd name="connsiteY14" fmla="*/ 37669 h 78352"/>
                <a:gd name="connsiteX15" fmla="*/ 9786 w 138350"/>
                <a:gd name="connsiteY15" fmla="*/ 48179 h 78352"/>
                <a:gd name="connsiteX16" fmla="*/ -82 w 138350"/>
                <a:gd name="connsiteY16" fmla="*/ 55728 h 78352"/>
                <a:gd name="connsiteX17" fmla="*/ 1892 w 138350"/>
                <a:gd name="connsiteY17" fmla="*/ 58738 h 78352"/>
                <a:gd name="connsiteX18" fmla="*/ 5740 w 138350"/>
                <a:gd name="connsiteY18" fmla="*/ 58738 h 78352"/>
                <a:gd name="connsiteX19" fmla="*/ 7714 w 138350"/>
                <a:gd name="connsiteY19" fmla="*/ 64757 h 78352"/>
                <a:gd name="connsiteX20" fmla="*/ 5740 w 138350"/>
                <a:gd name="connsiteY20" fmla="*/ 70777 h 78352"/>
                <a:gd name="connsiteX21" fmla="*/ 11612 w 138350"/>
                <a:gd name="connsiteY21" fmla="*/ 73786 h 78352"/>
                <a:gd name="connsiteX22" fmla="*/ 13586 w 138350"/>
                <a:gd name="connsiteY22" fmla="*/ 76845 h 78352"/>
                <a:gd name="connsiteX23" fmla="*/ 19408 w 138350"/>
                <a:gd name="connsiteY23" fmla="*/ 78326 h 78352"/>
                <a:gd name="connsiteX24" fmla="*/ 25230 w 138350"/>
                <a:gd name="connsiteY24" fmla="*/ 69296 h 78352"/>
                <a:gd name="connsiteX25" fmla="*/ 33026 w 138350"/>
                <a:gd name="connsiteY25" fmla="*/ 58738 h 78352"/>
                <a:gd name="connsiteX26" fmla="*/ 31052 w 138350"/>
                <a:gd name="connsiteY26" fmla="*/ 55728 h 78352"/>
                <a:gd name="connsiteX27" fmla="*/ 34950 w 138350"/>
                <a:gd name="connsiteY27" fmla="*/ 51188 h 78352"/>
                <a:gd name="connsiteX28" fmla="*/ 38848 w 138350"/>
                <a:gd name="connsiteY28" fmla="*/ 54198 h 78352"/>
                <a:gd name="connsiteX29" fmla="*/ 42696 w 138350"/>
                <a:gd name="connsiteY29" fmla="*/ 55728 h 78352"/>
                <a:gd name="connsiteX30" fmla="*/ 46643 w 138350"/>
                <a:gd name="connsiteY30" fmla="*/ 48179 h 78352"/>
                <a:gd name="connsiteX31" fmla="*/ 52466 w 138350"/>
                <a:gd name="connsiteY31" fmla="*/ 51188 h 78352"/>
                <a:gd name="connsiteX32" fmla="*/ 52466 w 138350"/>
                <a:gd name="connsiteY32" fmla="*/ 55728 h 78352"/>
                <a:gd name="connsiteX33" fmla="*/ 56314 w 138350"/>
                <a:gd name="connsiteY33" fmla="*/ 58738 h 78352"/>
                <a:gd name="connsiteX34" fmla="*/ 68008 w 138350"/>
                <a:gd name="connsiteY34" fmla="*/ 55728 h 78352"/>
                <a:gd name="connsiteX35" fmla="*/ 75754 w 138350"/>
                <a:gd name="connsiteY35" fmla="*/ 49708 h 78352"/>
                <a:gd name="connsiteX36" fmla="*/ 85622 w 138350"/>
                <a:gd name="connsiteY36" fmla="*/ 48179 h 78352"/>
                <a:gd name="connsiteX37" fmla="*/ 99240 w 138350"/>
                <a:gd name="connsiteY37" fmla="*/ 49708 h 78352"/>
                <a:gd name="connsiteX38" fmla="*/ 105062 w 138350"/>
                <a:gd name="connsiteY38" fmla="*/ 46699 h 78352"/>
                <a:gd name="connsiteX39" fmla="*/ 110885 w 138350"/>
                <a:gd name="connsiteY39" fmla="*/ 49708 h 78352"/>
                <a:gd name="connsiteX40" fmla="*/ 118680 w 138350"/>
                <a:gd name="connsiteY40" fmla="*/ 51188 h 78352"/>
                <a:gd name="connsiteX41" fmla="*/ 128548 w 138350"/>
                <a:gd name="connsiteY41" fmla="*/ 52669 h 78352"/>
                <a:gd name="connsiteX42" fmla="*/ 130522 w 138350"/>
                <a:gd name="connsiteY42" fmla="*/ 48179 h 78352"/>
                <a:gd name="connsiteX43" fmla="*/ 136344 w 138350"/>
                <a:gd name="connsiteY43" fmla="*/ 48179 h 78352"/>
                <a:gd name="connsiteX44" fmla="*/ 138268 w 138350"/>
                <a:gd name="connsiteY44" fmla="*/ 43639 h 78352"/>
                <a:gd name="connsiteX45" fmla="*/ 136344 w 138350"/>
                <a:gd name="connsiteY45" fmla="*/ 37669 h 78352"/>
                <a:gd name="connsiteX46" fmla="*/ 120753 w 138350"/>
                <a:gd name="connsiteY46" fmla="*/ 31600 h 78352"/>
                <a:gd name="connsiteX47" fmla="*/ 114930 w 138350"/>
                <a:gd name="connsiteY47" fmla="*/ 31600 h 78352"/>
                <a:gd name="connsiteX48" fmla="*/ 107135 w 138350"/>
                <a:gd name="connsiteY48" fmla="*/ 28590 h 78352"/>
                <a:gd name="connsiteX49" fmla="*/ 101313 w 138350"/>
                <a:gd name="connsiteY49" fmla="*/ 28590 h 78352"/>
                <a:gd name="connsiteX50" fmla="*/ 89619 w 138350"/>
                <a:gd name="connsiteY50" fmla="*/ 25581 h 78352"/>
                <a:gd name="connsiteX51" fmla="*/ 81872 w 138350"/>
                <a:gd name="connsiteY51" fmla="*/ 21042 h 78352"/>
                <a:gd name="connsiteX52" fmla="*/ 73929 w 138350"/>
                <a:gd name="connsiteY52" fmla="*/ 21042 h 78352"/>
                <a:gd name="connsiteX53" fmla="*/ 79800 w 138350"/>
                <a:gd name="connsiteY53" fmla="*/ 19561 h 78352"/>
                <a:gd name="connsiteX54" fmla="*/ 87547 w 138350"/>
                <a:gd name="connsiteY54" fmla="*/ 21042 h 78352"/>
                <a:gd name="connsiteX55" fmla="*/ 105062 w 138350"/>
                <a:gd name="connsiteY55" fmla="*/ 22571 h 78352"/>
                <a:gd name="connsiteX56" fmla="*/ 110885 w 138350"/>
                <a:gd name="connsiteY56" fmla="*/ 21042 h 78352"/>
                <a:gd name="connsiteX57" fmla="*/ 106987 w 138350"/>
                <a:gd name="connsiteY57" fmla="*/ 18032 h 78352"/>
                <a:gd name="connsiteX58" fmla="*/ 103138 w 138350"/>
                <a:gd name="connsiteY58" fmla="*/ 18032 h 78352"/>
                <a:gd name="connsiteX59" fmla="*/ 89471 w 138350"/>
                <a:gd name="connsiteY59" fmla="*/ 16502 h 78352"/>
                <a:gd name="connsiteX60" fmla="*/ 83797 w 138350"/>
                <a:gd name="connsiteY60" fmla="*/ 5993 h 78352"/>
                <a:gd name="connsiteX61" fmla="*/ 77975 w 138350"/>
                <a:gd name="connsiteY61" fmla="*/ 5993 h 78352"/>
                <a:gd name="connsiteX62" fmla="*/ 76001 w 138350"/>
                <a:gd name="connsiteY62" fmla="*/ 7473 h 78352"/>
                <a:gd name="connsiteX63" fmla="*/ 70179 w 138350"/>
                <a:gd name="connsiteY63" fmla="*/ 4463 h 78352"/>
                <a:gd name="connsiteX64" fmla="*/ 41019 w 138350"/>
                <a:gd name="connsiteY64" fmla="*/ -27 h 78352"/>
                <a:gd name="connsiteX65" fmla="*/ 37121 w 138350"/>
                <a:gd name="connsiteY65" fmla="*/ 1453 h 78352"/>
                <a:gd name="connsiteX66" fmla="*/ 31299 w 138350"/>
                <a:gd name="connsiteY66" fmla="*/ -27 h 78352"/>
                <a:gd name="connsiteX67" fmla="*/ 17681 w 138350"/>
                <a:gd name="connsiteY67" fmla="*/ 1453 h 78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8350" h="78352">
                  <a:moveTo>
                    <a:pt x="122578" y="54198"/>
                  </a:moveTo>
                  <a:lnTo>
                    <a:pt x="128400" y="57257"/>
                  </a:lnTo>
                  <a:lnTo>
                    <a:pt x="134222" y="58738"/>
                  </a:lnTo>
                  <a:lnTo>
                    <a:pt x="130374" y="61747"/>
                  </a:lnTo>
                  <a:lnTo>
                    <a:pt x="122578" y="58738"/>
                  </a:lnTo>
                  <a:lnTo>
                    <a:pt x="120605" y="55728"/>
                  </a:lnTo>
                  <a:lnTo>
                    <a:pt x="122578" y="54198"/>
                  </a:lnTo>
                  <a:close/>
                  <a:moveTo>
                    <a:pt x="15608" y="7473"/>
                  </a:moveTo>
                  <a:lnTo>
                    <a:pt x="15608" y="9002"/>
                  </a:lnTo>
                  <a:lnTo>
                    <a:pt x="11711" y="16502"/>
                  </a:lnTo>
                  <a:lnTo>
                    <a:pt x="15608" y="21042"/>
                  </a:lnTo>
                  <a:lnTo>
                    <a:pt x="13684" y="27061"/>
                  </a:lnTo>
                  <a:lnTo>
                    <a:pt x="7812" y="30120"/>
                  </a:lnTo>
                  <a:lnTo>
                    <a:pt x="5839" y="31600"/>
                  </a:lnTo>
                  <a:lnTo>
                    <a:pt x="9786" y="37669"/>
                  </a:lnTo>
                  <a:lnTo>
                    <a:pt x="9786" y="48179"/>
                  </a:lnTo>
                  <a:lnTo>
                    <a:pt x="-82" y="55728"/>
                  </a:lnTo>
                  <a:lnTo>
                    <a:pt x="1892" y="58738"/>
                  </a:lnTo>
                  <a:lnTo>
                    <a:pt x="5740" y="58738"/>
                  </a:lnTo>
                  <a:lnTo>
                    <a:pt x="7714" y="64757"/>
                  </a:lnTo>
                  <a:lnTo>
                    <a:pt x="5740" y="70777"/>
                  </a:lnTo>
                  <a:lnTo>
                    <a:pt x="11612" y="73786"/>
                  </a:lnTo>
                  <a:lnTo>
                    <a:pt x="13586" y="76845"/>
                  </a:lnTo>
                  <a:lnTo>
                    <a:pt x="19408" y="78326"/>
                  </a:lnTo>
                  <a:lnTo>
                    <a:pt x="25230" y="69296"/>
                  </a:lnTo>
                  <a:lnTo>
                    <a:pt x="33026" y="58738"/>
                  </a:lnTo>
                  <a:lnTo>
                    <a:pt x="31052" y="55728"/>
                  </a:lnTo>
                  <a:lnTo>
                    <a:pt x="34950" y="51188"/>
                  </a:lnTo>
                  <a:lnTo>
                    <a:pt x="38848" y="54198"/>
                  </a:lnTo>
                  <a:lnTo>
                    <a:pt x="42696" y="55728"/>
                  </a:lnTo>
                  <a:lnTo>
                    <a:pt x="46643" y="48179"/>
                  </a:lnTo>
                  <a:lnTo>
                    <a:pt x="52466" y="51188"/>
                  </a:lnTo>
                  <a:lnTo>
                    <a:pt x="52466" y="55728"/>
                  </a:lnTo>
                  <a:lnTo>
                    <a:pt x="56314" y="58738"/>
                  </a:lnTo>
                  <a:lnTo>
                    <a:pt x="68008" y="55728"/>
                  </a:lnTo>
                  <a:lnTo>
                    <a:pt x="75754" y="49708"/>
                  </a:lnTo>
                  <a:lnTo>
                    <a:pt x="85622" y="48179"/>
                  </a:lnTo>
                  <a:lnTo>
                    <a:pt x="99240" y="49708"/>
                  </a:lnTo>
                  <a:lnTo>
                    <a:pt x="105062" y="46699"/>
                  </a:lnTo>
                  <a:lnTo>
                    <a:pt x="110885" y="49708"/>
                  </a:lnTo>
                  <a:lnTo>
                    <a:pt x="118680" y="51188"/>
                  </a:lnTo>
                  <a:lnTo>
                    <a:pt x="128548" y="52669"/>
                  </a:lnTo>
                  <a:lnTo>
                    <a:pt x="130522" y="48179"/>
                  </a:lnTo>
                  <a:lnTo>
                    <a:pt x="136344" y="48179"/>
                  </a:lnTo>
                  <a:lnTo>
                    <a:pt x="138268" y="43639"/>
                  </a:lnTo>
                  <a:lnTo>
                    <a:pt x="136344" y="37669"/>
                  </a:lnTo>
                  <a:lnTo>
                    <a:pt x="120753" y="31600"/>
                  </a:lnTo>
                  <a:lnTo>
                    <a:pt x="114930" y="31600"/>
                  </a:lnTo>
                  <a:lnTo>
                    <a:pt x="107135" y="28590"/>
                  </a:lnTo>
                  <a:lnTo>
                    <a:pt x="101313" y="28590"/>
                  </a:lnTo>
                  <a:lnTo>
                    <a:pt x="89619" y="25581"/>
                  </a:lnTo>
                  <a:lnTo>
                    <a:pt x="81872" y="21042"/>
                  </a:lnTo>
                  <a:lnTo>
                    <a:pt x="73929" y="21042"/>
                  </a:lnTo>
                  <a:lnTo>
                    <a:pt x="79800" y="19561"/>
                  </a:lnTo>
                  <a:lnTo>
                    <a:pt x="87547" y="21042"/>
                  </a:lnTo>
                  <a:lnTo>
                    <a:pt x="105062" y="22571"/>
                  </a:lnTo>
                  <a:lnTo>
                    <a:pt x="110885" y="21042"/>
                  </a:lnTo>
                  <a:lnTo>
                    <a:pt x="106987" y="18032"/>
                  </a:lnTo>
                  <a:lnTo>
                    <a:pt x="103138" y="18032"/>
                  </a:lnTo>
                  <a:lnTo>
                    <a:pt x="89471" y="16502"/>
                  </a:lnTo>
                  <a:lnTo>
                    <a:pt x="83797" y="5993"/>
                  </a:lnTo>
                  <a:lnTo>
                    <a:pt x="77975" y="5993"/>
                  </a:lnTo>
                  <a:lnTo>
                    <a:pt x="76001" y="7473"/>
                  </a:lnTo>
                  <a:lnTo>
                    <a:pt x="70179" y="4463"/>
                  </a:lnTo>
                  <a:lnTo>
                    <a:pt x="41019" y="-27"/>
                  </a:lnTo>
                  <a:lnTo>
                    <a:pt x="37121" y="1453"/>
                  </a:lnTo>
                  <a:lnTo>
                    <a:pt x="31299" y="-27"/>
                  </a:lnTo>
                  <a:lnTo>
                    <a:pt x="17681" y="145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Graphic 2">
              <a:extLst>
                <a:ext uri="{FF2B5EF4-FFF2-40B4-BE49-F238E27FC236}">
                  <a16:creationId xmlns:a16="http://schemas.microsoft.com/office/drawing/2014/main" id="{A11130B7-E3D5-4335-AE1D-21F5565DCD5F}"/>
                </a:ext>
              </a:extLst>
            </p:cNvPr>
            <p:cNvSpPr/>
            <p:nvPr/>
          </p:nvSpPr>
          <p:spPr>
            <a:xfrm>
              <a:off x="2783495" y="4075302"/>
              <a:ext cx="6768" cy="6768"/>
            </a:xfrm>
            <a:custGeom>
              <a:avLst/>
              <a:gdLst>
                <a:gd name="connsiteX0" fmla="*/ 7369 w 7450"/>
                <a:gd name="connsiteY0" fmla="*/ -27 h 7450"/>
                <a:gd name="connsiteX1" fmla="*/ 1398 w 7450"/>
                <a:gd name="connsiteY1" fmla="*/ -27 h 7450"/>
                <a:gd name="connsiteX2" fmla="*/ -82 w 7450"/>
                <a:gd name="connsiteY2" fmla="*/ 7423 h 7450"/>
                <a:gd name="connsiteX3" fmla="*/ 5888 w 7450"/>
                <a:gd name="connsiteY3" fmla="*/ 5549 h 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50" h="7450">
                  <a:moveTo>
                    <a:pt x="7369" y="-27"/>
                  </a:moveTo>
                  <a:lnTo>
                    <a:pt x="1398" y="-27"/>
                  </a:lnTo>
                  <a:lnTo>
                    <a:pt x="-82" y="7423"/>
                  </a:lnTo>
                  <a:lnTo>
                    <a:pt x="5888" y="5549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Graphic 2">
              <a:extLst>
                <a:ext uri="{FF2B5EF4-FFF2-40B4-BE49-F238E27FC236}">
                  <a16:creationId xmlns:a16="http://schemas.microsoft.com/office/drawing/2014/main" id="{C4DA07E1-6F4D-4814-8489-9046F1477D1C}"/>
                </a:ext>
              </a:extLst>
            </p:cNvPr>
            <p:cNvSpPr/>
            <p:nvPr/>
          </p:nvSpPr>
          <p:spPr>
            <a:xfrm>
              <a:off x="2881844" y="4102419"/>
              <a:ext cx="74681" cy="23712"/>
            </a:xfrm>
            <a:custGeom>
              <a:avLst/>
              <a:gdLst>
                <a:gd name="connsiteX0" fmla="*/ 9687 w 82200"/>
                <a:gd name="connsiteY0" fmla="*/ 1404 h 26100"/>
                <a:gd name="connsiteX1" fmla="*/ 19556 w 82200"/>
                <a:gd name="connsiteY1" fmla="*/ 1404 h 26100"/>
                <a:gd name="connsiteX2" fmla="*/ 31249 w 82200"/>
                <a:gd name="connsiteY2" fmla="*/ -27 h 26100"/>
                <a:gd name="connsiteX3" fmla="*/ 58633 w 82200"/>
                <a:gd name="connsiteY3" fmla="*/ -27 h 26100"/>
                <a:gd name="connsiteX4" fmla="*/ 66478 w 82200"/>
                <a:gd name="connsiteY4" fmla="*/ 8657 h 26100"/>
                <a:gd name="connsiteX5" fmla="*/ 74274 w 82200"/>
                <a:gd name="connsiteY5" fmla="*/ 10137 h 26100"/>
                <a:gd name="connsiteX6" fmla="*/ 82119 w 82200"/>
                <a:gd name="connsiteY6" fmla="*/ 15959 h 26100"/>
                <a:gd name="connsiteX7" fmla="*/ 82119 w 82200"/>
                <a:gd name="connsiteY7" fmla="*/ 17390 h 26100"/>
                <a:gd name="connsiteX8" fmla="*/ 68403 w 82200"/>
                <a:gd name="connsiteY8" fmla="*/ 17390 h 26100"/>
                <a:gd name="connsiteX9" fmla="*/ 62531 w 82200"/>
                <a:gd name="connsiteY9" fmla="*/ 15959 h 26100"/>
                <a:gd name="connsiteX10" fmla="*/ 60607 w 82200"/>
                <a:gd name="connsiteY10" fmla="*/ 21732 h 26100"/>
                <a:gd name="connsiteX11" fmla="*/ 56709 w 82200"/>
                <a:gd name="connsiteY11" fmla="*/ 23163 h 26100"/>
                <a:gd name="connsiteX12" fmla="*/ 54735 w 82200"/>
                <a:gd name="connsiteY12" fmla="*/ 20252 h 26100"/>
                <a:gd name="connsiteX13" fmla="*/ 48864 w 82200"/>
                <a:gd name="connsiteY13" fmla="*/ 20252 h 26100"/>
                <a:gd name="connsiteX14" fmla="*/ 48864 w 82200"/>
                <a:gd name="connsiteY14" fmla="*/ 26074 h 26100"/>
                <a:gd name="connsiteX15" fmla="*/ 38996 w 82200"/>
                <a:gd name="connsiteY15" fmla="*/ 26074 h 26100"/>
                <a:gd name="connsiteX16" fmla="*/ 33124 w 82200"/>
                <a:gd name="connsiteY16" fmla="*/ 21732 h 26100"/>
                <a:gd name="connsiteX17" fmla="*/ 25328 w 82200"/>
                <a:gd name="connsiteY17" fmla="*/ 23163 h 26100"/>
                <a:gd name="connsiteX18" fmla="*/ 21381 w 82200"/>
                <a:gd name="connsiteY18" fmla="*/ 17390 h 26100"/>
                <a:gd name="connsiteX19" fmla="*/ 17483 w 82200"/>
                <a:gd name="connsiteY19" fmla="*/ 11568 h 26100"/>
                <a:gd name="connsiteX20" fmla="*/ 13585 w 82200"/>
                <a:gd name="connsiteY20" fmla="*/ 8657 h 26100"/>
                <a:gd name="connsiteX21" fmla="*/ 5740 w 82200"/>
                <a:gd name="connsiteY21" fmla="*/ 10137 h 26100"/>
                <a:gd name="connsiteX22" fmla="*/ -82 w 82200"/>
                <a:gd name="connsiteY22" fmla="*/ 5795 h 26100"/>
                <a:gd name="connsiteX23" fmla="*/ 3816 w 82200"/>
                <a:gd name="connsiteY23" fmla="*/ 1404 h 2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200" h="26100">
                  <a:moveTo>
                    <a:pt x="9687" y="1404"/>
                  </a:moveTo>
                  <a:lnTo>
                    <a:pt x="19556" y="1404"/>
                  </a:lnTo>
                  <a:lnTo>
                    <a:pt x="31249" y="-27"/>
                  </a:lnTo>
                  <a:lnTo>
                    <a:pt x="58633" y="-27"/>
                  </a:lnTo>
                  <a:lnTo>
                    <a:pt x="66478" y="8657"/>
                  </a:lnTo>
                  <a:lnTo>
                    <a:pt x="74274" y="10137"/>
                  </a:lnTo>
                  <a:lnTo>
                    <a:pt x="82119" y="15959"/>
                  </a:lnTo>
                  <a:lnTo>
                    <a:pt x="82119" y="17390"/>
                  </a:lnTo>
                  <a:lnTo>
                    <a:pt x="68403" y="17390"/>
                  </a:lnTo>
                  <a:lnTo>
                    <a:pt x="62531" y="15959"/>
                  </a:lnTo>
                  <a:lnTo>
                    <a:pt x="60607" y="21732"/>
                  </a:lnTo>
                  <a:lnTo>
                    <a:pt x="56709" y="23163"/>
                  </a:lnTo>
                  <a:lnTo>
                    <a:pt x="54735" y="20252"/>
                  </a:lnTo>
                  <a:lnTo>
                    <a:pt x="48864" y="20252"/>
                  </a:lnTo>
                  <a:lnTo>
                    <a:pt x="48864" y="26074"/>
                  </a:lnTo>
                  <a:lnTo>
                    <a:pt x="38996" y="26074"/>
                  </a:lnTo>
                  <a:lnTo>
                    <a:pt x="33124" y="21732"/>
                  </a:lnTo>
                  <a:lnTo>
                    <a:pt x="25328" y="23163"/>
                  </a:lnTo>
                  <a:lnTo>
                    <a:pt x="21381" y="17390"/>
                  </a:lnTo>
                  <a:lnTo>
                    <a:pt x="17483" y="11568"/>
                  </a:lnTo>
                  <a:lnTo>
                    <a:pt x="13585" y="8657"/>
                  </a:lnTo>
                  <a:lnTo>
                    <a:pt x="5740" y="10137"/>
                  </a:lnTo>
                  <a:lnTo>
                    <a:pt x="-82" y="5795"/>
                  </a:lnTo>
                  <a:lnTo>
                    <a:pt x="3816" y="140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Graphic 2">
              <a:extLst>
                <a:ext uri="{FF2B5EF4-FFF2-40B4-BE49-F238E27FC236}">
                  <a16:creationId xmlns:a16="http://schemas.microsoft.com/office/drawing/2014/main" id="{41347CAF-AEB2-48C8-9892-0BA241B353F5}"/>
                </a:ext>
              </a:extLst>
            </p:cNvPr>
            <p:cNvSpPr/>
            <p:nvPr/>
          </p:nvSpPr>
          <p:spPr>
            <a:xfrm>
              <a:off x="3010856" y="4051542"/>
              <a:ext cx="91357" cy="64638"/>
            </a:xfrm>
            <a:custGeom>
              <a:avLst/>
              <a:gdLst>
                <a:gd name="connsiteX0" fmla="*/ 86067 w 100555"/>
                <a:gd name="connsiteY0" fmla="*/ 67767 h 71148"/>
                <a:gd name="connsiteX1" fmla="*/ 83994 w 100555"/>
                <a:gd name="connsiteY1" fmla="*/ 64609 h 71148"/>
                <a:gd name="connsiteX2" fmla="*/ 94306 w 100555"/>
                <a:gd name="connsiteY2" fmla="*/ 56715 h 71148"/>
                <a:gd name="connsiteX3" fmla="*/ 94306 w 100555"/>
                <a:gd name="connsiteY3" fmla="*/ 47291 h 71148"/>
                <a:gd name="connsiteX4" fmla="*/ 90162 w 100555"/>
                <a:gd name="connsiteY4" fmla="*/ 40975 h 71148"/>
                <a:gd name="connsiteX5" fmla="*/ 92283 w 100555"/>
                <a:gd name="connsiteY5" fmla="*/ 39396 h 71148"/>
                <a:gd name="connsiteX6" fmla="*/ 98402 w 100555"/>
                <a:gd name="connsiteY6" fmla="*/ 36238 h 71148"/>
                <a:gd name="connsiteX7" fmla="*/ 100474 w 100555"/>
                <a:gd name="connsiteY7" fmla="*/ 29923 h 71148"/>
                <a:gd name="connsiteX8" fmla="*/ 96378 w 100555"/>
                <a:gd name="connsiteY8" fmla="*/ 24989 h 71148"/>
                <a:gd name="connsiteX9" fmla="*/ 100474 w 100555"/>
                <a:gd name="connsiteY9" fmla="*/ 18673 h 71148"/>
                <a:gd name="connsiteX10" fmla="*/ 100474 w 100555"/>
                <a:gd name="connsiteY10" fmla="*/ 17045 h 71148"/>
                <a:gd name="connsiteX11" fmla="*/ 98402 w 100555"/>
                <a:gd name="connsiteY11" fmla="*/ 17045 h 71148"/>
                <a:gd name="connsiteX12" fmla="*/ 92283 w 100555"/>
                <a:gd name="connsiteY12" fmla="*/ 15466 h 71148"/>
                <a:gd name="connsiteX13" fmla="*/ 86067 w 100555"/>
                <a:gd name="connsiteY13" fmla="*/ 15466 h 71148"/>
                <a:gd name="connsiteX14" fmla="*/ 79899 w 100555"/>
                <a:gd name="connsiteY14" fmla="*/ 10532 h 71148"/>
                <a:gd name="connsiteX15" fmla="*/ 65492 w 100555"/>
                <a:gd name="connsiteY15" fmla="*/ 8953 h 71148"/>
                <a:gd name="connsiteX16" fmla="*/ 61396 w 100555"/>
                <a:gd name="connsiteY16" fmla="*/ 12111 h 71148"/>
                <a:gd name="connsiteX17" fmla="*/ 55229 w 100555"/>
                <a:gd name="connsiteY17" fmla="*/ 8953 h 71148"/>
                <a:gd name="connsiteX18" fmla="*/ 41019 w 100555"/>
                <a:gd name="connsiteY18" fmla="*/ 8953 h 71148"/>
                <a:gd name="connsiteX19" fmla="*/ 38996 w 100555"/>
                <a:gd name="connsiteY19" fmla="*/ 13887 h 71148"/>
                <a:gd name="connsiteX20" fmla="*/ 47186 w 100555"/>
                <a:gd name="connsiteY20" fmla="*/ 16996 h 71148"/>
                <a:gd name="connsiteX21" fmla="*/ 65689 w 100555"/>
                <a:gd name="connsiteY21" fmla="*/ 21930 h 71148"/>
                <a:gd name="connsiteX22" fmla="*/ 63666 w 100555"/>
                <a:gd name="connsiteY22" fmla="*/ 25137 h 71148"/>
                <a:gd name="connsiteX23" fmla="*/ 65689 w 100555"/>
                <a:gd name="connsiteY23" fmla="*/ 30071 h 71148"/>
                <a:gd name="connsiteX24" fmla="*/ 63666 w 100555"/>
                <a:gd name="connsiteY24" fmla="*/ 37965 h 71148"/>
                <a:gd name="connsiteX25" fmla="*/ 67761 w 100555"/>
                <a:gd name="connsiteY25" fmla="*/ 42899 h 71148"/>
                <a:gd name="connsiteX26" fmla="*/ 73929 w 100555"/>
                <a:gd name="connsiteY26" fmla="*/ 44429 h 71148"/>
                <a:gd name="connsiteX27" fmla="*/ 82169 w 100555"/>
                <a:gd name="connsiteY27" fmla="*/ 50745 h 71148"/>
                <a:gd name="connsiteX28" fmla="*/ 80096 w 100555"/>
                <a:gd name="connsiteY28" fmla="*/ 53902 h 71148"/>
                <a:gd name="connsiteX29" fmla="*/ 65689 w 100555"/>
                <a:gd name="connsiteY29" fmla="*/ 53902 h 71148"/>
                <a:gd name="connsiteX30" fmla="*/ 61594 w 100555"/>
                <a:gd name="connsiteY30" fmla="*/ 55481 h 71148"/>
                <a:gd name="connsiteX31" fmla="*/ 55426 w 100555"/>
                <a:gd name="connsiteY31" fmla="*/ 53902 h 71148"/>
                <a:gd name="connsiteX32" fmla="*/ 47186 w 100555"/>
                <a:gd name="connsiteY32" fmla="*/ 55481 h 71148"/>
                <a:gd name="connsiteX33" fmla="*/ 41019 w 100555"/>
                <a:gd name="connsiteY33" fmla="*/ 52225 h 71148"/>
                <a:gd name="connsiteX34" fmla="*/ 30756 w 100555"/>
                <a:gd name="connsiteY34" fmla="*/ 55383 h 71148"/>
                <a:gd name="connsiteX35" fmla="*/ 30756 w 100555"/>
                <a:gd name="connsiteY35" fmla="*/ 52225 h 71148"/>
                <a:gd name="connsiteX36" fmla="*/ 28684 w 100555"/>
                <a:gd name="connsiteY36" fmla="*/ 50646 h 71148"/>
                <a:gd name="connsiteX37" fmla="*/ 16349 w 100555"/>
                <a:gd name="connsiteY37" fmla="*/ 53804 h 71148"/>
                <a:gd name="connsiteX38" fmla="*/ 10230 w 100555"/>
                <a:gd name="connsiteY38" fmla="*/ 48870 h 71148"/>
                <a:gd name="connsiteX39" fmla="*/ 4013 w 100555"/>
                <a:gd name="connsiteY39" fmla="*/ 52027 h 71148"/>
                <a:gd name="connsiteX40" fmla="*/ -82 w 100555"/>
                <a:gd name="connsiteY40" fmla="*/ 55185 h 71148"/>
                <a:gd name="connsiteX41" fmla="*/ 4013 w 100555"/>
                <a:gd name="connsiteY41" fmla="*/ 60119 h 71148"/>
                <a:gd name="connsiteX42" fmla="*/ 12253 w 100555"/>
                <a:gd name="connsiteY42" fmla="*/ 61698 h 71148"/>
                <a:gd name="connsiteX43" fmla="*/ 20493 w 100555"/>
                <a:gd name="connsiteY43" fmla="*/ 69593 h 71148"/>
                <a:gd name="connsiteX44" fmla="*/ 24588 w 100555"/>
                <a:gd name="connsiteY44" fmla="*/ 71122 h 71148"/>
                <a:gd name="connsiteX45" fmla="*/ 24588 w 100555"/>
                <a:gd name="connsiteY45" fmla="*/ 66188 h 71148"/>
                <a:gd name="connsiteX46" fmla="*/ 28684 w 100555"/>
                <a:gd name="connsiteY46" fmla="*/ 63080 h 71148"/>
                <a:gd name="connsiteX47" fmla="*/ 45163 w 100555"/>
                <a:gd name="connsiteY47" fmla="*/ 63080 h 71148"/>
                <a:gd name="connsiteX48" fmla="*/ 51331 w 100555"/>
                <a:gd name="connsiteY48" fmla="*/ 66188 h 71148"/>
                <a:gd name="connsiteX49" fmla="*/ 69784 w 100555"/>
                <a:gd name="connsiteY49" fmla="*/ 66188 h 71148"/>
                <a:gd name="connsiteX50" fmla="*/ 73929 w 100555"/>
                <a:gd name="connsiteY50" fmla="*/ 64659 h 71148"/>
                <a:gd name="connsiteX51" fmla="*/ 80096 w 100555"/>
                <a:gd name="connsiteY51" fmla="*/ 67816 h 71148"/>
                <a:gd name="connsiteX52" fmla="*/ 57301 w 100555"/>
                <a:gd name="connsiteY52" fmla="*/ 3131 h 71148"/>
                <a:gd name="connsiteX53" fmla="*/ 63469 w 100555"/>
                <a:gd name="connsiteY53" fmla="*/ -27 h 71148"/>
                <a:gd name="connsiteX54" fmla="*/ 75804 w 100555"/>
                <a:gd name="connsiteY54" fmla="*/ 6289 h 71148"/>
                <a:gd name="connsiteX55" fmla="*/ 63469 w 100555"/>
                <a:gd name="connsiteY55" fmla="*/ 6289 h 71148"/>
                <a:gd name="connsiteX56" fmla="*/ 44966 w 100555"/>
                <a:gd name="connsiteY56" fmla="*/ 40975 h 71148"/>
                <a:gd name="connsiteX57" fmla="*/ 51133 w 100555"/>
                <a:gd name="connsiteY57" fmla="*/ 37817 h 71148"/>
                <a:gd name="connsiteX58" fmla="*/ 57301 w 100555"/>
                <a:gd name="connsiteY58" fmla="*/ 42751 h 71148"/>
                <a:gd name="connsiteX59" fmla="*/ 59324 w 100555"/>
                <a:gd name="connsiteY59" fmla="*/ 47685 h 71148"/>
                <a:gd name="connsiteX60" fmla="*/ 49061 w 100555"/>
                <a:gd name="connsiteY60" fmla="*/ 44478 h 71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00555" h="71148">
                  <a:moveTo>
                    <a:pt x="86067" y="67767"/>
                  </a:moveTo>
                  <a:lnTo>
                    <a:pt x="83994" y="64609"/>
                  </a:lnTo>
                  <a:lnTo>
                    <a:pt x="94306" y="56715"/>
                  </a:lnTo>
                  <a:lnTo>
                    <a:pt x="94306" y="47291"/>
                  </a:lnTo>
                  <a:lnTo>
                    <a:pt x="90162" y="40975"/>
                  </a:lnTo>
                  <a:lnTo>
                    <a:pt x="92283" y="39396"/>
                  </a:lnTo>
                  <a:lnTo>
                    <a:pt x="98402" y="36238"/>
                  </a:lnTo>
                  <a:lnTo>
                    <a:pt x="100474" y="29923"/>
                  </a:lnTo>
                  <a:lnTo>
                    <a:pt x="96378" y="24989"/>
                  </a:lnTo>
                  <a:lnTo>
                    <a:pt x="100474" y="18673"/>
                  </a:lnTo>
                  <a:lnTo>
                    <a:pt x="100474" y="17045"/>
                  </a:lnTo>
                  <a:lnTo>
                    <a:pt x="98402" y="17045"/>
                  </a:lnTo>
                  <a:lnTo>
                    <a:pt x="92283" y="15466"/>
                  </a:lnTo>
                  <a:lnTo>
                    <a:pt x="86067" y="15466"/>
                  </a:lnTo>
                  <a:lnTo>
                    <a:pt x="79899" y="10532"/>
                  </a:lnTo>
                  <a:lnTo>
                    <a:pt x="65492" y="8953"/>
                  </a:lnTo>
                  <a:lnTo>
                    <a:pt x="61396" y="12111"/>
                  </a:lnTo>
                  <a:lnTo>
                    <a:pt x="55229" y="8953"/>
                  </a:lnTo>
                  <a:lnTo>
                    <a:pt x="41019" y="8953"/>
                  </a:lnTo>
                  <a:lnTo>
                    <a:pt x="38996" y="13887"/>
                  </a:lnTo>
                  <a:cubicBezTo>
                    <a:pt x="41848" y="14573"/>
                    <a:pt x="44596" y="15619"/>
                    <a:pt x="47186" y="16996"/>
                  </a:cubicBezTo>
                  <a:lnTo>
                    <a:pt x="65689" y="21930"/>
                  </a:lnTo>
                  <a:lnTo>
                    <a:pt x="63666" y="25137"/>
                  </a:lnTo>
                  <a:lnTo>
                    <a:pt x="65689" y="30071"/>
                  </a:lnTo>
                  <a:lnTo>
                    <a:pt x="63666" y="37965"/>
                  </a:lnTo>
                  <a:lnTo>
                    <a:pt x="67761" y="42899"/>
                  </a:lnTo>
                  <a:lnTo>
                    <a:pt x="73929" y="44429"/>
                  </a:lnTo>
                  <a:lnTo>
                    <a:pt x="82169" y="50745"/>
                  </a:lnTo>
                  <a:lnTo>
                    <a:pt x="80096" y="53902"/>
                  </a:lnTo>
                  <a:lnTo>
                    <a:pt x="65689" y="53902"/>
                  </a:lnTo>
                  <a:lnTo>
                    <a:pt x="61594" y="55481"/>
                  </a:lnTo>
                  <a:lnTo>
                    <a:pt x="55426" y="53902"/>
                  </a:lnTo>
                  <a:lnTo>
                    <a:pt x="47186" y="55481"/>
                  </a:lnTo>
                  <a:lnTo>
                    <a:pt x="41019" y="52225"/>
                  </a:lnTo>
                  <a:lnTo>
                    <a:pt x="30756" y="55383"/>
                  </a:lnTo>
                  <a:lnTo>
                    <a:pt x="30756" y="52225"/>
                  </a:lnTo>
                  <a:lnTo>
                    <a:pt x="28684" y="50646"/>
                  </a:lnTo>
                  <a:lnTo>
                    <a:pt x="16349" y="53804"/>
                  </a:lnTo>
                  <a:lnTo>
                    <a:pt x="10230" y="48870"/>
                  </a:lnTo>
                  <a:lnTo>
                    <a:pt x="4013" y="52027"/>
                  </a:lnTo>
                  <a:lnTo>
                    <a:pt x="-82" y="55185"/>
                  </a:lnTo>
                  <a:lnTo>
                    <a:pt x="4013" y="60119"/>
                  </a:lnTo>
                  <a:lnTo>
                    <a:pt x="12253" y="61698"/>
                  </a:lnTo>
                  <a:lnTo>
                    <a:pt x="20493" y="69593"/>
                  </a:lnTo>
                  <a:lnTo>
                    <a:pt x="24588" y="71122"/>
                  </a:lnTo>
                  <a:lnTo>
                    <a:pt x="24588" y="66188"/>
                  </a:lnTo>
                  <a:lnTo>
                    <a:pt x="28684" y="63080"/>
                  </a:lnTo>
                  <a:lnTo>
                    <a:pt x="45163" y="63080"/>
                  </a:lnTo>
                  <a:lnTo>
                    <a:pt x="51331" y="66188"/>
                  </a:lnTo>
                  <a:lnTo>
                    <a:pt x="69784" y="66188"/>
                  </a:lnTo>
                  <a:lnTo>
                    <a:pt x="73929" y="64659"/>
                  </a:lnTo>
                  <a:lnTo>
                    <a:pt x="80096" y="67816"/>
                  </a:lnTo>
                  <a:close/>
                  <a:moveTo>
                    <a:pt x="57301" y="3131"/>
                  </a:moveTo>
                  <a:lnTo>
                    <a:pt x="63469" y="-27"/>
                  </a:lnTo>
                  <a:lnTo>
                    <a:pt x="75804" y="6289"/>
                  </a:lnTo>
                  <a:lnTo>
                    <a:pt x="63469" y="6289"/>
                  </a:lnTo>
                  <a:close/>
                  <a:moveTo>
                    <a:pt x="44966" y="40975"/>
                  </a:moveTo>
                  <a:lnTo>
                    <a:pt x="51133" y="37817"/>
                  </a:lnTo>
                  <a:lnTo>
                    <a:pt x="57301" y="42751"/>
                  </a:lnTo>
                  <a:lnTo>
                    <a:pt x="59324" y="47685"/>
                  </a:lnTo>
                  <a:lnTo>
                    <a:pt x="49061" y="4447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Graphic 2">
              <a:extLst>
                <a:ext uri="{FF2B5EF4-FFF2-40B4-BE49-F238E27FC236}">
                  <a16:creationId xmlns:a16="http://schemas.microsoft.com/office/drawing/2014/main" id="{FC96C365-5163-4318-9AA1-4916091DDD16}"/>
                </a:ext>
              </a:extLst>
            </p:cNvPr>
            <p:cNvSpPr/>
            <p:nvPr/>
          </p:nvSpPr>
          <p:spPr>
            <a:xfrm>
              <a:off x="2671608" y="3956696"/>
              <a:ext cx="352826" cy="105114"/>
            </a:xfrm>
            <a:custGeom>
              <a:avLst/>
              <a:gdLst>
                <a:gd name="connsiteX0" fmla="*/ 74767 w 388357"/>
                <a:gd name="connsiteY0" fmla="*/ 48080 h 115703"/>
                <a:gd name="connsiteX1" fmla="*/ 78715 w 388357"/>
                <a:gd name="connsiteY1" fmla="*/ 42061 h 115703"/>
                <a:gd name="connsiteX2" fmla="*/ 84635 w 388357"/>
                <a:gd name="connsiteY2" fmla="*/ 43590 h 115703"/>
                <a:gd name="connsiteX3" fmla="*/ 90556 w 388357"/>
                <a:gd name="connsiteY3" fmla="*/ 51090 h 115703"/>
                <a:gd name="connsiteX4" fmla="*/ 88583 w 388357"/>
                <a:gd name="connsiteY4" fmla="*/ 55580 h 115703"/>
                <a:gd name="connsiteX5" fmla="*/ 78715 w 388357"/>
                <a:gd name="connsiteY5" fmla="*/ 58589 h 115703"/>
                <a:gd name="connsiteX6" fmla="*/ 68847 w 388357"/>
                <a:gd name="connsiteY6" fmla="*/ 55580 h 115703"/>
                <a:gd name="connsiteX7" fmla="*/ 68847 w 388357"/>
                <a:gd name="connsiteY7" fmla="*/ 52570 h 115703"/>
                <a:gd name="connsiteX8" fmla="*/ 72794 w 388357"/>
                <a:gd name="connsiteY8" fmla="*/ 54050 h 115703"/>
                <a:gd name="connsiteX9" fmla="*/ 76692 w 388357"/>
                <a:gd name="connsiteY9" fmla="*/ 55580 h 115703"/>
                <a:gd name="connsiteX10" fmla="*/ 80639 w 388357"/>
                <a:gd name="connsiteY10" fmla="*/ 52570 h 115703"/>
                <a:gd name="connsiteX11" fmla="*/ 76692 w 388357"/>
                <a:gd name="connsiteY11" fmla="*/ 51090 h 115703"/>
                <a:gd name="connsiteX12" fmla="*/ 74718 w 388357"/>
                <a:gd name="connsiteY12" fmla="*/ 48080 h 115703"/>
                <a:gd name="connsiteX13" fmla="*/ 23552 w 388357"/>
                <a:gd name="connsiteY13" fmla="*/ 31551 h 115703"/>
                <a:gd name="connsiteX14" fmla="*/ 27500 w 388357"/>
                <a:gd name="connsiteY14" fmla="*/ 36041 h 115703"/>
                <a:gd name="connsiteX15" fmla="*/ 25526 w 388357"/>
                <a:gd name="connsiteY15" fmla="*/ 39051 h 115703"/>
                <a:gd name="connsiteX16" fmla="*/ 19605 w 388357"/>
                <a:gd name="connsiteY16" fmla="*/ 36041 h 115703"/>
                <a:gd name="connsiteX17" fmla="*/ 7813 w 388357"/>
                <a:gd name="connsiteY17" fmla="*/ 42061 h 115703"/>
                <a:gd name="connsiteX18" fmla="*/ 3865 w 388357"/>
                <a:gd name="connsiteY18" fmla="*/ 42061 h 115703"/>
                <a:gd name="connsiteX19" fmla="*/ -82 w 388357"/>
                <a:gd name="connsiteY19" fmla="*/ 45070 h 115703"/>
                <a:gd name="connsiteX20" fmla="*/ 9786 w 388357"/>
                <a:gd name="connsiteY20" fmla="*/ 49609 h 115703"/>
                <a:gd name="connsiteX21" fmla="*/ 15707 w 388357"/>
                <a:gd name="connsiteY21" fmla="*/ 40580 h 115703"/>
                <a:gd name="connsiteX22" fmla="*/ 17631 w 388357"/>
                <a:gd name="connsiteY22" fmla="*/ 42061 h 115703"/>
                <a:gd name="connsiteX23" fmla="*/ 19704 w 388357"/>
                <a:gd name="connsiteY23" fmla="*/ 48080 h 115703"/>
                <a:gd name="connsiteX24" fmla="*/ 27598 w 388357"/>
                <a:gd name="connsiteY24" fmla="*/ 42061 h 115703"/>
                <a:gd name="connsiteX25" fmla="*/ 33519 w 388357"/>
                <a:gd name="connsiteY25" fmla="*/ 42061 h 115703"/>
                <a:gd name="connsiteX26" fmla="*/ 41414 w 388357"/>
                <a:gd name="connsiteY26" fmla="*/ 33081 h 115703"/>
                <a:gd name="connsiteX27" fmla="*/ 51282 w 388357"/>
                <a:gd name="connsiteY27" fmla="*/ 34561 h 115703"/>
                <a:gd name="connsiteX28" fmla="*/ 55229 w 388357"/>
                <a:gd name="connsiteY28" fmla="*/ 33081 h 115703"/>
                <a:gd name="connsiteX29" fmla="*/ 59176 w 388357"/>
                <a:gd name="connsiteY29" fmla="*/ 36041 h 115703"/>
                <a:gd name="connsiteX30" fmla="*/ 65097 w 388357"/>
                <a:gd name="connsiteY30" fmla="*/ 34561 h 115703"/>
                <a:gd name="connsiteX31" fmla="*/ 76889 w 388357"/>
                <a:gd name="connsiteY31" fmla="*/ 24051 h 115703"/>
                <a:gd name="connsiteX32" fmla="*/ 82810 w 388357"/>
                <a:gd name="connsiteY32" fmla="*/ 22522 h 115703"/>
                <a:gd name="connsiteX33" fmla="*/ 88731 w 388357"/>
                <a:gd name="connsiteY33" fmla="*/ 18032 h 115703"/>
                <a:gd name="connsiteX34" fmla="*/ 106444 w 388357"/>
                <a:gd name="connsiteY34" fmla="*/ 18032 h 115703"/>
                <a:gd name="connsiteX35" fmla="*/ 120259 w 388357"/>
                <a:gd name="connsiteY35" fmla="*/ 21042 h 115703"/>
                <a:gd name="connsiteX36" fmla="*/ 124207 w 388357"/>
                <a:gd name="connsiteY36" fmla="*/ 24051 h 115703"/>
                <a:gd name="connsiteX37" fmla="*/ 120259 w 388357"/>
                <a:gd name="connsiteY37" fmla="*/ 27061 h 115703"/>
                <a:gd name="connsiteX38" fmla="*/ 112365 w 388357"/>
                <a:gd name="connsiteY38" fmla="*/ 27061 h 115703"/>
                <a:gd name="connsiteX39" fmla="*/ 108418 w 388357"/>
                <a:gd name="connsiteY39" fmla="*/ 30022 h 115703"/>
                <a:gd name="connsiteX40" fmla="*/ 112365 w 388357"/>
                <a:gd name="connsiteY40" fmla="*/ 33081 h 115703"/>
                <a:gd name="connsiteX41" fmla="*/ 134025 w 388357"/>
                <a:gd name="connsiteY41" fmla="*/ 36041 h 115703"/>
                <a:gd name="connsiteX42" fmla="*/ 139946 w 388357"/>
                <a:gd name="connsiteY42" fmla="*/ 34561 h 115703"/>
                <a:gd name="connsiteX43" fmla="*/ 145867 w 388357"/>
                <a:gd name="connsiteY43" fmla="*/ 34561 h 115703"/>
                <a:gd name="connsiteX44" fmla="*/ 151788 w 388357"/>
                <a:gd name="connsiteY44" fmla="*/ 39051 h 115703"/>
                <a:gd name="connsiteX45" fmla="*/ 165603 w 388357"/>
                <a:gd name="connsiteY45" fmla="*/ 39051 h 115703"/>
                <a:gd name="connsiteX46" fmla="*/ 167527 w 388357"/>
                <a:gd name="connsiteY46" fmla="*/ 36041 h 115703"/>
                <a:gd name="connsiteX47" fmla="*/ 171475 w 388357"/>
                <a:gd name="connsiteY47" fmla="*/ 39051 h 115703"/>
                <a:gd name="connsiteX48" fmla="*/ 175422 w 388357"/>
                <a:gd name="connsiteY48" fmla="*/ 42061 h 115703"/>
                <a:gd name="connsiteX49" fmla="*/ 185290 w 388357"/>
                <a:gd name="connsiteY49" fmla="*/ 51090 h 115703"/>
                <a:gd name="connsiteX50" fmla="*/ 195158 w 388357"/>
                <a:gd name="connsiteY50" fmla="*/ 51090 h 115703"/>
                <a:gd name="connsiteX51" fmla="*/ 199105 w 388357"/>
                <a:gd name="connsiteY51" fmla="*/ 49609 h 115703"/>
                <a:gd name="connsiteX52" fmla="*/ 205026 w 388357"/>
                <a:gd name="connsiteY52" fmla="*/ 54050 h 115703"/>
                <a:gd name="connsiteX53" fmla="*/ 212920 w 388357"/>
                <a:gd name="connsiteY53" fmla="*/ 54050 h 115703"/>
                <a:gd name="connsiteX54" fmla="*/ 216818 w 388357"/>
                <a:gd name="connsiteY54" fmla="*/ 55580 h 115703"/>
                <a:gd name="connsiteX55" fmla="*/ 226687 w 388357"/>
                <a:gd name="connsiteY55" fmla="*/ 52570 h 115703"/>
                <a:gd name="connsiteX56" fmla="*/ 230634 w 388357"/>
                <a:gd name="connsiteY56" fmla="*/ 54050 h 115703"/>
                <a:gd name="connsiteX57" fmla="*/ 236555 w 388357"/>
                <a:gd name="connsiteY57" fmla="*/ 70629 h 115703"/>
                <a:gd name="connsiteX58" fmla="*/ 250370 w 388357"/>
                <a:gd name="connsiteY58" fmla="*/ 84148 h 115703"/>
                <a:gd name="connsiteX59" fmla="*/ 256241 w 388357"/>
                <a:gd name="connsiteY59" fmla="*/ 84148 h 115703"/>
                <a:gd name="connsiteX60" fmla="*/ 258215 w 388357"/>
                <a:gd name="connsiteY60" fmla="*/ 82618 h 115703"/>
                <a:gd name="connsiteX61" fmla="*/ 266109 w 388357"/>
                <a:gd name="connsiteY61" fmla="*/ 85628 h 115703"/>
                <a:gd name="connsiteX62" fmla="*/ 279875 w 388357"/>
                <a:gd name="connsiteY62" fmla="*/ 85628 h 115703"/>
                <a:gd name="connsiteX63" fmla="*/ 281849 w 388357"/>
                <a:gd name="connsiteY63" fmla="*/ 88638 h 115703"/>
                <a:gd name="connsiteX64" fmla="*/ 287770 w 388357"/>
                <a:gd name="connsiteY64" fmla="*/ 90167 h 115703"/>
                <a:gd name="connsiteX65" fmla="*/ 285796 w 388357"/>
                <a:gd name="connsiteY65" fmla="*/ 96187 h 115703"/>
                <a:gd name="connsiteX66" fmla="*/ 277951 w 388357"/>
                <a:gd name="connsiteY66" fmla="*/ 99147 h 115703"/>
                <a:gd name="connsiteX67" fmla="*/ 264136 w 388357"/>
                <a:gd name="connsiteY67" fmla="*/ 108176 h 115703"/>
                <a:gd name="connsiteX68" fmla="*/ 264136 w 388357"/>
                <a:gd name="connsiteY68" fmla="*/ 112667 h 115703"/>
                <a:gd name="connsiteX69" fmla="*/ 277951 w 388357"/>
                <a:gd name="connsiteY69" fmla="*/ 115676 h 115703"/>
                <a:gd name="connsiteX70" fmla="*/ 285796 w 388357"/>
                <a:gd name="connsiteY70" fmla="*/ 111186 h 115703"/>
                <a:gd name="connsiteX71" fmla="*/ 291717 w 388357"/>
                <a:gd name="connsiteY71" fmla="*/ 114196 h 115703"/>
                <a:gd name="connsiteX72" fmla="*/ 307506 w 388357"/>
                <a:gd name="connsiteY72" fmla="*/ 109657 h 115703"/>
                <a:gd name="connsiteX73" fmla="*/ 319298 w 388357"/>
                <a:gd name="connsiteY73" fmla="*/ 111186 h 115703"/>
                <a:gd name="connsiteX74" fmla="*/ 331091 w 388357"/>
                <a:gd name="connsiteY74" fmla="*/ 115676 h 115703"/>
                <a:gd name="connsiteX75" fmla="*/ 350827 w 388357"/>
                <a:gd name="connsiteY75" fmla="*/ 112667 h 115703"/>
                <a:gd name="connsiteX76" fmla="*/ 352800 w 388357"/>
                <a:gd name="connsiteY76" fmla="*/ 109657 h 115703"/>
                <a:gd name="connsiteX77" fmla="*/ 356698 w 388357"/>
                <a:gd name="connsiteY77" fmla="*/ 109657 h 115703"/>
                <a:gd name="connsiteX78" fmla="*/ 362619 w 388357"/>
                <a:gd name="connsiteY78" fmla="*/ 106647 h 115703"/>
                <a:gd name="connsiteX79" fmla="*/ 374461 w 388357"/>
                <a:gd name="connsiteY79" fmla="*/ 108176 h 115703"/>
                <a:gd name="connsiteX80" fmla="*/ 384329 w 388357"/>
                <a:gd name="connsiteY80" fmla="*/ 105167 h 115703"/>
                <a:gd name="connsiteX81" fmla="*/ 388276 w 388357"/>
                <a:gd name="connsiteY81" fmla="*/ 100628 h 115703"/>
                <a:gd name="connsiteX82" fmla="*/ 384329 w 388357"/>
                <a:gd name="connsiteY82" fmla="*/ 96187 h 115703"/>
                <a:gd name="connsiteX83" fmla="*/ 376484 w 388357"/>
                <a:gd name="connsiteY83" fmla="*/ 94657 h 115703"/>
                <a:gd name="connsiteX84" fmla="*/ 372537 w 388357"/>
                <a:gd name="connsiteY84" fmla="*/ 87157 h 115703"/>
                <a:gd name="connsiteX85" fmla="*/ 358721 w 388357"/>
                <a:gd name="connsiteY85" fmla="*/ 82618 h 115703"/>
                <a:gd name="connsiteX86" fmla="*/ 338985 w 388357"/>
                <a:gd name="connsiteY86" fmla="*/ 82618 h 115703"/>
                <a:gd name="connsiteX87" fmla="*/ 333064 w 388357"/>
                <a:gd name="connsiteY87" fmla="*/ 81138 h 115703"/>
                <a:gd name="connsiteX88" fmla="*/ 337011 w 388357"/>
                <a:gd name="connsiteY88" fmla="*/ 78128 h 115703"/>
                <a:gd name="connsiteX89" fmla="*/ 338985 w 388357"/>
                <a:gd name="connsiteY89" fmla="*/ 69099 h 115703"/>
                <a:gd name="connsiteX90" fmla="*/ 335087 w 388357"/>
                <a:gd name="connsiteY90" fmla="*/ 67619 h 115703"/>
                <a:gd name="connsiteX91" fmla="*/ 329117 w 388357"/>
                <a:gd name="connsiteY91" fmla="*/ 69099 h 115703"/>
                <a:gd name="connsiteX92" fmla="*/ 323246 w 388357"/>
                <a:gd name="connsiteY92" fmla="*/ 69099 h 115703"/>
                <a:gd name="connsiteX93" fmla="*/ 309430 w 388357"/>
                <a:gd name="connsiteY93" fmla="*/ 61599 h 115703"/>
                <a:gd name="connsiteX94" fmla="*/ 305483 w 388357"/>
                <a:gd name="connsiteY94" fmla="*/ 64609 h 115703"/>
                <a:gd name="connsiteX95" fmla="*/ 299562 w 388357"/>
                <a:gd name="connsiteY95" fmla="*/ 60070 h 115703"/>
                <a:gd name="connsiteX96" fmla="*/ 291717 w 388357"/>
                <a:gd name="connsiteY96" fmla="*/ 54050 h 115703"/>
                <a:gd name="connsiteX97" fmla="*/ 285796 w 388357"/>
                <a:gd name="connsiteY97" fmla="*/ 58589 h 115703"/>
                <a:gd name="connsiteX98" fmla="*/ 283823 w 388357"/>
                <a:gd name="connsiteY98" fmla="*/ 57109 h 115703"/>
                <a:gd name="connsiteX99" fmla="*/ 283823 w 388357"/>
                <a:gd name="connsiteY99" fmla="*/ 52570 h 115703"/>
                <a:gd name="connsiteX100" fmla="*/ 279875 w 388357"/>
                <a:gd name="connsiteY100" fmla="*/ 51090 h 115703"/>
                <a:gd name="connsiteX101" fmla="*/ 277951 w 388357"/>
                <a:gd name="connsiteY101" fmla="*/ 55580 h 115703"/>
                <a:gd name="connsiteX102" fmla="*/ 271981 w 388357"/>
                <a:gd name="connsiteY102" fmla="*/ 51090 h 115703"/>
                <a:gd name="connsiteX103" fmla="*/ 260188 w 388357"/>
                <a:gd name="connsiteY103" fmla="*/ 49609 h 115703"/>
                <a:gd name="connsiteX104" fmla="*/ 250320 w 388357"/>
                <a:gd name="connsiteY104" fmla="*/ 40580 h 115703"/>
                <a:gd name="connsiteX105" fmla="*/ 240452 w 388357"/>
                <a:gd name="connsiteY105" fmla="*/ 37570 h 115703"/>
                <a:gd name="connsiteX106" fmla="*/ 232558 w 388357"/>
                <a:gd name="connsiteY106" fmla="*/ 31551 h 115703"/>
                <a:gd name="connsiteX107" fmla="*/ 212822 w 388357"/>
                <a:gd name="connsiteY107" fmla="*/ 30022 h 115703"/>
                <a:gd name="connsiteX108" fmla="*/ 204927 w 388357"/>
                <a:gd name="connsiteY108" fmla="*/ 27061 h 115703"/>
                <a:gd name="connsiteX109" fmla="*/ 202954 w 388357"/>
                <a:gd name="connsiteY109" fmla="*/ 21042 h 115703"/>
                <a:gd name="connsiteX110" fmla="*/ 195059 w 388357"/>
                <a:gd name="connsiteY110" fmla="*/ 12012 h 115703"/>
                <a:gd name="connsiteX111" fmla="*/ 187165 w 388357"/>
                <a:gd name="connsiteY111" fmla="*/ 13492 h 115703"/>
                <a:gd name="connsiteX112" fmla="*/ 185191 w 388357"/>
                <a:gd name="connsiteY112" fmla="*/ 10532 h 115703"/>
                <a:gd name="connsiteX113" fmla="*/ 157610 w 388357"/>
                <a:gd name="connsiteY113" fmla="*/ 7522 h 115703"/>
                <a:gd name="connsiteX114" fmla="*/ 149765 w 388357"/>
                <a:gd name="connsiteY114" fmla="*/ 10532 h 115703"/>
                <a:gd name="connsiteX115" fmla="*/ 135950 w 388357"/>
                <a:gd name="connsiteY115" fmla="*/ 9052 h 115703"/>
                <a:gd name="connsiteX116" fmla="*/ 130078 w 388357"/>
                <a:gd name="connsiteY116" fmla="*/ 1503 h 115703"/>
                <a:gd name="connsiteX117" fmla="*/ 114289 w 388357"/>
                <a:gd name="connsiteY117" fmla="*/ -27 h 115703"/>
                <a:gd name="connsiteX118" fmla="*/ 98648 w 388357"/>
                <a:gd name="connsiteY118" fmla="*/ -27 h 115703"/>
                <a:gd name="connsiteX119" fmla="*/ 92727 w 388357"/>
                <a:gd name="connsiteY119" fmla="*/ 4512 h 115703"/>
                <a:gd name="connsiteX120" fmla="*/ 72991 w 388357"/>
                <a:gd name="connsiteY120" fmla="*/ 5992 h 115703"/>
                <a:gd name="connsiteX121" fmla="*/ 57202 w 388357"/>
                <a:gd name="connsiteY121" fmla="*/ 9052 h 115703"/>
                <a:gd name="connsiteX122" fmla="*/ 51282 w 388357"/>
                <a:gd name="connsiteY122" fmla="*/ 12012 h 115703"/>
                <a:gd name="connsiteX123" fmla="*/ 37515 w 388357"/>
                <a:gd name="connsiteY123" fmla="*/ 16551 h 115703"/>
                <a:gd name="connsiteX124" fmla="*/ 31595 w 388357"/>
                <a:gd name="connsiteY124" fmla="*/ 22522 h 115703"/>
                <a:gd name="connsiteX125" fmla="*/ 23700 w 388357"/>
                <a:gd name="connsiteY125" fmla="*/ 25531 h 115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388357" h="115703">
                  <a:moveTo>
                    <a:pt x="74767" y="48080"/>
                  </a:moveTo>
                  <a:lnTo>
                    <a:pt x="78715" y="42061"/>
                  </a:lnTo>
                  <a:lnTo>
                    <a:pt x="84635" y="43590"/>
                  </a:lnTo>
                  <a:lnTo>
                    <a:pt x="90556" y="51090"/>
                  </a:lnTo>
                  <a:lnTo>
                    <a:pt x="88583" y="55580"/>
                  </a:lnTo>
                  <a:lnTo>
                    <a:pt x="78715" y="58589"/>
                  </a:lnTo>
                  <a:lnTo>
                    <a:pt x="68847" y="55580"/>
                  </a:lnTo>
                  <a:lnTo>
                    <a:pt x="68847" y="52570"/>
                  </a:lnTo>
                  <a:lnTo>
                    <a:pt x="72794" y="54050"/>
                  </a:lnTo>
                  <a:lnTo>
                    <a:pt x="76692" y="55580"/>
                  </a:lnTo>
                  <a:lnTo>
                    <a:pt x="80639" y="52570"/>
                  </a:lnTo>
                  <a:lnTo>
                    <a:pt x="76692" y="51090"/>
                  </a:lnTo>
                  <a:lnTo>
                    <a:pt x="74718" y="48080"/>
                  </a:lnTo>
                  <a:close/>
                  <a:moveTo>
                    <a:pt x="23552" y="31551"/>
                  </a:moveTo>
                  <a:lnTo>
                    <a:pt x="27500" y="36041"/>
                  </a:lnTo>
                  <a:lnTo>
                    <a:pt x="25526" y="39051"/>
                  </a:lnTo>
                  <a:lnTo>
                    <a:pt x="19605" y="36041"/>
                  </a:lnTo>
                  <a:lnTo>
                    <a:pt x="7813" y="42061"/>
                  </a:lnTo>
                  <a:lnTo>
                    <a:pt x="3865" y="42061"/>
                  </a:lnTo>
                  <a:lnTo>
                    <a:pt x="-82" y="45070"/>
                  </a:lnTo>
                  <a:lnTo>
                    <a:pt x="9786" y="49609"/>
                  </a:lnTo>
                  <a:lnTo>
                    <a:pt x="15707" y="40580"/>
                  </a:lnTo>
                  <a:lnTo>
                    <a:pt x="17631" y="42061"/>
                  </a:lnTo>
                  <a:lnTo>
                    <a:pt x="19704" y="48080"/>
                  </a:lnTo>
                  <a:lnTo>
                    <a:pt x="27598" y="42061"/>
                  </a:lnTo>
                  <a:lnTo>
                    <a:pt x="33519" y="42061"/>
                  </a:lnTo>
                  <a:lnTo>
                    <a:pt x="41414" y="33081"/>
                  </a:lnTo>
                  <a:lnTo>
                    <a:pt x="51282" y="34561"/>
                  </a:lnTo>
                  <a:lnTo>
                    <a:pt x="55229" y="33081"/>
                  </a:lnTo>
                  <a:lnTo>
                    <a:pt x="59176" y="36041"/>
                  </a:lnTo>
                  <a:lnTo>
                    <a:pt x="65097" y="34561"/>
                  </a:lnTo>
                  <a:lnTo>
                    <a:pt x="76889" y="24051"/>
                  </a:lnTo>
                  <a:lnTo>
                    <a:pt x="82810" y="22522"/>
                  </a:lnTo>
                  <a:lnTo>
                    <a:pt x="88731" y="18032"/>
                  </a:lnTo>
                  <a:lnTo>
                    <a:pt x="106444" y="18032"/>
                  </a:lnTo>
                  <a:lnTo>
                    <a:pt x="120259" y="21042"/>
                  </a:lnTo>
                  <a:lnTo>
                    <a:pt x="124207" y="24051"/>
                  </a:lnTo>
                  <a:lnTo>
                    <a:pt x="120259" y="27061"/>
                  </a:lnTo>
                  <a:lnTo>
                    <a:pt x="112365" y="27061"/>
                  </a:lnTo>
                  <a:lnTo>
                    <a:pt x="108418" y="30022"/>
                  </a:lnTo>
                  <a:lnTo>
                    <a:pt x="112365" y="33081"/>
                  </a:lnTo>
                  <a:lnTo>
                    <a:pt x="134025" y="36041"/>
                  </a:lnTo>
                  <a:lnTo>
                    <a:pt x="139946" y="34561"/>
                  </a:lnTo>
                  <a:lnTo>
                    <a:pt x="145867" y="34561"/>
                  </a:lnTo>
                  <a:lnTo>
                    <a:pt x="151788" y="39051"/>
                  </a:lnTo>
                  <a:lnTo>
                    <a:pt x="165603" y="39051"/>
                  </a:lnTo>
                  <a:lnTo>
                    <a:pt x="167527" y="36041"/>
                  </a:lnTo>
                  <a:lnTo>
                    <a:pt x="171475" y="39051"/>
                  </a:lnTo>
                  <a:lnTo>
                    <a:pt x="175422" y="42061"/>
                  </a:lnTo>
                  <a:lnTo>
                    <a:pt x="185290" y="51090"/>
                  </a:lnTo>
                  <a:lnTo>
                    <a:pt x="195158" y="51090"/>
                  </a:lnTo>
                  <a:lnTo>
                    <a:pt x="199105" y="49609"/>
                  </a:lnTo>
                  <a:lnTo>
                    <a:pt x="205026" y="54050"/>
                  </a:lnTo>
                  <a:lnTo>
                    <a:pt x="212920" y="54050"/>
                  </a:lnTo>
                  <a:lnTo>
                    <a:pt x="216818" y="55580"/>
                  </a:lnTo>
                  <a:lnTo>
                    <a:pt x="226687" y="52570"/>
                  </a:lnTo>
                  <a:lnTo>
                    <a:pt x="230634" y="54050"/>
                  </a:lnTo>
                  <a:lnTo>
                    <a:pt x="236555" y="70629"/>
                  </a:lnTo>
                  <a:lnTo>
                    <a:pt x="250370" y="84148"/>
                  </a:lnTo>
                  <a:lnTo>
                    <a:pt x="256241" y="84148"/>
                  </a:lnTo>
                  <a:lnTo>
                    <a:pt x="258215" y="82618"/>
                  </a:lnTo>
                  <a:lnTo>
                    <a:pt x="266109" y="85628"/>
                  </a:lnTo>
                  <a:lnTo>
                    <a:pt x="279875" y="85628"/>
                  </a:lnTo>
                  <a:lnTo>
                    <a:pt x="281849" y="88638"/>
                  </a:lnTo>
                  <a:lnTo>
                    <a:pt x="287770" y="90167"/>
                  </a:lnTo>
                  <a:lnTo>
                    <a:pt x="285796" y="96187"/>
                  </a:lnTo>
                  <a:lnTo>
                    <a:pt x="277951" y="99147"/>
                  </a:lnTo>
                  <a:lnTo>
                    <a:pt x="264136" y="108176"/>
                  </a:lnTo>
                  <a:lnTo>
                    <a:pt x="264136" y="112667"/>
                  </a:lnTo>
                  <a:lnTo>
                    <a:pt x="277951" y="115676"/>
                  </a:lnTo>
                  <a:lnTo>
                    <a:pt x="285796" y="111186"/>
                  </a:lnTo>
                  <a:lnTo>
                    <a:pt x="291717" y="114196"/>
                  </a:lnTo>
                  <a:lnTo>
                    <a:pt x="307506" y="109657"/>
                  </a:lnTo>
                  <a:lnTo>
                    <a:pt x="319298" y="111186"/>
                  </a:lnTo>
                  <a:lnTo>
                    <a:pt x="331091" y="115676"/>
                  </a:lnTo>
                  <a:lnTo>
                    <a:pt x="350827" y="112667"/>
                  </a:lnTo>
                  <a:lnTo>
                    <a:pt x="352800" y="109657"/>
                  </a:lnTo>
                  <a:lnTo>
                    <a:pt x="356698" y="109657"/>
                  </a:lnTo>
                  <a:lnTo>
                    <a:pt x="362619" y="106647"/>
                  </a:lnTo>
                  <a:lnTo>
                    <a:pt x="374461" y="108176"/>
                  </a:lnTo>
                  <a:lnTo>
                    <a:pt x="384329" y="105167"/>
                  </a:lnTo>
                  <a:lnTo>
                    <a:pt x="388276" y="100628"/>
                  </a:lnTo>
                  <a:lnTo>
                    <a:pt x="384329" y="96187"/>
                  </a:lnTo>
                  <a:lnTo>
                    <a:pt x="376484" y="94657"/>
                  </a:lnTo>
                  <a:lnTo>
                    <a:pt x="372537" y="87157"/>
                  </a:lnTo>
                  <a:lnTo>
                    <a:pt x="358721" y="82618"/>
                  </a:lnTo>
                  <a:lnTo>
                    <a:pt x="338985" y="82618"/>
                  </a:lnTo>
                  <a:lnTo>
                    <a:pt x="333064" y="81138"/>
                  </a:lnTo>
                  <a:lnTo>
                    <a:pt x="337011" y="78128"/>
                  </a:lnTo>
                  <a:lnTo>
                    <a:pt x="338985" y="69099"/>
                  </a:lnTo>
                  <a:lnTo>
                    <a:pt x="335087" y="67619"/>
                  </a:lnTo>
                  <a:lnTo>
                    <a:pt x="329117" y="69099"/>
                  </a:lnTo>
                  <a:lnTo>
                    <a:pt x="323246" y="69099"/>
                  </a:lnTo>
                  <a:lnTo>
                    <a:pt x="309430" y="61599"/>
                  </a:lnTo>
                  <a:lnTo>
                    <a:pt x="305483" y="64609"/>
                  </a:lnTo>
                  <a:lnTo>
                    <a:pt x="299562" y="60070"/>
                  </a:lnTo>
                  <a:lnTo>
                    <a:pt x="291717" y="54050"/>
                  </a:lnTo>
                  <a:lnTo>
                    <a:pt x="285796" y="58589"/>
                  </a:lnTo>
                  <a:lnTo>
                    <a:pt x="283823" y="57109"/>
                  </a:lnTo>
                  <a:lnTo>
                    <a:pt x="283823" y="52570"/>
                  </a:lnTo>
                  <a:lnTo>
                    <a:pt x="279875" y="51090"/>
                  </a:lnTo>
                  <a:lnTo>
                    <a:pt x="277951" y="55580"/>
                  </a:lnTo>
                  <a:lnTo>
                    <a:pt x="271981" y="51090"/>
                  </a:lnTo>
                  <a:lnTo>
                    <a:pt x="260188" y="49609"/>
                  </a:lnTo>
                  <a:lnTo>
                    <a:pt x="250320" y="40580"/>
                  </a:lnTo>
                  <a:lnTo>
                    <a:pt x="240452" y="37570"/>
                  </a:lnTo>
                  <a:lnTo>
                    <a:pt x="232558" y="31551"/>
                  </a:lnTo>
                  <a:lnTo>
                    <a:pt x="212822" y="30022"/>
                  </a:lnTo>
                  <a:lnTo>
                    <a:pt x="204927" y="27061"/>
                  </a:lnTo>
                  <a:lnTo>
                    <a:pt x="202954" y="21042"/>
                  </a:lnTo>
                  <a:lnTo>
                    <a:pt x="195059" y="12012"/>
                  </a:lnTo>
                  <a:lnTo>
                    <a:pt x="187165" y="13492"/>
                  </a:lnTo>
                  <a:lnTo>
                    <a:pt x="185191" y="10532"/>
                  </a:lnTo>
                  <a:lnTo>
                    <a:pt x="157610" y="7522"/>
                  </a:lnTo>
                  <a:lnTo>
                    <a:pt x="149765" y="10532"/>
                  </a:lnTo>
                  <a:lnTo>
                    <a:pt x="135950" y="9052"/>
                  </a:lnTo>
                  <a:lnTo>
                    <a:pt x="130078" y="1503"/>
                  </a:lnTo>
                  <a:lnTo>
                    <a:pt x="114289" y="-27"/>
                  </a:lnTo>
                  <a:lnTo>
                    <a:pt x="98648" y="-27"/>
                  </a:lnTo>
                  <a:lnTo>
                    <a:pt x="92727" y="4512"/>
                  </a:lnTo>
                  <a:lnTo>
                    <a:pt x="72991" y="5992"/>
                  </a:lnTo>
                  <a:lnTo>
                    <a:pt x="57202" y="9052"/>
                  </a:lnTo>
                  <a:lnTo>
                    <a:pt x="51282" y="12012"/>
                  </a:lnTo>
                  <a:lnTo>
                    <a:pt x="37515" y="16551"/>
                  </a:lnTo>
                  <a:lnTo>
                    <a:pt x="31595" y="22522"/>
                  </a:lnTo>
                  <a:lnTo>
                    <a:pt x="23700" y="2553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Graphic 2">
              <a:extLst>
                <a:ext uri="{FF2B5EF4-FFF2-40B4-BE49-F238E27FC236}">
                  <a16:creationId xmlns:a16="http://schemas.microsoft.com/office/drawing/2014/main" id="{E323EEB1-95E8-4E79-ACB1-831A82268DAC}"/>
                </a:ext>
              </a:extLst>
            </p:cNvPr>
            <p:cNvSpPr/>
            <p:nvPr/>
          </p:nvSpPr>
          <p:spPr>
            <a:xfrm>
              <a:off x="2888749" y="3841583"/>
              <a:ext cx="183115" cy="186247"/>
            </a:xfrm>
            <a:custGeom>
              <a:avLst/>
              <a:gdLst>
                <a:gd name="connsiteX0" fmla="*/ 189632 w 201555"/>
                <a:gd name="connsiteY0" fmla="*/ 184013 h 205009"/>
                <a:gd name="connsiteX1" fmla="*/ 193530 w 201555"/>
                <a:gd name="connsiteY1" fmla="*/ 185493 h 205009"/>
                <a:gd name="connsiteX2" fmla="*/ 193530 w 201555"/>
                <a:gd name="connsiteY2" fmla="*/ 181003 h 205009"/>
                <a:gd name="connsiteX3" fmla="*/ 189632 w 201555"/>
                <a:gd name="connsiteY3" fmla="*/ 184013 h 205009"/>
                <a:gd name="connsiteX4" fmla="*/ 164468 w 201555"/>
                <a:gd name="connsiteY4" fmla="*/ 204982 h 205009"/>
                <a:gd name="connsiteX5" fmla="*/ 183859 w 201555"/>
                <a:gd name="connsiteY5" fmla="*/ 203502 h 205009"/>
                <a:gd name="connsiteX6" fmla="*/ 189632 w 201555"/>
                <a:gd name="connsiteY6" fmla="*/ 196002 h 205009"/>
                <a:gd name="connsiteX7" fmla="*/ 189632 w 201555"/>
                <a:gd name="connsiteY7" fmla="*/ 188503 h 205009"/>
                <a:gd name="connsiteX8" fmla="*/ 187757 w 201555"/>
                <a:gd name="connsiteY8" fmla="*/ 190032 h 205009"/>
                <a:gd name="connsiteX9" fmla="*/ 183859 w 201555"/>
                <a:gd name="connsiteY9" fmla="*/ 194473 h 205009"/>
                <a:gd name="connsiteX10" fmla="*/ 176113 w 201555"/>
                <a:gd name="connsiteY10" fmla="*/ 191512 h 205009"/>
                <a:gd name="connsiteX11" fmla="*/ 166245 w 201555"/>
                <a:gd name="connsiteY11" fmla="*/ 196002 h 205009"/>
                <a:gd name="connsiteX12" fmla="*/ 164320 w 201555"/>
                <a:gd name="connsiteY12" fmla="*/ 204982 h 205009"/>
                <a:gd name="connsiteX13" fmla="*/ 185783 w 201555"/>
                <a:gd name="connsiteY13" fmla="*/ 155642 h 205009"/>
                <a:gd name="connsiteX14" fmla="*/ 191606 w 201555"/>
                <a:gd name="connsiteY14" fmla="*/ 152632 h 205009"/>
                <a:gd name="connsiteX15" fmla="*/ 201474 w 201555"/>
                <a:gd name="connsiteY15" fmla="*/ 157122 h 205009"/>
                <a:gd name="connsiteX16" fmla="*/ 201474 w 201555"/>
                <a:gd name="connsiteY16" fmla="*/ 159984 h 205009"/>
                <a:gd name="connsiteX17" fmla="*/ 195651 w 201555"/>
                <a:gd name="connsiteY17" fmla="*/ 156974 h 205009"/>
                <a:gd name="connsiteX18" fmla="*/ 189829 w 201555"/>
                <a:gd name="connsiteY18" fmla="*/ 158454 h 205009"/>
                <a:gd name="connsiteX19" fmla="*/ 185981 w 201555"/>
                <a:gd name="connsiteY19" fmla="*/ 155494 h 205009"/>
                <a:gd name="connsiteX20" fmla="*/ 166392 w 201555"/>
                <a:gd name="connsiteY20" fmla="*/ 139162 h 205009"/>
                <a:gd name="connsiteX21" fmla="*/ 158695 w 201555"/>
                <a:gd name="connsiteY21" fmla="*/ 140642 h 205009"/>
                <a:gd name="connsiteX22" fmla="*/ 160620 w 201555"/>
                <a:gd name="connsiteY22" fmla="*/ 148142 h 205009"/>
                <a:gd name="connsiteX23" fmla="*/ 152873 w 201555"/>
                <a:gd name="connsiteY23" fmla="*/ 154112 h 205009"/>
                <a:gd name="connsiteX24" fmla="*/ 148975 w 201555"/>
                <a:gd name="connsiteY24" fmla="*/ 154112 h 205009"/>
                <a:gd name="connsiteX25" fmla="*/ 148975 w 201555"/>
                <a:gd name="connsiteY25" fmla="*/ 157122 h 205009"/>
                <a:gd name="connsiteX26" fmla="*/ 152873 w 201555"/>
                <a:gd name="connsiteY26" fmla="*/ 157122 h 205009"/>
                <a:gd name="connsiteX27" fmla="*/ 166392 w 201555"/>
                <a:gd name="connsiteY27" fmla="*/ 149672 h 205009"/>
                <a:gd name="connsiteX28" fmla="*/ 166392 w 201555"/>
                <a:gd name="connsiteY28" fmla="*/ 139162 h 205009"/>
                <a:gd name="connsiteX29" fmla="*/ 147051 w 201555"/>
                <a:gd name="connsiteY29" fmla="*/ 134672 h 205009"/>
                <a:gd name="connsiteX30" fmla="*/ 154798 w 201555"/>
                <a:gd name="connsiteY30" fmla="*/ 139162 h 205009"/>
                <a:gd name="connsiteX31" fmla="*/ 154798 w 201555"/>
                <a:gd name="connsiteY31" fmla="*/ 143652 h 205009"/>
                <a:gd name="connsiteX32" fmla="*/ 150900 w 201555"/>
                <a:gd name="connsiteY32" fmla="*/ 142172 h 205009"/>
                <a:gd name="connsiteX33" fmla="*/ 145077 w 201555"/>
                <a:gd name="connsiteY33" fmla="*/ 137632 h 205009"/>
                <a:gd name="connsiteX34" fmla="*/ 147051 w 201555"/>
                <a:gd name="connsiteY34" fmla="*/ 134672 h 205009"/>
                <a:gd name="connsiteX35" fmla="*/ 117940 w 201555"/>
                <a:gd name="connsiteY35" fmla="*/ 110693 h 205009"/>
                <a:gd name="connsiteX36" fmla="*/ 123763 w 201555"/>
                <a:gd name="connsiteY36" fmla="*/ 121202 h 205009"/>
                <a:gd name="connsiteX37" fmla="*/ 125736 w 201555"/>
                <a:gd name="connsiteY37" fmla="*/ 128702 h 205009"/>
                <a:gd name="connsiteX38" fmla="*/ 131558 w 201555"/>
                <a:gd name="connsiteY38" fmla="*/ 137632 h 205009"/>
                <a:gd name="connsiteX39" fmla="*/ 127660 w 201555"/>
                <a:gd name="connsiteY39" fmla="*/ 137632 h 205009"/>
                <a:gd name="connsiteX40" fmla="*/ 123763 w 201555"/>
                <a:gd name="connsiteY40" fmla="*/ 133143 h 205009"/>
                <a:gd name="connsiteX41" fmla="*/ 117940 w 201555"/>
                <a:gd name="connsiteY41" fmla="*/ 125446 h 205009"/>
                <a:gd name="connsiteX42" fmla="*/ 121838 w 201555"/>
                <a:gd name="connsiteY42" fmla="*/ 122485 h 205009"/>
                <a:gd name="connsiteX43" fmla="*/ 117940 w 201555"/>
                <a:gd name="connsiteY43" fmla="*/ 113505 h 205009"/>
                <a:gd name="connsiteX44" fmla="*/ 117940 w 201555"/>
                <a:gd name="connsiteY44" fmla="*/ 110643 h 205009"/>
                <a:gd name="connsiteX45" fmla="*/ 92777 w 201555"/>
                <a:gd name="connsiteY45" fmla="*/ 107683 h 205009"/>
                <a:gd name="connsiteX46" fmla="*/ 90803 w 201555"/>
                <a:gd name="connsiteY46" fmla="*/ 112173 h 205009"/>
                <a:gd name="connsiteX47" fmla="*/ 96477 w 201555"/>
                <a:gd name="connsiteY47" fmla="*/ 112173 h 205009"/>
                <a:gd name="connsiteX48" fmla="*/ 92629 w 201555"/>
                <a:gd name="connsiteY48" fmla="*/ 107683 h 205009"/>
                <a:gd name="connsiteX49" fmla="*/ 148975 w 201555"/>
                <a:gd name="connsiteY49" fmla="*/ 95841 h 205009"/>
                <a:gd name="connsiteX50" fmla="*/ 145077 w 201555"/>
                <a:gd name="connsiteY50" fmla="*/ 101861 h 205009"/>
                <a:gd name="connsiteX51" fmla="*/ 147051 w 201555"/>
                <a:gd name="connsiteY51" fmla="*/ 104821 h 205009"/>
                <a:gd name="connsiteX52" fmla="*/ 150900 w 201555"/>
                <a:gd name="connsiteY52" fmla="*/ 100331 h 205009"/>
                <a:gd name="connsiteX53" fmla="*/ 148975 w 201555"/>
                <a:gd name="connsiteY53" fmla="*/ 95841 h 205009"/>
                <a:gd name="connsiteX54" fmla="*/ 110243 w 201555"/>
                <a:gd name="connsiteY54" fmla="*/ 79362 h 205009"/>
                <a:gd name="connsiteX55" fmla="*/ 108270 w 201555"/>
                <a:gd name="connsiteY55" fmla="*/ 82372 h 205009"/>
                <a:gd name="connsiteX56" fmla="*/ 114092 w 201555"/>
                <a:gd name="connsiteY56" fmla="*/ 86861 h 205009"/>
                <a:gd name="connsiteX57" fmla="*/ 116016 w 201555"/>
                <a:gd name="connsiteY57" fmla="*/ 97322 h 205009"/>
                <a:gd name="connsiteX58" fmla="*/ 112167 w 201555"/>
                <a:gd name="connsiteY58" fmla="*/ 98851 h 205009"/>
                <a:gd name="connsiteX59" fmla="*/ 116016 w 201555"/>
                <a:gd name="connsiteY59" fmla="*/ 103341 h 205009"/>
                <a:gd name="connsiteX60" fmla="*/ 123763 w 201555"/>
                <a:gd name="connsiteY60" fmla="*/ 101861 h 205009"/>
                <a:gd name="connsiteX61" fmla="*/ 123763 w 201555"/>
                <a:gd name="connsiteY61" fmla="*/ 98851 h 205009"/>
                <a:gd name="connsiteX62" fmla="*/ 117940 w 201555"/>
                <a:gd name="connsiteY62" fmla="*/ 89871 h 205009"/>
                <a:gd name="connsiteX63" fmla="*/ 116016 w 201555"/>
                <a:gd name="connsiteY63" fmla="*/ 83852 h 205009"/>
                <a:gd name="connsiteX64" fmla="*/ 110243 w 201555"/>
                <a:gd name="connsiteY64" fmla="*/ 79362 h 205009"/>
                <a:gd name="connsiteX65" fmla="*/ 81182 w 201555"/>
                <a:gd name="connsiteY65" fmla="*/ 52422 h 205009"/>
                <a:gd name="connsiteX66" fmla="*/ 91050 w 201555"/>
                <a:gd name="connsiteY66" fmla="*/ 56912 h 205009"/>
                <a:gd name="connsiteX67" fmla="*/ 96872 w 201555"/>
                <a:gd name="connsiteY67" fmla="*/ 64362 h 205009"/>
                <a:gd name="connsiteX68" fmla="*/ 93023 w 201555"/>
                <a:gd name="connsiteY68" fmla="*/ 74872 h 205009"/>
                <a:gd name="connsiteX69" fmla="*/ 89126 w 201555"/>
                <a:gd name="connsiteY69" fmla="*/ 76352 h 205009"/>
                <a:gd name="connsiteX70" fmla="*/ 87251 w 201555"/>
                <a:gd name="connsiteY70" fmla="*/ 73392 h 205009"/>
                <a:gd name="connsiteX71" fmla="*/ 91050 w 201555"/>
                <a:gd name="connsiteY71" fmla="*/ 71862 h 205009"/>
                <a:gd name="connsiteX72" fmla="*/ 93023 w 201555"/>
                <a:gd name="connsiteY72" fmla="*/ 65892 h 205009"/>
                <a:gd name="connsiteX73" fmla="*/ 89126 w 201555"/>
                <a:gd name="connsiteY73" fmla="*/ 59921 h 205009"/>
                <a:gd name="connsiteX74" fmla="*/ 81429 w 201555"/>
                <a:gd name="connsiteY74" fmla="*/ 56912 h 205009"/>
                <a:gd name="connsiteX75" fmla="*/ 81429 w 201555"/>
                <a:gd name="connsiteY75" fmla="*/ 52422 h 205009"/>
                <a:gd name="connsiteX76" fmla="*/ 44324 w 201555"/>
                <a:gd name="connsiteY76" fmla="*/ -27 h 205009"/>
                <a:gd name="connsiteX77" fmla="*/ 54193 w 201555"/>
                <a:gd name="connsiteY77" fmla="*/ -27 h 205009"/>
                <a:gd name="connsiteX78" fmla="*/ 64061 w 201555"/>
                <a:gd name="connsiteY78" fmla="*/ 5992 h 205009"/>
                <a:gd name="connsiteX79" fmla="*/ 65985 w 201555"/>
                <a:gd name="connsiteY79" fmla="*/ 11963 h 205009"/>
                <a:gd name="connsiteX80" fmla="*/ 69883 w 201555"/>
                <a:gd name="connsiteY80" fmla="*/ 14923 h 205009"/>
                <a:gd name="connsiteX81" fmla="*/ 69883 w 201555"/>
                <a:gd name="connsiteY81" fmla="*/ 23903 h 205009"/>
                <a:gd name="connsiteX82" fmla="*/ 64061 w 201555"/>
                <a:gd name="connsiteY82" fmla="*/ 26962 h 205009"/>
                <a:gd name="connsiteX83" fmla="*/ 64061 w 201555"/>
                <a:gd name="connsiteY83" fmla="*/ 31403 h 205009"/>
                <a:gd name="connsiteX84" fmla="*/ 58238 w 201555"/>
                <a:gd name="connsiteY84" fmla="*/ 37422 h 205009"/>
                <a:gd name="connsiteX85" fmla="*/ 60212 w 201555"/>
                <a:gd name="connsiteY85" fmla="*/ 26962 h 205009"/>
                <a:gd name="connsiteX86" fmla="*/ 58238 w 201555"/>
                <a:gd name="connsiteY86" fmla="*/ 22423 h 205009"/>
                <a:gd name="connsiteX87" fmla="*/ 64061 w 201555"/>
                <a:gd name="connsiteY87" fmla="*/ 17933 h 205009"/>
                <a:gd name="connsiteX88" fmla="*/ 56314 w 201555"/>
                <a:gd name="connsiteY88" fmla="*/ 8953 h 205009"/>
                <a:gd name="connsiteX89" fmla="*/ 54390 w 201555"/>
                <a:gd name="connsiteY89" fmla="*/ 2933 h 205009"/>
                <a:gd name="connsiteX90" fmla="*/ 44522 w 201555"/>
                <a:gd name="connsiteY90" fmla="*/ -27 h 205009"/>
                <a:gd name="connsiteX91" fmla="*/ -82 w 201555"/>
                <a:gd name="connsiteY91" fmla="*/ 5992 h 205009"/>
                <a:gd name="connsiteX92" fmla="*/ 9786 w 201555"/>
                <a:gd name="connsiteY92" fmla="*/ 5992 h 205009"/>
                <a:gd name="connsiteX93" fmla="*/ 15559 w 201555"/>
                <a:gd name="connsiteY93" fmla="*/ 8953 h 205009"/>
                <a:gd name="connsiteX94" fmla="*/ 23305 w 201555"/>
                <a:gd name="connsiteY94" fmla="*/ 2933 h 205009"/>
                <a:gd name="connsiteX95" fmla="*/ 34950 w 201555"/>
                <a:gd name="connsiteY95" fmla="*/ 2933 h 205009"/>
                <a:gd name="connsiteX96" fmla="*/ 44818 w 201555"/>
                <a:gd name="connsiteY96" fmla="*/ 8953 h 205009"/>
                <a:gd name="connsiteX97" fmla="*/ 38996 w 201555"/>
                <a:gd name="connsiteY97" fmla="*/ 8953 h 205009"/>
                <a:gd name="connsiteX98" fmla="*/ 29128 w 201555"/>
                <a:gd name="connsiteY98" fmla="*/ 7473 h 205009"/>
                <a:gd name="connsiteX99" fmla="*/ 17483 w 201555"/>
                <a:gd name="connsiteY99" fmla="*/ 14923 h 205009"/>
                <a:gd name="connsiteX100" fmla="*/ 9786 w 201555"/>
                <a:gd name="connsiteY100" fmla="*/ 13443 h 205009"/>
                <a:gd name="connsiteX101" fmla="*/ -82 w 201555"/>
                <a:gd name="connsiteY101" fmla="*/ 5992 h 205009"/>
                <a:gd name="connsiteX102" fmla="*/ 44324 w 201555"/>
                <a:gd name="connsiteY102" fmla="*/ 64362 h 205009"/>
                <a:gd name="connsiteX103" fmla="*/ 54193 w 201555"/>
                <a:gd name="connsiteY103" fmla="*/ 59921 h 205009"/>
                <a:gd name="connsiteX104" fmla="*/ 61939 w 201555"/>
                <a:gd name="connsiteY104" fmla="*/ 61402 h 205009"/>
                <a:gd name="connsiteX105" fmla="*/ 58041 w 201555"/>
                <a:gd name="connsiteY105" fmla="*/ 65892 h 205009"/>
                <a:gd name="connsiteX106" fmla="*/ 50295 w 201555"/>
                <a:gd name="connsiteY106" fmla="*/ 65892 h 205009"/>
                <a:gd name="connsiteX107" fmla="*/ 44473 w 201555"/>
                <a:gd name="connsiteY107" fmla="*/ 64362 h 205009"/>
                <a:gd name="connsiteX108" fmla="*/ 34456 w 201555"/>
                <a:gd name="connsiteY108" fmla="*/ 92832 h 205009"/>
                <a:gd name="connsiteX109" fmla="*/ 32532 w 201555"/>
                <a:gd name="connsiteY109" fmla="*/ 89871 h 205009"/>
                <a:gd name="connsiteX110" fmla="*/ 40229 w 201555"/>
                <a:gd name="connsiteY110" fmla="*/ 88391 h 205009"/>
                <a:gd name="connsiteX111" fmla="*/ 34456 w 201555"/>
                <a:gd name="connsiteY111" fmla="*/ 92832 h 205009"/>
                <a:gd name="connsiteX112" fmla="*/ 26710 w 201555"/>
                <a:gd name="connsiteY112" fmla="*/ 95841 h 205009"/>
                <a:gd name="connsiteX113" fmla="*/ 30559 w 201555"/>
                <a:gd name="connsiteY113" fmla="*/ 91352 h 205009"/>
                <a:gd name="connsiteX114" fmla="*/ 30559 w 201555"/>
                <a:gd name="connsiteY114" fmla="*/ 97322 h 205009"/>
                <a:gd name="connsiteX115" fmla="*/ 26710 w 201555"/>
                <a:gd name="connsiteY115" fmla="*/ 95841 h 205009"/>
                <a:gd name="connsiteX116" fmla="*/ 28634 w 201555"/>
                <a:gd name="connsiteY116" fmla="*/ 85332 h 205009"/>
                <a:gd name="connsiteX117" fmla="*/ 38502 w 201555"/>
                <a:gd name="connsiteY117" fmla="*/ 80891 h 205009"/>
                <a:gd name="connsiteX118" fmla="*/ 30756 w 201555"/>
                <a:gd name="connsiteY118" fmla="*/ 71862 h 205009"/>
                <a:gd name="connsiteX119" fmla="*/ 28832 w 201555"/>
                <a:gd name="connsiteY119" fmla="*/ 64362 h 205009"/>
                <a:gd name="connsiteX120" fmla="*/ 24934 w 201555"/>
                <a:gd name="connsiteY120" fmla="*/ 62882 h 205009"/>
                <a:gd name="connsiteX121" fmla="*/ 23009 w 201555"/>
                <a:gd name="connsiteY121" fmla="*/ 71862 h 205009"/>
                <a:gd name="connsiteX122" fmla="*/ 17187 w 201555"/>
                <a:gd name="connsiteY122" fmla="*/ 79362 h 205009"/>
                <a:gd name="connsiteX123" fmla="*/ 21085 w 201555"/>
                <a:gd name="connsiteY123" fmla="*/ 83852 h 205009"/>
                <a:gd name="connsiteX124" fmla="*/ 26907 w 201555"/>
                <a:gd name="connsiteY124" fmla="*/ 80891 h 205009"/>
                <a:gd name="connsiteX125" fmla="*/ 28832 w 201555"/>
                <a:gd name="connsiteY125" fmla="*/ 85332 h 205009"/>
                <a:gd name="connsiteX126" fmla="*/ 40229 w 201555"/>
                <a:gd name="connsiteY126" fmla="*/ 95841 h 205009"/>
                <a:gd name="connsiteX127" fmla="*/ 28634 w 201555"/>
                <a:gd name="connsiteY127" fmla="*/ 98851 h 205009"/>
                <a:gd name="connsiteX128" fmla="*/ 30559 w 201555"/>
                <a:gd name="connsiteY128" fmla="*/ 104821 h 205009"/>
                <a:gd name="connsiteX129" fmla="*/ 32532 w 201555"/>
                <a:gd name="connsiteY129" fmla="*/ 110841 h 205009"/>
                <a:gd name="connsiteX130" fmla="*/ 40229 w 201555"/>
                <a:gd name="connsiteY130" fmla="*/ 110841 h 205009"/>
                <a:gd name="connsiteX131" fmla="*/ 44127 w 201555"/>
                <a:gd name="connsiteY131" fmla="*/ 104821 h 205009"/>
                <a:gd name="connsiteX132" fmla="*/ 42203 w 201555"/>
                <a:gd name="connsiteY132" fmla="*/ 101861 h 205009"/>
                <a:gd name="connsiteX133" fmla="*/ 42203 w 201555"/>
                <a:gd name="connsiteY133" fmla="*/ 97322 h 20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201555" h="205009">
                  <a:moveTo>
                    <a:pt x="189632" y="184013"/>
                  </a:moveTo>
                  <a:lnTo>
                    <a:pt x="193530" y="185493"/>
                  </a:lnTo>
                  <a:lnTo>
                    <a:pt x="193530" y="181003"/>
                  </a:lnTo>
                  <a:lnTo>
                    <a:pt x="189632" y="184013"/>
                  </a:lnTo>
                  <a:close/>
                  <a:moveTo>
                    <a:pt x="164468" y="204982"/>
                  </a:moveTo>
                  <a:lnTo>
                    <a:pt x="183859" y="203502"/>
                  </a:lnTo>
                  <a:lnTo>
                    <a:pt x="189632" y="196002"/>
                  </a:lnTo>
                  <a:lnTo>
                    <a:pt x="189632" y="188503"/>
                  </a:lnTo>
                  <a:lnTo>
                    <a:pt x="187757" y="190032"/>
                  </a:lnTo>
                  <a:lnTo>
                    <a:pt x="183859" y="194473"/>
                  </a:lnTo>
                  <a:lnTo>
                    <a:pt x="176113" y="191512"/>
                  </a:lnTo>
                  <a:lnTo>
                    <a:pt x="166245" y="196002"/>
                  </a:lnTo>
                  <a:lnTo>
                    <a:pt x="164320" y="204982"/>
                  </a:lnTo>
                  <a:close/>
                  <a:moveTo>
                    <a:pt x="185783" y="155642"/>
                  </a:moveTo>
                  <a:lnTo>
                    <a:pt x="191606" y="152632"/>
                  </a:lnTo>
                  <a:lnTo>
                    <a:pt x="201474" y="157122"/>
                  </a:lnTo>
                  <a:lnTo>
                    <a:pt x="201474" y="159984"/>
                  </a:lnTo>
                  <a:lnTo>
                    <a:pt x="195651" y="156974"/>
                  </a:lnTo>
                  <a:lnTo>
                    <a:pt x="189829" y="158454"/>
                  </a:lnTo>
                  <a:lnTo>
                    <a:pt x="185981" y="155494"/>
                  </a:lnTo>
                  <a:close/>
                  <a:moveTo>
                    <a:pt x="166392" y="139162"/>
                  </a:moveTo>
                  <a:lnTo>
                    <a:pt x="158695" y="140642"/>
                  </a:lnTo>
                  <a:lnTo>
                    <a:pt x="160620" y="148142"/>
                  </a:lnTo>
                  <a:lnTo>
                    <a:pt x="152873" y="154112"/>
                  </a:lnTo>
                  <a:lnTo>
                    <a:pt x="148975" y="154112"/>
                  </a:lnTo>
                  <a:lnTo>
                    <a:pt x="148975" y="157122"/>
                  </a:lnTo>
                  <a:lnTo>
                    <a:pt x="152873" y="157122"/>
                  </a:lnTo>
                  <a:lnTo>
                    <a:pt x="166392" y="149672"/>
                  </a:lnTo>
                  <a:lnTo>
                    <a:pt x="166392" y="139162"/>
                  </a:lnTo>
                  <a:close/>
                  <a:moveTo>
                    <a:pt x="147051" y="134672"/>
                  </a:moveTo>
                  <a:lnTo>
                    <a:pt x="154798" y="139162"/>
                  </a:lnTo>
                  <a:lnTo>
                    <a:pt x="154798" y="143652"/>
                  </a:lnTo>
                  <a:lnTo>
                    <a:pt x="150900" y="142172"/>
                  </a:lnTo>
                  <a:lnTo>
                    <a:pt x="145077" y="137632"/>
                  </a:lnTo>
                  <a:lnTo>
                    <a:pt x="147051" y="134672"/>
                  </a:lnTo>
                  <a:close/>
                  <a:moveTo>
                    <a:pt x="117940" y="110693"/>
                  </a:moveTo>
                  <a:lnTo>
                    <a:pt x="123763" y="121202"/>
                  </a:lnTo>
                  <a:lnTo>
                    <a:pt x="125736" y="128702"/>
                  </a:lnTo>
                  <a:lnTo>
                    <a:pt x="131558" y="137632"/>
                  </a:lnTo>
                  <a:lnTo>
                    <a:pt x="127660" y="137632"/>
                  </a:lnTo>
                  <a:lnTo>
                    <a:pt x="123763" y="133143"/>
                  </a:lnTo>
                  <a:lnTo>
                    <a:pt x="117940" y="125446"/>
                  </a:lnTo>
                  <a:lnTo>
                    <a:pt x="121838" y="122485"/>
                  </a:lnTo>
                  <a:lnTo>
                    <a:pt x="117940" y="113505"/>
                  </a:lnTo>
                  <a:lnTo>
                    <a:pt x="117940" y="110643"/>
                  </a:lnTo>
                  <a:close/>
                  <a:moveTo>
                    <a:pt x="92777" y="107683"/>
                  </a:moveTo>
                  <a:lnTo>
                    <a:pt x="90803" y="112173"/>
                  </a:lnTo>
                  <a:lnTo>
                    <a:pt x="96477" y="112173"/>
                  </a:lnTo>
                  <a:lnTo>
                    <a:pt x="92629" y="107683"/>
                  </a:lnTo>
                  <a:close/>
                  <a:moveTo>
                    <a:pt x="148975" y="95841"/>
                  </a:moveTo>
                  <a:lnTo>
                    <a:pt x="145077" y="101861"/>
                  </a:lnTo>
                  <a:lnTo>
                    <a:pt x="147051" y="104821"/>
                  </a:lnTo>
                  <a:lnTo>
                    <a:pt x="150900" y="100331"/>
                  </a:lnTo>
                  <a:lnTo>
                    <a:pt x="148975" y="95841"/>
                  </a:lnTo>
                  <a:close/>
                  <a:moveTo>
                    <a:pt x="110243" y="79362"/>
                  </a:moveTo>
                  <a:lnTo>
                    <a:pt x="108270" y="82372"/>
                  </a:lnTo>
                  <a:lnTo>
                    <a:pt x="114092" y="86861"/>
                  </a:lnTo>
                  <a:lnTo>
                    <a:pt x="116016" y="97322"/>
                  </a:lnTo>
                  <a:lnTo>
                    <a:pt x="112167" y="98851"/>
                  </a:lnTo>
                  <a:lnTo>
                    <a:pt x="116016" y="103341"/>
                  </a:lnTo>
                  <a:lnTo>
                    <a:pt x="123763" y="101861"/>
                  </a:lnTo>
                  <a:lnTo>
                    <a:pt x="123763" y="98851"/>
                  </a:lnTo>
                  <a:lnTo>
                    <a:pt x="117940" y="89871"/>
                  </a:lnTo>
                  <a:lnTo>
                    <a:pt x="116016" y="83852"/>
                  </a:lnTo>
                  <a:lnTo>
                    <a:pt x="110243" y="79362"/>
                  </a:lnTo>
                  <a:close/>
                  <a:moveTo>
                    <a:pt x="81182" y="52422"/>
                  </a:moveTo>
                  <a:lnTo>
                    <a:pt x="91050" y="56912"/>
                  </a:lnTo>
                  <a:lnTo>
                    <a:pt x="96872" y="64362"/>
                  </a:lnTo>
                  <a:lnTo>
                    <a:pt x="93023" y="74872"/>
                  </a:lnTo>
                  <a:lnTo>
                    <a:pt x="89126" y="76352"/>
                  </a:lnTo>
                  <a:lnTo>
                    <a:pt x="87251" y="73392"/>
                  </a:lnTo>
                  <a:lnTo>
                    <a:pt x="91050" y="71862"/>
                  </a:lnTo>
                  <a:lnTo>
                    <a:pt x="93023" y="65892"/>
                  </a:lnTo>
                  <a:lnTo>
                    <a:pt x="89126" y="59921"/>
                  </a:lnTo>
                  <a:lnTo>
                    <a:pt x="81429" y="56912"/>
                  </a:lnTo>
                  <a:lnTo>
                    <a:pt x="81429" y="52422"/>
                  </a:lnTo>
                  <a:close/>
                  <a:moveTo>
                    <a:pt x="44324" y="-27"/>
                  </a:moveTo>
                  <a:lnTo>
                    <a:pt x="54193" y="-27"/>
                  </a:lnTo>
                  <a:lnTo>
                    <a:pt x="64061" y="5992"/>
                  </a:lnTo>
                  <a:lnTo>
                    <a:pt x="65985" y="11963"/>
                  </a:lnTo>
                  <a:lnTo>
                    <a:pt x="69883" y="14923"/>
                  </a:lnTo>
                  <a:lnTo>
                    <a:pt x="69883" y="23903"/>
                  </a:lnTo>
                  <a:lnTo>
                    <a:pt x="64061" y="26962"/>
                  </a:lnTo>
                  <a:lnTo>
                    <a:pt x="64061" y="31403"/>
                  </a:lnTo>
                  <a:lnTo>
                    <a:pt x="58238" y="37422"/>
                  </a:lnTo>
                  <a:lnTo>
                    <a:pt x="60212" y="26962"/>
                  </a:lnTo>
                  <a:lnTo>
                    <a:pt x="58238" y="22423"/>
                  </a:lnTo>
                  <a:lnTo>
                    <a:pt x="64061" y="17933"/>
                  </a:lnTo>
                  <a:lnTo>
                    <a:pt x="56314" y="8953"/>
                  </a:lnTo>
                  <a:lnTo>
                    <a:pt x="54390" y="2933"/>
                  </a:lnTo>
                  <a:lnTo>
                    <a:pt x="44522" y="-27"/>
                  </a:lnTo>
                  <a:close/>
                  <a:moveTo>
                    <a:pt x="-82" y="5992"/>
                  </a:moveTo>
                  <a:lnTo>
                    <a:pt x="9786" y="5992"/>
                  </a:lnTo>
                  <a:lnTo>
                    <a:pt x="15559" y="8953"/>
                  </a:lnTo>
                  <a:lnTo>
                    <a:pt x="23305" y="2933"/>
                  </a:lnTo>
                  <a:lnTo>
                    <a:pt x="34950" y="2933"/>
                  </a:lnTo>
                  <a:lnTo>
                    <a:pt x="44818" y="8953"/>
                  </a:lnTo>
                  <a:lnTo>
                    <a:pt x="38996" y="8953"/>
                  </a:lnTo>
                  <a:lnTo>
                    <a:pt x="29128" y="7473"/>
                  </a:lnTo>
                  <a:lnTo>
                    <a:pt x="17483" y="14923"/>
                  </a:lnTo>
                  <a:lnTo>
                    <a:pt x="9786" y="13443"/>
                  </a:lnTo>
                  <a:lnTo>
                    <a:pt x="-82" y="5992"/>
                  </a:lnTo>
                  <a:close/>
                  <a:moveTo>
                    <a:pt x="44324" y="64362"/>
                  </a:moveTo>
                  <a:lnTo>
                    <a:pt x="54193" y="59921"/>
                  </a:lnTo>
                  <a:lnTo>
                    <a:pt x="61939" y="61402"/>
                  </a:lnTo>
                  <a:lnTo>
                    <a:pt x="58041" y="65892"/>
                  </a:lnTo>
                  <a:lnTo>
                    <a:pt x="50295" y="65892"/>
                  </a:lnTo>
                  <a:lnTo>
                    <a:pt x="44473" y="64362"/>
                  </a:lnTo>
                  <a:close/>
                  <a:moveTo>
                    <a:pt x="34456" y="92832"/>
                  </a:moveTo>
                  <a:lnTo>
                    <a:pt x="32532" y="89871"/>
                  </a:lnTo>
                  <a:lnTo>
                    <a:pt x="40229" y="88391"/>
                  </a:lnTo>
                  <a:lnTo>
                    <a:pt x="34456" y="92832"/>
                  </a:lnTo>
                  <a:close/>
                  <a:moveTo>
                    <a:pt x="26710" y="95841"/>
                  </a:moveTo>
                  <a:lnTo>
                    <a:pt x="30559" y="91352"/>
                  </a:lnTo>
                  <a:lnTo>
                    <a:pt x="30559" y="97322"/>
                  </a:lnTo>
                  <a:lnTo>
                    <a:pt x="26710" y="95841"/>
                  </a:lnTo>
                  <a:close/>
                  <a:moveTo>
                    <a:pt x="28634" y="85332"/>
                  </a:moveTo>
                  <a:lnTo>
                    <a:pt x="38502" y="80891"/>
                  </a:lnTo>
                  <a:lnTo>
                    <a:pt x="30756" y="71862"/>
                  </a:lnTo>
                  <a:lnTo>
                    <a:pt x="28832" y="64362"/>
                  </a:lnTo>
                  <a:lnTo>
                    <a:pt x="24934" y="62882"/>
                  </a:lnTo>
                  <a:lnTo>
                    <a:pt x="23009" y="71862"/>
                  </a:lnTo>
                  <a:lnTo>
                    <a:pt x="17187" y="79362"/>
                  </a:lnTo>
                  <a:lnTo>
                    <a:pt x="21085" y="83852"/>
                  </a:lnTo>
                  <a:lnTo>
                    <a:pt x="26907" y="80891"/>
                  </a:lnTo>
                  <a:lnTo>
                    <a:pt x="28832" y="85332"/>
                  </a:lnTo>
                  <a:close/>
                  <a:moveTo>
                    <a:pt x="40229" y="95841"/>
                  </a:moveTo>
                  <a:lnTo>
                    <a:pt x="28634" y="98851"/>
                  </a:lnTo>
                  <a:lnTo>
                    <a:pt x="30559" y="104821"/>
                  </a:lnTo>
                  <a:lnTo>
                    <a:pt x="32532" y="110841"/>
                  </a:lnTo>
                  <a:lnTo>
                    <a:pt x="40229" y="110841"/>
                  </a:lnTo>
                  <a:lnTo>
                    <a:pt x="44127" y="104821"/>
                  </a:lnTo>
                  <a:lnTo>
                    <a:pt x="42203" y="101861"/>
                  </a:lnTo>
                  <a:lnTo>
                    <a:pt x="42203" y="9732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Graphic 2">
              <a:extLst>
                <a:ext uri="{FF2B5EF4-FFF2-40B4-BE49-F238E27FC236}">
                  <a16:creationId xmlns:a16="http://schemas.microsoft.com/office/drawing/2014/main" id="{DBA54FF8-0842-48DA-9ACE-C72B0650D745}"/>
                </a:ext>
              </a:extLst>
            </p:cNvPr>
            <p:cNvSpPr/>
            <p:nvPr/>
          </p:nvSpPr>
          <p:spPr>
            <a:xfrm>
              <a:off x="2722218" y="4360116"/>
              <a:ext cx="179843" cy="71226"/>
            </a:xfrm>
            <a:custGeom>
              <a:avLst/>
              <a:gdLst>
                <a:gd name="connsiteX0" fmla="*/ 176655 w 197953"/>
                <a:gd name="connsiteY0" fmla="*/ 73786 h 78401"/>
                <a:gd name="connsiteX1" fmla="*/ 168909 w 197953"/>
                <a:gd name="connsiteY1" fmla="*/ 67816 h 78401"/>
                <a:gd name="connsiteX2" fmla="*/ 161360 w 197953"/>
                <a:gd name="connsiteY2" fmla="*/ 58737 h 78401"/>
                <a:gd name="connsiteX3" fmla="*/ 159435 w 197953"/>
                <a:gd name="connsiteY3" fmla="*/ 49659 h 78401"/>
                <a:gd name="connsiteX4" fmla="*/ 161360 w 197953"/>
                <a:gd name="connsiteY4" fmla="*/ 48080 h 78401"/>
                <a:gd name="connsiteX5" fmla="*/ 167182 w 197953"/>
                <a:gd name="connsiteY5" fmla="*/ 40580 h 78401"/>
                <a:gd name="connsiteX6" fmla="*/ 171080 w 197953"/>
                <a:gd name="connsiteY6" fmla="*/ 40580 h 78401"/>
                <a:gd name="connsiteX7" fmla="*/ 173004 w 197953"/>
                <a:gd name="connsiteY7" fmla="*/ 37570 h 78401"/>
                <a:gd name="connsiteX8" fmla="*/ 173004 w 197953"/>
                <a:gd name="connsiteY8" fmla="*/ 34561 h 78401"/>
                <a:gd name="connsiteX9" fmla="*/ 169106 w 197953"/>
                <a:gd name="connsiteY9" fmla="*/ 34561 h 78401"/>
                <a:gd name="connsiteX10" fmla="*/ 165257 w 197953"/>
                <a:gd name="connsiteY10" fmla="*/ 39051 h 78401"/>
                <a:gd name="connsiteX11" fmla="*/ 161360 w 197953"/>
                <a:gd name="connsiteY11" fmla="*/ 40580 h 78401"/>
                <a:gd name="connsiteX12" fmla="*/ 159435 w 197953"/>
                <a:gd name="connsiteY12" fmla="*/ 37570 h 78401"/>
                <a:gd name="connsiteX13" fmla="*/ 155538 w 197953"/>
                <a:gd name="connsiteY13" fmla="*/ 31551 h 78401"/>
                <a:gd name="connsiteX14" fmla="*/ 147791 w 197953"/>
                <a:gd name="connsiteY14" fmla="*/ 24002 h 78401"/>
                <a:gd name="connsiteX15" fmla="*/ 143893 w 197953"/>
                <a:gd name="connsiteY15" fmla="*/ 24002 h 78401"/>
                <a:gd name="connsiteX16" fmla="*/ 138071 w 197953"/>
                <a:gd name="connsiteY16" fmla="*/ 17982 h 78401"/>
                <a:gd name="connsiteX17" fmla="*/ 134173 w 197953"/>
                <a:gd name="connsiteY17" fmla="*/ 16453 h 78401"/>
                <a:gd name="connsiteX18" fmla="*/ 126427 w 197953"/>
                <a:gd name="connsiteY18" fmla="*/ 16453 h 78401"/>
                <a:gd name="connsiteX19" fmla="*/ 112858 w 197953"/>
                <a:gd name="connsiteY19" fmla="*/ 20992 h 78401"/>
                <a:gd name="connsiteX20" fmla="*/ 112858 w 197953"/>
                <a:gd name="connsiteY20" fmla="*/ 28344 h 78401"/>
                <a:gd name="connsiteX21" fmla="*/ 114832 w 197953"/>
                <a:gd name="connsiteY21" fmla="*/ 29873 h 78401"/>
                <a:gd name="connsiteX22" fmla="*/ 114832 w 197953"/>
                <a:gd name="connsiteY22" fmla="*/ 33278 h 78401"/>
                <a:gd name="connsiteX23" fmla="*/ 104964 w 197953"/>
                <a:gd name="connsiteY23" fmla="*/ 40827 h 78401"/>
                <a:gd name="connsiteX24" fmla="*/ 95096 w 197953"/>
                <a:gd name="connsiteY24" fmla="*/ 42357 h 78401"/>
                <a:gd name="connsiteX25" fmla="*/ 89323 w 197953"/>
                <a:gd name="connsiteY25" fmla="*/ 45366 h 78401"/>
                <a:gd name="connsiteX26" fmla="*/ 87349 w 197953"/>
                <a:gd name="connsiteY26" fmla="*/ 48327 h 78401"/>
                <a:gd name="connsiteX27" fmla="*/ 91247 w 197953"/>
                <a:gd name="connsiteY27" fmla="*/ 54396 h 78401"/>
                <a:gd name="connsiteX28" fmla="*/ 97069 w 197953"/>
                <a:gd name="connsiteY28" fmla="*/ 57405 h 78401"/>
                <a:gd name="connsiteX29" fmla="*/ 100918 w 197953"/>
                <a:gd name="connsiteY29" fmla="*/ 61945 h 78401"/>
                <a:gd name="connsiteX30" fmla="*/ 100918 w 197953"/>
                <a:gd name="connsiteY30" fmla="*/ 67816 h 78401"/>
                <a:gd name="connsiteX31" fmla="*/ 91050 w 197953"/>
                <a:gd name="connsiteY31" fmla="*/ 67816 h 78401"/>
                <a:gd name="connsiteX32" fmla="*/ 87152 w 197953"/>
                <a:gd name="connsiteY32" fmla="*/ 70826 h 78401"/>
                <a:gd name="connsiteX33" fmla="*/ 83303 w 197953"/>
                <a:gd name="connsiteY33" fmla="*/ 78375 h 78401"/>
                <a:gd name="connsiteX34" fmla="*/ 71659 w 197953"/>
                <a:gd name="connsiteY34" fmla="*/ 75316 h 78401"/>
                <a:gd name="connsiteX35" fmla="*/ 69735 w 197953"/>
                <a:gd name="connsiteY35" fmla="*/ 72306 h 78401"/>
                <a:gd name="connsiteX36" fmla="*/ 69735 w 197953"/>
                <a:gd name="connsiteY36" fmla="*/ 58787 h 78401"/>
                <a:gd name="connsiteX37" fmla="*/ 67761 w 197953"/>
                <a:gd name="connsiteY37" fmla="*/ 57257 h 78401"/>
                <a:gd name="connsiteX38" fmla="*/ 63912 w 197953"/>
                <a:gd name="connsiteY38" fmla="*/ 55728 h 78401"/>
                <a:gd name="connsiteX39" fmla="*/ 61939 w 197953"/>
                <a:gd name="connsiteY39" fmla="*/ 58787 h 78401"/>
                <a:gd name="connsiteX40" fmla="*/ 63912 w 197953"/>
                <a:gd name="connsiteY40" fmla="*/ 61797 h 78401"/>
                <a:gd name="connsiteX41" fmla="*/ 61939 w 197953"/>
                <a:gd name="connsiteY41" fmla="*/ 64806 h 78401"/>
                <a:gd name="connsiteX42" fmla="*/ 56117 w 197953"/>
                <a:gd name="connsiteY42" fmla="*/ 64806 h 78401"/>
                <a:gd name="connsiteX43" fmla="*/ 50344 w 197953"/>
                <a:gd name="connsiteY43" fmla="*/ 61797 h 78401"/>
                <a:gd name="connsiteX44" fmla="*/ 44522 w 197953"/>
                <a:gd name="connsiteY44" fmla="*/ 54247 h 78401"/>
                <a:gd name="connsiteX45" fmla="*/ 42548 w 197953"/>
                <a:gd name="connsiteY45" fmla="*/ 46698 h 78401"/>
                <a:gd name="connsiteX46" fmla="*/ 30953 w 197953"/>
                <a:gd name="connsiteY46" fmla="*/ 45218 h 78401"/>
                <a:gd name="connsiteX47" fmla="*/ 27055 w 197953"/>
                <a:gd name="connsiteY47" fmla="*/ 43689 h 78401"/>
                <a:gd name="connsiteX48" fmla="*/ 27055 w 197953"/>
                <a:gd name="connsiteY48" fmla="*/ 42208 h 78401"/>
                <a:gd name="connsiteX49" fmla="*/ 25131 w 197953"/>
                <a:gd name="connsiteY49" fmla="*/ 39149 h 78401"/>
                <a:gd name="connsiteX50" fmla="*/ 21233 w 197953"/>
                <a:gd name="connsiteY50" fmla="*/ 40679 h 78401"/>
                <a:gd name="connsiteX51" fmla="*/ 13487 w 197953"/>
                <a:gd name="connsiteY51" fmla="*/ 42208 h 78401"/>
                <a:gd name="connsiteX52" fmla="*/ 7664 w 197953"/>
                <a:gd name="connsiteY52" fmla="*/ 40679 h 78401"/>
                <a:gd name="connsiteX53" fmla="*/ 1842 w 197953"/>
                <a:gd name="connsiteY53" fmla="*/ 40679 h 78401"/>
                <a:gd name="connsiteX54" fmla="*/ -82 w 197953"/>
                <a:gd name="connsiteY54" fmla="*/ 39149 h 78401"/>
                <a:gd name="connsiteX55" fmla="*/ -82 w 197953"/>
                <a:gd name="connsiteY55" fmla="*/ 36140 h 78401"/>
                <a:gd name="connsiteX56" fmla="*/ 1842 w 197953"/>
                <a:gd name="connsiteY56" fmla="*/ 31650 h 78401"/>
                <a:gd name="connsiteX57" fmla="*/ 7664 w 197953"/>
                <a:gd name="connsiteY57" fmla="*/ 27110 h 78401"/>
                <a:gd name="connsiteX58" fmla="*/ 3767 w 197953"/>
                <a:gd name="connsiteY58" fmla="*/ 21091 h 78401"/>
                <a:gd name="connsiteX59" fmla="*/ -82 w 197953"/>
                <a:gd name="connsiteY59" fmla="*/ 19561 h 78401"/>
                <a:gd name="connsiteX60" fmla="*/ -82 w 197953"/>
                <a:gd name="connsiteY60" fmla="*/ 15071 h 78401"/>
                <a:gd name="connsiteX61" fmla="*/ 3767 w 197953"/>
                <a:gd name="connsiteY61" fmla="*/ 12062 h 78401"/>
                <a:gd name="connsiteX62" fmla="*/ 3767 w 197953"/>
                <a:gd name="connsiteY62" fmla="*/ 6042 h 78401"/>
                <a:gd name="connsiteX63" fmla="*/ 7664 w 197953"/>
                <a:gd name="connsiteY63" fmla="*/ 4512 h 78401"/>
                <a:gd name="connsiteX64" fmla="*/ 13487 w 197953"/>
                <a:gd name="connsiteY64" fmla="*/ 4512 h 78401"/>
                <a:gd name="connsiteX65" fmla="*/ 13487 w 197953"/>
                <a:gd name="connsiteY65" fmla="*/ 7522 h 78401"/>
                <a:gd name="connsiteX66" fmla="*/ 19309 w 197953"/>
                <a:gd name="connsiteY66" fmla="*/ 10532 h 78401"/>
                <a:gd name="connsiteX67" fmla="*/ 23157 w 197953"/>
                <a:gd name="connsiteY67" fmla="*/ 12062 h 78401"/>
                <a:gd name="connsiteX68" fmla="*/ 27055 w 197953"/>
                <a:gd name="connsiteY68" fmla="*/ 12062 h 78401"/>
                <a:gd name="connsiteX69" fmla="*/ 28979 w 197953"/>
                <a:gd name="connsiteY69" fmla="*/ 13542 h 78401"/>
                <a:gd name="connsiteX70" fmla="*/ 27055 w 197953"/>
                <a:gd name="connsiteY70" fmla="*/ 15071 h 78401"/>
                <a:gd name="connsiteX71" fmla="*/ 25131 w 197953"/>
                <a:gd name="connsiteY71" fmla="*/ 15071 h 78401"/>
                <a:gd name="connsiteX72" fmla="*/ 27055 w 197953"/>
                <a:gd name="connsiteY72" fmla="*/ 18081 h 78401"/>
                <a:gd name="connsiteX73" fmla="*/ 32877 w 197953"/>
                <a:gd name="connsiteY73" fmla="*/ 21091 h 78401"/>
                <a:gd name="connsiteX74" fmla="*/ 36726 w 197953"/>
                <a:gd name="connsiteY74" fmla="*/ 19561 h 78401"/>
                <a:gd name="connsiteX75" fmla="*/ 36726 w 197953"/>
                <a:gd name="connsiteY75" fmla="*/ 16551 h 78401"/>
                <a:gd name="connsiteX76" fmla="*/ 32877 w 197953"/>
                <a:gd name="connsiteY76" fmla="*/ 15071 h 78401"/>
                <a:gd name="connsiteX77" fmla="*/ 34802 w 197953"/>
                <a:gd name="connsiteY77" fmla="*/ 13542 h 78401"/>
                <a:gd name="connsiteX78" fmla="*/ 42548 w 197953"/>
                <a:gd name="connsiteY78" fmla="*/ 16551 h 78401"/>
                <a:gd name="connsiteX79" fmla="*/ 56117 w 197953"/>
                <a:gd name="connsiteY79" fmla="*/ 22620 h 78401"/>
                <a:gd name="connsiteX80" fmla="*/ 67761 w 197953"/>
                <a:gd name="connsiteY80" fmla="*/ 24101 h 78401"/>
                <a:gd name="connsiteX81" fmla="*/ 73583 w 197953"/>
                <a:gd name="connsiteY81" fmla="*/ 22620 h 78401"/>
                <a:gd name="connsiteX82" fmla="*/ 79405 w 197953"/>
                <a:gd name="connsiteY82" fmla="*/ 18081 h 78401"/>
                <a:gd name="connsiteX83" fmla="*/ 102694 w 197953"/>
                <a:gd name="connsiteY83" fmla="*/ 9002 h 78401"/>
                <a:gd name="connsiteX84" fmla="*/ 112562 w 197953"/>
                <a:gd name="connsiteY84" fmla="*/ 7522 h 78401"/>
                <a:gd name="connsiteX85" fmla="*/ 124206 w 197953"/>
                <a:gd name="connsiteY85" fmla="*/ 1503 h 78401"/>
                <a:gd name="connsiteX86" fmla="*/ 128055 w 197953"/>
                <a:gd name="connsiteY86" fmla="*/ -27 h 78401"/>
                <a:gd name="connsiteX87" fmla="*/ 131953 w 197953"/>
                <a:gd name="connsiteY87" fmla="*/ 3032 h 78401"/>
                <a:gd name="connsiteX88" fmla="*/ 133877 w 197953"/>
                <a:gd name="connsiteY88" fmla="*/ 6042 h 78401"/>
                <a:gd name="connsiteX89" fmla="*/ 155241 w 197953"/>
                <a:gd name="connsiteY89" fmla="*/ 6042 h 78401"/>
                <a:gd name="connsiteX90" fmla="*/ 162988 w 197953"/>
                <a:gd name="connsiteY90" fmla="*/ 7522 h 78401"/>
                <a:gd name="connsiteX91" fmla="*/ 178481 w 197953"/>
                <a:gd name="connsiteY91" fmla="*/ 15071 h 78401"/>
                <a:gd name="connsiteX92" fmla="*/ 186227 w 197953"/>
                <a:gd name="connsiteY92" fmla="*/ 21091 h 78401"/>
                <a:gd name="connsiteX93" fmla="*/ 186227 w 197953"/>
                <a:gd name="connsiteY93" fmla="*/ 24101 h 78401"/>
                <a:gd name="connsiteX94" fmla="*/ 192049 w 197953"/>
                <a:gd name="connsiteY94" fmla="*/ 28590 h 78401"/>
                <a:gd name="connsiteX95" fmla="*/ 194023 w 197953"/>
                <a:gd name="connsiteY95" fmla="*/ 30120 h 78401"/>
                <a:gd name="connsiteX96" fmla="*/ 194023 w 197953"/>
                <a:gd name="connsiteY96" fmla="*/ 39149 h 78401"/>
                <a:gd name="connsiteX97" fmla="*/ 197872 w 197953"/>
                <a:gd name="connsiteY97" fmla="*/ 46698 h 78401"/>
                <a:gd name="connsiteX98" fmla="*/ 192049 w 197953"/>
                <a:gd name="connsiteY98" fmla="*/ 55728 h 78401"/>
                <a:gd name="connsiteX99" fmla="*/ 190125 w 197953"/>
                <a:gd name="connsiteY99" fmla="*/ 61797 h 78401"/>
                <a:gd name="connsiteX100" fmla="*/ 186227 w 197953"/>
                <a:gd name="connsiteY100" fmla="*/ 64806 h 78401"/>
                <a:gd name="connsiteX101" fmla="*/ 180405 w 197953"/>
                <a:gd name="connsiteY101" fmla="*/ 64806 h 7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97953" h="78401">
                  <a:moveTo>
                    <a:pt x="176655" y="73786"/>
                  </a:moveTo>
                  <a:lnTo>
                    <a:pt x="168909" y="67816"/>
                  </a:lnTo>
                  <a:lnTo>
                    <a:pt x="161360" y="58737"/>
                  </a:lnTo>
                  <a:lnTo>
                    <a:pt x="159435" y="49659"/>
                  </a:lnTo>
                  <a:lnTo>
                    <a:pt x="161360" y="48080"/>
                  </a:lnTo>
                  <a:lnTo>
                    <a:pt x="167182" y="40580"/>
                  </a:lnTo>
                  <a:lnTo>
                    <a:pt x="171080" y="40580"/>
                  </a:lnTo>
                  <a:lnTo>
                    <a:pt x="173004" y="37570"/>
                  </a:lnTo>
                  <a:lnTo>
                    <a:pt x="173004" y="34561"/>
                  </a:lnTo>
                  <a:lnTo>
                    <a:pt x="169106" y="34561"/>
                  </a:lnTo>
                  <a:lnTo>
                    <a:pt x="165257" y="39051"/>
                  </a:lnTo>
                  <a:lnTo>
                    <a:pt x="161360" y="40580"/>
                  </a:lnTo>
                  <a:lnTo>
                    <a:pt x="159435" y="37570"/>
                  </a:lnTo>
                  <a:lnTo>
                    <a:pt x="155538" y="31551"/>
                  </a:lnTo>
                  <a:lnTo>
                    <a:pt x="147791" y="24002"/>
                  </a:lnTo>
                  <a:lnTo>
                    <a:pt x="143893" y="24002"/>
                  </a:lnTo>
                  <a:lnTo>
                    <a:pt x="138071" y="17982"/>
                  </a:lnTo>
                  <a:lnTo>
                    <a:pt x="134173" y="16453"/>
                  </a:lnTo>
                  <a:lnTo>
                    <a:pt x="126427" y="16453"/>
                  </a:lnTo>
                  <a:lnTo>
                    <a:pt x="112858" y="20992"/>
                  </a:lnTo>
                  <a:lnTo>
                    <a:pt x="112858" y="28344"/>
                  </a:lnTo>
                  <a:lnTo>
                    <a:pt x="114832" y="29873"/>
                  </a:lnTo>
                  <a:lnTo>
                    <a:pt x="114832" y="33278"/>
                  </a:lnTo>
                  <a:lnTo>
                    <a:pt x="104964" y="40827"/>
                  </a:lnTo>
                  <a:lnTo>
                    <a:pt x="95096" y="42357"/>
                  </a:lnTo>
                  <a:lnTo>
                    <a:pt x="89323" y="45366"/>
                  </a:lnTo>
                  <a:lnTo>
                    <a:pt x="87349" y="48327"/>
                  </a:lnTo>
                  <a:lnTo>
                    <a:pt x="91247" y="54396"/>
                  </a:lnTo>
                  <a:lnTo>
                    <a:pt x="97069" y="57405"/>
                  </a:lnTo>
                  <a:lnTo>
                    <a:pt x="100918" y="61945"/>
                  </a:lnTo>
                  <a:lnTo>
                    <a:pt x="100918" y="67816"/>
                  </a:lnTo>
                  <a:lnTo>
                    <a:pt x="91050" y="67816"/>
                  </a:lnTo>
                  <a:lnTo>
                    <a:pt x="87152" y="70826"/>
                  </a:lnTo>
                  <a:lnTo>
                    <a:pt x="83303" y="78375"/>
                  </a:lnTo>
                  <a:lnTo>
                    <a:pt x="71659" y="75316"/>
                  </a:lnTo>
                  <a:lnTo>
                    <a:pt x="69735" y="72306"/>
                  </a:lnTo>
                  <a:lnTo>
                    <a:pt x="69735" y="58787"/>
                  </a:lnTo>
                  <a:lnTo>
                    <a:pt x="67761" y="57257"/>
                  </a:lnTo>
                  <a:lnTo>
                    <a:pt x="63912" y="55728"/>
                  </a:lnTo>
                  <a:lnTo>
                    <a:pt x="61939" y="58787"/>
                  </a:lnTo>
                  <a:lnTo>
                    <a:pt x="63912" y="61797"/>
                  </a:lnTo>
                  <a:lnTo>
                    <a:pt x="61939" y="64806"/>
                  </a:lnTo>
                  <a:lnTo>
                    <a:pt x="56117" y="64806"/>
                  </a:lnTo>
                  <a:lnTo>
                    <a:pt x="50344" y="61797"/>
                  </a:lnTo>
                  <a:lnTo>
                    <a:pt x="44522" y="54247"/>
                  </a:lnTo>
                  <a:lnTo>
                    <a:pt x="42548" y="46698"/>
                  </a:lnTo>
                  <a:lnTo>
                    <a:pt x="30953" y="45218"/>
                  </a:lnTo>
                  <a:lnTo>
                    <a:pt x="27055" y="43689"/>
                  </a:lnTo>
                  <a:lnTo>
                    <a:pt x="27055" y="42208"/>
                  </a:lnTo>
                  <a:lnTo>
                    <a:pt x="25131" y="39149"/>
                  </a:lnTo>
                  <a:lnTo>
                    <a:pt x="21233" y="40679"/>
                  </a:lnTo>
                  <a:lnTo>
                    <a:pt x="13487" y="42208"/>
                  </a:lnTo>
                  <a:lnTo>
                    <a:pt x="7664" y="40679"/>
                  </a:lnTo>
                  <a:lnTo>
                    <a:pt x="1842" y="40679"/>
                  </a:lnTo>
                  <a:lnTo>
                    <a:pt x="-82" y="39149"/>
                  </a:lnTo>
                  <a:lnTo>
                    <a:pt x="-82" y="36140"/>
                  </a:lnTo>
                  <a:lnTo>
                    <a:pt x="1842" y="31650"/>
                  </a:lnTo>
                  <a:lnTo>
                    <a:pt x="7664" y="27110"/>
                  </a:lnTo>
                  <a:lnTo>
                    <a:pt x="3767" y="21091"/>
                  </a:lnTo>
                  <a:lnTo>
                    <a:pt x="-82" y="19561"/>
                  </a:lnTo>
                  <a:lnTo>
                    <a:pt x="-82" y="15071"/>
                  </a:lnTo>
                  <a:lnTo>
                    <a:pt x="3767" y="12062"/>
                  </a:lnTo>
                  <a:lnTo>
                    <a:pt x="3767" y="6042"/>
                  </a:lnTo>
                  <a:lnTo>
                    <a:pt x="7664" y="4512"/>
                  </a:lnTo>
                  <a:lnTo>
                    <a:pt x="13487" y="4512"/>
                  </a:lnTo>
                  <a:lnTo>
                    <a:pt x="13487" y="7522"/>
                  </a:lnTo>
                  <a:lnTo>
                    <a:pt x="19309" y="10532"/>
                  </a:lnTo>
                  <a:lnTo>
                    <a:pt x="23157" y="12062"/>
                  </a:lnTo>
                  <a:lnTo>
                    <a:pt x="27055" y="12062"/>
                  </a:lnTo>
                  <a:lnTo>
                    <a:pt x="28979" y="13542"/>
                  </a:lnTo>
                  <a:lnTo>
                    <a:pt x="27055" y="15071"/>
                  </a:lnTo>
                  <a:lnTo>
                    <a:pt x="25131" y="15071"/>
                  </a:lnTo>
                  <a:lnTo>
                    <a:pt x="27055" y="18081"/>
                  </a:lnTo>
                  <a:lnTo>
                    <a:pt x="32877" y="21091"/>
                  </a:lnTo>
                  <a:lnTo>
                    <a:pt x="36726" y="19561"/>
                  </a:lnTo>
                  <a:lnTo>
                    <a:pt x="36726" y="16551"/>
                  </a:lnTo>
                  <a:lnTo>
                    <a:pt x="32877" y="15071"/>
                  </a:lnTo>
                  <a:lnTo>
                    <a:pt x="34802" y="13542"/>
                  </a:lnTo>
                  <a:lnTo>
                    <a:pt x="42548" y="16551"/>
                  </a:lnTo>
                  <a:lnTo>
                    <a:pt x="56117" y="22620"/>
                  </a:lnTo>
                  <a:lnTo>
                    <a:pt x="67761" y="24101"/>
                  </a:lnTo>
                  <a:lnTo>
                    <a:pt x="73583" y="22620"/>
                  </a:lnTo>
                  <a:lnTo>
                    <a:pt x="79405" y="18081"/>
                  </a:lnTo>
                  <a:lnTo>
                    <a:pt x="102694" y="9002"/>
                  </a:lnTo>
                  <a:lnTo>
                    <a:pt x="112562" y="7522"/>
                  </a:lnTo>
                  <a:lnTo>
                    <a:pt x="124206" y="1503"/>
                  </a:lnTo>
                  <a:lnTo>
                    <a:pt x="128055" y="-27"/>
                  </a:lnTo>
                  <a:lnTo>
                    <a:pt x="131953" y="3032"/>
                  </a:lnTo>
                  <a:lnTo>
                    <a:pt x="133877" y="6042"/>
                  </a:lnTo>
                  <a:lnTo>
                    <a:pt x="155241" y="6042"/>
                  </a:lnTo>
                  <a:lnTo>
                    <a:pt x="162988" y="7522"/>
                  </a:lnTo>
                  <a:lnTo>
                    <a:pt x="178481" y="15071"/>
                  </a:lnTo>
                  <a:lnTo>
                    <a:pt x="186227" y="21091"/>
                  </a:lnTo>
                  <a:lnTo>
                    <a:pt x="186227" y="24101"/>
                  </a:lnTo>
                  <a:lnTo>
                    <a:pt x="192049" y="28590"/>
                  </a:lnTo>
                  <a:lnTo>
                    <a:pt x="194023" y="30120"/>
                  </a:lnTo>
                  <a:lnTo>
                    <a:pt x="194023" y="39149"/>
                  </a:lnTo>
                  <a:lnTo>
                    <a:pt x="197872" y="46698"/>
                  </a:lnTo>
                  <a:lnTo>
                    <a:pt x="192049" y="55728"/>
                  </a:lnTo>
                  <a:lnTo>
                    <a:pt x="190125" y="61797"/>
                  </a:lnTo>
                  <a:lnTo>
                    <a:pt x="186227" y="64806"/>
                  </a:lnTo>
                  <a:lnTo>
                    <a:pt x="180405" y="6480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Graphic 2">
              <a:extLst>
                <a:ext uri="{FF2B5EF4-FFF2-40B4-BE49-F238E27FC236}">
                  <a16:creationId xmlns:a16="http://schemas.microsoft.com/office/drawing/2014/main" id="{2C7D4911-8867-4478-8BEB-3C9725F87237}"/>
                </a:ext>
              </a:extLst>
            </p:cNvPr>
            <p:cNvSpPr/>
            <p:nvPr/>
          </p:nvSpPr>
          <p:spPr>
            <a:xfrm>
              <a:off x="2624093" y="4312735"/>
              <a:ext cx="111795" cy="91442"/>
            </a:xfrm>
            <a:custGeom>
              <a:avLst/>
              <a:gdLst>
                <a:gd name="connsiteX0" fmla="*/ 109207 w 123054"/>
                <a:gd name="connsiteY0" fmla="*/ 91302 h 100654"/>
                <a:gd name="connsiteX1" fmla="*/ 109207 w 123054"/>
                <a:gd name="connsiteY1" fmla="*/ 91302 h 100654"/>
                <a:gd name="connsiteX2" fmla="*/ 111230 w 123054"/>
                <a:gd name="connsiteY2" fmla="*/ 92832 h 100654"/>
                <a:gd name="connsiteX3" fmla="*/ 111230 w 123054"/>
                <a:gd name="connsiteY3" fmla="*/ 92832 h 100654"/>
                <a:gd name="connsiteX4" fmla="*/ 111230 w 123054"/>
                <a:gd name="connsiteY4" fmla="*/ 100628 h 100654"/>
                <a:gd name="connsiteX5" fmla="*/ 105260 w 123054"/>
                <a:gd name="connsiteY5" fmla="*/ 99049 h 100654"/>
                <a:gd name="connsiteX6" fmla="*/ 103286 w 123054"/>
                <a:gd name="connsiteY6" fmla="*/ 97519 h 100654"/>
                <a:gd name="connsiteX7" fmla="*/ 101263 w 123054"/>
                <a:gd name="connsiteY7" fmla="*/ 95940 h 100654"/>
                <a:gd name="connsiteX8" fmla="*/ 99290 w 123054"/>
                <a:gd name="connsiteY8" fmla="*/ 95940 h 100654"/>
                <a:gd name="connsiteX9" fmla="*/ 99290 w 123054"/>
                <a:gd name="connsiteY9" fmla="*/ 89723 h 100654"/>
                <a:gd name="connsiteX10" fmla="*/ 93319 w 123054"/>
                <a:gd name="connsiteY10" fmla="*/ 83556 h 100654"/>
                <a:gd name="connsiteX11" fmla="*/ 87398 w 123054"/>
                <a:gd name="connsiteY11" fmla="*/ 82026 h 100654"/>
                <a:gd name="connsiteX12" fmla="*/ 85376 w 123054"/>
                <a:gd name="connsiteY12" fmla="*/ 83556 h 100654"/>
                <a:gd name="connsiteX13" fmla="*/ 85376 w 123054"/>
                <a:gd name="connsiteY13" fmla="*/ 83556 h 100654"/>
                <a:gd name="connsiteX14" fmla="*/ 93319 w 123054"/>
                <a:gd name="connsiteY14" fmla="*/ 86664 h 100654"/>
                <a:gd name="connsiteX15" fmla="*/ 97316 w 123054"/>
                <a:gd name="connsiteY15" fmla="*/ 89723 h 100654"/>
                <a:gd name="connsiteX16" fmla="*/ 95342 w 123054"/>
                <a:gd name="connsiteY16" fmla="*/ 94657 h 100654"/>
                <a:gd name="connsiteX17" fmla="*/ 93319 w 123054"/>
                <a:gd name="connsiteY17" fmla="*/ 96187 h 100654"/>
                <a:gd name="connsiteX18" fmla="*/ 85376 w 123054"/>
                <a:gd name="connsiteY18" fmla="*/ 93078 h 100654"/>
                <a:gd name="connsiteX19" fmla="*/ 77432 w 123054"/>
                <a:gd name="connsiteY19" fmla="*/ 91549 h 100654"/>
                <a:gd name="connsiteX20" fmla="*/ 75458 w 123054"/>
                <a:gd name="connsiteY20" fmla="*/ 86911 h 100654"/>
                <a:gd name="connsiteX21" fmla="*/ 75458 w 123054"/>
                <a:gd name="connsiteY21" fmla="*/ 82273 h 100654"/>
                <a:gd name="connsiteX22" fmla="*/ 79455 w 123054"/>
                <a:gd name="connsiteY22" fmla="*/ 76056 h 100654"/>
                <a:gd name="connsiteX23" fmla="*/ 77432 w 123054"/>
                <a:gd name="connsiteY23" fmla="*/ 72947 h 100654"/>
                <a:gd name="connsiteX24" fmla="*/ 69488 w 123054"/>
                <a:gd name="connsiteY24" fmla="*/ 66731 h 100654"/>
                <a:gd name="connsiteX25" fmla="*/ 65541 w 123054"/>
                <a:gd name="connsiteY25" fmla="*/ 63622 h 100654"/>
                <a:gd name="connsiteX26" fmla="*/ 59570 w 123054"/>
                <a:gd name="connsiteY26" fmla="*/ 58984 h 100654"/>
                <a:gd name="connsiteX27" fmla="*/ 49702 w 123054"/>
                <a:gd name="connsiteY27" fmla="*/ 55876 h 100654"/>
                <a:gd name="connsiteX28" fmla="*/ 47680 w 123054"/>
                <a:gd name="connsiteY28" fmla="*/ 48179 h 100654"/>
                <a:gd name="connsiteX29" fmla="*/ 41759 w 123054"/>
                <a:gd name="connsiteY29" fmla="*/ 43491 h 100654"/>
                <a:gd name="connsiteX30" fmla="*/ 39736 w 123054"/>
                <a:gd name="connsiteY30" fmla="*/ 38557 h 100654"/>
                <a:gd name="connsiteX31" fmla="*/ 33815 w 123054"/>
                <a:gd name="connsiteY31" fmla="*/ 35498 h 100654"/>
                <a:gd name="connsiteX32" fmla="*/ 27845 w 123054"/>
                <a:gd name="connsiteY32" fmla="*/ 30860 h 100654"/>
                <a:gd name="connsiteX33" fmla="*/ 25871 w 123054"/>
                <a:gd name="connsiteY33" fmla="*/ 33969 h 100654"/>
                <a:gd name="connsiteX34" fmla="*/ 27845 w 123054"/>
                <a:gd name="connsiteY34" fmla="*/ 37028 h 100654"/>
                <a:gd name="connsiteX35" fmla="*/ 35788 w 123054"/>
                <a:gd name="connsiteY35" fmla="*/ 43245 h 100654"/>
                <a:gd name="connsiteX36" fmla="*/ 37762 w 123054"/>
                <a:gd name="connsiteY36" fmla="*/ 47932 h 100654"/>
                <a:gd name="connsiteX37" fmla="*/ 33815 w 123054"/>
                <a:gd name="connsiteY37" fmla="*/ 55629 h 100654"/>
                <a:gd name="connsiteX38" fmla="*/ 31792 w 123054"/>
                <a:gd name="connsiteY38" fmla="*/ 55629 h 100654"/>
                <a:gd name="connsiteX39" fmla="*/ 27598 w 123054"/>
                <a:gd name="connsiteY39" fmla="*/ 50892 h 100654"/>
                <a:gd name="connsiteX40" fmla="*/ 21628 w 123054"/>
                <a:gd name="connsiteY40" fmla="*/ 46254 h 100654"/>
                <a:gd name="connsiteX41" fmla="*/ 11760 w 123054"/>
                <a:gd name="connsiteY41" fmla="*/ 46254 h 100654"/>
                <a:gd name="connsiteX42" fmla="*/ 1892 w 123054"/>
                <a:gd name="connsiteY42" fmla="*/ 38459 h 100654"/>
                <a:gd name="connsiteX43" fmla="*/ -82 w 123054"/>
                <a:gd name="connsiteY43" fmla="*/ 32291 h 100654"/>
                <a:gd name="connsiteX44" fmla="*/ 3915 w 123054"/>
                <a:gd name="connsiteY44" fmla="*/ 26074 h 100654"/>
                <a:gd name="connsiteX45" fmla="*/ 9836 w 123054"/>
                <a:gd name="connsiteY45" fmla="*/ 21485 h 100654"/>
                <a:gd name="connsiteX46" fmla="*/ 7862 w 123054"/>
                <a:gd name="connsiteY46" fmla="*/ 15219 h 100654"/>
                <a:gd name="connsiteX47" fmla="*/ 3915 w 123054"/>
                <a:gd name="connsiteY47" fmla="*/ 15219 h 100654"/>
                <a:gd name="connsiteX48" fmla="*/ 1892 w 123054"/>
                <a:gd name="connsiteY48" fmla="*/ 13690 h 100654"/>
                <a:gd name="connsiteX49" fmla="*/ 3915 w 123054"/>
                <a:gd name="connsiteY49" fmla="*/ 10581 h 100654"/>
                <a:gd name="connsiteX50" fmla="*/ 5888 w 123054"/>
                <a:gd name="connsiteY50" fmla="*/ 4414 h 100654"/>
                <a:gd name="connsiteX51" fmla="*/ 3915 w 123054"/>
                <a:gd name="connsiteY51" fmla="*/ 4414 h 100654"/>
                <a:gd name="connsiteX52" fmla="*/ 7862 w 123054"/>
                <a:gd name="connsiteY52" fmla="*/ 2835 h 100654"/>
                <a:gd name="connsiteX53" fmla="*/ 7862 w 123054"/>
                <a:gd name="connsiteY53" fmla="*/ 1552 h 100654"/>
                <a:gd name="connsiteX54" fmla="*/ 17730 w 123054"/>
                <a:gd name="connsiteY54" fmla="*/ -27 h 100654"/>
                <a:gd name="connsiteX55" fmla="*/ 39538 w 123054"/>
                <a:gd name="connsiteY55" fmla="*/ 4907 h 100654"/>
                <a:gd name="connsiteX56" fmla="*/ 45509 w 123054"/>
                <a:gd name="connsiteY56" fmla="*/ 4907 h 100654"/>
                <a:gd name="connsiteX57" fmla="*/ 57449 w 123054"/>
                <a:gd name="connsiteY57" fmla="*/ 3328 h 100654"/>
                <a:gd name="connsiteX58" fmla="*/ 59423 w 123054"/>
                <a:gd name="connsiteY58" fmla="*/ 8262 h 100654"/>
                <a:gd name="connsiteX59" fmla="*/ 65393 w 123054"/>
                <a:gd name="connsiteY59" fmla="*/ 9792 h 100654"/>
                <a:gd name="connsiteX60" fmla="*/ 65393 w 123054"/>
                <a:gd name="connsiteY60" fmla="*/ 12851 h 100654"/>
                <a:gd name="connsiteX61" fmla="*/ 71363 w 123054"/>
                <a:gd name="connsiteY61" fmla="*/ 17785 h 100654"/>
                <a:gd name="connsiteX62" fmla="*/ 75310 w 123054"/>
                <a:gd name="connsiteY62" fmla="*/ 16206 h 100654"/>
                <a:gd name="connsiteX63" fmla="*/ 79307 w 123054"/>
                <a:gd name="connsiteY63" fmla="*/ 16206 h 100654"/>
                <a:gd name="connsiteX64" fmla="*/ 77284 w 123054"/>
                <a:gd name="connsiteY64" fmla="*/ 19314 h 100654"/>
                <a:gd name="connsiteX65" fmla="*/ 85228 w 123054"/>
                <a:gd name="connsiteY65" fmla="*/ 19314 h 100654"/>
                <a:gd name="connsiteX66" fmla="*/ 85228 w 123054"/>
                <a:gd name="connsiteY66" fmla="*/ 16206 h 100654"/>
                <a:gd name="connsiteX67" fmla="*/ 91198 w 123054"/>
                <a:gd name="connsiteY67" fmla="*/ 14676 h 100654"/>
                <a:gd name="connsiteX68" fmla="*/ 93171 w 123054"/>
                <a:gd name="connsiteY68" fmla="*/ 20893 h 100654"/>
                <a:gd name="connsiteX69" fmla="*/ 95194 w 123054"/>
                <a:gd name="connsiteY69" fmla="*/ 28640 h 100654"/>
                <a:gd name="connsiteX70" fmla="*/ 99142 w 123054"/>
                <a:gd name="connsiteY70" fmla="*/ 34857 h 100654"/>
                <a:gd name="connsiteX71" fmla="*/ 105112 w 123054"/>
                <a:gd name="connsiteY71" fmla="*/ 41024 h 100654"/>
                <a:gd name="connsiteX72" fmla="*/ 107085 w 123054"/>
                <a:gd name="connsiteY72" fmla="*/ 45712 h 100654"/>
                <a:gd name="connsiteX73" fmla="*/ 111082 w 123054"/>
                <a:gd name="connsiteY73" fmla="*/ 48820 h 100654"/>
                <a:gd name="connsiteX74" fmla="*/ 117003 w 123054"/>
                <a:gd name="connsiteY74" fmla="*/ 51879 h 100654"/>
                <a:gd name="connsiteX75" fmla="*/ 120999 w 123054"/>
                <a:gd name="connsiteY75" fmla="*/ 54988 h 100654"/>
                <a:gd name="connsiteX76" fmla="*/ 122973 w 123054"/>
                <a:gd name="connsiteY76" fmla="*/ 56517 h 100654"/>
                <a:gd name="connsiteX77" fmla="*/ 117003 w 123054"/>
                <a:gd name="connsiteY77" fmla="*/ 56517 h 100654"/>
                <a:gd name="connsiteX78" fmla="*/ 113056 w 123054"/>
                <a:gd name="connsiteY78" fmla="*/ 58096 h 100654"/>
                <a:gd name="connsiteX79" fmla="*/ 113056 w 123054"/>
                <a:gd name="connsiteY79" fmla="*/ 64264 h 100654"/>
                <a:gd name="connsiteX80" fmla="*/ 109059 w 123054"/>
                <a:gd name="connsiteY80" fmla="*/ 67372 h 100654"/>
                <a:gd name="connsiteX81" fmla="*/ 109059 w 123054"/>
                <a:gd name="connsiteY81" fmla="*/ 72306 h 100654"/>
                <a:gd name="connsiteX82" fmla="*/ 113056 w 123054"/>
                <a:gd name="connsiteY82" fmla="*/ 73836 h 100654"/>
                <a:gd name="connsiteX83" fmla="*/ 117003 w 123054"/>
                <a:gd name="connsiteY83" fmla="*/ 80003 h 100654"/>
                <a:gd name="connsiteX84" fmla="*/ 111082 w 123054"/>
                <a:gd name="connsiteY84" fmla="*/ 84937 h 100654"/>
                <a:gd name="connsiteX85" fmla="*/ 109059 w 123054"/>
                <a:gd name="connsiteY85" fmla="*/ 89575 h 100654"/>
                <a:gd name="connsiteX86" fmla="*/ 109059 w 123054"/>
                <a:gd name="connsiteY86" fmla="*/ 92684 h 100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3054" h="100654">
                  <a:moveTo>
                    <a:pt x="109207" y="91302"/>
                  </a:moveTo>
                  <a:lnTo>
                    <a:pt x="109207" y="91302"/>
                  </a:lnTo>
                  <a:lnTo>
                    <a:pt x="111230" y="92832"/>
                  </a:lnTo>
                  <a:lnTo>
                    <a:pt x="111230" y="92832"/>
                  </a:lnTo>
                  <a:lnTo>
                    <a:pt x="111230" y="100628"/>
                  </a:lnTo>
                  <a:lnTo>
                    <a:pt x="105260" y="99049"/>
                  </a:lnTo>
                  <a:lnTo>
                    <a:pt x="103286" y="97519"/>
                  </a:lnTo>
                  <a:lnTo>
                    <a:pt x="101263" y="95940"/>
                  </a:lnTo>
                  <a:lnTo>
                    <a:pt x="99290" y="95940"/>
                  </a:lnTo>
                  <a:lnTo>
                    <a:pt x="99290" y="89723"/>
                  </a:lnTo>
                  <a:lnTo>
                    <a:pt x="93319" y="83556"/>
                  </a:lnTo>
                  <a:lnTo>
                    <a:pt x="87398" y="82026"/>
                  </a:lnTo>
                  <a:lnTo>
                    <a:pt x="85376" y="83556"/>
                  </a:lnTo>
                  <a:lnTo>
                    <a:pt x="85376" y="83556"/>
                  </a:lnTo>
                  <a:lnTo>
                    <a:pt x="93319" y="86664"/>
                  </a:lnTo>
                  <a:lnTo>
                    <a:pt x="97316" y="89723"/>
                  </a:lnTo>
                  <a:lnTo>
                    <a:pt x="95342" y="94657"/>
                  </a:lnTo>
                  <a:lnTo>
                    <a:pt x="93319" y="96187"/>
                  </a:lnTo>
                  <a:lnTo>
                    <a:pt x="85376" y="93078"/>
                  </a:lnTo>
                  <a:lnTo>
                    <a:pt x="77432" y="91549"/>
                  </a:lnTo>
                  <a:lnTo>
                    <a:pt x="75458" y="86911"/>
                  </a:lnTo>
                  <a:lnTo>
                    <a:pt x="75458" y="82273"/>
                  </a:lnTo>
                  <a:lnTo>
                    <a:pt x="79455" y="76056"/>
                  </a:lnTo>
                  <a:lnTo>
                    <a:pt x="77432" y="72947"/>
                  </a:lnTo>
                  <a:lnTo>
                    <a:pt x="69488" y="66731"/>
                  </a:lnTo>
                  <a:lnTo>
                    <a:pt x="65541" y="63622"/>
                  </a:lnTo>
                  <a:lnTo>
                    <a:pt x="59570" y="58984"/>
                  </a:lnTo>
                  <a:lnTo>
                    <a:pt x="49702" y="55876"/>
                  </a:lnTo>
                  <a:lnTo>
                    <a:pt x="47680" y="48179"/>
                  </a:lnTo>
                  <a:lnTo>
                    <a:pt x="41759" y="43491"/>
                  </a:lnTo>
                  <a:lnTo>
                    <a:pt x="39736" y="38557"/>
                  </a:lnTo>
                  <a:lnTo>
                    <a:pt x="33815" y="35498"/>
                  </a:lnTo>
                  <a:lnTo>
                    <a:pt x="27845" y="30860"/>
                  </a:lnTo>
                  <a:lnTo>
                    <a:pt x="25871" y="33969"/>
                  </a:lnTo>
                  <a:lnTo>
                    <a:pt x="27845" y="37028"/>
                  </a:lnTo>
                  <a:lnTo>
                    <a:pt x="35788" y="43245"/>
                  </a:lnTo>
                  <a:lnTo>
                    <a:pt x="37762" y="47932"/>
                  </a:lnTo>
                  <a:lnTo>
                    <a:pt x="33815" y="55629"/>
                  </a:lnTo>
                  <a:lnTo>
                    <a:pt x="31792" y="55629"/>
                  </a:lnTo>
                  <a:lnTo>
                    <a:pt x="27598" y="50892"/>
                  </a:lnTo>
                  <a:lnTo>
                    <a:pt x="21628" y="46254"/>
                  </a:lnTo>
                  <a:lnTo>
                    <a:pt x="11760" y="46254"/>
                  </a:lnTo>
                  <a:lnTo>
                    <a:pt x="1892" y="38459"/>
                  </a:lnTo>
                  <a:lnTo>
                    <a:pt x="-82" y="32291"/>
                  </a:lnTo>
                  <a:lnTo>
                    <a:pt x="3915" y="26074"/>
                  </a:lnTo>
                  <a:lnTo>
                    <a:pt x="9836" y="21485"/>
                  </a:lnTo>
                  <a:lnTo>
                    <a:pt x="7862" y="15219"/>
                  </a:lnTo>
                  <a:lnTo>
                    <a:pt x="3915" y="15219"/>
                  </a:lnTo>
                  <a:lnTo>
                    <a:pt x="1892" y="13690"/>
                  </a:lnTo>
                  <a:lnTo>
                    <a:pt x="3915" y="10581"/>
                  </a:lnTo>
                  <a:lnTo>
                    <a:pt x="5888" y="4414"/>
                  </a:lnTo>
                  <a:lnTo>
                    <a:pt x="3915" y="4414"/>
                  </a:lnTo>
                  <a:lnTo>
                    <a:pt x="7862" y="2835"/>
                  </a:lnTo>
                  <a:lnTo>
                    <a:pt x="7862" y="1552"/>
                  </a:lnTo>
                  <a:lnTo>
                    <a:pt x="17730" y="-27"/>
                  </a:lnTo>
                  <a:lnTo>
                    <a:pt x="39538" y="4907"/>
                  </a:lnTo>
                  <a:lnTo>
                    <a:pt x="45509" y="4907"/>
                  </a:lnTo>
                  <a:lnTo>
                    <a:pt x="57449" y="3328"/>
                  </a:lnTo>
                  <a:lnTo>
                    <a:pt x="59423" y="8262"/>
                  </a:lnTo>
                  <a:lnTo>
                    <a:pt x="65393" y="9792"/>
                  </a:lnTo>
                  <a:lnTo>
                    <a:pt x="65393" y="12851"/>
                  </a:lnTo>
                  <a:lnTo>
                    <a:pt x="71363" y="17785"/>
                  </a:lnTo>
                  <a:lnTo>
                    <a:pt x="75310" y="16206"/>
                  </a:lnTo>
                  <a:lnTo>
                    <a:pt x="79307" y="16206"/>
                  </a:lnTo>
                  <a:lnTo>
                    <a:pt x="77284" y="19314"/>
                  </a:lnTo>
                  <a:lnTo>
                    <a:pt x="85228" y="19314"/>
                  </a:lnTo>
                  <a:lnTo>
                    <a:pt x="85228" y="16206"/>
                  </a:lnTo>
                  <a:lnTo>
                    <a:pt x="91198" y="14676"/>
                  </a:lnTo>
                  <a:lnTo>
                    <a:pt x="93171" y="20893"/>
                  </a:lnTo>
                  <a:lnTo>
                    <a:pt x="95194" y="28640"/>
                  </a:lnTo>
                  <a:lnTo>
                    <a:pt x="99142" y="34857"/>
                  </a:lnTo>
                  <a:lnTo>
                    <a:pt x="105112" y="41024"/>
                  </a:lnTo>
                  <a:lnTo>
                    <a:pt x="107085" y="45712"/>
                  </a:lnTo>
                  <a:lnTo>
                    <a:pt x="111082" y="48820"/>
                  </a:lnTo>
                  <a:lnTo>
                    <a:pt x="117003" y="51879"/>
                  </a:lnTo>
                  <a:lnTo>
                    <a:pt x="120999" y="54988"/>
                  </a:lnTo>
                  <a:lnTo>
                    <a:pt x="122973" y="56517"/>
                  </a:lnTo>
                  <a:lnTo>
                    <a:pt x="117003" y="56517"/>
                  </a:lnTo>
                  <a:lnTo>
                    <a:pt x="113056" y="58096"/>
                  </a:lnTo>
                  <a:lnTo>
                    <a:pt x="113056" y="64264"/>
                  </a:lnTo>
                  <a:lnTo>
                    <a:pt x="109059" y="67372"/>
                  </a:lnTo>
                  <a:lnTo>
                    <a:pt x="109059" y="72306"/>
                  </a:lnTo>
                  <a:lnTo>
                    <a:pt x="113056" y="73836"/>
                  </a:lnTo>
                  <a:lnTo>
                    <a:pt x="117003" y="80003"/>
                  </a:lnTo>
                  <a:lnTo>
                    <a:pt x="111082" y="84937"/>
                  </a:lnTo>
                  <a:lnTo>
                    <a:pt x="109059" y="89575"/>
                  </a:lnTo>
                  <a:lnTo>
                    <a:pt x="109059" y="9268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Graphic 2">
              <a:extLst>
                <a:ext uri="{FF2B5EF4-FFF2-40B4-BE49-F238E27FC236}">
                  <a16:creationId xmlns:a16="http://schemas.microsoft.com/office/drawing/2014/main" id="{12A15A43-BC44-4A70-A909-C5E420AE1377}"/>
                </a:ext>
              </a:extLst>
            </p:cNvPr>
            <p:cNvSpPr/>
            <p:nvPr/>
          </p:nvSpPr>
          <p:spPr>
            <a:xfrm>
              <a:off x="2569898" y="4204213"/>
              <a:ext cx="152589" cy="125731"/>
            </a:xfrm>
            <a:custGeom>
              <a:avLst/>
              <a:gdLst>
                <a:gd name="connsiteX0" fmla="*/ 62876 w 167954"/>
                <a:gd name="connsiteY0" fmla="*/ 125100 h 138399"/>
                <a:gd name="connsiteX1" fmla="*/ 67070 w 167954"/>
                <a:gd name="connsiteY1" fmla="*/ 123522 h 138399"/>
                <a:gd name="connsiteX2" fmla="*/ 67070 w 167954"/>
                <a:gd name="connsiteY2" fmla="*/ 121893 h 138399"/>
                <a:gd name="connsiteX3" fmla="*/ 77580 w 167954"/>
                <a:gd name="connsiteY3" fmla="*/ 120314 h 138399"/>
                <a:gd name="connsiteX4" fmla="*/ 98599 w 167954"/>
                <a:gd name="connsiteY4" fmla="*/ 125248 h 138399"/>
                <a:gd name="connsiteX5" fmla="*/ 104865 w 167954"/>
                <a:gd name="connsiteY5" fmla="*/ 125248 h 138399"/>
                <a:gd name="connsiteX6" fmla="*/ 115375 w 167954"/>
                <a:gd name="connsiteY6" fmla="*/ 123669 h 138399"/>
                <a:gd name="connsiteX7" fmla="*/ 117496 w 167954"/>
                <a:gd name="connsiteY7" fmla="*/ 128603 h 138399"/>
                <a:gd name="connsiteX8" fmla="*/ 123763 w 167954"/>
                <a:gd name="connsiteY8" fmla="*/ 130232 h 138399"/>
                <a:gd name="connsiteX9" fmla="*/ 123763 w 167954"/>
                <a:gd name="connsiteY9" fmla="*/ 133439 h 138399"/>
                <a:gd name="connsiteX10" fmla="*/ 130078 w 167954"/>
                <a:gd name="connsiteY10" fmla="*/ 138373 h 138399"/>
                <a:gd name="connsiteX11" fmla="*/ 134272 w 167954"/>
                <a:gd name="connsiteY11" fmla="*/ 136745 h 138399"/>
                <a:gd name="connsiteX12" fmla="*/ 138466 w 167954"/>
                <a:gd name="connsiteY12" fmla="*/ 136745 h 138399"/>
                <a:gd name="connsiteX13" fmla="*/ 142660 w 167954"/>
                <a:gd name="connsiteY13" fmla="*/ 135116 h 138399"/>
                <a:gd name="connsiteX14" fmla="*/ 140588 w 167954"/>
                <a:gd name="connsiteY14" fmla="*/ 130182 h 138399"/>
                <a:gd name="connsiteX15" fmla="*/ 136394 w 167954"/>
                <a:gd name="connsiteY15" fmla="*/ 125248 h 138399"/>
                <a:gd name="connsiteX16" fmla="*/ 136394 w 167954"/>
                <a:gd name="connsiteY16" fmla="*/ 118834 h 138399"/>
                <a:gd name="connsiteX17" fmla="*/ 140588 w 167954"/>
                <a:gd name="connsiteY17" fmla="*/ 112420 h 138399"/>
                <a:gd name="connsiteX18" fmla="*/ 142660 w 167954"/>
                <a:gd name="connsiteY18" fmla="*/ 107486 h 138399"/>
                <a:gd name="connsiteX19" fmla="*/ 142660 w 167954"/>
                <a:gd name="connsiteY19" fmla="*/ 101269 h 138399"/>
                <a:gd name="connsiteX20" fmla="*/ 140588 w 167954"/>
                <a:gd name="connsiteY20" fmla="*/ 104525 h 138399"/>
                <a:gd name="connsiteX21" fmla="*/ 138466 w 167954"/>
                <a:gd name="connsiteY21" fmla="*/ 107733 h 138399"/>
                <a:gd name="connsiteX22" fmla="*/ 136394 w 167954"/>
                <a:gd name="connsiteY22" fmla="*/ 109311 h 138399"/>
                <a:gd name="connsiteX23" fmla="*/ 136394 w 167954"/>
                <a:gd name="connsiteY23" fmla="*/ 104377 h 138399"/>
                <a:gd name="connsiteX24" fmla="*/ 138466 w 167954"/>
                <a:gd name="connsiteY24" fmla="*/ 99443 h 138399"/>
                <a:gd name="connsiteX25" fmla="*/ 140588 w 167954"/>
                <a:gd name="connsiteY25" fmla="*/ 93029 h 138399"/>
                <a:gd name="connsiteX26" fmla="*/ 140588 w 167954"/>
                <a:gd name="connsiteY26" fmla="*/ 84987 h 138399"/>
                <a:gd name="connsiteX27" fmla="*/ 144781 w 167954"/>
                <a:gd name="connsiteY27" fmla="*/ 75119 h 138399"/>
                <a:gd name="connsiteX28" fmla="*/ 146854 w 167954"/>
                <a:gd name="connsiteY28" fmla="*/ 76747 h 138399"/>
                <a:gd name="connsiteX29" fmla="*/ 146854 w 167954"/>
                <a:gd name="connsiteY29" fmla="*/ 89575 h 138399"/>
                <a:gd name="connsiteX30" fmla="*/ 146854 w 167954"/>
                <a:gd name="connsiteY30" fmla="*/ 89575 h 138399"/>
                <a:gd name="connsiteX31" fmla="*/ 151048 w 167954"/>
                <a:gd name="connsiteY31" fmla="*/ 86368 h 138399"/>
                <a:gd name="connsiteX32" fmla="*/ 153169 w 167954"/>
                <a:gd name="connsiteY32" fmla="*/ 73540 h 138399"/>
                <a:gd name="connsiteX33" fmla="*/ 153169 w 167954"/>
                <a:gd name="connsiteY33" fmla="*/ 55876 h 138399"/>
                <a:gd name="connsiteX34" fmla="*/ 151048 w 167954"/>
                <a:gd name="connsiteY34" fmla="*/ 52669 h 138399"/>
                <a:gd name="connsiteX35" fmla="*/ 148975 w 167954"/>
                <a:gd name="connsiteY35" fmla="*/ 52669 h 138399"/>
                <a:gd name="connsiteX36" fmla="*/ 148975 w 167954"/>
                <a:gd name="connsiteY36" fmla="*/ 49462 h 138399"/>
                <a:gd name="connsiteX37" fmla="*/ 151048 w 167954"/>
                <a:gd name="connsiteY37" fmla="*/ 46254 h 138399"/>
                <a:gd name="connsiteX38" fmla="*/ 153169 w 167954"/>
                <a:gd name="connsiteY38" fmla="*/ 47833 h 138399"/>
                <a:gd name="connsiteX39" fmla="*/ 155242 w 167954"/>
                <a:gd name="connsiteY39" fmla="*/ 49462 h 138399"/>
                <a:gd name="connsiteX40" fmla="*/ 157363 w 167954"/>
                <a:gd name="connsiteY40" fmla="*/ 41419 h 138399"/>
                <a:gd name="connsiteX41" fmla="*/ 163679 w 167954"/>
                <a:gd name="connsiteY41" fmla="*/ 35005 h 138399"/>
                <a:gd name="connsiteX42" fmla="*/ 165751 w 167954"/>
                <a:gd name="connsiteY42" fmla="*/ 30071 h 138399"/>
                <a:gd name="connsiteX43" fmla="*/ 165751 w 167954"/>
                <a:gd name="connsiteY43" fmla="*/ 27258 h 138399"/>
                <a:gd name="connsiteX44" fmla="*/ 163679 w 167954"/>
                <a:gd name="connsiteY44" fmla="*/ 25630 h 138399"/>
                <a:gd name="connsiteX45" fmla="*/ 161557 w 167954"/>
                <a:gd name="connsiteY45" fmla="*/ 22423 h 138399"/>
                <a:gd name="connsiteX46" fmla="*/ 163679 w 167954"/>
                <a:gd name="connsiteY46" fmla="*/ 19216 h 138399"/>
                <a:gd name="connsiteX47" fmla="*/ 163679 w 167954"/>
                <a:gd name="connsiteY47" fmla="*/ 6388 h 138399"/>
                <a:gd name="connsiteX48" fmla="*/ 165751 w 167954"/>
                <a:gd name="connsiteY48" fmla="*/ 3180 h 138399"/>
                <a:gd name="connsiteX49" fmla="*/ 167873 w 167954"/>
                <a:gd name="connsiteY49" fmla="*/ -27 h 138399"/>
                <a:gd name="connsiteX50" fmla="*/ 163679 w 167954"/>
                <a:gd name="connsiteY50" fmla="*/ 1552 h 138399"/>
                <a:gd name="connsiteX51" fmla="*/ 159485 w 167954"/>
                <a:gd name="connsiteY51" fmla="*/ 1552 h 138399"/>
                <a:gd name="connsiteX52" fmla="*/ 157363 w 167954"/>
                <a:gd name="connsiteY52" fmla="*/ -27 h 138399"/>
                <a:gd name="connsiteX53" fmla="*/ 151048 w 167954"/>
                <a:gd name="connsiteY53" fmla="*/ -27 h 138399"/>
                <a:gd name="connsiteX54" fmla="*/ 148975 w 167954"/>
                <a:gd name="connsiteY54" fmla="*/ 4907 h 138399"/>
                <a:gd name="connsiteX55" fmla="*/ 144781 w 167954"/>
                <a:gd name="connsiteY55" fmla="*/ 6486 h 138399"/>
                <a:gd name="connsiteX56" fmla="*/ 138466 w 167954"/>
                <a:gd name="connsiteY56" fmla="*/ 11420 h 138399"/>
                <a:gd name="connsiteX57" fmla="*/ 132150 w 167954"/>
                <a:gd name="connsiteY57" fmla="*/ 11420 h 138399"/>
                <a:gd name="connsiteX58" fmla="*/ 130078 w 167954"/>
                <a:gd name="connsiteY58" fmla="*/ 14627 h 138399"/>
                <a:gd name="connsiteX59" fmla="*/ 119568 w 167954"/>
                <a:gd name="connsiteY59" fmla="*/ 14627 h 138399"/>
                <a:gd name="connsiteX60" fmla="*/ 117496 w 167954"/>
                <a:gd name="connsiteY60" fmla="*/ 11420 h 138399"/>
                <a:gd name="connsiteX61" fmla="*/ 113302 w 167954"/>
                <a:gd name="connsiteY61" fmla="*/ 8213 h 138399"/>
                <a:gd name="connsiteX62" fmla="*/ 109059 w 167954"/>
                <a:gd name="connsiteY62" fmla="*/ 8213 h 138399"/>
                <a:gd name="connsiteX63" fmla="*/ 106987 w 167954"/>
                <a:gd name="connsiteY63" fmla="*/ 14627 h 138399"/>
                <a:gd name="connsiteX64" fmla="*/ 100671 w 167954"/>
                <a:gd name="connsiteY64" fmla="*/ 14627 h 138399"/>
                <a:gd name="connsiteX65" fmla="*/ 94405 w 167954"/>
                <a:gd name="connsiteY65" fmla="*/ 22324 h 138399"/>
                <a:gd name="connsiteX66" fmla="*/ 94405 w 167954"/>
                <a:gd name="connsiteY66" fmla="*/ 25532 h 138399"/>
                <a:gd name="connsiteX67" fmla="*/ 92185 w 167954"/>
                <a:gd name="connsiteY67" fmla="*/ 27258 h 138399"/>
                <a:gd name="connsiteX68" fmla="*/ 83797 w 167954"/>
                <a:gd name="connsiteY68" fmla="*/ 33673 h 138399"/>
                <a:gd name="connsiteX69" fmla="*/ 77481 w 167954"/>
                <a:gd name="connsiteY69" fmla="*/ 35301 h 138399"/>
                <a:gd name="connsiteX70" fmla="*/ 75409 w 167954"/>
                <a:gd name="connsiteY70" fmla="*/ 38508 h 138399"/>
                <a:gd name="connsiteX71" fmla="*/ 69093 w 167954"/>
                <a:gd name="connsiteY71" fmla="*/ 36929 h 138399"/>
                <a:gd name="connsiteX72" fmla="*/ 64899 w 167954"/>
                <a:gd name="connsiteY72" fmla="*/ 38508 h 138399"/>
                <a:gd name="connsiteX73" fmla="*/ 60705 w 167954"/>
                <a:gd name="connsiteY73" fmla="*/ 35301 h 138399"/>
                <a:gd name="connsiteX74" fmla="*/ 52318 w 167954"/>
                <a:gd name="connsiteY74" fmla="*/ 33673 h 138399"/>
                <a:gd name="connsiteX75" fmla="*/ 41808 w 167954"/>
                <a:gd name="connsiteY75" fmla="*/ 38607 h 138399"/>
                <a:gd name="connsiteX76" fmla="*/ 29226 w 167954"/>
                <a:gd name="connsiteY76" fmla="*/ 40235 h 138399"/>
                <a:gd name="connsiteX77" fmla="*/ 31299 w 167954"/>
                <a:gd name="connsiteY77" fmla="*/ 46649 h 138399"/>
                <a:gd name="connsiteX78" fmla="*/ 31299 w 167954"/>
                <a:gd name="connsiteY78" fmla="*/ 49856 h 138399"/>
                <a:gd name="connsiteX79" fmla="*/ 29226 w 167954"/>
                <a:gd name="connsiteY79" fmla="*/ 57899 h 138399"/>
                <a:gd name="connsiteX80" fmla="*/ 27105 w 167954"/>
                <a:gd name="connsiteY80" fmla="*/ 62833 h 138399"/>
                <a:gd name="connsiteX81" fmla="*/ 18717 w 167954"/>
                <a:gd name="connsiteY81" fmla="*/ 62833 h 138399"/>
                <a:gd name="connsiteX82" fmla="*/ 12401 w 167954"/>
                <a:gd name="connsiteY82" fmla="*/ 64461 h 138399"/>
                <a:gd name="connsiteX83" fmla="*/ 12401 w 167954"/>
                <a:gd name="connsiteY83" fmla="*/ 67668 h 138399"/>
                <a:gd name="connsiteX84" fmla="*/ 8306 w 167954"/>
                <a:gd name="connsiteY84" fmla="*/ 67668 h 138399"/>
                <a:gd name="connsiteX85" fmla="*/ 2040 w 167954"/>
                <a:gd name="connsiteY85" fmla="*/ 66040 h 138399"/>
                <a:gd name="connsiteX86" fmla="*/ -82 w 167954"/>
                <a:gd name="connsiteY86" fmla="*/ 67668 h 138399"/>
                <a:gd name="connsiteX87" fmla="*/ 14720 w 167954"/>
                <a:gd name="connsiteY87" fmla="*/ 82076 h 138399"/>
                <a:gd name="connsiteX88" fmla="*/ 20987 w 167954"/>
                <a:gd name="connsiteY88" fmla="*/ 85283 h 138399"/>
                <a:gd name="connsiteX89" fmla="*/ 20987 w 167954"/>
                <a:gd name="connsiteY89" fmla="*/ 88539 h 138399"/>
                <a:gd name="connsiteX90" fmla="*/ 31496 w 167954"/>
                <a:gd name="connsiteY90" fmla="*/ 96532 h 138399"/>
                <a:gd name="connsiteX91" fmla="*/ 39884 w 167954"/>
                <a:gd name="connsiteY91" fmla="*/ 107831 h 138399"/>
                <a:gd name="connsiteX92" fmla="*/ 56709 w 167954"/>
                <a:gd name="connsiteY92" fmla="*/ 123867 h 138399"/>
                <a:gd name="connsiteX93" fmla="*/ 60903 w 167954"/>
                <a:gd name="connsiteY93" fmla="*/ 123867 h 138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67954" h="138399">
                  <a:moveTo>
                    <a:pt x="62876" y="125100"/>
                  </a:moveTo>
                  <a:lnTo>
                    <a:pt x="67070" y="123522"/>
                  </a:lnTo>
                  <a:lnTo>
                    <a:pt x="67070" y="121893"/>
                  </a:lnTo>
                  <a:lnTo>
                    <a:pt x="77580" y="120314"/>
                  </a:lnTo>
                  <a:lnTo>
                    <a:pt x="98599" y="125248"/>
                  </a:lnTo>
                  <a:lnTo>
                    <a:pt x="104865" y="125248"/>
                  </a:lnTo>
                  <a:lnTo>
                    <a:pt x="115375" y="123669"/>
                  </a:lnTo>
                  <a:lnTo>
                    <a:pt x="117496" y="128603"/>
                  </a:lnTo>
                  <a:lnTo>
                    <a:pt x="123763" y="130232"/>
                  </a:lnTo>
                  <a:lnTo>
                    <a:pt x="123763" y="133439"/>
                  </a:lnTo>
                  <a:lnTo>
                    <a:pt x="130078" y="138373"/>
                  </a:lnTo>
                  <a:lnTo>
                    <a:pt x="134272" y="136745"/>
                  </a:lnTo>
                  <a:lnTo>
                    <a:pt x="138466" y="136745"/>
                  </a:lnTo>
                  <a:lnTo>
                    <a:pt x="142660" y="135116"/>
                  </a:lnTo>
                  <a:lnTo>
                    <a:pt x="140588" y="130182"/>
                  </a:lnTo>
                  <a:lnTo>
                    <a:pt x="136394" y="125248"/>
                  </a:lnTo>
                  <a:lnTo>
                    <a:pt x="136394" y="118834"/>
                  </a:lnTo>
                  <a:lnTo>
                    <a:pt x="140588" y="112420"/>
                  </a:lnTo>
                  <a:lnTo>
                    <a:pt x="142660" y="107486"/>
                  </a:lnTo>
                  <a:lnTo>
                    <a:pt x="142660" y="101269"/>
                  </a:lnTo>
                  <a:lnTo>
                    <a:pt x="140588" y="104525"/>
                  </a:lnTo>
                  <a:lnTo>
                    <a:pt x="138466" y="107733"/>
                  </a:lnTo>
                  <a:lnTo>
                    <a:pt x="136394" y="109311"/>
                  </a:lnTo>
                  <a:lnTo>
                    <a:pt x="136394" y="104377"/>
                  </a:lnTo>
                  <a:lnTo>
                    <a:pt x="138466" y="99443"/>
                  </a:lnTo>
                  <a:lnTo>
                    <a:pt x="140588" y="93029"/>
                  </a:lnTo>
                  <a:lnTo>
                    <a:pt x="140588" y="84987"/>
                  </a:lnTo>
                  <a:lnTo>
                    <a:pt x="144781" y="75119"/>
                  </a:lnTo>
                  <a:lnTo>
                    <a:pt x="146854" y="76747"/>
                  </a:lnTo>
                  <a:lnTo>
                    <a:pt x="146854" y="89575"/>
                  </a:lnTo>
                  <a:lnTo>
                    <a:pt x="146854" y="89575"/>
                  </a:lnTo>
                  <a:lnTo>
                    <a:pt x="151048" y="86368"/>
                  </a:lnTo>
                  <a:lnTo>
                    <a:pt x="153169" y="73540"/>
                  </a:lnTo>
                  <a:lnTo>
                    <a:pt x="153169" y="55876"/>
                  </a:lnTo>
                  <a:lnTo>
                    <a:pt x="151048" y="52669"/>
                  </a:lnTo>
                  <a:lnTo>
                    <a:pt x="148975" y="52669"/>
                  </a:lnTo>
                  <a:lnTo>
                    <a:pt x="148975" y="49462"/>
                  </a:lnTo>
                  <a:lnTo>
                    <a:pt x="151048" y="46254"/>
                  </a:lnTo>
                  <a:lnTo>
                    <a:pt x="153169" y="47833"/>
                  </a:lnTo>
                  <a:lnTo>
                    <a:pt x="155242" y="49462"/>
                  </a:lnTo>
                  <a:lnTo>
                    <a:pt x="157363" y="41419"/>
                  </a:lnTo>
                  <a:lnTo>
                    <a:pt x="163679" y="35005"/>
                  </a:lnTo>
                  <a:lnTo>
                    <a:pt x="165751" y="30071"/>
                  </a:lnTo>
                  <a:lnTo>
                    <a:pt x="165751" y="27258"/>
                  </a:lnTo>
                  <a:lnTo>
                    <a:pt x="163679" y="25630"/>
                  </a:lnTo>
                  <a:lnTo>
                    <a:pt x="161557" y="22423"/>
                  </a:lnTo>
                  <a:lnTo>
                    <a:pt x="163679" y="19216"/>
                  </a:lnTo>
                  <a:lnTo>
                    <a:pt x="163679" y="6388"/>
                  </a:lnTo>
                  <a:lnTo>
                    <a:pt x="165751" y="3180"/>
                  </a:lnTo>
                  <a:lnTo>
                    <a:pt x="167873" y="-27"/>
                  </a:lnTo>
                  <a:lnTo>
                    <a:pt x="163679" y="1552"/>
                  </a:lnTo>
                  <a:lnTo>
                    <a:pt x="159485" y="1552"/>
                  </a:lnTo>
                  <a:lnTo>
                    <a:pt x="157363" y="-27"/>
                  </a:lnTo>
                  <a:lnTo>
                    <a:pt x="151048" y="-27"/>
                  </a:lnTo>
                  <a:lnTo>
                    <a:pt x="148975" y="4907"/>
                  </a:lnTo>
                  <a:lnTo>
                    <a:pt x="144781" y="6486"/>
                  </a:lnTo>
                  <a:lnTo>
                    <a:pt x="138466" y="11420"/>
                  </a:lnTo>
                  <a:lnTo>
                    <a:pt x="132150" y="11420"/>
                  </a:lnTo>
                  <a:lnTo>
                    <a:pt x="130078" y="14627"/>
                  </a:lnTo>
                  <a:lnTo>
                    <a:pt x="119568" y="14627"/>
                  </a:lnTo>
                  <a:lnTo>
                    <a:pt x="117496" y="11420"/>
                  </a:lnTo>
                  <a:lnTo>
                    <a:pt x="113302" y="8213"/>
                  </a:lnTo>
                  <a:lnTo>
                    <a:pt x="109059" y="8213"/>
                  </a:lnTo>
                  <a:lnTo>
                    <a:pt x="106987" y="14627"/>
                  </a:lnTo>
                  <a:lnTo>
                    <a:pt x="100671" y="14627"/>
                  </a:lnTo>
                  <a:lnTo>
                    <a:pt x="94405" y="22324"/>
                  </a:lnTo>
                  <a:lnTo>
                    <a:pt x="94405" y="25532"/>
                  </a:lnTo>
                  <a:lnTo>
                    <a:pt x="92185" y="27258"/>
                  </a:lnTo>
                  <a:lnTo>
                    <a:pt x="83797" y="33673"/>
                  </a:lnTo>
                  <a:lnTo>
                    <a:pt x="77481" y="35301"/>
                  </a:lnTo>
                  <a:lnTo>
                    <a:pt x="75409" y="38508"/>
                  </a:lnTo>
                  <a:lnTo>
                    <a:pt x="69093" y="36929"/>
                  </a:lnTo>
                  <a:lnTo>
                    <a:pt x="64899" y="38508"/>
                  </a:lnTo>
                  <a:lnTo>
                    <a:pt x="60705" y="35301"/>
                  </a:lnTo>
                  <a:lnTo>
                    <a:pt x="52318" y="33673"/>
                  </a:lnTo>
                  <a:lnTo>
                    <a:pt x="41808" y="38607"/>
                  </a:lnTo>
                  <a:lnTo>
                    <a:pt x="29226" y="40235"/>
                  </a:lnTo>
                  <a:lnTo>
                    <a:pt x="31299" y="46649"/>
                  </a:lnTo>
                  <a:lnTo>
                    <a:pt x="31299" y="49856"/>
                  </a:lnTo>
                  <a:lnTo>
                    <a:pt x="29226" y="57899"/>
                  </a:lnTo>
                  <a:lnTo>
                    <a:pt x="27105" y="62833"/>
                  </a:lnTo>
                  <a:lnTo>
                    <a:pt x="18717" y="62833"/>
                  </a:lnTo>
                  <a:lnTo>
                    <a:pt x="12401" y="64461"/>
                  </a:lnTo>
                  <a:lnTo>
                    <a:pt x="12401" y="67668"/>
                  </a:lnTo>
                  <a:lnTo>
                    <a:pt x="8306" y="67668"/>
                  </a:lnTo>
                  <a:lnTo>
                    <a:pt x="2040" y="66040"/>
                  </a:lnTo>
                  <a:lnTo>
                    <a:pt x="-82" y="67668"/>
                  </a:lnTo>
                  <a:lnTo>
                    <a:pt x="14720" y="82076"/>
                  </a:lnTo>
                  <a:lnTo>
                    <a:pt x="20987" y="85283"/>
                  </a:lnTo>
                  <a:lnTo>
                    <a:pt x="20987" y="88539"/>
                  </a:lnTo>
                  <a:lnTo>
                    <a:pt x="31496" y="96532"/>
                  </a:lnTo>
                  <a:lnTo>
                    <a:pt x="39884" y="107831"/>
                  </a:lnTo>
                  <a:lnTo>
                    <a:pt x="56709" y="123867"/>
                  </a:lnTo>
                  <a:lnTo>
                    <a:pt x="60903" y="12386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Graphic 2">
              <a:extLst>
                <a:ext uri="{FF2B5EF4-FFF2-40B4-BE49-F238E27FC236}">
                  <a16:creationId xmlns:a16="http://schemas.microsoft.com/office/drawing/2014/main" id="{46106B43-502A-44AD-A364-088530D3014E}"/>
                </a:ext>
              </a:extLst>
            </p:cNvPr>
            <p:cNvSpPr/>
            <p:nvPr/>
          </p:nvSpPr>
          <p:spPr>
            <a:xfrm>
              <a:off x="2505571" y="4170372"/>
              <a:ext cx="217093" cy="91755"/>
            </a:xfrm>
            <a:custGeom>
              <a:avLst/>
              <a:gdLst>
                <a:gd name="connsiteX0" fmla="*/ 84043 w 238955"/>
                <a:gd name="connsiteY0" fmla="*/ 100578 h 100999"/>
                <a:gd name="connsiteX1" fmla="*/ 89915 w 238955"/>
                <a:gd name="connsiteY1" fmla="*/ 98999 h 100999"/>
                <a:gd name="connsiteX2" fmla="*/ 97760 w 238955"/>
                <a:gd name="connsiteY2" fmla="*/ 98999 h 100999"/>
                <a:gd name="connsiteX3" fmla="*/ 99734 w 238955"/>
                <a:gd name="connsiteY3" fmla="*/ 94361 h 100999"/>
                <a:gd name="connsiteX4" fmla="*/ 101658 w 238955"/>
                <a:gd name="connsiteY4" fmla="*/ 86615 h 100999"/>
                <a:gd name="connsiteX5" fmla="*/ 101658 w 238955"/>
                <a:gd name="connsiteY5" fmla="*/ 83506 h 100999"/>
                <a:gd name="connsiteX6" fmla="*/ 99734 w 238955"/>
                <a:gd name="connsiteY6" fmla="*/ 77339 h 100999"/>
                <a:gd name="connsiteX7" fmla="*/ 111477 w 238955"/>
                <a:gd name="connsiteY7" fmla="*/ 75760 h 100999"/>
                <a:gd name="connsiteX8" fmla="*/ 123220 w 238955"/>
                <a:gd name="connsiteY8" fmla="*/ 69543 h 100999"/>
                <a:gd name="connsiteX9" fmla="*/ 131015 w 238955"/>
                <a:gd name="connsiteY9" fmla="*/ 71122 h 100999"/>
                <a:gd name="connsiteX10" fmla="*/ 134963 w 238955"/>
                <a:gd name="connsiteY10" fmla="*/ 75760 h 100999"/>
                <a:gd name="connsiteX11" fmla="*/ 138860 w 238955"/>
                <a:gd name="connsiteY11" fmla="*/ 72652 h 100999"/>
                <a:gd name="connsiteX12" fmla="*/ 144732 w 238955"/>
                <a:gd name="connsiteY12" fmla="*/ 75760 h 100999"/>
                <a:gd name="connsiteX13" fmla="*/ 146706 w 238955"/>
                <a:gd name="connsiteY13" fmla="*/ 71122 h 100999"/>
                <a:gd name="connsiteX14" fmla="*/ 154551 w 238955"/>
                <a:gd name="connsiteY14" fmla="*/ 69543 h 100999"/>
                <a:gd name="connsiteX15" fmla="*/ 162346 w 238955"/>
                <a:gd name="connsiteY15" fmla="*/ 63376 h 100999"/>
                <a:gd name="connsiteX16" fmla="*/ 164320 w 238955"/>
                <a:gd name="connsiteY16" fmla="*/ 61846 h 100999"/>
                <a:gd name="connsiteX17" fmla="*/ 164320 w 238955"/>
                <a:gd name="connsiteY17" fmla="*/ 58688 h 100999"/>
                <a:gd name="connsiteX18" fmla="*/ 170192 w 238955"/>
                <a:gd name="connsiteY18" fmla="*/ 50991 h 100999"/>
                <a:gd name="connsiteX19" fmla="*/ 176063 w 238955"/>
                <a:gd name="connsiteY19" fmla="*/ 50991 h 100999"/>
                <a:gd name="connsiteX20" fmla="*/ 178037 w 238955"/>
                <a:gd name="connsiteY20" fmla="*/ 43195 h 100999"/>
                <a:gd name="connsiteX21" fmla="*/ 181935 w 238955"/>
                <a:gd name="connsiteY21" fmla="*/ 43195 h 100999"/>
                <a:gd name="connsiteX22" fmla="*/ 187806 w 238955"/>
                <a:gd name="connsiteY22" fmla="*/ 46304 h 100999"/>
                <a:gd name="connsiteX23" fmla="*/ 189780 w 238955"/>
                <a:gd name="connsiteY23" fmla="*/ 51238 h 100999"/>
                <a:gd name="connsiteX24" fmla="*/ 199648 w 238955"/>
                <a:gd name="connsiteY24" fmla="*/ 51238 h 100999"/>
                <a:gd name="connsiteX25" fmla="*/ 201622 w 238955"/>
                <a:gd name="connsiteY25" fmla="*/ 46304 h 100999"/>
                <a:gd name="connsiteX26" fmla="*/ 207394 w 238955"/>
                <a:gd name="connsiteY26" fmla="*/ 46304 h 100999"/>
                <a:gd name="connsiteX27" fmla="*/ 213266 w 238955"/>
                <a:gd name="connsiteY27" fmla="*/ 41666 h 100999"/>
                <a:gd name="connsiteX28" fmla="*/ 219137 w 238955"/>
                <a:gd name="connsiteY28" fmla="*/ 40087 h 100999"/>
                <a:gd name="connsiteX29" fmla="*/ 221111 w 238955"/>
                <a:gd name="connsiteY29" fmla="*/ 35449 h 100999"/>
                <a:gd name="connsiteX30" fmla="*/ 227130 w 238955"/>
                <a:gd name="connsiteY30" fmla="*/ 35449 h 100999"/>
                <a:gd name="connsiteX31" fmla="*/ 229055 w 238955"/>
                <a:gd name="connsiteY31" fmla="*/ 37028 h 100999"/>
                <a:gd name="connsiteX32" fmla="*/ 233002 w 238955"/>
                <a:gd name="connsiteY32" fmla="*/ 37028 h 100999"/>
                <a:gd name="connsiteX33" fmla="*/ 236900 w 238955"/>
                <a:gd name="connsiteY33" fmla="*/ 35449 h 100999"/>
                <a:gd name="connsiteX34" fmla="*/ 238873 w 238955"/>
                <a:gd name="connsiteY34" fmla="*/ 33919 h 100999"/>
                <a:gd name="connsiteX35" fmla="*/ 236900 w 238955"/>
                <a:gd name="connsiteY35" fmla="*/ 30811 h 100999"/>
                <a:gd name="connsiteX36" fmla="*/ 229055 w 238955"/>
                <a:gd name="connsiteY36" fmla="*/ 26173 h 100999"/>
                <a:gd name="connsiteX37" fmla="*/ 223183 w 238955"/>
                <a:gd name="connsiteY37" fmla="*/ 23064 h 100999"/>
                <a:gd name="connsiteX38" fmla="*/ 221259 w 238955"/>
                <a:gd name="connsiteY38" fmla="*/ 24643 h 100999"/>
                <a:gd name="connsiteX39" fmla="*/ 225157 w 238955"/>
                <a:gd name="connsiteY39" fmla="*/ 29232 h 100999"/>
                <a:gd name="connsiteX40" fmla="*/ 215289 w 238955"/>
                <a:gd name="connsiteY40" fmla="*/ 29232 h 100999"/>
                <a:gd name="connsiteX41" fmla="*/ 207444 w 238955"/>
                <a:gd name="connsiteY41" fmla="*/ 27702 h 100999"/>
                <a:gd name="connsiteX42" fmla="*/ 203496 w 238955"/>
                <a:gd name="connsiteY42" fmla="*/ 26173 h 100999"/>
                <a:gd name="connsiteX43" fmla="*/ 197625 w 238955"/>
                <a:gd name="connsiteY43" fmla="*/ 24643 h 100999"/>
                <a:gd name="connsiteX44" fmla="*/ 191753 w 238955"/>
                <a:gd name="connsiteY44" fmla="*/ 24643 h 100999"/>
                <a:gd name="connsiteX45" fmla="*/ 191753 w 238955"/>
                <a:gd name="connsiteY45" fmla="*/ 23064 h 100999"/>
                <a:gd name="connsiteX46" fmla="*/ 197526 w 238955"/>
                <a:gd name="connsiteY46" fmla="*/ 20104 h 100999"/>
                <a:gd name="connsiteX47" fmla="*/ 195602 w 238955"/>
                <a:gd name="connsiteY47" fmla="*/ 16996 h 100999"/>
                <a:gd name="connsiteX48" fmla="*/ 205470 w 238955"/>
                <a:gd name="connsiteY48" fmla="*/ 16996 h 100999"/>
                <a:gd name="connsiteX49" fmla="*/ 213315 w 238955"/>
                <a:gd name="connsiteY49" fmla="*/ 20104 h 100999"/>
                <a:gd name="connsiteX50" fmla="*/ 215289 w 238955"/>
                <a:gd name="connsiteY50" fmla="*/ 18525 h 100999"/>
                <a:gd name="connsiteX51" fmla="*/ 209417 w 238955"/>
                <a:gd name="connsiteY51" fmla="*/ 15417 h 100999"/>
                <a:gd name="connsiteX52" fmla="*/ 201572 w 238955"/>
                <a:gd name="connsiteY52" fmla="*/ 10828 h 100999"/>
                <a:gd name="connsiteX53" fmla="*/ 189829 w 238955"/>
                <a:gd name="connsiteY53" fmla="*/ 10828 h 100999"/>
                <a:gd name="connsiteX54" fmla="*/ 185882 w 238955"/>
                <a:gd name="connsiteY54" fmla="*/ 9249 h 100999"/>
                <a:gd name="connsiteX55" fmla="*/ 181984 w 238955"/>
                <a:gd name="connsiteY55" fmla="*/ 13887 h 100999"/>
                <a:gd name="connsiteX56" fmla="*/ 178086 w 238955"/>
                <a:gd name="connsiteY56" fmla="*/ 10828 h 100999"/>
                <a:gd name="connsiteX57" fmla="*/ 162396 w 238955"/>
                <a:gd name="connsiteY57" fmla="*/ 9249 h 100999"/>
                <a:gd name="connsiteX58" fmla="*/ 146755 w 238955"/>
                <a:gd name="connsiteY58" fmla="*/ 9249 h 100999"/>
                <a:gd name="connsiteX59" fmla="*/ 138910 w 238955"/>
                <a:gd name="connsiteY59" fmla="*/ 3032 h 100999"/>
                <a:gd name="connsiteX60" fmla="*/ 131065 w 238955"/>
                <a:gd name="connsiteY60" fmla="*/ -27 h 100999"/>
                <a:gd name="connsiteX61" fmla="*/ 129141 w 238955"/>
                <a:gd name="connsiteY61" fmla="*/ 3032 h 100999"/>
                <a:gd name="connsiteX62" fmla="*/ 133038 w 238955"/>
                <a:gd name="connsiteY62" fmla="*/ 4611 h 100999"/>
                <a:gd name="connsiteX63" fmla="*/ 127167 w 238955"/>
                <a:gd name="connsiteY63" fmla="*/ 7720 h 100999"/>
                <a:gd name="connsiteX64" fmla="*/ 123269 w 238955"/>
                <a:gd name="connsiteY64" fmla="*/ 9249 h 100999"/>
                <a:gd name="connsiteX65" fmla="*/ 117398 w 238955"/>
                <a:gd name="connsiteY65" fmla="*/ 7720 h 100999"/>
                <a:gd name="connsiteX66" fmla="*/ 105654 w 238955"/>
                <a:gd name="connsiteY66" fmla="*/ 10828 h 100999"/>
                <a:gd name="connsiteX67" fmla="*/ 89964 w 238955"/>
                <a:gd name="connsiteY67" fmla="*/ 9249 h 100999"/>
                <a:gd name="connsiteX68" fmla="*/ 68452 w 238955"/>
                <a:gd name="connsiteY68" fmla="*/ 9249 h 100999"/>
                <a:gd name="connsiteX69" fmla="*/ 60607 w 238955"/>
                <a:gd name="connsiteY69" fmla="*/ 13887 h 100999"/>
                <a:gd name="connsiteX70" fmla="*/ 56709 w 238955"/>
                <a:gd name="connsiteY70" fmla="*/ 10828 h 100999"/>
                <a:gd name="connsiteX71" fmla="*/ 54735 w 238955"/>
                <a:gd name="connsiteY71" fmla="*/ 13887 h 100999"/>
                <a:gd name="connsiteX72" fmla="*/ 50837 w 238955"/>
                <a:gd name="connsiteY72" fmla="*/ 15417 h 100999"/>
                <a:gd name="connsiteX73" fmla="*/ 48864 w 238955"/>
                <a:gd name="connsiteY73" fmla="*/ 23213 h 100999"/>
                <a:gd name="connsiteX74" fmla="*/ 37121 w 238955"/>
                <a:gd name="connsiteY74" fmla="*/ 27851 h 100999"/>
                <a:gd name="connsiteX75" fmla="*/ 31249 w 238955"/>
                <a:gd name="connsiteY75" fmla="*/ 27851 h 100999"/>
                <a:gd name="connsiteX76" fmla="*/ 23404 w 238955"/>
                <a:gd name="connsiteY76" fmla="*/ 35597 h 100999"/>
                <a:gd name="connsiteX77" fmla="*/ 17533 w 238955"/>
                <a:gd name="connsiteY77" fmla="*/ 40235 h 100999"/>
                <a:gd name="connsiteX78" fmla="*/ 19506 w 238955"/>
                <a:gd name="connsiteY78" fmla="*/ 45169 h 100999"/>
                <a:gd name="connsiteX79" fmla="*/ 15559 w 238955"/>
                <a:gd name="connsiteY79" fmla="*/ 55975 h 100999"/>
                <a:gd name="connsiteX80" fmla="*/ 3816 w 238955"/>
                <a:gd name="connsiteY80" fmla="*/ 60662 h 100999"/>
                <a:gd name="connsiteX81" fmla="*/ 3816 w 238955"/>
                <a:gd name="connsiteY81" fmla="*/ 65300 h 100999"/>
                <a:gd name="connsiteX82" fmla="*/ -82 w 238955"/>
                <a:gd name="connsiteY82" fmla="*/ 82372 h 100999"/>
                <a:gd name="connsiteX83" fmla="*/ 3816 w 238955"/>
                <a:gd name="connsiteY83" fmla="*/ 88588 h 100999"/>
                <a:gd name="connsiteX84" fmla="*/ 7763 w 238955"/>
                <a:gd name="connsiteY84" fmla="*/ 88588 h 100999"/>
                <a:gd name="connsiteX85" fmla="*/ 21430 w 238955"/>
                <a:gd name="connsiteY85" fmla="*/ 93177 h 100999"/>
                <a:gd name="connsiteX86" fmla="*/ 31299 w 238955"/>
                <a:gd name="connsiteY86" fmla="*/ 97864 h 100999"/>
                <a:gd name="connsiteX87" fmla="*/ 33223 w 238955"/>
                <a:gd name="connsiteY87" fmla="*/ 94756 h 100999"/>
                <a:gd name="connsiteX88" fmla="*/ 27351 w 238955"/>
                <a:gd name="connsiteY88" fmla="*/ 93177 h 100999"/>
                <a:gd name="connsiteX89" fmla="*/ 31299 w 238955"/>
                <a:gd name="connsiteY89" fmla="*/ 91648 h 100999"/>
                <a:gd name="connsiteX90" fmla="*/ 37170 w 238955"/>
                <a:gd name="connsiteY90" fmla="*/ 91648 h 100999"/>
                <a:gd name="connsiteX91" fmla="*/ 41068 w 238955"/>
                <a:gd name="connsiteY91" fmla="*/ 97864 h 100999"/>
                <a:gd name="connsiteX92" fmla="*/ 45015 w 238955"/>
                <a:gd name="connsiteY92" fmla="*/ 100973 h 100999"/>
                <a:gd name="connsiteX93" fmla="*/ 62630 w 238955"/>
                <a:gd name="connsiteY93" fmla="*/ 100973 h 100999"/>
                <a:gd name="connsiteX94" fmla="*/ 66528 w 238955"/>
                <a:gd name="connsiteY94" fmla="*/ 96286 h 100999"/>
                <a:gd name="connsiteX95" fmla="*/ 64554 w 238955"/>
                <a:gd name="connsiteY95" fmla="*/ 93177 h 100999"/>
                <a:gd name="connsiteX96" fmla="*/ 68501 w 238955"/>
                <a:gd name="connsiteY96" fmla="*/ 91648 h 100999"/>
                <a:gd name="connsiteX97" fmla="*/ 70425 w 238955"/>
                <a:gd name="connsiteY97" fmla="*/ 93177 h 100999"/>
                <a:gd name="connsiteX98" fmla="*/ 72399 w 238955"/>
                <a:gd name="connsiteY98" fmla="*/ 94756 h 100999"/>
                <a:gd name="connsiteX99" fmla="*/ 76297 w 238955"/>
                <a:gd name="connsiteY99" fmla="*/ 94756 h 100999"/>
                <a:gd name="connsiteX100" fmla="*/ 78271 w 238955"/>
                <a:gd name="connsiteY100" fmla="*/ 93177 h 100999"/>
                <a:gd name="connsiteX101" fmla="*/ 82168 w 238955"/>
                <a:gd name="connsiteY101" fmla="*/ 93177 h 100999"/>
                <a:gd name="connsiteX102" fmla="*/ 82168 w 238955"/>
                <a:gd name="connsiteY102" fmla="*/ 97864 h 100999"/>
                <a:gd name="connsiteX103" fmla="*/ 84142 w 238955"/>
                <a:gd name="connsiteY103" fmla="*/ 100973 h 10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38955" h="100999">
                  <a:moveTo>
                    <a:pt x="84043" y="100578"/>
                  </a:moveTo>
                  <a:lnTo>
                    <a:pt x="89915" y="98999"/>
                  </a:lnTo>
                  <a:lnTo>
                    <a:pt x="97760" y="98999"/>
                  </a:lnTo>
                  <a:lnTo>
                    <a:pt x="99734" y="94361"/>
                  </a:lnTo>
                  <a:lnTo>
                    <a:pt x="101658" y="86615"/>
                  </a:lnTo>
                  <a:lnTo>
                    <a:pt x="101658" y="83506"/>
                  </a:lnTo>
                  <a:lnTo>
                    <a:pt x="99734" y="77339"/>
                  </a:lnTo>
                  <a:lnTo>
                    <a:pt x="111477" y="75760"/>
                  </a:lnTo>
                  <a:lnTo>
                    <a:pt x="123220" y="69543"/>
                  </a:lnTo>
                  <a:lnTo>
                    <a:pt x="131015" y="71122"/>
                  </a:lnTo>
                  <a:lnTo>
                    <a:pt x="134963" y="75760"/>
                  </a:lnTo>
                  <a:lnTo>
                    <a:pt x="138860" y="72652"/>
                  </a:lnTo>
                  <a:lnTo>
                    <a:pt x="144732" y="75760"/>
                  </a:lnTo>
                  <a:lnTo>
                    <a:pt x="146706" y="71122"/>
                  </a:lnTo>
                  <a:lnTo>
                    <a:pt x="154551" y="69543"/>
                  </a:lnTo>
                  <a:lnTo>
                    <a:pt x="162346" y="63376"/>
                  </a:lnTo>
                  <a:lnTo>
                    <a:pt x="164320" y="61846"/>
                  </a:lnTo>
                  <a:lnTo>
                    <a:pt x="164320" y="58688"/>
                  </a:lnTo>
                  <a:lnTo>
                    <a:pt x="170192" y="50991"/>
                  </a:lnTo>
                  <a:lnTo>
                    <a:pt x="176063" y="50991"/>
                  </a:lnTo>
                  <a:lnTo>
                    <a:pt x="178037" y="43195"/>
                  </a:lnTo>
                  <a:lnTo>
                    <a:pt x="181935" y="43195"/>
                  </a:lnTo>
                  <a:lnTo>
                    <a:pt x="187806" y="46304"/>
                  </a:lnTo>
                  <a:lnTo>
                    <a:pt x="189780" y="51238"/>
                  </a:lnTo>
                  <a:lnTo>
                    <a:pt x="199648" y="51238"/>
                  </a:lnTo>
                  <a:lnTo>
                    <a:pt x="201622" y="46304"/>
                  </a:lnTo>
                  <a:lnTo>
                    <a:pt x="207394" y="46304"/>
                  </a:lnTo>
                  <a:lnTo>
                    <a:pt x="213266" y="41666"/>
                  </a:lnTo>
                  <a:lnTo>
                    <a:pt x="219137" y="40087"/>
                  </a:lnTo>
                  <a:lnTo>
                    <a:pt x="221111" y="35449"/>
                  </a:lnTo>
                  <a:lnTo>
                    <a:pt x="227130" y="35449"/>
                  </a:lnTo>
                  <a:lnTo>
                    <a:pt x="229055" y="37028"/>
                  </a:lnTo>
                  <a:lnTo>
                    <a:pt x="233002" y="37028"/>
                  </a:lnTo>
                  <a:lnTo>
                    <a:pt x="236900" y="35449"/>
                  </a:lnTo>
                  <a:lnTo>
                    <a:pt x="238873" y="33919"/>
                  </a:lnTo>
                  <a:lnTo>
                    <a:pt x="236900" y="30811"/>
                  </a:lnTo>
                  <a:lnTo>
                    <a:pt x="229055" y="26173"/>
                  </a:lnTo>
                  <a:lnTo>
                    <a:pt x="223183" y="23064"/>
                  </a:lnTo>
                  <a:lnTo>
                    <a:pt x="221259" y="24643"/>
                  </a:lnTo>
                  <a:lnTo>
                    <a:pt x="225157" y="29232"/>
                  </a:lnTo>
                  <a:lnTo>
                    <a:pt x="215289" y="29232"/>
                  </a:lnTo>
                  <a:lnTo>
                    <a:pt x="207444" y="27702"/>
                  </a:lnTo>
                  <a:lnTo>
                    <a:pt x="203496" y="26173"/>
                  </a:lnTo>
                  <a:lnTo>
                    <a:pt x="197625" y="24643"/>
                  </a:lnTo>
                  <a:lnTo>
                    <a:pt x="191753" y="24643"/>
                  </a:lnTo>
                  <a:lnTo>
                    <a:pt x="191753" y="23064"/>
                  </a:lnTo>
                  <a:lnTo>
                    <a:pt x="197526" y="20104"/>
                  </a:lnTo>
                  <a:lnTo>
                    <a:pt x="195602" y="16996"/>
                  </a:lnTo>
                  <a:lnTo>
                    <a:pt x="205470" y="16996"/>
                  </a:lnTo>
                  <a:lnTo>
                    <a:pt x="213315" y="20104"/>
                  </a:lnTo>
                  <a:lnTo>
                    <a:pt x="215289" y="18525"/>
                  </a:lnTo>
                  <a:lnTo>
                    <a:pt x="209417" y="15417"/>
                  </a:lnTo>
                  <a:lnTo>
                    <a:pt x="201572" y="10828"/>
                  </a:lnTo>
                  <a:lnTo>
                    <a:pt x="189829" y="10828"/>
                  </a:lnTo>
                  <a:lnTo>
                    <a:pt x="185882" y="9249"/>
                  </a:lnTo>
                  <a:lnTo>
                    <a:pt x="181984" y="13887"/>
                  </a:lnTo>
                  <a:lnTo>
                    <a:pt x="178086" y="10828"/>
                  </a:lnTo>
                  <a:lnTo>
                    <a:pt x="162396" y="9249"/>
                  </a:lnTo>
                  <a:lnTo>
                    <a:pt x="146755" y="9249"/>
                  </a:lnTo>
                  <a:lnTo>
                    <a:pt x="138910" y="3032"/>
                  </a:lnTo>
                  <a:lnTo>
                    <a:pt x="131065" y="-27"/>
                  </a:lnTo>
                  <a:lnTo>
                    <a:pt x="129141" y="3032"/>
                  </a:lnTo>
                  <a:lnTo>
                    <a:pt x="133038" y="4611"/>
                  </a:lnTo>
                  <a:lnTo>
                    <a:pt x="127167" y="7720"/>
                  </a:lnTo>
                  <a:lnTo>
                    <a:pt x="123269" y="9249"/>
                  </a:lnTo>
                  <a:lnTo>
                    <a:pt x="117398" y="7720"/>
                  </a:lnTo>
                  <a:lnTo>
                    <a:pt x="105654" y="10828"/>
                  </a:lnTo>
                  <a:lnTo>
                    <a:pt x="89964" y="9249"/>
                  </a:lnTo>
                  <a:lnTo>
                    <a:pt x="68452" y="9249"/>
                  </a:lnTo>
                  <a:lnTo>
                    <a:pt x="60607" y="13887"/>
                  </a:lnTo>
                  <a:lnTo>
                    <a:pt x="56709" y="10828"/>
                  </a:lnTo>
                  <a:lnTo>
                    <a:pt x="54735" y="13887"/>
                  </a:lnTo>
                  <a:lnTo>
                    <a:pt x="50837" y="15417"/>
                  </a:lnTo>
                  <a:lnTo>
                    <a:pt x="48864" y="23213"/>
                  </a:lnTo>
                  <a:lnTo>
                    <a:pt x="37121" y="27851"/>
                  </a:lnTo>
                  <a:lnTo>
                    <a:pt x="31249" y="27851"/>
                  </a:lnTo>
                  <a:lnTo>
                    <a:pt x="23404" y="35597"/>
                  </a:lnTo>
                  <a:lnTo>
                    <a:pt x="17533" y="40235"/>
                  </a:lnTo>
                  <a:lnTo>
                    <a:pt x="19506" y="45169"/>
                  </a:lnTo>
                  <a:lnTo>
                    <a:pt x="15559" y="55975"/>
                  </a:lnTo>
                  <a:lnTo>
                    <a:pt x="3816" y="60662"/>
                  </a:lnTo>
                  <a:lnTo>
                    <a:pt x="3816" y="65300"/>
                  </a:lnTo>
                  <a:lnTo>
                    <a:pt x="-82" y="82372"/>
                  </a:lnTo>
                  <a:lnTo>
                    <a:pt x="3816" y="88588"/>
                  </a:lnTo>
                  <a:lnTo>
                    <a:pt x="7763" y="88588"/>
                  </a:lnTo>
                  <a:lnTo>
                    <a:pt x="21430" y="93177"/>
                  </a:lnTo>
                  <a:lnTo>
                    <a:pt x="31299" y="97864"/>
                  </a:lnTo>
                  <a:lnTo>
                    <a:pt x="33223" y="94756"/>
                  </a:lnTo>
                  <a:lnTo>
                    <a:pt x="27351" y="93177"/>
                  </a:lnTo>
                  <a:lnTo>
                    <a:pt x="31299" y="91648"/>
                  </a:lnTo>
                  <a:lnTo>
                    <a:pt x="37170" y="91648"/>
                  </a:lnTo>
                  <a:lnTo>
                    <a:pt x="41068" y="97864"/>
                  </a:lnTo>
                  <a:lnTo>
                    <a:pt x="45015" y="100973"/>
                  </a:lnTo>
                  <a:lnTo>
                    <a:pt x="62630" y="100973"/>
                  </a:lnTo>
                  <a:lnTo>
                    <a:pt x="66528" y="96286"/>
                  </a:lnTo>
                  <a:lnTo>
                    <a:pt x="64554" y="93177"/>
                  </a:lnTo>
                  <a:lnTo>
                    <a:pt x="68501" y="91648"/>
                  </a:lnTo>
                  <a:lnTo>
                    <a:pt x="70425" y="93177"/>
                  </a:lnTo>
                  <a:lnTo>
                    <a:pt x="72399" y="94756"/>
                  </a:lnTo>
                  <a:lnTo>
                    <a:pt x="76297" y="94756"/>
                  </a:lnTo>
                  <a:lnTo>
                    <a:pt x="78271" y="93177"/>
                  </a:lnTo>
                  <a:lnTo>
                    <a:pt x="82168" y="93177"/>
                  </a:lnTo>
                  <a:lnTo>
                    <a:pt x="82168" y="97864"/>
                  </a:lnTo>
                  <a:lnTo>
                    <a:pt x="84142" y="100973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Graphic 2">
              <a:extLst>
                <a:ext uri="{FF2B5EF4-FFF2-40B4-BE49-F238E27FC236}">
                  <a16:creationId xmlns:a16="http://schemas.microsoft.com/office/drawing/2014/main" id="{555BD14F-A7BA-4CFB-9850-3A79856A1AE1}"/>
                </a:ext>
              </a:extLst>
            </p:cNvPr>
            <p:cNvSpPr/>
            <p:nvPr/>
          </p:nvSpPr>
          <p:spPr>
            <a:xfrm>
              <a:off x="2522383" y="4105782"/>
              <a:ext cx="40702" cy="71001"/>
            </a:xfrm>
            <a:custGeom>
              <a:avLst/>
              <a:gdLst>
                <a:gd name="connsiteX0" fmla="*/ 1990 w 44801"/>
                <a:gd name="connsiteY0" fmla="*/ 19610 h 78154"/>
                <a:gd name="connsiteX1" fmla="*/ 1990 w 44801"/>
                <a:gd name="connsiteY1" fmla="*/ 19610 h 78154"/>
                <a:gd name="connsiteX2" fmla="*/ 1990 w 44801"/>
                <a:gd name="connsiteY2" fmla="*/ 13542 h 78154"/>
                <a:gd name="connsiteX3" fmla="*/ 6086 w 44801"/>
                <a:gd name="connsiteY3" fmla="*/ 12062 h 78154"/>
                <a:gd name="connsiteX4" fmla="*/ 12204 w 44801"/>
                <a:gd name="connsiteY4" fmla="*/ 12062 h 78154"/>
                <a:gd name="connsiteX5" fmla="*/ 12204 w 44801"/>
                <a:gd name="connsiteY5" fmla="*/ 16551 h 78154"/>
                <a:gd name="connsiteX6" fmla="*/ 12204 w 44801"/>
                <a:gd name="connsiteY6" fmla="*/ 16551 h 78154"/>
                <a:gd name="connsiteX7" fmla="*/ 14227 w 44801"/>
                <a:gd name="connsiteY7" fmla="*/ 13542 h 78154"/>
                <a:gd name="connsiteX8" fmla="*/ 16200 w 44801"/>
                <a:gd name="connsiteY8" fmla="*/ 13542 h 78154"/>
                <a:gd name="connsiteX9" fmla="*/ 18223 w 44801"/>
                <a:gd name="connsiteY9" fmla="*/ 12062 h 78154"/>
                <a:gd name="connsiteX10" fmla="*/ 22319 w 44801"/>
                <a:gd name="connsiteY10" fmla="*/ 7522 h 78154"/>
                <a:gd name="connsiteX11" fmla="*/ 24342 w 44801"/>
                <a:gd name="connsiteY11" fmla="*/ 3032 h 78154"/>
                <a:gd name="connsiteX12" fmla="*/ 24342 w 44801"/>
                <a:gd name="connsiteY12" fmla="*/ -27 h 78154"/>
                <a:gd name="connsiteX13" fmla="*/ 34555 w 44801"/>
                <a:gd name="connsiteY13" fmla="*/ -27 h 78154"/>
                <a:gd name="connsiteX14" fmla="*/ 34555 w 44801"/>
                <a:gd name="connsiteY14" fmla="*/ 1503 h 78154"/>
                <a:gd name="connsiteX15" fmla="*/ 38601 w 44801"/>
                <a:gd name="connsiteY15" fmla="*/ -27 h 78154"/>
                <a:gd name="connsiteX16" fmla="*/ 42647 w 44801"/>
                <a:gd name="connsiteY16" fmla="*/ -27 h 78154"/>
                <a:gd name="connsiteX17" fmla="*/ 44719 w 44801"/>
                <a:gd name="connsiteY17" fmla="*/ 3032 h 78154"/>
                <a:gd name="connsiteX18" fmla="*/ 42647 w 44801"/>
                <a:gd name="connsiteY18" fmla="*/ 6042 h 78154"/>
                <a:gd name="connsiteX19" fmla="*/ 42647 w 44801"/>
                <a:gd name="connsiteY19" fmla="*/ 20844 h 78154"/>
                <a:gd name="connsiteX20" fmla="*/ 38601 w 44801"/>
                <a:gd name="connsiteY20" fmla="*/ 26864 h 78154"/>
                <a:gd name="connsiteX21" fmla="*/ 36578 w 44801"/>
                <a:gd name="connsiteY21" fmla="*/ 34413 h 78154"/>
                <a:gd name="connsiteX22" fmla="*/ 40624 w 44801"/>
                <a:gd name="connsiteY22" fmla="*/ 37422 h 78154"/>
                <a:gd name="connsiteX23" fmla="*/ 40624 w 44801"/>
                <a:gd name="connsiteY23" fmla="*/ 49511 h 78154"/>
                <a:gd name="connsiteX24" fmla="*/ 36578 w 44801"/>
                <a:gd name="connsiteY24" fmla="*/ 57060 h 78154"/>
                <a:gd name="connsiteX25" fmla="*/ 24342 w 44801"/>
                <a:gd name="connsiteY25" fmla="*/ 69099 h 78154"/>
                <a:gd name="connsiteX26" fmla="*/ 20296 w 44801"/>
                <a:gd name="connsiteY26" fmla="*/ 67569 h 78154"/>
                <a:gd name="connsiteX27" fmla="*/ 14178 w 44801"/>
                <a:gd name="connsiteY27" fmla="*/ 72059 h 78154"/>
                <a:gd name="connsiteX28" fmla="*/ 12154 w 44801"/>
                <a:gd name="connsiteY28" fmla="*/ 76648 h 78154"/>
                <a:gd name="connsiteX29" fmla="*/ 12154 w 44801"/>
                <a:gd name="connsiteY29" fmla="*/ 78128 h 78154"/>
                <a:gd name="connsiteX30" fmla="*/ 8059 w 44801"/>
                <a:gd name="connsiteY30" fmla="*/ 78128 h 78154"/>
                <a:gd name="connsiteX31" fmla="*/ 6036 w 44801"/>
                <a:gd name="connsiteY31" fmla="*/ 76648 h 78154"/>
                <a:gd name="connsiteX32" fmla="*/ -82 w 44801"/>
                <a:gd name="connsiteY32" fmla="*/ 76648 h 78154"/>
                <a:gd name="connsiteX33" fmla="*/ 1941 w 44801"/>
                <a:gd name="connsiteY33" fmla="*/ 19364 h 7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4801" h="78154">
                  <a:moveTo>
                    <a:pt x="1990" y="19610"/>
                  </a:moveTo>
                  <a:lnTo>
                    <a:pt x="1990" y="19610"/>
                  </a:lnTo>
                  <a:lnTo>
                    <a:pt x="1990" y="13542"/>
                  </a:lnTo>
                  <a:lnTo>
                    <a:pt x="6086" y="12062"/>
                  </a:lnTo>
                  <a:lnTo>
                    <a:pt x="12204" y="12062"/>
                  </a:lnTo>
                  <a:lnTo>
                    <a:pt x="12204" y="16551"/>
                  </a:lnTo>
                  <a:lnTo>
                    <a:pt x="12204" y="16551"/>
                  </a:lnTo>
                  <a:lnTo>
                    <a:pt x="14227" y="13542"/>
                  </a:lnTo>
                  <a:lnTo>
                    <a:pt x="16200" y="13542"/>
                  </a:lnTo>
                  <a:lnTo>
                    <a:pt x="18223" y="12062"/>
                  </a:lnTo>
                  <a:lnTo>
                    <a:pt x="22319" y="7522"/>
                  </a:lnTo>
                  <a:lnTo>
                    <a:pt x="24342" y="3032"/>
                  </a:lnTo>
                  <a:lnTo>
                    <a:pt x="24342" y="-27"/>
                  </a:lnTo>
                  <a:lnTo>
                    <a:pt x="34555" y="-27"/>
                  </a:lnTo>
                  <a:lnTo>
                    <a:pt x="34555" y="1503"/>
                  </a:lnTo>
                  <a:lnTo>
                    <a:pt x="38601" y="-27"/>
                  </a:lnTo>
                  <a:lnTo>
                    <a:pt x="42647" y="-27"/>
                  </a:lnTo>
                  <a:lnTo>
                    <a:pt x="44719" y="3032"/>
                  </a:lnTo>
                  <a:lnTo>
                    <a:pt x="42647" y="6042"/>
                  </a:lnTo>
                  <a:lnTo>
                    <a:pt x="42647" y="20844"/>
                  </a:lnTo>
                  <a:lnTo>
                    <a:pt x="38601" y="26864"/>
                  </a:lnTo>
                  <a:lnTo>
                    <a:pt x="36578" y="34413"/>
                  </a:lnTo>
                  <a:lnTo>
                    <a:pt x="40624" y="37422"/>
                  </a:lnTo>
                  <a:lnTo>
                    <a:pt x="40624" y="49511"/>
                  </a:lnTo>
                  <a:lnTo>
                    <a:pt x="36578" y="57060"/>
                  </a:lnTo>
                  <a:lnTo>
                    <a:pt x="24342" y="69099"/>
                  </a:lnTo>
                  <a:lnTo>
                    <a:pt x="20296" y="67569"/>
                  </a:lnTo>
                  <a:lnTo>
                    <a:pt x="14178" y="72059"/>
                  </a:lnTo>
                  <a:lnTo>
                    <a:pt x="12154" y="76648"/>
                  </a:lnTo>
                  <a:lnTo>
                    <a:pt x="12154" y="78128"/>
                  </a:lnTo>
                  <a:lnTo>
                    <a:pt x="8059" y="78128"/>
                  </a:lnTo>
                  <a:lnTo>
                    <a:pt x="6036" y="76648"/>
                  </a:lnTo>
                  <a:lnTo>
                    <a:pt x="-82" y="76648"/>
                  </a:lnTo>
                  <a:lnTo>
                    <a:pt x="1941" y="1936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Graphic 2">
              <a:extLst>
                <a:ext uri="{FF2B5EF4-FFF2-40B4-BE49-F238E27FC236}">
                  <a16:creationId xmlns:a16="http://schemas.microsoft.com/office/drawing/2014/main" id="{AE8F06F9-FFBB-4502-8EF6-FA878E9D4B6F}"/>
                </a:ext>
              </a:extLst>
            </p:cNvPr>
            <p:cNvSpPr/>
            <p:nvPr/>
          </p:nvSpPr>
          <p:spPr>
            <a:xfrm>
              <a:off x="2420894" y="4122771"/>
              <a:ext cx="135644" cy="122055"/>
            </a:xfrm>
            <a:custGeom>
              <a:avLst/>
              <a:gdLst>
                <a:gd name="connsiteX0" fmla="*/ 73633 w 149303"/>
                <a:gd name="connsiteY0" fmla="*/ 134327 h 134353"/>
                <a:gd name="connsiteX1" fmla="*/ 75557 w 149303"/>
                <a:gd name="connsiteY1" fmla="*/ 129738 h 134353"/>
                <a:gd name="connsiteX2" fmla="*/ 75557 w 149303"/>
                <a:gd name="connsiteY2" fmla="*/ 125150 h 134353"/>
                <a:gd name="connsiteX3" fmla="*/ 83353 w 149303"/>
                <a:gd name="connsiteY3" fmla="*/ 120561 h 134353"/>
                <a:gd name="connsiteX4" fmla="*/ 91099 w 149303"/>
                <a:gd name="connsiteY4" fmla="*/ 117502 h 134353"/>
                <a:gd name="connsiteX5" fmla="*/ 96921 w 149303"/>
                <a:gd name="connsiteY5" fmla="*/ 115972 h 134353"/>
                <a:gd name="connsiteX6" fmla="*/ 96921 w 149303"/>
                <a:gd name="connsiteY6" fmla="*/ 112913 h 134353"/>
                <a:gd name="connsiteX7" fmla="*/ 108516 w 149303"/>
                <a:gd name="connsiteY7" fmla="*/ 108374 h 134353"/>
                <a:gd name="connsiteX8" fmla="*/ 112414 w 149303"/>
                <a:gd name="connsiteY8" fmla="*/ 97667 h 134353"/>
                <a:gd name="connsiteX9" fmla="*/ 110490 w 149303"/>
                <a:gd name="connsiteY9" fmla="*/ 93078 h 134353"/>
                <a:gd name="connsiteX10" fmla="*/ 116312 w 149303"/>
                <a:gd name="connsiteY10" fmla="*/ 88539 h 134353"/>
                <a:gd name="connsiteX11" fmla="*/ 124058 w 149303"/>
                <a:gd name="connsiteY11" fmla="*/ 80842 h 134353"/>
                <a:gd name="connsiteX12" fmla="*/ 129881 w 149303"/>
                <a:gd name="connsiteY12" fmla="*/ 80842 h 134353"/>
                <a:gd name="connsiteX13" fmla="*/ 141476 w 149303"/>
                <a:gd name="connsiteY13" fmla="*/ 76253 h 134353"/>
                <a:gd name="connsiteX14" fmla="*/ 143449 w 149303"/>
                <a:gd name="connsiteY14" fmla="*/ 68655 h 134353"/>
                <a:gd name="connsiteX15" fmla="*/ 147298 w 149303"/>
                <a:gd name="connsiteY15" fmla="*/ 67125 h 134353"/>
                <a:gd name="connsiteX16" fmla="*/ 149222 w 149303"/>
                <a:gd name="connsiteY16" fmla="*/ 64066 h 134353"/>
                <a:gd name="connsiteX17" fmla="*/ 145373 w 149303"/>
                <a:gd name="connsiteY17" fmla="*/ 62537 h 134353"/>
                <a:gd name="connsiteX18" fmla="*/ 137627 w 149303"/>
                <a:gd name="connsiteY18" fmla="*/ 61007 h 134353"/>
                <a:gd name="connsiteX19" fmla="*/ 135654 w 149303"/>
                <a:gd name="connsiteY19" fmla="*/ 65596 h 134353"/>
                <a:gd name="connsiteX20" fmla="*/ 129881 w 149303"/>
                <a:gd name="connsiteY20" fmla="*/ 62537 h 134353"/>
                <a:gd name="connsiteX21" fmla="*/ 125983 w 149303"/>
                <a:gd name="connsiteY21" fmla="*/ 62537 h 134353"/>
                <a:gd name="connsiteX22" fmla="*/ 124058 w 149303"/>
                <a:gd name="connsiteY22" fmla="*/ 59478 h 134353"/>
                <a:gd name="connsiteX23" fmla="*/ 120161 w 149303"/>
                <a:gd name="connsiteY23" fmla="*/ 59478 h 134353"/>
                <a:gd name="connsiteX24" fmla="*/ 118236 w 149303"/>
                <a:gd name="connsiteY24" fmla="*/ 57997 h 134353"/>
                <a:gd name="connsiteX25" fmla="*/ 112414 w 149303"/>
                <a:gd name="connsiteY25" fmla="*/ 57997 h 134353"/>
                <a:gd name="connsiteX26" fmla="*/ 114338 w 149303"/>
                <a:gd name="connsiteY26" fmla="*/ -27 h 134353"/>
                <a:gd name="connsiteX27" fmla="*/ 52071 w 149303"/>
                <a:gd name="connsiteY27" fmla="*/ -27 h 134353"/>
                <a:gd name="connsiteX28" fmla="*/ 50147 w 149303"/>
                <a:gd name="connsiteY28" fmla="*/ 15219 h 134353"/>
                <a:gd name="connsiteX29" fmla="*/ 34605 w 149303"/>
                <a:gd name="connsiteY29" fmla="*/ 15219 h 134353"/>
                <a:gd name="connsiteX30" fmla="*/ 40427 w 149303"/>
                <a:gd name="connsiteY30" fmla="*/ 19808 h 134353"/>
                <a:gd name="connsiteX31" fmla="*/ 42351 w 149303"/>
                <a:gd name="connsiteY31" fmla="*/ 24397 h 134353"/>
                <a:gd name="connsiteX32" fmla="*/ 48173 w 149303"/>
                <a:gd name="connsiteY32" fmla="*/ 30465 h 134353"/>
                <a:gd name="connsiteX33" fmla="*/ 53995 w 149303"/>
                <a:gd name="connsiteY33" fmla="*/ 33524 h 134353"/>
                <a:gd name="connsiteX34" fmla="*/ 57893 w 149303"/>
                <a:gd name="connsiteY34" fmla="*/ 33524 h 134353"/>
                <a:gd name="connsiteX35" fmla="*/ 59817 w 149303"/>
                <a:gd name="connsiteY35" fmla="*/ 36584 h 134353"/>
                <a:gd name="connsiteX36" fmla="*/ 61742 w 149303"/>
                <a:gd name="connsiteY36" fmla="*/ 41172 h 134353"/>
                <a:gd name="connsiteX37" fmla="*/ 63715 w 149303"/>
                <a:gd name="connsiteY37" fmla="*/ 42702 h 134353"/>
                <a:gd name="connsiteX38" fmla="*/ 69537 w 149303"/>
                <a:gd name="connsiteY38" fmla="*/ 44232 h 134353"/>
                <a:gd name="connsiteX39" fmla="*/ 75310 w 149303"/>
                <a:gd name="connsiteY39" fmla="*/ 45761 h 134353"/>
                <a:gd name="connsiteX40" fmla="*/ 75310 w 149303"/>
                <a:gd name="connsiteY40" fmla="*/ 50350 h 134353"/>
                <a:gd name="connsiteX41" fmla="*/ 69537 w 149303"/>
                <a:gd name="connsiteY41" fmla="*/ 53409 h 134353"/>
                <a:gd name="connsiteX42" fmla="*/ 25131 w 149303"/>
                <a:gd name="connsiteY42" fmla="*/ 54938 h 134353"/>
                <a:gd name="connsiteX43" fmla="*/ 1842 w 149303"/>
                <a:gd name="connsiteY43" fmla="*/ 83950 h 134353"/>
                <a:gd name="connsiteX44" fmla="*/ 5740 w 149303"/>
                <a:gd name="connsiteY44" fmla="*/ 88539 h 134353"/>
                <a:gd name="connsiteX45" fmla="*/ 5740 w 149303"/>
                <a:gd name="connsiteY45" fmla="*/ 94608 h 134353"/>
                <a:gd name="connsiteX46" fmla="*/ 7665 w 149303"/>
                <a:gd name="connsiteY46" fmla="*/ 96137 h 134353"/>
                <a:gd name="connsiteX47" fmla="*/ 7665 w 149303"/>
                <a:gd name="connsiteY47" fmla="*/ 97667 h 134353"/>
                <a:gd name="connsiteX48" fmla="*/ 1842 w 149303"/>
                <a:gd name="connsiteY48" fmla="*/ 102256 h 134353"/>
                <a:gd name="connsiteX49" fmla="*/ -82 w 149303"/>
                <a:gd name="connsiteY49" fmla="*/ 105315 h 134353"/>
                <a:gd name="connsiteX50" fmla="*/ -82 w 149303"/>
                <a:gd name="connsiteY50" fmla="*/ 105315 h 134353"/>
                <a:gd name="connsiteX51" fmla="*/ 7665 w 149303"/>
                <a:gd name="connsiteY51" fmla="*/ 111384 h 134353"/>
                <a:gd name="connsiteX52" fmla="*/ 11562 w 149303"/>
                <a:gd name="connsiteY52" fmla="*/ 117502 h 134353"/>
                <a:gd name="connsiteX53" fmla="*/ 15411 w 149303"/>
                <a:gd name="connsiteY53" fmla="*/ 117502 h 134353"/>
                <a:gd name="connsiteX54" fmla="*/ 21233 w 149303"/>
                <a:gd name="connsiteY54" fmla="*/ 123620 h 134353"/>
                <a:gd name="connsiteX55" fmla="*/ 40624 w 149303"/>
                <a:gd name="connsiteY55" fmla="*/ 129738 h 134353"/>
                <a:gd name="connsiteX56" fmla="*/ 50492 w 149303"/>
                <a:gd name="connsiteY56" fmla="*/ 131268 h 134353"/>
                <a:gd name="connsiteX57" fmla="*/ 58238 w 149303"/>
                <a:gd name="connsiteY57" fmla="*/ 129738 h 13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49303" h="134353">
                  <a:moveTo>
                    <a:pt x="73633" y="134327"/>
                  </a:moveTo>
                  <a:lnTo>
                    <a:pt x="75557" y="129738"/>
                  </a:lnTo>
                  <a:lnTo>
                    <a:pt x="75557" y="125150"/>
                  </a:lnTo>
                  <a:lnTo>
                    <a:pt x="83353" y="120561"/>
                  </a:lnTo>
                  <a:lnTo>
                    <a:pt x="91099" y="117502"/>
                  </a:lnTo>
                  <a:lnTo>
                    <a:pt x="96921" y="115972"/>
                  </a:lnTo>
                  <a:lnTo>
                    <a:pt x="96921" y="112913"/>
                  </a:lnTo>
                  <a:lnTo>
                    <a:pt x="108516" y="108374"/>
                  </a:lnTo>
                  <a:lnTo>
                    <a:pt x="112414" y="97667"/>
                  </a:lnTo>
                  <a:lnTo>
                    <a:pt x="110490" y="93078"/>
                  </a:lnTo>
                  <a:lnTo>
                    <a:pt x="116312" y="88539"/>
                  </a:lnTo>
                  <a:lnTo>
                    <a:pt x="124058" y="80842"/>
                  </a:lnTo>
                  <a:lnTo>
                    <a:pt x="129881" y="80842"/>
                  </a:lnTo>
                  <a:lnTo>
                    <a:pt x="141476" y="76253"/>
                  </a:lnTo>
                  <a:lnTo>
                    <a:pt x="143449" y="68655"/>
                  </a:lnTo>
                  <a:lnTo>
                    <a:pt x="147298" y="67125"/>
                  </a:lnTo>
                  <a:lnTo>
                    <a:pt x="149222" y="64066"/>
                  </a:lnTo>
                  <a:lnTo>
                    <a:pt x="145373" y="62537"/>
                  </a:lnTo>
                  <a:lnTo>
                    <a:pt x="137627" y="61007"/>
                  </a:lnTo>
                  <a:lnTo>
                    <a:pt x="135654" y="65596"/>
                  </a:lnTo>
                  <a:lnTo>
                    <a:pt x="129881" y="62537"/>
                  </a:lnTo>
                  <a:lnTo>
                    <a:pt x="125983" y="62537"/>
                  </a:lnTo>
                  <a:lnTo>
                    <a:pt x="124058" y="59478"/>
                  </a:lnTo>
                  <a:lnTo>
                    <a:pt x="120161" y="59478"/>
                  </a:lnTo>
                  <a:lnTo>
                    <a:pt x="118236" y="57997"/>
                  </a:lnTo>
                  <a:lnTo>
                    <a:pt x="112414" y="57997"/>
                  </a:lnTo>
                  <a:lnTo>
                    <a:pt x="114338" y="-27"/>
                  </a:lnTo>
                  <a:lnTo>
                    <a:pt x="52071" y="-27"/>
                  </a:lnTo>
                  <a:lnTo>
                    <a:pt x="50147" y="15219"/>
                  </a:lnTo>
                  <a:lnTo>
                    <a:pt x="34605" y="15219"/>
                  </a:lnTo>
                  <a:lnTo>
                    <a:pt x="40427" y="19808"/>
                  </a:lnTo>
                  <a:lnTo>
                    <a:pt x="42351" y="24397"/>
                  </a:lnTo>
                  <a:lnTo>
                    <a:pt x="48173" y="30465"/>
                  </a:lnTo>
                  <a:lnTo>
                    <a:pt x="53995" y="33524"/>
                  </a:lnTo>
                  <a:lnTo>
                    <a:pt x="57893" y="33524"/>
                  </a:lnTo>
                  <a:lnTo>
                    <a:pt x="59817" y="36584"/>
                  </a:lnTo>
                  <a:lnTo>
                    <a:pt x="61742" y="41172"/>
                  </a:lnTo>
                  <a:lnTo>
                    <a:pt x="63715" y="42702"/>
                  </a:lnTo>
                  <a:lnTo>
                    <a:pt x="69537" y="44232"/>
                  </a:lnTo>
                  <a:lnTo>
                    <a:pt x="75310" y="45761"/>
                  </a:lnTo>
                  <a:lnTo>
                    <a:pt x="75310" y="50350"/>
                  </a:lnTo>
                  <a:lnTo>
                    <a:pt x="69537" y="53409"/>
                  </a:lnTo>
                  <a:lnTo>
                    <a:pt x="25131" y="54938"/>
                  </a:lnTo>
                  <a:lnTo>
                    <a:pt x="1842" y="83950"/>
                  </a:lnTo>
                  <a:lnTo>
                    <a:pt x="5740" y="88539"/>
                  </a:lnTo>
                  <a:lnTo>
                    <a:pt x="5740" y="94608"/>
                  </a:lnTo>
                  <a:lnTo>
                    <a:pt x="7665" y="96137"/>
                  </a:lnTo>
                  <a:lnTo>
                    <a:pt x="7665" y="97667"/>
                  </a:lnTo>
                  <a:lnTo>
                    <a:pt x="1842" y="102256"/>
                  </a:lnTo>
                  <a:lnTo>
                    <a:pt x="-82" y="105315"/>
                  </a:lnTo>
                  <a:lnTo>
                    <a:pt x="-82" y="105315"/>
                  </a:lnTo>
                  <a:lnTo>
                    <a:pt x="7665" y="111384"/>
                  </a:lnTo>
                  <a:lnTo>
                    <a:pt x="11562" y="117502"/>
                  </a:lnTo>
                  <a:lnTo>
                    <a:pt x="15411" y="117502"/>
                  </a:lnTo>
                  <a:lnTo>
                    <a:pt x="21233" y="123620"/>
                  </a:lnTo>
                  <a:lnTo>
                    <a:pt x="40624" y="129738"/>
                  </a:lnTo>
                  <a:lnTo>
                    <a:pt x="50492" y="131268"/>
                  </a:lnTo>
                  <a:lnTo>
                    <a:pt x="58238" y="12973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Graphic 2">
              <a:extLst>
                <a:ext uri="{FF2B5EF4-FFF2-40B4-BE49-F238E27FC236}">
                  <a16:creationId xmlns:a16="http://schemas.microsoft.com/office/drawing/2014/main" id="{62F2C60D-D61A-4F3E-AF7C-90C500CC3ED5}"/>
                </a:ext>
              </a:extLst>
            </p:cNvPr>
            <p:cNvSpPr/>
            <p:nvPr/>
          </p:nvSpPr>
          <p:spPr>
            <a:xfrm>
              <a:off x="1681305" y="3624365"/>
              <a:ext cx="939785" cy="593612"/>
            </a:xfrm>
            <a:custGeom>
              <a:avLst/>
              <a:gdLst>
                <a:gd name="connsiteX0" fmla="*/ 214 w 1034420"/>
                <a:gd name="connsiteY0" fmla="*/ 1503 h 653414"/>
                <a:gd name="connsiteX1" fmla="*/ 86708 w 1034420"/>
                <a:gd name="connsiteY1" fmla="*/ -27 h 653414"/>
                <a:gd name="connsiteX2" fmla="*/ 88681 w 1034420"/>
                <a:gd name="connsiteY2" fmla="*/ 2983 h 653414"/>
                <a:gd name="connsiteX3" fmla="*/ 86708 w 1034420"/>
                <a:gd name="connsiteY3" fmla="*/ 4513 h 653414"/>
                <a:gd name="connsiteX4" fmla="*/ 210503 w 1034420"/>
                <a:gd name="connsiteY4" fmla="*/ 53014 h 653414"/>
                <a:gd name="connsiteX5" fmla="*/ 314660 w 1034420"/>
                <a:gd name="connsiteY5" fmla="*/ 56024 h 653414"/>
                <a:gd name="connsiteX6" fmla="*/ 314660 w 1034420"/>
                <a:gd name="connsiteY6" fmla="*/ 45416 h 653414"/>
                <a:gd name="connsiteX7" fmla="*/ 373622 w 1034420"/>
                <a:gd name="connsiteY7" fmla="*/ 46945 h 653414"/>
                <a:gd name="connsiteX8" fmla="*/ 379543 w 1034420"/>
                <a:gd name="connsiteY8" fmla="*/ 50004 h 653414"/>
                <a:gd name="connsiteX9" fmla="*/ 385414 w 1034420"/>
                <a:gd name="connsiteY9" fmla="*/ 56024 h 653414"/>
                <a:gd name="connsiteX10" fmla="*/ 387388 w 1034420"/>
                <a:gd name="connsiteY10" fmla="*/ 59083 h 653414"/>
                <a:gd name="connsiteX11" fmla="*/ 389361 w 1034420"/>
                <a:gd name="connsiteY11" fmla="*/ 62093 h 653414"/>
                <a:gd name="connsiteX12" fmla="*/ 393309 w 1034420"/>
                <a:gd name="connsiteY12" fmla="*/ 62093 h 653414"/>
                <a:gd name="connsiteX13" fmla="*/ 395233 w 1034420"/>
                <a:gd name="connsiteY13" fmla="*/ 66681 h 653414"/>
                <a:gd name="connsiteX14" fmla="*/ 395233 w 1034420"/>
                <a:gd name="connsiteY14" fmla="*/ 71171 h 653414"/>
                <a:gd name="connsiteX15" fmla="*/ 399180 w 1034420"/>
                <a:gd name="connsiteY15" fmla="*/ 72701 h 653414"/>
                <a:gd name="connsiteX16" fmla="*/ 405101 w 1034420"/>
                <a:gd name="connsiteY16" fmla="*/ 75760 h 653414"/>
                <a:gd name="connsiteX17" fmla="*/ 405101 w 1034420"/>
                <a:gd name="connsiteY17" fmla="*/ 78770 h 653414"/>
                <a:gd name="connsiteX18" fmla="*/ 403127 w 1034420"/>
                <a:gd name="connsiteY18" fmla="*/ 80299 h 653414"/>
                <a:gd name="connsiteX19" fmla="*/ 408999 w 1034420"/>
                <a:gd name="connsiteY19" fmla="*/ 81829 h 653414"/>
                <a:gd name="connsiteX20" fmla="*/ 412946 w 1034420"/>
                <a:gd name="connsiteY20" fmla="*/ 84839 h 653414"/>
                <a:gd name="connsiteX21" fmla="*/ 416893 w 1034420"/>
                <a:gd name="connsiteY21" fmla="*/ 89378 h 653414"/>
                <a:gd name="connsiteX22" fmla="*/ 416893 w 1034420"/>
                <a:gd name="connsiteY22" fmla="*/ 96976 h 653414"/>
                <a:gd name="connsiteX23" fmla="*/ 418818 w 1034420"/>
                <a:gd name="connsiteY23" fmla="*/ 98457 h 653414"/>
                <a:gd name="connsiteX24" fmla="*/ 420791 w 1034420"/>
                <a:gd name="connsiteY24" fmla="*/ 99986 h 653414"/>
                <a:gd name="connsiteX25" fmla="*/ 422765 w 1034420"/>
                <a:gd name="connsiteY25" fmla="*/ 101466 h 653414"/>
                <a:gd name="connsiteX26" fmla="*/ 426712 w 1034420"/>
                <a:gd name="connsiteY26" fmla="*/ 104525 h 653414"/>
                <a:gd name="connsiteX27" fmla="*/ 426712 w 1034420"/>
                <a:gd name="connsiteY27" fmla="*/ 109065 h 653414"/>
                <a:gd name="connsiteX28" fmla="*/ 424738 w 1034420"/>
                <a:gd name="connsiteY28" fmla="*/ 110594 h 653414"/>
                <a:gd name="connsiteX29" fmla="*/ 420791 w 1034420"/>
                <a:gd name="connsiteY29" fmla="*/ 110594 h 653414"/>
                <a:gd name="connsiteX30" fmla="*/ 420791 w 1034420"/>
                <a:gd name="connsiteY30" fmla="*/ 113604 h 653414"/>
                <a:gd name="connsiteX31" fmla="*/ 426712 w 1034420"/>
                <a:gd name="connsiteY31" fmla="*/ 119673 h 653414"/>
                <a:gd name="connsiteX32" fmla="*/ 432584 w 1034420"/>
                <a:gd name="connsiteY32" fmla="*/ 125742 h 653414"/>
                <a:gd name="connsiteX33" fmla="*/ 432584 w 1034420"/>
                <a:gd name="connsiteY33" fmla="*/ 131811 h 653414"/>
                <a:gd name="connsiteX34" fmla="*/ 434557 w 1034420"/>
                <a:gd name="connsiteY34" fmla="*/ 131811 h 653414"/>
                <a:gd name="connsiteX35" fmla="*/ 438505 w 1034420"/>
                <a:gd name="connsiteY35" fmla="*/ 133340 h 653414"/>
                <a:gd name="connsiteX36" fmla="*/ 442402 w 1034420"/>
                <a:gd name="connsiteY36" fmla="*/ 133340 h 653414"/>
                <a:gd name="connsiteX37" fmla="*/ 444376 w 1034420"/>
                <a:gd name="connsiteY37" fmla="*/ 134870 h 653414"/>
                <a:gd name="connsiteX38" fmla="*/ 446350 w 1034420"/>
                <a:gd name="connsiteY38" fmla="*/ 136350 h 653414"/>
                <a:gd name="connsiteX39" fmla="*/ 446350 w 1034420"/>
                <a:gd name="connsiteY39" fmla="*/ 137879 h 653414"/>
                <a:gd name="connsiteX40" fmla="*/ 448323 w 1034420"/>
                <a:gd name="connsiteY40" fmla="*/ 140889 h 653414"/>
                <a:gd name="connsiteX41" fmla="*/ 452221 w 1034420"/>
                <a:gd name="connsiteY41" fmla="*/ 140889 h 653414"/>
                <a:gd name="connsiteX42" fmla="*/ 460116 w 1034420"/>
                <a:gd name="connsiteY42" fmla="*/ 143899 h 653414"/>
                <a:gd name="connsiteX43" fmla="*/ 460116 w 1034420"/>
                <a:gd name="connsiteY43" fmla="*/ 145429 h 653414"/>
                <a:gd name="connsiteX44" fmla="*/ 465987 w 1034420"/>
                <a:gd name="connsiteY44" fmla="*/ 146958 h 653414"/>
                <a:gd name="connsiteX45" fmla="*/ 475855 w 1034420"/>
                <a:gd name="connsiteY45" fmla="*/ 151497 h 653414"/>
                <a:gd name="connsiteX46" fmla="*/ 477829 w 1034420"/>
                <a:gd name="connsiteY46" fmla="*/ 153027 h 653414"/>
                <a:gd name="connsiteX47" fmla="*/ 479802 w 1034420"/>
                <a:gd name="connsiteY47" fmla="*/ 154556 h 653414"/>
                <a:gd name="connsiteX48" fmla="*/ 483750 w 1034420"/>
                <a:gd name="connsiteY48" fmla="*/ 153027 h 653414"/>
                <a:gd name="connsiteX49" fmla="*/ 483750 w 1034420"/>
                <a:gd name="connsiteY49" fmla="*/ 151497 h 653414"/>
                <a:gd name="connsiteX50" fmla="*/ 489621 w 1034420"/>
                <a:gd name="connsiteY50" fmla="*/ 146958 h 653414"/>
                <a:gd name="connsiteX51" fmla="*/ 491595 w 1034420"/>
                <a:gd name="connsiteY51" fmla="*/ 145429 h 653414"/>
                <a:gd name="connsiteX52" fmla="*/ 493568 w 1034420"/>
                <a:gd name="connsiteY52" fmla="*/ 142419 h 653414"/>
                <a:gd name="connsiteX53" fmla="*/ 493568 w 1034420"/>
                <a:gd name="connsiteY53" fmla="*/ 140889 h 653414"/>
                <a:gd name="connsiteX54" fmla="*/ 495542 w 1034420"/>
                <a:gd name="connsiteY54" fmla="*/ 137879 h 653414"/>
                <a:gd name="connsiteX55" fmla="*/ 501414 w 1034420"/>
                <a:gd name="connsiteY55" fmla="*/ 130281 h 653414"/>
                <a:gd name="connsiteX56" fmla="*/ 503387 w 1034420"/>
                <a:gd name="connsiteY56" fmla="*/ 127271 h 653414"/>
                <a:gd name="connsiteX57" fmla="*/ 507334 w 1034420"/>
                <a:gd name="connsiteY57" fmla="*/ 125742 h 653414"/>
                <a:gd name="connsiteX58" fmla="*/ 513206 w 1034420"/>
                <a:gd name="connsiteY58" fmla="*/ 127271 h 653414"/>
                <a:gd name="connsiteX59" fmla="*/ 515179 w 1034420"/>
                <a:gd name="connsiteY59" fmla="*/ 127271 h 653414"/>
                <a:gd name="connsiteX60" fmla="*/ 517153 w 1034420"/>
                <a:gd name="connsiteY60" fmla="*/ 124212 h 653414"/>
                <a:gd name="connsiteX61" fmla="*/ 536889 w 1034420"/>
                <a:gd name="connsiteY61" fmla="*/ 124212 h 653414"/>
                <a:gd name="connsiteX62" fmla="*/ 538863 w 1034420"/>
                <a:gd name="connsiteY62" fmla="*/ 125742 h 653414"/>
                <a:gd name="connsiteX63" fmla="*/ 540836 w 1034420"/>
                <a:gd name="connsiteY63" fmla="*/ 127271 h 653414"/>
                <a:gd name="connsiteX64" fmla="*/ 546708 w 1034420"/>
                <a:gd name="connsiteY64" fmla="*/ 125742 h 653414"/>
                <a:gd name="connsiteX65" fmla="*/ 550655 w 1034420"/>
                <a:gd name="connsiteY65" fmla="*/ 128752 h 653414"/>
                <a:gd name="connsiteX66" fmla="*/ 554602 w 1034420"/>
                <a:gd name="connsiteY66" fmla="*/ 131811 h 653414"/>
                <a:gd name="connsiteX67" fmla="*/ 560474 w 1034420"/>
                <a:gd name="connsiteY67" fmla="*/ 137879 h 653414"/>
                <a:gd name="connsiteX68" fmla="*/ 566395 w 1034420"/>
                <a:gd name="connsiteY68" fmla="*/ 143899 h 653414"/>
                <a:gd name="connsiteX69" fmla="*/ 568368 w 1034420"/>
                <a:gd name="connsiteY69" fmla="*/ 151497 h 653414"/>
                <a:gd name="connsiteX70" fmla="*/ 570292 w 1034420"/>
                <a:gd name="connsiteY70" fmla="*/ 154556 h 653414"/>
                <a:gd name="connsiteX71" fmla="*/ 572266 w 1034420"/>
                <a:gd name="connsiteY71" fmla="*/ 159046 h 653414"/>
                <a:gd name="connsiteX72" fmla="*/ 572266 w 1034420"/>
                <a:gd name="connsiteY72" fmla="*/ 165165 h 653414"/>
                <a:gd name="connsiteX73" fmla="*/ 576213 w 1034420"/>
                <a:gd name="connsiteY73" fmla="*/ 166645 h 653414"/>
                <a:gd name="connsiteX74" fmla="*/ 580161 w 1034420"/>
                <a:gd name="connsiteY74" fmla="*/ 171184 h 653414"/>
                <a:gd name="connsiteX75" fmla="*/ 584059 w 1034420"/>
                <a:gd name="connsiteY75" fmla="*/ 183322 h 653414"/>
                <a:gd name="connsiteX76" fmla="*/ 586032 w 1034420"/>
                <a:gd name="connsiteY76" fmla="*/ 184852 h 653414"/>
                <a:gd name="connsiteX77" fmla="*/ 588006 w 1034420"/>
                <a:gd name="connsiteY77" fmla="*/ 187861 h 653414"/>
                <a:gd name="connsiteX78" fmla="*/ 593877 w 1034420"/>
                <a:gd name="connsiteY78" fmla="*/ 190920 h 653414"/>
                <a:gd name="connsiteX79" fmla="*/ 593877 w 1034420"/>
                <a:gd name="connsiteY79" fmla="*/ 196792 h 653414"/>
                <a:gd name="connsiteX80" fmla="*/ 597824 w 1034420"/>
                <a:gd name="connsiteY80" fmla="*/ 202861 h 653414"/>
                <a:gd name="connsiteX81" fmla="*/ 603696 w 1034420"/>
                <a:gd name="connsiteY81" fmla="*/ 207449 h 653414"/>
                <a:gd name="connsiteX82" fmla="*/ 603696 w 1034420"/>
                <a:gd name="connsiteY82" fmla="*/ 213469 h 653414"/>
                <a:gd name="connsiteX83" fmla="*/ 601772 w 1034420"/>
                <a:gd name="connsiteY83" fmla="*/ 218058 h 653414"/>
                <a:gd name="connsiteX84" fmla="*/ 601772 w 1034420"/>
                <a:gd name="connsiteY84" fmla="*/ 219538 h 653414"/>
                <a:gd name="connsiteX85" fmla="*/ 603696 w 1034420"/>
                <a:gd name="connsiteY85" fmla="*/ 221067 h 653414"/>
                <a:gd name="connsiteX86" fmla="*/ 609617 w 1034420"/>
                <a:gd name="connsiteY86" fmla="*/ 240803 h 653414"/>
                <a:gd name="connsiteX87" fmla="*/ 609617 w 1034420"/>
                <a:gd name="connsiteY87" fmla="*/ 248402 h 653414"/>
                <a:gd name="connsiteX88" fmla="*/ 613564 w 1034420"/>
                <a:gd name="connsiteY88" fmla="*/ 249931 h 653414"/>
                <a:gd name="connsiteX89" fmla="*/ 615488 w 1034420"/>
                <a:gd name="connsiteY89" fmla="*/ 251412 h 653414"/>
                <a:gd name="connsiteX90" fmla="*/ 619436 w 1034420"/>
                <a:gd name="connsiteY90" fmla="*/ 252941 h 653414"/>
                <a:gd name="connsiteX91" fmla="*/ 623383 w 1034420"/>
                <a:gd name="connsiteY91" fmla="*/ 252941 h 653414"/>
                <a:gd name="connsiteX92" fmla="*/ 627330 w 1034420"/>
                <a:gd name="connsiteY92" fmla="*/ 255951 h 653414"/>
                <a:gd name="connsiteX93" fmla="*/ 633201 w 1034420"/>
                <a:gd name="connsiteY93" fmla="*/ 260539 h 653414"/>
                <a:gd name="connsiteX94" fmla="*/ 644994 w 1034420"/>
                <a:gd name="connsiteY94" fmla="*/ 263549 h 653414"/>
                <a:gd name="connsiteX95" fmla="*/ 652839 w 1034420"/>
                <a:gd name="connsiteY95" fmla="*/ 266559 h 653414"/>
                <a:gd name="connsiteX96" fmla="*/ 658760 w 1034420"/>
                <a:gd name="connsiteY96" fmla="*/ 268089 h 653414"/>
                <a:gd name="connsiteX97" fmla="*/ 660733 w 1034420"/>
                <a:gd name="connsiteY97" fmla="*/ 271098 h 653414"/>
                <a:gd name="connsiteX98" fmla="*/ 664631 w 1034420"/>
                <a:gd name="connsiteY98" fmla="*/ 272628 h 653414"/>
                <a:gd name="connsiteX99" fmla="*/ 662658 w 1034420"/>
                <a:gd name="connsiteY99" fmla="*/ 277167 h 653414"/>
                <a:gd name="connsiteX100" fmla="*/ 668579 w 1034420"/>
                <a:gd name="connsiteY100" fmla="*/ 272628 h 653414"/>
                <a:gd name="connsiteX101" fmla="*/ 670552 w 1034420"/>
                <a:gd name="connsiteY101" fmla="*/ 265079 h 653414"/>
                <a:gd name="connsiteX102" fmla="*/ 674450 w 1034420"/>
                <a:gd name="connsiteY102" fmla="*/ 262020 h 653414"/>
                <a:gd name="connsiteX103" fmla="*/ 674450 w 1034420"/>
                <a:gd name="connsiteY103" fmla="*/ 265079 h 653414"/>
                <a:gd name="connsiteX104" fmla="*/ 672526 w 1034420"/>
                <a:gd name="connsiteY104" fmla="*/ 272628 h 653414"/>
                <a:gd name="connsiteX105" fmla="*/ 670552 w 1034420"/>
                <a:gd name="connsiteY105" fmla="*/ 274157 h 653414"/>
                <a:gd name="connsiteX106" fmla="*/ 668579 w 1034420"/>
                <a:gd name="connsiteY106" fmla="*/ 283236 h 653414"/>
                <a:gd name="connsiteX107" fmla="*/ 662658 w 1034420"/>
                <a:gd name="connsiteY107" fmla="*/ 289305 h 653414"/>
                <a:gd name="connsiteX108" fmla="*/ 662658 w 1034420"/>
                <a:gd name="connsiteY108" fmla="*/ 293844 h 653414"/>
                <a:gd name="connsiteX109" fmla="*/ 658760 w 1034420"/>
                <a:gd name="connsiteY109" fmla="*/ 293844 h 653414"/>
                <a:gd name="connsiteX110" fmla="*/ 658760 w 1034420"/>
                <a:gd name="connsiteY110" fmla="*/ 290835 h 653414"/>
                <a:gd name="connsiteX111" fmla="*/ 660733 w 1034420"/>
                <a:gd name="connsiteY111" fmla="*/ 286246 h 653414"/>
                <a:gd name="connsiteX112" fmla="*/ 654813 w 1034420"/>
                <a:gd name="connsiteY112" fmla="*/ 286246 h 653414"/>
                <a:gd name="connsiteX113" fmla="*/ 654813 w 1034420"/>
                <a:gd name="connsiteY113" fmla="*/ 293844 h 653414"/>
                <a:gd name="connsiteX114" fmla="*/ 650865 w 1034420"/>
                <a:gd name="connsiteY114" fmla="*/ 298384 h 653414"/>
                <a:gd name="connsiteX115" fmla="*/ 654813 w 1034420"/>
                <a:gd name="connsiteY115" fmla="*/ 301443 h 653414"/>
                <a:gd name="connsiteX116" fmla="*/ 652839 w 1034420"/>
                <a:gd name="connsiteY116" fmla="*/ 304453 h 653414"/>
                <a:gd name="connsiteX117" fmla="*/ 650865 w 1034420"/>
                <a:gd name="connsiteY117" fmla="*/ 313531 h 653414"/>
                <a:gd name="connsiteX118" fmla="*/ 644994 w 1034420"/>
                <a:gd name="connsiteY118" fmla="*/ 316590 h 653414"/>
                <a:gd name="connsiteX119" fmla="*/ 644994 w 1034420"/>
                <a:gd name="connsiteY119" fmla="*/ 322610 h 653414"/>
                <a:gd name="connsiteX120" fmla="*/ 648941 w 1034420"/>
                <a:gd name="connsiteY120" fmla="*/ 325669 h 653414"/>
                <a:gd name="connsiteX121" fmla="*/ 644994 w 1034420"/>
                <a:gd name="connsiteY121" fmla="*/ 330208 h 653414"/>
                <a:gd name="connsiteX122" fmla="*/ 644994 w 1034420"/>
                <a:gd name="connsiteY122" fmla="*/ 336277 h 653414"/>
                <a:gd name="connsiteX123" fmla="*/ 643020 w 1034420"/>
                <a:gd name="connsiteY123" fmla="*/ 349895 h 653414"/>
                <a:gd name="connsiteX124" fmla="*/ 643020 w 1034420"/>
                <a:gd name="connsiteY124" fmla="*/ 374417 h 653414"/>
                <a:gd name="connsiteX125" fmla="*/ 637149 w 1034420"/>
                <a:gd name="connsiteY125" fmla="*/ 380436 h 653414"/>
                <a:gd name="connsiteX126" fmla="*/ 639073 w 1034420"/>
                <a:gd name="connsiteY126" fmla="*/ 386555 h 653414"/>
                <a:gd name="connsiteX127" fmla="*/ 641047 w 1034420"/>
                <a:gd name="connsiteY127" fmla="*/ 397114 h 653414"/>
                <a:gd name="connsiteX128" fmla="*/ 639073 w 1034420"/>
                <a:gd name="connsiteY128" fmla="*/ 404712 h 653414"/>
                <a:gd name="connsiteX129" fmla="*/ 650865 w 1034420"/>
                <a:gd name="connsiteY129" fmla="*/ 418379 h 653414"/>
                <a:gd name="connsiteX130" fmla="*/ 650865 w 1034420"/>
                <a:gd name="connsiteY130" fmla="*/ 425928 h 653414"/>
                <a:gd name="connsiteX131" fmla="*/ 648941 w 1034420"/>
                <a:gd name="connsiteY131" fmla="*/ 427409 h 653414"/>
                <a:gd name="connsiteX132" fmla="*/ 644994 w 1034420"/>
                <a:gd name="connsiteY132" fmla="*/ 418379 h 653414"/>
                <a:gd name="connsiteX133" fmla="*/ 637149 w 1034420"/>
                <a:gd name="connsiteY133" fmla="*/ 407722 h 653414"/>
                <a:gd name="connsiteX134" fmla="*/ 637149 w 1034420"/>
                <a:gd name="connsiteY134" fmla="*/ 415320 h 653414"/>
                <a:gd name="connsiteX135" fmla="*/ 643020 w 1034420"/>
                <a:gd name="connsiteY135" fmla="*/ 419860 h 653414"/>
                <a:gd name="connsiteX136" fmla="*/ 648941 w 1034420"/>
                <a:gd name="connsiteY136" fmla="*/ 431997 h 653414"/>
                <a:gd name="connsiteX137" fmla="*/ 648941 w 1034420"/>
                <a:gd name="connsiteY137" fmla="*/ 435007 h 653414"/>
                <a:gd name="connsiteX138" fmla="*/ 644994 w 1034420"/>
                <a:gd name="connsiteY138" fmla="*/ 441076 h 653414"/>
                <a:gd name="connsiteX139" fmla="*/ 650865 w 1034420"/>
                <a:gd name="connsiteY139" fmla="*/ 445615 h 653414"/>
                <a:gd name="connsiteX140" fmla="*/ 652839 w 1034420"/>
                <a:gd name="connsiteY140" fmla="*/ 451684 h 653414"/>
                <a:gd name="connsiteX141" fmla="*/ 670552 w 1034420"/>
                <a:gd name="connsiteY141" fmla="*/ 469841 h 653414"/>
                <a:gd name="connsiteX142" fmla="*/ 674450 w 1034420"/>
                <a:gd name="connsiteY142" fmla="*/ 477440 h 653414"/>
                <a:gd name="connsiteX143" fmla="*/ 682345 w 1034420"/>
                <a:gd name="connsiteY143" fmla="*/ 485038 h 653414"/>
                <a:gd name="connsiteX144" fmla="*/ 682345 w 1034420"/>
                <a:gd name="connsiteY144" fmla="*/ 489578 h 653414"/>
                <a:gd name="connsiteX145" fmla="*/ 684318 w 1034420"/>
                <a:gd name="connsiteY145" fmla="*/ 495597 h 653414"/>
                <a:gd name="connsiteX146" fmla="*/ 698035 w 1034420"/>
                <a:gd name="connsiteY146" fmla="*/ 509264 h 653414"/>
                <a:gd name="connsiteX147" fmla="*/ 701982 w 1034420"/>
                <a:gd name="connsiteY147" fmla="*/ 513804 h 653414"/>
                <a:gd name="connsiteX148" fmla="*/ 705929 w 1034420"/>
                <a:gd name="connsiteY148" fmla="*/ 512274 h 653414"/>
                <a:gd name="connsiteX149" fmla="*/ 717721 w 1034420"/>
                <a:gd name="connsiteY149" fmla="*/ 513804 h 653414"/>
                <a:gd name="connsiteX150" fmla="*/ 719695 w 1034420"/>
                <a:gd name="connsiteY150" fmla="*/ 515333 h 653414"/>
                <a:gd name="connsiteX151" fmla="*/ 729563 w 1034420"/>
                <a:gd name="connsiteY151" fmla="*/ 519872 h 653414"/>
                <a:gd name="connsiteX152" fmla="*/ 737408 w 1034420"/>
                <a:gd name="connsiteY152" fmla="*/ 529000 h 653414"/>
                <a:gd name="connsiteX153" fmla="*/ 739382 w 1034420"/>
                <a:gd name="connsiteY153" fmla="*/ 536549 h 653414"/>
                <a:gd name="connsiteX154" fmla="*/ 747227 w 1034420"/>
                <a:gd name="connsiteY154" fmla="*/ 533490 h 653414"/>
                <a:gd name="connsiteX155" fmla="*/ 760993 w 1034420"/>
                <a:gd name="connsiteY155" fmla="*/ 532010 h 653414"/>
                <a:gd name="connsiteX156" fmla="*/ 764940 w 1034420"/>
                <a:gd name="connsiteY156" fmla="*/ 535020 h 653414"/>
                <a:gd name="connsiteX157" fmla="*/ 768838 w 1034420"/>
                <a:gd name="connsiteY157" fmla="*/ 535020 h 653414"/>
                <a:gd name="connsiteX158" fmla="*/ 782604 w 1034420"/>
                <a:gd name="connsiteY158" fmla="*/ 527471 h 653414"/>
                <a:gd name="connsiteX159" fmla="*/ 786551 w 1034420"/>
                <a:gd name="connsiteY159" fmla="*/ 525941 h 653414"/>
                <a:gd name="connsiteX160" fmla="*/ 798344 w 1034420"/>
                <a:gd name="connsiteY160" fmla="*/ 524412 h 653414"/>
                <a:gd name="connsiteX161" fmla="*/ 806189 w 1034420"/>
                <a:gd name="connsiteY161" fmla="*/ 524412 h 653414"/>
                <a:gd name="connsiteX162" fmla="*/ 812110 w 1034420"/>
                <a:gd name="connsiteY162" fmla="*/ 519872 h 653414"/>
                <a:gd name="connsiteX163" fmla="*/ 823557 w 1034420"/>
                <a:gd name="connsiteY163" fmla="*/ 519872 h 653414"/>
                <a:gd name="connsiteX164" fmla="*/ 831402 w 1034420"/>
                <a:gd name="connsiteY164" fmla="*/ 521402 h 653414"/>
                <a:gd name="connsiteX165" fmla="*/ 833375 w 1034420"/>
                <a:gd name="connsiteY165" fmla="*/ 518343 h 653414"/>
                <a:gd name="connsiteX166" fmla="*/ 843243 w 1034420"/>
                <a:gd name="connsiteY166" fmla="*/ 519872 h 653414"/>
                <a:gd name="connsiteX167" fmla="*/ 837322 w 1034420"/>
                <a:gd name="connsiteY167" fmla="*/ 522882 h 653414"/>
                <a:gd name="connsiteX168" fmla="*/ 835398 w 1034420"/>
                <a:gd name="connsiteY168" fmla="*/ 527471 h 653414"/>
                <a:gd name="connsiteX169" fmla="*/ 843243 w 1034420"/>
                <a:gd name="connsiteY169" fmla="*/ 530481 h 653414"/>
                <a:gd name="connsiteX170" fmla="*/ 847190 w 1034420"/>
                <a:gd name="connsiteY170" fmla="*/ 533490 h 653414"/>
                <a:gd name="connsiteX171" fmla="*/ 847190 w 1034420"/>
                <a:gd name="connsiteY171" fmla="*/ 530481 h 653414"/>
                <a:gd name="connsiteX172" fmla="*/ 853161 w 1034420"/>
                <a:gd name="connsiteY172" fmla="*/ 530481 h 653414"/>
                <a:gd name="connsiteX173" fmla="*/ 861006 w 1034420"/>
                <a:gd name="connsiteY173" fmla="*/ 522882 h 653414"/>
                <a:gd name="connsiteX174" fmla="*/ 861006 w 1034420"/>
                <a:gd name="connsiteY174" fmla="*/ 513804 h 653414"/>
                <a:gd name="connsiteX175" fmla="*/ 863029 w 1034420"/>
                <a:gd name="connsiteY175" fmla="*/ 507636 h 653414"/>
                <a:gd name="connsiteX176" fmla="*/ 855184 w 1034420"/>
                <a:gd name="connsiteY176" fmla="*/ 512175 h 653414"/>
                <a:gd name="connsiteX177" fmla="*/ 855184 w 1034420"/>
                <a:gd name="connsiteY177" fmla="*/ 510646 h 653414"/>
                <a:gd name="connsiteX178" fmla="*/ 868950 w 1034420"/>
                <a:gd name="connsiteY178" fmla="*/ 504626 h 653414"/>
                <a:gd name="connsiteX179" fmla="*/ 874821 w 1034420"/>
                <a:gd name="connsiteY179" fmla="*/ 503097 h 653414"/>
                <a:gd name="connsiteX180" fmla="*/ 880742 w 1034420"/>
                <a:gd name="connsiteY180" fmla="*/ 495498 h 653414"/>
                <a:gd name="connsiteX181" fmla="*/ 880742 w 1034420"/>
                <a:gd name="connsiteY181" fmla="*/ 484940 h 653414"/>
                <a:gd name="connsiteX182" fmla="*/ 896432 w 1034420"/>
                <a:gd name="connsiteY182" fmla="*/ 472802 h 653414"/>
                <a:gd name="connsiteX183" fmla="*/ 894508 w 1034420"/>
                <a:gd name="connsiteY183" fmla="*/ 471272 h 653414"/>
                <a:gd name="connsiteX184" fmla="*/ 896432 w 1034420"/>
                <a:gd name="connsiteY184" fmla="*/ 451536 h 653414"/>
                <a:gd name="connsiteX185" fmla="*/ 908224 w 1034420"/>
                <a:gd name="connsiteY185" fmla="*/ 439398 h 653414"/>
                <a:gd name="connsiteX186" fmla="*/ 902501 w 1034420"/>
                <a:gd name="connsiteY186" fmla="*/ 439398 h 653414"/>
                <a:gd name="connsiteX187" fmla="*/ 902501 w 1034420"/>
                <a:gd name="connsiteY187" fmla="*/ 433625 h 653414"/>
                <a:gd name="connsiteX188" fmla="*/ 928059 w 1034420"/>
                <a:gd name="connsiteY188" fmla="*/ 429037 h 653414"/>
                <a:gd name="connsiteX189" fmla="*/ 957664 w 1034420"/>
                <a:gd name="connsiteY189" fmla="*/ 429037 h 653414"/>
                <a:gd name="connsiteX190" fmla="*/ 963585 w 1034420"/>
                <a:gd name="connsiteY190" fmla="*/ 422968 h 653414"/>
                <a:gd name="connsiteX191" fmla="*/ 971429 w 1034420"/>
                <a:gd name="connsiteY191" fmla="*/ 422968 h 653414"/>
                <a:gd name="connsiteX192" fmla="*/ 975377 w 1034420"/>
                <a:gd name="connsiteY192" fmla="*/ 424498 h 653414"/>
                <a:gd name="connsiteX193" fmla="*/ 983222 w 1034420"/>
                <a:gd name="connsiteY193" fmla="*/ 421488 h 653414"/>
                <a:gd name="connsiteX194" fmla="*/ 983222 w 1034420"/>
                <a:gd name="connsiteY194" fmla="*/ 418478 h 653414"/>
                <a:gd name="connsiteX195" fmla="*/ 996988 w 1034420"/>
                <a:gd name="connsiteY195" fmla="*/ 418478 h 653414"/>
                <a:gd name="connsiteX196" fmla="*/ 1012678 w 1034420"/>
                <a:gd name="connsiteY196" fmla="*/ 421488 h 653414"/>
                <a:gd name="connsiteX197" fmla="*/ 1016625 w 1034420"/>
                <a:gd name="connsiteY197" fmla="*/ 419958 h 653414"/>
                <a:gd name="connsiteX198" fmla="*/ 1016625 w 1034420"/>
                <a:gd name="connsiteY198" fmla="*/ 416948 h 653414"/>
                <a:gd name="connsiteX199" fmla="*/ 1022546 w 1034420"/>
                <a:gd name="connsiteY199" fmla="*/ 416948 h 653414"/>
                <a:gd name="connsiteX200" fmla="*/ 1034338 w 1034420"/>
                <a:gd name="connsiteY200" fmla="*/ 427507 h 653414"/>
                <a:gd name="connsiteX201" fmla="*/ 1034338 w 1034420"/>
                <a:gd name="connsiteY201" fmla="*/ 433625 h 653414"/>
                <a:gd name="connsiteX202" fmla="*/ 1028418 w 1034420"/>
                <a:gd name="connsiteY202" fmla="*/ 442704 h 653414"/>
                <a:gd name="connsiteX203" fmla="*/ 1020573 w 1034420"/>
                <a:gd name="connsiteY203" fmla="*/ 453263 h 653414"/>
                <a:gd name="connsiteX204" fmla="*/ 1004833 w 1034420"/>
                <a:gd name="connsiteY204" fmla="*/ 466930 h 653414"/>
                <a:gd name="connsiteX205" fmla="*/ 1002860 w 1034420"/>
                <a:gd name="connsiteY205" fmla="*/ 471469 h 653414"/>
                <a:gd name="connsiteX206" fmla="*/ 1000886 w 1034420"/>
                <a:gd name="connsiteY206" fmla="*/ 479068 h 653414"/>
                <a:gd name="connsiteX207" fmla="*/ 995014 w 1034420"/>
                <a:gd name="connsiteY207" fmla="*/ 482078 h 653414"/>
                <a:gd name="connsiteX208" fmla="*/ 993041 w 1034420"/>
                <a:gd name="connsiteY208" fmla="*/ 483607 h 653414"/>
                <a:gd name="connsiteX209" fmla="*/ 996988 w 1034420"/>
                <a:gd name="connsiteY209" fmla="*/ 486666 h 653414"/>
                <a:gd name="connsiteX210" fmla="*/ 1002860 w 1034420"/>
                <a:gd name="connsiteY210" fmla="*/ 486666 h 653414"/>
                <a:gd name="connsiteX211" fmla="*/ 1000886 w 1034420"/>
                <a:gd name="connsiteY211" fmla="*/ 492686 h 653414"/>
                <a:gd name="connsiteX212" fmla="*/ 993041 w 1034420"/>
                <a:gd name="connsiteY212" fmla="*/ 500284 h 653414"/>
                <a:gd name="connsiteX213" fmla="*/ 993041 w 1034420"/>
                <a:gd name="connsiteY213" fmla="*/ 501814 h 653414"/>
                <a:gd name="connsiteX214" fmla="*/ 996988 w 1034420"/>
                <a:gd name="connsiteY214" fmla="*/ 503294 h 653414"/>
                <a:gd name="connsiteX215" fmla="*/ 1000886 w 1034420"/>
                <a:gd name="connsiteY215" fmla="*/ 500284 h 653414"/>
                <a:gd name="connsiteX216" fmla="*/ 1002860 w 1034420"/>
                <a:gd name="connsiteY216" fmla="*/ 500284 h 653414"/>
                <a:gd name="connsiteX217" fmla="*/ 998961 w 1034420"/>
                <a:gd name="connsiteY217" fmla="*/ 504824 h 653414"/>
                <a:gd name="connsiteX218" fmla="*/ 995014 w 1034420"/>
                <a:gd name="connsiteY218" fmla="*/ 524560 h 653414"/>
                <a:gd name="connsiteX219" fmla="*/ 985146 w 1034420"/>
                <a:gd name="connsiteY219" fmla="*/ 533638 h 653414"/>
                <a:gd name="connsiteX220" fmla="*/ 985146 w 1034420"/>
                <a:gd name="connsiteY220" fmla="*/ 535168 h 653414"/>
                <a:gd name="connsiteX221" fmla="*/ 981199 w 1034420"/>
                <a:gd name="connsiteY221" fmla="*/ 530629 h 653414"/>
                <a:gd name="connsiteX222" fmla="*/ 973354 w 1034420"/>
                <a:gd name="connsiteY222" fmla="*/ 526089 h 653414"/>
                <a:gd name="connsiteX223" fmla="*/ 973354 w 1034420"/>
                <a:gd name="connsiteY223" fmla="*/ 524560 h 653414"/>
                <a:gd name="connsiteX224" fmla="*/ 977252 w 1034420"/>
                <a:gd name="connsiteY224" fmla="*/ 521550 h 653414"/>
                <a:gd name="connsiteX225" fmla="*/ 977252 w 1034420"/>
                <a:gd name="connsiteY225" fmla="*/ 513952 h 653414"/>
                <a:gd name="connsiteX226" fmla="*/ 973354 w 1034420"/>
                <a:gd name="connsiteY226" fmla="*/ 515481 h 653414"/>
                <a:gd name="connsiteX227" fmla="*/ 967433 w 1034420"/>
                <a:gd name="connsiteY227" fmla="*/ 524560 h 653414"/>
                <a:gd name="connsiteX228" fmla="*/ 961561 w 1034420"/>
                <a:gd name="connsiteY228" fmla="*/ 529148 h 653414"/>
                <a:gd name="connsiteX229" fmla="*/ 951693 w 1034420"/>
                <a:gd name="connsiteY229" fmla="*/ 529148 h 653414"/>
                <a:gd name="connsiteX230" fmla="*/ 951693 w 1034420"/>
                <a:gd name="connsiteY230" fmla="*/ 532158 h 653414"/>
                <a:gd name="connsiteX231" fmla="*/ 949720 w 1034420"/>
                <a:gd name="connsiteY231" fmla="*/ 536698 h 653414"/>
                <a:gd name="connsiteX232" fmla="*/ 945773 w 1034420"/>
                <a:gd name="connsiteY232" fmla="*/ 541237 h 653414"/>
                <a:gd name="connsiteX233" fmla="*/ 943799 w 1034420"/>
                <a:gd name="connsiteY233" fmla="*/ 542766 h 653414"/>
                <a:gd name="connsiteX234" fmla="*/ 941875 w 1034420"/>
                <a:gd name="connsiteY234" fmla="*/ 542766 h 653414"/>
                <a:gd name="connsiteX235" fmla="*/ 939901 w 1034420"/>
                <a:gd name="connsiteY235" fmla="*/ 545776 h 653414"/>
                <a:gd name="connsiteX236" fmla="*/ 939901 w 1034420"/>
                <a:gd name="connsiteY236" fmla="*/ 545776 h 653414"/>
                <a:gd name="connsiteX237" fmla="*/ 939901 w 1034420"/>
                <a:gd name="connsiteY237" fmla="*/ 541237 h 653414"/>
                <a:gd name="connsiteX238" fmla="*/ 933980 w 1034420"/>
                <a:gd name="connsiteY238" fmla="*/ 541237 h 653414"/>
                <a:gd name="connsiteX239" fmla="*/ 930033 w 1034420"/>
                <a:gd name="connsiteY239" fmla="*/ 542766 h 653414"/>
                <a:gd name="connsiteX240" fmla="*/ 930033 w 1034420"/>
                <a:gd name="connsiteY240" fmla="*/ 548786 h 653414"/>
                <a:gd name="connsiteX241" fmla="*/ 866927 w 1034420"/>
                <a:gd name="connsiteY241" fmla="*/ 548786 h 653414"/>
                <a:gd name="connsiteX242" fmla="*/ 864953 w 1034420"/>
                <a:gd name="connsiteY242" fmla="*/ 563933 h 653414"/>
                <a:gd name="connsiteX243" fmla="*/ 849214 w 1034420"/>
                <a:gd name="connsiteY243" fmla="*/ 563933 h 653414"/>
                <a:gd name="connsiteX244" fmla="*/ 855135 w 1034420"/>
                <a:gd name="connsiteY244" fmla="*/ 568522 h 653414"/>
                <a:gd name="connsiteX245" fmla="*/ 857108 w 1034420"/>
                <a:gd name="connsiteY245" fmla="*/ 573061 h 653414"/>
                <a:gd name="connsiteX246" fmla="*/ 862979 w 1034420"/>
                <a:gd name="connsiteY246" fmla="*/ 579081 h 653414"/>
                <a:gd name="connsiteX247" fmla="*/ 868900 w 1034420"/>
                <a:gd name="connsiteY247" fmla="*/ 582140 h 653414"/>
                <a:gd name="connsiteX248" fmla="*/ 872897 w 1034420"/>
                <a:gd name="connsiteY248" fmla="*/ 582140 h 653414"/>
                <a:gd name="connsiteX249" fmla="*/ 874871 w 1034420"/>
                <a:gd name="connsiteY249" fmla="*/ 585199 h 653414"/>
                <a:gd name="connsiteX250" fmla="*/ 876844 w 1034420"/>
                <a:gd name="connsiteY250" fmla="*/ 589738 h 653414"/>
                <a:gd name="connsiteX251" fmla="*/ 878818 w 1034420"/>
                <a:gd name="connsiteY251" fmla="*/ 591219 h 653414"/>
                <a:gd name="connsiteX252" fmla="*/ 884689 w 1034420"/>
                <a:gd name="connsiteY252" fmla="*/ 592748 h 653414"/>
                <a:gd name="connsiteX253" fmla="*/ 890610 w 1034420"/>
                <a:gd name="connsiteY253" fmla="*/ 594228 h 653414"/>
                <a:gd name="connsiteX254" fmla="*/ 890610 w 1034420"/>
                <a:gd name="connsiteY254" fmla="*/ 598817 h 653414"/>
                <a:gd name="connsiteX255" fmla="*/ 884689 w 1034420"/>
                <a:gd name="connsiteY255" fmla="*/ 601827 h 653414"/>
                <a:gd name="connsiteX256" fmla="*/ 839493 w 1034420"/>
                <a:gd name="connsiteY256" fmla="*/ 603356 h 653414"/>
                <a:gd name="connsiteX257" fmla="*/ 815909 w 1034420"/>
                <a:gd name="connsiteY257" fmla="*/ 632171 h 653414"/>
                <a:gd name="connsiteX258" fmla="*/ 819856 w 1034420"/>
                <a:gd name="connsiteY258" fmla="*/ 636661 h 653414"/>
                <a:gd name="connsiteX259" fmla="*/ 819856 w 1034420"/>
                <a:gd name="connsiteY259" fmla="*/ 642779 h 653414"/>
                <a:gd name="connsiteX260" fmla="*/ 821830 w 1034420"/>
                <a:gd name="connsiteY260" fmla="*/ 644259 h 653414"/>
                <a:gd name="connsiteX261" fmla="*/ 821830 w 1034420"/>
                <a:gd name="connsiteY261" fmla="*/ 645789 h 653414"/>
                <a:gd name="connsiteX262" fmla="*/ 815909 w 1034420"/>
                <a:gd name="connsiteY262" fmla="*/ 650328 h 653414"/>
                <a:gd name="connsiteX263" fmla="*/ 813935 w 1034420"/>
                <a:gd name="connsiteY263" fmla="*/ 653387 h 653414"/>
                <a:gd name="connsiteX264" fmla="*/ 813935 w 1034420"/>
                <a:gd name="connsiteY264" fmla="*/ 653387 h 653414"/>
                <a:gd name="connsiteX265" fmla="*/ 808064 w 1034420"/>
                <a:gd name="connsiteY265" fmla="*/ 647319 h 653414"/>
                <a:gd name="connsiteX266" fmla="*/ 798196 w 1034420"/>
                <a:gd name="connsiteY266" fmla="*/ 641250 h 653414"/>
                <a:gd name="connsiteX267" fmla="*/ 798196 w 1034420"/>
                <a:gd name="connsiteY267" fmla="*/ 636661 h 653414"/>
                <a:gd name="connsiteX268" fmla="*/ 790351 w 1034420"/>
                <a:gd name="connsiteY268" fmla="*/ 635181 h 653414"/>
                <a:gd name="connsiteX269" fmla="*/ 764792 w 1034420"/>
                <a:gd name="connsiteY269" fmla="*/ 617023 h 653414"/>
                <a:gd name="connsiteX270" fmla="*/ 762819 w 1034420"/>
                <a:gd name="connsiteY270" fmla="*/ 613964 h 653414"/>
                <a:gd name="connsiteX271" fmla="*/ 762819 w 1034420"/>
                <a:gd name="connsiteY271" fmla="*/ 610955 h 653414"/>
                <a:gd name="connsiteX272" fmla="*/ 756898 w 1034420"/>
                <a:gd name="connsiteY272" fmla="*/ 604886 h 653414"/>
                <a:gd name="connsiteX273" fmla="*/ 751026 w 1034420"/>
                <a:gd name="connsiteY273" fmla="*/ 600346 h 653414"/>
                <a:gd name="connsiteX274" fmla="*/ 741158 w 1034420"/>
                <a:gd name="connsiteY274" fmla="*/ 598817 h 653414"/>
                <a:gd name="connsiteX275" fmla="*/ 737211 w 1034420"/>
                <a:gd name="connsiteY275" fmla="*/ 598817 h 653414"/>
                <a:gd name="connsiteX276" fmla="*/ 739185 w 1034420"/>
                <a:gd name="connsiteY276" fmla="*/ 600346 h 653414"/>
                <a:gd name="connsiteX277" fmla="*/ 750977 w 1034420"/>
                <a:gd name="connsiteY277" fmla="*/ 604886 h 653414"/>
                <a:gd name="connsiteX278" fmla="*/ 758822 w 1034420"/>
                <a:gd name="connsiteY278" fmla="*/ 610955 h 653414"/>
                <a:gd name="connsiteX279" fmla="*/ 758822 w 1034420"/>
                <a:gd name="connsiteY279" fmla="*/ 612484 h 653414"/>
                <a:gd name="connsiteX280" fmla="*/ 754924 w 1034420"/>
                <a:gd name="connsiteY280" fmla="*/ 609425 h 653414"/>
                <a:gd name="connsiteX281" fmla="*/ 743132 w 1034420"/>
                <a:gd name="connsiteY281" fmla="*/ 603356 h 653414"/>
                <a:gd name="connsiteX282" fmla="*/ 735237 w 1034420"/>
                <a:gd name="connsiteY282" fmla="*/ 601827 h 653414"/>
                <a:gd name="connsiteX283" fmla="*/ 731339 w 1034420"/>
                <a:gd name="connsiteY283" fmla="*/ 601827 h 653414"/>
                <a:gd name="connsiteX284" fmla="*/ 729366 w 1034420"/>
                <a:gd name="connsiteY284" fmla="*/ 600346 h 653414"/>
                <a:gd name="connsiteX285" fmla="*/ 729366 w 1034420"/>
                <a:gd name="connsiteY285" fmla="*/ 600346 h 653414"/>
                <a:gd name="connsiteX286" fmla="*/ 733264 w 1034420"/>
                <a:gd name="connsiteY286" fmla="*/ 598817 h 653414"/>
                <a:gd name="connsiteX287" fmla="*/ 733264 w 1034420"/>
                <a:gd name="connsiteY287" fmla="*/ 597287 h 653414"/>
                <a:gd name="connsiteX288" fmla="*/ 729366 w 1034420"/>
                <a:gd name="connsiteY288" fmla="*/ 597287 h 653414"/>
                <a:gd name="connsiteX289" fmla="*/ 725419 w 1034420"/>
                <a:gd name="connsiteY289" fmla="*/ 598817 h 653414"/>
                <a:gd name="connsiteX290" fmla="*/ 725419 w 1034420"/>
                <a:gd name="connsiteY290" fmla="*/ 594228 h 653414"/>
                <a:gd name="connsiteX291" fmla="*/ 723445 w 1034420"/>
                <a:gd name="connsiteY291" fmla="*/ 592748 h 653414"/>
                <a:gd name="connsiteX292" fmla="*/ 713577 w 1034420"/>
                <a:gd name="connsiteY292" fmla="*/ 598817 h 653414"/>
                <a:gd name="connsiteX293" fmla="*/ 713577 w 1034420"/>
                <a:gd name="connsiteY293" fmla="*/ 601383 h 653414"/>
                <a:gd name="connsiteX294" fmla="*/ 727343 w 1034420"/>
                <a:gd name="connsiteY294" fmla="*/ 601383 h 653414"/>
                <a:gd name="connsiteX295" fmla="*/ 727343 w 1034420"/>
                <a:gd name="connsiteY295" fmla="*/ 602912 h 653414"/>
                <a:gd name="connsiteX296" fmla="*/ 713577 w 1034420"/>
                <a:gd name="connsiteY296" fmla="*/ 602912 h 653414"/>
                <a:gd name="connsiteX297" fmla="*/ 705732 w 1034420"/>
                <a:gd name="connsiteY297" fmla="*/ 604442 h 653414"/>
                <a:gd name="connsiteX298" fmla="*/ 697837 w 1034420"/>
                <a:gd name="connsiteY298" fmla="*/ 610511 h 653414"/>
                <a:gd name="connsiteX299" fmla="*/ 689992 w 1034420"/>
                <a:gd name="connsiteY299" fmla="*/ 610511 h 653414"/>
                <a:gd name="connsiteX300" fmla="*/ 670256 w 1034420"/>
                <a:gd name="connsiteY300" fmla="*/ 616580 h 653414"/>
                <a:gd name="connsiteX301" fmla="*/ 662362 w 1034420"/>
                <a:gd name="connsiteY301" fmla="*/ 616580 h 653414"/>
                <a:gd name="connsiteX302" fmla="*/ 644698 w 1034420"/>
                <a:gd name="connsiteY302" fmla="*/ 612040 h 653414"/>
                <a:gd name="connsiteX303" fmla="*/ 634830 w 1034420"/>
                <a:gd name="connsiteY303" fmla="*/ 607451 h 653414"/>
                <a:gd name="connsiteX304" fmla="*/ 623235 w 1034420"/>
                <a:gd name="connsiteY304" fmla="*/ 607451 h 653414"/>
                <a:gd name="connsiteX305" fmla="*/ 609469 w 1034420"/>
                <a:gd name="connsiteY305" fmla="*/ 602912 h 653414"/>
                <a:gd name="connsiteX306" fmla="*/ 603548 w 1034420"/>
                <a:gd name="connsiteY306" fmla="*/ 599903 h 653414"/>
                <a:gd name="connsiteX307" fmla="*/ 593680 w 1034420"/>
                <a:gd name="connsiteY307" fmla="*/ 599903 h 653414"/>
                <a:gd name="connsiteX308" fmla="*/ 585835 w 1034420"/>
                <a:gd name="connsiteY308" fmla="*/ 596843 h 653414"/>
                <a:gd name="connsiteX309" fmla="*/ 581888 w 1034420"/>
                <a:gd name="connsiteY309" fmla="*/ 589294 h 653414"/>
                <a:gd name="connsiteX310" fmla="*/ 579963 w 1034420"/>
                <a:gd name="connsiteY310" fmla="*/ 587765 h 653414"/>
                <a:gd name="connsiteX311" fmla="*/ 572069 w 1034420"/>
                <a:gd name="connsiteY311" fmla="*/ 589294 h 653414"/>
                <a:gd name="connsiteX312" fmla="*/ 564224 w 1034420"/>
                <a:gd name="connsiteY312" fmla="*/ 586235 h 653414"/>
                <a:gd name="connsiteX313" fmla="*/ 554356 w 1034420"/>
                <a:gd name="connsiteY313" fmla="*/ 584755 h 653414"/>
                <a:gd name="connsiteX314" fmla="*/ 550408 w 1034420"/>
                <a:gd name="connsiteY314" fmla="*/ 578637 h 653414"/>
                <a:gd name="connsiteX315" fmla="*/ 538616 w 1034420"/>
                <a:gd name="connsiteY315" fmla="*/ 575627 h 653414"/>
                <a:gd name="connsiteX316" fmla="*/ 522876 w 1034420"/>
                <a:gd name="connsiteY316" fmla="*/ 574147 h 653414"/>
                <a:gd name="connsiteX317" fmla="*/ 505311 w 1034420"/>
                <a:gd name="connsiteY317" fmla="*/ 566844 h 653414"/>
                <a:gd name="connsiteX318" fmla="*/ 495443 w 1034420"/>
                <a:gd name="connsiteY318" fmla="*/ 559295 h 653414"/>
                <a:gd name="connsiteX319" fmla="*/ 491496 w 1034420"/>
                <a:gd name="connsiteY319" fmla="*/ 557766 h 653414"/>
                <a:gd name="connsiteX320" fmla="*/ 475756 w 1034420"/>
                <a:gd name="connsiteY320" fmla="*/ 542618 h 653414"/>
                <a:gd name="connsiteX321" fmla="*/ 469885 w 1034420"/>
                <a:gd name="connsiteY321" fmla="*/ 539559 h 653414"/>
                <a:gd name="connsiteX322" fmla="*/ 465938 w 1034420"/>
                <a:gd name="connsiteY322" fmla="*/ 539559 h 653414"/>
                <a:gd name="connsiteX323" fmla="*/ 463964 w 1034420"/>
                <a:gd name="connsiteY323" fmla="*/ 541089 h 653414"/>
                <a:gd name="connsiteX324" fmla="*/ 460066 w 1034420"/>
                <a:gd name="connsiteY324" fmla="*/ 541089 h 653414"/>
                <a:gd name="connsiteX325" fmla="*/ 446300 w 1034420"/>
                <a:gd name="connsiteY325" fmla="*/ 536549 h 653414"/>
                <a:gd name="connsiteX326" fmla="*/ 442353 w 1034420"/>
                <a:gd name="connsiteY326" fmla="*/ 536549 h 653414"/>
                <a:gd name="connsiteX327" fmla="*/ 432485 w 1034420"/>
                <a:gd name="connsiteY327" fmla="*/ 535020 h 653414"/>
                <a:gd name="connsiteX328" fmla="*/ 430511 w 1034420"/>
                <a:gd name="connsiteY328" fmla="*/ 535020 h 653414"/>
                <a:gd name="connsiteX329" fmla="*/ 422666 w 1034420"/>
                <a:gd name="connsiteY329" fmla="*/ 533490 h 653414"/>
                <a:gd name="connsiteX330" fmla="*/ 418719 w 1034420"/>
                <a:gd name="connsiteY330" fmla="*/ 525941 h 653414"/>
                <a:gd name="connsiteX331" fmla="*/ 412848 w 1034420"/>
                <a:gd name="connsiteY331" fmla="*/ 518343 h 653414"/>
                <a:gd name="connsiteX332" fmla="*/ 402979 w 1034420"/>
                <a:gd name="connsiteY332" fmla="*/ 510744 h 653414"/>
                <a:gd name="connsiteX333" fmla="*/ 393111 w 1034420"/>
                <a:gd name="connsiteY333" fmla="*/ 507735 h 653414"/>
                <a:gd name="connsiteX334" fmla="*/ 393111 w 1034420"/>
                <a:gd name="connsiteY334" fmla="*/ 504725 h 653414"/>
                <a:gd name="connsiteX335" fmla="*/ 397009 w 1034420"/>
                <a:gd name="connsiteY335" fmla="*/ 501715 h 653414"/>
                <a:gd name="connsiteX336" fmla="*/ 385414 w 1034420"/>
                <a:gd name="connsiteY336" fmla="*/ 501715 h 653414"/>
                <a:gd name="connsiteX337" fmla="*/ 375546 w 1034420"/>
                <a:gd name="connsiteY337" fmla="*/ 500186 h 653414"/>
                <a:gd name="connsiteX338" fmla="*/ 373573 w 1034420"/>
                <a:gd name="connsiteY338" fmla="*/ 497126 h 653414"/>
                <a:gd name="connsiteX339" fmla="*/ 365728 w 1034420"/>
                <a:gd name="connsiteY339" fmla="*/ 497126 h 653414"/>
                <a:gd name="connsiteX340" fmla="*/ 361780 w 1034420"/>
                <a:gd name="connsiteY340" fmla="*/ 494117 h 653414"/>
                <a:gd name="connsiteX341" fmla="*/ 359807 w 1034420"/>
                <a:gd name="connsiteY341" fmla="*/ 485038 h 653414"/>
                <a:gd name="connsiteX342" fmla="*/ 353935 w 1034420"/>
                <a:gd name="connsiteY342" fmla="*/ 478969 h 653414"/>
                <a:gd name="connsiteX343" fmla="*/ 353935 w 1034420"/>
                <a:gd name="connsiteY343" fmla="*/ 474430 h 653414"/>
                <a:gd name="connsiteX344" fmla="*/ 349988 w 1034420"/>
                <a:gd name="connsiteY344" fmla="*/ 471371 h 653414"/>
                <a:gd name="connsiteX345" fmla="*/ 344116 w 1034420"/>
                <a:gd name="connsiteY345" fmla="*/ 459283 h 653414"/>
                <a:gd name="connsiteX346" fmla="*/ 344116 w 1034420"/>
                <a:gd name="connsiteY346" fmla="*/ 456223 h 653414"/>
                <a:gd name="connsiteX347" fmla="*/ 348014 w 1034420"/>
                <a:gd name="connsiteY347" fmla="*/ 454694 h 653414"/>
                <a:gd name="connsiteX348" fmla="*/ 355909 w 1034420"/>
                <a:gd name="connsiteY348" fmla="*/ 454694 h 653414"/>
                <a:gd name="connsiteX349" fmla="*/ 359807 w 1034420"/>
                <a:gd name="connsiteY349" fmla="*/ 451684 h 653414"/>
                <a:gd name="connsiteX350" fmla="*/ 355909 w 1034420"/>
                <a:gd name="connsiteY350" fmla="*/ 448674 h 653414"/>
                <a:gd name="connsiteX351" fmla="*/ 351961 w 1034420"/>
                <a:gd name="connsiteY351" fmla="*/ 447145 h 653414"/>
                <a:gd name="connsiteX352" fmla="*/ 353935 w 1034420"/>
                <a:gd name="connsiteY352" fmla="*/ 444135 h 653414"/>
                <a:gd name="connsiteX353" fmla="*/ 361780 w 1034420"/>
                <a:gd name="connsiteY353" fmla="*/ 436537 h 653414"/>
                <a:gd name="connsiteX354" fmla="*/ 365728 w 1034420"/>
                <a:gd name="connsiteY354" fmla="*/ 431997 h 653414"/>
                <a:gd name="connsiteX355" fmla="*/ 363754 w 1034420"/>
                <a:gd name="connsiteY355" fmla="*/ 425928 h 653414"/>
                <a:gd name="connsiteX356" fmla="*/ 357882 w 1034420"/>
                <a:gd name="connsiteY356" fmla="*/ 407722 h 653414"/>
                <a:gd name="connsiteX357" fmla="*/ 353935 w 1034420"/>
                <a:gd name="connsiteY357" fmla="*/ 400173 h 653414"/>
                <a:gd name="connsiteX358" fmla="*/ 349988 w 1034420"/>
                <a:gd name="connsiteY358" fmla="*/ 395584 h 653414"/>
                <a:gd name="connsiteX359" fmla="*/ 353935 w 1034420"/>
                <a:gd name="connsiteY359" fmla="*/ 389565 h 653414"/>
                <a:gd name="connsiteX360" fmla="*/ 351961 w 1034420"/>
                <a:gd name="connsiteY360" fmla="*/ 383496 h 653414"/>
                <a:gd name="connsiteX361" fmla="*/ 340021 w 1034420"/>
                <a:gd name="connsiteY361" fmla="*/ 369483 h 653414"/>
                <a:gd name="connsiteX362" fmla="*/ 340021 w 1034420"/>
                <a:gd name="connsiteY362" fmla="*/ 363464 h 653414"/>
                <a:gd name="connsiteX363" fmla="*/ 326255 w 1034420"/>
                <a:gd name="connsiteY363" fmla="*/ 352855 h 653414"/>
                <a:gd name="connsiteX364" fmla="*/ 318410 w 1034420"/>
                <a:gd name="connsiteY364" fmla="*/ 340718 h 653414"/>
                <a:gd name="connsiteX365" fmla="*/ 308542 w 1034420"/>
                <a:gd name="connsiteY365" fmla="*/ 327050 h 653414"/>
                <a:gd name="connsiteX366" fmla="*/ 296750 w 1034420"/>
                <a:gd name="connsiteY366" fmla="*/ 321031 h 653414"/>
                <a:gd name="connsiteX367" fmla="*/ 294776 w 1034420"/>
                <a:gd name="connsiteY367" fmla="*/ 318021 h 653414"/>
                <a:gd name="connsiteX368" fmla="*/ 292802 w 1034420"/>
                <a:gd name="connsiteY368" fmla="*/ 314962 h 653414"/>
                <a:gd name="connsiteX369" fmla="*/ 282934 w 1034420"/>
                <a:gd name="connsiteY369" fmla="*/ 311903 h 653414"/>
                <a:gd name="connsiteX370" fmla="*/ 277013 w 1034420"/>
                <a:gd name="connsiteY370" fmla="*/ 308893 h 653414"/>
                <a:gd name="connsiteX371" fmla="*/ 277013 w 1034420"/>
                <a:gd name="connsiteY371" fmla="*/ 307363 h 653414"/>
                <a:gd name="connsiteX372" fmla="*/ 280961 w 1034420"/>
                <a:gd name="connsiteY372" fmla="*/ 304354 h 653414"/>
                <a:gd name="connsiteX373" fmla="*/ 284908 w 1034420"/>
                <a:gd name="connsiteY373" fmla="*/ 298285 h 653414"/>
                <a:gd name="connsiteX374" fmla="*/ 280961 w 1034420"/>
                <a:gd name="connsiteY374" fmla="*/ 295275 h 653414"/>
                <a:gd name="connsiteX375" fmla="*/ 278987 w 1034420"/>
                <a:gd name="connsiteY375" fmla="*/ 289206 h 653414"/>
                <a:gd name="connsiteX376" fmla="*/ 277013 w 1034420"/>
                <a:gd name="connsiteY376" fmla="*/ 286147 h 653414"/>
                <a:gd name="connsiteX377" fmla="*/ 273116 w 1034420"/>
                <a:gd name="connsiteY377" fmla="*/ 286147 h 653414"/>
                <a:gd name="connsiteX378" fmla="*/ 263248 w 1034420"/>
                <a:gd name="connsiteY378" fmla="*/ 284618 h 653414"/>
                <a:gd name="connsiteX379" fmla="*/ 249482 w 1034420"/>
                <a:gd name="connsiteY379" fmla="*/ 274059 h 653414"/>
                <a:gd name="connsiteX380" fmla="*/ 245534 w 1034420"/>
                <a:gd name="connsiteY380" fmla="*/ 271000 h 653414"/>
                <a:gd name="connsiteX381" fmla="*/ 239663 w 1034420"/>
                <a:gd name="connsiteY381" fmla="*/ 271000 h 653414"/>
                <a:gd name="connsiteX382" fmla="*/ 231768 w 1034420"/>
                <a:gd name="connsiteY382" fmla="*/ 267990 h 653414"/>
                <a:gd name="connsiteX383" fmla="*/ 231768 w 1034420"/>
                <a:gd name="connsiteY383" fmla="*/ 261921 h 653414"/>
                <a:gd name="connsiteX384" fmla="*/ 235716 w 1034420"/>
                <a:gd name="connsiteY384" fmla="*/ 251313 h 653414"/>
                <a:gd name="connsiteX385" fmla="*/ 241636 w 1034420"/>
                <a:gd name="connsiteY385" fmla="*/ 246774 h 653414"/>
                <a:gd name="connsiteX386" fmla="*/ 247508 w 1034420"/>
                <a:gd name="connsiteY386" fmla="*/ 245244 h 653414"/>
                <a:gd name="connsiteX387" fmla="*/ 249482 w 1034420"/>
                <a:gd name="connsiteY387" fmla="*/ 248303 h 653414"/>
                <a:gd name="connsiteX388" fmla="*/ 253429 w 1034420"/>
                <a:gd name="connsiteY388" fmla="*/ 245244 h 653414"/>
                <a:gd name="connsiteX389" fmla="*/ 251455 w 1034420"/>
                <a:gd name="connsiteY389" fmla="*/ 242234 h 653414"/>
                <a:gd name="connsiteX390" fmla="*/ 249482 w 1034420"/>
                <a:gd name="connsiteY390" fmla="*/ 240705 h 653414"/>
                <a:gd name="connsiteX391" fmla="*/ 247508 w 1034420"/>
                <a:gd name="connsiteY391" fmla="*/ 242234 h 653414"/>
                <a:gd name="connsiteX392" fmla="*/ 243561 w 1034420"/>
                <a:gd name="connsiteY392" fmla="*/ 239175 h 653414"/>
                <a:gd name="connsiteX393" fmla="*/ 241636 w 1034420"/>
                <a:gd name="connsiteY393" fmla="*/ 236165 h 653414"/>
                <a:gd name="connsiteX394" fmla="*/ 235716 w 1034420"/>
                <a:gd name="connsiteY394" fmla="*/ 228567 h 653414"/>
                <a:gd name="connsiteX395" fmla="*/ 229795 w 1034420"/>
                <a:gd name="connsiteY395" fmla="*/ 230097 h 653414"/>
                <a:gd name="connsiteX396" fmla="*/ 223923 w 1034420"/>
                <a:gd name="connsiteY396" fmla="*/ 228567 h 653414"/>
                <a:gd name="connsiteX397" fmla="*/ 219976 w 1034420"/>
                <a:gd name="connsiteY397" fmla="*/ 222547 h 653414"/>
                <a:gd name="connsiteX398" fmla="*/ 221950 w 1034420"/>
                <a:gd name="connsiteY398" fmla="*/ 216479 h 653414"/>
                <a:gd name="connsiteX399" fmla="*/ 214105 w 1034420"/>
                <a:gd name="connsiteY399" fmla="*/ 216479 h 653414"/>
                <a:gd name="connsiteX400" fmla="*/ 202312 w 1034420"/>
                <a:gd name="connsiteY400" fmla="*/ 207400 h 653414"/>
                <a:gd name="connsiteX401" fmla="*/ 198365 w 1034420"/>
                <a:gd name="connsiteY401" fmla="*/ 198272 h 653414"/>
                <a:gd name="connsiteX402" fmla="*/ 202312 w 1034420"/>
                <a:gd name="connsiteY402" fmla="*/ 193733 h 653414"/>
                <a:gd name="connsiteX403" fmla="*/ 204286 w 1034420"/>
                <a:gd name="connsiteY403" fmla="*/ 187664 h 653414"/>
                <a:gd name="connsiteX404" fmla="*/ 198365 w 1034420"/>
                <a:gd name="connsiteY404" fmla="*/ 184654 h 653414"/>
                <a:gd name="connsiteX405" fmla="*/ 192494 w 1034420"/>
                <a:gd name="connsiteY405" fmla="*/ 186134 h 653414"/>
                <a:gd name="connsiteX406" fmla="*/ 190520 w 1034420"/>
                <a:gd name="connsiteY406" fmla="*/ 184654 h 653414"/>
                <a:gd name="connsiteX407" fmla="*/ 187066 w 1034420"/>
                <a:gd name="connsiteY407" fmla="*/ 184654 h 653414"/>
                <a:gd name="connsiteX408" fmla="*/ 185092 w 1034420"/>
                <a:gd name="connsiteY408" fmla="*/ 181595 h 653414"/>
                <a:gd name="connsiteX409" fmla="*/ 181195 w 1034420"/>
                <a:gd name="connsiteY409" fmla="*/ 178585 h 653414"/>
                <a:gd name="connsiteX410" fmla="*/ 179221 w 1034420"/>
                <a:gd name="connsiteY410" fmla="*/ 172516 h 653414"/>
                <a:gd name="connsiteX411" fmla="*/ 175274 w 1034420"/>
                <a:gd name="connsiteY411" fmla="*/ 164967 h 653414"/>
                <a:gd name="connsiteX412" fmla="*/ 171376 w 1034420"/>
                <a:gd name="connsiteY412" fmla="*/ 164967 h 653414"/>
                <a:gd name="connsiteX413" fmla="*/ 167330 w 1034420"/>
                <a:gd name="connsiteY413" fmla="*/ 162254 h 653414"/>
                <a:gd name="connsiteX414" fmla="*/ 167330 w 1034420"/>
                <a:gd name="connsiteY414" fmla="*/ 156185 h 653414"/>
                <a:gd name="connsiteX415" fmla="*/ 163383 w 1034420"/>
                <a:gd name="connsiteY415" fmla="*/ 151645 h 653414"/>
                <a:gd name="connsiteX416" fmla="*/ 159485 w 1034420"/>
                <a:gd name="connsiteY416" fmla="*/ 147106 h 653414"/>
                <a:gd name="connsiteX417" fmla="*/ 155538 w 1034420"/>
                <a:gd name="connsiteY417" fmla="*/ 138028 h 653414"/>
                <a:gd name="connsiteX418" fmla="*/ 151590 w 1034420"/>
                <a:gd name="connsiteY418" fmla="*/ 135018 h 653414"/>
                <a:gd name="connsiteX419" fmla="*/ 149617 w 1034420"/>
                <a:gd name="connsiteY419" fmla="*/ 135018 h 653414"/>
                <a:gd name="connsiteX420" fmla="*/ 147692 w 1034420"/>
                <a:gd name="connsiteY420" fmla="*/ 130429 h 653414"/>
                <a:gd name="connsiteX421" fmla="*/ 149617 w 1034420"/>
                <a:gd name="connsiteY421" fmla="*/ 128899 h 653414"/>
                <a:gd name="connsiteX422" fmla="*/ 149617 w 1034420"/>
                <a:gd name="connsiteY422" fmla="*/ 125890 h 653414"/>
                <a:gd name="connsiteX423" fmla="*/ 141772 w 1034420"/>
                <a:gd name="connsiteY423" fmla="*/ 113752 h 653414"/>
                <a:gd name="connsiteX424" fmla="*/ 139798 w 1034420"/>
                <a:gd name="connsiteY424" fmla="*/ 109213 h 653414"/>
                <a:gd name="connsiteX425" fmla="*/ 139798 w 1034420"/>
                <a:gd name="connsiteY425" fmla="*/ 98604 h 653414"/>
                <a:gd name="connsiteX426" fmla="*/ 135900 w 1034420"/>
                <a:gd name="connsiteY426" fmla="*/ 92585 h 653414"/>
                <a:gd name="connsiteX427" fmla="*/ 135900 w 1034420"/>
                <a:gd name="connsiteY427" fmla="*/ 81829 h 653414"/>
                <a:gd name="connsiteX428" fmla="*/ 129979 w 1034420"/>
                <a:gd name="connsiteY428" fmla="*/ 75760 h 653414"/>
                <a:gd name="connsiteX429" fmla="*/ 129979 w 1034420"/>
                <a:gd name="connsiteY429" fmla="*/ 68161 h 653414"/>
                <a:gd name="connsiteX430" fmla="*/ 135900 w 1034420"/>
                <a:gd name="connsiteY430" fmla="*/ 63622 h 653414"/>
                <a:gd name="connsiteX431" fmla="*/ 135900 w 1034420"/>
                <a:gd name="connsiteY431" fmla="*/ 60563 h 653414"/>
                <a:gd name="connsiteX432" fmla="*/ 126032 w 1034420"/>
                <a:gd name="connsiteY432" fmla="*/ 57554 h 653414"/>
                <a:gd name="connsiteX433" fmla="*/ 120161 w 1034420"/>
                <a:gd name="connsiteY433" fmla="*/ 57554 h 653414"/>
                <a:gd name="connsiteX434" fmla="*/ 118187 w 1034420"/>
                <a:gd name="connsiteY434" fmla="*/ 54544 h 653414"/>
                <a:gd name="connsiteX435" fmla="*/ 112315 w 1034420"/>
                <a:gd name="connsiteY435" fmla="*/ 50004 h 653414"/>
                <a:gd name="connsiteX436" fmla="*/ 110342 w 1034420"/>
                <a:gd name="connsiteY436" fmla="*/ 51534 h 653414"/>
                <a:gd name="connsiteX437" fmla="*/ 104421 w 1034420"/>
                <a:gd name="connsiteY437" fmla="*/ 53014 h 653414"/>
                <a:gd name="connsiteX438" fmla="*/ 100523 w 1034420"/>
                <a:gd name="connsiteY438" fmla="*/ 50004 h 653414"/>
                <a:gd name="connsiteX439" fmla="*/ 92629 w 1034420"/>
                <a:gd name="connsiteY439" fmla="*/ 39396 h 653414"/>
                <a:gd name="connsiteX440" fmla="*/ 82760 w 1034420"/>
                <a:gd name="connsiteY440" fmla="*/ 36337 h 653414"/>
                <a:gd name="connsiteX441" fmla="*/ 78863 w 1034420"/>
                <a:gd name="connsiteY441" fmla="*/ 28739 h 653414"/>
                <a:gd name="connsiteX442" fmla="*/ 80787 w 1034420"/>
                <a:gd name="connsiteY442" fmla="*/ 36337 h 653414"/>
                <a:gd name="connsiteX443" fmla="*/ 82760 w 1034420"/>
                <a:gd name="connsiteY443" fmla="*/ 40876 h 653414"/>
                <a:gd name="connsiteX444" fmla="*/ 78863 w 1034420"/>
                <a:gd name="connsiteY444" fmla="*/ 53014 h 653414"/>
                <a:gd name="connsiteX445" fmla="*/ 74915 w 1034420"/>
                <a:gd name="connsiteY445" fmla="*/ 59083 h 653414"/>
                <a:gd name="connsiteX446" fmla="*/ 76889 w 1034420"/>
                <a:gd name="connsiteY446" fmla="*/ 74230 h 653414"/>
                <a:gd name="connsiteX447" fmla="*/ 78863 w 1034420"/>
                <a:gd name="connsiteY447" fmla="*/ 93966 h 653414"/>
                <a:gd name="connsiteX448" fmla="*/ 74915 w 1034420"/>
                <a:gd name="connsiteY448" fmla="*/ 100035 h 653414"/>
                <a:gd name="connsiteX449" fmla="*/ 78863 w 1034420"/>
                <a:gd name="connsiteY449" fmla="*/ 103045 h 653414"/>
                <a:gd name="connsiteX450" fmla="*/ 84734 w 1034420"/>
                <a:gd name="connsiteY450" fmla="*/ 112173 h 653414"/>
                <a:gd name="connsiteX451" fmla="*/ 82760 w 1034420"/>
                <a:gd name="connsiteY451" fmla="*/ 118193 h 653414"/>
                <a:gd name="connsiteX452" fmla="*/ 86708 w 1034420"/>
                <a:gd name="connsiteY452" fmla="*/ 118193 h 653414"/>
                <a:gd name="connsiteX453" fmla="*/ 90606 w 1034420"/>
                <a:gd name="connsiteY453" fmla="*/ 121252 h 653414"/>
                <a:gd name="connsiteX454" fmla="*/ 102398 w 1034420"/>
                <a:gd name="connsiteY454" fmla="*/ 128801 h 653414"/>
                <a:gd name="connsiteX455" fmla="*/ 104372 w 1034420"/>
                <a:gd name="connsiteY455" fmla="*/ 136399 h 653414"/>
                <a:gd name="connsiteX456" fmla="*/ 102398 w 1034420"/>
                <a:gd name="connsiteY456" fmla="*/ 140939 h 653414"/>
                <a:gd name="connsiteX457" fmla="*/ 104372 w 1034420"/>
                <a:gd name="connsiteY457" fmla="*/ 145478 h 653414"/>
                <a:gd name="connsiteX458" fmla="*/ 110292 w 1034420"/>
                <a:gd name="connsiteY458" fmla="*/ 150067 h 653414"/>
                <a:gd name="connsiteX459" fmla="*/ 114190 w 1034420"/>
                <a:gd name="connsiteY459" fmla="*/ 153076 h 653414"/>
                <a:gd name="connsiteX460" fmla="*/ 114190 w 1034420"/>
                <a:gd name="connsiteY460" fmla="*/ 159096 h 653414"/>
                <a:gd name="connsiteX461" fmla="*/ 118138 w 1034420"/>
                <a:gd name="connsiteY461" fmla="*/ 162155 h 653414"/>
                <a:gd name="connsiteX462" fmla="*/ 122085 w 1034420"/>
                <a:gd name="connsiteY462" fmla="*/ 163684 h 653414"/>
                <a:gd name="connsiteX463" fmla="*/ 127956 w 1034420"/>
                <a:gd name="connsiteY463" fmla="*/ 171234 h 653414"/>
                <a:gd name="connsiteX464" fmla="*/ 125983 w 1034420"/>
                <a:gd name="connsiteY464" fmla="*/ 178832 h 653414"/>
                <a:gd name="connsiteX465" fmla="*/ 127956 w 1034420"/>
                <a:gd name="connsiteY465" fmla="*/ 184901 h 653414"/>
                <a:gd name="connsiteX466" fmla="*/ 135851 w 1034420"/>
                <a:gd name="connsiteY466" fmla="*/ 189440 h 653414"/>
                <a:gd name="connsiteX467" fmla="*/ 137775 w 1034420"/>
                <a:gd name="connsiteY467" fmla="*/ 190970 h 653414"/>
                <a:gd name="connsiteX468" fmla="*/ 143696 w 1034420"/>
                <a:gd name="connsiteY468" fmla="*/ 198519 h 653414"/>
                <a:gd name="connsiteX469" fmla="*/ 145669 w 1034420"/>
                <a:gd name="connsiteY469" fmla="*/ 212137 h 653414"/>
                <a:gd name="connsiteX470" fmla="*/ 149567 w 1034420"/>
                <a:gd name="connsiteY470" fmla="*/ 212137 h 653414"/>
                <a:gd name="connsiteX471" fmla="*/ 151541 w 1034420"/>
                <a:gd name="connsiteY471" fmla="*/ 215196 h 653414"/>
                <a:gd name="connsiteX472" fmla="*/ 147643 w 1034420"/>
                <a:gd name="connsiteY472" fmla="*/ 219735 h 653414"/>
                <a:gd name="connsiteX473" fmla="*/ 149567 w 1034420"/>
                <a:gd name="connsiteY473" fmla="*/ 222794 h 653414"/>
                <a:gd name="connsiteX474" fmla="*/ 155488 w 1034420"/>
                <a:gd name="connsiteY474" fmla="*/ 231873 h 653414"/>
                <a:gd name="connsiteX475" fmla="*/ 157462 w 1034420"/>
                <a:gd name="connsiteY475" fmla="*/ 230343 h 653414"/>
                <a:gd name="connsiteX476" fmla="*/ 157462 w 1034420"/>
                <a:gd name="connsiteY476" fmla="*/ 222794 h 653414"/>
                <a:gd name="connsiteX477" fmla="*/ 159435 w 1034420"/>
                <a:gd name="connsiteY477" fmla="*/ 224274 h 653414"/>
                <a:gd name="connsiteX478" fmla="*/ 161360 w 1034420"/>
                <a:gd name="connsiteY478" fmla="*/ 228814 h 653414"/>
                <a:gd name="connsiteX479" fmla="*/ 167281 w 1034420"/>
                <a:gd name="connsiteY479" fmla="*/ 234932 h 653414"/>
                <a:gd name="connsiteX480" fmla="*/ 169254 w 1034420"/>
                <a:gd name="connsiteY480" fmla="*/ 245491 h 653414"/>
                <a:gd name="connsiteX481" fmla="*/ 169254 w 1034420"/>
                <a:gd name="connsiteY481" fmla="*/ 259158 h 653414"/>
                <a:gd name="connsiteX482" fmla="*/ 171228 w 1034420"/>
                <a:gd name="connsiteY482" fmla="*/ 262168 h 653414"/>
                <a:gd name="connsiteX483" fmla="*/ 171228 w 1034420"/>
                <a:gd name="connsiteY483" fmla="*/ 268237 h 653414"/>
                <a:gd name="connsiteX484" fmla="*/ 175126 w 1034420"/>
                <a:gd name="connsiteY484" fmla="*/ 271247 h 653414"/>
                <a:gd name="connsiteX485" fmla="*/ 175126 w 1034420"/>
                <a:gd name="connsiteY485" fmla="*/ 275736 h 653414"/>
                <a:gd name="connsiteX486" fmla="*/ 179073 w 1034420"/>
                <a:gd name="connsiteY486" fmla="*/ 278746 h 653414"/>
                <a:gd name="connsiteX487" fmla="*/ 179073 w 1034420"/>
                <a:gd name="connsiteY487" fmla="*/ 283286 h 653414"/>
                <a:gd name="connsiteX488" fmla="*/ 177099 w 1034420"/>
                <a:gd name="connsiteY488" fmla="*/ 287825 h 653414"/>
                <a:gd name="connsiteX489" fmla="*/ 183020 w 1034420"/>
                <a:gd name="connsiteY489" fmla="*/ 293894 h 653414"/>
                <a:gd name="connsiteX490" fmla="*/ 183020 w 1034420"/>
                <a:gd name="connsiteY490" fmla="*/ 299962 h 653414"/>
                <a:gd name="connsiteX491" fmla="*/ 179073 w 1034420"/>
                <a:gd name="connsiteY491" fmla="*/ 307512 h 653414"/>
                <a:gd name="connsiteX492" fmla="*/ 179073 w 1034420"/>
                <a:gd name="connsiteY492" fmla="*/ 310571 h 653414"/>
                <a:gd name="connsiteX493" fmla="*/ 184944 w 1034420"/>
                <a:gd name="connsiteY493" fmla="*/ 316639 h 653414"/>
                <a:gd name="connsiteX494" fmla="*/ 190865 w 1034420"/>
                <a:gd name="connsiteY494" fmla="*/ 321179 h 653414"/>
                <a:gd name="connsiteX495" fmla="*/ 190865 w 1034420"/>
                <a:gd name="connsiteY495" fmla="*/ 324189 h 653414"/>
                <a:gd name="connsiteX496" fmla="*/ 194813 w 1034420"/>
                <a:gd name="connsiteY496" fmla="*/ 322659 h 653414"/>
                <a:gd name="connsiteX497" fmla="*/ 194813 w 1034420"/>
                <a:gd name="connsiteY497" fmla="*/ 318169 h 653414"/>
                <a:gd name="connsiteX498" fmla="*/ 196934 w 1034420"/>
                <a:gd name="connsiteY498" fmla="*/ 318169 h 653414"/>
                <a:gd name="connsiteX499" fmla="*/ 198908 w 1034420"/>
                <a:gd name="connsiteY499" fmla="*/ 319649 h 653414"/>
                <a:gd name="connsiteX500" fmla="*/ 204829 w 1034420"/>
                <a:gd name="connsiteY500" fmla="*/ 322659 h 653414"/>
                <a:gd name="connsiteX501" fmla="*/ 206802 w 1034420"/>
                <a:gd name="connsiteY501" fmla="*/ 327198 h 653414"/>
                <a:gd name="connsiteX502" fmla="*/ 212674 w 1034420"/>
                <a:gd name="connsiteY502" fmla="*/ 328728 h 653414"/>
                <a:gd name="connsiteX503" fmla="*/ 214647 w 1034420"/>
                <a:gd name="connsiteY503" fmla="*/ 336326 h 653414"/>
                <a:gd name="connsiteX504" fmla="*/ 218545 w 1034420"/>
                <a:gd name="connsiteY504" fmla="*/ 339336 h 653414"/>
                <a:gd name="connsiteX505" fmla="*/ 220519 w 1034420"/>
                <a:gd name="connsiteY505" fmla="*/ 343925 h 653414"/>
                <a:gd name="connsiteX506" fmla="*/ 224466 w 1034420"/>
                <a:gd name="connsiteY506" fmla="*/ 346934 h 653414"/>
                <a:gd name="connsiteX507" fmla="*/ 222492 w 1034420"/>
                <a:gd name="connsiteY507" fmla="*/ 353003 h 653414"/>
                <a:gd name="connsiteX508" fmla="*/ 216670 w 1034420"/>
                <a:gd name="connsiteY508" fmla="*/ 363661 h 653414"/>
                <a:gd name="connsiteX509" fmla="*/ 206802 w 1034420"/>
                <a:gd name="connsiteY509" fmla="*/ 366671 h 653414"/>
                <a:gd name="connsiteX510" fmla="*/ 202855 w 1034420"/>
                <a:gd name="connsiteY510" fmla="*/ 366671 h 653414"/>
                <a:gd name="connsiteX511" fmla="*/ 196934 w 1034420"/>
                <a:gd name="connsiteY511" fmla="*/ 360651 h 653414"/>
                <a:gd name="connsiteX512" fmla="*/ 196934 w 1034420"/>
                <a:gd name="connsiteY512" fmla="*/ 354681 h 653414"/>
                <a:gd name="connsiteX513" fmla="*/ 193036 w 1034420"/>
                <a:gd name="connsiteY513" fmla="*/ 351671 h 653414"/>
                <a:gd name="connsiteX514" fmla="*/ 193036 w 1034420"/>
                <a:gd name="connsiteY514" fmla="*/ 344122 h 653414"/>
                <a:gd name="connsiteX515" fmla="*/ 189089 w 1034420"/>
                <a:gd name="connsiteY515" fmla="*/ 339533 h 653414"/>
                <a:gd name="connsiteX516" fmla="*/ 183218 w 1034420"/>
                <a:gd name="connsiteY516" fmla="*/ 339533 h 653414"/>
                <a:gd name="connsiteX517" fmla="*/ 177297 w 1034420"/>
                <a:gd name="connsiteY517" fmla="*/ 331985 h 653414"/>
                <a:gd name="connsiteX518" fmla="*/ 175323 w 1034420"/>
                <a:gd name="connsiteY518" fmla="*/ 328925 h 653414"/>
                <a:gd name="connsiteX519" fmla="*/ 169452 w 1034420"/>
                <a:gd name="connsiteY519" fmla="*/ 327396 h 653414"/>
                <a:gd name="connsiteX520" fmla="*/ 153712 w 1034420"/>
                <a:gd name="connsiteY520" fmla="*/ 313778 h 653414"/>
                <a:gd name="connsiteX521" fmla="*/ 149765 w 1034420"/>
                <a:gd name="connsiteY521" fmla="*/ 307709 h 653414"/>
                <a:gd name="connsiteX522" fmla="*/ 143893 w 1034420"/>
                <a:gd name="connsiteY522" fmla="*/ 304699 h 653414"/>
                <a:gd name="connsiteX523" fmla="*/ 141920 w 1034420"/>
                <a:gd name="connsiteY523" fmla="*/ 301689 h 653414"/>
                <a:gd name="connsiteX524" fmla="*/ 137726 w 1034420"/>
                <a:gd name="connsiteY524" fmla="*/ 301689 h 653414"/>
                <a:gd name="connsiteX525" fmla="*/ 129881 w 1034420"/>
                <a:gd name="connsiteY525" fmla="*/ 297101 h 653414"/>
                <a:gd name="connsiteX526" fmla="*/ 127907 w 1034420"/>
                <a:gd name="connsiteY526" fmla="*/ 292561 h 653414"/>
                <a:gd name="connsiteX527" fmla="*/ 135801 w 1034420"/>
                <a:gd name="connsiteY527" fmla="*/ 283483 h 653414"/>
                <a:gd name="connsiteX528" fmla="*/ 137726 w 1034420"/>
                <a:gd name="connsiteY528" fmla="*/ 272875 h 653414"/>
                <a:gd name="connsiteX529" fmla="*/ 137726 w 1034420"/>
                <a:gd name="connsiteY529" fmla="*/ 260786 h 653414"/>
                <a:gd name="connsiteX530" fmla="*/ 133828 w 1034420"/>
                <a:gd name="connsiteY530" fmla="*/ 248649 h 653414"/>
                <a:gd name="connsiteX531" fmla="*/ 127907 w 1034420"/>
                <a:gd name="connsiteY531" fmla="*/ 244060 h 653414"/>
                <a:gd name="connsiteX532" fmla="*/ 124009 w 1034420"/>
                <a:gd name="connsiteY532" fmla="*/ 245589 h 653414"/>
                <a:gd name="connsiteX533" fmla="*/ 120062 w 1034420"/>
                <a:gd name="connsiteY533" fmla="*/ 242580 h 653414"/>
                <a:gd name="connsiteX534" fmla="*/ 108122 w 1034420"/>
                <a:gd name="connsiteY534" fmla="*/ 233353 h 653414"/>
                <a:gd name="connsiteX535" fmla="*/ 106148 w 1034420"/>
                <a:gd name="connsiteY535" fmla="*/ 222745 h 653414"/>
                <a:gd name="connsiteX536" fmla="*/ 108122 w 1034420"/>
                <a:gd name="connsiteY536" fmla="*/ 218206 h 653414"/>
                <a:gd name="connsiteX537" fmla="*/ 106148 w 1034420"/>
                <a:gd name="connsiteY537" fmla="*/ 216676 h 653414"/>
                <a:gd name="connsiteX538" fmla="*/ 100276 w 1034420"/>
                <a:gd name="connsiteY538" fmla="*/ 222745 h 653414"/>
                <a:gd name="connsiteX539" fmla="*/ 92382 w 1034420"/>
                <a:gd name="connsiteY539" fmla="*/ 222745 h 653414"/>
                <a:gd name="connsiteX540" fmla="*/ 88484 w 1034420"/>
                <a:gd name="connsiteY540" fmla="*/ 225755 h 653414"/>
                <a:gd name="connsiteX541" fmla="*/ 86510 w 1034420"/>
                <a:gd name="connsiteY541" fmla="*/ 221215 h 653414"/>
                <a:gd name="connsiteX542" fmla="*/ 88484 w 1034420"/>
                <a:gd name="connsiteY542" fmla="*/ 218206 h 653414"/>
                <a:gd name="connsiteX543" fmla="*/ 82563 w 1034420"/>
                <a:gd name="connsiteY543" fmla="*/ 216676 h 653414"/>
                <a:gd name="connsiteX544" fmla="*/ 78665 w 1034420"/>
                <a:gd name="connsiteY544" fmla="*/ 218206 h 653414"/>
                <a:gd name="connsiteX545" fmla="*/ 78665 w 1034420"/>
                <a:gd name="connsiteY545" fmla="*/ 215146 h 653414"/>
                <a:gd name="connsiteX546" fmla="*/ 70771 w 1034420"/>
                <a:gd name="connsiteY546" fmla="*/ 212087 h 653414"/>
                <a:gd name="connsiteX547" fmla="*/ 64899 w 1034420"/>
                <a:gd name="connsiteY547" fmla="*/ 209078 h 653414"/>
                <a:gd name="connsiteX548" fmla="*/ 58979 w 1034420"/>
                <a:gd name="connsiteY548" fmla="*/ 204538 h 653414"/>
                <a:gd name="connsiteX549" fmla="*/ 58979 w 1034420"/>
                <a:gd name="connsiteY549" fmla="*/ 196792 h 653414"/>
                <a:gd name="connsiteX550" fmla="*/ 53107 w 1034420"/>
                <a:gd name="connsiteY550" fmla="*/ 195312 h 653414"/>
                <a:gd name="connsiteX551" fmla="*/ 45213 w 1034420"/>
                <a:gd name="connsiteY551" fmla="*/ 187713 h 653414"/>
                <a:gd name="connsiteX552" fmla="*/ 47186 w 1034420"/>
                <a:gd name="connsiteY552" fmla="*/ 186184 h 653414"/>
                <a:gd name="connsiteX553" fmla="*/ 57054 w 1034420"/>
                <a:gd name="connsiteY553" fmla="*/ 184703 h 653414"/>
                <a:gd name="connsiteX554" fmla="*/ 61002 w 1034420"/>
                <a:gd name="connsiteY554" fmla="*/ 186184 h 653414"/>
                <a:gd name="connsiteX555" fmla="*/ 72794 w 1034420"/>
                <a:gd name="connsiteY555" fmla="*/ 187713 h 653414"/>
                <a:gd name="connsiteX556" fmla="*/ 76741 w 1034420"/>
                <a:gd name="connsiteY556" fmla="*/ 190772 h 653414"/>
                <a:gd name="connsiteX557" fmla="*/ 78715 w 1034420"/>
                <a:gd name="connsiteY557" fmla="*/ 187713 h 653414"/>
                <a:gd name="connsiteX558" fmla="*/ 80639 w 1034420"/>
                <a:gd name="connsiteY558" fmla="*/ 183174 h 653414"/>
                <a:gd name="connsiteX559" fmla="*/ 74767 w 1034420"/>
                <a:gd name="connsiteY559" fmla="*/ 183174 h 653414"/>
                <a:gd name="connsiteX560" fmla="*/ 74767 w 1034420"/>
                <a:gd name="connsiteY560" fmla="*/ 181990 h 653414"/>
                <a:gd name="connsiteX561" fmla="*/ 76741 w 1034420"/>
                <a:gd name="connsiteY561" fmla="*/ 178980 h 653414"/>
                <a:gd name="connsiteX562" fmla="*/ 80639 w 1034420"/>
                <a:gd name="connsiteY562" fmla="*/ 180510 h 653414"/>
                <a:gd name="connsiteX563" fmla="*/ 82612 w 1034420"/>
                <a:gd name="connsiteY563" fmla="*/ 175970 h 653414"/>
                <a:gd name="connsiteX564" fmla="*/ 80639 w 1034420"/>
                <a:gd name="connsiteY564" fmla="*/ 171381 h 653414"/>
                <a:gd name="connsiteX565" fmla="*/ 80639 w 1034420"/>
                <a:gd name="connsiteY565" fmla="*/ 168372 h 653414"/>
                <a:gd name="connsiteX566" fmla="*/ 84586 w 1034420"/>
                <a:gd name="connsiteY566" fmla="*/ 163833 h 653414"/>
                <a:gd name="connsiteX567" fmla="*/ 80639 w 1034420"/>
                <a:gd name="connsiteY567" fmla="*/ 156234 h 653414"/>
                <a:gd name="connsiteX568" fmla="*/ 76741 w 1034420"/>
                <a:gd name="connsiteY568" fmla="*/ 156234 h 653414"/>
                <a:gd name="connsiteX569" fmla="*/ 74767 w 1034420"/>
                <a:gd name="connsiteY569" fmla="*/ 145626 h 653414"/>
                <a:gd name="connsiteX570" fmla="*/ 64899 w 1034420"/>
                <a:gd name="connsiteY570" fmla="*/ 138077 h 653414"/>
                <a:gd name="connsiteX571" fmla="*/ 64899 w 1034420"/>
                <a:gd name="connsiteY571" fmla="*/ 133537 h 653414"/>
                <a:gd name="connsiteX572" fmla="*/ 57005 w 1034420"/>
                <a:gd name="connsiteY572" fmla="*/ 127469 h 653414"/>
                <a:gd name="connsiteX573" fmla="*/ 47137 w 1034420"/>
                <a:gd name="connsiteY573" fmla="*/ 118341 h 653414"/>
                <a:gd name="connsiteX574" fmla="*/ 43239 w 1034420"/>
                <a:gd name="connsiteY574" fmla="*/ 118341 h 653414"/>
                <a:gd name="connsiteX575" fmla="*/ 37318 w 1034420"/>
                <a:gd name="connsiteY575" fmla="*/ 113801 h 653414"/>
                <a:gd name="connsiteX576" fmla="*/ 35344 w 1034420"/>
                <a:gd name="connsiteY576" fmla="*/ 106252 h 653414"/>
                <a:gd name="connsiteX577" fmla="*/ 33371 w 1034420"/>
                <a:gd name="connsiteY577" fmla="*/ 94115 h 653414"/>
                <a:gd name="connsiteX578" fmla="*/ 31447 w 1034420"/>
                <a:gd name="connsiteY578" fmla="*/ 91105 h 653414"/>
                <a:gd name="connsiteX579" fmla="*/ 25526 w 1034420"/>
                <a:gd name="connsiteY579" fmla="*/ 88046 h 653414"/>
                <a:gd name="connsiteX580" fmla="*/ 27499 w 1034420"/>
                <a:gd name="connsiteY580" fmla="*/ 82026 h 653414"/>
                <a:gd name="connsiteX581" fmla="*/ 31447 w 1034420"/>
                <a:gd name="connsiteY581" fmla="*/ 78967 h 653414"/>
                <a:gd name="connsiteX582" fmla="*/ 27499 w 1034420"/>
                <a:gd name="connsiteY582" fmla="*/ 74428 h 653414"/>
                <a:gd name="connsiteX583" fmla="*/ 21578 w 1034420"/>
                <a:gd name="connsiteY583" fmla="*/ 66879 h 653414"/>
                <a:gd name="connsiteX584" fmla="*/ 19654 w 1034420"/>
                <a:gd name="connsiteY584" fmla="*/ 63820 h 653414"/>
                <a:gd name="connsiteX585" fmla="*/ 21578 w 1034420"/>
                <a:gd name="connsiteY585" fmla="*/ 60760 h 653414"/>
                <a:gd name="connsiteX586" fmla="*/ 21578 w 1034420"/>
                <a:gd name="connsiteY586" fmla="*/ 57751 h 653414"/>
                <a:gd name="connsiteX587" fmla="*/ 11710 w 1034420"/>
                <a:gd name="connsiteY587" fmla="*/ 48672 h 653414"/>
                <a:gd name="connsiteX588" fmla="*/ 9737 w 1034420"/>
                <a:gd name="connsiteY588" fmla="*/ 41074 h 653414"/>
                <a:gd name="connsiteX589" fmla="*/ 11710 w 1034420"/>
                <a:gd name="connsiteY589" fmla="*/ 36534 h 653414"/>
                <a:gd name="connsiteX590" fmla="*/ 13684 w 1034420"/>
                <a:gd name="connsiteY590" fmla="*/ 35054 h 653414"/>
                <a:gd name="connsiteX591" fmla="*/ 9737 w 1034420"/>
                <a:gd name="connsiteY591" fmla="*/ 31995 h 653414"/>
                <a:gd name="connsiteX592" fmla="*/ 5839 w 1034420"/>
                <a:gd name="connsiteY592" fmla="*/ 24446 h 653414"/>
                <a:gd name="connsiteX593" fmla="*/ 1892 w 1034420"/>
                <a:gd name="connsiteY593" fmla="*/ 9298 h 653414"/>
                <a:gd name="connsiteX594" fmla="*/ -82 w 1034420"/>
                <a:gd name="connsiteY594" fmla="*/ 1700 h 653414"/>
                <a:gd name="connsiteX595" fmla="*/ 187066 w 1034420"/>
                <a:gd name="connsiteY595" fmla="*/ 296953 h 653414"/>
                <a:gd name="connsiteX596" fmla="*/ 191013 w 1034420"/>
                <a:gd name="connsiteY596" fmla="*/ 295473 h 653414"/>
                <a:gd name="connsiteX597" fmla="*/ 189040 w 1034420"/>
                <a:gd name="connsiteY597" fmla="*/ 290933 h 653414"/>
                <a:gd name="connsiteX598" fmla="*/ 185092 w 1034420"/>
                <a:gd name="connsiteY598" fmla="*/ 286345 h 653414"/>
                <a:gd name="connsiteX599" fmla="*/ 185092 w 1034420"/>
                <a:gd name="connsiteY599" fmla="*/ 290933 h 653414"/>
                <a:gd name="connsiteX600" fmla="*/ 187066 w 1034420"/>
                <a:gd name="connsiteY600" fmla="*/ 296953 h 653414"/>
                <a:gd name="connsiteX601" fmla="*/ 192987 w 1034420"/>
                <a:gd name="connsiteY601" fmla="*/ 310620 h 653414"/>
                <a:gd name="connsiteX602" fmla="*/ 192987 w 1034420"/>
                <a:gd name="connsiteY602" fmla="*/ 315209 h 653414"/>
                <a:gd name="connsiteX603" fmla="*/ 196934 w 1034420"/>
                <a:gd name="connsiteY603" fmla="*/ 315209 h 653414"/>
                <a:gd name="connsiteX604" fmla="*/ 196934 w 1034420"/>
                <a:gd name="connsiteY604" fmla="*/ 312150 h 653414"/>
                <a:gd name="connsiteX605" fmla="*/ 193036 w 1034420"/>
                <a:gd name="connsiteY605" fmla="*/ 310669 h 653414"/>
                <a:gd name="connsiteX606" fmla="*/ 656786 w 1034420"/>
                <a:gd name="connsiteY606" fmla="*/ 301541 h 653414"/>
                <a:gd name="connsiteX607" fmla="*/ 658760 w 1034420"/>
                <a:gd name="connsiteY607" fmla="*/ 300012 h 653414"/>
                <a:gd name="connsiteX608" fmla="*/ 658760 w 1034420"/>
                <a:gd name="connsiteY608" fmla="*/ 296953 h 653414"/>
                <a:gd name="connsiteX609" fmla="*/ 656786 w 1034420"/>
                <a:gd name="connsiteY609" fmla="*/ 296953 h 653414"/>
                <a:gd name="connsiteX610" fmla="*/ 656786 w 1034420"/>
                <a:gd name="connsiteY610" fmla="*/ 301541 h 653414"/>
                <a:gd name="connsiteX611" fmla="*/ 654813 w 1034420"/>
                <a:gd name="connsiteY611" fmla="*/ 310620 h 653414"/>
                <a:gd name="connsiteX612" fmla="*/ 656786 w 1034420"/>
                <a:gd name="connsiteY612" fmla="*/ 310620 h 653414"/>
                <a:gd name="connsiteX613" fmla="*/ 658760 w 1034420"/>
                <a:gd name="connsiteY613" fmla="*/ 304551 h 653414"/>
                <a:gd name="connsiteX614" fmla="*/ 656786 w 1034420"/>
                <a:gd name="connsiteY614" fmla="*/ 304551 h 653414"/>
                <a:gd name="connsiteX615" fmla="*/ 654813 w 1034420"/>
                <a:gd name="connsiteY615" fmla="*/ 310620 h 653414"/>
                <a:gd name="connsiteX616" fmla="*/ 650865 w 1034420"/>
                <a:gd name="connsiteY616" fmla="*/ 322708 h 653414"/>
                <a:gd name="connsiteX617" fmla="*/ 654813 w 1034420"/>
                <a:gd name="connsiteY617" fmla="*/ 318218 h 653414"/>
                <a:gd name="connsiteX618" fmla="*/ 654813 w 1034420"/>
                <a:gd name="connsiteY618" fmla="*/ 313630 h 65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</a:cxnLst>
              <a:rect l="l" t="t" r="r" b="b"/>
              <a:pathLst>
                <a:path w="1034420" h="653414">
                  <a:moveTo>
                    <a:pt x="214" y="1503"/>
                  </a:moveTo>
                  <a:lnTo>
                    <a:pt x="86708" y="-27"/>
                  </a:lnTo>
                  <a:lnTo>
                    <a:pt x="88681" y="2983"/>
                  </a:lnTo>
                  <a:lnTo>
                    <a:pt x="86708" y="4513"/>
                  </a:lnTo>
                  <a:lnTo>
                    <a:pt x="210503" y="53014"/>
                  </a:lnTo>
                  <a:lnTo>
                    <a:pt x="314660" y="56024"/>
                  </a:lnTo>
                  <a:lnTo>
                    <a:pt x="314660" y="45416"/>
                  </a:lnTo>
                  <a:lnTo>
                    <a:pt x="373622" y="46945"/>
                  </a:lnTo>
                  <a:lnTo>
                    <a:pt x="379543" y="50004"/>
                  </a:lnTo>
                  <a:lnTo>
                    <a:pt x="385414" y="56024"/>
                  </a:lnTo>
                  <a:lnTo>
                    <a:pt x="387388" y="59083"/>
                  </a:lnTo>
                  <a:lnTo>
                    <a:pt x="389361" y="62093"/>
                  </a:lnTo>
                  <a:lnTo>
                    <a:pt x="393309" y="62093"/>
                  </a:lnTo>
                  <a:lnTo>
                    <a:pt x="395233" y="66681"/>
                  </a:lnTo>
                  <a:lnTo>
                    <a:pt x="395233" y="71171"/>
                  </a:lnTo>
                  <a:lnTo>
                    <a:pt x="399180" y="72701"/>
                  </a:lnTo>
                  <a:lnTo>
                    <a:pt x="405101" y="75760"/>
                  </a:lnTo>
                  <a:lnTo>
                    <a:pt x="405101" y="78770"/>
                  </a:lnTo>
                  <a:lnTo>
                    <a:pt x="403127" y="80299"/>
                  </a:lnTo>
                  <a:lnTo>
                    <a:pt x="408999" y="81829"/>
                  </a:lnTo>
                  <a:lnTo>
                    <a:pt x="412946" y="84839"/>
                  </a:lnTo>
                  <a:lnTo>
                    <a:pt x="416893" y="89378"/>
                  </a:lnTo>
                  <a:lnTo>
                    <a:pt x="416893" y="96976"/>
                  </a:lnTo>
                  <a:lnTo>
                    <a:pt x="418818" y="98457"/>
                  </a:lnTo>
                  <a:lnTo>
                    <a:pt x="420791" y="99986"/>
                  </a:lnTo>
                  <a:lnTo>
                    <a:pt x="422765" y="101466"/>
                  </a:lnTo>
                  <a:lnTo>
                    <a:pt x="426712" y="104525"/>
                  </a:lnTo>
                  <a:lnTo>
                    <a:pt x="426712" y="109065"/>
                  </a:lnTo>
                  <a:lnTo>
                    <a:pt x="424738" y="110594"/>
                  </a:lnTo>
                  <a:lnTo>
                    <a:pt x="420791" y="110594"/>
                  </a:lnTo>
                  <a:lnTo>
                    <a:pt x="420791" y="113604"/>
                  </a:lnTo>
                  <a:lnTo>
                    <a:pt x="426712" y="119673"/>
                  </a:lnTo>
                  <a:lnTo>
                    <a:pt x="432584" y="125742"/>
                  </a:lnTo>
                  <a:lnTo>
                    <a:pt x="432584" y="131811"/>
                  </a:lnTo>
                  <a:lnTo>
                    <a:pt x="434557" y="131811"/>
                  </a:lnTo>
                  <a:lnTo>
                    <a:pt x="438505" y="133340"/>
                  </a:lnTo>
                  <a:lnTo>
                    <a:pt x="442402" y="133340"/>
                  </a:lnTo>
                  <a:lnTo>
                    <a:pt x="444376" y="134870"/>
                  </a:lnTo>
                  <a:lnTo>
                    <a:pt x="446350" y="136350"/>
                  </a:lnTo>
                  <a:lnTo>
                    <a:pt x="446350" y="137879"/>
                  </a:lnTo>
                  <a:lnTo>
                    <a:pt x="448323" y="140889"/>
                  </a:lnTo>
                  <a:lnTo>
                    <a:pt x="452221" y="140889"/>
                  </a:lnTo>
                  <a:lnTo>
                    <a:pt x="460116" y="143899"/>
                  </a:lnTo>
                  <a:lnTo>
                    <a:pt x="460116" y="145429"/>
                  </a:lnTo>
                  <a:lnTo>
                    <a:pt x="465987" y="146958"/>
                  </a:lnTo>
                  <a:lnTo>
                    <a:pt x="475855" y="151497"/>
                  </a:lnTo>
                  <a:lnTo>
                    <a:pt x="477829" y="153027"/>
                  </a:lnTo>
                  <a:lnTo>
                    <a:pt x="479802" y="154556"/>
                  </a:lnTo>
                  <a:lnTo>
                    <a:pt x="483750" y="153027"/>
                  </a:lnTo>
                  <a:lnTo>
                    <a:pt x="483750" y="151497"/>
                  </a:lnTo>
                  <a:lnTo>
                    <a:pt x="489621" y="146958"/>
                  </a:lnTo>
                  <a:lnTo>
                    <a:pt x="491595" y="145429"/>
                  </a:lnTo>
                  <a:lnTo>
                    <a:pt x="493568" y="142419"/>
                  </a:lnTo>
                  <a:lnTo>
                    <a:pt x="493568" y="140889"/>
                  </a:lnTo>
                  <a:lnTo>
                    <a:pt x="495542" y="137879"/>
                  </a:lnTo>
                  <a:lnTo>
                    <a:pt x="501414" y="130281"/>
                  </a:lnTo>
                  <a:lnTo>
                    <a:pt x="503387" y="127271"/>
                  </a:lnTo>
                  <a:lnTo>
                    <a:pt x="507334" y="125742"/>
                  </a:lnTo>
                  <a:lnTo>
                    <a:pt x="513206" y="127271"/>
                  </a:lnTo>
                  <a:lnTo>
                    <a:pt x="515179" y="127271"/>
                  </a:lnTo>
                  <a:lnTo>
                    <a:pt x="517153" y="124212"/>
                  </a:lnTo>
                  <a:lnTo>
                    <a:pt x="536889" y="124212"/>
                  </a:lnTo>
                  <a:lnTo>
                    <a:pt x="538863" y="125742"/>
                  </a:lnTo>
                  <a:lnTo>
                    <a:pt x="540836" y="127271"/>
                  </a:lnTo>
                  <a:lnTo>
                    <a:pt x="546708" y="125742"/>
                  </a:lnTo>
                  <a:lnTo>
                    <a:pt x="550655" y="128752"/>
                  </a:lnTo>
                  <a:lnTo>
                    <a:pt x="554602" y="131811"/>
                  </a:lnTo>
                  <a:lnTo>
                    <a:pt x="560474" y="137879"/>
                  </a:lnTo>
                  <a:lnTo>
                    <a:pt x="566395" y="143899"/>
                  </a:lnTo>
                  <a:lnTo>
                    <a:pt x="568368" y="151497"/>
                  </a:lnTo>
                  <a:lnTo>
                    <a:pt x="570292" y="154556"/>
                  </a:lnTo>
                  <a:lnTo>
                    <a:pt x="572266" y="159046"/>
                  </a:lnTo>
                  <a:lnTo>
                    <a:pt x="572266" y="165165"/>
                  </a:lnTo>
                  <a:lnTo>
                    <a:pt x="576213" y="166645"/>
                  </a:lnTo>
                  <a:lnTo>
                    <a:pt x="580161" y="171184"/>
                  </a:lnTo>
                  <a:lnTo>
                    <a:pt x="584059" y="183322"/>
                  </a:lnTo>
                  <a:lnTo>
                    <a:pt x="586032" y="184852"/>
                  </a:lnTo>
                  <a:lnTo>
                    <a:pt x="588006" y="187861"/>
                  </a:lnTo>
                  <a:lnTo>
                    <a:pt x="593877" y="190920"/>
                  </a:lnTo>
                  <a:lnTo>
                    <a:pt x="593877" y="196792"/>
                  </a:lnTo>
                  <a:lnTo>
                    <a:pt x="597824" y="202861"/>
                  </a:lnTo>
                  <a:lnTo>
                    <a:pt x="603696" y="207449"/>
                  </a:lnTo>
                  <a:lnTo>
                    <a:pt x="603696" y="213469"/>
                  </a:lnTo>
                  <a:lnTo>
                    <a:pt x="601772" y="218058"/>
                  </a:lnTo>
                  <a:lnTo>
                    <a:pt x="601772" y="219538"/>
                  </a:lnTo>
                  <a:lnTo>
                    <a:pt x="603696" y="221067"/>
                  </a:lnTo>
                  <a:lnTo>
                    <a:pt x="609617" y="240803"/>
                  </a:lnTo>
                  <a:lnTo>
                    <a:pt x="609617" y="248402"/>
                  </a:lnTo>
                  <a:lnTo>
                    <a:pt x="613564" y="249931"/>
                  </a:lnTo>
                  <a:lnTo>
                    <a:pt x="615488" y="251412"/>
                  </a:lnTo>
                  <a:lnTo>
                    <a:pt x="619436" y="252941"/>
                  </a:lnTo>
                  <a:lnTo>
                    <a:pt x="623383" y="252941"/>
                  </a:lnTo>
                  <a:lnTo>
                    <a:pt x="627330" y="255951"/>
                  </a:lnTo>
                  <a:lnTo>
                    <a:pt x="633201" y="260539"/>
                  </a:lnTo>
                  <a:lnTo>
                    <a:pt x="644994" y="263549"/>
                  </a:lnTo>
                  <a:lnTo>
                    <a:pt x="652839" y="266559"/>
                  </a:lnTo>
                  <a:lnTo>
                    <a:pt x="658760" y="268089"/>
                  </a:lnTo>
                  <a:lnTo>
                    <a:pt x="660733" y="271098"/>
                  </a:lnTo>
                  <a:lnTo>
                    <a:pt x="664631" y="272628"/>
                  </a:lnTo>
                  <a:lnTo>
                    <a:pt x="662658" y="277167"/>
                  </a:lnTo>
                  <a:lnTo>
                    <a:pt x="668579" y="272628"/>
                  </a:lnTo>
                  <a:lnTo>
                    <a:pt x="670552" y="265079"/>
                  </a:lnTo>
                  <a:lnTo>
                    <a:pt x="674450" y="262020"/>
                  </a:lnTo>
                  <a:lnTo>
                    <a:pt x="674450" y="265079"/>
                  </a:lnTo>
                  <a:lnTo>
                    <a:pt x="672526" y="272628"/>
                  </a:lnTo>
                  <a:lnTo>
                    <a:pt x="670552" y="274157"/>
                  </a:lnTo>
                  <a:lnTo>
                    <a:pt x="668579" y="283236"/>
                  </a:lnTo>
                  <a:lnTo>
                    <a:pt x="662658" y="289305"/>
                  </a:lnTo>
                  <a:lnTo>
                    <a:pt x="662658" y="293844"/>
                  </a:lnTo>
                  <a:lnTo>
                    <a:pt x="658760" y="293844"/>
                  </a:lnTo>
                  <a:lnTo>
                    <a:pt x="658760" y="290835"/>
                  </a:lnTo>
                  <a:lnTo>
                    <a:pt x="660733" y="286246"/>
                  </a:lnTo>
                  <a:lnTo>
                    <a:pt x="654813" y="286246"/>
                  </a:lnTo>
                  <a:lnTo>
                    <a:pt x="654813" y="293844"/>
                  </a:lnTo>
                  <a:lnTo>
                    <a:pt x="650865" y="298384"/>
                  </a:lnTo>
                  <a:lnTo>
                    <a:pt x="654813" y="301443"/>
                  </a:lnTo>
                  <a:lnTo>
                    <a:pt x="652839" y="304453"/>
                  </a:lnTo>
                  <a:lnTo>
                    <a:pt x="650865" y="313531"/>
                  </a:lnTo>
                  <a:lnTo>
                    <a:pt x="644994" y="316590"/>
                  </a:lnTo>
                  <a:lnTo>
                    <a:pt x="644994" y="322610"/>
                  </a:lnTo>
                  <a:lnTo>
                    <a:pt x="648941" y="325669"/>
                  </a:lnTo>
                  <a:lnTo>
                    <a:pt x="644994" y="330208"/>
                  </a:lnTo>
                  <a:lnTo>
                    <a:pt x="644994" y="336277"/>
                  </a:lnTo>
                  <a:lnTo>
                    <a:pt x="643020" y="349895"/>
                  </a:lnTo>
                  <a:lnTo>
                    <a:pt x="643020" y="374417"/>
                  </a:lnTo>
                  <a:lnTo>
                    <a:pt x="637149" y="380436"/>
                  </a:lnTo>
                  <a:lnTo>
                    <a:pt x="639073" y="386555"/>
                  </a:lnTo>
                  <a:lnTo>
                    <a:pt x="641047" y="397114"/>
                  </a:lnTo>
                  <a:lnTo>
                    <a:pt x="639073" y="404712"/>
                  </a:lnTo>
                  <a:lnTo>
                    <a:pt x="650865" y="418379"/>
                  </a:lnTo>
                  <a:lnTo>
                    <a:pt x="650865" y="425928"/>
                  </a:lnTo>
                  <a:lnTo>
                    <a:pt x="648941" y="427409"/>
                  </a:lnTo>
                  <a:lnTo>
                    <a:pt x="644994" y="418379"/>
                  </a:lnTo>
                  <a:lnTo>
                    <a:pt x="637149" y="407722"/>
                  </a:lnTo>
                  <a:lnTo>
                    <a:pt x="637149" y="415320"/>
                  </a:lnTo>
                  <a:lnTo>
                    <a:pt x="643020" y="419860"/>
                  </a:lnTo>
                  <a:lnTo>
                    <a:pt x="648941" y="431997"/>
                  </a:lnTo>
                  <a:lnTo>
                    <a:pt x="648941" y="435007"/>
                  </a:lnTo>
                  <a:lnTo>
                    <a:pt x="644994" y="441076"/>
                  </a:lnTo>
                  <a:lnTo>
                    <a:pt x="650865" y="445615"/>
                  </a:lnTo>
                  <a:lnTo>
                    <a:pt x="652839" y="451684"/>
                  </a:lnTo>
                  <a:lnTo>
                    <a:pt x="670552" y="469841"/>
                  </a:lnTo>
                  <a:lnTo>
                    <a:pt x="674450" y="477440"/>
                  </a:lnTo>
                  <a:lnTo>
                    <a:pt x="682345" y="485038"/>
                  </a:lnTo>
                  <a:lnTo>
                    <a:pt x="682345" y="489578"/>
                  </a:lnTo>
                  <a:lnTo>
                    <a:pt x="684318" y="495597"/>
                  </a:lnTo>
                  <a:lnTo>
                    <a:pt x="698035" y="509264"/>
                  </a:lnTo>
                  <a:lnTo>
                    <a:pt x="701982" y="513804"/>
                  </a:lnTo>
                  <a:lnTo>
                    <a:pt x="705929" y="512274"/>
                  </a:lnTo>
                  <a:lnTo>
                    <a:pt x="717721" y="513804"/>
                  </a:lnTo>
                  <a:lnTo>
                    <a:pt x="719695" y="515333"/>
                  </a:lnTo>
                  <a:lnTo>
                    <a:pt x="729563" y="519872"/>
                  </a:lnTo>
                  <a:lnTo>
                    <a:pt x="737408" y="529000"/>
                  </a:lnTo>
                  <a:lnTo>
                    <a:pt x="739382" y="536549"/>
                  </a:lnTo>
                  <a:lnTo>
                    <a:pt x="747227" y="533490"/>
                  </a:lnTo>
                  <a:lnTo>
                    <a:pt x="760993" y="532010"/>
                  </a:lnTo>
                  <a:lnTo>
                    <a:pt x="764940" y="535020"/>
                  </a:lnTo>
                  <a:lnTo>
                    <a:pt x="768838" y="535020"/>
                  </a:lnTo>
                  <a:lnTo>
                    <a:pt x="782604" y="527471"/>
                  </a:lnTo>
                  <a:lnTo>
                    <a:pt x="786551" y="525941"/>
                  </a:lnTo>
                  <a:lnTo>
                    <a:pt x="798344" y="524412"/>
                  </a:lnTo>
                  <a:lnTo>
                    <a:pt x="806189" y="524412"/>
                  </a:lnTo>
                  <a:lnTo>
                    <a:pt x="812110" y="519872"/>
                  </a:lnTo>
                  <a:lnTo>
                    <a:pt x="823557" y="519872"/>
                  </a:lnTo>
                  <a:lnTo>
                    <a:pt x="831402" y="521402"/>
                  </a:lnTo>
                  <a:lnTo>
                    <a:pt x="833375" y="518343"/>
                  </a:lnTo>
                  <a:lnTo>
                    <a:pt x="843243" y="519872"/>
                  </a:lnTo>
                  <a:lnTo>
                    <a:pt x="837322" y="522882"/>
                  </a:lnTo>
                  <a:lnTo>
                    <a:pt x="835398" y="527471"/>
                  </a:lnTo>
                  <a:lnTo>
                    <a:pt x="843243" y="530481"/>
                  </a:lnTo>
                  <a:lnTo>
                    <a:pt x="847190" y="533490"/>
                  </a:lnTo>
                  <a:lnTo>
                    <a:pt x="847190" y="530481"/>
                  </a:lnTo>
                  <a:lnTo>
                    <a:pt x="853161" y="530481"/>
                  </a:lnTo>
                  <a:lnTo>
                    <a:pt x="861006" y="522882"/>
                  </a:lnTo>
                  <a:lnTo>
                    <a:pt x="861006" y="513804"/>
                  </a:lnTo>
                  <a:lnTo>
                    <a:pt x="863029" y="507636"/>
                  </a:lnTo>
                  <a:lnTo>
                    <a:pt x="855184" y="512175"/>
                  </a:lnTo>
                  <a:lnTo>
                    <a:pt x="855184" y="510646"/>
                  </a:lnTo>
                  <a:lnTo>
                    <a:pt x="868950" y="504626"/>
                  </a:lnTo>
                  <a:lnTo>
                    <a:pt x="874821" y="503097"/>
                  </a:lnTo>
                  <a:lnTo>
                    <a:pt x="880742" y="495498"/>
                  </a:lnTo>
                  <a:lnTo>
                    <a:pt x="880742" y="484940"/>
                  </a:lnTo>
                  <a:lnTo>
                    <a:pt x="896432" y="472802"/>
                  </a:lnTo>
                  <a:lnTo>
                    <a:pt x="894508" y="471272"/>
                  </a:lnTo>
                  <a:lnTo>
                    <a:pt x="896432" y="451536"/>
                  </a:lnTo>
                  <a:lnTo>
                    <a:pt x="908224" y="439398"/>
                  </a:lnTo>
                  <a:lnTo>
                    <a:pt x="902501" y="439398"/>
                  </a:lnTo>
                  <a:lnTo>
                    <a:pt x="902501" y="433625"/>
                  </a:lnTo>
                  <a:lnTo>
                    <a:pt x="928059" y="429037"/>
                  </a:lnTo>
                  <a:lnTo>
                    <a:pt x="957664" y="429037"/>
                  </a:lnTo>
                  <a:lnTo>
                    <a:pt x="963585" y="422968"/>
                  </a:lnTo>
                  <a:lnTo>
                    <a:pt x="971429" y="422968"/>
                  </a:lnTo>
                  <a:lnTo>
                    <a:pt x="975377" y="424498"/>
                  </a:lnTo>
                  <a:lnTo>
                    <a:pt x="983222" y="421488"/>
                  </a:lnTo>
                  <a:lnTo>
                    <a:pt x="983222" y="418478"/>
                  </a:lnTo>
                  <a:lnTo>
                    <a:pt x="996988" y="418478"/>
                  </a:lnTo>
                  <a:lnTo>
                    <a:pt x="1012678" y="421488"/>
                  </a:lnTo>
                  <a:lnTo>
                    <a:pt x="1016625" y="419958"/>
                  </a:lnTo>
                  <a:lnTo>
                    <a:pt x="1016625" y="416948"/>
                  </a:lnTo>
                  <a:lnTo>
                    <a:pt x="1022546" y="416948"/>
                  </a:lnTo>
                  <a:lnTo>
                    <a:pt x="1034338" y="427507"/>
                  </a:lnTo>
                  <a:lnTo>
                    <a:pt x="1034338" y="433625"/>
                  </a:lnTo>
                  <a:lnTo>
                    <a:pt x="1028418" y="442704"/>
                  </a:lnTo>
                  <a:lnTo>
                    <a:pt x="1020573" y="453263"/>
                  </a:lnTo>
                  <a:lnTo>
                    <a:pt x="1004833" y="466930"/>
                  </a:lnTo>
                  <a:lnTo>
                    <a:pt x="1002860" y="471469"/>
                  </a:lnTo>
                  <a:lnTo>
                    <a:pt x="1000886" y="479068"/>
                  </a:lnTo>
                  <a:lnTo>
                    <a:pt x="995014" y="482078"/>
                  </a:lnTo>
                  <a:lnTo>
                    <a:pt x="993041" y="483607"/>
                  </a:lnTo>
                  <a:lnTo>
                    <a:pt x="996988" y="486666"/>
                  </a:lnTo>
                  <a:lnTo>
                    <a:pt x="1002860" y="486666"/>
                  </a:lnTo>
                  <a:lnTo>
                    <a:pt x="1000886" y="492686"/>
                  </a:lnTo>
                  <a:lnTo>
                    <a:pt x="993041" y="500284"/>
                  </a:lnTo>
                  <a:lnTo>
                    <a:pt x="993041" y="501814"/>
                  </a:lnTo>
                  <a:lnTo>
                    <a:pt x="996988" y="503294"/>
                  </a:lnTo>
                  <a:lnTo>
                    <a:pt x="1000886" y="500284"/>
                  </a:lnTo>
                  <a:lnTo>
                    <a:pt x="1002860" y="500284"/>
                  </a:lnTo>
                  <a:lnTo>
                    <a:pt x="998961" y="504824"/>
                  </a:lnTo>
                  <a:lnTo>
                    <a:pt x="995014" y="524560"/>
                  </a:lnTo>
                  <a:lnTo>
                    <a:pt x="985146" y="533638"/>
                  </a:lnTo>
                  <a:lnTo>
                    <a:pt x="985146" y="535168"/>
                  </a:lnTo>
                  <a:lnTo>
                    <a:pt x="981199" y="530629"/>
                  </a:lnTo>
                  <a:lnTo>
                    <a:pt x="973354" y="526089"/>
                  </a:lnTo>
                  <a:lnTo>
                    <a:pt x="973354" y="524560"/>
                  </a:lnTo>
                  <a:lnTo>
                    <a:pt x="977252" y="521550"/>
                  </a:lnTo>
                  <a:lnTo>
                    <a:pt x="977252" y="513952"/>
                  </a:lnTo>
                  <a:lnTo>
                    <a:pt x="973354" y="515481"/>
                  </a:lnTo>
                  <a:lnTo>
                    <a:pt x="967433" y="524560"/>
                  </a:lnTo>
                  <a:lnTo>
                    <a:pt x="961561" y="529148"/>
                  </a:lnTo>
                  <a:lnTo>
                    <a:pt x="951693" y="529148"/>
                  </a:lnTo>
                  <a:lnTo>
                    <a:pt x="951693" y="532158"/>
                  </a:lnTo>
                  <a:lnTo>
                    <a:pt x="949720" y="536698"/>
                  </a:lnTo>
                  <a:lnTo>
                    <a:pt x="945773" y="541237"/>
                  </a:lnTo>
                  <a:lnTo>
                    <a:pt x="943799" y="542766"/>
                  </a:lnTo>
                  <a:lnTo>
                    <a:pt x="941875" y="542766"/>
                  </a:lnTo>
                  <a:lnTo>
                    <a:pt x="939901" y="545776"/>
                  </a:lnTo>
                  <a:lnTo>
                    <a:pt x="939901" y="545776"/>
                  </a:lnTo>
                  <a:lnTo>
                    <a:pt x="939901" y="541237"/>
                  </a:lnTo>
                  <a:lnTo>
                    <a:pt x="933980" y="541237"/>
                  </a:lnTo>
                  <a:lnTo>
                    <a:pt x="930033" y="542766"/>
                  </a:lnTo>
                  <a:lnTo>
                    <a:pt x="930033" y="548786"/>
                  </a:lnTo>
                  <a:lnTo>
                    <a:pt x="866927" y="548786"/>
                  </a:lnTo>
                  <a:lnTo>
                    <a:pt x="864953" y="563933"/>
                  </a:lnTo>
                  <a:lnTo>
                    <a:pt x="849214" y="563933"/>
                  </a:lnTo>
                  <a:lnTo>
                    <a:pt x="855135" y="568522"/>
                  </a:lnTo>
                  <a:lnTo>
                    <a:pt x="857108" y="573061"/>
                  </a:lnTo>
                  <a:lnTo>
                    <a:pt x="862979" y="579081"/>
                  </a:lnTo>
                  <a:lnTo>
                    <a:pt x="868900" y="582140"/>
                  </a:lnTo>
                  <a:lnTo>
                    <a:pt x="872897" y="582140"/>
                  </a:lnTo>
                  <a:lnTo>
                    <a:pt x="874871" y="585199"/>
                  </a:lnTo>
                  <a:lnTo>
                    <a:pt x="876844" y="589738"/>
                  </a:lnTo>
                  <a:lnTo>
                    <a:pt x="878818" y="591219"/>
                  </a:lnTo>
                  <a:lnTo>
                    <a:pt x="884689" y="592748"/>
                  </a:lnTo>
                  <a:lnTo>
                    <a:pt x="890610" y="594228"/>
                  </a:lnTo>
                  <a:lnTo>
                    <a:pt x="890610" y="598817"/>
                  </a:lnTo>
                  <a:lnTo>
                    <a:pt x="884689" y="601827"/>
                  </a:lnTo>
                  <a:lnTo>
                    <a:pt x="839493" y="603356"/>
                  </a:lnTo>
                  <a:lnTo>
                    <a:pt x="815909" y="632171"/>
                  </a:lnTo>
                  <a:lnTo>
                    <a:pt x="819856" y="636661"/>
                  </a:lnTo>
                  <a:lnTo>
                    <a:pt x="819856" y="642779"/>
                  </a:lnTo>
                  <a:lnTo>
                    <a:pt x="821830" y="644259"/>
                  </a:lnTo>
                  <a:lnTo>
                    <a:pt x="821830" y="645789"/>
                  </a:lnTo>
                  <a:lnTo>
                    <a:pt x="815909" y="650328"/>
                  </a:lnTo>
                  <a:lnTo>
                    <a:pt x="813935" y="653387"/>
                  </a:lnTo>
                  <a:lnTo>
                    <a:pt x="813935" y="653387"/>
                  </a:lnTo>
                  <a:lnTo>
                    <a:pt x="808064" y="647319"/>
                  </a:lnTo>
                  <a:lnTo>
                    <a:pt x="798196" y="641250"/>
                  </a:lnTo>
                  <a:lnTo>
                    <a:pt x="798196" y="636661"/>
                  </a:lnTo>
                  <a:lnTo>
                    <a:pt x="790351" y="635181"/>
                  </a:lnTo>
                  <a:lnTo>
                    <a:pt x="764792" y="617023"/>
                  </a:lnTo>
                  <a:lnTo>
                    <a:pt x="762819" y="613964"/>
                  </a:lnTo>
                  <a:lnTo>
                    <a:pt x="762819" y="610955"/>
                  </a:lnTo>
                  <a:lnTo>
                    <a:pt x="756898" y="604886"/>
                  </a:lnTo>
                  <a:lnTo>
                    <a:pt x="751026" y="600346"/>
                  </a:lnTo>
                  <a:lnTo>
                    <a:pt x="741158" y="598817"/>
                  </a:lnTo>
                  <a:lnTo>
                    <a:pt x="737211" y="598817"/>
                  </a:lnTo>
                  <a:lnTo>
                    <a:pt x="739185" y="600346"/>
                  </a:lnTo>
                  <a:lnTo>
                    <a:pt x="750977" y="604886"/>
                  </a:lnTo>
                  <a:lnTo>
                    <a:pt x="758822" y="610955"/>
                  </a:lnTo>
                  <a:lnTo>
                    <a:pt x="758822" y="612484"/>
                  </a:lnTo>
                  <a:lnTo>
                    <a:pt x="754924" y="609425"/>
                  </a:lnTo>
                  <a:lnTo>
                    <a:pt x="743132" y="603356"/>
                  </a:lnTo>
                  <a:lnTo>
                    <a:pt x="735237" y="601827"/>
                  </a:lnTo>
                  <a:lnTo>
                    <a:pt x="731339" y="601827"/>
                  </a:lnTo>
                  <a:lnTo>
                    <a:pt x="729366" y="600346"/>
                  </a:lnTo>
                  <a:lnTo>
                    <a:pt x="729366" y="600346"/>
                  </a:lnTo>
                  <a:lnTo>
                    <a:pt x="733264" y="598817"/>
                  </a:lnTo>
                  <a:lnTo>
                    <a:pt x="733264" y="597287"/>
                  </a:lnTo>
                  <a:lnTo>
                    <a:pt x="729366" y="597287"/>
                  </a:lnTo>
                  <a:lnTo>
                    <a:pt x="725419" y="598817"/>
                  </a:lnTo>
                  <a:lnTo>
                    <a:pt x="725419" y="594228"/>
                  </a:lnTo>
                  <a:lnTo>
                    <a:pt x="723445" y="592748"/>
                  </a:lnTo>
                  <a:lnTo>
                    <a:pt x="713577" y="598817"/>
                  </a:lnTo>
                  <a:lnTo>
                    <a:pt x="713577" y="601383"/>
                  </a:lnTo>
                  <a:lnTo>
                    <a:pt x="727343" y="601383"/>
                  </a:lnTo>
                  <a:lnTo>
                    <a:pt x="727343" y="602912"/>
                  </a:lnTo>
                  <a:lnTo>
                    <a:pt x="713577" y="602912"/>
                  </a:lnTo>
                  <a:lnTo>
                    <a:pt x="705732" y="604442"/>
                  </a:lnTo>
                  <a:lnTo>
                    <a:pt x="697837" y="610511"/>
                  </a:lnTo>
                  <a:lnTo>
                    <a:pt x="689992" y="610511"/>
                  </a:lnTo>
                  <a:lnTo>
                    <a:pt x="670256" y="616580"/>
                  </a:lnTo>
                  <a:lnTo>
                    <a:pt x="662362" y="616580"/>
                  </a:lnTo>
                  <a:lnTo>
                    <a:pt x="644698" y="612040"/>
                  </a:lnTo>
                  <a:lnTo>
                    <a:pt x="634830" y="607451"/>
                  </a:lnTo>
                  <a:lnTo>
                    <a:pt x="623235" y="607451"/>
                  </a:lnTo>
                  <a:lnTo>
                    <a:pt x="609469" y="602912"/>
                  </a:lnTo>
                  <a:lnTo>
                    <a:pt x="603548" y="599903"/>
                  </a:lnTo>
                  <a:lnTo>
                    <a:pt x="593680" y="599903"/>
                  </a:lnTo>
                  <a:lnTo>
                    <a:pt x="585835" y="596843"/>
                  </a:lnTo>
                  <a:lnTo>
                    <a:pt x="581888" y="589294"/>
                  </a:lnTo>
                  <a:lnTo>
                    <a:pt x="579963" y="587765"/>
                  </a:lnTo>
                  <a:lnTo>
                    <a:pt x="572069" y="589294"/>
                  </a:lnTo>
                  <a:lnTo>
                    <a:pt x="564224" y="586235"/>
                  </a:lnTo>
                  <a:lnTo>
                    <a:pt x="554356" y="584755"/>
                  </a:lnTo>
                  <a:lnTo>
                    <a:pt x="550408" y="578637"/>
                  </a:lnTo>
                  <a:lnTo>
                    <a:pt x="538616" y="575627"/>
                  </a:lnTo>
                  <a:lnTo>
                    <a:pt x="522876" y="574147"/>
                  </a:lnTo>
                  <a:lnTo>
                    <a:pt x="505311" y="566844"/>
                  </a:lnTo>
                  <a:lnTo>
                    <a:pt x="495443" y="559295"/>
                  </a:lnTo>
                  <a:lnTo>
                    <a:pt x="491496" y="557766"/>
                  </a:lnTo>
                  <a:lnTo>
                    <a:pt x="475756" y="542618"/>
                  </a:lnTo>
                  <a:lnTo>
                    <a:pt x="469885" y="539559"/>
                  </a:lnTo>
                  <a:lnTo>
                    <a:pt x="465938" y="539559"/>
                  </a:lnTo>
                  <a:lnTo>
                    <a:pt x="463964" y="541089"/>
                  </a:lnTo>
                  <a:lnTo>
                    <a:pt x="460066" y="541089"/>
                  </a:lnTo>
                  <a:lnTo>
                    <a:pt x="446300" y="536549"/>
                  </a:lnTo>
                  <a:lnTo>
                    <a:pt x="442353" y="536549"/>
                  </a:lnTo>
                  <a:lnTo>
                    <a:pt x="432485" y="535020"/>
                  </a:lnTo>
                  <a:lnTo>
                    <a:pt x="430511" y="535020"/>
                  </a:lnTo>
                  <a:lnTo>
                    <a:pt x="422666" y="533490"/>
                  </a:lnTo>
                  <a:lnTo>
                    <a:pt x="418719" y="525941"/>
                  </a:lnTo>
                  <a:lnTo>
                    <a:pt x="412848" y="518343"/>
                  </a:lnTo>
                  <a:lnTo>
                    <a:pt x="402979" y="510744"/>
                  </a:lnTo>
                  <a:lnTo>
                    <a:pt x="393111" y="507735"/>
                  </a:lnTo>
                  <a:lnTo>
                    <a:pt x="393111" y="504725"/>
                  </a:lnTo>
                  <a:lnTo>
                    <a:pt x="397009" y="501715"/>
                  </a:lnTo>
                  <a:lnTo>
                    <a:pt x="385414" y="501715"/>
                  </a:lnTo>
                  <a:lnTo>
                    <a:pt x="375546" y="500186"/>
                  </a:lnTo>
                  <a:lnTo>
                    <a:pt x="373573" y="497126"/>
                  </a:lnTo>
                  <a:lnTo>
                    <a:pt x="365728" y="497126"/>
                  </a:lnTo>
                  <a:lnTo>
                    <a:pt x="361780" y="494117"/>
                  </a:lnTo>
                  <a:lnTo>
                    <a:pt x="359807" y="485038"/>
                  </a:lnTo>
                  <a:lnTo>
                    <a:pt x="353935" y="478969"/>
                  </a:lnTo>
                  <a:lnTo>
                    <a:pt x="353935" y="474430"/>
                  </a:lnTo>
                  <a:lnTo>
                    <a:pt x="349988" y="471371"/>
                  </a:lnTo>
                  <a:lnTo>
                    <a:pt x="344116" y="459283"/>
                  </a:lnTo>
                  <a:lnTo>
                    <a:pt x="344116" y="456223"/>
                  </a:lnTo>
                  <a:lnTo>
                    <a:pt x="348014" y="454694"/>
                  </a:lnTo>
                  <a:lnTo>
                    <a:pt x="355909" y="454694"/>
                  </a:lnTo>
                  <a:lnTo>
                    <a:pt x="359807" y="451684"/>
                  </a:lnTo>
                  <a:lnTo>
                    <a:pt x="355909" y="448674"/>
                  </a:lnTo>
                  <a:lnTo>
                    <a:pt x="351961" y="447145"/>
                  </a:lnTo>
                  <a:lnTo>
                    <a:pt x="353935" y="444135"/>
                  </a:lnTo>
                  <a:lnTo>
                    <a:pt x="361780" y="436537"/>
                  </a:lnTo>
                  <a:lnTo>
                    <a:pt x="365728" y="431997"/>
                  </a:lnTo>
                  <a:lnTo>
                    <a:pt x="363754" y="425928"/>
                  </a:lnTo>
                  <a:lnTo>
                    <a:pt x="357882" y="407722"/>
                  </a:lnTo>
                  <a:lnTo>
                    <a:pt x="353935" y="400173"/>
                  </a:lnTo>
                  <a:lnTo>
                    <a:pt x="349988" y="395584"/>
                  </a:lnTo>
                  <a:lnTo>
                    <a:pt x="353935" y="389565"/>
                  </a:lnTo>
                  <a:lnTo>
                    <a:pt x="351961" y="383496"/>
                  </a:lnTo>
                  <a:lnTo>
                    <a:pt x="340021" y="369483"/>
                  </a:lnTo>
                  <a:lnTo>
                    <a:pt x="340021" y="363464"/>
                  </a:lnTo>
                  <a:lnTo>
                    <a:pt x="326255" y="352855"/>
                  </a:lnTo>
                  <a:lnTo>
                    <a:pt x="318410" y="340718"/>
                  </a:lnTo>
                  <a:lnTo>
                    <a:pt x="308542" y="327050"/>
                  </a:lnTo>
                  <a:lnTo>
                    <a:pt x="296750" y="321031"/>
                  </a:lnTo>
                  <a:lnTo>
                    <a:pt x="294776" y="318021"/>
                  </a:lnTo>
                  <a:lnTo>
                    <a:pt x="292802" y="314962"/>
                  </a:lnTo>
                  <a:lnTo>
                    <a:pt x="282934" y="311903"/>
                  </a:lnTo>
                  <a:lnTo>
                    <a:pt x="277013" y="308893"/>
                  </a:lnTo>
                  <a:lnTo>
                    <a:pt x="277013" y="307363"/>
                  </a:lnTo>
                  <a:lnTo>
                    <a:pt x="280961" y="304354"/>
                  </a:lnTo>
                  <a:lnTo>
                    <a:pt x="284908" y="298285"/>
                  </a:lnTo>
                  <a:lnTo>
                    <a:pt x="280961" y="295275"/>
                  </a:lnTo>
                  <a:lnTo>
                    <a:pt x="278987" y="289206"/>
                  </a:lnTo>
                  <a:lnTo>
                    <a:pt x="277013" y="286147"/>
                  </a:lnTo>
                  <a:lnTo>
                    <a:pt x="273116" y="286147"/>
                  </a:lnTo>
                  <a:lnTo>
                    <a:pt x="263248" y="284618"/>
                  </a:lnTo>
                  <a:lnTo>
                    <a:pt x="249482" y="274059"/>
                  </a:lnTo>
                  <a:lnTo>
                    <a:pt x="245534" y="271000"/>
                  </a:lnTo>
                  <a:lnTo>
                    <a:pt x="239663" y="271000"/>
                  </a:lnTo>
                  <a:lnTo>
                    <a:pt x="231768" y="267990"/>
                  </a:lnTo>
                  <a:lnTo>
                    <a:pt x="231768" y="261921"/>
                  </a:lnTo>
                  <a:lnTo>
                    <a:pt x="235716" y="251313"/>
                  </a:lnTo>
                  <a:lnTo>
                    <a:pt x="241636" y="246774"/>
                  </a:lnTo>
                  <a:lnTo>
                    <a:pt x="247508" y="245244"/>
                  </a:lnTo>
                  <a:lnTo>
                    <a:pt x="249482" y="248303"/>
                  </a:lnTo>
                  <a:lnTo>
                    <a:pt x="253429" y="245244"/>
                  </a:lnTo>
                  <a:lnTo>
                    <a:pt x="251455" y="242234"/>
                  </a:lnTo>
                  <a:lnTo>
                    <a:pt x="249482" y="240705"/>
                  </a:lnTo>
                  <a:lnTo>
                    <a:pt x="247508" y="242234"/>
                  </a:lnTo>
                  <a:lnTo>
                    <a:pt x="243561" y="239175"/>
                  </a:lnTo>
                  <a:lnTo>
                    <a:pt x="241636" y="236165"/>
                  </a:lnTo>
                  <a:lnTo>
                    <a:pt x="235716" y="228567"/>
                  </a:lnTo>
                  <a:lnTo>
                    <a:pt x="229795" y="230097"/>
                  </a:lnTo>
                  <a:lnTo>
                    <a:pt x="223923" y="228567"/>
                  </a:lnTo>
                  <a:lnTo>
                    <a:pt x="219976" y="222547"/>
                  </a:lnTo>
                  <a:lnTo>
                    <a:pt x="221950" y="216479"/>
                  </a:lnTo>
                  <a:lnTo>
                    <a:pt x="214105" y="216479"/>
                  </a:lnTo>
                  <a:lnTo>
                    <a:pt x="202312" y="207400"/>
                  </a:lnTo>
                  <a:lnTo>
                    <a:pt x="198365" y="198272"/>
                  </a:lnTo>
                  <a:lnTo>
                    <a:pt x="202312" y="193733"/>
                  </a:lnTo>
                  <a:lnTo>
                    <a:pt x="204286" y="187664"/>
                  </a:lnTo>
                  <a:lnTo>
                    <a:pt x="198365" y="184654"/>
                  </a:lnTo>
                  <a:lnTo>
                    <a:pt x="192494" y="186134"/>
                  </a:lnTo>
                  <a:lnTo>
                    <a:pt x="190520" y="184654"/>
                  </a:lnTo>
                  <a:lnTo>
                    <a:pt x="187066" y="184654"/>
                  </a:lnTo>
                  <a:lnTo>
                    <a:pt x="185092" y="181595"/>
                  </a:lnTo>
                  <a:lnTo>
                    <a:pt x="181195" y="178585"/>
                  </a:lnTo>
                  <a:lnTo>
                    <a:pt x="179221" y="172516"/>
                  </a:lnTo>
                  <a:lnTo>
                    <a:pt x="175274" y="164967"/>
                  </a:lnTo>
                  <a:lnTo>
                    <a:pt x="171376" y="164967"/>
                  </a:lnTo>
                  <a:lnTo>
                    <a:pt x="167330" y="162254"/>
                  </a:lnTo>
                  <a:lnTo>
                    <a:pt x="167330" y="156185"/>
                  </a:lnTo>
                  <a:lnTo>
                    <a:pt x="163383" y="151645"/>
                  </a:lnTo>
                  <a:lnTo>
                    <a:pt x="159485" y="147106"/>
                  </a:lnTo>
                  <a:lnTo>
                    <a:pt x="155538" y="138028"/>
                  </a:lnTo>
                  <a:lnTo>
                    <a:pt x="151590" y="135018"/>
                  </a:lnTo>
                  <a:lnTo>
                    <a:pt x="149617" y="135018"/>
                  </a:lnTo>
                  <a:lnTo>
                    <a:pt x="147692" y="130429"/>
                  </a:lnTo>
                  <a:lnTo>
                    <a:pt x="149617" y="128899"/>
                  </a:lnTo>
                  <a:lnTo>
                    <a:pt x="149617" y="125890"/>
                  </a:lnTo>
                  <a:lnTo>
                    <a:pt x="141772" y="113752"/>
                  </a:lnTo>
                  <a:lnTo>
                    <a:pt x="139798" y="109213"/>
                  </a:lnTo>
                  <a:lnTo>
                    <a:pt x="139798" y="98604"/>
                  </a:lnTo>
                  <a:lnTo>
                    <a:pt x="135900" y="92585"/>
                  </a:lnTo>
                  <a:lnTo>
                    <a:pt x="135900" y="81829"/>
                  </a:lnTo>
                  <a:lnTo>
                    <a:pt x="129979" y="75760"/>
                  </a:lnTo>
                  <a:lnTo>
                    <a:pt x="129979" y="68161"/>
                  </a:lnTo>
                  <a:lnTo>
                    <a:pt x="135900" y="63622"/>
                  </a:lnTo>
                  <a:lnTo>
                    <a:pt x="135900" y="60563"/>
                  </a:lnTo>
                  <a:lnTo>
                    <a:pt x="126032" y="57554"/>
                  </a:lnTo>
                  <a:lnTo>
                    <a:pt x="120161" y="57554"/>
                  </a:lnTo>
                  <a:lnTo>
                    <a:pt x="118187" y="54544"/>
                  </a:lnTo>
                  <a:lnTo>
                    <a:pt x="112315" y="50004"/>
                  </a:lnTo>
                  <a:lnTo>
                    <a:pt x="110342" y="51534"/>
                  </a:lnTo>
                  <a:lnTo>
                    <a:pt x="104421" y="53014"/>
                  </a:lnTo>
                  <a:lnTo>
                    <a:pt x="100523" y="50004"/>
                  </a:lnTo>
                  <a:lnTo>
                    <a:pt x="92629" y="39396"/>
                  </a:lnTo>
                  <a:lnTo>
                    <a:pt x="82760" y="36337"/>
                  </a:lnTo>
                  <a:lnTo>
                    <a:pt x="78863" y="28739"/>
                  </a:lnTo>
                  <a:lnTo>
                    <a:pt x="80787" y="36337"/>
                  </a:lnTo>
                  <a:lnTo>
                    <a:pt x="82760" y="40876"/>
                  </a:lnTo>
                  <a:lnTo>
                    <a:pt x="78863" y="53014"/>
                  </a:lnTo>
                  <a:lnTo>
                    <a:pt x="74915" y="59083"/>
                  </a:lnTo>
                  <a:lnTo>
                    <a:pt x="76889" y="74230"/>
                  </a:lnTo>
                  <a:lnTo>
                    <a:pt x="78863" y="93966"/>
                  </a:lnTo>
                  <a:lnTo>
                    <a:pt x="74915" y="100035"/>
                  </a:lnTo>
                  <a:lnTo>
                    <a:pt x="78863" y="103045"/>
                  </a:lnTo>
                  <a:lnTo>
                    <a:pt x="84734" y="112173"/>
                  </a:lnTo>
                  <a:lnTo>
                    <a:pt x="82760" y="118193"/>
                  </a:lnTo>
                  <a:lnTo>
                    <a:pt x="86708" y="118193"/>
                  </a:lnTo>
                  <a:lnTo>
                    <a:pt x="90606" y="121252"/>
                  </a:lnTo>
                  <a:lnTo>
                    <a:pt x="102398" y="128801"/>
                  </a:lnTo>
                  <a:lnTo>
                    <a:pt x="104372" y="136399"/>
                  </a:lnTo>
                  <a:lnTo>
                    <a:pt x="102398" y="140939"/>
                  </a:lnTo>
                  <a:lnTo>
                    <a:pt x="104372" y="145478"/>
                  </a:lnTo>
                  <a:lnTo>
                    <a:pt x="110292" y="150067"/>
                  </a:lnTo>
                  <a:lnTo>
                    <a:pt x="114190" y="153076"/>
                  </a:lnTo>
                  <a:lnTo>
                    <a:pt x="114190" y="159096"/>
                  </a:lnTo>
                  <a:lnTo>
                    <a:pt x="118138" y="162155"/>
                  </a:lnTo>
                  <a:lnTo>
                    <a:pt x="122085" y="163684"/>
                  </a:lnTo>
                  <a:lnTo>
                    <a:pt x="127956" y="171234"/>
                  </a:lnTo>
                  <a:lnTo>
                    <a:pt x="125983" y="178832"/>
                  </a:lnTo>
                  <a:lnTo>
                    <a:pt x="127956" y="184901"/>
                  </a:lnTo>
                  <a:lnTo>
                    <a:pt x="135851" y="189440"/>
                  </a:lnTo>
                  <a:lnTo>
                    <a:pt x="137775" y="190970"/>
                  </a:lnTo>
                  <a:lnTo>
                    <a:pt x="143696" y="198519"/>
                  </a:lnTo>
                  <a:lnTo>
                    <a:pt x="145669" y="212137"/>
                  </a:lnTo>
                  <a:lnTo>
                    <a:pt x="149567" y="212137"/>
                  </a:lnTo>
                  <a:lnTo>
                    <a:pt x="151541" y="215196"/>
                  </a:lnTo>
                  <a:lnTo>
                    <a:pt x="147643" y="219735"/>
                  </a:lnTo>
                  <a:lnTo>
                    <a:pt x="149567" y="222794"/>
                  </a:lnTo>
                  <a:lnTo>
                    <a:pt x="155488" y="231873"/>
                  </a:lnTo>
                  <a:lnTo>
                    <a:pt x="157462" y="230343"/>
                  </a:lnTo>
                  <a:lnTo>
                    <a:pt x="157462" y="222794"/>
                  </a:lnTo>
                  <a:lnTo>
                    <a:pt x="159435" y="224274"/>
                  </a:lnTo>
                  <a:lnTo>
                    <a:pt x="161360" y="228814"/>
                  </a:lnTo>
                  <a:lnTo>
                    <a:pt x="167281" y="234932"/>
                  </a:lnTo>
                  <a:lnTo>
                    <a:pt x="169254" y="245491"/>
                  </a:lnTo>
                  <a:lnTo>
                    <a:pt x="169254" y="259158"/>
                  </a:lnTo>
                  <a:lnTo>
                    <a:pt x="171228" y="262168"/>
                  </a:lnTo>
                  <a:lnTo>
                    <a:pt x="171228" y="268237"/>
                  </a:lnTo>
                  <a:lnTo>
                    <a:pt x="175126" y="271247"/>
                  </a:lnTo>
                  <a:lnTo>
                    <a:pt x="175126" y="275736"/>
                  </a:lnTo>
                  <a:lnTo>
                    <a:pt x="179073" y="278746"/>
                  </a:lnTo>
                  <a:lnTo>
                    <a:pt x="179073" y="283286"/>
                  </a:lnTo>
                  <a:lnTo>
                    <a:pt x="177099" y="287825"/>
                  </a:lnTo>
                  <a:lnTo>
                    <a:pt x="183020" y="293894"/>
                  </a:lnTo>
                  <a:lnTo>
                    <a:pt x="183020" y="299962"/>
                  </a:lnTo>
                  <a:lnTo>
                    <a:pt x="179073" y="307512"/>
                  </a:lnTo>
                  <a:lnTo>
                    <a:pt x="179073" y="310571"/>
                  </a:lnTo>
                  <a:lnTo>
                    <a:pt x="184944" y="316639"/>
                  </a:lnTo>
                  <a:lnTo>
                    <a:pt x="190865" y="321179"/>
                  </a:lnTo>
                  <a:lnTo>
                    <a:pt x="190865" y="324189"/>
                  </a:lnTo>
                  <a:lnTo>
                    <a:pt x="194813" y="322659"/>
                  </a:lnTo>
                  <a:lnTo>
                    <a:pt x="194813" y="318169"/>
                  </a:lnTo>
                  <a:lnTo>
                    <a:pt x="196934" y="318169"/>
                  </a:lnTo>
                  <a:lnTo>
                    <a:pt x="198908" y="319649"/>
                  </a:lnTo>
                  <a:lnTo>
                    <a:pt x="204829" y="322659"/>
                  </a:lnTo>
                  <a:lnTo>
                    <a:pt x="206802" y="327198"/>
                  </a:lnTo>
                  <a:lnTo>
                    <a:pt x="212674" y="328728"/>
                  </a:lnTo>
                  <a:lnTo>
                    <a:pt x="214647" y="336326"/>
                  </a:lnTo>
                  <a:lnTo>
                    <a:pt x="218545" y="339336"/>
                  </a:lnTo>
                  <a:lnTo>
                    <a:pt x="220519" y="343925"/>
                  </a:lnTo>
                  <a:lnTo>
                    <a:pt x="224466" y="346934"/>
                  </a:lnTo>
                  <a:lnTo>
                    <a:pt x="222492" y="353003"/>
                  </a:lnTo>
                  <a:lnTo>
                    <a:pt x="216670" y="363661"/>
                  </a:lnTo>
                  <a:lnTo>
                    <a:pt x="206802" y="366671"/>
                  </a:lnTo>
                  <a:lnTo>
                    <a:pt x="202855" y="366671"/>
                  </a:lnTo>
                  <a:lnTo>
                    <a:pt x="196934" y="360651"/>
                  </a:lnTo>
                  <a:lnTo>
                    <a:pt x="196934" y="354681"/>
                  </a:lnTo>
                  <a:lnTo>
                    <a:pt x="193036" y="351671"/>
                  </a:lnTo>
                  <a:lnTo>
                    <a:pt x="193036" y="344122"/>
                  </a:lnTo>
                  <a:lnTo>
                    <a:pt x="189089" y="339533"/>
                  </a:lnTo>
                  <a:lnTo>
                    <a:pt x="183218" y="339533"/>
                  </a:lnTo>
                  <a:lnTo>
                    <a:pt x="177297" y="331985"/>
                  </a:lnTo>
                  <a:lnTo>
                    <a:pt x="175323" y="328925"/>
                  </a:lnTo>
                  <a:lnTo>
                    <a:pt x="169452" y="327396"/>
                  </a:lnTo>
                  <a:lnTo>
                    <a:pt x="153712" y="313778"/>
                  </a:lnTo>
                  <a:lnTo>
                    <a:pt x="149765" y="307709"/>
                  </a:lnTo>
                  <a:lnTo>
                    <a:pt x="143893" y="304699"/>
                  </a:lnTo>
                  <a:lnTo>
                    <a:pt x="141920" y="301689"/>
                  </a:lnTo>
                  <a:lnTo>
                    <a:pt x="137726" y="301689"/>
                  </a:lnTo>
                  <a:lnTo>
                    <a:pt x="129881" y="297101"/>
                  </a:lnTo>
                  <a:lnTo>
                    <a:pt x="127907" y="292561"/>
                  </a:lnTo>
                  <a:lnTo>
                    <a:pt x="135801" y="283483"/>
                  </a:lnTo>
                  <a:lnTo>
                    <a:pt x="137726" y="272875"/>
                  </a:lnTo>
                  <a:lnTo>
                    <a:pt x="137726" y="260786"/>
                  </a:lnTo>
                  <a:lnTo>
                    <a:pt x="133828" y="248649"/>
                  </a:lnTo>
                  <a:lnTo>
                    <a:pt x="127907" y="244060"/>
                  </a:lnTo>
                  <a:lnTo>
                    <a:pt x="124009" y="245589"/>
                  </a:lnTo>
                  <a:lnTo>
                    <a:pt x="120062" y="242580"/>
                  </a:lnTo>
                  <a:lnTo>
                    <a:pt x="108122" y="233353"/>
                  </a:lnTo>
                  <a:lnTo>
                    <a:pt x="106148" y="222745"/>
                  </a:lnTo>
                  <a:lnTo>
                    <a:pt x="108122" y="218206"/>
                  </a:lnTo>
                  <a:lnTo>
                    <a:pt x="106148" y="216676"/>
                  </a:lnTo>
                  <a:lnTo>
                    <a:pt x="100276" y="222745"/>
                  </a:lnTo>
                  <a:lnTo>
                    <a:pt x="92382" y="222745"/>
                  </a:lnTo>
                  <a:lnTo>
                    <a:pt x="88484" y="225755"/>
                  </a:lnTo>
                  <a:lnTo>
                    <a:pt x="86510" y="221215"/>
                  </a:lnTo>
                  <a:lnTo>
                    <a:pt x="88484" y="218206"/>
                  </a:lnTo>
                  <a:lnTo>
                    <a:pt x="82563" y="216676"/>
                  </a:lnTo>
                  <a:lnTo>
                    <a:pt x="78665" y="218206"/>
                  </a:lnTo>
                  <a:lnTo>
                    <a:pt x="78665" y="215146"/>
                  </a:lnTo>
                  <a:lnTo>
                    <a:pt x="70771" y="212087"/>
                  </a:lnTo>
                  <a:lnTo>
                    <a:pt x="64899" y="209078"/>
                  </a:lnTo>
                  <a:lnTo>
                    <a:pt x="58979" y="204538"/>
                  </a:lnTo>
                  <a:lnTo>
                    <a:pt x="58979" y="196792"/>
                  </a:lnTo>
                  <a:lnTo>
                    <a:pt x="53107" y="195312"/>
                  </a:lnTo>
                  <a:lnTo>
                    <a:pt x="45213" y="187713"/>
                  </a:lnTo>
                  <a:lnTo>
                    <a:pt x="47186" y="186184"/>
                  </a:lnTo>
                  <a:lnTo>
                    <a:pt x="57054" y="184703"/>
                  </a:lnTo>
                  <a:lnTo>
                    <a:pt x="61002" y="186184"/>
                  </a:lnTo>
                  <a:lnTo>
                    <a:pt x="72794" y="187713"/>
                  </a:lnTo>
                  <a:lnTo>
                    <a:pt x="76741" y="190772"/>
                  </a:lnTo>
                  <a:lnTo>
                    <a:pt x="78715" y="187713"/>
                  </a:lnTo>
                  <a:lnTo>
                    <a:pt x="80639" y="183174"/>
                  </a:lnTo>
                  <a:lnTo>
                    <a:pt x="74767" y="183174"/>
                  </a:lnTo>
                  <a:lnTo>
                    <a:pt x="74767" y="181990"/>
                  </a:lnTo>
                  <a:lnTo>
                    <a:pt x="76741" y="178980"/>
                  </a:lnTo>
                  <a:lnTo>
                    <a:pt x="80639" y="180510"/>
                  </a:lnTo>
                  <a:lnTo>
                    <a:pt x="82612" y="175970"/>
                  </a:lnTo>
                  <a:lnTo>
                    <a:pt x="80639" y="171381"/>
                  </a:lnTo>
                  <a:lnTo>
                    <a:pt x="80639" y="168372"/>
                  </a:lnTo>
                  <a:lnTo>
                    <a:pt x="84586" y="163833"/>
                  </a:lnTo>
                  <a:lnTo>
                    <a:pt x="80639" y="156234"/>
                  </a:lnTo>
                  <a:lnTo>
                    <a:pt x="76741" y="156234"/>
                  </a:lnTo>
                  <a:lnTo>
                    <a:pt x="74767" y="145626"/>
                  </a:lnTo>
                  <a:lnTo>
                    <a:pt x="64899" y="138077"/>
                  </a:lnTo>
                  <a:lnTo>
                    <a:pt x="64899" y="133537"/>
                  </a:lnTo>
                  <a:lnTo>
                    <a:pt x="57005" y="127469"/>
                  </a:lnTo>
                  <a:lnTo>
                    <a:pt x="47137" y="118341"/>
                  </a:lnTo>
                  <a:lnTo>
                    <a:pt x="43239" y="118341"/>
                  </a:lnTo>
                  <a:lnTo>
                    <a:pt x="37318" y="113801"/>
                  </a:lnTo>
                  <a:lnTo>
                    <a:pt x="35344" y="106252"/>
                  </a:lnTo>
                  <a:lnTo>
                    <a:pt x="33371" y="94115"/>
                  </a:lnTo>
                  <a:lnTo>
                    <a:pt x="31447" y="91105"/>
                  </a:lnTo>
                  <a:lnTo>
                    <a:pt x="25526" y="88046"/>
                  </a:lnTo>
                  <a:lnTo>
                    <a:pt x="27499" y="82026"/>
                  </a:lnTo>
                  <a:lnTo>
                    <a:pt x="31447" y="78967"/>
                  </a:lnTo>
                  <a:lnTo>
                    <a:pt x="27499" y="74428"/>
                  </a:lnTo>
                  <a:lnTo>
                    <a:pt x="21578" y="66879"/>
                  </a:lnTo>
                  <a:lnTo>
                    <a:pt x="19654" y="63820"/>
                  </a:lnTo>
                  <a:lnTo>
                    <a:pt x="21578" y="60760"/>
                  </a:lnTo>
                  <a:lnTo>
                    <a:pt x="21578" y="57751"/>
                  </a:lnTo>
                  <a:lnTo>
                    <a:pt x="11710" y="48672"/>
                  </a:lnTo>
                  <a:lnTo>
                    <a:pt x="9737" y="41074"/>
                  </a:lnTo>
                  <a:lnTo>
                    <a:pt x="11710" y="36534"/>
                  </a:lnTo>
                  <a:lnTo>
                    <a:pt x="13684" y="35054"/>
                  </a:lnTo>
                  <a:lnTo>
                    <a:pt x="9737" y="31995"/>
                  </a:lnTo>
                  <a:lnTo>
                    <a:pt x="5839" y="24446"/>
                  </a:lnTo>
                  <a:lnTo>
                    <a:pt x="1892" y="9298"/>
                  </a:lnTo>
                  <a:lnTo>
                    <a:pt x="-82" y="1700"/>
                  </a:lnTo>
                  <a:close/>
                  <a:moveTo>
                    <a:pt x="187066" y="296953"/>
                  </a:moveTo>
                  <a:lnTo>
                    <a:pt x="191013" y="295473"/>
                  </a:lnTo>
                  <a:lnTo>
                    <a:pt x="189040" y="290933"/>
                  </a:lnTo>
                  <a:lnTo>
                    <a:pt x="185092" y="286345"/>
                  </a:lnTo>
                  <a:lnTo>
                    <a:pt x="185092" y="290933"/>
                  </a:lnTo>
                  <a:lnTo>
                    <a:pt x="187066" y="296953"/>
                  </a:lnTo>
                  <a:close/>
                  <a:moveTo>
                    <a:pt x="192987" y="310620"/>
                  </a:moveTo>
                  <a:lnTo>
                    <a:pt x="192987" y="315209"/>
                  </a:lnTo>
                  <a:lnTo>
                    <a:pt x="196934" y="315209"/>
                  </a:lnTo>
                  <a:lnTo>
                    <a:pt x="196934" y="312150"/>
                  </a:lnTo>
                  <a:lnTo>
                    <a:pt x="193036" y="310669"/>
                  </a:lnTo>
                  <a:close/>
                  <a:moveTo>
                    <a:pt x="656786" y="301541"/>
                  </a:moveTo>
                  <a:lnTo>
                    <a:pt x="658760" y="300012"/>
                  </a:lnTo>
                  <a:lnTo>
                    <a:pt x="658760" y="296953"/>
                  </a:lnTo>
                  <a:lnTo>
                    <a:pt x="656786" y="296953"/>
                  </a:lnTo>
                  <a:lnTo>
                    <a:pt x="656786" y="301541"/>
                  </a:lnTo>
                  <a:close/>
                  <a:moveTo>
                    <a:pt x="654813" y="310620"/>
                  </a:moveTo>
                  <a:lnTo>
                    <a:pt x="656786" y="310620"/>
                  </a:lnTo>
                  <a:lnTo>
                    <a:pt x="658760" y="304551"/>
                  </a:lnTo>
                  <a:lnTo>
                    <a:pt x="656786" y="304551"/>
                  </a:lnTo>
                  <a:lnTo>
                    <a:pt x="654813" y="310620"/>
                  </a:lnTo>
                  <a:close/>
                  <a:moveTo>
                    <a:pt x="650865" y="322708"/>
                  </a:moveTo>
                  <a:lnTo>
                    <a:pt x="654813" y="318218"/>
                  </a:lnTo>
                  <a:lnTo>
                    <a:pt x="654813" y="31363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Graphic 2">
              <a:extLst>
                <a:ext uri="{FF2B5EF4-FFF2-40B4-BE49-F238E27FC236}">
                  <a16:creationId xmlns:a16="http://schemas.microsoft.com/office/drawing/2014/main" id="{28DB2BF5-D412-414D-B989-8DD13376FC26}"/>
                </a:ext>
              </a:extLst>
            </p:cNvPr>
            <p:cNvSpPr/>
            <p:nvPr/>
          </p:nvSpPr>
          <p:spPr>
            <a:xfrm>
              <a:off x="3014081" y="4485534"/>
              <a:ext cx="1285216" cy="1157189"/>
            </a:xfrm>
            <a:custGeom>
              <a:avLst/>
              <a:gdLst>
                <a:gd name="connsiteX0" fmla="*/ 825974 w 1414636"/>
                <a:gd name="connsiteY0" fmla="*/ 187319 h 1273770"/>
                <a:gd name="connsiteX1" fmla="*/ 830168 w 1414636"/>
                <a:gd name="connsiteY1" fmla="*/ 184062 h 1273770"/>
                <a:gd name="connsiteX2" fmla="*/ 834362 w 1414636"/>
                <a:gd name="connsiteY2" fmla="*/ 180855 h 1273770"/>
                <a:gd name="connsiteX3" fmla="*/ 836434 w 1414636"/>
                <a:gd name="connsiteY3" fmla="*/ 182434 h 1273770"/>
                <a:gd name="connsiteX4" fmla="*/ 834362 w 1414636"/>
                <a:gd name="connsiteY4" fmla="*/ 187368 h 1273770"/>
                <a:gd name="connsiteX5" fmla="*/ 825974 w 1414636"/>
                <a:gd name="connsiteY5" fmla="*/ 187368 h 1273770"/>
                <a:gd name="connsiteX6" fmla="*/ 819757 w 1414636"/>
                <a:gd name="connsiteY6" fmla="*/ 187319 h 1273770"/>
                <a:gd name="connsiteX7" fmla="*/ 823902 w 1414636"/>
                <a:gd name="connsiteY7" fmla="*/ 185690 h 1273770"/>
                <a:gd name="connsiteX8" fmla="*/ 823902 w 1414636"/>
                <a:gd name="connsiteY8" fmla="*/ 184062 h 1273770"/>
                <a:gd name="connsiteX9" fmla="*/ 832241 w 1414636"/>
                <a:gd name="connsiteY9" fmla="*/ 177598 h 1273770"/>
                <a:gd name="connsiteX10" fmla="*/ 836434 w 1414636"/>
                <a:gd name="connsiteY10" fmla="*/ 177598 h 1273770"/>
                <a:gd name="connsiteX11" fmla="*/ 842651 w 1414636"/>
                <a:gd name="connsiteY11" fmla="*/ 171135 h 1273770"/>
                <a:gd name="connsiteX12" fmla="*/ 840628 w 1414636"/>
                <a:gd name="connsiteY12" fmla="*/ 169556 h 1273770"/>
                <a:gd name="connsiteX13" fmla="*/ 834362 w 1414636"/>
                <a:gd name="connsiteY13" fmla="*/ 169556 h 1273770"/>
                <a:gd name="connsiteX14" fmla="*/ 830168 w 1414636"/>
                <a:gd name="connsiteY14" fmla="*/ 171135 h 1273770"/>
                <a:gd name="connsiteX15" fmla="*/ 823902 w 1414636"/>
                <a:gd name="connsiteY15" fmla="*/ 177598 h 1273770"/>
                <a:gd name="connsiteX16" fmla="*/ 851039 w 1414636"/>
                <a:gd name="connsiteY16" fmla="*/ 164671 h 1273770"/>
                <a:gd name="connsiteX17" fmla="*/ 851039 w 1414636"/>
                <a:gd name="connsiteY17" fmla="*/ 163092 h 1273770"/>
                <a:gd name="connsiteX18" fmla="*/ 846845 w 1414636"/>
                <a:gd name="connsiteY18" fmla="*/ 159836 h 1273770"/>
                <a:gd name="connsiteX19" fmla="*/ 844773 w 1414636"/>
                <a:gd name="connsiteY19" fmla="*/ 164770 h 1273770"/>
                <a:gd name="connsiteX20" fmla="*/ 846845 w 1414636"/>
                <a:gd name="connsiteY20" fmla="*/ 166398 h 1273770"/>
                <a:gd name="connsiteX21" fmla="*/ 851039 w 1414636"/>
                <a:gd name="connsiteY21" fmla="*/ 168026 h 1273770"/>
                <a:gd name="connsiteX22" fmla="*/ 851039 w 1414636"/>
                <a:gd name="connsiteY22" fmla="*/ 158257 h 1273770"/>
                <a:gd name="connsiteX23" fmla="*/ 851039 w 1414636"/>
                <a:gd name="connsiteY23" fmla="*/ 153323 h 1273770"/>
                <a:gd name="connsiteX24" fmla="*/ 853111 w 1414636"/>
                <a:gd name="connsiteY24" fmla="*/ 148389 h 1273770"/>
                <a:gd name="connsiteX25" fmla="*/ 857305 w 1414636"/>
                <a:gd name="connsiteY25" fmla="*/ 146761 h 1273770"/>
                <a:gd name="connsiteX26" fmla="*/ 863522 w 1414636"/>
                <a:gd name="connsiteY26" fmla="*/ 143554 h 1273770"/>
                <a:gd name="connsiteX27" fmla="*/ 865644 w 1414636"/>
                <a:gd name="connsiteY27" fmla="*/ 145182 h 1273770"/>
                <a:gd name="connsiteX28" fmla="*/ 863522 w 1414636"/>
                <a:gd name="connsiteY28" fmla="*/ 148389 h 1273770"/>
                <a:gd name="connsiteX29" fmla="*/ 859378 w 1414636"/>
                <a:gd name="connsiteY29" fmla="*/ 149968 h 1273770"/>
                <a:gd name="connsiteX30" fmla="*/ 855233 w 1414636"/>
                <a:gd name="connsiteY30" fmla="*/ 154902 h 1273770"/>
                <a:gd name="connsiteX31" fmla="*/ 853111 w 1414636"/>
                <a:gd name="connsiteY31" fmla="*/ 163191 h 1273770"/>
                <a:gd name="connsiteX32" fmla="*/ 857305 w 1414636"/>
                <a:gd name="connsiteY32" fmla="*/ 164770 h 1273770"/>
                <a:gd name="connsiteX33" fmla="*/ 865644 w 1414636"/>
                <a:gd name="connsiteY33" fmla="*/ 164770 h 1273770"/>
                <a:gd name="connsiteX34" fmla="*/ 869788 w 1414636"/>
                <a:gd name="connsiteY34" fmla="*/ 166398 h 1273770"/>
                <a:gd name="connsiteX35" fmla="*/ 873982 w 1414636"/>
                <a:gd name="connsiteY35" fmla="*/ 164770 h 1273770"/>
                <a:gd name="connsiteX36" fmla="*/ 873982 w 1414636"/>
                <a:gd name="connsiteY36" fmla="*/ 159836 h 1273770"/>
                <a:gd name="connsiteX37" fmla="*/ 871910 w 1414636"/>
                <a:gd name="connsiteY37" fmla="*/ 156629 h 1273770"/>
                <a:gd name="connsiteX38" fmla="*/ 861499 w 1414636"/>
                <a:gd name="connsiteY38" fmla="*/ 159836 h 1273770"/>
                <a:gd name="connsiteX39" fmla="*/ 855233 w 1414636"/>
                <a:gd name="connsiteY39" fmla="*/ 159836 h 1273770"/>
                <a:gd name="connsiteX40" fmla="*/ 873982 w 1414636"/>
                <a:gd name="connsiteY40" fmla="*/ 169655 h 1273770"/>
                <a:gd name="connsiteX41" fmla="*/ 880249 w 1414636"/>
                <a:gd name="connsiteY41" fmla="*/ 168026 h 1273770"/>
                <a:gd name="connsiteX42" fmla="*/ 880249 w 1414636"/>
                <a:gd name="connsiteY42" fmla="*/ 164770 h 1273770"/>
                <a:gd name="connsiteX43" fmla="*/ 886466 w 1414636"/>
                <a:gd name="connsiteY43" fmla="*/ 164770 h 1273770"/>
                <a:gd name="connsiteX44" fmla="*/ 890659 w 1414636"/>
                <a:gd name="connsiteY44" fmla="*/ 168026 h 1273770"/>
                <a:gd name="connsiteX45" fmla="*/ 888587 w 1414636"/>
                <a:gd name="connsiteY45" fmla="*/ 171234 h 1273770"/>
                <a:gd name="connsiteX46" fmla="*/ 880249 w 1414636"/>
                <a:gd name="connsiteY46" fmla="*/ 171234 h 1273770"/>
                <a:gd name="connsiteX47" fmla="*/ 851039 w 1414636"/>
                <a:gd name="connsiteY47" fmla="*/ 105019 h 1273770"/>
                <a:gd name="connsiteX48" fmla="*/ 848967 w 1414636"/>
                <a:gd name="connsiteY48" fmla="*/ 101812 h 1273770"/>
                <a:gd name="connsiteX49" fmla="*/ 844773 w 1414636"/>
                <a:gd name="connsiteY49" fmla="*/ 93720 h 1273770"/>
                <a:gd name="connsiteX50" fmla="*/ 846845 w 1414636"/>
                <a:gd name="connsiteY50" fmla="*/ 90463 h 1273770"/>
                <a:gd name="connsiteX51" fmla="*/ 851039 w 1414636"/>
                <a:gd name="connsiteY51" fmla="*/ 93720 h 1273770"/>
                <a:gd name="connsiteX52" fmla="*/ 857305 w 1414636"/>
                <a:gd name="connsiteY52" fmla="*/ 101812 h 1273770"/>
                <a:gd name="connsiteX53" fmla="*/ 855233 w 1414636"/>
                <a:gd name="connsiteY53" fmla="*/ 106746 h 1273770"/>
                <a:gd name="connsiteX54" fmla="*/ 851039 w 1414636"/>
                <a:gd name="connsiteY54" fmla="*/ 104920 h 1273770"/>
                <a:gd name="connsiteX55" fmla="*/ 819757 w 1414636"/>
                <a:gd name="connsiteY55" fmla="*/ 43639 h 1273770"/>
                <a:gd name="connsiteX56" fmla="*/ 817685 w 1414636"/>
                <a:gd name="connsiteY56" fmla="*/ 42061 h 1273770"/>
                <a:gd name="connsiteX57" fmla="*/ 815563 w 1414636"/>
                <a:gd name="connsiteY57" fmla="*/ 35597 h 1273770"/>
                <a:gd name="connsiteX58" fmla="*/ 811419 w 1414636"/>
                <a:gd name="connsiteY58" fmla="*/ 29133 h 1273770"/>
                <a:gd name="connsiteX59" fmla="*/ 809297 w 1414636"/>
                <a:gd name="connsiteY59" fmla="*/ 29133 h 1273770"/>
                <a:gd name="connsiteX60" fmla="*/ 809297 w 1414636"/>
                <a:gd name="connsiteY60" fmla="*/ 34067 h 1273770"/>
                <a:gd name="connsiteX61" fmla="*/ 807225 w 1414636"/>
                <a:gd name="connsiteY61" fmla="*/ 39001 h 1273770"/>
                <a:gd name="connsiteX62" fmla="*/ 798886 w 1414636"/>
                <a:gd name="connsiteY62" fmla="*/ 43936 h 1273770"/>
                <a:gd name="connsiteX63" fmla="*/ 798886 w 1414636"/>
                <a:gd name="connsiteY63" fmla="*/ 43936 h 1273770"/>
                <a:gd name="connsiteX64" fmla="*/ 794742 w 1414636"/>
                <a:gd name="connsiteY64" fmla="*/ 47192 h 1273770"/>
                <a:gd name="connsiteX65" fmla="*/ 786354 w 1414636"/>
                <a:gd name="connsiteY65" fmla="*/ 57060 h 1273770"/>
                <a:gd name="connsiteX66" fmla="*/ 778016 w 1414636"/>
                <a:gd name="connsiteY66" fmla="*/ 66928 h 1273770"/>
                <a:gd name="connsiteX67" fmla="*/ 778016 w 1414636"/>
                <a:gd name="connsiteY67" fmla="*/ 72849 h 1273770"/>
                <a:gd name="connsiteX68" fmla="*/ 769677 w 1414636"/>
                <a:gd name="connsiteY68" fmla="*/ 85825 h 1273770"/>
                <a:gd name="connsiteX69" fmla="*/ 763411 w 1414636"/>
                <a:gd name="connsiteY69" fmla="*/ 93868 h 1273770"/>
                <a:gd name="connsiteX70" fmla="*/ 759217 w 1414636"/>
                <a:gd name="connsiteY70" fmla="*/ 100332 h 1273770"/>
                <a:gd name="connsiteX71" fmla="*/ 753000 w 1414636"/>
                <a:gd name="connsiteY71" fmla="*/ 101960 h 1273770"/>
                <a:gd name="connsiteX72" fmla="*/ 748806 w 1414636"/>
                <a:gd name="connsiteY72" fmla="*/ 103588 h 1273770"/>
                <a:gd name="connsiteX73" fmla="*/ 748806 w 1414636"/>
                <a:gd name="connsiteY73" fmla="*/ 108522 h 1273770"/>
                <a:gd name="connsiteX74" fmla="*/ 742540 w 1414636"/>
                <a:gd name="connsiteY74" fmla="*/ 113456 h 1273770"/>
                <a:gd name="connsiteX75" fmla="*/ 738395 w 1414636"/>
                <a:gd name="connsiteY75" fmla="*/ 111828 h 1273770"/>
                <a:gd name="connsiteX76" fmla="*/ 738395 w 1414636"/>
                <a:gd name="connsiteY76" fmla="*/ 103785 h 1273770"/>
                <a:gd name="connsiteX77" fmla="*/ 734201 w 1414636"/>
                <a:gd name="connsiteY77" fmla="*/ 102157 h 1273770"/>
                <a:gd name="connsiteX78" fmla="*/ 734201 w 1414636"/>
                <a:gd name="connsiteY78" fmla="*/ 100529 h 1273770"/>
                <a:gd name="connsiteX79" fmla="*/ 730057 w 1414636"/>
                <a:gd name="connsiteY79" fmla="*/ 100529 h 1273770"/>
                <a:gd name="connsiteX80" fmla="*/ 723790 w 1414636"/>
                <a:gd name="connsiteY80" fmla="*/ 102157 h 1273770"/>
                <a:gd name="connsiteX81" fmla="*/ 721669 w 1414636"/>
                <a:gd name="connsiteY81" fmla="*/ 105364 h 1273770"/>
                <a:gd name="connsiteX82" fmla="*/ 715452 w 1414636"/>
                <a:gd name="connsiteY82" fmla="*/ 103785 h 1273770"/>
                <a:gd name="connsiteX83" fmla="*/ 709186 w 1414636"/>
                <a:gd name="connsiteY83" fmla="*/ 98851 h 1273770"/>
                <a:gd name="connsiteX84" fmla="*/ 709186 w 1414636"/>
                <a:gd name="connsiteY84" fmla="*/ 97174 h 1273770"/>
                <a:gd name="connsiteX85" fmla="*/ 707113 w 1414636"/>
                <a:gd name="connsiteY85" fmla="*/ 95595 h 1273770"/>
                <a:gd name="connsiteX86" fmla="*/ 704992 w 1414636"/>
                <a:gd name="connsiteY86" fmla="*/ 90661 h 1273770"/>
                <a:gd name="connsiteX87" fmla="*/ 704992 w 1414636"/>
                <a:gd name="connsiteY87" fmla="*/ 87454 h 1273770"/>
                <a:gd name="connsiteX88" fmla="*/ 698726 w 1414636"/>
                <a:gd name="connsiteY88" fmla="*/ 85875 h 1273770"/>
                <a:gd name="connsiteX89" fmla="*/ 692509 w 1414636"/>
                <a:gd name="connsiteY89" fmla="*/ 80941 h 1273770"/>
                <a:gd name="connsiteX90" fmla="*/ 682048 w 1414636"/>
                <a:gd name="connsiteY90" fmla="*/ 79263 h 1273770"/>
                <a:gd name="connsiteX91" fmla="*/ 675832 w 1414636"/>
                <a:gd name="connsiteY91" fmla="*/ 82520 h 1273770"/>
                <a:gd name="connsiteX92" fmla="*/ 661029 w 1414636"/>
                <a:gd name="connsiteY92" fmla="*/ 82520 h 1273770"/>
                <a:gd name="connsiteX93" fmla="*/ 652740 w 1414636"/>
                <a:gd name="connsiteY93" fmla="*/ 80941 h 1273770"/>
                <a:gd name="connsiteX94" fmla="*/ 646474 w 1414636"/>
                <a:gd name="connsiteY94" fmla="*/ 85875 h 1273770"/>
                <a:gd name="connsiteX95" fmla="*/ 644352 w 1414636"/>
                <a:gd name="connsiteY95" fmla="*/ 90809 h 1273770"/>
                <a:gd name="connsiteX96" fmla="*/ 650619 w 1414636"/>
                <a:gd name="connsiteY96" fmla="*/ 97272 h 1273770"/>
                <a:gd name="connsiteX97" fmla="*/ 652740 w 1414636"/>
                <a:gd name="connsiteY97" fmla="*/ 100529 h 1273770"/>
                <a:gd name="connsiteX98" fmla="*/ 656885 w 1414636"/>
                <a:gd name="connsiteY98" fmla="*/ 106992 h 1273770"/>
                <a:gd name="connsiteX99" fmla="*/ 654813 w 1414636"/>
                <a:gd name="connsiteY99" fmla="*/ 110249 h 1273770"/>
                <a:gd name="connsiteX100" fmla="*/ 648546 w 1414636"/>
                <a:gd name="connsiteY100" fmla="*/ 110249 h 1273770"/>
                <a:gd name="connsiteX101" fmla="*/ 640159 w 1414636"/>
                <a:gd name="connsiteY101" fmla="*/ 106992 h 1273770"/>
                <a:gd name="connsiteX102" fmla="*/ 638086 w 1414636"/>
                <a:gd name="connsiteY102" fmla="*/ 106992 h 1273770"/>
                <a:gd name="connsiteX103" fmla="*/ 633942 w 1414636"/>
                <a:gd name="connsiteY103" fmla="*/ 105364 h 1273770"/>
                <a:gd name="connsiteX104" fmla="*/ 621409 w 1414636"/>
                <a:gd name="connsiteY104" fmla="*/ 105364 h 1273770"/>
                <a:gd name="connsiteX105" fmla="*/ 615143 w 1414636"/>
                <a:gd name="connsiteY105" fmla="*/ 106992 h 1273770"/>
                <a:gd name="connsiteX106" fmla="*/ 613070 w 1414636"/>
                <a:gd name="connsiteY106" fmla="*/ 103785 h 1273770"/>
                <a:gd name="connsiteX107" fmla="*/ 602660 w 1414636"/>
                <a:gd name="connsiteY107" fmla="*/ 105364 h 1273770"/>
                <a:gd name="connsiteX108" fmla="*/ 594272 w 1414636"/>
                <a:gd name="connsiteY108" fmla="*/ 106992 h 1273770"/>
                <a:gd name="connsiteX109" fmla="*/ 590127 w 1414636"/>
                <a:gd name="connsiteY109" fmla="*/ 116860 h 1273770"/>
                <a:gd name="connsiteX110" fmla="*/ 575325 w 1414636"/>
                <a:gd name="connsiteY110" fmla="*/ 116860 h 1273770"/>
                <a:gd name="connsiteX111" fmla="*/ 566987 w 1414636"/>
                <a:gd name="connsiteY111" fmla="*/ 118439 h 1273770"/>
                <a:gd name="connsiteX112" fmla="*/ 566987 w 1414636"/>
                <a:gd name="connsiteY112" fmla="*/ 121696 h 1273770"/>
                <a:gd name="connsiteX113" fmla="*/ 562793 w 1414636"/>
                <a:gd name="connsiteY113" fmla="*/ 126630 h 1273770"/>
                <a:gd name="connsiteX114" fmla="*/ 554454 w 1414636"/>
                <a:gd name="connsiteY114" fmla="*/ 128258 h 1273770"/>
                <a:gd name="connsiteX115" fmla="*/ 552382 w 1414636"/>
                <a:gd name="connsiteY115" fmla="*/ 125002 h 1273770"/>
                <a:gd name="connsiteX116" fmla="*/ 548237 w 1414636"/>
                <a:gd name="connsiteY116" fmla="*/ 126630 h 1273770"/>
                <a:gd name="connsiteX117" fmla="*/ 544043 w 1414636"/>
                <a:gd name="connsiteY117" fmla="*/ 131564 h 1273770"/>
                <a:gd name="connsiteX118" fmla="*/ 537777 w 1414636"/>
                <a:gd name="connsiteY118" fmla="*/ 129936 h 1273770"/>
                <a:gd name="connsiteX119" fmla="*/ 522975 w 1414636"/>
                <a:gd name="connsiteY119" fmla="*/ 118637 h 1273770"/>
                <a:gd name="connsiteX120" fmla="*/ 518781 w 1414636"/>
                <a:gd name="connsiteY120" fmla="*/ 113703 h 1273770"/>
                <a:gd name="connsiteX121" fmla="*/ 516709 w 1414636"/>
                <a:gd name="connsiteY121" fmla="*/ 108769 h 1273770"/>
                <a:gd name="connsiteX122" fmla="*/ 511133 w 1414636"/>
                <a:gd name="connsiteY122" fmla="*/ 101713 h 1273770"/>
                <a:gd name="connsiteX123" fmla="*/ 504917 w 1414636"/>
                <a:gd name="connsiteY123" fmla="*/ 96779 h 1273770"/>
                <a:gd name="connsiteX124" fmla="*/ 502795 w 1414636"/>
                <a:gd name="connsiteY124" fmla="*/ 90315 h 1273770"/>
                <a:gd name="connsiteX125" fmla="*/ 504917 w 1414636"/>
                <a:gd name="connsiteY125" fmla="*/ 85381 h 1273770"/>
                <a:gd name="connsiteX126" fmla="*/ 502795 w 1414636"/>
                <a:gd name="connsiteY126" fmla="*/ 82125 h 1273770"/>
                <a:gd name="connsiteX127" fmla="*/ 504917 w 1414636"/>
                <a:gd name="connsiteY127" fmla="*/ 77191 h 1273770"/>
                <a:gd name="connsiteX128" fmla="*/ 506989 w 1414636"/>
                <a:gd name="connsiteY128" fmla="*/ 72257 h 1273770"/>
                <a:gd name="connsiteX129" fmla="*/ 506989 w 1414636"/>
                <a:gd name="connsiteY129" fmla="*/ 65843 h 1273770"/>
                <a:gd name="connsiteX130" fmla="*/ 513206 w 1414636"/>
                <a:gd name="connsiteY130" fmla="*/ 54494 h 1273770"/>
                <a:gd name="connsiteX131" fmla="*/ 515327 w 1414636"/>
                <a:gd name="connsiteY131" fmla="*/ 46452 h 1273770"/>
                <a:gd name="connsiteX132" fmla="*/ 521594 w 1414636"/>
                <a:gd name="connsiteY132" fmla="*/ 39988 h 1273770"/>
                <a:gd name="connsiteX133" fmla="*/ 521594 w 1414636"/>
                <a:gd name="connsiteY133" fmla="*/ 36732 h 1273770"/>
                <a:gd name="connsiteX134" fmla="*/ 515327 w 1414636"/>
                <a:gd name="connsiteY134" fmla="*/ 36732 h 1273770"/>
                <a:gd name="connsiteX135" fmla="*/ 511133 w 1414636"/>
                <a:gd name="connsiteY135" fmla="*/ 31798 h 1273770"/>
                <a:gd name="connsiteX136" fmla="*/ 509061 w 1414636"/>
                <a:gd name="connsiteY136" fmla="*/ 26864 h 1273770"/>
                <a:gd name="connsiteX137" fmla="*/ 500723 w 1414636"/>
                <a:gd name="connsiteY137" fmla="*/ 28492 h 1273770"/>
                <a:gd name="connsiteX138" fmla="*/ 494456 w 1414636"/>
                <a:gd name="connsiteY138" fmla="*/ 25235 h 1273770"/>
                <a:gd name="connsiteX139" fmla="*/ 498650 w 1414636"/>
                <a:gd name="connsiteY139" fmla="*/ 22028 h 1273770"/>
                <a:gd name="connsiteX140" fmla="*/ 502795 w 1414636"/>
                <a:gd name="connsiteY140" fmla="*/ 15565 h 1273770"/>
                <a:gd name="connsiteX141" fmla="*/ 502795 w 1414636"/>
                <a:gd name="connsiteY141" fmla="*/ 7473 h 1273770"/>
                <a:gd name="connsiteX142" fmla="*/ 496331 w 1414636"/>
                <a:gd name="connsiteY142" fmla="*/ 1552 h 1273770"/>
                <a:gd name="connsiteX143" fmla="*/ 487993 w 1414636"/>
                <a:gd name="connsiteY143" fmla="*/ -27 h 1273770"/>
                <a:gd name="connsiteX144" fmla="*/ 483848 w 1414636"/>
                <a:gd name="connsiteY144" fmla="*/ 3230 h 1273770"/>
                <a:gd name="connsiteX145" fmla="*/ 481726 w 1414636"/>
                <a:gd name="connsiteY145" fmla="*/ -27 h 1273770"/>
                <a:gd name="connsiteX146" fmla="*/ 477582 w 1414636"/>
                <a:gd name="connsiteY146" fmla="*/ -27 h 1273770"/>
                <a:gd name="connsiteX147" fmla="*/ 479654 w 1414636"/>
                <a:gd name="connsiteY147" fmla="*/ 6437 h 1273770"/>
                <a:gd name="connsiteX148" fmla="*/ 475460 w 1414636"/>
                <a:gd name="connsiteY148" fmla="*/ 12900 h 1273770"/>
                <a:gd name="connsiteX149" fmla="*/ 456711 w 1414636"/>
                <a:gd name="connsiteY149" fmla="*/ 24199 h 1273770"/>
                <a:gd name="connsiteX150" fmla="*/ 444228 w 1414636"/>
                <a:gd name="connsiteY150" fmla="*/ 25778 h 1273770"/>
                <a:gd name="connsiteX151" fmla="*/ 429426 w 1414636"/>
                <a:gd name="connsiteY151" fmla="*/ 32242 h 1273770"/>
                <a:gd name="connsiteX152" fmla="*/ 423209 w 1414636"/>
                <a:gd name="connsiteY152" fmla="*/ 29035 h 1273770"/>
                <a:gd name="connsiteX153" fmla="*/ 412749 w 1414636"/>
                <a:gd name="connsiteY153" fmla="*/ 30663 h 1273770"/>
                <a:gd name="connsiteX154" fmla="*/ 400266 w 1414636"/>
                <a:gd name="connsiteY154" fmla="*/ 38755 h 1273770"/>
                <a:gd name="connsiteX155" fmla="*/ 389805 w 1414636"/>
                <a:gd name="connsiteY155" fmla="*/ 41962 h 1273770"/>
                <a:gd name="connsiteX156" fmla="*/ 385612 w 1414636"/>
                <a:gd name="connsiteY156" fmla="*/ 40333 h 1273770"/>
                <a:gd name="connsiteX157" fmla="*/ 368935 w 1414636"/>
                <a:gd name="connsiteY157" fmla="*/ 41962 h 1273770"/>
                <a:gd name="connsiteX158" fmla="*/ 356452 w 1414636"/>
                <a:gd name="connsiteY158" fmla="*/ 41962 h 1273770"/>
                <a:gd name="connsiteX159" fmla="*/ 345991 w 1414636"/>
                <a:gd name="connsiteY159" fmla="*/ 37028 h 1273770"/>
                <a:gd name="connsiteX160" fmla="*/ 335580 w 1414636"/>
                <a:gd name="connsiteY160" fmla="*/ 35449 h 1273770"/>
                <a:gd name="connsiteX161" fmla="*/ 325120 w 1414636"/>
                <a:gd name="connsiteY161" fmla="*/ 32192 h 1273770"/>
                <a:gd name="connsiteX162" fmla="*/ 329314 w 1414636"/>
                <a:gd name="connsiteY162" fmla="*/ 40284 h 1273770"/>
                <a:gd name="connsiteX163" fmla="*/ 335580 w 1414636"/>
                <a:gd name="connsiteY163" fmla="*/ 43491 h 1273770"/>
                <a:gd name="connsiteX164" fmla="*/ 343870 w 1414636"/>
                <a:gd name="connsiteY164" fmla="*/ 50004 h 1273770"/>
                <a:gd name="connsiteX165" fmla="*/ 345991 w 1414636"/>
                <a:gd name="connsiteY165" fmla="*/ 54938 h 1273770"/>
                <a:gd name="connsiteX166" fmla="*/ 337850 w 1414636"/>
                <a:gd name="connsiteY166" fmla="*/ 67915 h 1273770"/>
                <a:gd name="connsiteX167" fmla="*/ 339922 w 1414636"/>
                <a:gd name="connsiteY167" fmla="*/ 74378 h 1273770"/>
                <a:gd name="connsiteX168" fmla="*/ 337850 w 1414636"/>
                <a:gd name="connsiteY168" fmla="*/ 85677 h 1273770"/>
                <a:gd name="connsiteX169" fmla="*/ 354527 w 1414636"/>
                <a:gd name="connsiteY169" fmla="*/ 90611 h 1273770"/>
                <a:gd name="connsiteX170" fmla="*/ 367060 w 1414636"/>
                <a:gd name="connsiteY170" fmla="*/ 89033 h 1273770"/>
                <a:gd name="connsiteX171" fmla="*/ 377470 w 1414636"/>
                <a:gd name="connsiteY171" fmla="*/ 90611 h 1273770"/>
                <a:gd name="connsiteX172" fmla="*/ 379592 w 1414636"/>
                <a:gd name="connsiteY172" fmla="*/ 97075 h 1273770"/>
                <a:gd name="connsiteX173" fmla="*/ 371204 w 1414636"/>
                <a:gd name="connsiteY173" fmla="*/ 100332 h 1273770"/>
                <a:gd name="connsiteX174" fmla="*/ 352455 w 1414636"/>
                <a:gd name="connsiteY174" fmla="*/ 103588 h 1273770"/>
                <a:gd name="connsiteX175" fmla="*/ 348261 w 1414636"/>
                <a:gd name="connsiteY175" fmla="*/ 108522 h 1273770"/>
                <a:gd name="connsiteX176" fmla="*/ 344067 w 1414636"/>
                <a:gd name="connsiteY176" fmla="*/ 116614 h 1273770"/>
                <a:gd name="connsiteX177" fmla="*/ 325318 w 1414636"/>
                <a:gd name="connsiteY177" fmla="*/ 124656 h 1273770"/>
                <a:gd name="connsiteX178" fmla="*/ 319101 w 1414636"/>
                <a:gd name="connsiteY178" fmla="*/ 131120 h 1273770"/>
                <a:gd name="connsiteX179" fmla="*/ 306568 w 1414636"/>
                <a:gd name="connsiteY179" fmla="*/ 137583 h 1273770"/>
                <a:gd name="connsiteX180" fmla="*/ 298230 w 1414636"/>
                <a:gd name="connsiteY180" fmla="*/ 147451 h 1273770"/>
                <a:gd name="connsiteX181" fmla="*/ 275287 w 1414636"/>
                <a:gd name="connsiteY181" fmla="*/ 147451 h 1273770"/>
                <a:gd name="connsiteX182" fmla="*/ 260485 w 1414636"/>
                <a:gd name="connsiteY182" fmla="*/ 137583 h 1273770"/>
                <a:gd name="connsiteX183" fmla="*/ 248001 w 1414636"/>
                <a:gd name="connsiteY183" fmla="*/ 129492 h 1273770"/>
                <a:gd name="connsiteX184" fmla="*/ 237591 w 1414636"/>
                <a:gd name="connsiteY184" fmla="*/ 129492 h 1273770"/>
                <a:gd name="connsiteX185" fmla="*/ 237591 w 1414636"/>
                <a:gd name="connsiteY185" fmla="*/ 121449 h 1273770"/>
                <a:gd name="connsiteX186" fmla="*/ 235469 w 1414636"/>
                <a:gd name="connsiteY186" fmla="*/ 114936 h 1273770"/>
                <a:gd name="connsiteX187" fmla="*/ 231324 w 1414636"/>
                <a:gd name="connsiteY187" fmla="*/ 108522 h 1273770"/>
                <a:gd name="connsiteX188" fmla="*/ 229203 w 1414636"/>
                <a:gd name="connsiteY188" fmla="*/ 103588 h 1273770"/>
                <a:gd name="connsiteX189" fmla="*/ 218792 w 1414636"/>
                <a:gd name="connsiteY189" fmla="*/ 105167 h 1273770"/>
                <a:gd name="connsiteX190" fmla="*/ 212526 w 1414636"/>
                <a:gd name="connsiteY190" fmla="*/ 111630 h 1273770"/>
                <a:gd name="connsiteX191" fmla="*/ 206260 w 1414636"/>
                <a:gd name="connsiteY191" fmla="*/ 113259 h 1273770"/>
                <a:gd name="connsiteX192" fmla="*/ 202065 w 1414636"/>
                <a:gd name="connsiteY192" fmla="*/ 110051 h 1273770"/>
                <a:gd name="connsiteX193" fmla="*/ 195848 w 1414636"/>
                <a:gd name="connsiteY193" fmla="*/ 110051 h 1273770"/>
                <a:gd name="connsiteX194" fmla="*/ 191655 w 1414636"/>
                <a:gd name="connsiteY194" fmla="*/ 114985 h 1273770"/>
                <a:gd name="connsiteX195" fmla="*/ 149962 w 1414636"/>
                <a:gd name="connsiteY195" fmla="*/ 114985 h 1273770"/>
                <a:gd name="connsiteX196" fmla="*/ 147840 w 1414636"/>
                <a:gd name="connsiteY196" fmla="*/ 124854 h 1273770"/>
                <a:gd name="connsiteX197" fmla="*/ 152034 w 1414636"/>
                <a:gd name="connsiteY197" fmla="*/ 131317 h 1273770"/>
                <a:gd name="connsiteX198" fmla="*/ 164567 w 1414636"/>
                <a:gd name="connsiteY198" fmla="*/ 134574 h 1273770"/>
                <a:gd name="connsiteX199" fmla="*/ 170833 w 1414636"/>
                <a:gd name="connsiteY199" fmla="*/ 144442 h 1273770"/>
                <a:gd name="connsiteX200" fmla="*/ 166639 w 1414636"/>
                <a:gd name="connsiteY200" fmla="*/ 147649 h 1273770"/>
                <a:gd name="connsiteX201" fmla="*/ 170833 w 1414636"/>
                <a:gd name="connsiteY201" fmla="*/ 150856 h 1273770"/>
                <a:gd name="connsiteX202" fmla="*/ 168711 w 1414636"/>
                <a:gd name="connsiteY202" fmla="*/ 155790 h 1273770"/>
                <a:gd name="connsiteX203" fmla="*/ 160373 w 1414636"/>
                <a:gd name="connsiteY203" fmla="*/ 150856 h 1273770"/>
                <a:gd name="connsiteX204" fmla="*/ 135308 w 1414636"/>
                <a:gd name="connsiteY204" fmla="*/ 158997 h 1273770"/>
                <a:gd name="connsiteX205" fmla="*/ 137430 w 1414636"/>
                <a:gd name="connsiteY205" fmla="*/ 175131 h 1273770"/>
                <a:gd name="connsiteX206" fmla="*/ 143696 w 1414636"/>
                <a:gd name="connsiteY206" fmla="*/ 183174 h 1273770"/>
                <a:gd name="connsiteX207" fmla="*/ 156179 w 1414636"/>
                <a:gd name="connsiteY207" fmla="*/ 191266 h 1273770"/>
                <a:gd name="connsiteX208" fmla="*/ 166639 w 1414636"/>
                <a:gd name="connsiteY208" fmla="*/ 204193 h 1273770"/>
                <a:gd name="connsiteX209" fmla="*/ 164567 w 1414636"/>
                <a:gd name="connsiteY209" fmla="*/ 215492 h 1273770"/>
                <a:gd name="connsiteX210" fmla="*/ 164567 w 1414636"/>
                <a:gd name="connsiteY210" fmla="*/ 220426 h 1273770"/>
                <a:gd name="connsiteX211" fmla="*/ 146015 w 1414636"/>
                <a:gd name="connsiteY211" fmla="*/ 284174 h 1273770"/>
                <a:gd name="connsiteX212" fmla="*/ 139749 w 1414636"/>
                <a:gd name="connsiteY212" fmla="*/ 300357 h 1273770"/>
                <a:gd name="connsiteX213" fmla="*/ 139749 w 1414636"/>
                <a:gd name="connsiteY213" fmla="*/ 303614 h 1273770"/>
                <a:gd name="connsiteX214" fmla="*/ 137676 w 1414636"/>
                <a:gd name="connsiteY214" fmla="*/ 308548 h 1273770"/>
                <a:gd name="connsiteX215" fmla="*/ 129338 w 1414636"/>
                <a:gd name="connsiteY215" fmla="*/ 306969 h 1273770"/>
                <a:gd name="connsiteX216" fmla="*/ 129338 w 1414636"/>
                <a:gd name="connsiteY216" fmla="*/ 305341 h 1273770"/>
                <a:gd name="connsiteX217" fmla="*/ 120999 w 1414636"/>
                <a:gd name="connsiteY217" fmla="*/ 300407 h 1273770"/>
                <a:gd name="connsiteX218" fmla="*/ 108467 w 1414636"/>
                <a:gd name="connsiteY218" fmla="*/ 300407 h 1273770"/>
                <a:gd name="connsiteX219" fmla="*/ 106394 w 1414636"/>
                <a:gd name="connsiteY219" fmla="*/ 305341 h 1273770"/>
                <a:gd name="connsiteX220" fmla="*/ 81330 w 1414636"/>
                <a:gd name="connsiteY220" fmla="*/ 311804 h 1273770"/>
                <a:gd name="connsiteX221" fmla="*/ 62580 w 1414636"/>
                <a:gd name="connsiteY221" fmla="*/ 315011 h 1273770"/>
                <a:gd name="connsiteX222" fmla="*/ 58386 w 1414636"/>
                <a:gd name="connsiteY222" fmla="*/ 318268 h 1273770"/>
                <a:gd name="connsiteX223" fmla="*/ 54193 w 1414636"/>
                <a:gd name="connsiteY223" fmla="*/ 319847 h 1273770"/>
                <a:gd name="connsiteX224" fmla="*/ 45903 w 1414636"/>
                <a:gd name="connsiteY224" fmla="*/ 326310 h 1273770"/>
                <a:gd name="connsiteX225" fmla="*/ 37466 w 1414636"/>
                <a:gd name="connsiteY225" fmla="*/ 329419 h 1273770"/>
                <a:gd name="connsiteX226" fmla="*/ 31249 w 1414636"/>
                <a:gd name="connsiteY226" fmla="*/ 332626 h 1273770"/>
                <a:gd name="connsiteX227" fmla="*/ 33321 w 1414636"/>
                <a:gd name="connsiteY227" fmla="*/ 340718 h 1273770"/>
                <a:gd name="connsiteX228" fmla="*/ 29177 w 1414636"/>
                <a:gd name="connsiteY228" fmla="*/ 345652 h 1273770"/>
                <a:gd name="connsiteX229" fmla="*/ 31249 w 1414636"/>
                <a:gd name="connsiteY229" fmla="*/ 350586 h 1273770"/>
                <a:gd name="connsiteX230" fmla="*/ 20789 w 1414636"/>
                <a:gd name="connsiteY230" fmla="*/ 360454 h 1273770"/>
                <a:gd name="connsiteX231" fmla="*/ 22911 w 1414636"/>
                <a:gd name="connsiteY231" fmla="*/ 370322 h 1273770"/>
                <a:gd name="connsiteX232" fmla="*/ 27055 w 1414636"/>
                <a:gd name="connsiteY232" fmla="*/ 376785 h 1273770"/>
                <a:gd name="connsiteX233" fmla="*/ 20789 w 1414636"/>
                <a:gd name="connsiteY233" fmla="*/ 381719 h 1273770"/>
                <a:gd name="connsiteX234" fmla="*/ 16645 w 1414636"/>
                <a:gd name="connsiteY234" fmla="*/ 380042 h 1273770"/>
                <a:gd name="connsiteX235" fmla="*/ 6234 w 1414636"/>
                <a:gd name="connsiteY235" fmla="*/ 386555 h 1273770"/>
                <a:gd name="connsiteX236" fmla="*/ 6234 w 1414636"/>
                <a:gd name="connsiteY236" fmla="*/ 393018 h 1273770"/>
                <a:gd name="connsiteX237" fmla="*/ 2040 w 1414636"/>
                <a:gd name="connsiteY237" fmla="*/ 396225 h 1273770"/>
                <a:gd name="connsiteX238" fmla="*/ 4112 w 1414636"/>
                <a:gd name="connsiteY238" fmla="*/ 399482 h 1273770"/>
                <a:gd name="connsiteX239" fmla="*/ 2040 w 1414636"/>
                <a:gd name="connsiteY239" fmla="*/ 405896 h 1273770"/>
                <a:gd name="connsiteX240" fmla="*/ -82 w 1414636"/>
                <a:gd name="connsiteY240" fmla="*/ 412360 h 1273770"/>
                <a:gd name="connsiteX241" fmla="*/ 2040 w 1414636"/>
                <a:gd name="connsiteY241" fmla="*/ 417294 h 1273770"/>
                <a:gd name="connsiteX242" fmla="*/ -82 w 1414636"/>
                <a:gd name="connsiteY242" fmla="*/ 422228 h 1273770"/>
                <a:gd name="connsiteX243" fmla="*/ 10378 w 1414636"/>
                <a:gd name="connsiteY243" fmla="*/ 430270 h 1273770"/>
                <a:gd name="connsiteX244" fmla="*/ 27055 w 1414636"/>
                <a:gd name="connsiteY244" fmla="*/ 456125 h 1273770"/>
                <a:gd name="connsiteX245" fmla="*/ 18717 w 1414636"/>
                <a:gd name="connsiteY245" fmla="*/ 465993 h 1273770"/>
                <a:gd name="connsiteX246" fmla="*/ 41660 w 1414636"/>
                <a:gd name="connsiteY246" fmla="*/ 464414 h 1273770"/>
                <a:gd name="connsiteX247" fmla="*/ 52071 w 1414636"/>
                <a:gd name="connsiteY247" fmla="*/ 465993 h 1273770"/>
                <a:gd name="connsiteX248" fmla="*/ 60459 w 1414636"/>
                <a:gd name="connsiteY248" fmla="*/ 475861 h 1273770"/>
                <a:gd name="connsiteX249" fmla="*/ 62531 w 1414636"/>
                <a:gd name="connsiteY249" fmla="*/ 483903 h 1273770"/>
                <a:gd name="connsiteX250" fmla="*/ 77333 w 1414636"/>
                <a:gd name="connsiteY250" fmla="*/ 483903 h 1273770"/>
                <a:gd name="connsiteX251" fmla="*/ 96082 w 1414636"/>
                <a:gd name="connsiteY251" fmla="*/ 485532 h 1273770"/>
                <a:gd name="connsiteX252" fmla="*/ 110885 w 1414636"/>
                <a:gd name="connsiteY252" fmla="*/ 474233 h 1273770"/>
                <a:gd name="connsiteX253" fmla="*/ 125687 w 1414636"/>
                <a:gd name="connsiteY253" fmla="*/ 467769 h 1273770"/>
                <a:gd name="connsiteX254" fmla="*/ 127808 w 1414636"/>
                <a:gd name="connsiteY254" fmla="*/ 471026 h 1273770"/>
                <a:gd name="connsiteX255" fmla="*/ 127808 w 1414636"/>
                <a:gd name="connsiteY255" fmla="*/ 477489 h 1273770"/>
                <a:gd name="connsiteX256" fmla="*/ 123614 w 1414636"/>
                <a:gd name="connsiteY256" fmla="*/ 479068 h 1273770"/>
                <a:gd name="connsiteX257" fmla="*/ 123614 w 1414636"/>
                <a:gd name="connsiteY257" fmla="*/ 490367 h 1273770"/>
                <a:gd name="connsiteX258" fmla="*/ 125687 w 1414636"/>
                <a:gd name="connsiteY258" fmla="*/ 509758 h 1273770"/>
                <a:gd name="connsiteX259" fmla="*/ 125687 w 1414636"/>
                <a:gd name="connsiteY259" fmla="*/ 516221 h 1273770"/>
                <a:gd name="connsiteX260" fmla="*/ 129880 w 1414636"/>
                <a:gd name="connsiteY260" fmla="*/ 519478 h 1273770"/>
                <a:gd name="connsiteX261" fmla="*/ 138219 w 1414636"/>
                <a:gd name="connsiteY261" fmla="*/ 519478 h 1273770"/>
                <a:gd name="connsiteX262" fmla="*/ 144485 w 1414636"/>
                <a:gd name="connsiteY262" fmla="*/ 517850 h 1273770"/>
                <a:gd name="connsiteX263" fmla="*/ 152824 w 1414636"/>
                <a:gd name="connsiteY263" fmla="*/ 516221 h 1273770"/>
                <a:gd name="connsiteX264" fmla="*/ 156968 w 1414636"/>
                <a:gd name="connsiteY264" fmla="*/ 516221 h 1273770"/>
                <a:gd name="connsiteX265" fmla="*/ 161162 w 1414636"/>
                <a:gd name="connsiteY265" fmla="*/ 517850 h 1273770"/>
                <a:gd name="connsiteX266" fmla="*/ 184105 w 1414636"/>
                <a:gd name="connsiteY266" fmla="*/ 517850 h 1273770"/>
                <a:gd name="connsiteX267" fmla="*/ 194566 w 1414636"/>
                <a:gd name="connsiteY267" fmla="*/ 519478 h 1273770"/>
                <a:gd name="connsiteX268" fmla="*/ 204977 w 1414636"/>
                <a:gd name="connsiteY268" fmla="*/ 513014 h 1273770"/>
                <a:gd name="connsiteX269" fmla="*/ 211243 w 1414636"/>
                <a:gd name="connsiteY269" fmla="*/ 513014 h 1273770"/>
                <a:gd name="connsiteX270" fmla="*/ 219581 w 1414636"/>
                <a:gd name="connsiteY270" fmla="*/ 508080 h 1273770"/>
                <a:gd name="connsiteX271" fmla="*/ 227920 w 1414636"/>
                <a:gd name="connsiteY271" fmla="*/ 508080 h 1273770"/>
                <a:gd name="connsiteX272" fmla="*/ 238380 w 1414636"/>
                <a:gd name="connsiteY272" fmla="*/ 504873 h 1273770"/>
                <a:gd name="connsiteX273" fmla="*/ 244597 w 1414636"/>
                <a:gd name="connsiteY273" fmla="*/ 491946 h 1273770"/>
                <a:gd name="connsiteX274" fmla="*/ 261274 w 1414636"/>
                <a:gd name="connsiteY274" fmla="*/ 482078 h 1273770"/>
                <a:gd name="connsiteX275" fmla="*/ 273806 w 1414636"/>
                <a:gd name="connsiteY275" fmla="*/ 480449 h 1273770"/>
                <a:gd name="connsiteX276" fmla="*/ 284217 w 1414636"/>
                <a:gd name="connsiteY276" fmla="*/ 475515 h 1273770"/>
                <a:gd name="connsiteX277" fmla="*/ 292605 w 1414636"/>
                <a:gd name="connsiteY277" fmla="*/ 475515 h 1273770"/>
                <a:gd name="connsiteX278" fmla="*/ 300944 w 1414636"/>
                <a:gd name="connsiteY278" fmla="*/ 480449 h 1273770"/>
                <a:gd name="connsiteX279" fmla="*/ 309282 w 1414636"/>
                <a:gd name="connsiteY279" fmla="*/ 475515 h 1273770"/>
                <a:gd name="connsiteX280" fmla="*/ 313476 w 1414636"/>
                <a:gd name="connsiteY280" fmla="*/ 478723 h 1273770"/>
                <a:gd name="connsiteX281" fmla="*/ 311354 w 1414636"/>
                <a:gd name="connsiteY281" fmla="*/ 485186 h 1273770"/>
                <a:gd name="connsiteX282" fmla="*/ 315548 w 1414636"/>
                <a:gd name="connsiteY282" fmla="*/ 496485 h 1273770"/>
                <a:gd name="connsiteX283" fmla="*/ 309282 w 1414636"/>
                <a:gd name="connsiteY283" fmla="*/ 506353 h 1273770"/>
                <a:gd name="connsiteX284" fmla="*/ 315548 w 1414636"/>
                <a:gd name="connsiteY284" fmla="*/ 520859 h 1273770"/>
                <a:gd name="connsiteX285" fmla="*/ 311354 w 1414636"/>
                <a:gd name="connsiteY285" fmla="*/ 527323 h 1273770"/>
                <a:gd name="connsiteX286" fmla="*/ 317621 w 1414636"/>
                <a:gd name="connsiteY286" fmla="*/ 538622 h 1273770"/>
                <a:gd name="connsiteX287" fmla="*/ 325959 w 1414636"/>
                <a:gd name="connsiteY287" fmla="*/ 541878 h 1273770"/>
                <a:gd name="connsiteX288" fmla="*/ 328031 w 1414636"/>
                <a:gd name="connsiteY288" fmla="*/ 549921 h 1273770"/>
                <a:gd name="connsiteX289" fmla="*/ 336419 w 1414636"/>
                <a:gd name="connsiteY289" fmla="*/ 554855 h 1273770"/>
                <a:gd name="connsiteX290" fmla="*/ 348902 w 1414636"/>
                <a:gd name="connsiteY290" fmla="*/ 561269 h 1273770"/>
                <a:gd name="connsiteX291" fmla="*/ 357290 w 1414636"/>
                <a:gd name="connsiteY291" fmla="*/ 566203 h 1273770"/>
                <a:gd name="connsiteX292" fmla="*/ 359362 w 1414636"/>
                <a:gd name="connsiteY292" fmla="*/ 562947 h 1273770"/>
                <a:gd name="connsiteX293" fmla="*/ 374165 w 1414636"/>
                <a:gd name="connsiteY293" fmla="*/ 561318 h 1273770"/>
                <a:gd name="connsiteX294" fmla="*/ 386648 w 1414636"/>
                <a:gd name="connsiteY294" fmla="*/ 571186 h 1273770"/>
                <a:gd name="connsiteX295" fmla="*/ 397108 w 1414636"/>
                <a:gd name="connsiteY295" fmla="*/ 569558 h 1273770"/>
                <a:gd name="connsiteX296" fmla="*/ 409591 w 1414636"/>
                <a:gd name="connsiteY296" fmla="*/ 580857 h 1273770"/>
                <a:gd name="connsiteX297" fmla="*/ 415857 w 1414636"/>
                <a:gd name="connsiteY297" fmla="*/ 580857 h 1273770"/>
                <a:gd name="connsiteX298" fmla="*/ 430659 w 1414636"/>
                <a:gd name="connsiteY298" fmla="*/ 585791 h 1273770"/>
                <a:gd name="connsiteX299" fmla="*/ 441119 w 1414636"/>
                <a:gd name="connsiteY299" fmla="*/ 589048 h 1273770"/>
                <a:gd name="connsiteX300" fmla="*/ 442057 w 1414636"/>
                <a:gd name="connsiteY300" fmla="*/ 595857 h 1273770"/>
                <a:gd name="connsiteX301" fmla="*/ 450395 w 1414636"/>
                <a:gd name="connsiteY301" fmla="*/ 597485 h 1273770"/>
                <a:gd name="connsiteX302" fmla="*/ 458734 w 1414636"/>
                <a:gd name="connsiteY302" fmla="*/ 602419 h 1273770"/>
                <a:gd name="connsiteX303" fmla="*/ 479605 w 1414636"/>
                <a:gd name="connsiteY303" fmla="*/ 600840 h 1273770"/>
                <a:gd name="connsiteX304" fmla="*/ 494407 w 1414636"/>
                <a:gd name="connsiteY304" fmla="*/ 607304 h 1273770"/>
                <a:gd name="connsiteX305" fmla="*/ 496480 w 1414636"/>
                <a:gd name="connsiteY305" fmla="*/ 613767 h 1273770"/>
                <a:gd name="connsiteX306" fmla="*/ 494407 w 1414636"/>
                <a:gd name="connsiteY306" fmla="*/ 628273 h 1273770"/>
                <a:gd name="connsiteX307" fmla="*/ 498601 w 1414636"/>
                <a:gd name="connsiteY307" fmla="*/ 639621 h 1273770"/>
                <a:gd name="connsiteX308" fmla="*/ 494407 w 1414636"/>
                <a:gd name="connsiteY308" fmla="*/ 646085 h 1273770"/>
                <a:gd name="connsiteX309" fmla="*/ 506940 w 1414636"/>
                <a:gd name="connsiteY309" fmla="*/ 665426 h 1273770"/>
                <a:gd name="connsiteX310" fmla="*/ 506940 w 1414636"/>
                <a:gd name="connsiteY310" fmla="*/ 679735 h 1273770"/>
                <a:gd name="connsiteX311" fmla="*/ 569503 w 1414636"/>
                <a:gd name="connsiteY311" fmla="*/ 681413 h 1273770"/>
                <a:gd name="connsiteX312" fmla="*/ 573648 w 1414636"/>
                <a:gd name="connsiteY312" fmla="*/ 700754 h 1273770"/>
                <a:gd name="connsiteX313" fmla="*/ 571625 w 1414636"/>
                <a:gd name="connsiteY313" fmla="*/ 713681 h 1273770"/>
                <a:gd name="connsiteX314" fmla="*/ 590374 w 1414636"/>
                <a:gd name="connsiteY314" fmla="*/ 716938 h 1273770"/>
                <a:gd name="connsiteX315" fmla="*/ 609173 w 1414636"/>
                <a:gd name="connsiteY315" fmla="*/ 745999 h 1273770"/>
                <a:gd name="connsiteX316" fmla="*/ 611245 w 1414636"/>
                <a:gd name="connsiteY316" fmla="*/ 760505 h 1273770"/>
                <a:gd name="connsiteX317" fmla="*/ 592496 w 1414636"/>
                <a:gd name="connsiteY317" fmla="*/ 791195 h 1273770"/>
                <a:gd name="connsiteX318" fmla="*/ 594519 w 1414636"/>
                <a:gd name="connsiteY318" fmla="*/ 796129 h 1273770"/>
                <a:gd name="connsiteX319" fmla="*/ 590374 w 1414636"/>
                <a:gd name="connsiteY319" fmla="*/ 801063 h 1273770"/>
                <a:gd name="connsiteX320" fmla="*/ 592496 w 1414636"/>
                <a:gd name="connsiteY320" fmla="*/ 804320 h 1273770"/>
                <a:gd name="connsiteX321" fmla="*/ 590374 w 1414636"/>
                <a:gd name="connsiteY321" fmla="*/ 810783 h 1273770"/>
                <a:gd name="connsiteX322" fmla="*/ 598713 w 1414636"/>
                <a:gd name="connsiteY322" fmla="*/ 817247 h 1273770"/>
                <a:gd name="connsiteX323" fmla="*/ 600785 w 1414636"/>
                <a:gd name="connsiteY323" fmla="*/ 827115 h 1273770"/>
                <a:gd name="connsiteX324" fmla="*/ 607051 w 1414636"/>
                <a:gd name="connsiteY324" fmla="*/ 836983 h 1273770"/>
                <a:gd name="connsiteX325" fmla="*/ 602906 w 1414636"/>
                <a:gd name="connsiteY325" fmla="*/ 854745 h 1273770"/>
                <a:gd name="connsiteX326" fmla="*/ 604880 w 1414636"/>
                <a:gd name="connsiteY326" fmla="*/ 862294 h 1273770"/>
                <a:gd name="connsiteX327" fmla="*/ 602808 w 1414636"/>
                <a:gd name="connsiteY327" fmla="*/ 868758 h 1273770"/>
                <a:gd name="connsiteX328" fmla="*/ 604880 w 1414636"/>
                <a:gd name="connsiteY328" fmla="*/ 875222 h 1273770"/>
                <a:gd name="connsiteX329" fmla="*/ 619682 w 1414636"/>
                <a:gd name="connsiteY329" fmla="*/ 875222 h 1273770"/>
                <a:gd name="connsiteX330" fmla="*/ 625949 w 1414636"/>
                <a:gd name="connsiteY330" fmla="*/ 876850 h 1273770"/>
                <a:gd name="connsiteX331" fmla="*/ 642626 w 1414636"/>
                <a:gd name="connsiteY331" fmla="*/ 875222 h 1273770"/>
                <a:gd name="connsiteX332" fmla="*/ 653086 w 1414636"/>
                <a:gd name="connsiteY332" fmla="*/ 878429 h 1273770"/>
                <a:gd name="connsiteX333" fmla="*/ 669763 w 1414636"/>
                <a:gd name="connsiteY333" fmla="*/ 873495 h 1273770"/>
                <a:gd name="connsiteX334" fmla="*/ 678052 w 1414636"/>
                <a:gd name="connsiteY334" fmla="*/ 878429 h 1273770"/>
                <a:gd name="connsiteX335" fmla="*/ 684318 w 1414636"/>
                <a:gd name="connsiteY335" fmla="*/ 880057 h 1273770"/>
                <a:gd name="connsiteX336" fmla="*/ 686440 w 1414636"/>
                <a:gd name="connsiteY336" fmla="*/ 888149 h 1273770"/>
                <a:gd name="connsiteX337" fmla="*/ 696900 w 1414636"/>
                <a:gd name="connsiteY337" fmla="*/ 920418 h 1273770"/>
                <a:gd name="connsiteX338" fmla="*/ 703117 w 1414636"/>
                <a:gd name="connsiteY338" fmla="*/ 933345 h 1273770"/>
                <a:gd name="connsiteX339" fmla="*/ 709383 w 1414636"/>
                <a:gd name="connsiteY339" fmla="*/ 934973 h 1273770"/>
                <a:gd name="connsiteX340" fmla="*/ 724185 w 1414636"/>
                <a:gd name="connsiteY340" fmla="*/ 928509 h 1273770"/>
                <a:gd name="connsiteX341" fmla="*/ 732524 w 1414636"/>
                <a:gd name="connsiteY341" fmla="*/ 930137 h 1273770"/>
                <a:gd name="connsiteX342" fmla="*/ 736717 w 1414636"/>
                <a:gd name="connsiteY342" fmla="*/ 935071 h 1273770"/>
                <a:gd name="connsiteX343" fmla="*/ 742934 w 1414636"/>
                <a:gd name="connsiteY343" fmla="*/ 935071 h 1273770"/>
                <a:gd name="connsiteX344" fmla="*/ 738790 w 1414636"/>
                <a:gd name="connsiteY344" fmla="*/ 941535 h 1273770"/>
                <a:gd name="connsiteX345" fmla="*/ 738790 w 1414636"/>
                <a:gd name="connsiteY345" fmla="*/ 970597 h 1273770"/>
                <a:gd name="connsiteX346" fmla="*/ 736717 w 1414636"/>
                <a:gd name="connsiteY346" fmla="*/ 973804 h 1273770"/>
                <a:gd name="connsiteX347" fmla="*/ 736717 w 1414636"/>
                <a:gd name="connsiteY347" fmla="*/ 973804 h 1273770"/>
                <a:gd name="connsiteX348" fmla="*/ 736717 w 1414636"/>
                <a:gd name="connsiteY348" fmla="*/ 978738 h 1273770"/>
                <a:gd name="connsiteX349" fmla="*/ 734596 w 1414636"/>
                <a:gd name="connsiteY349" fmla="*/ 981994 h 1273770"/>
                <a:gd name="connsiteX350" fmla="*/ 734596 w 1414636"/>
                <a:gd name="connsiteY350" fmla="*/ 985201 h 1273770"/>
                <a:gd name="connsiteX351" fmla="*/ 740862 w 1414636"/>
                <a:gd name="connsiteY351" fmla="*/ 981994 h 1273770"/>
                <a:gd name="connsiteX352" fmla="*/ 757589 w 1414636"/>
                <a:gd name="connsiteY352" fmla="*/ 983573 h 1273770"/>
                <a:gd name="connsiteX353" fmla="*/ 757589 w 1414636"/>
                <a:gd name="connsiteY353" fmla="*/ 990037 h 1273770"/>
                <a:gd name="connsiteX354" fmla="*/ 763805 w 1414636"/>
                <a:gd name="connsiteY354" fmla="*/ 1002964 h 1273770"/>
                <a:gd name="connsiteX355" fmla="*/ 763805 w 1414636"/>
                <a:gd name="connsiteY355" fmla="*/ 1014263 h 1273770"/>
                <a:gd name="connsiteX356" fmla="*/ 765878 w 1414636"/>
                <a:gd name="connsiteY356" fmla="*/ 1025562 h 1273770"/>
                <a:gd name="connsiteX357" fmla="*/ 767999 w 1414636"/>
                <a:gd name="connsiteY357" fmla="*/ 1036861 h 1273770"/>
                <a:gd name="connsiteX358" fmla="*/ 765878 w 1414636"/>
                <a:gd name="connsiteY358" fmla="*/ 1041795 h 1273770"/>
                <a:gd name="connsiteX359" fmla="*/ 757589 w 1414636"/>
                <a:gd name="connsiteY359" fmla="*/ 1041795 h 1273770"/>
                <a:gd name="connsiteX360" fmla="*/ 749201 w 1414636"/>
                <a:gd name="connsiteY360" fmla="*/ 1045002 h 1273770"/>
                <a:gd name="connsiteX361" fmla="*/ 747128 w 1414636"/>
                <a:gd name="connsiteY361" fmla="*/ 1048209 h 1273770"/>
                <a:gd name="connsiteX362" fmla="*/ 742934 w 1414636"/>
                <a:gd name="connsiteY362" fmla="*/ 1051416 h 1273770"/>
                <a:gd name="connsiteX363" fmla="*/ 740862 w 1414636"/>
                <a:gd name="connsiteY363" fmla="*/ 1049837 h 1273770"/>
                <a:gd name="connsiteX364" fmla="*/ 724185 w 1414636"/>
                <a:gd name="connsiteY364" fmla="*/ 1059705 h 1273770"/>
                <a:gd name="connsiteX365" fmla="*/ 722063 w 1414636"/>
                <a:gd name="connsiteY365" fmla="*/ 1062912 h 1273770"/>
                <a:gd name="connsiteX366" fmla="*/ 715847 w 1414636"/>
                <a:gd name="connsiteY366" fmla="*/ 1064541 h 1273770"/>
                <a:gd name="connsiteX367" fmla="*/ 703314 w 1414636"/>
                <a:gd name="connsiteY367" fmla="*/ 1074409 h 1273770"/>
                <a:gd name="connsiteX368" fmla="*/ 699120 w 1414636"/>
                <a:gd name="connsiteY368" fmla="*/ 1076037 h 1273770"/>
                <a:gd name="connsiteX369" fmla="*/ 697097 w 1414636"/>
                <a:gd name="connsiteY369" fmla="*/ 1082500 h 1273770"/>
                <a:gd name="connsiteX370" fmla="*/ 692903 w 1414636"/>
                <a:gd name="connsiteY370" fmla="*/ 1084079 h 1273770"/>
                <a:gd name="connsiteX371" fmla="*/ 688709 w 1414636"/>
                <a:gd name="connsiteY371" fmla="*/ 1084079 h 1273770"/>
                <a:gd name="connsiteX372" fmla="*/ 676226 w 1414636"/>
                <a:gd name="connsiteY372" fmla="*/ 1095428 h 1273770"/>
                <a:gd name="connsiteX373" fmla="*/ 674105 w 1414636"/>
                <a:gd name="connsiteY373" fmla="*/ 1100362 h 1273770"/>
                <a:gd name="connsiteX374" fmla="*/ 676226 w 1414636"/>
                <a:gd name="connsiteY374" fmla="*/ 1106825 h 1273770"/>
                <a:gd name="connsiteX375" fmla="*/ 669960 w 1414636"/>
                <a:gd name="connsiteY375" fmla="*/ 1108404 h 1273770"/>
                <a:gd name="connsiteX376" fmla="*/ 667838 w 1414636"/>
                <a:gd name="connsiteY376" fmla="*/ 1113338 h 1273770"/>
                <a:gd name="connsiteX377" fmla="*/ 659154 w 1414636"/>
                <a:gd name="connsiteY377" fmla="*/ 1123798 h 1273770"/>
                <a:gd name="connsiteX378" fmla="*/ 655010 w 1414636"/>
                <a:gd name="connsiteY378" fmla="*/ 1127006 h 1273770"/>
                <a:gd name="connsiteX379" fmla="*/ 648744 w 1414636"/>
                <a:gd name="connsiteY379" fmla="*/ 1136874 h 1273770"/>
                <a:gd name="connsiteX380" fmla="*/ 648744 w 1414636"/>
                <a:gd name="connsiteY380" fmla="*/ 1140081 h 1273770"/>
                <a:gd name="connsiteX381" fmla="*/ 642477 w 1414636"/>
                <a:gd name="connsiteY381" fmla="*/ 1143288 h 1273770"/>
                <a:gd name="connsiteX382" fmla="*/ 640356 w 1414636"/>
                <a:gd name="connsiteY382" fmla="*/ 1146544 h 1273770"/>
                <a:gd name="connsiteX383" fmla="*/ 646671 w 1414636"/>
                <a:gd name="connsiteY383" fmla="*/ 1146544 h 1273770"/>
                <a:gd name="connsiteX384" fmla="*/ 650816 w 1414636"/>
                <a:gd name="connsiteY384" fmla="*/ 1148172 h 1273770"/>
                <a:gd name="connsiteX385" fmla="*/ 667493 w 1414636"/>
                <a:gd name="connsiteY385" fmla="*/ 1143238 h 1273770"/>
                <a:gd name="connsiteX386" fmla="*/ 675881 w 1414636"/>
                <a:gd name="connsiteY386" fmla="*/ 1148172 h 1273770"/>
                <a:gd name="connsiteX387" fmla="*/ 684170 w 1414636"/>
                <a:gd name="connsiteY387" fmla="*/ 1158040 h 1273770"/>
                <a:gd name="connsiteX388" fmla="*/ 690485 w 1414636"/>
                <a:gd name="connsiteY388" fmla="*/ 1159669 h 1273770"/>
                <a:gd name="connsiteX389" fmla="*/ 696752 w 1414636"/>
                <a:gd name="connsiteY389" fmla="*/ 1169537 h 1273770"/>
                <a:gd name="connsiteX390" fmla="*/ 705041 w 1414636"/>
                <a:gd name="connsiteY390" fmla="*/ 1180836 h 1273770"/>
                <a:gd name="connsiteX391" fmla="*/ 709235 w 1414636"/>
                <a:gd name="connsiteY391" fmla="*/ 1180836 h 1273770"/>
                <a:gd name="connsiteX392" fmla="*/ 715501 w 1414636"/>
                <a:gd name="connsiteY392" fmla="*/ 1174372 h 1273770"/>
                <a:gd name="connsiteX393" fmla="*/ 719646 w 1414636"/>
                <a:gd name="connsiteY393" fmla="*/ 1174372 h 1273770"/>
                <a:gd name="connsiteX394" fmla="*/ 727984 w 1414636"/>
                <a:gd name="connsiteY394" fmla="*/ 1187299 h 1273770"/>
                <a:gd name="connsiteX395" fmla="*/ 738444 w 1414636"/>
                <a:gd name="connsiteY395" fmla="*/ 1190556 h 1273770"/>
                <a:gd name="connsiteX396" fmla="*/ 746783 w 1414636"/>
                <a:gd name="connsiteY396" fmla="*/ 1192135 h 1273770"/>
                <a:gd name="connsiteX397" fmla="*/ 755122 w 1414636"/>
                <a:gd name="connsiteY397" fmla="*/ 1198598 h 1273770"/>
                <a:gd name="connsiteX398" fmla="*/ 755122 w 1414636"/>
                <a:gd name="connsiteY398" fmla="*/ 1208467 h 1273770"/>
                <a:gd name="connsiteX399" fmla="*/ 761388 w 1414636"/>
                <a:gd name="connsiteY399" fmla="*/ 1206838 h 1273770"/>
                <a:gd name="connsiteX400" fmla="*/ 776190 w 1414636"/>
                <a:gd name="connsiteY400" fmla="*/ 1211772 h 1273770"/>
                <a:gd name="connsiteX401" fmla="*/ 784528 w 1414636"/>
                <a:gd name="connsiteY401" fmla="*/ 1221640 h 1273770"/>
                <a:gd name="connsiteX402" fmla="*/ 792867 w 1414636"/>
                <a:gd name="connsiteY402" fmla="*/ 1232989 h 1273770"/>
                <a:gd name="connsiteX403" fmla="*/ 801205 w 1414636"/>
                <a:gd name="connsiteY403" fmla="*/ 1237923 h 1273770"/>
                <a:gd name="connsiteX404" fmla="*/ 799133 w 1414636"/>
                <a:gd name="connsiteY404" fmla="*/ 1245965 h 1273770"/>
                <a:gd name="connsiteX405" fmla="*/ 792867 w 1414636"/>
                <a:gd name="connsiteY405" fmla="*/ 1254057 h 1273770"/>
                <a:gd name="connsiteX406" fmla="*/ 797061 w 1414636"/>
                <a:gd name="connsiteY406" fmla="*/ 1263925 h 1273770"/>
                <a:gd name="connsiteX407" fmla="*/ 797061 w 1414636"/>
                <a:gd name="connsiteY407" fmla="*/ 1265602 h 1273770"/>
                <a:gd name="connsiteX408" fmla="*/ 799133 w 1414636"/>
                <a:gd name="connsiteY408" fmla="*/ 1267182 h 1273770"/>
                <a:gd name="connsiteX409" fmla="*/ 803278 w 1414636"/>
                <a:gd name="connsiteY409" fmla="*/ 1272116 h 1273770"/>
                <a:gd name="connsiteX410" fmla="*/ 805399 w 1414636"/>
                <a:gd name="connsiteY410" fmla="*/ 1273744 h 1273770"/>
                <a:gd name="connsiteX411" fmla="*/ 817932 w 1414636"/>
                <a:gd name="connsiteY411" fmla="*/ 1263876 h 1273770"/>
                <a:gd name="connsiteX412" fmla="*/ 824149 w 1414636"/>
                <a:gd name="connsiteY412" fmla="*/ 1254008 h 1273770"/>
                <a:gd name="connsiteX413" fmla="*/ 828342 w 1414636"/>
                <a:gd name="connsiteY413" fmla="*/ 1233038 h 1273770"/>
                <a:gd name="connsiteX414" fmla="*/ 834609 w 1414636"/>
                <a:gd name="connsiteY414" fmla="*/ 1218236 h 1273770"/>
                <a:gd name="connsiteX415" fmla="*/ 836681 w 1414636"/>
                <a:gd name="connsiteY415" fmla="*/ 1215029 h 1273770"/>
                <a:gd name="connsiteX416" fmla="*/ 834609 w 1414636"/>
                <a:gd name="connsiteY416" fmla="*/ 1211772 h 1273770"/>
                <a:gd name="connsiteX417" fmla="*/ 828342 w 1414636"/>
                <a:gd name="connsiteY417" fmla="*/ 1203680 h 1273770"/>
                <a:gd name="connsiteX418" fmla="*/ 830415 w 1414636"/>
                <a:gd name="connsiteY418" fmla="*/ 1197217 h 1273770"/>
                <a:gd name="connsiteX419" fmla="*/ 836681 w 1414636"/>
                <a:gd name="connsiteY419" fmla="*/ 1195638 h 1273770"/>
                <a:gd name="connsiteX420" fmla="*/ 836681 w 1414636"/>
                <a:gd name="connsiteY420" fmla="*/ 1192382 h 1273770"/>
                <a:gd name="connsiteX421" fmla="*/ 842898 w 1414636"/>
                <a:gd name="connsiteY421" fmla="*/ 1185918 h 1273770"/>
                <a:gd name="connsiteX422" fmla="*/ 842898 w 1414636"/>
                <a:gd name="connsiteY422" fmla="*/ 1180984 h 1273770"/>
                <a:gd name="connsiteX423" fmla="*/ 847092 w 1414636"/>
                <a:gd name="connsiteY423" fmla="*/ 1184240 h 1273770"/>
                <a:gd name="connsiteX424" fmla="*/ 851286 w 1414636"/>
                <a:gd name="connsiteY424" fmla="*/ 1184240 h 1273770"/>
                <a:gd name="connsiteX425" fmla="*/ 857552 w 1414636"/>
                <a:gd name="connsiteY425" fmla="*/ 1177776 h 1273770"/>
                <a:gd name="connsiteX426" fmla="*/ 857552 w 1414636"/>
                <a:gd name="connsiteY426" fmla="*/ 1172842 h 1273770"/>
                <a:gd name="connsiteX427" fmla="*/ 859624 w 1414636"/>
                <a:gd name="connsiteY427" fmla="*/ 1169586 h 1273770"/>
                <a:gd name="connsiteX428" fmla="*/ 861746 w 1414636"/>
                <a:gd name="connsiteY428" fmla="*/ 1163122 h 1273770"/>
                <a:gd name="connsiteX429" fmla="*/ 863769 w 1414636"/>
                <a:gd name="connsiteY429" fmla="*/ 1159915 h 1273770"/>
                <a:gd name="connsiteX430" fmla="*/ 867963 w 1414636"/>
                <a:gd name="connsiteY430" fmla="*/ 1159915 h 1273770"/>
                <a:gd name="connsiteX431" fmla="*/ 870035 w 1414636"/>
                <a:gd name="connsiteY431" fmla="*/ 1153452 h 1273770"/>
                <a:gd name="connsiteX432" fmla="*/ 867963 w 1414636"/>
                <a:gd name="connsiteY432" fmla="*/ 1150195 h 1273770"/>
                <a:gd name="connsiteX433" fmla="*/ 863769 w 1414636"/>
                <a:gd name="connsiteY433" fmla="*/ 1145261 h 1273770"/>
                <a:gd name="connsiteX434" fmla="*/ 863769 w 1414636"/>
                <a:gd name="connsiteY434" fmla="*/ 1137219 h 1273770"/>
                <a:gd name="connsiteX435" fmla="*/ 861450 w 1414636"/>
                <a:gd name="connsiteY435" fmla="*/ 1133666 h 1273770"/>
                <a:gd name="connsiteX436" fmla="*/ 865595 w 1414636"/>
                <a:gd name="connsiteY436" fmla="*/ 1135295 h 1273770"/>
                <a:gd name="connsiteX437" fmla="*/ 869739 w 1414636"/>
                <a:gd name="connsiteY437" fmla="*/ 1141758 h 1273770"/>
                <a:gd name="connsiteX438" fmla="*/ 878127 w 1414636"/>
                <a:gd name="connsiteY438" fmla="*/ 1149801 h 1273770"/>
                <a:gd name="connsiteX439" fmla="*/ 880199 w 1414636"/>
                <a:gd name="connsiteY439" fmla="*/ 1149801 h 1273770"/>
                <a:gd name="connsiteX440" fmla="*/ 884344 w 1414636"/>
                <a:gd name="connsiteY440" fmla="*/ 1148222 h 1273770"/>
                <a:gd name="connsiteX441" fmla="*/ 886416 w 1414636"/>
                <a:gd name="connsiteY441" fmla="*/ 1149801 h 1273770"/>
                <a:gd name="connsiteX442" fmla="*/ 888538 w 1414636"/>
                <a:gd name="connsiteY442" fmla="*/ 1156264 h 1273770"/>
                <a:gd name="connsiteX443" fmla="*/ 884344 w 1414636"/>
                <a:gd name="connsiteY443" fmla="*/ 1156264 h 1273770"/>
                <a:gd name="connsiteX444" fmla="*/ 882321 w 1414636"/>
                <a:gd name="connsiteY444" fmla="*/ 1167563 h 1273770"/>
                <a:gd name="connsiteX445" fmla="*/ 873933 w 1414636"/>
                <a:gd name="connsiteY445" fmla="*/ 1178862 h 1273770"/>
                <a:gd name="connsiteX446" fmla="*/ 865595 w 1414636"/>
                <a:gd name="connsiteY446" fmla="*/ 1178862 h 1273770"/>
                <a:gd name="connsiteX447" fmla="*/ 865595 w 1414636"/>
                <a:gd name="connsiteY447" fmla="*/ 1186954 h 1273770"/>
                <a:gd name="connsiteX448" fmla="*/ 861450 w 1414636"/>
                <a:gd name="connsiteY448" fmla="*/ 1191888 h 1273770"/>
                <a:gd name="connsiteX449" fmla="*/ 859328 w 1414636"/>
                <a:gd name="connsiteY449" fmla="*/ 1190309 h 1273770"/>
                <a:gd name="connsiteX450" fmla="*/ 853062 w 1414636"/>
                <a:gd name="connsiteY450" fmla="*/ 1195243 h 1273770"/>
                <a:gd name="connsiteX451" fmla="*/ 846796 w 1414636"/>
                <a:gd name="connsiteY451" fmla="*/ 1198450 h 1273770"/>
                <a:gd name="connsiteX452" fmla="*/ 846796 w 1414636"/>
                <a:gd name="connsiteY452" fmla="*/ 1201707 h 1273770"/>
                <a:gd name="connsiteX453" fmla="*/ 840579 w 1414636"/>
                <a:gd name="connsiteY453" fmla="*/ 1203286 h 1273770"/>
                <a:gd name="connsiteX454" fmla="*/ 836385 w 1414636"/>
                <a:gd name="connsiteY454" fmla="*/ 1204914 h 1273770"/>
                <a:gd name="connsiteX455" fmla="*/ 838507 w 1414636"/>
                <a:gd name="connsiteY455" fmla="*/ 1208170 h 1273770"/>
                <a:gd name="connsiteX456" fmla="*/ 844723 w 1414636"/>
                <a:gd name="connsiteY456" fmla="*/ 1209749 h 1273770"/>
                <a:gd name="connsiteX457" fmla="*/ 867667 w 1414636"/>
                <a:gd name="connsiteY457" fmla="*/ 1195243 h 1273770"/>
                <a:gd name="connsiteX458" fmla="*/ 880199 w 1414636"/>
                <a:gd name="connsiteY458" fmla="*/ 1183944 h 1273770"/>
                <a:gd name="connsiteX459" fmla="*/ 896876 w 1414636"/>
                <a:gd name="connsiteY459" fmla="*/ 1159718 h 1273770"/>
                <a:gd name="connsiteX460" fmla="*/ 903143 w 1414636"/>
                <a:gd name="connsiteY460" fmla="*/ 1146791 h 1273770"/>
                <a:gd name="connsiteX461" fmla="*/ 909409 w 1414636"/>
                <a:gd name="connsiteY461" fmla="*/ 1130657 h 1273770"/>
                <a:gd name="connsiteX462" fmla="*/ 926086 w 1414636"/>
                <a:gd name="connsiteY462" fmla="*/ 1103174 h 1273770"/>
                <a:gd name="connsiteX463" fmla="*/ 942812 w 1414636"/>
                <a:gd name="connsiteY463" fmla="*/ 1086990 h 1273770"/>
                <a:gd name="connsiteX464" fmla="*/ 944884 w 1414636"/>
                <a:gd name="connsiteY464" fmla="*/ 1082056 h 1273770"/>
                <a:gd name="connsiteX465" fmla="*/ 942812 w 1414636"/>
                <a:gd name="connsiteY465" fmla="*/ 1080428 h 1273770"/>
                <a:gd name="connsiteX466" fmla="*/ 942812 w 1414636"/>
                <a:gd name="connsiteY466" fmla="*/ 1075494 h 1273770"/>
                <a:gd name="connsiteX467" fmla="*/ 946957 w 1414636"/>
                <a:gd name="connsiteY467" fmla="*/ 1075494 h 1273770"/>
                <a:gd name="connsiteX468" fmla="*/ 949029 w 1414636"/>
                <a:gd name="connsiteY468" fmla="*/ 1067402 h 1273770"/>
                <a:gd name="connsiteX469" fmla="*/ 955295 w 1414636"/>
                <a:gd name="connsiteY469" fmla="*/ 1065774 h 1273770"/>
                <a:gd name="connsiteX470" fmla="*/ 953223 w 1414636"/>
                <a:gd name="connsiteY470" fmla="*/ 1059360 h 1273770"/>
                <a:gd name="connsiteX471" fmla="*/ 955295 w 1414636"/>
                <a:gd name="connsiteY471" fmla="*/ 1056104 h 1273770"/>
                <a:gd name="connsiteX472" fmla="*/ 953223 w 1414636"/>
                <a:gd name="connsiteY472" fmla="*/ 1054475 h 1273770"/>
                <a:gd name="connsiteX473" fmla="*/ 949029 w 1414636"/>
                <a:gd name="connsiteY473" fmla="*/ 1052896 h 1273770"/>
                <a:gd name="connsiteX474" fmla="*/ 951101 w 1414636"/>
                <a:gd name="connsiteY474" fmla="*/ 1046433 h 1273770"/>
                <a:gd name="connsiteX475" fmla="*/ 942812 w 1414636"/>
                <a:gd name="connsiteY475" fmla="*/ 1038341 h 1273770"/>
                <a:gd name="connsiteX476" fmla="*/ 942812 w 1414636"/>
                <a:gd name="connsiteY476" fmla="*/ 1033407 h 1273770"/>
                <a:gd name="connsiteX477" fmla="*/ 944884 w 1414636"/>
                <a:gd name="connsiteY477" fmla="*/ 1030200 h 1273770"/>
                <a:gd name="connsiteX478" fmla="*/ 942812 w 1414636"/>
                <a:gd name="connsiteY478" fmla="*/ 1025266 h 1273770"/>
                <a:gd name="connsiteX479" fmla="*/ 940691 w 1414636"/>
                <a:gd name="connsiteY479" fmla="*/ 1017223 h 1273770"/>
                <a:gd name="connsiteX480" fmla="*/ 936546 w 1414636"/>
                <a:gd name="connsiteY480" fmla="*/ 1007355 h 1273770"/>
                <a:gd name="connsiteX481" fmla="*/ 940691 w 1414636"/>
                <a:gd name="connsiteY481" fmla="*/ 1005727 h 1273770"/>
                <a:gd name="connsiteX482" fmla="*/ 949029 w 1414636"/>
                <a:gd name="connsiteY482" fmla="*/ 1004148 h 1273770"/>
                <a:gd name="connsiteX483" fmla="*/ 946957 w 1414636"/>
                <a:gd name="connsiteY483" fmla="*/ 997635 h 1273770"/>
                <a:gd name="connsiteX484" fmla="*/ 942812 w 1414636"/>
                <a:gd name="connsiteY484" fmla="*/ 996056 h 1273770"/>
                <a:gd name="connsiteX485" fmla="*/ 951101 w 1414636"/>
                <a:gd name="connsiteY485" fmla="*/ 994428 h 1273770"/>
                <a:gd name="connsiteX486" fmla="*/ 951101 w 1414636"/>
                <a:gd name="connsiteY486" fmla="*/ 987964 h 1273770"/>
                <a:gd name="connsiteX487" fmla="*/ 942812 w 1414636"/>
                <a:gd name="connsiteY487" fmla="*/ 984757 h 1273770"/>
                <a:gd name="connsiteX488" fmla="*/ 949029 w 1414636"/>
                <a:gd name="connsiteY488" fmla="*/ 983129 h 1273770"/>
                <a:gd name="connsiteX489" fmla="*/ 955295 w 1414636"/>
                <a:gd name="connsiteY489" fmla="*/ 978195 h 1273770"/>
                <a:gd name="connsiteX490" fmla="*/ 957368 w 1414636"/>
                <a:gd name="connsiteY490" fmla="*/ 979774 h 1273770"/>
                <a:gd name="connsiteX491" fmla="*/ 969900 w 1414636"/>
                <a:gd name="connsiteY491" fmla="*/ 969906 h 1273770"/>
                <a:gd name="connsiteX492" fmla="*/ 976166 w 1414636"/>
                <a:gd name="connsiteY492" fmla="*/ 966699 h 1273770"/>
                <a:gd name="connsiteX493" fmla="*/ 976166 w 1414636"/>
                <a:gd name="connsiteY493" fmla="*/ 963492 h 1273770"/>
                <a:gd name="connsiteX494" fmla="*/ 986626 w 1414636"/>
                <a:gd name="connsiteY494" fmla="*/ 957028 h 1273770"/>
                <a:gd name="connsiteX495" fmla="*/ 997037 w 1414636"/>
                <a:gd name="connsiteY495" fmla="*/ 950515 h 1273770"/>
                <a:gd name="connsiteX496" fmla="*/ 1011839 w 1414636"/>
                <a:gd name="connsiteY496" fmla="*/ 936009 h 1273770"/>
                <a:gd name="connsiteX497" fmla="*/ 1024372 w 1414636"/>
                <a:gd name="connsiteY497" fmla="*/ 934381 h 1273770"/>
                <a:gd name="connsiteX498" fmla="*/ 1032710 w 1414636"/>
                <a:gd name="connsiteY498" fmla="*/ 927917 h 1273770"/>
                <a:gd name="connsiteX499" fmla="*/ 1038976 w 1414636"/>
                <a:gd name="connsiteY499" fmla="*/ 922983 h 1273770"/>
                <a:gd name="connsiteX500" fmla="*/ 1047364 w 1414636"/>
                <a:gd name="connsiteY500" fmla="*/ 922983 h 1273770"/>
                <a:gd name="connsiteX501" fmla="*/ 1051509 w 1414636"/>
                <a:gd name="connsiteY501" fmla="*/ 926190 h 1273770"/>
                <a:gd name="connsiteX502" fmla="*/ 1057775 w 1414636"/>
                <a:gd name="connsiteY502" fmla="*/ 927819 h 1273770"/>
                <a:gd name="connsiteX503" fmla="*/ 1057775 w 1414636"/>
                <a:gd name="connsiteY503" fmla="*/ 922885 h 1273770"/>
                <a:gd name="connsiteX504" fmla="*/ 1064041 w 1414636"/>
                <a:gd name="connsiteY504" fmla="*/ 914793 h 1273770"/>
                <a:gd name="connsiteX505" fmla="*/ 1078844 w 1414636"/>
                <a:gd name="connsiteY505" fmla="*/ 906750 h 1273770"/>
                <a:gd name="connsiteX506" fmla="*/ 1085159 w 1414636"/>
                <a:gd name="connsiteY506" fmla="*/ 905122 h 1273770"/>
                <a:gd name="connsiteX507" fmla="*/ 1085159 w 1414636"/>
                <a:gd name="connsiteY507" fmla="*/ 901866 h 1273770"/>
                <a:gd name="connsiteX508" fmla="*/ 1080965 w 1414636"/>
                <a:gd name="connsiteY508" fmla="*/ 900287 h 1273770"/>
                <a:gd name="connsiteX509" fmla="*/ 1076771 w 1414636"/>
                <a:gd name="connsiteY509" fmla="*/ 900287 h 1273770"/>
                <a:gd name="connsiteX510" fmla="*/ 1074699 w 1414636"/>
                <a:gd name="connsiteY510" fmla="*/ 895353 h 1273770"/>
                <a:gd name="connsiteX511" fmla="*/ 1078547 w 1414636"/>
                <a:gd name="connsiteY511" fmla="*/ 895353 h 1273770"/>
                <a:gd name="connsiteX512" fmla="*/ 1089008 w 1414636"/>
                <a:gd name="connsiteY512" fmla="*/ 890419 h 1273770"/>
                <a:gd name="connsiteX513" fmla="*/ 1099418 w 1414636"/>
                <a:gd name="connsiteY513" fmla="*/ 890419 h 1273770"/>
                <a:gd name="connsiteX514" fmla="*/ 1103612 w 1414636"/>
                <a:gd name="connsiteY514" fmla="*/ 887211 h 1273770"/>
                <a:gd name="connsiteX515" fmla="*/ 1109878 w 1414636"/>
                <a:gd name="connsiteY515" fmla="*/ 887211 h 1273770"/>
                <a:gd name="connsiteX516" fmla="*/ 1109878 w 1414636"/>
                <a:gd name="connsiteY516" fmla="*/ 890419 h 1273770"/>
                <a:gd name="connsiteX517" fmla="*/ 1101540 w 1414636"/>
                <a:gd name="connsiteY517" fmla="*/ 895353 h 1273770"/>
                <a:gd name="connsiteX518" fmla="*/ 1093152 w 1414636"/>
                <a:gd name="connsiteY518" fmla="*/ 896981 h 1273770"/>
                <a:gd name="connsiteX519" fmla="*/ 1091129 w 1414636"/>
                <a:gd name="connsiteY519" fmla="*/ 898609 h 1273770"/>
                <a:gd name="connsiteX520" fmla="*/ 1093152 w 1414636"/>
                <a:gd name="connsiteY520" fmla="*/ 900237 h 1273770"/>
                <a:gd name="connsiteX521" fmla="*/ 1107954 w 1414636"/>
                <a:gd name="connsiteY521" fmla="*/ 895303 h 1273770"/>
                <a:gd name="connsiteX522" fmla="*/ 1124632 w 1414636"/>
                <a:gd name="connsiteY522" fmla="*/ 890369 h 1273770"/>
                <a:gd name="connsiteX523" fmla="*/ 1122510 w 1414636"/>
                <a:gd name="connsiteY523" fmla="*/ 887162 h 1273770"/>
                <a:gd name="connsiteX524" fmla="*/ 1126704 w 1414636"/>
                <a:gd name="connsiteY524" fmla="*/ 883906 h 1273770"/>
                <a:gd name="connsiteX525" fmla="*/ 1130898 w 1414636"/>
                <a:gd name="connsiteY525" fmla="*/ 883906 h 1273770"/>
                <a:gd name="connsiteX526" fmla="*/ 1130898 w 1414636"/>
                <a:gd name="connsiteY526" fmla="*/ 893774 h 1273770"/>
                <a:gd name="connsiteX527" fmla="*/ 1141308 w 1414636"/>
                <a:gd name="connsiteY527" fmla="*/ 895353 h 1273770"/>
                <a:gd name="connsiteX528" fmla="*/ 1147575 w 1414636"/>
                <a:gd name="connsiteY528" fmla="*/ 892145 h 1273770"/>
                <a:gd name="connsiteX529" fmla="*/ 1157492 w 1414636"/>
                <a:gd name="connsiteY529" fmla="*/ 892145 h 1273770"/>
                <a:gd name="connsiteX530" fmla="*/ 1170024 w 1414636"/>
                <a:gd name="connsiteY530" fmla="*/ 893774 h 1273770"/>
                <a:gd name="connsiteX531" fmla="*/ 1176241 w 1414636"/>
                <a:gd name="connsiteY531" fmla="*/ 888840 h 1273770"/>
                <a:gd name="connsiteX532" fmla="*/ 1176241 w 1414636"/>
                <a:gd name="connsiteY532" fmla="*/ 885583 h 1273770"/>
                <a:gd name="connsiteX533" fmla="*/ 1174218 w 1414636"/>
                <a:gd name="connsiteY533" fmla="*/ 883955 h 1273770"/>
                <a:gd name="connsiteX534" fmla="*/ 1176241 w 1414636"/>
                <a:gd name="connsiteY534" fmla="*/ 880748 h 1273770"/>
                <a:gd name="connsiteX535" fmla="*/ 1192968 w 1414636"/>
                <a:gd name="connsiteY535" fmla="*/ 870880 h 1273770"/>
                <a:gd name="connsiteX536" fmla="*/ 1205500 w 1414636"/>
                <a:gd name="connsiteY536" fmla="*/ 867623 h 1273770"/>
                <a:gd name="connsiteX537" fmla="*/ 1211766 w 1414636"/>
                <a:gd name="connsiteY537" fmla="*/ 864416 h 1273770"/>
                <a:gd name="connsiteX538" fmla="*/ 1213839 w 1414636"/>
                <a:gd name="connsiteY538" fmla="*/ 859482 h 1273770"/>
                <a:gd name="connsiteX539" fmla="*/ 1213839 w 1414636"/>
                <a:gd name="connsiteY539" fmla="*/ 857903 h 1273770"/>
                <a:gd name="connsiteX540" fmla="*/ 1207573 w 1414636"/>
                <a:gd name="connsiteY540" fmla="*/ 844976 h 1273770"/>
                <a:gd name="connsiteX541" fmla="*/ 1211766 w 1414636"/>
                <a:gd name="connsiteY541" fmla="*/ 836884 h 1273770"/>
                <a:gd name="connsiteX542" fmla="*/ 1215911 w 1414636"/>
                <a:gd name="connsiteY542" fmla="*/ 831950 h 1273770"/>
                <a:gd name="connsiteX543" fmla="*/ 1215911 w 1414636"/>
                <a:gd name="connsiteY543" fmla="*/ 825486 h 1273770"/>
                <a:gd name="connsiteX544" fmla="*/ 1220056 w 1414636"/>
                <a:gd name="connsiteY544" fmla="*/ 823858 h 1273770"/>
                <a:gd name="connsiteX545" fmla="*/ 1226322 w 1414636"/>
                <a:gd name="connsiteY545" fmla="*/ 820651 h 1273770"/>
                <a:gd name="connsiteX546" fmla="*/ 1226322 w 1414636"/>
                <a:gd name="connsiteY546" fmla="*/ 812559 h 1273770"/>
                <a:gd name="connsiteX547" fmla="*/ 1234710 w 1414636"/>
                <a:gd name="connsiteY547" fmla="*/ 799632 h 1273770"/>
                <a:gd name="connsiteX548" fmla="*/ 1249512 w 1414636"/>
                <a:gd name="connsiteY548" fmla="*/ 784830 h 1273770"/>
                <a:gd name="connsiteX549" fmla="*/ 1249512 w 1414636"/>
                <a:gd name="connsiteY549" fmla="*/ 778416 h 1273770"/>
                <a:gd name="connsiteX550" fmla="*/ 1247390 w 1414636"/>
                <a:gd name="connsiteY550" fmla="*/ 759025 h 1273770"/>
                <a:gd name="connsiteX551" fmla="*/ 1245318 w 1414636"/>
                <a:gd name="connsiteY551" fmla="*/ 755818 h 1273770"/>
                <a:gd name="connsiteX552" fmla="*/ 1249512 w 1414636"/>
                <a:gd name="connsiteY552" fmla="*/ 742891 h 1273770"/>
                <a:gd name="connsiteX553" fmla="*/ 1253656 w 1414636"/>
                <a:gd name="connsiteY553" fmla="*/ 737957 h 1273770"/>
                <a:gd name="connsiteX554" fmla="*/ 1253656 w 1414636"/>
                <a:gd name="connsiteY554" fmla="*/ 734700 h 1273770"/>
                <a:gd name="connsiteX555" fmla="*/ 1264067 w 1414636"/>
                <a:gd name="connsiteY555" fmla="*/ 726658 h 1273770"/>
                <a:gd name="connsiteX556" fmla="*/ 1266189 w 1414636"/>
                <a:gd name="connsiteY556" fmla="*/ 723401 h 1273770"/>
                <a:gd name="connsiteX557" fmla="*/ 1261995 w 1414636"/>
                <a:gd name="connsiteY557" fmla="*/ 712102 h 1273770"/>
                <a:gd name="connsiteX558" fmla="*/ 1268261 w 1414636"/>
                <a:gd name="connsiteY558" fmla="*/ 699175 h 1273770"/>
                <a:gd name="connsiteX559" fmla="*/ 1266041 w 1414636"/>
                <a:gd name="connsiteY559" fmla="*/ 689603 h 1273770"/>
                <a:gd name="connsiteX560" fmla="*/ 1268113 w 1414636"/>
                <a:gd name="connsiteY560" fmla="*/ 681561 h 1273770"/>
                <a:gd name="connsiteX561" fmla="*/ 1268113 w 1414636"/>
                <a:gd name="connsiteY561" fmla="*/ 676627 h 1273770"/>
                <a:gd name="connsiteX562" fmla="*/ 1272307 w 1414636"/>
                <a:gd name="connsiteY562" fmla="*/ 665328 h 1273770"/>
                <a:gd name="connsiteX563" fmla="*/ 1268113 w 1414636"/>
                <a:gd name="connsiteY563" fmla="*/ 623339 h 1273770"/>
                <a:gd name="connsiteX564" fmla="*/ 1268113 w 1414636"/>
                <a:gd name="connsiteY564" fmla="*/ 615247 h 1273770"/>
                <a:gd name="connsiteX565" fmla="*/ 1270186 w 1414636"/>
                <a:gd name="connsiteY565" fmla="*/ 610313 h 1273770"/>
                <a:gd name="connsiteX566" fmla="*/ 1270186 w 1414636"/>
                <a:gd name="connsiteY566" fmla="*/ 603899 h 1273770"/>
                <a:gd name="connsiteX567" fmla="*/ 1268113 w 1414636"/>
                <a:gd name="connsiteY567" fmla="*/ 607106 h 1273770"/>
                <a:gd name="connsiteX568" fmla="*/ 1261847 w 1414636"/>
                <a:gd name="connsiteY568" fmla="*/ 603899 h 1273770"/>
                <a:gd name="connsiteX569" fmla="*/ 1261847 w 1414636"/>
                <a:gd name="connsiteY569" fmla="*/ 598965 h 1273770"/>
                <a:gd name="connsiteX570" fmla="*/ 1268113 w 1414636"/>
                <a:gd name="connsiteY570" fmla="*/ 592501 h 1273770"/>
                <a:gd name="connsiteX571" fmla="*/ 1266041 w 1414636"/>
                <a:gd name="connsiteY571" fmla="*/ 586087 h 1273770"/>
                <a:gd name="connsiteX572" fmla="*/ 1268113 w 1414636"/>
                <a:gd name="connsiteY572" fmla="*/ 581153 h 1273770"/>
                <a:gd name="connsiteX573" fmla="*/ 1272307 w 1414636"/>
                <a:gd name="connsiteY573" fmla="*/ 579525 h 1273770"/>
                <a:gd name="connsiteX574" fmla="*/ 1272307 w 1414636"/>
                <a:gd name="connsiteY574" fmla="*/ 573061 h 1273770"/>
                <a:gd name="connsiteX575" fmla="*/ 1268113 w 1414636"/>
                <a:gd name="connsiteY575" fmla="*/ 565019 h 1273770"/>
                <a:gd name="connsiteX576" fmla="*/ 1257702 w 1414636"/>
                <a:gd name="connsiteY576" fmla="*/ 561763 h 1273770"/>
                <a:gd name="connsiteX577" fmla="*/ 1261847 w 1414636"/>
                <a:gd name="connsiteY577" fmla="*/ 561763 h 1273770"/>
                <a:gd name="connsiteX578" fmla="*/ 1261847 w 1414636"/>
                <a:gd name="connsiteY578" fmla="*/ 558555 h 1273770"/>
                <a:gd name="connsiteX579" fmla="*/ 1263919 w 1414636"/>
                <a:gd name="connsiteY579" fmla="*/ 561763 h 1273770"/>
                <a:gd name="connsiteX580" fmla="*/ 1270186 w 1414636"/>
                <a:gd name="connsiteY580" fmla="*/ 565019 h 1273770"/>
                <a:gd name="connsiteX581" fmla="*/ 1274379 w 1414636"/>
                <a:gd name="connsiteY581" fmla="*/ 566598 h 1273770"/>
                <a:gd name="connsiteX582" fmla="*/ 1276501 w 1414636"/>
                <a:gd name="connsiteY582" fmla="*/ 560134 h 1273770"/>
                <a:gd name="connsiteX583" fmla="*/ 1282718 w 1414636"/>
                <a:gd name="connsiteY583" fmla="*/ 560134 h 1273770"/>
                <a:gd name="connsiteX584" fmla="*/ 1284790 w 1414636"/>
                <a:gd name="connsiteY584" fmla="*/ 563391 h 1273770"/>
                <a:gd name="connsiteX585" fmla="*/ 1286912 w 1414636"/>
                <a:gd name="connsiteY585" fmla="*/ 565019 h 1273770"/>
                <a:gd name="connsiteX586" fmla="*/ 1284790 w 1414636"/>
                <a:gd name="connsiteY586" fmla="*/ 569953 h 1273770"/>
                <a:gd name="connsiteX587" fmla="*/ 1278573 w 1414636"/>
                <a:gd name="connsiteY587" fmla="*/ 573160 h 1273770"/>
                <a:gd name="connsiteX588" fmla="*/ 1276501 w 1414636"/>
                <a:gd name="connsiteY588" fmla="*/ 576416 h 1273770"/>
                <a:gd name="connsiteX589" fmla="*/ 1280596 w 1414636"/>
                <a:gd name="connsiteY589" fmla="*/ 576416 h 1273770"/>
                <a:gd name="connsiteX590" fmla="*/ 1288984 w 1414636"/>
                <a:gd name="connsiteY590" fmla="*/ 571482 h 1273770"/>
                <a:gd name="connsiteX591" fmla="*/ 1297323 w 1414636"/>
                <a:gd name="connsiteY591" fmla="*/ 566548 h 1273770"/>
                <a:gd name="connsiteX592" fmla="*/ 1309855 w 1414636"/>
                <a:gd name="connsiteY592" fmla="*/ 550414 h 1273770"/>
                <a:gd name="connsiteX593" fmla="*/ 1316121 w 1414636"/>
                <a:gd name="connsiteY593" fmla="*/ 539115 h 1273770"/>
                <a:gd name="connsiteX594" fmla="*/ 1318194 w 1414636"/>
                <a:gd name="connsiteY594" fmla="*/ 532652 h 1273770"/>
                <a:gd name="connsiteX595" fmla="*/ 1322338 w 1414636"/>
                <a:gd name="connsiteY595" fmla="*/ 529444 h 1273770"/>
                <a:gd name="connsiteX596" fmla="*/ 1326532 w 1414636"/>
                <a:gd name="connsiteY596" fmla="*/ 518146 h 1273770"/>
                <a:gd name="connsiteX597" fmla="*/ 1332798 w 1414636"/>
                <a:gd name="connsiteY597" fmla="*/ 508277 h 1273770"/>
                <a:gd name="connsiteX598" fmla="*/ 1351547 w 1414636"/>
                <a:gd name="connsiteY598" fmla="*/ 496979 h 1273770"/>
                <a:gd name="connsiteX599" fmla="*/ 1353669 w 1414636"/>
                <a:gd name="connsiteY599" fmla="*/ 492045 h 1273770"/>
                <a:gd name="connsiteX600" fmla="*/ 1359936 w 1414636"/>
                <a:gd name="connsiteY600" fmla="*/ 490416 h 1273770"/>
                <a:gd name="connsiteX601" fmla="*/ 1364080 w 1414636"/>
                <a:gd name="connsiteY601" fmla="*/ 483953 h 1273770"/>
                <a:gd name="connsiteX602" fmla="*/ 1378882 w 1414636"/>
                <a:gd name="connsiteY602" fmla="*/ 472654 h 1273770"/>
                <a:gd name="connsiteX603" fmla="*/ 1393684 w 1414636"/>
                <a:gd name="connsiteY603" fmla="*/ 454891 h 1273770"/>
                <a:gd name="connsiteX604" fmla="*/ 1397878 w 1414636"/>
                <a:gd name="connsiteY604" fmla="*/ 451684 h 1273770"/>
                <a:gd name="connsiteX605" fmla="*/ 1406168 w 1414636"/>
                <a:gd name="connsiteY605" fmla="*/ 433922 h 1273770"/>
                <a:gd name="connsiteX606" fmla="*/ 1408289 w 1414636"/>
                <a:gd name="connsiteY606" fmla="*/ 427458 h 1273770"/>
                <a:gd name="connsiteX607" fmla="*/ 1412434 w 1414636"/>
                <a:gd name="connsiteY607" fmla="*/ 420994 h 1273770"/>
                <a:gd name="connsiteX608" fmla="*/ 1412434 w 1414636"/>
                <a:gd name="connsiteY608" fmla="*/ 416060 h 1273770"/>
                <a:gd name="connsiteX609" fmla="*/ 1408289 w 1414636"/>
                <a:gd name="connsiteY609" fmla="*/ 409597 h 1273770"/>
                <a:gd name="connsiteX610" fmla="*/ 1410361 w 1414636"/>
                <a:gd name="connsiteY610" fmla="*/ 404663 h 1273770"/>
                <a:gd name="connsiteX611" fmla="*/ 1414555 w 1414636"/>
                <a:gd name="connsiteY611" fmla="*/ 401455 h 1273770"/>
                <a:gd name="connsiteX612" fmla="*/ 1412434 w 1414636"/>
                <a:gd name="connsiteY612" fmla="*/ 385321 h 1273770"/>
                <a:gd name="connsiteX613" fmla="*/ 1408289 w 1414636"/>
                <a:gd name="connsiteY613" fmla="*/ 383693 h 1273770"/>
                <a:gd name="connsiteX614" fmla="*/ 1408289 w 1414636"/>
                <a:gd name="connsiteY614" fmla="*/ 375601 h 1273770"/>
                <a:gd name="connsiteX615" fmla="*/ 1395757 w 1414636"/>
                <a:gd name="connsiteY615" fmla="*/ 351375 h 1273770"/>
                <a:gd name="connsiteX616" fmla="*/ 1395757 w 1414636"/>
                <a:gd name="connsiteY616" fmla="*/ 343283 h 1273770"/>
                <a:gd name="connsiteX617" fmla="*/ 1393684 w 1414636"/>
                <a:gd name="connsiteY617" fmla="*/ 333415 h 1273770"/>
                <a:gd name="connsiteX618" fmla="*/ 1368620 w 1414636"/>
                <a:gd name="connsiteY618" fmla="*/ 325323 h 1273770"/>
                <a:gd name="connsiteX619" fmla="*/ 1356136 w 1414636"/>
                <a:gd name="connsiteY619" fmla="*/ 325323 h 1273770"/>
                <a:gd name="connsiteX620" fmla="*/ 1345676 w 1414636"/>
                <a:gd name="connsiteY620" fmla="*/ 328580 h 1273770"/>
                <a:gd name="connsiteX621" fmla="*/ 1339459 w 1414636"/>
                <a:gd name="connsiteY621" fmla="*/ 320538 h 1273770"/>
                <a:gd name="connsiteX622" fmla="*/ 1331120 w 1414636"/>
                <a:gd name="connsiteY622" fmla="*/ 318860 h 1273770"/>
                <a:gd name="connsiteX623" fmla="*/ 1322733 w 1414636"/>
                <a:gd name="connsiteY623" fmla="*/ 312446 h 1273770"/>
                <a:gd name="connsiteX624" fmla="*/ 1312322 w 1414636"/>
                <a:gd name="connsiteY624" fmla="*/ 307512 h 1273770"/>
                <a:gd name="connsiteX625" fmla="*/ 1306056 w 1414636"/>
                <a:gd name="connsiteY625" fmla="*/ 305933 h 1273770"/>
                <a:gd name="connsiteX626" fmla="*/ 1289379 w 1414636"/>
                <a:gd name="connsiteY626" fmla="*/ 291377 h 1273770"/>
                <a:gd name="connsiteX627" fmla="*/ 1276896 w 1414636"/>
                <a:gd name="connsiteY627" fmla="*/ 276575 h 1273770"/>
                <a:gd name="connsiteX628" fmla="*/ 1270580 w 1414636"/>
                <a:gd name="connsiteY628" fmla="*/ 274996 h 1273770"/>
                <a:gd name="connsiteX629" fmla="*/ 1262242 w 1414636"/>
                <a:gd name="connsiteY629" fmla="*/ 266954 h 1273770"/>
                <a:gd name="connsiteX630" fmla="*/ 1253903 w 1414636"/>
                <a:gd name="connsiteY630" fmla="*/ 268533 h 1273770"/>
                <a:gd name="connsiteX631" fmla="*/ 1230960 w 1414636"/>
                <a:gd name="connsiteY631" fmla="*/ 253977 h 1273770"/>
                <a:gd name="connsiteX632" fmla="*/ 1222621 w 1414636"/>
                <a:gd name="connsiteY632" fmla="*/ 253977 h 1273770"/>
                <a:gd name="connsiteX633" fmla="*/ 1210089 w 1414636"/>
                <a:gd name="connsiteY633" fmla="*/ 250770 h 1273770"/>
                <a:gd name="connsiteX634" fmla="*/ 1203823 w 1414636"/>
                <a:gd name="connsiteY634" fmla="*/ 253977 h 1273770"/>
                <a:gd name="connsiteX635" fmla="*/ 1193412 w 1414636"/>
                <a:gd name="connsiteY635" fmla="*/ 253977 h 1273770"/>
                <a:gd name="connsiteX636" fmla="*/ 1187146 w 1414636"/>
                <a:gd name="connsiteY636" fmla="*/ 250770 h 1273770"/>
                <a:gd name="connsiteX637" fmla="*/ 1180879 w 1414636"/>
                <a:gd name="connsiteY637" fmla="*/ 253977 h 1273770"/>
                <a:gd name="connsiteX638" fmla="*/ 1176686 w 1414636"/>
                <a:gd name="connsiteY638" fmla="*/ 257234 h 1273770"/>
                <a:gd name="connsiteX639" fmla="*/ 1172541 w 1414636"/>
                <a:gd name="connsiteY639" fmla="*/ 253977 h 1273770"/>
                <a:gd name="connsiteX640" fmla="*/ 1164202 w 1414636"/>
                <a:gd name="connsiteY640" fmla="*/ 247514 h 1273770"/>
                <a:gd name="connsiteX641" fmla="*/ 1162130 w 1414636"/>
                <a:gd name="connsiteY641" fmla="*/ 250770 h 1273770"/>
                <a:gd name="connsiteX642" fmla="*/ 1157936 w 1414636"/>
                <a:gd name="connsiteY642" fmla="*/ 247514 h 1273770"/>
                <a:gd name="connsiteX643" fmla="*/ 1155864 w 1414636"/>
                <a:gd name="connsiteY643" fmla="*/ 250770 h 1273770"/>
                <a:gd name="connsiteX644" fmla="*/ 1155864 w 1414636"/>
                <a:gd name="connsiteY644" fmla="*/ 253977 h 1273770"/>
                <a:gd name="connsiteX645" fmla="*/ 1149598 w 1414636"/>
                <a:gd name="connsiteY645" fmla="*/ 250770 h 1273770"/>
                <a:gd name="connsiteX646" fmla="*/ 1149598 w 1414636"/>
                <a:gd name="connsiteY646" fmla="*/ 247514 h 1273770"/>
                <a:gd name="connsiteX647" fmla="*/ 1145453 w 1414636"/>
                <a:gd name="connsiteY647" fmla="*/ 245935 h 1273770"/>
                <a:gd name="connsiteX648" fmla="*/ 1147525 w 1414636"/>
                <a:gd name="connsiteY648" fmla="*/ 249142 h 1273770"/>
                <a:gd name="connsiteX649" fmla="*/ 1145453 w 1414636"/>
                <a:gd name="connsiteY649" fmla="*/ 250770 h 1273770"/>
                <a:gd name="connsiteX650" fmla="*/ 1132921 w 1414636"/>
                <a:gd name="connsiteY650" fmla="*/ 247514 h 1273770"/>
                <a:gd name="connsiteX651" fmla="*/ 1130848 w 1414636"/>
                <a:gd name="connsiteY651" fmla="*/ 247514 h 1273770"/>
                <a:gd name="connsiteX652" fmla="*/ 1120388 w 1414636"/>
                <a:gd name="connsiteY652" fmla="*/ 245935 h 1273770"/>
                <a:gd name="connsiteX653" fmla="*/ 1101639 w 1414636"/>
                <a:gd name="connsiteY653" fmla="*/ 237843 h 1273770"/>
                <a:gd name="connsiteX654" fmla="*/ 1093251 w 1414636"/>
                <a:gd name="connsiteY654" fmla="*/ 237843 h 1273770"/>
                <a:gd name="connsiteX655" fmla="*/ 1093251 w 1414636"/>
                <a:gd name="connsiteY655" fmla="*/ 241050 h 1273770"/>
                <a:gd name="connsiteX656" fmla="*/ 1095372 w 1414636"/>
                <a:gd name="connsiteY656" fmla="*/ 244307 h 1273770"/>
                <a:gd name="connsiteX657" fmla="*/ 1093251 w 1414636"/>
                <a:gd name="connsiteY657" fmla="*/ 245935 h 1273770"/>
                <a:gd name="connsiteX658" fmla="*/ 1089106 w 1414636"/>
                <a:gd name="connsiteY658" fmla="*/ 244307 h 1273770"/>
                <a:gd name="connsiteX659" fmla="*/ 1087034 w 1414636"/>
                <a:gd name="connsiteY659" fmla="*/ 244307 h 1273770"/>
                <a:gd name="connsiteX660" fmla="*/ 1087034 w 1414636"/>
                <a:gd name="connsiteY660" fmla="*/ 247514 h 1273770"/>
                <a:gd name="connsiteX661" fmla="*/ 1078547 w 1414636"/>
                <a:gd name="connsiteY661" fmla="*/ 250474 h 1273770"/>
                <a:gd name="connsiteX662" fmla="*/ 1076475 w 1414636"/>
                <a:gd name="connsiteY662" fmla="*/ 253730 h 1273770"/>
                <a:gd name="connsiteX663" fmla="*/ 1076475 w 1414636"/>
                <a:gd name="connsiteY663" fmla="*/ 261773 h 1273770"/>
                <a:gd name="connsiteX664" fmla="*/ 1072281 w 1414636"/>
                <a:gd name="connsiteY664" fmla="*/ 256839 h 1273770"/>
                <a:gd name="connsiteX665" fmla="*/ 1070258 w 1414636"/>
                <a:gd name="connsiteY665" fmla="*/ 251905 h 1273770"/>
                <a:gd name="connsiteX666" fmla="*/ 1066064 w 1414636"/>
                <a:gd name="connsiteY666" fmla="*/ 251905 h 1273770"/>
                <a:gd name="connsiteX667" fmla="*/ 1066064 w 1414636"/>
                <a:gd name="connsiteY667" fmla="*/ 258368 h 1273770"/>
                <a:gd name="connsiteX668" fmla="*/ 1061870 w 1414636"/>
                <a:gd name="connsiteY668" fmla="*/ 268237 h 1273770"/>
                <a:gd name="connsiteX669" fmla="*/ 1061870 w 1414636"/>
                <a:gd name="connsiteY669" fmla="*/ 276279 h 1273770"/>
                <a:gd name="connsiteX670" fmla="*/ 1059798 w 1414636"/>
                <a:gd name="connsiteY670" fmla="*/ 268237 h 1273770"/>
                <a:gd name="connsiteX671" fmla="*/ 1061870 w 1414636"/>
                <a:gd name="connsiteY671" fmla="*/ 261724 h 1273770"/>
                <a:gd name="connsiteX672" fmla="*/ 1059798 w 1414636"/>
                <a:gd name="connsiteY672" fmla="*/ 253681 h 1273770"/>
                <a:gd name="connsiteX673" fmla="*/ 1063992 w 1414636"/>
                <a:gd name="connsiteY673" fmla="*/ 243813 h 1273770"/>
                <a:gd name="connsiteX674" fmla="*/ 1066064 w 1414636"/>
                <a:gd name="connsiteY674" fmla="*/ 242185 h 1273770"/>
                <a:gd name="connsiteX675" fmla="*/ 1063992 w 1414636"/>
                <a:gd name="connsiteY675" fmla="*/ 238978 h 1273770"/>
                <a:gd name="connsiteX676" fmla="*/ 1057726 w 1414636"/>
                <a:gd name="connsiteY676" fmla="*/ 238978 h 1273770"/>
                <a:gd name="connsiteX677" fmla="*/ 1066064 w 1414636"/>
                <a:gd name="connsiteY677" fmla="*/ 232514 h 1273770"/>
                <a:gd name="connsiteX678" fmla="*/ 1055604 w 1414636"/>
                <a:gd name="connsiteY678" fmla="*/ 222646 h 1273770"/>
                <a:gd name="connsiteX679" fmla="*/ 1049387 w 1414636"/>
                <a:gd name="connsiteY679" fmla="*/ 214554 h 1273770"/>
                <a:gd name="connsiteX680" fmla="*/ 1036855 w 1414636"/>
                <a:gd name="connsiteY680" fmla="*/ 214554 h 1273770"/>
                <a:gd name="connsiteX681" fmla="*/ 1032661 w 1414636"/>
                <a:gd name="connsiteY681" fmla="*/ 219488 h 1273770"/>
                <a:gd name="connsiteX682" fmla="*/ 1026444 w 1414636"/>
                <a:gd name="connsiteY682" fmla="*/ 221117 h 1273770"/>
                <a:gd name="connsiteX683" fmla="*/ 1024322 w 1414636"/>
                <a:gd name="connsiteY683" fmla="*/ 216183 h 1273770"/>
                <a:gd name="connsiteX684" fmla="*/ 1022250 w 1414636"/>
                <a:gd name="connsiteY684" fmla="*/ 214554 h 1273770"/>
                <a:gd name="connsiteX685" fmla="*/ 1020178 w 1414636"/>
                <a:gd name="connsiteY685" fmla="*/ 209620 h 1273770"/>
                <a:gd name="connsiteX686" fmla="*/ 1015984 w 1414636"/>
                <a:gd name="connsiteY686" fmla="*/ 207992 h 1273770"/>
                <a:gd name="connsiteX687" fmla="*/ 1009471 w 1414636"/>
                <a:gd name="connsiteY687" fmla="*/ 207992 h 1273770"/>
                <a:gd name="connsiteX688" fmla="*/ 1007399 w 1414636"/>
                <a:gd name="connsiteY688" fmla="*/ 204785 h 1273770"/>
                <a:gd name="connsiteX689" fmla="*/ 1001132 w 1414636"/>
                <a:gd name="connsiteY689" fmla="*/ 203157 h 1273770"/>
                <a:gd name="connsiteX690" fmla="*/ 999060 w 1414636"/>
                <a:gd name="connsiteY690" fmla="*/ 206364 h 1273770"/>
                <a:gd name="connsiteX691" fmla="*/ 999060 w 1414636"/>
                <a:gd name="connsiteY691" fmla="*/ 203157 h 1273770"/>
                <a:gd name="connsiteX692" fmla="*/ 994866 w 1414636"/>
                <a:gd name="connsiteY692" fmla="*/ 201529 h 1273770"/>
                <a:gd name="connsiteX693" fmla="*/ 992794 w 1414636"/>
                <a:gd name="connsiteY693" fmla="*/ 196595 h 1273770"/>
                <a:gd name="connsiteX694" fmla="*/ 988600 w 1414636"/>
                <a:gd name="connsiteY694" fmla="*/ 198223 h 1273770"/>
                <a:gd name="connsiteX695" fmla="*/ 980262 w 1414636"/>
                <a:gd name="connsiteY695" fmla="*/ 196595 h 1273770"/>
                <a:gd name="connsiteX696" fmla="*/ 969851 w 1414636"/>
                <a:gd name="connsiteY696" fmla="*/ 191661 h 1273770"/>
                <a:gd name="connsiteX697" fmla="*/ 965706 w 1414636"/>
                <a:gd name="connsiteY697" fmla="*/ 190032 h 1273770"/>
                <a:gd name="connsiteX698" fmla="*/ 963585 w 1414636"/>
                <a:gd name="connsiteY698" fmla="*/ 193289 h 1273770"/>
                <a:gd name="connsiteX699" fmla="*/ 957318 w 1414636"/>
                <a:gd name="connsiteY699" fmla="*/ 190032 h 1273770"/>
                <a:gd name="connsiteX700" fmla="*/ 953174 w 1414636"/>
                <a:gd name="connsiteY700" fmla="*/ 190032 h 1273770"/>
                <a:gd name="connsiteX701" fmla="*/ 953174 w 1414636"/>
                <a:gd name="connsiteY701" fmla="*/ 193289 h 1273770"/>
                <a:gd name="connsiteX702" fmla="*/ 948980 w 1414636"/>
                <a:gd name="connsiteY702" fmla="*/ 193289 h 1273770"/>
                <a:gd name="connsiteX703" fmla="*/ 946907 w 1414636"/>
                <a:gd name="connsiteY703" fmla="*/ 190032 h 1273770"/>
                <a:gd name="connsiteX704" fmla="*/ 938569 w 1414636"/>
                <a:gd name="connsiteY704" fmla="*/ 190032 h 1273770"/>
                <a:gd name="connsiteX705" fmla="*/ 932303 w 1414636"/>
                <a:gd name="connsiteY705" fmla="*/ 193289 h 1273770"/>
                <a:gd name="connsiteX706" fmla="*/ 928109 w 1414636"/>
                <a:gd name="connsiteY706" fmla="*/ 198223 h 1273770"/>
                <a:gd name="connsiteX707" fmla="*/ 928109 w 1414636"/>
                <a:gd name="connsiteY707" fmla="*/ 203157 h 1273770"/>
                <a:gd name="connsiteX708" fmla="*/ 919770 w 1414636"/>
                <a:gd name="connsiteY708" fmla="*/ 209620 h 1273770"/>
                <a:gd name="connsiteX709" fmla="*/ 911432 w 1414636"/>
                <a:gd name="connsiteY709" fmla="*/ 214554 h 1273770"/>
                <a:gd name="connsiteX710" fmla="*/ 896630 w 1414636"/>
                <a:gd name="connsiteY710" fmla="*/ 221018 h 1273770"/>
                <a:gd name="connsiteX711" fmla="*/ 890363 w 1414636"/>
                <a:gd name="connsiteY711" fmla="*/ 227482 h 1273770"/>
                <a:gd name="connsiteX712" fmla="*/ 888291 w 1414636"/>
                <a:gd name="connsiteY712" fmla="*/ 237350 h 1273770"/>
                <a:gd name="connsiteX713" fmla="*/ 886169 w 1414636"/>
                <a:gd name="connsiteY713" fmla="*/ 245441 h 1273770"/>
                <a:gd name="connsiteX714" fmla="*/ 882074 w 1414636"/>
                <a:gd name="connsiteY714" fmla="*/ 250375 h 1273770"/>
                <a:gd name="connsiteX715" fmla="*/ 875759 w 1414636"/>
                <a:gd name="connsiteY715" fmla="*/ 255309 h 1273770"/>
                <a:gd name="connsiteX716" fmla="*/ 877880 w 1414636"/>
                <a:gd name="connsiteY716" fmla="*/ 258566 h 1273770"/>
                <a:gd name="connsiteX717" fmla="*/ 877880 w 1414636"/>
                <a:gd name="connsiteY717" fmla="*/ 265030 h 1273770"/>
                <a:gd name="connsiteX718" fmla="*/ 876252 w 1414636"/>
                <a:gd name="connsiteY718" fmla="*/ 276131 h 1273770"/>
                <a:gd name="connsiteX719" fmla="*/ 874180 w 1414636"/>
                <a:gd name="connsiteY719" fmla="*/ 269668 h 1273770"/>
                <a:gd name="connsiteX720" fmla="*/ 869986 w 1414636"/>
                <a:gd name="connsiteY720" fmla="*/ 263204 h 1273770"/>
                <a:gd name="connsiteX721" fmla="*/ 869986 w 1414636"/>
                <a:gd name="connsiteY721" fmla="*/ 256740 h 1273770"/>
                <a:gd name="connsiteX722" fmla="*/ 874180 w 1414636"/>
                <a:gd name="connsiteY722" fmla="*/ 251806 h 1273770"/>
                <a:gd name="connsiteX723" fmla="*/ 880446 w 1414636"/>
                <a:gd name="connsiteY723" fmla="*/ 248550 h 1273770"/>
                <a:gd name="connsiteX724" fmla="*/ 880446 w 1414636"/>
                <a:gd name="connsiteY724" fmla="*/ 238682 h 1273770"/>
                <a:gd name="connsiteX725" fmla="*/ 882568 w 1414636"/>
                <a:gd name="connsiteY725" fmla="*/ 232218 h 1273770"/>
                <a:gd name="connsiteX726" fmla="*/ 882568 w 1414636"/>
                <a:gd name="connsiteY726" fmla="*/ 229011 h 1273770"/>
                <a:gd name="connsiteX727" fmla="*/ 878374 w 1414636"/>
                <a:gd name="connsiteY727" fmla="*/ 227383 h 1273770"/>
                <a:gd name="connsiteX728" fmla="*/ 869986 w 1414636"/>
                <a:gd name="connsiteY728" fmla="*/ 230590 h 1273770"/>
                <a:gd name="connsiteX729" fmla="*/ 859575 w 1414636"/>
                <a:gd name="connsiteY729" fmla="*/ 229011 h 1273770"/>
                <a:gd name="connsiteX730" fmla="*/ 853309 w 1414636"/>
                <a:gd name="connsiteY730" fmla="*/ 229011 h 1273770"/>
                <a:gd name="connsiteX731" fmla="*/ 844970 w 1414636"/>
                <a:gd name="connsiteY731" fmla="*/ 230590 h 1273770"/>
                <a:gd name="connsiteX732" fmla="*/ 840826 w 1414636"/>
                <a:gd name="connsiteY732" fmla="*/ 227383 h 1273770"/>
                <a:gd name="connsiteX733" fmla="*/ 846648 w 1414636"/>
                <a:gd name="connsiteY733" fmla="*/ 227383 h 1273770"/>
                <a:gd name="connsiteX734" fmla="*/ 852914 w 1414636"/>
                <a:gd name="connsiteY734" fmla="*/ 224126 h 1273770"/>
                <a:gd name="connsiteX735" fmla="*/ 859180 w 1414636"/>
                <a:gd name="connsiteY735" fmla="*/ 222548 h 1273770"/>
                <a:gd name="connsiteX736" fmla="*/ 869591 w 1414636"/>
                <a:gd name="connsiteY736" fmla="*/ 224126 h 1273770"/>
                <a:gd name="connsiteX737" fmla="*/ 875857 w 1414636"/>
                <a:gd name="connsiteY737" fmla="*/ 222548 h 1273770"/>
                <a:gd name="connsiteX738" fmla="*/ 882173 w 1414636"/>
                <a:gd name="connsiteY738" fmla="*/ 216084 h 1273770"/>
                <a:gd name="connsiteX739" fmla="*/ 884196 w 1414636"/>
                <a:gd name="connsiteY739" fmla="*/ 216084 h 1273770"/>
                <a:gd name="connsiteX740" fmla="*/ 886268 w 1414636"/>
                <a:gd name="connsiteY740" fmla="*/ 219291 h 1273770"/>
                <a:gd name="connsiteX741" fmla="*/ 890462 w 1414636"/>
                <a:gd name="connsiteY741" fmla="*/ 217712 h 1273770"/>
                <a:gd name="connsiteX742" fmla="*/ 896728 w 1414636"/>
                <a:gd name="connsiteY742" fmla="*/ 214456 h 1273770"/>
                <a:gd name="connsiteX743" fmla="*/ 907139 w 1414636"/>
                <a:gd name="connsiteY743" fmla="*/ 211249 h 1273770"/>
                <a:gd name="connsiteX744" fmla="*/ 907139 w 1414636"/>
                <a:gd name="connsiteY744" fmla="*/ 205081 h 1273770"/>
                <a:gd name="connsiteX745" fmla="*/ 917599 w 1414636"/>
                <a:gd name="connsiteY745" fmla="*/ 195213 h 1273770"/>
                <a:gd name="connsiteX746" fmla="*/ 917599 w 1414636"/>
                <a:gd name="connsiteY746" fmla="*/ 188749 h 1273770"/>
                <a:gd name="connsiteX747" fmla="*/ 921793 w 1414636"/>
                <a:gd name="connsiteY747" fmla="*/ 183815 h 1273770"/>
                <a:gd name="connsiteX748" fmla="*/ 921793 w 1414636"/>
                <a:gd name="connsiteY748" fmla="*/ 178881 h 1273770"/>
                <a:gd name="connsiteX749" fmla="*/ 911333 w 1414636"/>
                <a:gd name="connsiteY749" fmla="*/ 177253 h 1273770"/>
                <a:gd name="connsiteX750" fmla="*/ 902994 w 1414636"/>
                <a:gd name="connsiteY750" fmla="*/ 170789 h 1273770"/>
                <a:gd name="connsiteX751" fmla="*/ 896728 w 1414636"/>
                <a:gd name="connsiteY751" fmla="*/ 170789 h 1273770"/>
                <a:gd name="connsiteX752" fmla="*/ 886268 w 1414636"/>
                <a:gd name="connsiteY752" fmla="*/ 177253 h 1273770"/>
                <a:gd name="connsiteX753" fmla="*/ 877979 w 1414636"/>
                <a:gd name="connsiteY753" fmla="*/ 177253 h 1273770"/>
                <a:gd name="connsiteX754" fmla="*/ 865446 w 1414636"/>
                <a:gd name="connsiteY754" fmla="*/ 172319 h 1273770"/>
                <a:gd name="connsiteX755" fmla="*/ 850644 w 1414636"/>
                <a:gd name="connsiteY755" fmla="*/ 172319 h 1273770"/>
                <a:gd name="connsiteX756" fmla="*/ 840234 w 1414636"/>
                <a:gd name="connsiteY756" fmla="*/ 180411 h 1273770"/>
                <a:gd name="connsiteX757" fmla="*/ 842256 w 1414636"/>
                <a:gd name="connsiteY757" fmla="*/ 183618 h 1273770"/>
                <a:gd name="connsiteX758" fmla="*/ 844378 w 1414636"/>
                <a:gd name="connsiteY758" fmla="*/ 186874 h 1273770"/>
                <a:gd name="connsiteX759" fmla="*/ 846451 w 1414636"/>
                <a:gd name="connsiteY759" fmla="*/ 188453 h 1273770"/>
                <a:gd name="connsiteX760" fmla="*/ 842256 w 1414636"/>
                <a:gd name="connsiteY760" fmla="*/ 190082 h 1273770"/>
                <a:gd name="connsiteX761" fmla="*/ 838161 w 1414636"/>
                <a:gd name="connsiteY761" fmla="*/ 191710 h 1273770"/>
                <a:gd name="connsiteX762" fmla="*/ 836040 w 1414636"/>
                <a:gd name="connsiteY762" fmla="*/ 196644 h 1273770"/>
                <a:gd name="connsiteX763" fmla="*/ 833967 w 1414636"/>
                <a:gd name="connsiteY763" fmla="*/ 191710 h 1273770"/>
                <a:gd name="connsiteX764" fmla="*/ 831846 w 1414636"/>
                <a:gd name="connsiteY764" fmla="*/ 190082 h 1273770"/>
                <a:gd name="connsiteX765" fmla="*/ 823507 w 1414636"/>
                <a:gd name="connsiteY765" fmla="*/ 193338 h 1273770"/>
                <a:gd name="connsiteX766" fmla="*/ 815169 w 1414636"/>
                <a:gd name="connsiteY766" fmla="*/ 203206 h 1273770"/>
                <a:gd name="connsiteX767" fmla="*/ 804758 w 1414636"/>
                <a:gd name="connsiteY767" fmla="*/ 214505 h 1273770"/>
                <a:gd name="connsiteX768" fmla="*/ 813096 w 1414636"/>
                <a:gd name="connsiteY768" fmla="*/ 204637 h 1273770"/>
                <a:gd name="connsiteX769" fmla="*/ 811024 w 1414636"/>
                <a:gd name="connsiteY769" fmla="*/ 198173 h 1273770"/>
                <a:gd name="connsiteX770" fmla="*/ 813096 w 1414636"/>
                <a:gd name="connsiteY770" fmla="*/ 193239 h 1273770"/>
                <a:gd name="connsiteX771" fmla="*/ 815169 w 1414636"/>
                <a:gd name="connsiteY771" fmla="*/ 189983 h 1273770"/>
                <a:gd name="connsiteX772" fmla="*/ 811024 w 1414636"/>
                <a:gd name="connsiteY772" fmla="*/ 189983 h 1273770"/>
                <a:gd name="connsiteX773" fmla="*/ 802636 w 1414636"/>
                <a:gd name="connsiteY773" fmla="*/ 194917 h 1273770"/>
                <a:gd name="connsiteX774" fmla="*/ 800564 w 1414636"/>
                <a:gd name="connsiteY774" fmla="*/ 201380 h 1273770"/>
                <a:gd name="connsiteX775" fmla="*/ 796419 w 1414636"/>
                <a:gd name="connsiteY775" fmla="*/ 209472 h 1273770"/>
                <a:gd name="connsiteX776" fmla="*/ 790153 w 1414636"/>
                <a:gd name="connsiteY776" fmla="*/ 212680 h 1273770"/>
                <a:gd name="connsiteX777" fmla="*/ 796419 w 1414636"/>
                <a:gd name="connsiteY777" fmla="*/ 204637 h 1273770"/>
                <a:gd name="connsiteX778" fmla="*/ 796419 w 1414636"/>
                <a:gd name="connsiteY778" fmla="*/ 196545 h 1273770"/>
                <a:gd name="connsiteX779" fmla="*/ 808902 w 1414636"/>
                <a:gd name="connsiteY779" fmla="*/ 183618 h 1273770"/>
                <a:gd name="connsiteX780" fmla="*/ 813096 w 1414636"/>
                <a:gd name="connsiteY780" fmla="*/ 173750 h 1273770"/>
                <a:gd name="connsiteX781" fmla="*/ 817290 w 1414636"/>
                <a:gd name="connsiteY781" fmla="*/ 167286 h 1273770"/>
                <a:gd name="connsiteX782" fmla="*/ 825579 w 1414636"/>
                <a:gd name="connsiteY782" fmla="*/ 164030 h 1273770"/>
                <a:gd name="connsiteX783" fmla="*/ 831846 w 1414636"/>
                <a:gd name="connsiteY783" fmla="*/ 159096 h 1273770"/>
                <a:gd name="connsiteX784" fmla="*/ 838161 w 1414636"/>
                <a:gd name="connsiteY784" fmla="*/ 157517 h 1273770"/>
                <a:gd name="connsiteX785" fmla="*/ 844378 w 1414636"/>
                <a:gd name="connsiteY785" fmla="*/ 149376 h 1273770"/>
                <a:gd name="connsiteX786" fmla="*/ 861105 w 1414636"/>
                <a:gd name="connsiteY786" fmla="*/ 134870 h 1273770"/>
                <a:gd name="connsiteX787" fmla="*/ 863128 w 1414636"/>
                <a:gd name="connsiteY787" fmla="*/ 129936 h 1273770"/>
                <a:gd name="connsiteX788" fmla="*/ 865249 w 1414636"/>
                <a:gd name="connsiteY788" fmla="*/ 128307 h 1273770"/>
                <a:gd name="connsiteX789" fmla="*/ 863128 w 1414636"/>
                <a:gd name="connsiteY789" fmla="*/ 125100 h 1273770"/>
                <a:gd name="connsiteX790" fmla="*/ 863128 w 1414636"/>
                <a:gd name="connsiteY790" fmla="*/ 120166 h 1273770"/>
                <a:gd name="connsiteX791" fmla="*/ 865249 w 1414636"/>
                <a:gd name="connsiteY791" fmla="*/ 118538 h 1273770"/>
                <a:gd name="connsiteX792" fmla="*/ 865249 w 1414636"/>
                <a:gd name="connsiteY792" fmla="*/ 112075 h 1273770"/>
                <a:gd name="connsiteX793" fmla="*/ 858983 w 1414636"/>
                <a:gd name="connsiteY793" fmla="*/ 108867 h 1273770"/>
                <a:gd name="connsiteX794" fmla="*/ 852717 w 1414636"/>
                <a:gd name="connsiteY794" fmla="*/ 108867 h 1273770"/>
                <a:gd name="connsiteX795" fmla="*/ 848572 w 1414636"/>
                <a:gd name="connsiteY795" fmla="*/ 110446 h 1273770"/>
                <a:gd name="connsiteX796" fmla="*/ 846451 w 1414636"/>
                <a:gd name="connsiteY796" fmla="*/ 105512 h 1273770"/>
                <a:gd name="connsiteX797" fmla="*/ 842256 w 1414636"/>
                <a:gd name="connsiteY797" fmla="*/ 94213 h 1273770"/>
                <a:gd name="connsiteX798" fmla="*/ 833967 w 1414636"/>
                <a:gd name="connsiteY798" fmla="*/ 76451 h 1273770"/>
                <a:gd name="connsiteX799" fmla="*/ 825579 w 1414636"/>
                <a:gd name="connsiteY799" fmla="*/ 68359 h 1273770"/>
                <a:gd name="connsiteX800" fmla="*/ 821435 w 1414636"/>
                <a:gd name="connsiteY800" fmla="*/ 55481 h 1273770"/>
                <a:gd name="connsiteX801" fmla="*/ 821435 w 1414636"/>
                <a:gd name="connsiteY801" fmla="*/ 49017 h 1273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</a:cxnLst>
              <a:rect l="l" t="t" r="r" b="b"/>
              <a:pathLst>
                <a:path w="1414636" h="1273770">
                  <a:moveTo>
                    <a:pt x="825974" y="187319"/>
                  </a:moveTo>
                  <a:lnTo>
                    <a:pt x="830168" y="184062"/>
                  </a:lnTo>
                  <a:lnTo>
                    <a:pt x="834362" y="180855"/>
                  </a:lnTo>
                  <a:lnTo>
                    <a:pt x="836434" y="182434"/>
                  </a:lnTo>
                  <a:lnTo>
                    <a:pt x="834362" y="187368"/>
                  </a:lnTo>
                  <a:lnTo>
                    <a:pt x="825974" y="187368"/>
                  </a:lnTo>
                  <a:close/>
                  <a:moveTo>
                    <a:pt x="819757" y="187319"/>
                  </a:moveTo>
                  <a:lnTo>
                    <a:pt x="823902" y="185690"/>
                  </a:lnTo>
                  <a:lnTo>
                    <a:pt x="823902" y="184062"/>
                  </a:lnTo>
                  <a:lnTo>
                    <a:pt x="832241" y="177598"/>
                  </a:lnTo>
                  <a:lnTo>
                    <a:pt x="836434" y="177598"/>
                  </a:lnTo>
                  <a:lnTo>
                    <a:pt x="842651" y="171135"/>
                  </a:lnTo>
                  <a:lnTo>
                    <a:pt x="840628" y="169556"/>
                  </a:lnTo>
                  <a:lnTo>
                    <a:pt x="834362" y="169556"/>
                  </a:lnTo>
                  <a:lnTo>
                    <a:pt x="830168" y="171135"/>
                  </a:lnTo>
                  <a:lnTo>
                    <a:pt x="823902" y="177598"/>
                  </a:lnTo>
                  <a:close/>
                  <a:moveTo>
                    <a:pt x="851039" y="164671"/>
                  </a:moveTo>
                  <a:lnTo>
                    <a:pt x="851039" y="163092"/>
                  </a:lnTo>
                  <a:lnTo>
                    <a:pt x="846845" y="159836"/>
                  </a:lnTo>
                  <a:lnTo>
                    <a:pt x="844773" y="164770"/>
                  </a:lnTo>
                  <a:lnTo>
                    <a:pt x="846845" y="166398"/>
                  </a:lnTo>
                  <a:lnTo>
                    <a:pt x="851039" y="168026"/>
                  </a:lnTo>
                  <a:close/>
                  <a:moveTo>
                    <a:pt x="851039" y="158257"/>
                  </a:moveTo>
                  <a:lnTo>
                    <a:pt x="851039" y="153323"/>
                  </a:lnTo>
                  <a:lnTo>
                    <a:pt x="853111" y="148389"/>
                  </a:lnTo>
                  <a:lnTo>
                    <a:pt x="857305" y="146761"/>
                  </a:lnTo>
                  <a:lnTo>
                    <a:pt x="863522" y="143554"/>
                  </a:lnTo>
                  <a:lnTo>
                    <a:pt x="865644" y="145182"/>
                  </a:lnTo>
                  <a:lnTo>
                    <a:pt x="863522" y="148389"/>
                  </a:lnTo>
                  <a:lnTo>
                    <a:pt x="859378" y="149968"/>
                  </a:lnTo>
                  <a:lnTo>
                    <a:pt x="855233" y="154902"/>
                  </a:lnTo>
                  <a:close/>
                  <a:moveTo>
                    <a:pt x="853111" y="163191"/>
                  </a:moveTo>
                  <a:lnTo>
                    <a:pt x="857305" y="164770"/>
                  </a:lnTo>
                  <a:lnTo>
                    <a:pt x="865644" y="164770"/>
                  </a:lnTo>
                  <a:lnTo>
                    <a:pt x="869788" y="166398"/>
                  </a:lnTo>
                  <a:lnTo>
                    <a:pt x="873982" y="164770"/>
                  </a:lnTo>
                  <a:lnTo>
                    <a:pt x="873982" y="159836"/>
                  </a:lnTo>
                  <a:lnTo>
                    <a:pt x="871910" y="156629"/>
                  </a:lnTo>
                  <a:lnTo>
                    <a:pt x="861499" y="159836"/>
                  </a:lnTo>
                  <a:lnTo>
                    <a:pt x="855233" y="159836"/>
                  </a:lnTo>
                  <a:close/>
                  <a:moveTo>
                    <a:pt x="873982" y="169655"/>
                  </a:moveTo>
                  <a:lnTo>
                    <a:pt x="880249" y="168026"/>
                  </a:lnTo>
                  <a:lnTo>
                    <a:pt x="880249" y="164770"/>
                  </a:lnTo>
                  <a:lnTo>
                    <a:pt x="886466" y="164770"/>
                  </a:lnTo>
                  <a:lnTo>
                    <a:pt x="890659" y="168026"/>
                  </a:lnTo>
                  <a:lnTo>
                    <a:pt x="888587" y="171234"/>
                  </a:lnTo>
                  <a:lnTo>
                    <a:pt x="880249" y="171234"/>
                  </a:lnTo>
                  <a:close/>
                  <a:moveTo>
                    <a:pt x="851039" y="105019"/>
                  </a:moveTo>
                  <a:lnTo>
                    <a:pt x="848967" y="101812"/>
                  </a:lnTo>
                  <a:lnTo>
                    <a:pt x="844773" y="93720"/>
                  </a:lnTo>
                  <a:lnTo>
                    <a:pt x="846845" y="90463"/>
                  </a:lnTo>
                  <a:lnTo>
                    <a:pt x="851039" y="93720"/>
                  </a:lnTo>
                  <a:lnTo>
                    <a:pt x="857305" y="101812"/>
                  </a:lnTo>
                  <a:lnTo>
                    <a:pt x="855233" y="106746"/>
                  </a:lnTo>
                  <a:cubicBezTo>
                    <a:pt x="854034" y="105754"/>
                    <a:pt x="852583" y="105122"/>
                    <a:pt x="851039" y="104920"/>
                  </a:cubicBezTo>
                  <a:close/>
                  <a:moveTo>
                    <a:pt x="819757" y="43639"/>
                  </a:moveTo>
                  <a:lnTo>
                    <a:pt x="817685" y="42061"/>
                  </a:lnTo>
                  <a:lnTo>
                    <a:pt x="815563" y="35597"/>
                  </a:lnTo>
                  <a:lnTo>
                    <a:pt x="811419" y="29133"/>
                  </a:lnTo>
                  <a:lnTo>
                    <a:pt x="809297" y="29133"/>
                  </a:lnTo>
                  <a:lnTo>
                    <a:pt x="809297" y="34067"/>
                  </a:lnTo>
                  <a:lnTo>
                    <a:pt x="807225" y="39001"/>
                  </a:lnTo>
                  <a:lnTo>
                    <a:pt x="798886" y="43936"/>
                  </a:lnTo>
                  <a:lnTo>
                    <a:pt x="798886" y="43936"/>
                  </a:lnTo>
                  <a:lnTo>
                    <a:pt x="794742" y="47192"/>
                  </a:lnTo>
                  <a:lnTo>
                    <a:pt x="786354" y="57060"/>
                  </a:lnTo>
                  <a:lnTo>
                    <a:pt x="778016" y="66928"/>
                  </a:lnTo>
                  <a:lnTo>
                    <a:pt x="778016" y="72849"/>
                  </a:lnTo>
                  <a:lnTo>
                    <a:pt x="769677" y="85825"/>
                  </a:lnTo>
                  <a:lnTo>
                    <a:pt x="763411" y="93868"/>
                  </a:lnTo>
                  <a:lnTo>
                    <a:pt x="759217" y="100332"/>
                  </a:lnTo>
                  <a:lnTo>
                    <a:pt x="753000" y="101960"/>
                  </a:lnTo>
                  <a:lnTo>
                    <a:pt x="748806" y="103588"/>
                  </a:lnTo>
                  <a:lnTo>
                    <a:pt x="748806" y="108522"/>
                  </a:lnTo>
                  <a:lnTo>
                    <a:pt x="742540" y="113456"/>
                  </a:lnTo>
                  <a:lnTo>
                    <a:pt x="738395" y="111828"/>
                  </a:lnTo>
                  <a:lnTo>
                    <a:pt x="738395" y="103785"/>
                  </a:lnTo>
                  <a:lnTo>
                    <a:pt x="734201" y="102157"/>
                  </a:lnTo>
                  <a:lnTo>
                    <a:pt x="734201" y="100529"/>
                  </a:lnTo>
                  <a:lnTo>
                    <a:pt x="730057" y="100529"/>
                  </a:lnTo>
                  <a:lnTo>
                    <a:pt x="723790" y="102157"/>
                  </a:lnTo>
                  <a:lnTo>
                    <a:pt x="721669" y="105364"/>
                  </a:lnTo>
                  <a:lnTo>
                    <a:pt x="715452" y="103785"/>
                  </a:lnTo>
                  <a:lnTo>
                    <a:pt x="709186" y="98851"/>
                  </a:lnTo>
                  <a:lnTo>
                    <a:pt x="709186" y="97174"/>
                  </a:lnTo>
                  <a:lnTo>
                    <a:pt x="707113" y="95595"/>
                  </a:lnTo>
                  <a:lnTo>
                    <a:pt x="704992" y="90661"/>
                  </a:lnTo>
                  <a:lnTo>
                    <a:pt x="704992" y="87454"/>
                  </a:lnTo>
                  <a:lnTo>
                    <a:pt x="698726" y="85875"/>
                  </a:lnTo>
                  <a:lnTo>
                    <a:pt x="692509" y="80941"/>
                  </a:lnTo>
                  <a:lnTo>
                    <a:pt x="682048" y="79263"/>
                  </a:lnTo>
                  <a:lnTo>
                    <a:pt x="675832" y="82520"/>
                  </a:lnTo>
                  <a:lnTo>
                    <a:pt x="661029" y="82520"/>
                  </a:lnTo>
                  <a:lnTo>
                    <a:pt x="652740" y="80941"/>
                  </a:lnTo>
                  <a:lnTo>
                    <a:pt x="646474" y="85875"/>
                  </a:lnTo>
                  <a:lnTo>
                    <a:pt x="644352" y="90809"/>
                  </a:lnTo>
                  <a:lnTo>
                    <a:pt x="650619" y="97272"/>
                  </a:lnTo>
                  <a:lnTo>
                    <a:pt x="652740" y="100529"/>
                  </a:lnTo>
                  <a:lnTo>
                    <a:pt x="656885" y="106992"/>
                  </a:lnTo>
                  <a:lnTo>
                    <a:pt x="654813" y="110249"/>
                  </a:lnTo>
                  <a:lnTo>
                    <a:pt x="648546" y="110249"/>
                  </a:lnTo>
                  <a:lnTo>
                    <a:pt x="640159" y="106992"/>
                  </a:lnTo>
                  <a:lnTo>
                    <a:pt x="638086" y="106992"/>
                  </a:lnTo>
                  <a:lnTo>
                    <a:pt x="633942" y="105364"/>
                  </a:lnTo>
                  <a:lnTo>
                    <a:pt x="621409" y="105364"/>
                  </a:lnTo>
                  <a:lnTo>
                    <a:pt x="615143" y="106992"/>
                  </a:lnTo>
                  <a:lnTo>
                    <a:pt x="613070" y="103785"/>
                  </a:lnTo>
                  <a:lnTo>
                    <a:pt x="602660" y="105364"/>
                  </a:lnTo>
                  <a:lnTo>
                    <a:pt x="594272" y="106992"/>
                  </a:lnTo>
                  <a:lnTo>
                    <a:pt x="590127" y="116860"/>
                  </a:lnTo>
                  <a:lnTo>
                    <a:pt x="575325" y="116860"/>
                  </a:lnTo>
                  <a:lnTo>
                    <a:pt x="566987" y="118439"/>
                  </a:lnTo>
                  <a:lnTo>
                    <a:pt x="566987" y="121696"/>
                  </a:lnTo>
                  <a:lnTo>
                    <a:pt x="562793" y="126630"/>
                  </a:lnTo>
                  <a:lnTo>
                    <a:pt x="554454" y="128258"/>
                  </a:lnTo>
                  <a:lnTo>
                    <a:pt x="552382" y="125002"/>
                  </a:lnTo>
                  <a:lnTo>
                    <a:pt x="548237" y="126630"/>
                  </a:lnTo>
                  <a:lnTo>
                    <a:pt x="544043" y="131564"/>
                  </a:lnTo>
                  <a:lnTo>
                    <a:pt x="537777" y="129936"/>
                  </a:lnTo>
                  <a:lnTo>
                    <a:pt x="522975" y="118637"/>
                  </a:lnTo>
                  <a:lnTo>
                    <a:pt x="518781" y="113703"/>
                  </a:lnTo>
                  <a:lnTo>
                    <a:pt x="516709" y="108769"/>
                  </a:lnTo>
                  <a:lnTo>
                    <a:pt x="511133" y="101713"/>
                  </a:lnTo>
                  <a:lnTo>
                    <a:pt x="504917" y="96779"/>
                  </a:lnTo>
                  <a:lnTo>
                    <a:pt x="502795" y="90315"/>
                  </a:lnTo>
                  <a:lnTo>
                    <a:pt x="504917" y="85381"/>
                  </a:lnTo>
                  <a:lnTo>
                    <a:pt x="502795" y="82125"/>
                  </a:lnTo>
                  <a:lnTo>
                    <a:pt x="504917" y="77191"/>
                  </a:lnTo>
                  <a:lnTo>
                    <a:pt x="506989" y="72257"/>
                  </a:lnTo>
                  <a:lnTo>
                    <a:pt x="506989" y="65843"/>
                  </a:lnTo>
                  <a:lnTo>
                    <a:pt x="513206" y="54494"/>
                  </a:lnTo>
                  <a:lnTo>
                    <a:pt x="515327" y="46452"/>
                  </a:lnTo>
                  <a:lnTo>
                    <a:pt x="521594" y="39988"/>
                  </a:lnTo>
                  <a:lnTo>
                    <a:pt x="521594" y="36732"/>
                  </a:lnTo>
                  <a:lnTo>
                    <a:pt x="515327" y="36732"/>
                  </a:lnTo>
                  <a:lnTo>
                    <a:pt x="511133" y="31798"/>
                  </a:lnTo>
                  <a:lnTo>
                    <a:pt x="509061" y="26864"/>
                  </a:lnTo>
                  <a:lnTo>
                    <a:pt x="500723" y="28492"/>
                  </a:lnTo>
                  <a:lnTo>
                    <a:pt x="494456" y="25235"/>
                  </a:lnTo>
                  <a:lnTo>
                    <a:pt x="498650" y="22028"/>
                  </a:lnTo>
                  <a:lnTo>
                    <a:pt x="502795" y="15565"/>
                  </a:lnTo>
                  <a:lnTo>
                    <a:pt x="502795" y="7473"/>
                  </a:lnTo>
                  <a:lnTo>
                    <a:pt x="496331" y="1552"/>
                  </a:lnTo>
                  <a:lnTo>
                    <a:pt x="487993" y="-27"/>
                  </a:lnTo>
                  <a:lnTo>
                    <a:pt x="483848" y="3230"/>
                  </a:lnTo>
                  <a:lnTo>
                    <a:pt x="481726" y="-27"/>
                  </a:lnTo>
                  <a:lnTo>
                    <a:pt x="477582" y="-27"/>
                  </a:lnTo>
                  <a:lnTo>
                    <a:pt x="479654" y="6437"/>
                  </a:lnTo>
                  <a:lnTo>
                    <a:pt x="475460" y="12900"/>
                  </a:lnTo>
                  <a:lnTo>
                    <a:pt x="456711" y="24199"/>
                  </a:lnTo>
                  <a:lnTo>
                    <a:pt x="444228" y="25778"/>
                  </a:lnTo>
                  <a:lnTo>
                    <a:pt x="429426" y="32242"/>
                  </a:lnTo>
                  <a:lnTo>
                    <a:pt x="423209" y="29035"/>
                  </a:lnTo>
                  <a:lnTo>
                    <a:pt x="412749" y="30663"/>
                  </a:lnTo>
                  <a:lnTo>
                    <a:pt x="400266" y="38755"/>
                  </a:lnTo>
                  <a:lnTo>
                    <a:pt x="389805" y="41962"/>
                  </a:lnTo>
                  <a:lnTo>
                    <a:pt x="385612" y="40333"/>
                  </a:lnTo>
                  <a:lnTo>
                    <a:pt x="368935" y="41962"/>
                  </a:lnTo>
                  <a:lnTo>
                    <a:pt x="356452" y="41962"/>
                  </a:lnTo>
                  <a:lnTo>
                    <a:pt x="345991" y="37028"/>
                  </a:lnTo>
                  <a:lnTo>
                    <a:pt x="335580" y="35449"/>
                  </a:lnTo>
                  <a:lnTo>
                    <a:pt x="325120" y="32192"/>
                  </a:lnTo>
                  <a:lnTo>
                    <a:pt x="329314" y="40284"/>
                  </a:lnTo>
                  <a:lnTo>
                    <a:pt x="335580" y="43491"/>
                  </a:lnTo>
                  <a:lnTo>
                    <a:pt x="343870" y="50004"/>
                  </a:lnTo>
                  <a:lnTo>
                    <a:pt x="345991" y="54938"/>
                  </a:lnTo>
                  <a:lnTo>
                    <a:pt x="337850" y="67915"/>
                  </a:lnTo>
                  <a:lnTo>
                    <a:pt x="339922" y="74378"/>
                  </a:lnTo>
                  <a:lnTo>
                    <a:pt x="337850" y="85677"/>
                  </a:lnTo>
                  <a:lnTo>
                    <a:pt x="354527" y="90611"/>
                  </a:lnTo>
                  <a:lnTo>
                    <a:pt x="367060" y="89033"/>
                  </a:lnTo>
                  <a:lnTo>
                    <a:pt x="377470" y="90611"/>
                  </a:lnTo>
                  <a:lnTo>
                    <a:pt x="379592" y="97075"/>
                  </a:lnTo>
                  <a:lnTo>
                    <a:pt x="371204" y="100332"/>
                  </a:lnTo>
                  <a:lnTo>
                    <a:pt x="352455" y="103588"/>
                  </a:lnTo>
                  <a:lnTo>
                    <a:pt x="348261" y="108522"/>
                  </a:lnTo>
                  <a:lnTo>
                    <a:pt x="344067" y="116614"/>
                  </a:lnTo>
                  <a:lnTo>
                    <a:pt x="325318" y="124656"/>
                  </a:lnTo>
                  <a:lnTo>
                    <a:pt x="319101" y="131120"/>
                  </a:lnTo>
                  <a:lnTo>
                    <a:pt x="306568" y="137583"/>
                  </a:lnTo>
                  <a:lnTo>
                    <a:pt x="298230" y="147451"/>
                  </a:lnTo>
                  <a:lnTo>
                    <a:pt x="275287" y="147451"/>
                  </a:lnTo>
                  <a:lnTo>
                    <a:pt x="260485" y="137583"/>
                  </a:lnTo>
                  <a:lnTo>
                    <a:pt x="248001" y="129492"/>
                  </a:lnTo>
                  <a:lnTo>
                    <a:pt x="237591" y="129492"/>
                  </a:lnTo>
                  <a:lnTo>
                    <a:pt x="237591" y="121449"/>
                  </a:lnTo>
                  <a:lnTo>
                    <a:pt x="235469" y="114936"/>
                  </a:lnTo>
                  <a:lnTo>
                    <a:pt x="231324" y="108522"/>
                  </a:lnTo>
                  <a:lnTo>
                    <a:pt x="229203" y="103588"/>
                  </a:lnTo>
                  <a:lnTo>
                    <a:pt x="218792" y="105167"/>
                  </a:lnTo>
                  <a:lnTo>
                    <a:pt x="212526" y="111630"/>
                  </a:lnTo>
                  <a:lnTo>
                    <a:pt x="206260" y="113259"/>
                  </a:lnTo>
                  <a:lnTo>
                    <a:pt x="202065" y="110051"/>
                  </a:lnTo>
                  <a:lnTo>
                    <a:pt x="195848" y="110051"/>
                  </a:lnTo>
                  <a:lnTo>
                    <a:pt x="191655" y="114985"/>
                  </a:lnTo>
                  <a:lnTo>
                    <a:pt x="149962" y="114985"/>
                  </a:lnTo>
                  <a:lnTo>
                    <a:pt x="147840" y="124854"/>
                  </a:lnTo>
                  <a:lnTo>
                    <a:pt x="152034" y="131317"/>
                  </a:lnTo>
                  <a:lnTo>
                    <a:pt x="164567" y="134574"/>
                  </a:lnTo>
                  <a:lnTo>
                    <a:pt x="170833" y="144442"/>
                  </a:lnTo>
                  <a:lnTo>
                    <a:pt x="166639" y="147649"/>
                  </a:lnTo>
                  <a:lnTo>
                    <a:pt x="170833" y="150856"/>
                  </a:lnTo>
                  <a:lnTo>
                    <a:pt x="168711" y="155790"/>
                  </a:lnTo>
                  <a:lnTo>
                    <a:pt x="160373" y="150856"/>
                  </a:lnTo>
                  <a:lnTo>
                    <a:pt x="135308" y="158997"/>
                  </a:lnTo>
                  <a:lnTo>
                    <a:pt x="137430" y="175131"/>
                  </a:lnTo>
                  <a:lnTo>
                    <a:pt x="143696" y="183174"/>
                  </a:lnTo>
                  <a:lnTo>
                    <a:pt x="156179" y="191266"/>
                  </a:lnTo>
                  <a:lnTo>
                    <a:pt x="166639" y="204193"/>
                  </a:lnTo>
                  <a:lnTo>
                    <a:pt x="164567" y="215492"/>
                  </a:lnTo>
                  <a:lnTo>
                    <a:pt x="164567" y="220426"/>
                  </a:lnTo>
                  <a:lnTo>
                    <a:pt x="146015" y="284174"/>
                  </a:lnTo>
                  <a:lnTo>
                    <a:pt x="139749" y="300357"/>
                  </a:lnTo>
                  <a:lnTo>
                    <a:pt x="139749" y="303614"/>
                  </a:lnTo>
                  <a:lnTo>
                    <a:pt x="137676" y="308548"/>
                  </a:lnTo>
                  <a:lnTo>
                    <a:pt x="129338" y="306969"/>
                  </a:lnTo>
                  <a:lnTo>
                    <a:pt x="129338" y="305341"/>
                  </a:lnTo>
                  <a:lnTo>
                    <a:pt x="120999" y="300407"/>
                  </a:lnTo>
                  <a:lnTo>
                    <a:pt x="108467" y="300407"/>
                  </a:lnTo>
                  <a:lnTo>
                    <a:pt x="106394" y="305341"/>
                  </a:lnTo>
                  <a:lnTo>
                    <a:pt x="81330" y="311804"/>
                  </a:lnTo>
                  <a:lnTo>
                    <a:pt x="62580" y="315011"/>
                  </a:lnTo>
                  <a:lnTo>
                    <a:pt x="58386" y="318268"/>
                  </a:lnTo>
                  <a:lnTo>
                    <a:pt x="54193" y="319847"/>
                  </a:lnTo>
                  <a:lnTo>
                    <a:pt x="45903" y="326310"/>
                  </a:lnTo>
                  <a:lnTo>
                    <a:pt x="37466" y="329419"/>
                  </a:lnTo>
                  <a:lnTo>
                    <a:pt x="31249" y="332626"/>
                  </a:lnTo>
                  <a:lnTo>
                    <a:pt x="33321" y="340718"/>
                  </a:lnTo>
                  <a:lnTo>
                    <a:pt x="29177" y="345652"/>
                  </a:lnTo>
                  <a:lnTo>
                    <a:pt x="31249" y="350586"/>
                  </a:lnTo>
                  <a:lnTo>
                    <a:pt x="20789" y="360454"/>
                  </a:lnTo>
                  <a:lnTo>
                    <a:pt x="22911" y="370322"/>
                  </a:lnTo>
                  <a:lnTo>
                    <a:pt x="27055" y="376785"/>
                  </a:lnTo>
                  <a:lnTo>
                    <a:pt x="20789" y="381719"/>
                  </a:lnTo>
                  <a:lnTo>
                    <a:pt x="16645" y="380042"/>
                  </a:lnTo>
                  <a:lnTo>
                    <a:pt x="6234" y="386555"/>
                  </a:lnTo>
                  <a:lnTo>
                    <a:pt x="6234" y="393018"/>
                  </a:lnTo>
                  <a:lnTo>
                    <a:pt x="2040" y="396225"/>
                  </a:lnTo>
                  <a:lnTo>
                    <a:pt x="4112" y="399482"/>
                  </a:lnTo>
                  <a:lnTo>
                    <a:pt x="2040" y="405896"/>
                  </a:lnTo>
                  <a:lnTo>
                    <a:pt x="-82" y="412360"/>
                  </a:lnTo>
                  <a:lnTo>
                    <a:pt x="2040" y="417294"/>
                  </a:lnTo>
                  <a:lnTo>
                    <a:pt x="-82" y="422228"/>
                  </a:lnTo>
                  <a:lnTo>
                    <a:pt x="10378" y="430270"/>
                  </a:lnTo>
                  <a:lnTo>
                    <a:pt x="27055" y="456125"/>
                  </a:lnTo>
                  <a:lnTo>
                    <a:pt x="18717" y="465993"/>
                  </a:lnTo>
                  <a:lnTo>
                    <a:pt x="41660" y="464414"/>
                  </a:lnTo>
                  <a:lnTo>
                    <a:pt x="52071" y="465993"/>
                  </a:lnTo>
                  <a:lnTo>
                    <a:pt x="60459" y="475861"/>
                  </a:lnTo>
                  <a:lnTo>
                    <a:pt x="62531" y="483903"/>
                  </a:lnTo>
                  <a:lnTo>
                    <a:pt x="77333" y="483903"/>
                  </a:lnTo>
                  <a:lnTo>
                    <a:pt x="96082" y="485532"/>
                  </a:lnTo>
                  <a:lnTo>
                    <a:pt x="110885" y="474233"/>
                  </a:lnTo>
                  <a:lnTo>
                    <a:pt x="125687" y="467769"/>
                  </a:lnTo>
                  <a:lnTo>
                    <a:pt x="127808" y="471026"/>
                  </a:lnTo>
                  <a:lnTo>
                    <a:pt x="127808" y="477489"/>
                  </a:lnTo>
                  <a:lnTo>
                    <a:pt x="123614" y="479068"/>
                  </a:lnTo>
                  <a:lnTo>
                    <a:pt x="123614" y="490367"/>
                  </a:lnTo>
                  <a:lnTo>
                    <a:pt x="125687" y="509758"/>
                  </a:lnTo>
                  <a:lnTo>
                    <a:pt x="125687" y="516221"/>
                  </a:lnTo>
                  <a:lnTo>
                    <a:pt x="129880" y="519478"/>
                  </a:lnTo>
                  <a:lnTo>
                    <a:pt x="138219" y="519478"/>
                  </a:lnTo>
                  <a:lnTo>
                    <a:pt x="144485" y="517850"/>
                  </a:lnTo>
                  <a:lnTo>
                    <a:pt x="152824" y="516221"/>
                  </a:lnTo>
                  <a:lnTo>
                    <a:pt x="156968" y="516221"/>
                  </a:lnTo>
                  <a:lnTo>
                    <a:pt x="161162" y="517850"/>
                  </a:lnTo>
                  <a:lnTo>
                    <a:pt x="184105" y="517850"/>
                  </a:lnTo>
                  <a:lnTo>
                    <a:pt x="194566" y="519478"/>
                  </a:lnTo>
                  <a:lnTo>
                    <a:pt x="204977" y="513014"/>
                  </a:lnTo>
                  <a:lnTo>
                    <a:pt x="211243" y="513014"/>
                  </a:lnTo>
                  <a:lnTo>
                    <a:pt x="219581" y="508080"/>
                  </a:lnTo>
                  <a:lnTo>
                    <a:pt x="227920" y="508080"/>
                  </a:lnTo>
                  <a:lnTo>
                    <a:pt x="238380" y="504873"/>
                  </a:lnTo>
                  <a:lnTo>
                    <a:pt x="244597" y="491946"/>
                  </a:lnTo>
                  <a:lnTo>
                    <a:pt x="261274" y="482078"/>
                  </a:lnTo>
                  <a:lnTo>
                    <a:pt x="273806" y="480449"/>
                  </a:lnTo>
                  <a:lnTo>
                    <a:pt x="284217" y="475515"/>
                  </a:lnTo>
                  <a:lnTo>
                    <a:pt x="292605" y="475515"/>
                  </a:lnTo>
                  <a:lnTo>
                    <a:pt x="300944" y="480449"/>
                  </a:lnTo>
                  <a:lnTo>
                    <a:pt x="309282" y="475515"/>
                  </a:lnTo>
                  <a:lnTo>
                    <a:pt x="313476" y="478723"/>
                  </a:lnTo>
                  <a:lnTo>
                    <a:pt x="311354" y="485186"/>
                  </a:lnTo>
                  <a:lnTo>
                    <a:pt x="315548" y="496485"/>
                  </a:lnTo>
                  <a:lnTo>
                    <a:pt x="309282" y="506353"/>
                  </a:lnTo>
                  <a:lnTo>
                    <a:pt x="315548" y="520859"/>
                  </a:lnTo>
                  <a:lnTo>
                    <a:pt x="311354" y="527323"/>
                  </a:lnTo>
                  <a:lnTo>
                    <a:pt x="317621" y="538622"/>
                  </a:lnTo>
                  <a:lnTo>
                    <a:pt x="325959" y="541878"/>
                  </a:lnTo>
                  <a:lnTo>
                    <a:pt x="328031" y="549921"/>
                  </a:lnTo>
                  <a:lnTo>
                    <a:pt x="336419" y="554855"/>
                  </a:lnTo>
                  <a:lnTo>
                    <a:pt x="348902" y="561269"/>
                  </a:lnTo>
                  <a:lnTo>
                    <a:pt x="357290" y="566203"/>
                  </a:lnTo>
                  <a:lnTo>
                    <a:pt x="359362" y="562947"/>
                  </a:lnTo>
                  <a:lnTo>
                    <a:pt x="374165" y="561318"/>
                  </a:lnTo>
                  <a:lnTo>
                    <a:pt x="386648" y="571186"/>
                  </a:lnTo>
                  <a:lnTo>
                    <a:pt x="397108" y="569558"/>
                  </a:lnTo>
                  <a:lnTo>
                    <a:pt x="409591" y="580857"/>
                  </a:lnTo>
                  <a:lnTo>
                    <a:pt x="415857" y="580857"/>
                  </a:lnTo>
                  <a:lnTo>
                    <a:pt x="430659" y="585791"/>
                  </a:lnTo>
                  <a:lnTo>
                    <a:pt x="441119" y="589048"/>
                  </a:lnTo>
                  <a:lnTo>
                    <a:pt x="442057" y="595857"/>
                  </a:lnTo>
                  <a:lnTo>
                    <a:pt x="450395" y="597485"/>
                  </a:lnTo>
                  <a:lnTo>
                    <a:pt x="458734" y="602419"/>
                  </a:lnTo>
                  <a:lnTo>
                    <a:pt x="479605" y="600840"/>
                  </a:lnTo>
                  <a:lnTo>
                    <a:pt x="494407" y="607304"/>
                  </a:lnTo>
                  <a:lnTo>
                    <a:pt x="496480" y="613767"/>
                  </a:lnTo>
                  <a:lnTo>
                    <a:pt x="494407" y="628273"/>
                  </a:lnTo>
                  <a:lnTo>
                    <a:pt x="498601" y="639621"/>
                  </a:lnTo>
                  <a:lnTo>
                    <a:pt x="494407" y="646085"/>
                  </a:lnTo>
                  <a:lnTo>
                    <a:pt x="506940" y="665426"/>
                  </a:lnTo>
                  <a:lnTo>
                    <a:pt x="506940" y="679735"/>
                  </a:lnTo>
                  <a:lnTo>
                    <a:pt x="569503" y="681413"/>
                  </a:lnTo>
                  <a:lnTo>
                    <a:pt x="573648" y="700754"/>
                  </a:lnTo>
                  <a:lnTo>
                    <a:pt x="571625" y="713681"/>
                  </a:lnTo>
                  <a:lnTo>
                    <a:pt x="590374" y="716938"/>
                  </a:lnTo>
                  <a:lnTo>
                    <a:pt x="609173" y="745999"/>
                  </a:lnTo>
                  <a:lnTo>
                    <a:pt x="611245" y="760505"/>
                  </a:lnTo>
                  <a:lnTo>
                    <a:pt x="592496" y="791195"/>
                  </a:lnTo>
                  <a:lnTo>
                    <a:pt x="594519" y="796129"/>
                  </a:lnTo>
                  <a:lnTo>
                    <a:pt x="590374" y="801063"/>
                  </a:lnTo>
                  <a:lnTo>
                    <a:pt x="592496" y="804320"/>
                  </a:lnTo>
                  <a:lnTo>
                    <a:pt x="590374" y="810783"/>
                  </a:lnTo>
                  <a:lnTo>
                    <a:pt x="598713" y="817247"/>
                  </a:lnTo>
                  <a:lnTo>
                    <a:pt x="600785" y="827115"/>
                  </a:lnTo>
                  <a:lnTo>
                    <a:pt x="607051" y="836983"/>
                  </a:lnTo>
                  <a:lnTo>
                    <a:pt x="602906" y="854745"/>
                  </a:lnTo>
                  <a:lnTo>
                    <a:pt x="604880" y="862294"/>
                  </a:lnTo>
                  <a:lnTo>
                    <a:pt x="602808" y="868758"/>
                  </a:lnTo>
                  <a:lnTo>
                    <a:pt x="604880" y="875222"/>
                  </a:lnTo>
                  <a:lnTo>
                    <a:pt x="619682" y="875222"/>
                  </a:lnTo>
                  <a:lnTo>
                    <a:pt x="625949" y="876850"/>
                  </a:lnTo>
                  <a:lnTo>
                    <a:pt x="642626" y="875222"/>
                  </a:lnTo>
                  <a:lnTo>
                    <a:pt x="653086" y="878429"/>
                  </a:lnTo>
                  <a:lnTo>
                    <a:pt x="669763" y="873495"/>
                  </a:lnTo>
                  <a:lnTo>
                    <a:pt x="678052" y="878429"/>
                  </a:lnTo>
                  <a:lnTo>
                    <a:pt x="684318" y="880057"/>
                  </a:lnTo>
                  <a:lnTo>
                    <a:pt x="686440" y="888149"/>
                  </a:lnTo>
                  <a:lnTo>
                    <a:pt x="696900" y="920418"/>
                  </a:lnTo>
                  <a:lnTo>
                    <a:pt x="703117" y="933345"/>
                  </a:lnTo>
                  <a:lnTo>
                    <a:pt x="709383" y="934973"/>
                  </a:lnTo>
                  <a:lnTo>
                    <a:pt x="724185" y="928509"/>
                  </a:lnTo>
                  <a:lnTo>
                    <a:pt x="732524" y="930137"/>
                  </a:lnTo>
                  <a:lnTo>
                    <a:pt x="736717" y="935071"/>
                  </a:lnTo>
                  <a:lnTo>
                    <a:pt x="742934" y="935071"/>
                  </a:lnTo>
                  <a:lnTo>
                    <a:pt x="738790" y="941535"/>
                  </a:lnTo>
                  <a:lnTo>
                    <a:pt x="738790" y="970597"/>
                  </a:lnTo>
                  <a:lnTo>
                    <a:pt x="736717" y="973804"/>
                  </a:lnTo>
                  <a:lnTo>
                    <a:pt x="736717" y="973804"/>
                  </a:lnTo>
                  <a:lnTo>
                    <a:pt x="736717" y="978738"/>
                  </a:lnTo>
                  <a:lnTo>
                    <a:pt x="734596" y="981994"/>
                  </a:lnTo>
                  <a:lnTo>
                    <a:pt x="734596" y="985201"/>
                  </a:lnTo>
                  <a:lnTo>
                    <a:pt x="740862" y="981994"/>
                  </a:lnTo>
                  <a:lnTo>
                    <a:pt x="757589" y="983573"/>
                  </a:lnTo>
                  <a:lnTo>
                    <a:pt x="757589" y="990037"/>
                  </a:lnTo>
                  <a:lnTo>
                    <a:pt x="763805" y="1002964"/>
                  </a:lnTo>
                  <a:lnTo>
                    <a:pt x="763805" y="1014263"/>
                  </a:lnTo>
                  <a:lnTo>
                    <a:pt x="765878" y="1025562"/>
                  </a:lnTo>
                  <a:lnTo>
                    <a:pt x="767999" y="1036861"/>
                  </a:lnTo>
                  <a:lnTo>
                    <a:pt x="765878" y="1041795"/>
                  </a:lnTo>
                  <a:lnTo>
                    <a:pt x="757589" y="1041795"/>
                  </a:lnTo>
                  <a:lnTo>
                    <a:pt x="749201" y="1045002"/>
                  </a:lnTo>
                  <a:lnTo>
                    <a:pt x="747128" y="1048209"/>
                  </a:lnTo>
                  <a:lnTo>
                    <a:pt x="742934" y="1051416"/>
                  </a:lnTo>
                  <a:lnTo>
                    <a:pt x="740862" y="1049837"/>
                  </a:lnTo>
                  <a:lnTo>
                    <a:pt x="724185" y="1059705"/>
                  </a:lnTo>
                  <a:lnTo>
                    <a:pt x="722063" y="1062912"/>
                  </a:lnTo>
                  <a:lnTo>
                    <a:pt x="715847" y="1064541"/>
                  </a:lnTo>
                  <a:lnTo>
                    <a:pt x="703314" y="1074409"/>
                  </a:lnTo>
                  <a:lnTo>
                    <a:pt x="699120" y="1076037"/>
                  </a:lnTo>
                  <a:lnTo>
                    <a:pt x="697097" y="1082500"/>
                  </a:lnTo>
                  <a:lnTo>
                    <a:pt x="692903" y="1084079"/>
                  </a:lnTo>
                  <a:lnTo>
                    <a:pt x="688709" y="1084079"/>
                  </a:lnTo>
                  <a:lnTo>
                    <a:pt x="676226" y="1095428"/>
                  </a:lnTo>
                  <a:lnTo>
                    <a:pt x="674105" y="1100362"/>
                  </a:lnTo>
                  <a:lnTo>
                    <a:pt x="676226" y="1106825"/>
                  </a:lnTo>
                  <a:lnTo>
                    <a:pt x="669960" y="1108404"/>
                  </a:lnTo>
                  <a:lnTo>
                    <a:pt x="667838" y="1113338"/>
                  </a:lnTo>
                  <a:lnTo>
                    <a:pt x="659154" y="1123798"/>
                  </a:lnTo>
                  <a:lnTo>
                    <a:pt x="655010" y="1127006"/>
                  </a:lnTo>
                  <a:lnTo>
                    <a:pt x="648744" y="1136874"/>
                  </a:lnTo>
                  <a:lnTo>
                    <a:pt x="648744" y="1140081"/>
                  </a:lnTo>
                  <a:lnTo>
                    <a:pt x="642477" y="1143288"/>
                  </a:lnTo>
                  <a:lnTo>
                    <a:pt x="640356" y="1146544"/>
                  </a:lnTo>
                  <a:lnTo>
                    <a:pt x="646671" y="1146544"/>
                  </a:lnTo>
                  <a:lnTo>
                    <a:pt x="650816" y="1148172"/>
                  </a:lnTo>
                  <a:lnTo>
                    <a:pt x="667493" y="1143238"/>
                  </a:lnTo>
                  <a:lnTo>
                    <a:pt x="675881" y="1148172"/>
                  </a:lnTo>
                  <a:lnTo>
                    <a:pt x="684170" y="1158040"/>
                  </a:lnTo>
                  <a:lnTo>
                    <a:pt x="690485" y="1159669"/>
                  </a:lnTo>
                  <a:lnTo>
                    <a:pt x="696752" y="1169537"/>
                  </a:lnTo>
                  <a:lnTo>
                    <a:pt x="705041" y="1180836"/>
                  </a:lnTo>
                  <a:lnTo>
                    <a:pt x="709235" y="1180836"/>
                  </a:lnTo>
                  <a:lnTo>
                    <a:pt x="715501" y="1174372"/>
                  </a:lnTo>
                  <a:lnTo>
                    <a:pt x="719646" y="1174372"/>
                  </a:lnTo>
                  <a:lnTo>
                    <a:pt x="727984" y="1187299"/>
                  </a:lnTo>
                  <a:lnTo>
                    <a:pt x="738444" y="1190556"/>
                  </a:lnTo>
                  <a:lnTo>
                    <a:pt x="746783" y="1192135"/>
                  </a:lnTo>
                  <a:lnTo>
                    <a:pt x="755122" y="1198598"/>
                  </a:lnTo>
                  <a:lnTo>
                    <a:pt x="755122" y="1208467"/>
                  </a:lnTo>
                  <a:lnTo>
                    <a:pt x="761388" y="1206838"/>
                  </a:lnTo>
                  <a:lnTo>
                    <a:pt x="776190" y="1211772"/>
                  </a:lnTo>
                  <a:lnTo>
                    <a:pt x="784528" y="1221640"/>
                  </a:lnTo>
                  <a:lnTo>
                    <a:pt x="792867" y="1232989"/>
                  </a:lnTo>
                  <a:lnTo>
                    <a:pt x="801205" y="1237923"/>
                  </a:lnTo>
                  <a:lnTo>
                    <a:pt x="799133" y="1245965"/>
                  </a:lnTo>
                  <a:lnTo>
                    <a:pt x="792867" y="1254057"/>
                  </a:lnTo>
                  <a:lnTo>
                    <a:pt x="797061" y="1263925"/>
                  </a:lnTo>
                  <a:lnTo>
                    <a:pt x="797061" y="1265602"/>
                  </a:lnTo>
                  <a:lnTo>
                    <a:pt x="799133" y="1267182"/>
                  </a:lnTo>
                  <a:lnTo>
                    <a:pt x="803278" y="1272116"/>
                  </a:lnTo>
                  <a:lnTo>
                    <a:pt x="805399" y="1273744"/>
                  </a:lnTo>
                  <a:lnTo>
                    <a:pt x="817932" y="1263876"/>
                  </a:lnTo>
                  <a:lnTo>
                    <a:pt x="824149" y="1254008"/>
                  </a:lnTo>
                  <a:lnTo>
                    <a:pt x="828342" y="1233038"/>
                  </a:lnTo>
                  <a:lnTo>
                    <a:pt x="834609" y="1218236"/>
                  </a:lnTo>
                  <a:lnTo>
                    <a:pt x="836681" y="1215029"/>
                  </a:lnTo>
                  <a:lnTo>
                    <a:pt x="834609" y="1211772"/>
                  </a:lnTo>
                  <a:lnTo>
                    <a:pt x="828342" y="1203680"/>
                  </a:lnTo>
                  <a:lnTo>
                    <a:pt x="830415" y="1197217"/>
                  </a:lnTo>
                  <a:lnTo>
                    <a:pt x="836681" y="1195638"/>
                  </a:lnTo>
                  <a:lnTo>
                    <a:pt x="836681" y="1192382"/>
                  </a:lnTo>
                  <a:lnTo>
                    <a:pt x="842898" y="1185918"/>
                  </a:lnTo>
                  <a:lnTo>
                    <a:pt x="842898" y="1180984"/>
                  </a:lnTo>
                  <a:lnTo>
                    <a:pt x="847092" y="1184240"/>
                  </a:lnTo>
                  <a:lnTo>
                    <a:pt x="851286" y="1184240"/>
                  </a:lnTo>
                  <a:lnTo>
                    <a:pt x="857552" y="1177776"/>
                  </a:lnTo>
                  <a:lnTo>
                    <a:pt x="857552" y="1172842"/>
                  </a:lnTo>
                  <a:lnTo>
                    <a:pt x="859624" y="1169586"/>
                  </a:lnTo>
                  <a:lnTo>
                    <a:pt x="861746" y="1163122"/>
                  </a:lnTo>
                  <a:lnTo>
                    <a:pt x="863769" y="1159915"/>
                  </a:lnTo>
                  <a:lnTo>
                    <a:pt x="867963" y="1159915"/>
                  </a:lnTo>
                  <a:lnTo>
                    <a:pt x="870035" y="1153452"/>
                  </a:lnTo>
                  <a:lnTo>
                    <a:pt x="867963" y="1150195"/>
                  </a:lnTo>
                  <a:lnTo>
                    <a:pt x="863769" y="1145261"/>
                  </a:lnTo>
                  <a:lnTo>
                    <a:pt x="863769" y="1137219"/>
                  </a:lnTo>
                  <a:lnTo>
                    <a:pt x="861450" y="1133666"/>
                  </a:lnTo>
                  <a:lnTo>
                    <a:pt x="865595" y="1135295"/>
                  </a:lnTo>
                  <a:lnTo>
                    <a:pt x="869739" y="1141758"/>
                  </a:lnTo>
                  <a:lnTo>
                    <a:pt x="878127" y="1149801"/>
                  </a:lnTo>
                  <a:lnTo>
                    <a:pt x="880199" y="1149801"/>
                  </a:lnTo>
                  <a:lnTo>
                    <a:pt x="884344" y="1148222"/>
                  </a:lnTo>
                  <a:lnTo>
                    <a:pt x="886416" y="1149801"/>
                  </a:lnTo>
                  <a:lnTo>
                    <a:pt x="888538" y="1156264"/>
                  </a:lnTo>
                  <a:lnTo>
                    <a:pt x="884344" y="1156264"/>
                  </a:lnTo>
                  <a:lnTo>
                    <a:pt x="882321" y="1167563"/>
                  </a:lnTo>
                  <a:lnTo>
                    <a:pt x="873933" y="1178862"/>
                  </a:lnTo>
                  <a:lnTo>
                    <a:pt x="865595" y="1178862"/>
                  </a:lnTo>
                  <a:lnTo>
                    <a:pt x="865595" y="1186954"/>
                  </a:lnTo>
                  <a:lnTo>
                    <a:pt x="861450" y="1191888"/>
                  </a:lnTo>
                  <a:lnTo>
                    <a:pt x="859328" y="1190309"/>
                  </a:lnTo>
                  <a:lnTo>
                    <a:pt x="853062" y="1195243"/>
                  </a:lnTo>
                  <a:lnTo>
                    <a:pt x="846796" y="1198450"/>
                  </a:lnTo>
                  <a:lnTo>
                    <a:pt x="846796" y="1201707"/>
                  </a:lnTo>
                  <a:lnTo>
                    <a:pt x="840579" y="1203286"/>
                  </a:lnTo>
                  <a:lnTo>
                    <a:pt x="836385" y="1204914"/>
                  </a:lnTo>
                  <a:lnTo>
                    <a:pt x="838507" y="1208170"/>
                  </a:lnTo>
                  <a:lnTo>
                    <a:pt x="844723" y="1209749"/>
                  </a:lnTo>
                  <a:lnTo>
                    <a:pt x="867667" y="1195243"/>
                  </a:lnTo>
                  <a:lnTo>
                    <a:pt x="880199" y="1183944"/>
                  </a:lnTo>
                  <a:lnTo>
                    <a:pt x="896876" y="1159718"/>
                  </a:lnTo>
                  <a:lnTo>
                    <a:pt x="903143" y="1146791"/>
                  </a:lnTo>
                  <a:lnTo>
                    <a:pt x="909409" y="1130657"/>
                  </a:lnTo>
                  <a:lnTo>
                    <a:pt x="926086" y="1103174"/>
                  </a:lnTo>
                  <a:lnTo>
                    <a:pt x="942812" y="1086990"/>
                  </a:lnTo>
                  <a:lnTo>
                    <a:pt x="944884" y="1082056"/>
                  </a:lnTo>
                  <a:lnTo>
                    <a:pt x="942812" y="1080428"/>
                  </a:lnTo>
                  <a:lnTo>
                    <a:pt x="942812" y="1075494"/>
                  </a:lnTo>
                  <a:lnTo>
                    <a:pt x="946957" y="1075494"/>
                  </a:lnTo>
                  <a:lnTo>
                    <a:pt x="949029" y="1067402"/>
                  </a:lnTo>
                  <a:lnTo>
                    <a:pt x="955295" y="1065774"/>
                  </a:lnTo>
                  <a:lnTo>
                    <a:pt x="953223" y="1059360"/>
                  </a:lnTo>
                  <a:lnTo>
                    <a:pt x="955295" y="1056104"/>
                  </a:lnTo>
                  <a:lnTo>
                    <a:pt x="953223" y="1054475"/>
                  </a:lnTo>
                  <a:lnTo>
                    <a:pt x="949029" y="1052896"/>
                  </a:lnTo>
                  <a:lnTo>
                    <a:pt x="951101" y="1046433"/>
                  </a:lnTo>
                  <a:lnTo>
                    <a:pt x="942812" y="1038341"/>
                  </a:lnTo>
                  <a:lnTo>
                    <a:pt x="942812" y="1033407"/>
                  </a:lnTo>
                  <a:lnTo>
                    <a:pt x="944884" y="1030200"/>
                  </a:lnTo>
                  <a:lnTo>
                    <a:pt x="942812" y="1025266"/>
                  </a:lnTo>
                  <a:lnTo>
                    <a:pt x="940691" y="1017223"/>
                  </a:lnTo>
                  <a:lnTo>
                    <a:pt x="936546" y="1007355"/>
                  </a:lnTo>
                  <a:lnTo>
                    <a:pt x="940691" y="1005727"/>
                  </a:lnTo>
                  <a:lnTo>
                    <a:pt x="949029" y="1004148"/>
                  </a:lnTo>
                  <a:lnTo>
                    <a:pt x="946957" y="997635"/>
                  </a:lnTo>
                  <a:lnTo>
                    <a:pt x="942812" y="996056"/>
                  </a:lnTo>
                  <a:lnTo>
                    <a:pt x="951101" y="994428"/>
                  </a:lnTo>
                  <a:lnTo>
                    <a:pt x="951101" y="987964"/>
                  </a:lnTo>
                  <a:lnTo>
                    <a:pt x="942812" y="984757"/>
                  </a:lnTo>
                  <a:lnTo>
                    <a:pt x="949029" y="983129"/>
                  </a:lnTo>
                  <a:lnTo>
                    <a:pt x="955295" y="978195"/>
                  </a:lnTo>
                  <a:lnTo>
                    <a:pt x="957368" y="979774"/>
                  </a:lnTo>
                  <a:lnTo>
                    <a:pt x="969900" y="969906"/>
                  </a:lnTo>
                  <a:lnTo>
                    <a:pt x="976166" y="966699"/>
                  </a:lnTo>
                  <a:lnTo>
                    <a:pt x="976166" y="963492"/>
                  </a:lnTo>
                  <a:lnTo>
                    <a:pt x="986626" y="957028"/>
                  </a:lnTo>
                  <a:lnTo>
                    <a:pt x="997037" y="950515"/>
                  </a:lnTo>
                  <a:lnTo>
                    <a:pt x="1011839" y="936009"/>
                  </a:lnTo>
                  <a:lnTo>
                    <a:pt x="1024372" y="934381"/>
                  </a:lnTo>
                  <a:lnTo>
                    <a:pt x="1032710" y="927917"/>
                  </a:lnTo>
                  <a:lnTo>
                    <a:pt x="1038976" y="922983"/>
                  </a:lnTo>
                  <a:lnTo>
                    <a:pt x="1047364" y="922983"/>
                  </a:lnTo>
                  <a:lnTo>
                    <a:pt x="1051509" y="926190"/>
                  </a:lnTo>
                  <a:lnTo>
                    <a:pt x="1057775" y="927819"/>
                  </a:lnTo>
                  <a:lnTo>
                    <a:pt x="1057775" y="922885"/>
                  </a:lnTo>
                  <a:lnTo>
                    <a:pt x="1064041" y="914793"/>
                  </a:lnTo>
                  <a:lnTo>
                    <a:pt x="1078844" y="906750"/>
                  </a:lnTo>
                  <a:lnTo>
                    <a:pt x="1085159" y="905122"/>
                  </a:lnTo>
                  <a:lnTo>
                    <a:pt x="1085159" y="901866"/>
                  </a:lnTo>
                  <a:lnTo>
                    <a:pt x="1080965" y="900287"/>
                  </a:lnTo>
                  <a:lnTo>
                    <a:pt x="1076771" y="900287"/>
                  </a:lnTo>
                  <a:lnTo>
                    <a:pt x="1074699" y="895353"/>
                  </a:lnTo>
                  <a:lnTo>
                    <a:pt x="1078547" y="895353"/>
                  </a:lnTo>
                  <a:lnTo>
                    <a:pt x="1089008" y="890419"/>
                  </a:lnTo>
                  <a:lnTo>
                    <a:pt x="1099418" y="890419"/>
                  </a:lnTo>
                  <a:lnTo>
                    <a:pt x="1103612" y="887211"/>
                  </a:lnTo>
                  <a:lnTo>
                    <a:pt x="1109878" y="887211"/>
                  </a:lnTo>
                  <a:lnTo>
                    <a:pt x="1109878" y="890419"/>
                  </a:lnTo>
                  <a:lnTo>
                    <a:pt x="1101540" y="895353"/>
                  </a:lnTo>
                  <a:lnTo>
                    <a:pt x="1093152" y="896981"/>
                  </a:lnTo>
                  <a:lnTo>
                    <a:pt x="1091129" y="898609"/>
                  </a:lnTo>
                  <a:lnTo>
                    <a:pt x="1093152" y="900237"/>
                  </a:lnTo>
                  <a:lnTo>
                    <a:pt x="1107954" y="895303"/>
                  </a:lnTo>
                  <a:lnTo>
                    <a:pt x="1124632" y="890369"/>
                  </a:lnTo>
                  <a:lnTo>
                    <a:pt x="1122510" y="887162"/>
                  </a:lnTo>
                  <a:lnTo>
                    <a:pt x="1126704" y="883906"/>
                  </a:lnTo>
                  <a:lnTo>
                    <a:pt x="1130898" y="883906"/>
                  </a:lnTo>
                  <a:lnTo>
                    <a:pt x="1130898" y="893774"/>
                  </a:lnTo>
                  <a:lnTo>
                    <a:pt x="1141308" y="895353"/>
                  </a:lnTo>
                  <a:lnTo>
                    <a:pt x="1147575" y="892145"/>
                  </a:lnTo>
                  <a:lnTo>
                    <a:pt x="1157492" y="892145"/>
                  </a:lnTo>
                  <a:lnTo>
                    <a:pt x="1170024" y="893774"/>
                  </a:lnTo>
                  <a:lnTo>
                    <a:pt x="1176241" y="888840"/>
                  </a:lnTo>
                  <a:lnTo>
                    <a:pt x="1176241" y="885583"/>
                  </a:lnTo>
                  <a:lnTo>
                    <a:pt x="1174218" y="883955"/>
                  </a:lnTo>
                  <a:lnTo>
                    <a:pt x="1176241" y="880748"/>
                  </a:lnTo>
                  <a:lnTo>
                    <a:pt x="1192968" y="870880"/>
                  </a:lnTo>
                  <a:lnTo>
                    <a:pt x="1205500" y="867623"/>
                  </a:lnTo>
                  <a:lnTo>
                    <a:pt x="1211766" y="864416"/>
                  </a:lnTo>
                  <a:lnTo>
                    <a:pt x="1213839" y="859482"/>
                  </a:lnTo>
                  <a:lnTo>
                    <a:pt x="1213839" y="857903"/>
                  </a:lnTo>
                  <a:lnTo>
                    <a:pt x="1207573" y="844976"/>
                  </a:lnTo>
                  <a:lnTo>
                    <a:pt x="1211766" y="836884"/>
                  </a:lnTo>
                  <a:lnTo>
                    <a:pt x="1215911" y="831950"/>
                  </a:lnTo>
                  <a:lnTo>
                    <a:pt x="1215911" y="825486"/>
                  </a:lnTo>
                  <a:lnTo>
                    <a:pt x="1220056" y="823858"/>
                  </a:lnTo>
                  <a:lnTo>
                    <a:pt x="1226322" y="820651"/>
                  </a:lnTo>
                  <a:lnTo>
                    <a:pt x="1226322" y="812559"/>
                  </a:lnTo>
                  <a:lnTo>
                    <a:pt x="1234710" y="799632"/>
                  </a:lnTo>
                  <a:lnTo>
                    <a:pt x="1249512" y="784830"/>
                  </a:lnTo>
                  <a:lnTo>
                    <a:pt x="1249512" y="778416"/>
                  </a:lnTo>
                  <a:lnTo>
                    <a:pt x="1247390" y="759025"/>
                  </a:lnTo>
                  <a:lnTo>
                    <a:pt x="1245318" y="755818"/>
                  </a:lnTo>
                  <a:lnTo>
                    <a:pt x="1249512" y="742891"/>
                  </a:lnTo>
                  <a:lnTo>
                    <a:pt x="1253656" y="737957"/>
                  </a:lnTo>
                  <a:lnTo>
                    <a:pt x="1253656" y="734700"/>
                  </a:lnTo>
                  <a:lnTo>
                    <a:pt x="1264067" y="726658"/>
                  </a:lnTo>
                  <a:lnTo>
                    <a:pt x="1266189" y="723401"/>
                  </a:lnTo>
                  <a:lnTo>
                    <a:pt x="1261995" y="712102"/>
                  </a:lnTo>
                  <a:lnTo>
                    <a:pt x="1268261" y="699175"/>
                  </a:lnTo>
                  <a:lnTo>
                    <a:pt x="1266041" y="689603"/>
                  </a:lnTo>
                  <a:lnTo>
                    <a:pt x="1268113" y="681561"/>
                  </a:lnTo>
                  <a:lnTo>
                    <a:pt x="1268113" y="676627"/>
                  </a:lnTo>
                  <a:lnTo>
                    <a:pt x="1272307" y="665328"/>
                  </a:lnTo>
                  <a:lnTo>
                    <a:pt x="1268113" y="623339"/>
                  </a:lnTo>
                  <a:lnTo>
                    <a:pt x="1268113" y="615247"/>
                  </a:lnTo>
                  <a:lnTo>
                    <a:pt x="1270186" y="610313"/>
                  </a:lnTo>
                  <a:lnTo>
                    <a:pt x="1270186" y="603899"/>
                  </a:lnTo>
                  <a:lnTo>
                    <a:pt x="1268113" y="607106"/>
                  </a:lnTo>
                  <a:lnTo>
                    <a:pt x="1261847" y="603899"/>
                  </a:lnTo>
                  <a:lnTo>
                    <a:pt x="1261847" y="598965"/>
                  </a:lnTo>
                  <a:lnTo>
                    <a:pt x="1268113" y="592501"/>
                  </a:lnTo>
                  <a:lnTo>
                    <a:pt x="1266041" y="586087"/>
                  </a:lnTo>
                  <a:lnTo>
                    <a:pt x="1268113" y="581153"/>
                  </a:lnTo>
                  <a:lnTo>
                    <a:pt x="1272307" y="579525"/>
                  </a:lnTo>
                  <a:lnTo>
                    <a:pt x="1272307" y="573061"/>
                  </a:lnTo>
                  <a:lnTo>
                    <a:pt x="1268113" y="565019"/>
                  </a:lnTo>
                  <a:lnTo>
                    <a:pt x="1257702" y="561763"/>
                  </a:lnTo>
                  <a:lnTo>
                    <a:pt x="1261847" y="561763"/>
                  </a:lnTo>
                  <a:lnTo>
                    <a:pt x="1261847" y="558555"/>
                  </a:lnTo>
                  <a:lnTo>
                    <a:pt x="1263919" y="561763"/>
                  </a:lnTo>
                  <a:lnTo>
                    <a:pt x="1270186" y="565019"/>
                  </a:lnTo>
                  <a:lnTo>
                    <a:pt x="1274379" y="566598"/>
                  </a:lnTo>
                  <a:lnTo>
                    <a:pt x="1276501" y="560134"/>
                  </a:lnTo>
                  <a:lnTo>
                    <a:pt x="1282718" y="560134"/>
                  </a:lnTo>
                  <a:lnTo>
                    <a:pt x="1284790" y="563391"/>
                  </a:lnTo>
                  <a:lnTo>
                    <a:pt x="1286912" y="565019"/>
                  </a:lnTo>
                  <a:lnTo>
                    <a:pt x="1284790" y="569953"/>
                  </a:lnTo>
                  <a:lnTo>
                    <a:pt x="1278573" y="573160"/>
                  </a:lnTo>
                  <a:lnTo>
                    <a:pt x="1276501" y="576416"/>
                  </a:lnTo>
                  <a:lnTo>
                    <a:pt x="1280596" y="576416"/>
                  </a:lnTo>
                  <a:lnTo>
                    <a:pt x="1288984" y="571482"/>
                  </a:lnTo>
                  <a:lnTo>
                    <a:pt x="1297323" y="566548"/>
                  </a:lnTo>
                  <a:lnTo>
                    <a:pt x="1309855" y="550414"/>
                  </a:lnTo>
                  <a:lnTo>
                    <a:pt x="1316121" y="539115"/>
                  </a:lnTo>
                  <a:lnTo>
                    <a:pt x="1318194" y="532652"/>
                  </a:lnTo>
                  <a:lnTo>
                    <a:pt x="1322338" y="529444"/>
                  </a:lnTo>
                  <a:lnTo>
                    <a:pt x="1326532" y="518146"/>
                  </a:lnTo>
                  <a:lnTo>
                    <a:pt x="1332798" y="508277"/>
                  </a:lnTo>
                  <a:lnTo>
                    <a:pt x="1351547" y="496979"/>
                  </a:lnTo>
                  <a:lnTo>
                    <a:pt x="1353669" y="492045"/>
                  </a:lnTo>
                  <a:lnTo>
                    <a:pt x="1359936" y="490416"/>
                  </a:lnTo>
                  <a:lnTo>
                    <a:pt x="1364080" y="483953"/>
                  </a:lnTo>
                  <a:lnTo>
                    <a:pt x="1378882" y="472654"/>
                  </a:lnTo>
                  <a:lnTo>
                    <a:pt x="1393684" y="454891"/>
                  </a:lnTo>
                  <a:lnTo>
                    <a:pt x="1397878" y="451684"/>
                  </a:lnTo>
                  <a:lnTo>
                    <a:pt x="1406168" y="433922"/>
                  </a:lnTo>
                  <a:lnTo>
                    <a:pt x="1408289" y="427458"/>
                  </a:lnTo>
                  <a:lnTo>
                    <a:pt x="1412434" y="420994"/>
                  </a:lnTo>
                  <a:lnTo>
                    <a:pt x="1412434" y="416060"/>
                  </a:lnTo>
                  <a:lnTo>
                    <a:pt x="1408289" y="409597"/>
                  </a:lnTo>
                  <a:lnTo>
                    <a:pt x="1410361" y="404663"/>
                  </a:lnTo>
                  <a:lnTo>
                    <a:pt x="1414555" y="401455"/>
                  </a:lnTo>
                  <a:lnTo>
                    <a:pt x="1412434" y="385321"/>
                  </a:lnTo>
                  <a:lnTo>
                    <a:pt x="1408289" y="383693"/>
                  </a:lnTo>
                  <a:lnTo>
                    <a:pt x="1408289" y="375601"/>
                  </a:lnTo>
                  <a:lnTo>
                    <a:pt x="1395757" y="351375"/>
                  </a:lnTo>
                  <a:lnTo>
                    <a:pt x="1395757" y="343283"/>
                  </a:lnTo>
                  <a:lnTo>
                    <a:pt x="1393684" y="333415"/>
                  </a:lnTo>
                  <a:lnTo>
                    <a:pt x="1368620" y="325323"/>
                  </a:lnTo>
                  <a:lnTo>
                    <a:pt x="1356136" y="325323"/>
                  </a:lnTo>
                  <a:lnTo>
                    <a:pt x="1345676" y="328580"/>
                  </a:lnTo>
                  <a:lnTo>
                    <a:pt x="1339459" y="320538"/>
                  </a:lnTo>
                  <a:lnTo>
                    <a:pt x="1331120" y="318860"/>
                  </a:lnTo>
                  <a:lnTo>
                    <a:pt x="1322733" y="312446"/>
                  </a:lnTo>
                  <a:lnTo>
                    <a:pt x="1312322" y="307512"/>
                  </a:lnTo>
                  <a:lnTo>
                    <a:pt x="1306056" y="305933"/>
                  </a:lnTo>
                  <a:lnTo>
                    <a:pt x="1289379" y="291377"/>
                  </a:lnTo>
                  <a:lnTo>
                    <a:pt x="1276896" y="276575"/>
                  </a:lnTo>
                  <a:lnTo>
                    <a:pt x="1270580" y="274996"/>
                  </a:lnTo>
                  <a:lnTo>
                    <a:pt x="1262242" y="266954"/>
                  </a:lnTo>
                  <a:lnTo>
                    <a:pt x="1253903" y="268533"/>
                  </a:lnTo>
                  <a:lnTo>
                    <a:pt x="1230960" y="253977"/>
                  </a:lnTo>
                  <a:lnTo>
                    <a:pt x="1222621" y="253977"/>
                  </a:lnTo>
                  <a:lnTo>
                    <a:pt x="1210089" y="250770"/>
                  </a:lnTo>
                  <a:lnTo>
                    <a:pt x="1203823" y="253977"/>
                  </a:lnTo>
                  <a:lnTo>
                    <a:pt x="1193412" y="253977"/>
                  </a:lnTo>
                  <a:lnTo>
                    <a:pt x="1187146" y="250770"/>
                  </a:lnTo>
                  <a:lnTo>
                    <a:pt x="1180879" y="253977"/>
                  </a:lnTo>
                  <a:lnTo>
                    <a:pt x="1176686" y="257234"/>
                  </a:lnTo>
                  <a:lnTo>
                    <a:pt x="1172541" y="253977"/>
                  </a:lnTo>
                  <a:lnTo>
                    <a:pt x="1164202" y="247514"/>
                  </a:lnTo>
                  <a:lnTo>
                    <a:pt x="1162130" y="250770"/>
                  </a:lnTo>
                  <a:lnTo>
                    <a:pt x="1157936" y="247514"/>
                  </a:lnTo>
                  <a:lnTo>
                    <a:pt x="1155864" y="250770"/>
                  </a:lnTo>
                  <a:lnTo>
                    <a:pt x="1155864" y="253977"/>
                  </a:lnTo>
                  <a:lnTo>
                    <a:pt x="1149598" y="250770"/>
                  </a:lnTo>
                  <a:lnTo>
                    <a:pt x="1149598" y="247514"/>
                  </a:lnTo>
                  <a:lnTo>
                    <a:pt x="1145453" y="245935"/>
                  </a:lnTo>
                  <a:lnTo>
                    <a:pt x="1147525" y="249142"/>
                  </a:lnTo>
                  <a:lnTo>
                    <a:pt x="1145453" y="250770"/>
                  </a:lnTo>
                  <a:lnTo>
                    <a:pt x="1132921" y="247514"/>
                  </a:lnTo>
                  <a:lnTo>
                    <a:pt x="1130848" y="247514"/>
                  </a:lnTo>
                  <a:lnTo>
                    <a:pt x="1120388" y="245935"/>
                  </a:lnTo>
                  <a:lnTo>
                    <a:pt x="1101639" y="237843"/>
                  </a:lnTo>
                  <a:lnTo>
                    <a:pt x="1093251" y="237843"/>
                  </a:lnTo>
                  <a:lnTo>
                    <a:pt x="1093251" y="241050"/>
                  </a:lnTo>
                  <a:lnTo>
                    <a:pt x="1095372" y="244307"/>
                  </a:lnTo>
                  <a:lnTo>
                    <a:pt x="1093251" y="245935"/>
                  </a:lnTo>
                  <a:lnTo>
                    <a:pt x="1089106" y="244307"/>
                  </a:lnTo>
                  <a:lnTo>
                    <a:pt x="1087034" y="244307"/>
                  </a:lnTo>
                  <a:lnTo>
                    <a:pt x="1087034" y="247514"/>
                  </a:lnTo>
                  <a:lnTo>
                    <a:pt x="1078547" y="250474"/>
                  </a:lnTo>
                  <a:lnTo>
                    <a:pt x="1076475" y="253730"/>
                  </a:lnTo>
                  <a:lnTo>
                    <a:pt x="1076475" y="261773"/>
                  </a:lnTo>
                  <a:lnTo>
                    <a:pt x="1072281" y="256839"/>
                  </a:lnTo>
                  <a:lnTo>
                    <a:pt x="1070258" y="251905"/>
                  </a:lnTo>
                  <a:lnTo>
                    <a:pt x="1066064" y="251905"/>
                  </a:lnTo>
                  <a:lnTo>
                    <a:pt x="1066064" y="258368"/>
                  </a:lnTo>
                  <a:lnTo>
                    <a:pt x="1061870" y="268237"/>
                  </a:lnTo>
                  <a:lnTo>
                    <a:pt x="1061870" y="276279"/>
                  </a:lnTo>
                  <a:lnTo>
                    <a:pt x="1059798" y="268237"/>
                  </a:lnTo>
                  <a:lnTo>
                    <a:pt x="1061870" y="261724"/>
                  </a:lnTo>
                  <a:lnTo>
                    <a:pt x="1059798" y="253681"/>
                  </a:lnTo>
                  <a:lnTo>
                    <a:pt x="1063992" y="243813"/>
                  </a:lnTo>
                  <a:lnTo>
                    <a:pt x="1066064" y="242185"/>
                  </a:lnTo>
                  <a:lnTo>
                    <a:pt x="1063992" y="238978"/>
                  </a:lnTo>
                  <a:lnTo>
                    <a:pt x="1057726" y="238978"/>
                  </a:lnTo>
                  <a:lnTo>
                    <a:pt x="1066064" y="232514"/>
                  </a:lnTo>
                  <a:lnTo>
                    <a:pt x="1055604" y="222646"/>
                  </a:lnTo>
                  <a:lnTo>
                    <a:pt x="1049387" y="214554"/>
                  </a:lnTo>
                  <a:lnTo>
                    <a:pt x="1036855" y="214554"/>
                  </a:lnTo>
                  <a:lnTo>
                    <a:pt x="1032661" y="219488"/>
                  </a:lnTo>
                  <a:lnTo>
                    <a:pt x="1026444" y="221117"/>
                  </a:lnTo>
                  <a:lnTo>
                    <a:pt x="1024322" y="216183"/>
                  </a:lnTo>
                  <a:lnTo>
                    <a:pt x="1022250" y="214554"/>
                  </a:lnTo>
                  <a:lnTo>
                    <a:pt x="1020178" y="209620"/>
                  </a:lnTo>
                  <a:lnTo>
                    <a:pt x="1015984" y="207992"/>
                  </a:lnTo>
                  <a:lnTo>
                    <a:pt x="1009471" y="207992"/>
                  </a:lnTo>
                  <a:lnTo>
                    <a:pt x="1007399" y="204785"/>
                  </a:lnTo>
                  <a:lnTo>
                    <a:pt x="1001132" y="203157"/>
                  </a:lnTo>
                  <a:lnTo>
                    <a:pt x="999060" y="206364"/>
                  </a:lnTo>
                  <a:lnTo>
                    <a:pt x="999060" y="203157"/>
                  </a:lnTo>
                  <a:lnTo>
                    <a:pt x="994866" y="201529"/>
                  </a:lnTo>
                  <a:lnTo>
                    <a:pt x="992794" y="196595"/>
                  </a:lnTo>
                  <a:lnTo>
                    <a:pt x="988600" y="198223"/>
                  </a:lnTo>
                  <a:lnTo>
                    <a:pt x="980262" y="196595"/>
                  </a:lnTo>
                  <a:lnTo>
                    <a:pt x="969851" y="191661"/>
                  </a:lnTo>
                  <a:lnTo>
                    <a:pt x="965706" y="190032"/>
                  </a:lnTo>
                  <a:lnTo>
                    <a:pt x="963585" y="193289"/>
                  </a:lnTo>
                  <a:lnTo>
                    <a:pt x="957318" y="190032"/>
                  </a:lnTo>
                  <a:lnTo>
                    <a:pt x="953174" y="190032"/>
                  </a:lnTo>
                  <a:lnTo>
                    <a:pt x="953174" y="193289"/>
                  </a:lnTo>
                  <a:lnTo>
                    <a:pt x="948980" y="193289"/>
                  </a:lnTo>
                  <a:lnTo>
                    <a:pt x="946907" y="190032"/>
                  </a:lnTo>
                  <a:lnTo>
                    <a:pt x="938569" y="190032"/>
                  </a:lnTo>
                  <a:lnTo>
                    <a:pt x="932303" y="193289"/>
                  </a:lnTo>
                  <a:lnTo>
                    <a:pt x="928109" y="198223"/>
                  </a:lnTo>
                  <a:lnTo>
                    <a:pt x="928109" y="203157"/>
                  </a:lnTo>
                  <a:lnTo>
                    <a:pt x="919770" y="209620"/>
                  </a:lnTo>
                  <a:lnTo>
                    <a:pt x="911432" y="214554"/>
                  </a:lnTo>
                  <a:lnTo>
                    <a:pt x="896630" y="221018"/>
                  </a:lnTo>
                  <a:lnTo>
                    <a:pt x="890363" y="227482"/>
                  </a:lnTo>
                  <a:lnTo>
                    <a:pt x="888291" y="237350"/>
                  </a:lnTo>
                  <a:lnTo>
                    <a:pt x="886169" y="245441"/>
                  </a:lnTo>
                  <a:lnTo>
                    <a:pt x="882074" y="250375"/>
                  </a:lnTo>
                  <a:lnTo>
                    <a:pt x="875759" y="255309"/>
                  </a:lnTo>
                  <a:lnTo>
                    <a:pt x="877880" y="258566"/>
                  </a:lnTo>
                  <a:lnTo>
                    <a:pt x="877880" y="265030"/>
                  </a:lnTo>
                  <a:lnTo>
                    <a:pt x="876252" y="276131"/>
                  </a:lnTo>
                  <a:lnTo>
                    <a:pt x="874180" y="269668"/>
                  </a:lnTo>
                  <a:lnTo>
                    <a:pt x="869986" y="263204"/>
                  </a:lnTo>
                  <a:lnTo>
                    <a:pt x="869986" y="256740"/>
                  </a:lnTo>
                  <a:lnTo>
                    <a:pt x="874180" y="251806"/>
                  </a:lnTo>
                  <a:lnTo>
                    <a:pt x="880446" y="248550"/>
                  </a:lnTo>
                  <a:lnTo>
                    <a:pt x="880446" y="238682"/>
                  </a:lnTo>
                  <a:lnTo>
                    <a:pt x="882568" y="232218"/>
                  </a:lnTo>
                  <a:lnTo>
                    <a:pt x="882568" y="229011"/>
                  </a:lnTo>
                  <a:lnTo>
                    <a:pt x="878374" y="227383"/>
                  </a:lnTo>
                  <a:lnTo>
                    <a:pt x="869986" y="230590"/>
                  </a:lnTo>
                  <a:lnTo>
                    <a:pt x="859575" y="229011"/>
                  </a:lnTo>
                  <a:lnTo>
                    <a:pt x="853309" y="229011"/>
                  </a:lnTo>
                  <a:lnTo>
                    <a:pt x="844970" y="230590"/>
                  </a:lnTo>
                  <a:lnTo>
                    <a:pt x="840826" y="227383"/>
                  </a:lnTo>
                  <a:lnTo>
                    <a:pt x="846648" y="227383"/>
                  </a:lnTo>
                  <a:lnTo>
                    <a:pt x="852914" y="224126"/>
                  </a:lnTo>
                  <a:lnTo>
                    <a:pt x="859180" y="222548"/>
                  </a:lnTo>
                  <a:lnTo>
                    <a:pt x="869591" y="224126"/>
                  </a:lnTo>
                  <a:lnTo>
                    <a:pt x="875857" y="222548"/>
                  </a:lnTo>
                  <a:lnTo>
                    <a:pt x="882173" y="216084"/>
                  </a:lnTo>
                  <a:lnTo>
                    <a:pt x="884196" y="216084"/>
                  </a:lnTo>
                  <a:lnTo>
                    <a:pt x="886268" y="219291"/>
                  </a:lnTo>
                  <a:lnTo>
                    <a:pt x="890462" y="217712"/>
                  </a:lnTo>
                  <a:lnTo>
                    <a:pt x="896728" y="214456"/>
                  </a:lnTo>
                  <a:lnTo>
                    <a:pt x="907139" y="211249"/>
                  </a:lnTo>
                  <a:lnTo>
                    <a:pt x="907139" y="205081"/>
                  </a:lnTo>
                  <a:lnTo>
                    <a:pt x="917599" y="195213"/>
                  </a:lnTo>
                  <a:lnTo>
                    <a:pt x="917599" y="188749"/>
                  </a:lnTo>
                  <a:lnTo>
                    <a:pt x="921793" y="183815"/>
                  </a:lnTo>
                  <a:lnTo>
                    <a:pt x="921793" y="178881"/>
                  </a:lnTo>
                  <a:lnTo>
                    <a:pt x="911333" y="177253"/>
                  </a:lnTo>
                  <a:lnTo>
                    <a:pt x="902994" y="170789"/>
                  </a:lnTo>
                  <a:lnTo>
                    <a:pt x="896728" y="170789"/>
                  </a:lnTo>
                  <a:lnTo>
                    <a:pt x="886268" y="177253"/>
                  </a:lnTo>
                  <a:lnTo>
                    <a:pt x="877979" y="177253"/>
                  </a:lnTo>
                  <a:lnTo>
                    <a:pt x="865446" y="172319"/>
                  </a:lnTo>
                  <a:lnTo>
                    <a:pt x="850644" y="172319"/>
                  </a:lnTo>
                  <a:lnTo>
                    <a:pt x="840234" y="180411"/>
                  </a:lnTo>
                  <a:lnTo>
                    <a:pt x="842256" y="183618"/>
                  </a:lnTo>
                  <a:lnTo>
                    <a:pt x="844378" y="186874"/>
                  </a:lnTo>
                  <a:lnTo>
                    <a:pt x="846451" y="188453"/>
                  </a:lnTo>
                  <a:lnTo>
                    <a:pt x="842256" y="190082"/>
                  </a:lnTo>
                  <a:lnTo>
                    <a:pt x="838161" y="191710"/>
                  </a:lnTo>
                  <a:lnTo>
                    <a:pt x="836040" y="196644"/>
                  </a:lnTo>
                  <a:lnTo>
                    <a:pt x="833967" y="191710"/>
                  </a:lnTo>
                  <a:lnTo>
                    <a:pt x="831846" y="190082"/>
                  </a:lnTo>
                  <a:lnTo>
                    <a:pt x="823507" y="193338"/>
                  </a:lnTo>
                  <a:lnTo>
                    <a:pt x="815169" y="203206"/>
                  </a:lnTo>
                  <a:lnTo>
                    <a:pt x="804758" y="214505"/>
                  </a:lnTo>
                  <a:lnTo>
                    <a:pt x="813096" y="204637"/>
                  </a:lnTo>
                  <a:lnTo>
                    <a:pt x="811024" y="198173"/>
                  </a:lnTo>
                  <a:lnTo>
                    <a:pt x="813096" y="193239"/>
                  </a:lnTo>
                  <a:lnTo>
                    <a:pt x="815169" y="189983"/>
                  </a:lnTo>
                  <a:lnTo>
                    <a:pt x="811024" y="189983"/>
                  </a:lnTo>
                  <a:lnTo>
                    <a:pt x="802636" y="194917"/>
                  </a:lnTo>
                  <a:lnTo>
                    <a:pt x="800564" y="201380"/>
                  </a:lnTo>
                  <a:lnTo>
                    <a:pt x="796419" y="209472"/>
                  </a:lnTo>
                  <a:lnTo>
                    <a:pt x="790153" y="212680"/>
                  </a:lnTo>
                  <a:lnTo>
                    <a:pt x="796419" y="204637"/>
                  </a:lnTo>
                  <a:lnTo>
                    <a:pt x="796419" y="196545"/>
                  </a:lnTo>
                  <a:lnTo>
                    <a:pt x="808902" y="183618"/>
                  </a:lnTo>
                  <a:lnTo>
                    <a:pt x="813096" y="173750"/>
                  </a:lnTo>
                  <a:lnTo>
                    <a:pt x="817290" y="167286"/>
                  </a:lnTo>
                  <a:lnTo>
                    <a:pt x="825579" y="164030"/>
                  </a:lnTo>
                  <a:lnTo>
                    <a:pt x="831846" y="159096"/>
                  </a:lnTo>
                  <a:lnTo>
                    <a:pt x="838161" y="157517"/>
                  </a:lnTo>
                  <a:lnTo>
                    <a:pt x="844378" y="149376"/>
                  </a:lnTo>
                  <a:lnTo>
                    <a:pt x="861105" y="134870"/>
                  </a:lnTo>
                  <a:lnTo>
                    <a:pt x="863128" y="129936"/>
                  </a:lnTo>
                  <a:lnTo>
                    <a:pt x="865249" y="128307"/>
                  </a:lnTo>
                  <a:lnTo>
                    <a:pt x="863128" y="125100"/>
                  </a:lnTo>
                  <a:lnTo>
                    <a:pt x="863128" y="120166"/>
                  </a:lnTo>
                  <a:lnTo>
                    <a:pt x="865249" y="118538"/>
                  </a:lnTo>
                  <a:lnTo>
                    <a:pt x="865249" y="112075"/>
                  </a:lnTo>
                  <a:lnTo>
                    <a:pt x="858983" y="108867"/>
                  </a:lnTo>
                  <a:lnTo>
                    <a:pt x="852717" y="108867"/>
                  </a:lnTo>
                  <a:lnTo>
                    <a:pt x="848572" y="110446"/>
                  </a:lnTo>
                  <a:lnTo>
                    <a:pt x="846451" y="105512"/>
                  </a:lnTo>
                  <a:lnTo>
                    <a:pt x="842256" y="94213"/>
                  </a:lnTo>
                  <a:lnTo>
                    <a:pt x="833967" y="76451"/>
                  </a:lnTo>
                  <a:lnTo>
                    <a:pt x="825579" y="68359"/>
                  </a:lnTo>
                  <a:lnTo>
                    <a:pt x="821435" y="55481"/>
                  </a:lnTo>
                  <a:lnTo>
                    <a:pt x="821435" y="4901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Graphic 2">
              <a:extLst>
                <a:ext uri="{FF2B5EF4-FFF2-40B4-BE49-F238E27FC236}">
                  <a16:creationId xmlns:a16="http://schemas.microsoft.com/office/drawing/2014/main" id="{F8490F41-179B-4ECE-9AE6-B2D4AB2EFFD4}"/>
                </a:ext>
              </a:extLst>
            </p:cNvPr>
            <p:cNvSpPr/>
            <p:nvPr/>
          </p:nvSpPr>
          <p:spPr>
            <a:xfrm>
              <a:off x="3651782" y="4475538"/>
              <a:ext cx="94673" cy="111702"/>
            </a:xfrm>
            <a:custGeom>
              <a:avLst/>
              <a:gdLst>
                <a:gd name="connsiteX0" fmla="*/ 1645 w 104206"/>
                <a:gd name="connsiteY0" fmla="*/ 97716 h 122956"/>
                <a:gd name="connsiteX1" fmla="*/ 1645 w 104206"/>
                <a:gd name="connsiteY1" fmla="*/ 100677 h 122956"/>
                <a:gd name="connsiteX2" fmla="*/ 3668 w 104206"/>
                <a:gd name="connsiteY2" fmla="*/ 105117 h 122956"/>
                <a:gd name="connsiteX3" fmla="*/ 5691 w 104206"/>
                <a:gd name="connsiteY3" fmla="*/ 108078 h 122956"/>
                <a:gd name="connsiteX4" fmla="*/ 5691 w 104206"/>
                <a:gd name="connsiteY4" fmla="*/ 109558 h 122956"/>
                <a:gd name="connsiteX5" fmla="*/ 11661 w 104206"/>
                <a:gd name="connsiteY5" fmla="*/ 113999 h 122956"/>
                <a:gd name="connsiteX6" fmla="*/ 19703 w 104206"/>
                <a:gd name="connsiteY6" fmla="*/ 115479 h 122956"/>
                <a:gd name="connsiteX7" fmla="*/ 21727 w 104206"/>
                <a:gd name="connsiteY7" fmla="*/ 112568 h 122956"/>
                <a:gd name="connsiteX8" fmla="*/ 27746 w 104206"/>
                <a:gd name="connsiteY8" fmla="*/ 111038 h 122956"/>
                <a:gd name="connsiteX9" fmla="*/ 31792 w 104206"/>
                <a:gd name="connsiteY9" fmla="*/ 111038 h 122956"/>
                <a:gd name="connsiteX10" fmla="*/ 31792 w 104206"/>
                <a:gd name="connsiteY10" fmla="*/ 112568 h 122956"/>
                <a:gd name="connsiteX11" fmla="*/ 35788 w 104206"/>
                <a:gd name="connsiteY11" fmla="*/ 113999 h 122956"/>
                <a:gd name="connsiteX12" fmla="*/ 35788 w 104206"/>
                <a:gd name="connsiteY12" fmla="*/ 121449 h 122956"/>
                <a:gd name="connsiteX13" fmla="*/ 39834 w 104206"/>
                <a:gd name="connsiteY13" fmla="*/ 122929 h 122956"/>
                <a:gd name="connsiteX14" fmla="*/ 46051 w 104206"/>
                <a:gd name="connsiteY14" fmla="*/ 118390 h 122956"/>
                <a:gd name="connsiteX15" fmla="*/ 46051 w 104206"/>
                <a:gd name="connsiteY15" fmla="*/ 113900 h 122956"/>
                <a:gd name="connsiteX16" fmla="*/ 50048 w 104206"/>
                <a:gd name="connsiteY16" fmla="*/ 112469 h 122956"/>
                <a:gd name="connsiteX17" fmla="*/ 58140 w 104206"/>
                <a:gd name="connsiteY17" fmla="*/ 110939 h 122956"/>
                <a:gd name="connsiteX18" fmla="*/ 62136 w 104206"/>
                <a:gd name="connsiteY18" fmla="*/ 103538 h 122956"/>
                <a:gd name="connsiteX19" fmla="*/ 68156 w 104206"/>
                <a:gd name="connsiteY19" fmla="*/ 96088 h 122956"/>
                <a:gd name="connsiteX20" fmla="*/ 76198 w 104206"/>
                <a:gd name="connsiteY20" fmla="*/ 84247 h 122956"/>
                <a:gd name="connsiteX21" fmla="*/ 76198 w 104206"/>
                <a:gd name="connsiteY21" fmla="*/ 76796 h 122956"/>
                <a:gd name="connsiteX22" fmla="*/ 84241 w 104206"/>
                <a:gd name="connsiteY22" fmla="*/ 67915 h 122956"/>
                <a:gd name="connsiteX23" fmla="*/ 94109 w 104206"/>
                <a:gd name="connsiteY23" fmla="*/ 59033 h 122956"/>
                <a:gd name="connsiteX24" fmla="*/ 98056 w 104206"/>
                <a:gd name="connsiteY24" fmla="*/ 54593 h 122956"/>
                <a:gd name="connsiteX25" fmla="*/ 98056 w 104206"/>
                <a:gd name="connsiteY25" fmla="*/ 53063 h 122956"/>
                <a:gd name="connsiteX26" fmla="*/ 104125 w 104206"/>
                <a:gd name="connsiteY26" fmla="*/ 47142 h 122956"/>
                <a:gd name="connsiteX27" fmla="*/ 104125 w 104206"/>
                <a:gd name="connsiteY27" fmla="*/ 39692 h 122956"/>
                <a:gd name="connsiteX28" fmla="*/ 96082 w 104206"/>
                <a:gd name="connsiteY28" fmla="*/ 33771 h 122956"/>
                <a:gd name="connsiteX29" fmla="*/ 94109 w 104206"/>
                <a:gd name="connsiteY29" fmla="*/ 36781 h 122956"/>
                <a:gd name="connsiteX30" fmla="*/ 90063 w 104206"/>
                <a:gd name="connsiteY30" fmla="*/ 33771 h 122956"/>
                <a:gd name="connsiteX31" fmla="*/ 86017 w 104206"/>
                <a:gd name="connsiteY31" fmla="*/ 27851 h 122956"/>
                <a:gd name="connsiteX32" fmla="*/ 73978 w 104206"/>
                <a:gd name="connsiteY32" fmla="*/ 17489 h 122956"/>
                <a:gd name="connsiteX33" fmla="*/ 71955 w 104206"/>
                <a:gd name="connsiteY33" fmla="*/ 15959 h 122956"/>
                <a:gd name="connsiteX34" fmla="*/ 63912 w 104206"/>
                <a:gd name="connsiteY34" fmla="*/ 10038 h 122956"/>
                <a:gd name="connsiteX35" fmla="*/ 41857 w 104206"/>
                <a:gd name="connsiteY35" fmla="*/ 5598 h 122956"/>
                <a:gd name="connsiteX36" fmla="*/ 33716 w 104206"/>
                <a:gd name="connsiteY36" fmla="*/ -27 h 122956"/>
                <a:gd name="connsiteX37" fmla="*/ 23848 w 104206"/>
                <a:gd name="connsiteY37" fmla="*/ -27 h 122956"/>
                <a:gd name="connsiteX38" fmla="*/ 13980 w 104206"/>
                <a:gd name="connsiteY38" fmla="*/ 2933 h 122956"/>
                <a:gd name="connsiteX39" fmla="*/ 7961 w 104206"/>
                <a:gd name="connsiteY39" fmla="*/ 7374 h 122956"/>
                <a:gd name="connsiteX40" fmla="*/ 7961 w 104206"/>
                <a:gd name="connsiteY40" fmla="*/ 7374 h 122956"/>
                <a:gd name="connsiteX41" fmla="*/ 5987 w 104206"/>
                <a:gd name="connsiteY41" fmla="*/ 10334 h 122956"/>
                <a:gd name="connsiteX42" fmla="*/ -82 w 104206"/>
                <a:gd name="connsiteY42" fmla="*/ 16255 h 122956"/>
                <a:gd name="connsiteX43" fmla="*/ -82 w 104206"/>
                <a:gd name="connsiteY43" fmla="*/ 23706 h 122956"/>
                <a:gd name="connsiteX44" fmla="*/ 3964 w 104206"/>
                <a:gd name="connsiteY44" fmla="*/ 31107 h 122956"/>
                <a:gd name="connsiteX45" fmla="*/ 1941 w 104206"/>
                <a:gd name="connsiteY45" fmla="*/ 38557 h 122956"/>
                <a:gd name="connsiteX46" fmla="*/ 1941 w 104206"/>
                <a:gd name="connsiteY46" fmla="*/ 42998 h 122956"/>
                <a:gd name="connsiteX47" fmla="*/ 7961 w 104206"/>
                <a:gd name="connsiteY47" fmla="*/ 45958 h 122956"/>
                <a:gd name="connsiteX48" fmla="*/ 11957 w 104206"/>
                <a:gd name="connsiteY48" fmla="*/ 50448 h 122956"/>
                <a:gd name="connsiteX49" fmla="*/ 16003 w 104206"/>
                <a:gd name="connsiteY49" fmla="*/ 54889 h 122956"/>
                <a:gd name="connsiteX50" fmla="*/ 16003 w 104206"/>
                <a:gd name="connsiteY50" fmla="*/ 62290 h 122956"/>
                <a:gd name="connsiteX51" fmla="*/ 19999 w 104206"/>
                <a:gd name="connsiteY51" fmla="*/ 65250 h 122956"/>
                <a:gd name="connsiteX52" fmla="*/ 16003 w 104206"/>
                <a:gd name="connsiteY52" fmla="*/ 69740 h 122956"/>
                <a:gd name="connsiteX53" fmla="*/ 11957 w 104206"/>
                <a:gd name="connsiteY53" fmla="*/ 74181 h 122956"/>
                <a:gd name="connsiteX54" fmla="*/ 11957 w 104206"/>
                <a:gd name="connsiteY54" fmla="*/ 83062 h 122956"/>
                <a:gd name="connsiteX55" fmla="*/ 13980 w 104206"/>
                <a:gd name="connsiteY55" fmla="*/ 87503 h 122956"/>
                <a:gd name="connsiteX56" fmla="*/ 11957 w 104206"/>
                <a:gd name="connsiteY56" fmla="*/ 93473 h 122956"/>
                <a:gd name="connsiteX57" fmla="*/ 3964 w 104206"/>
                <a:gd name="connsiteY57" fmla="*/ 97914 h 12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4206" h="122956">
                  <a:moveTo>
                    <a:pt x="1645" y="97716"/>
                  </a:moveTo>
                  <a:lnTo>
                    <a:pt x="1645" y="100677"/>
                  </a:lnTo>
                  <a:lnTo>
                    <a:pt x="3668" y="105117"/>
                  </a:lnTo>
                  <a:lnTo>
                    <a:pt x="5691" y="108078"/>
                  </a:lnTo>
                  <a:lnTo>
                    <a:pt x="5691" y="109558"/>
                  </a:lnTo>
                  <a:lnTo>
                    <a:pt x="11661" y="113999"/>
                  </a:lnTo>
                  <a:lnTo>
                    <a:pt x="19703" y="115479"/>
                  </a:lnTo>
                  <a:lnTo>
                    <a:pt x="21727" y="112568"/>
                  </a:lnTo>
                  <a:lnTo>
                    <a:pt x="27746" y="111038"/>
                  </a:lnTo>
                  <a:lnTo>
                    <a:pt x="31792" y="111038"/>
                  </a:lnTo>
                  <a:lnTo>
                    <a:pt x="31792" y="112568"/>
                  </a:lnTo>
                  <a:lnTo>
                    <a:pt x="35788" y="113999"/>
                  </a:lnTo>
                  <a:lnTo>
                    <a:pt x="35788" y="121449"/>
                  </a:lnTo>
                  <a:lnTo>
                    <a:pt x="39834" y="122929"/>
                  </a:lnTo>
                  <a:lnTo>
                    <a:pt x="46051" y="118390"/>
                  </a:lnTo>
                  <a:lnTo>
                    <a:pt x="46051" y="113900"/>
                  </a:lnTo>
                  <a:lnTo>
                    <a:pt x="50048" y="112469"/>
                  </a:lnTo>
                  <a:lnTo>
                    <a:pt x="58140" y="110939"/>
                  </a:lnTo>
                  <a:lnTo>
                    <a:pt x="62136" y="103538"/>
                  </a:lnTo>
                  <a:lnTo>
                    <a:pt x="68156" y="96088"/>
                  </a:lnTo>
                  <a:lnTo>
                    <a:pt x="76198" y="84247"/>
                  </a:lnTo>
                  <a:lnTo>
                    <a:pt x="76198" y="76796"/>
                  </a:lnTo>
                  <a:lnTo>
                    <a:pt x="84241" y="67915"/>
                  </a:lnTo>
                  <a:lnTo>
                    <a:pt x="94109" y="59033"/>
                  </a:lnTo>
                  <a:lnTo>
                    <a:pt x="98056" y="54593"/>
                  </a:lnTo>
                  <a:lnTo>
                    <a:pt x="98056" y="53063"/>
                  </a:lnTo>
                  <a:lnTo>
                    <a:pt x="104125" y="47142"/>
                  </a:lnTo>
                  <a:lnTo>
                    <a:pt x="104125" y="39692"/>
                  </a:lnTo>
                  <a:lnTo>
                    <a:pt x="96082" y="33771"/>
                  </a:lnTo>
                  <a:lnTo>
                    <a:pt x="94109" y="36781"/>
                  </a:lnTo>
                  <a:lnTo>
                    <a:pt x="90063" y="33771"/>
                  </a:lnTo>
                  <a:lnTo>
                    <a:pt x="86017" y="27851"/>
                  </a:lnTo>
                  <a:lnTo>
                    <a:pt x="73978" y="17489"/>
                  </a:lnTo>
                  <a:lnTo>
                    <a:pt x="71955" y="15959"/>
                  </a:lnTo>
                  <a:lnTo>
                    <a:pt x="63912" y="10038"/>
                  </a:lnTo>
                  <a:lnTo>
                    <a:pt x="41857" y="5598"/>
                  </a:lnTo>
                  <a:lnTo>
                    <a:pt x="33716" y="-27"/>
                  </a:lnTo>
                  <a:lnTo>
                    <a:pt x="23848" y="-27"/>
                  </a:lnTo>
                  <a:lnTo>
                    <a:pt x="13980" y="2933"/>
                  </a:lnTo>
                  <a:lnTo>
                    <a:pt x="7961" y="7374"/>
                  </a:lnTo>
                  <a:lnTo>
                    <a:pt x="7961" y="7374"/>
                  </a:lnTo>
                  <a:lnTo>
                    <a:pt x="5987" y="10334"/>
                  </a:lnTo>
                  <a:lnTo>
                    <a:pt x="-82" y="16255"/>
                  </a:lnTo>
                  <a:lnTo>
                    <a:pt x="-82" y="23706"/>
                  </a:lnTo>
                  <a:lnTo>
                    <a:pt x="3964" y="31107"/>
                  </a:lnTo>
                  <a:lnTo>
                    <a:pt x="1941" y="38557"/>
                  </a:lnTo>
                  <a:lnTo>
                    <a:pt x="1941" y="42998"/>
                  </a:lnTo>
                  <a:lnTo>
                    <a:pt x="7961" y="45958"/>
                  </a:lnTo>
                  <a:lnTo>
                    <a:pt x="11957" y="50448"/>
                  </a:lnTo>
                  <a:lnTo>
                    <a:pt x="16003" y="54889"/>
                  </a:lnTo>
                  <a:lnTo>
                    <a:pt x="16003" y="62290"/>
                  </a:lnTo>
                  <a:lnTo>
                    <a:pt x="19999" y="65250"/>
                  </a:lnTo>
                  <a:lnTo>
                    <a:pt x="16003" y="69740"/>
                  </a:lnTo>
                  <a:lnTo>
                    <a:pt x="11957" y="74181"/>
                  </a:lnTo>
                  <a:lnTo>
                    <a:pt x="11957" y="83062"/>
                  </a:lnTo>
                  <a:lnTo>
                    <a:pt x="13980" y="87503"/>
                  </a:lnTo>
                  <a:lnTo>
                    <a:pt x="11957" y="93473"/>
                  </a:lnTo>
                  <a:lnTo>
                    <a:pt x="3964" y="9791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Graphic 2">
              <a:extLst>
                <a:ext uri="{FF2B5EF4-FFF2-40B4-BE49-F238E27FC236}">
                  <a16:creationId xmlns:a16="http://schemas.microsoft.com/office/drawing/2014/main" id="{75DA280A-9FEA-4C41-A61F-BA881381B948}"/>
                </a:ext>
              </a:extLst>
            </p:cNvPr>
            <p:cNvSpPr/>
            <p:nvPr/>
          </p:nvSpPr>
          <p:spPr>
            <a:xfrm>
              <a:off x="3536399" y="4461733"/>
              <a:ext cx="135420" cy="125554"/>
            </a:xfrm>
            <a:custGeom>
              <a:avLst/>
              <a:gdLst>
                <a:gd name="connsiteX0" fmla="*/ 59571 w 149057"/>
                <a:gd name="connsiteY0" fmla="*/ 133587 h 138202"/>
                <a:gd name="connsiteX1" fmla="*/ 59571 w 149057"/>
                <a:gd name="connsiteY1" fmla="*/ 133587 h 138202"/>
                <a:gd name="connsiteX2" fmla="*/ 63567 w 149057"/>
                <a:gd name="connsiteY2" fmla="*/ 135116 h 138202"/>
                <a:gd name="connsiteX3" fmla="*/ 65541 w 149057"/>
                <a:gd name="connsiteY3" fmla="*/ 135116 h 138202"/>
                <a:gd name="connsiteX4" fmla="*/ 73485 w 149057"/>
                <a:gd name="connsiteY4" fmla="*/ 138175 h 138202"/>
                <a:gd name="connsiteX5" fmla="*/ 81478 w 149057"/>
                <a:gd name="connsiteY5" fmla="*/ 138175 h 138202"/>
                <a:gd name="connsiteX6" fmla="*/ 83452 w 149057"/>
                <a:gd name="connsiteY6" fmla="*/ 135116 h 138202"/>
                <a:gd name="connsiteX7" fmla="*/ 79455 w 149057"/>
                <a:gd name="connsiteY7" fmla="*/ 128949 h 138202"/>
                <a:gd name="connsiteX8" fmla="*/ 75508 w 149057"/>
                <a:gd name="connsiteY8" fmla="*/ 125890 h 138202"/>
                <a:gd name="connsiteX9" fmla="*/ 69439 w 149057"/>
                <a:gd name="connsiteY9" fmla="*/ 118193 h 138202"/>
                <a:gd name="connsiteX10" fmla="*/ 71413 w 149057"/>
                <a:gd name="connsiteY10" fmla="*/ 113555 h 138202"/>
                <a:gd name="connsiteX11" fmla="*/ 79307 w 149057"/>
                <a:gd name="connsiteY11" fmla="*/ 108917 h 138202"/>
                <a:gd name="connsiteX12" fmla="*/ 87300 w 149057"/>
                <a:gd name="connsiteY12" fmla="*/ 110446 h 138202"/>
                <a:gd name="connsiteX13" fmla="*/ 101214 w 149057"/>
                <a:gd name="connsiteY13" fmla="*/ 110446 h 138202"/>
                <a:gd name="connsiteX14" fmla="*/ 107184 w 149057"/>
                <a:gd name="connsiteY14" fmla="*/ 107387 h 138202"/>
                <a:gd name="connsiteX15" fmla="*/ 119125 w 149057"/>
                <a:gd name="connsiteY15" fmla="*/ 108917 h 138202"/>
                <a:gd name="connsiteX16" fmla="*/ 125095 w 149057"/>
                <a:gd name="connsiteY16" fmla="*/ 113505 h 138202"/>
                <a:gd name="connsiteX17" fmla="*/ 133039 w 149057"/>
                <a:gd name="connsiteY17" fmla="*/ 115035 h 138202"/>
                <a:gd name="connsiteX18" fmla="*/ 141032 w 149057"/>
                <a:gd name="connsiteY18" fmla="*/ 110446 h 138202"/>
                <a:gd name="connsiteX19" fmla="*/ 143005 w 149057"/>
                <a:gd name="connsiteY19" fmla="*/ 104328 h 138202"/>
                <a:gd name="connsiteX20" fmla="*/ 141032 w 149057"/>
                <a:gd name="connsiteY20" fmla="*/ 99690 h 138202"/>
                <a:gd name="connsiteX21" fmla="*/ 141032 w 149057"/>
                <a:gd name="connsiteY21" fmla="*/ 90513 h 138202"/>
                <a:gd name="connsiteX22" fmla="*/ 144979 w 149057"/>
                <a:gd name="connsiteY22" fmla="*/ 85924 h 138202"/>
                <a:gd name="connsiteX23" fmla="*/ 148975 w 149057"/>
                <a:gd name="connsiteY23" fmla="*/ 81286 h 138202"/>
                <a:gd name="connsiteX24" fmla="*/ 144979 w 149057"/>
                <a:gd name="connsiteY24" fmla="*/ 78227 h 138202"/>
                <a:gd name="connsiteX25" fmla="*/ 144979 w 149057"/>
                <a:gd name="connsiteY25" fmla="*/ 70579 h 138202"/>
                <a:gd name="connsiteX26" fmla="*/ 141032 w 149057"/>
                <a:gd name="connsiteY26" fmla="*/ 65991 h 138202"/>
                <a:gd name="connsiteX27" fmla="*/ 137035 w 149057"/>
                <a:gd name="connsiteY27" fmla="*/ 61353 h 138202"/>
                <a:gd name="connsiteX28" fmla="*/ 131065 w 149057"/>
                <a:gd name="connsiteY28" fmla="*/ 58293 h 138202"/>
                <a:gd name="connsiteX29" fmla="*/ 131065 w 149057"/>
                <a:gd name="connsiteY29" fmla="*/ 53705 h 138202"/>
                <a:gd name="connsiteX30" fmla="*/ 133039 w 149057"/>
                <a:gd name="connsiteY30" fmla="*/ 46008 h 138202"/>
                <a:gd name="connsiteX31" fmla="*/ 129091 w 149057"/>
                <a:gd name="connsiteY31" fmla="*/ 38360 h 138202"/>
                <a:gd name="connsiteX32" fmla="*/ 129091 w 149057"/>
                <a:gd name="connsiteY32" fmla="*/ 30663 h 138202"/>
                <a:gd name="connsiteX33" fmla="*/ 135061 w 149057"/>
                <a:gd name="connsiteY33" fmla="*/ 24545 h 138202"/>
                <a:gd name="connsiteX34" fmla="*/ 137035 w 149057"/>
                <a:gd name="connsiteY34" fmla="*/ 21486 h 138202"/>
                <a:gd name="connsiteX35" fmla="*/ 137035 w 149057"/>
                <a:gd name="connsiteY35" fmla="*/ 21486 h 138202"/>
                <a:gd name="connsiteX36" fmla="*/ 144979 w 149057"/>
                <a:gd name="connsiteY36" fmla="*/ 13788 h 138202"/>
                <a:gd name="connsiteX37" fmla="*/ 143005 w 149057"/>
                <a:gd name="connsiteY37" fmla="*/ 9200 h 138202"/>
                <a:gd name="connsiteX38" fmla="*/ 137035 w 149057"/>
                <a:gd name="connsiteY38" fmla="*/ 6091 h 138202"/>
                <a:gd name="connsiteX39" fmla="*/ 125095 w 149057"/>
                <a:gd name="connsiteY39" fmla="*/ 4562 h 138202"/>
                <a:gd name="connsiteX40" fmla="*/ 109158 w 149057"/>
                <a:gd name="connsiteY40" fmla="*/ -27 h 138202"/>
                <a:gd name="connsiteX41" fmla="*/ 105211 w 149057"/>
                <a:gd name="connsiteY41" fmla="*/ 1503 h 138202"/>
                <a:gd name="connsiteX42" fmla="*/ 99240 w 149057"/>
                <a:gd name="connsiteY42" fmla="*/ 3032 h 138202"/>
                <a:gd name="connsiteX43" fmla="*/ 87300 w 149057"/>
                <a:gd name="connsiteY43" fmla="*/ 3032 h 138202"/>
                <a:gd name="connsiteX44" fmla="*/ 71363 w 149057"/>
                <a:gd name="connsiteY44" fmla="*/ 4562 h 138202"/>
                <a:gd name="connsiteX45" fmla="*/ 61495 w 149057"/>
                <a:gd name="connsiteY45" fmla="*/ 1503 h 138202"/>
                <a:gd name="connsiteX46" fmla="*/ 45607 w 149057"/>
                <a:gd name="connsiteY46" fmla="*/ 1503 h 138202"/>
                <a:gd name="connsiteX47" fmla="*/ 35739 w 149057"/>
                <a:gd name="connsiteY47" fmla="*/ 4562 h 138202"/>
                <a:gd name="connsiteX48" fmla="*/ 33766 w 149057"/>
                <a:gd name="connsiteY48" fmla="*/ 12259 h 138202"/>
                <a:gd name="connsiteX49" fmla="*/ 33766 w 149057"/>
                <a:gd name="connsiteY49" fmla="*/ 12259 h 138202"/>
                <a:gd name="connsiteX50" fmla="*/ 31743 w 149057"/>
                <a:gd name="connsiteY50" fmla="*/ 19907 h 138202"/>
                <a:gd name="connsiteX51" fmla="*/ 31743 w 149057"/>
                <a:gd name="connsiteY51" fmla="*/ 24545 h 138202"/>
                <a:gd name="connsiteX52" fmla="*/ 27796 w 149057"/>
                <a:gd name="connsiteY52" fmla="*/ 29133 h 138202"/>
                <a:gd name="connsiteX53" fmla="*/ 21776 w 149057"/>
                <a:gd name="connsiteY53" fmla="*/ 30663 h 138202"/>
                <a:gd name="connsiteX54" fmla="*/ 13832 w 149057"/>
                <a:gd name="connsiteY54" fmla="*/ 32192 h 138202"/>
                <a:gd name="connsiteX55" fmla="*/ 5888 w 149057"/>
                <a:gd name="connsiteY55" fmla="*/ 38360 h 138202"/>
                <a:gd name="connsiteX56" fmla="*/ 5888 w 149057"/>
                <a:gd name="connsiteY56" fmla="*/ 46008 h 138202"/>
                <a:gd name="connsiteX57" fmla="*/ -82 w 149057"/>
                <a:gd name="connsiteY57" fmla="*/ 58293 h 138202"/>
                <a:gd name="connsiteX58" fmla="*/ 1892 w 149057"/>
                <a:gd name="connsiteY58" fmla="*/ 62931 h 138202"/>
                <a:gd name="connsiteX59" fmla="*/ 9836 w 149057"/>
                <a:gd name="connsiteY59" fmla="*/ 65991 h 138202"/>
                <a:gd name="connsiteX60" fmla="*/ 13832 w 149057"/>
                <a:gd name="connsiteY60" fmla="*/ 69050 h 138202"/>
                <a:gd name="connsiteX61" fmla="*/ 13832 w 149057"/>
                <a:gd name="connsiteY61" fmla="*/ 73638 h 138202"/>
                <a:gd name="connsiteX62" fmla="*/ 17829 w 149057"/>
                <a:gd name="connsiteY62" fmla="*/ 78227 h 138202"/>
                <a:gd name="connsiteX63" fmla="*/ 17829 w 149057"/>
                <a:gd name="connsiteY63" fmla="*/ 82816 h 138202"/>
                <a:gd name="connsiteX64" fmla="*/ 21776 w 149057"/>
                <a:gd name="connsiteY64" fmla="*/ 85924 h 138202"/>
                <a:gd name="connsiteX65" fmla="*/ 27796 w 149057"/>
                <a:gd name="connsiteY65" fmla="*/ 85924 h 138202"/>
                <a:gd name="connsiteX66" fmla="*/ 29769 w 149057"/>
                <a:gd name="connsiteY66" fmla="*/ 87454 h 138202"/>
                <a:gd name="connsiteX67" fmla="*/ 31743 w 149057"/>
                <a:gd name="connsiteY67" fmla="*/ 92042 h 138202"/>
                <a:gd name="connsiteX68" fmla="*/ 33766 w 149057"/>
                <a:gd name="connsiteY68" fmla="*/ 102749 h 138202"/>
                <a:gd name="connsiteX69" fmla="*/ 33766 w 149057"/>
                <a:gd name="connsiteY69" fmla="*/ 107387 h 138202"/>
                <a:gd name="connsiteX70" fmla="*/ 37713 w 149057"/>
                <a:gd name="connsiteY70" fmla="*/ 110446 h 138202"/>
                <a:gd name="connsiteX71" fmla="*/ 45706 w 149057"/>
                <a:gd name="connsiteY71" fmla="*/ 116564 h 138202"/>
                <a:gd name="connsiteX72" fmla="*/ 45706 w 149057"/>
                <a:gd name="connsiteY72" fmla="*/ 121202 h 138202"/>
                <a:gd name="connsiteX73" fmla="*/ 53650 w 149057"/>
                <a:gd name="connsiteY73" fmla="*/ 122732 h 138202"/>
                <a:gd name="connsiteX74" fmla="*/ 53650 w 149057"/>
                <a:gd name="connsiteY74" fmla="*/ 127321 h 138202"/>
                <a:gd name="connsiteX75" fmla="*/ 55624 w 149057"/>
                <a:gd name="connsiteY75" fmla="*/ 130380 h 13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49057" h="138202">
                  <a:moveTo>
                    <a:pt x="59571" y="133587"/>
                  </a:moveTo>
                  <a:lnTo>
                    <a:pt x="59571" y="133587"/>
                  </a:lnTo>
                  <a:lnTo>
                    <a:pt x="63567" y="135116"/>
                  </a:lnTo>
                  <a:lnTo>
                    <a:pt x="65541" y="135116"/>
                  </a:lnTo>
                  <a:lnTo>
                    <a:pt x="73485" y="138175"/>
                  </a:lnTo>
                  <a:lnTo>
                    <a:pt x="81478" y="138175"/>
                  </a:lnTo>
                  <a:lnTo>
                    <a:pt x="83452" y="135116"/>
                  </a:lnTo>
                  <a:lnTo>
                    <a:pt x="79455" y="128949"/>
                  </a:lnTo>
                  <a:lnTo>
                    <a:pt x="75508" y="125890"/>
                  </a:lnTo>
                  <a:lnTo>
                    <a:pt x="69439" y="118193"/>
                  </a:lnTo>
                  <a:lnTo>
                    <a:pt x="71413" y="113555"/>
                  </a:lnTo>
                  <a:lnTo>
                    <a:pt x="79307" y="108917"/>
                  </a:lnTo>
                  <a:lnTo>
                    <a:pt x="87300" y="110446"/>
                  </a:lnTo>
                  <a:lnTo>
                    <a:pt x="101214" y="110446"/>
                  </a:lnTo>
                  <a:lnTo>
                    <a:pt x="107184" y="107387"/>
                  </a:lnTo>
                  <a:lnTo>
                    <a:pt x="119125" y="108917"/>
                  </a:lnTo>
                  <a:lnTo>
                    <a:pt x="125095" y="113505"/>
                  </a:lnTo>
                  <a:lnTo>
                    <a:pt x="133039" y="115035"/>
                  </a:lnTo>
                  <a:lnTo>
                    <a:pt x="141032" y="110446"/>
                  </a:lnTo>
                  <a:lnTo>
                    <a:pt x="143005" y="104328"/>
                  </a:lnTo>
                  <a:lnTo>
                    <a:pt x="141032" y="99690"/>
                  </a:lnTo>
                  <a:lnTo>
                    <a:pt x="141032" y="90513"/>
                  </a:lnTo>
                  <a:lnTo>
                    <a:pt x="144979" y="85924"/>
                  </a:lnTo>
                  <a:lnTo>
                    <a:pt x="148975" y="81286"/>
                  </a:lnTo>
                  <a:lnTo>
                    <a:pt x="144979" y="78227"/>
                  </a:lnTo>
                  <a:lnTo>
                    <a:pt x="144979" y="70579"/>
                  </a:lnTo>
                  <a:lnTo>
                    <a:pt x="141032" y="65991"/>
                  </a:lnTo>
                  <a:lnTo>
                    <a:pt x="137035" y="61353"/>
                  </a:lnTo>
                  <a:lnTo>
                    <a:pt x="131065" y="58293"/>
                  </a:lnTo>
                  <a:lnTo>
                    <a:pt x="131065" y="53705"/>
                  </a:lnTo>
                  <a:lnTo>
                    <a:pt x="133039" y="46008"/>
                  </a:lnTo>
                  <a:lnTo>
                    <a:pt x="129091" y="38360"/>
                  </a:lnTo>
                  <a:lnTo>
                    <a:pt x="129091" y="30663"/>
                  </a:lnTo>
                  <a:lnTo>
                    <a:pt x="135061" y="24545"/>
                  </a:lnTo>
                  <a:lnTo>
                    <a:pt x="137035" y="21486"/>
                  </a:lnTo>
                  <a:lnTo>
                    <a:pt x="137035" y="21486"/>
                  </a:lnTo>
                  <a:lnTo>
                    <a:pt x="144979" y="13788"/>
                  </a:lnTo>
                  <a:lnTo>
                    <a:pt x="143005" y="9200"/>
                  </a:lnTo>
                  <a:lnTo>
                    <a:pt x="137035" y="6091"/>
                  </a:lnTo>
                  <a:lnTo>
                    <a:pt x="125095" y="4562"/>
                  </a:lnTo>
                  <a:lnTo>
                    <a:pt x="109158" y="-27"/>
                  </a:lnTo>
                  <a:lnTo>
                    <a:pt x="105211" y="1503"/>
                  </a:lnTo>
                  <a:lnTo>
                    <a:pt x="99240" y="3032"/>
                  </a:lnTo>
                  <a:lnTo>
                    <a:pt x="87300" y="3032"/>
                  </a:lnTo>
                  <a:lnTo>
                    <a:pt x="71363" y="4562"/>
                  </a:lnTo>
                  <a:lnTo>
                    <a:pt x="61495" y="1503"/>
                  </a:lnTo>
                  <a:lnTo>
                    <a:pt x="45607" y="1503"/>
                  </a:lnTo>
                  <a:lnTo>
                    <a:pt x="35739" y="4562"/>
                  </a:lnTo>
                  <a:lnTo>
                    <a:pt x="33766" y="12259"/>
                  </a:lnTo>
                  <a:lnTo>
                    <a:pt x="33766" y="12259"/>
                  </a:lnTo>
                  <a:lnTo>
                    <a:pt x="31743" y="19907"/>
                  </a:lnTo>
                  <a:lnTo>
                    <a:pt x="31743" y="24545"/>
                  </a:lnTo>
                  <a:lnTo>
                    <a:pt x="27796" y="29133"/>
                  </a:lnTo>
                  <a:lnTo>
                    <a:pt x="21776" y="30663"/>
                  </a:lnTo>
                  <a:lnTo>
                    <a:pt x="13832" y="32192"/>
                  </a:lnTo>
                  <a:lnTo>
                    <a:pt x="5888" y="38360"/>
                  </a:lnTo>
                  <a:lnTo>
                    <a:pt x="5888" y="46008"/>
                  </a:lnTo>
                  <a:lnTo>
                    <a:pt x="-82" y="58293"/>
                  </a:lnTo>
                  <a:lnTo>
                    <a:pt x="1892" y="62931"/>
                  </a:lnTo>
                  <a:lnTo>
                    <a:pt x="9836" y="65991"/>
                  </a:lnTo>
                  <a:lnTo>
                    <a:pt x="13832" y="69050"/>
                  </a:lnTo>
                  <a:lnTo>
                    <a:pt x="13832" y="73638"/>
                  </a:lnTo>
                  <a:lnTo>
                    <a:pt x="17829" y="78227"/>
                  </a:lnTo>
                  <a:lnTo>
                    <a:pt x="17829" y="82816"/>
                  </a:lnTo>
                  <a:lnTo>
                    <a:pt x="21776" y="85924"/>
                  </a:lnTo>
                  <a:lnTo>
                    <a:pt x="27796" y="85924"/>
                  </a:lnTo>
                  <a:lnTo>
                    <a:pt x="29769" y="87454"/>
                  </a:lnTo>
                  <a:lnTo>
                    <a:pt x="31743" y="92042"/>
                  </a:lnTo>
                  <a:lnTo>
                    <a:pt x="33766" y="102749"/>
                  </a:lnTo>
                  <a:lnTo>
                    <a:pt x="33766" y="107387"/>
                  </a:lnTo>
                  <a:lnTo>
                    <a:pt x="37713" y="110446"/>
                  </a:lnTo>
                  <a:lnTo>
                    <a:pt x="45706" y="116564"/>
                  </a:lnTo>
                  <a:lnTo>
                    <a:pt x="45706" y="121202"/>
                  </a:lnTo>
                  <a:lnTo>
                    <a:pt x="53650" y="122732"/>
                  </a:lnTo>
                  <a:lnTo>
                    <a:pt x="53650" y="127321"/>
                  </a:lnTo>
                  <a:lnTo>
                    <a:pt x="55624" y="13038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Graphic 2">
              <a:extLst>
                <a:ext uri="{FF2B5EF4-FFF2-40B4-BE49-F238E27FC236}">
                  <a16:creationId xmlns:a16="http://schemas.microsoft.com/office/drawing/2014/main" id="{91DCDEF3-6DBD-4E65-8FE4-03E058C693EE}"/>
                </a:ext>
              </a:extLst>
            </p:cNvPr>
            <p:cNvSpPr/>
            <p:nvPr/>
          </p:nvSpPr>
          <p:spPr>
            <a:xfrm>
              <a:off x="3427604" y="4394048"/>
              <a:ext cx="162990" cy="210361"/>
            </a:xfrm>
            <a:custGeom>
              <a:avLst/>
              <a:gdLst>
                <a:gd name="connsiteX0" fmla="*/ 23404 w 179401"/>
                <a:gd name="connsiteY0" fmla="*/ 102108 h 231554"/>
                <a:gd name="connsiteX1" fmla="*/ 29226 w 179401"/>
                <a:gd name="connsiteY1" fmla="*/ 102108 h 231554"/>
                <a:gd name="connsiteX2" fmla="*/ 31200 w 179401"/>
                <a:gd name="connsiteY2" fmla="*/ 105068 h 231554"/>
                <a:gd name="connsiteX3" fmla="*/ 35048 w 179401"/>
                <a:gd name="connsiteY3" fmla="*/ 102108 h 231554"/>
                <a:gd name="connsiteX4" fmla="*/ 42844 w 179401"/>
                <a:gd name="connsiteY4" fmla="*/ 103588 h 231554"/>
                <a:gd name="connsiteX5" fmla="*/ 48666 w 179401"/>
                <a:gd name="connsiteY5" fmla="*/ 109607 h 231554"/>
                <a:gd name="connsiteX6" fmla="*/ 48666 w 179401"/>
                <a:gd name="connsiteY6" fmla="*/ 117107 h 231554"/>
                <a:gd name="connsiteX7" fmla="*/ 44818 w 179401"/>
                <a:gd name="connsiteY7" fmla="*/ 124607 h 231554"/>
                <a:gd name="connsiteX8" fmla="*/ 40920 w 179401"/>
                <a:gd name="connsiteY8" fmla="*/ 127617 h 231554"/>
                <a:gd name="connsiteX9" fmla="*/ 46742 w 179401"/>
                <a:gd name="connsiteY9" fmla="*/ 130626 h 231554"/>
                <a:gd name="connsiteX10" fmla="*/ 54538 w 179401"/>
                <a:gd name="connsiteY10" fmla="*/ 129097 h 231554"/>
                <a:gd name="connsiteX11" fmla="*/ 56511 w 179401"/>
                <a:gd name="connsiteY11" fmla="*/ 133636 h 231554"/>
                <a:gd name="connsiteX12" fmla="*/ 60360 w 179401"/>
                <a:gd name="connsiteY12" fmla="*/ 138126 h 231554"/>
                <a:gd name="connsiteX13" fmla="*/ 68156 w 179401"/>
                <a:gd name="connsiteY13" fmla="*/ 138126 h 231554"/>
                <a:gd name="connsiteX14" fmla="*/ 68156 w 179401"/>
                <a:gd name="connsiteY14" fmla="*/ 141136 h 231554"/>
                <a:gd name="connsiteX15" fmla="*/ 60360 w 179401"/>
                <a:gd name="connsiteY15" fmla="*/ 148882 h 231554"/>
                <a:gd name="connsiteX16" fmla="*/ 58436 w 179401"/>
                <a:gd name="connsiteY16" fmla="*/ 156431 h 231554"/>
                <a:gd name="connsiteX17" fmla="*/ 52614 w 179401"/>
                <a:gd name="connsiteY17" fmla="*/ 166941 h 231554"/>
                <a:gd name="connsiteX18" fmla="*/ 52614 w 179401"/>
                <a:gd name="connsiteY18" fmla="*/ 174441 h 231554"/>
                <a:gd name="connsiteX19" fmla="*/ 50689 w 179401"/>
                <a:gd name="connsiteY19" fmla="*/ 178931 h 231554"/>
                <a:gd name="connsiteX20" fmla="*/ 48666 w 179401"/>
                <a:gd name="connsiteY20" fmla="*/ 183470 h 231554"/>
                <a:gd name="connsiteX21" fmla="*/ 50689 w 179401"/>
                <a:gd name="connsiteY21" fmla="*/ 186430 h 231554"/>
                <a:gd name="connsiteX22" fmla="*/ 48666 w 179401"/>
                <a:gd name="connsiteY22" fmla="*/ 190970 h 231554"/>
                <a:gd name="connsiteX23" fmla="*/ 50689 w 179401"/>
                <a:gd name="connsiteY23" fmla="*/ 198469 h 231554"/>
                <a:gd name="connsiteX24" fmla="*/ 56511 w 179401"/>
                <a:gd name="connsiteY24" fmla="*/ 202959 h 231554"/>
                <a:gd name="connsiteX25" fmla="*/ 64307 w 179401"/>
                <a:gd name="connsiteY25" fmla="*/ 208979 h 231554"/>
                <a:gd name="connsiteX26" fmla="*/ 66232 w 179401"/>
                <a:gd name="connsiteY26" fmla="*/ 213518 h 231554"/>
                <a:gd name="connsiteX27" fmla="*/ 70129 w 179401"/>
                <a:gd name="connsiteY27" fmla="*/ 218008 h 231554"/>
                <a:gd name="connsiteX28" fmla="*/ 83747 w 179401"/>
                <a:gd name="connsiteY28" fmla="*/ 230047 h 231554"/>
                <a:gd name="connsiteX29" fmla="*/ 89569 w 179401"/>
                <a:gd name="connsiteY29" fmla="*/ 231527 h 231554"/>
                <a:gd name="connsiteX30" fmla="*/ 93467 w 179401"/>
                <a:gd name="connsiteY30" fmla="*/ 227037 h 231554"/>
                <a:gd name="connsiteX31" fmla="*/ 99339 w 179401"/>
                <a:gd name="connsiteY31" fmla="*/ 225508 h 231554"/>
                <a:gd name="connsiteX32" fmla="*/ 101263 w 179401"/>
                <a:gd name="connsiteY32" fmla="*/ 228518 h 231554"/>
                <a:gd name="connsiteX33" fmla="*/ 109059 w 179401"/>
                <a:gd name="connsiteY33" fmla="*/ 227037 h 231554"/>
                <a:gd name="connsiteX34" fmla="*/ 112957 w 179401"/>
                <a:gd name="connsiteY34" fmla="*/ 221018 h 231554"/>
                <a:gd name="connsiteX35" fmla="*/ 112957 w 179401"/>
                <a:gd name="connsiteY35" fmla="*/ 217959 h 231554"/>
                <a:gd name="connsiteX36" fmla="*/ 120753 w 179401"/>
                <a:gd name="connsiteY36" fmla="*/ 216429 h 231554"/>
                <a:gd name="connsiteX37" fmla="*/ 136295 w 179401"/>
                <a:gd name="connsiteY37" fmla="*/ 216429 h 231554"/>
                <a:gd name="connsiteX38" fmla="*/ 140242 w 179401"/>
                <a:gd name="connsiteY38" fmla="*/ 207449 h 231554"/>
                <a:gd name="connsiteX39" fmla="*/ 147989 w 179401"/>
                <a:gd name="connsiteY39" fmla="*/ 205969 h 231554"/>
                <a:gd name="connsiteX40" fmla="*/ 157857 w 179401"/>
                <a:gd name="connsiteY40" fmla="*/ 204440 h 231554"/>
                <a:gd name="connsiteX41" fmla="*/ 159781 w 179401"/>
                <a:gd name="connsiteY41" fmla="*/ 207449 h 231554"/>
                <a:gd name="connsiteX42" fmla="*/ 167577 w 179401"/>
                <a:gd name="connsiteY42" fmla="*/ 205969 h 231554"/>
                <a:gd name="connsiteX43" fmla="*/ 179320 w 179401"/>
                <a:gd name="connsiteY43" fmla="*/ 205969 h 231554"/>
                <a:gd name="connsiteX44" fmla="*/ 175422 w 179401"/>
                <a:gd name="connsiteY44" fmla="*/ 202910 h 231554"/>
                <a:gd name="connsiteX45" fmla="*/ 173448 w 179401"/>
                <a:gd name="connsiteY45" fmla="*/ 199949 h 231554"/>
                <a:gd name="connsiteX46" fmla="*/ 173448 w 179401"/>
                <a:gd name="connsiteY46" fmla="*/ 195410 h 231554"/>
                <a:gd name="connsiteX47" fmla="*/ 165702 w 179401"/>
                <a:gd name="connsiteY47" fmla="*/ 193881 h 231554"/>
                <a:gd name="connsiteX48" fmla="*/ 165702 w 179401"/>
                <a:gd name="connsiteY48" fmla="*/ 189440 h 231554"/>
                <a:gd name="connsiteX49" fmla="*/ 157758 w 179401"/>
                <a:gd name="connsiteY49" fmla="*/ 183420 h 231554"/>
                <a:gd name="connsiteX50" fmla="*/ 153860 w 179401"/>
                <a:gd name="connsiteY50" fmla="*/ 180411 h 231554"/>
                <a:gd name="connsiteX51" fmla="*/ 153860 w 179401"/>
                <a:gd name="connsiteY51" fmla="*/ 175871 h 231554"/>
                <a:gd name="connsiteX52" fmla="*/ 151936 w 179401"/>
                <a:gd name="connsiteY52" fmla="*/ 165411 h 231554"/>
                <a:gd name="connsiteX53" fmla="*/ 149913 w 179401"/>
                <a:gd name="connsiteY53" fmla="*/ 160872 h 231554"/>
                <a:gd name="connsiteX54" fmla="*/ 147989 w 179401"/>
                <a:gd name="connsiteY54" fmla="*/ 159392 h 231554"/>
                <a:gd name="connsiteX55" fmla="*/ 142166 w 179401"/>
                <a:gd name="connsiteY55" fmla="*/ 159392 h 231554"/>
                <a:gd name="connsiteX56" fmla="*/ 138268 w 179401"/>
                <a:gd name="connsiteY56" fmla="*/ 156382 h 231554"/>
                <a:gd name="connsiteX57" fmla="*/ 138268 w 179401"/>
                <a:gd name="connsiteY57" fmla="*/ 151843 h 231554"/>
                <a:gd name="connsiteX58" fmla="*/ 134371 w 179401"/>
                <a:gd name="connsiteY58" fmla="*/ 147303 h 231554"/>
                <a:gd name="connsiteX59" fmla="*/ 134371 w 179401"/>
                <a:gd name="connsiteY59" fmla="*/ 142863 h 231554"/>
                <a:gd name="connsiteX60" fmla="*/ 130473 w 179401"/>
                <a:gd name="connsiteY60" fmla="*/ 139803 h 231554"/>
                <a:gd name="connsiteX61" fmla="*/ 122677 w 179401"/>
                <a:gd name="connsiteY61" fmla="*/ 136843 h 231554"/>
                <a:gd name="connsiteX62" fmla="*/ 120753 w 179401"/>
                <a:gd name="connsiteY62" fmla="*/ 132304 h 231554"/>
                <a:gd name="connsiteX63" fmla="*/ 126575 w 179401"/>
                <a:gd name="connsiteY63" fmla="*/ 120314 h 231554"/>
                <a:gd name="connsiteX64" fmla="*/ 126575 w 179401"/>
                <a:gd name="connsiteY64" fmla="*/ 112765 h 231554"/>
                <a:gd name="connsiteX65" fmla="*/ 134371 w 179401"/>
                <a:gd name="connsiteY65" fmla="*/ 106746 h 231554"/>
                <a:gd name="connsiteX66" fmla="*/ 142166 w 179401"/>
                <a:gd name="connsiteY66" fmla="*/ 105265 h 231554"/>
                <a:gd name="connsiteX67" fmla="*/ 147989 w 179401"/>
                <a:gd name="connsiteY67" fmla="*/ 103785 h 231554"/>
                <a:gd name="connsiteX68" fmla="*/ 151936 w 179401"/>
                <a:gd name="connsiteY68" fmla="*/ 99246 h 231554"/>
                <a:gd name="connsiteX69" fmla="*/ 151936 w 179401"/>
                <a:gd name="connsiteY69" fmla="*/ 94608 h 231554"/>
                <a:gd name="connsiteX70" fmla="*/ 153860 w 179401"/>
                <a:gd name="connsiteY70" fmla="*/ 87108 h 231554"/>
                <a:gd name="connsiteX71" fmla="*/ 153860 w 179401"/>
                <a:gd name="connsiteY71" fmla="*/ 87108 h 231554"/>
                <a:gd name="connsiteX72" fmla="*/ 151936 w 179401"/>
                <a:gd name="connsiteY72" fmla="*/ 81089 h 231554"/>
                <a:gd name="connsiteX73" fmla="*/ 151936 w 179401"/>
                <a:gd name="connsiteY73" fmla="*/ 73589 h 231554"/>
                <a:gd name="connsiteX74" fmla="*/ 149913 w 179401"/>
                <a:gd name="connsiteY74" fmla="*/ 69050 h 231554"/>
                <a:gd name="connsiteX75" fmla="*/ 138268 w 179401"/>
                <a:gd name="connsiteY75" fmla="*/ 64559 h 231554"/>
                <a:gd name="connsiteX76" fmla="*/ 124650 w 179401"/>
                <a:gd name="connsiteY76" fmla="*/ 55580 h 231554"/>
                <a:gd name="connsiteX77" fmla="*/ 118828 w 179401"/>
                <a:gd name="connsiteY77" fmla="*/ 51040 h 231554"/>
                <a:gd name="connsiteX78" fmla="*/ 114881 w 179401"/>
                <a:gd name="connsiteY78" fmla="*/ 52520 h 231554"/>
                <a:gd name="connsiteX79" fmla="*/ 107135 w 179401"/>
                <a:gd name="connsiteY79" fmla="*/ 54050 h 231554"/>
                <a:gd name="connsiteX80" fmla="*/ 103187 w 179401"/>
                <a:gd name="connsiteY80" fmla="*/ 58540 h 231554"/>
                <a:gd name="connsiteX81" fmla="*/ 101263 w 179401"/>
                <a:gd name="connsiteY81" fmla="*/ 64559 h 231554"/>
                <a:gd name="connsiteX82" fmla="*/ 99339 w 179401"/>
                <a:gd name="connsiteY82" fmla="*/ 57060 h 231554"/>
                <a:gd name="connsiteX83" fmla="*/ 101263 w 179401"/>
                <a:gd name="connsiteY83" fmla="*/ 49560 h 231554"/>
                <a:gd name="connsiteX84" fmla="*/ 103187 w 179401"/>
                <a:gd name="connsiteY84" fmla="*/ 43541 h 231554"/>
                <a:gd name="connsiteX85" fmla="*/ 99339 w 179401"/>
                <a:gd name="connsiteY85" fmla="*/ 33031 h 231554"/>
                <a:gd name="connsiteX86" fmla="*/ 93467 w 179401"/>
                <a:gd name="connsiteY86" fmla="*/ 29972 h 231554"/>
                <a:gd name="connsiteX87" fmla="*/ 79850 w 179401"/>
                <a:gd name="connsiteY87" fmla="*/ 22472 h 231554"/>
                <a:gd name="connsiteX88" fmla="*/ 69982 w 179401"/>
                <a:gd name="connsiteY88" fmla="*/ 11963 h 231554"/>
                <a:gd name="connsiteX89" fmla="*/ 69982 w 179401"/>
                <a:gd name="connsiteY89" fmla="*/ 7473 h 231554"/>
                <a:gd name="connsiteX90" fmla="*/ 64159 w 179401"/>
                <a:gd name="connsiteY90" fmla="*/ 2983 h 231554"/>
                <a:gd name="connsiteX91" fmla="*/ 56364 w 179401"/>
                <a:gd name="connsiteY91" fmla="*/ 1453 h 231554"/>
                <a:gd name="connsiteX92" fmla="*/ 54390 w 179401"/>
                <a:gd name="connsiteY92" fmla="*/ -27 h 231554"/>
                <a:gd name="connsiteX93" fmla="*/ 52465 w 179401"/>
                <a:gd name="connsiteY93" fmla="*/ 2983 h 231554"/>
                <a:gd name="connsiteX94" fmla="*/ 42597 w 179401"/>
                <a:gd name="connsiteY94" fmla="*/ 13443 h 231554"/>
                <a:gd name="connsiteX95" fmla="*/ 34802 w 179401"/>
                <a:gd name="connsiteY95" fmla="*/ 19463 h 231554"/>
                <a:gd name="connsiteX96" fmla="*/ 30953 w 179401"/>
                <a:gd name="connsiteY96" fmla="*/ 17982 h 231554"/>
                <a:gd name="connsiteX97" fmla="*/ 19259 w 179401"/>
                <a:gd name="connsiteY97" fmla="*/ 28492 h 231554"/>
                <a:gd name="connsiteX98" fmla="*/ 21184 w 179401"/>
                <a:gd name="connsiteY98" fmla="*/ 31502 h 231554"/>
                <a:gd name="connsiteX99" fmla="*/ 25082 w 179401"/>
                <a:gd name="connsiteY99" fmla="*/ 37521 h 231554"/>
                <a:gd name="connsiteX100" fmla="*/ 34950 w 179401"/>
                <a:gd name="connsiteY100" fmla="*/ 39051 h 231554"/>
                <a:gd name="connsiteX101" fmla="*/ 40821 w 179401"/>
                <a:gd name="connsiteY101" fmla="*/ 43541 h 231554"/>
                <a:gd name="connsiteX102" fmla="*/ 40821 w 179401"/>
                <a:gd name="connsiteY102" fmla="*/ 51040 h 231554"/>
                <a:gd name="connsiteX103" fmla="*/ 29128 w 179401"/>
                <a:gd name="connsiteY103" fmla="*/ 55580 h 231554"/>
                <a:gd name="connsiteX104" fmla="*/ 21332 w 179401"/>
                <a:gd name="connsiteY104" fmla="*/ 52520 h 231554"/>
                <a:gd name="connsiteX105" fmla="*/ 17483 w 179401"/>
                <a:gd name="connsiteY105" fmla="*/ 55580 h 231554"/>
                <a:gd name="connsiteX106" fmla="*/ 11612 w 179401"/>
                <a:gd name="connsiteY106" fmla="*/ 52520 h 231554"/>
                <a:gd name="connsiteX107" fmla="*/ 7714 w 179401"/>
                <a:gd name="connsiteY107" fmla="*/ 57060 h 231554"/>
                <a:gd name="connsiteX108" fmla="*/ 5790 w 179401"/>
                <a:gd name="connsiteY108" fmla="*/ 66040 h 231554"/>
                <a:gd name="connsiteX109" fmla="*/ -82 w 179401"/>
                <a:gd name="connsiteY109" fmla="*/ 73589 h 231554"/>
                <a:gd name="connsiteX110" fmla="*/ 1842 w 179401"/>
                <a:gd name="connsiteY110" fmla="*/ 81089 h 231554"/>
                <a:gd name="connsiteX111" fmla="*/ 11711 w 179401"/>
                <a:gd name="connsiteY111" fmla="*/ 90118 h 231554"/>
                <a:gd name="connsiteX112" fmla="*/ 23404 w 179401"/>
                <a:gd name="connsiteY112" fmla="*/ 100627 h 231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79401" h="231554">
                  <a:moveTo>
                    <a:pt x="23404" y="102108"/>
                  </a:moveTo>
                  <a:lnTo>
                    <a:pt x="29226" y="102108"/>
                  </a:lnTo>
                  <a:lnTo>
                    <a:pt x="31200" y="105068"/>
                  </a:lnTo>
                  <a:lnTo>
                    <a:pt x="35048" y="102108"/>
                  </a:lnTo>
                  <a:lnTo>
                    <a:pt x="42844" y="103588"/>
                  </a:lnTo>
                  <a:lnTo>
                    <a:pt x="48666" y="109607"/>
                  </a:lnTo>
                  <a:lnTo>
                    <a:pt x="48666" y="117107"/>
                  </a:lnTo>
                  <a:lnTo>
                    <a:pt x="44818" y="124607"/>
                  </a:lnTo>
                  <a:lnTo>
                    <a:pt x="40920" y="127617"/>
                  </a:lnTo>
                  <a:lnTo>
                    <a:pt x="46742" y="130626"/>
                  </a:lnTo>
                  <a:lnTo>
                    <a:pt x="54538" y="129097"/>
                  </a:lnTo>
                  <a:lnTo>
                    <a:pt x="56511" y="133636"/>
                  </a:lnTo>
                  <a:lnTo>
                    <a:pt x="60360" y="138126"/>
                  </a:lnTo>
                  <a:lnTo>
                    <a:pt x="68156" y="138126"/>
                  </a:lnTo>
                  <a:lnTo>
                    <a:pt x="68156" y="141136"/>
                  </a:lnTo>
                  <a:lnTo>
                    <a:pt x="60360" y="148882"/>
                  </a:lnTo>
                  <a:lnTo>
                    <a:pt x="58436" y="156431"/>
                  </a:lnTo>
                  <a:lnTo>
                    <a:pt x="52614" y="166941"/>
                  </a:lnTo>
                  <a:lnTo>
                    <a:pt x="52614" y="174441"/>
                  </a:lnTo>
                  <a:lnTo>
                    <a:pt x="50689" y="178931"/>
                  </a:lnTo>
                  <a:lnTo>
                    <a:pt x="48666" y="183470"/>
                  </a:lnTo>
                  <a:lnTo>
                    <a:pt x="50689" y="186430"/>
                  </a:lnTo>
                  <a:lnTo>
                    <a:pt x="48666" y="190970"/>
                  </a:lnTo>
                  <a:lnTo>
                    <a:pt x="50689" y="198469"/>
                  </a:lnTo>
                  <a:lnTo>
                    <a:pt x="56511" y="202959"/>
                  </a:lnTo>
                  <a:lnTo>
                    <a:pt x="64307" y="208979"/>
                  </a:lnTo>
                  <a:lnTo>
                    <a:pt x="66232" y="213518"/>
                  </a:lnTo>
                  <a:lnTo>
                    <a:pt x="70129" y="218008"/>
                  </a:lnTo>
                  <a:lnTo>
                    <a:pt x="83747" y="230047"/>
                  </a:lnTo>
                  <a:lnTo>
                    <a:pt x="89569" y="231527"/>
                  </a:lnTo>
                  <a:lnTo>
                    <a:pt x="93467" y="227037"/>
                  </a:lnTo>
                  <a:lnTo>
                    <a:pt x="99339" y="225508"/>
                  </a:lnTo>
                  <a:lnTo>
                    <a:pt x="101263" y="228518"/>
                  </a:lnTo>
                  <a:lnTo>
                    <a:pt x="109059" y="227037"/>
                  </a:lnTo>
                  <a:lnTo>
                    <a:pt x="112957" y="221018"/>
                  </a:lnTo>
                  <a:lnTo>
                    <a:pt x="112957" y="217959"/>
                  </a:lnTo>
                  <a:lnTo>
                    <a:pt x="120753" y="216429"/>
                  </a:lnTo>
                  <a:lnTo>
                    <a:pt x="136295" y="216429"/>
                  </a:lnTo>
                  <a:lnTo>
                    <a:pt x="140242" y="207449"/>
                  </a:lnTo>
                  <a:lnTo>
                    <a:pt x="147989" y="205969"/>
                  </a:lnTo>
                  <a:lnTo>
                    <a:pt x="157857" y="204440"/>
                  </a:lnTo>
                  <a:lnTo>
                    <a:pt x="159781" y="207449"/>
                  </a:lnTo>
                  <a:lnTo>
                    <a:pt x="167577" y="205969"/>
                  </a:lnTo>
                  <a:lnTo>
                    <a:pt x="179320" y="205969"/>
                  </a:lnTo>
                  <a:lnTo>
                    <a:pt x="175422" y="202910"/>
                  </a:lnTo>
                  <a:lnTo>
                    <a:pt x="173448" y="199949"/>
                  </a:lnTo>
                  <a:lnTo>
                    <a:pt x="173448" y="195410"/>
                  </a:lnTo>
                  <a:lnTo>
                    <a:pt x="165702" y="193881"/>
                  </a:lnTo>
                  <a:lnTo>
                    <a:pt x="165702" y="189440"/>
                  </a:lnTo>
                  <a:lnTo>
                    <a:pt x="157758" y="183420"/>
                  </a:lnTo>
                  <a:lnTo>
                    <a:pt x="153860" y="180411"/>
                  </a:lnTo>
                  <a:lnTo>
                    <a:pt x="153860" y="175871"/>
                  </a:lnTo>
                  <a:lnTo>
                    <a:pt x="151936" y="165411"/>
                  </a:lnTo>
                  <a:lnTo>
                    <a:pt x="149913" y="160872"/>
                  </a:lnTo>
                  <a:lnTo>
                    <a:pt x="147989" y="159392"/>
                  </a:lnTo>
                  <a:lnTo>
                    <a:pt x="142166" y="159392"/>
                  </a:lnTo>
                  <a:lnTo>
                    <a:pt x="138268" y="156382"/>
                  </a:lnTo>
                  <a:lnTo>
                    <a:pt x="138268" y="151843"/>
                  </a:lnTo>
                  <a:lnTo>
                    <a:pt x="134371" y="147303"/>
                  </a:lnTo>
                  <a:lnTo>
                    <a:pt x="134371" y="142863"/>
                  </a:lnTo>
                  <a:lnTo>
                    <a:pt x="130473" y="139803"/>
                  </a:lnTo>
                  <a:lnTo>
                    <a:pt x="122677" y="136843"/>
                  </a:lnTo>
                  <a:lnTo>
                    <a:pt x="120753" y="132304"/>
                  </a:lnTo>
                  <a:lnTo>
                    <a:pt x="126575" y="120314"/>
                  </a:lnTo>
                  <a:lnTo>
                    <a:pt x="126575" y="112765"/>
                  </a:lnTo>
                  <a:lnTo>
                    <a:pt x="134371" y="106746"/>
                  </a:lnTo>
                  <a:lnTo>
                    <a:pt x="142166" y="105265"/>
                  </a:lnTo>
                  <a:lnTo>
                    <a:pt x="147989" y="103785"/>
                  </a:lnTo>
                  <a:lnTo>
                    <a:pt x="151936" y="99246"/>
                  </a:lnTo>
                  <a:lnTo>
                    <a:pt x="151936" y="94608"/>
                  </a:lnTo>
                  <a:lnTo>
                    <a:pt x="153860" y="87108"/>
                  </a:lnTo>
                  <a:lnTo>
                    <a:pt x="153860" y="87108"/>
                  </a:lnTo>
                  <a:lnTo>
                    <a:pt x="151936" y="81089"/>
                  </a:lnTo>
                  <a:lnTo>
                    <a:pt x="151936" y="73589"/>
                  </a:lnTo>
                  <a:lnTo>
                    <a:pt x="149913" y="69050"/>
                  </a:lnTo>
                  <a:lnTo>
                    <a:pt x="138268" y="64559"/>
                  </a:lnTo>
                  <a:lnTo>
                    <a:pt x="124650" y="55580"/>
                  </a:lnTo>
                  <a:lnTo>
                    <a:pt x="118828" y="51040"/>
                  </a:lnTo>
                  <a:lnTo>
                    <a:pt x="114881" y="52520"/>
                  </a:lnTo>
                  <a:lnTo>
                    <a:pt x="107135" y="54050"/>
                  </a:lnTo>
                  <a:lnTo>
                    <a:pt x="103187" y="58540"/>
                  </a:lnTo>
                  <a:lnTo>
                    <a:pt x="101263" y="64559"/>
                  </a:lnTo>
                  <a:lnTo>
                    <a:pt x="99339" y="57060"/>
                  </a:lnTo>
                  <a:lnTo>
                    <a:pt x="101263" y="49560"/>
                  </a:lnTo>
                  <a:lnTo>
                    <a:pt x="103187" y="43541"/>
                  </a:lnTo>
                  <a:lnTo>
                    <a:pt x="99339" y="33031"/>
                  </a:lnTo>
                  <a:lnTo>
                    <a:pt x="93467" y="29972"/>
                  </a:lnTo>
                  <a:lnTo>
                    <a:pt x="79850" y="22472"/>
                  </a:lnTo>
                  <a:lnTo>
                    <a:pt x="69982" y="11963"/>
                  </a:lnTo>
                  <a:lnTo>
                    <a:pt x="69982" y="7473"/>
                  </a:lnTo>
                  <a:lnTo>
                    <a:pt x="64159" y="2983"/>
                  </a:lnTo>
                  <a:lnTo>
                    <a:pt x="56364" y="1453"/>
                  </a:lnTo>
                  <a:lnTo>
                    <a:pt x="54390" y="-27"/>
                  </a:lnTo>
                  <a:lnTo>
                    <a:pt x="52465" y="2983"/>
                  </a:lnTo>
                  <a:lnTo>
                    <a:pt x="42597" y="13443"/>
                  </a:lnTo>
                  <a:lnTo>
                    <a:pt x="34802" y="19463"/>
                  </a:lnTo>
                  <a:lnTo>
                    <a:pt x="30953" y="17982"/>
                  </a:lnTo>
                  <a:lnTo>
                    <a:pt x="19259" y="28492"/>
                  </a:lnTo>
                  <a:lnTo>
                    <a:pt x="21184" y="31502"/>
                  </a:lnTo>
                  <a:lnTo>
                    <a:pt x="25082" y="37521"/>
                  </a:lnTo>
                  <a:lnTo>
                    <a:pt x="34950" y="39051"/>
                  </a:lnTo>
                  <a:lnTo>
                    <a:pt x="40821" y="43541"/>
                  </a:lnTo>
                  <a:lnTo>
                    <a:pt x="40821" y="51040"/>
                  </a:lnTo>
                  <a:lnTo>
                    <a:pt x="29128" y="55580"/>
                  </a:lnTo>
                  <a:lnTo>
                    <a:pt x="21332" y="52520"/>
                  </a:lnTo>
                  <a:lnTo>
                    <a:pt x="17483" y="55580"/>
                  </a:lnTo>
                  <a:lnTo>
                    <a:pt x="11612" y="52520"/>
                  </a:lnTo>
                  <a:lnTo>
                    <a:pt x="7714" y="57060"/>
                  </a:lnTo>
                  <a:lnTo>
                    <a:pt x="5790" y="66040"/>
                  </a:lnTo>
                  <a:lnTo>
                    <a:pt x="-82" y="73589"/>
                  </a:lnTo>
                  <a:lnTo>
                    <a:pt x="1842" y="81089"/>
                  </a:lnTo>
                  <a:lnTo>
                    <a:pt x="11711" y="90118"/>
                  </a:lnTo>
                  <a:lnTo>
                    <a:pt x="23404" y="10062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Graphic 2">
              <a:extLst>
                <a:ext uri="{FF2B5EF4-FFF2-40B4-BE49-F238E27FC236}">
                  <a16:creationId xmlns:a16="http://schemas.microsoft.com/office/drawing/2014/main" id="{A0CA8C5D-3417-41C8-9291-07AAAA3CE4D2}"/>
                </a:ext>
              </a:extLst>
            </p:cNvPr>
            <p:cNvSpPr/>
            <p:nvPr/>
          </p:nvSpPr>
          <p:spPr>
            <a:xfrm>
              <a:off x="3037841" y="4275173"/>
              <a:ext cx="437326" cy="342819"/>
            </a:xfrm>
            <a:custGeom>
              <a:avLst/>
              <a:gdLst>
                <a:gd name="connsiteX0" fmla="*/ 221900 w 481364"/>
                <a:gd name="connsiteY0" fmla="*/ 359467 h 377355"/>
                <a:gd name="connsiteX1" fmla="*/ 234334 w 481364"/>
                <a:gd name="connsiteY1" fmla="*/ 367460 h 377355"/>
                <a:gd name="connsiteX2" fmla="*/ 248840 w 481364"/>
                <a:gd name="connsiteY2" fmla="*/ 377328 h 377355"/>
                <a:gd name="connsiteX3" fmla="*/ 271685 w 481364"/>
                <a:gd name="connsiteY3" fmla="*/ 377328 h 377355"/>
                <a:gd name="connsiteX4" fmla="*/ 279974 w 481364"/>
                <a:gd name="connsiteY4" fmla="*/ 367460 h 377355"/>
                <a:gd name="connsiteX5" fmla="*/ 292457 w 481364"/>
                <a:gd name="connsiteY5" fmla="*/ 361095 h 377355"/>
                <a:gd name="connsiteX6" fmla="*/ 298674 w 481364"/>
                <a:gd name="connsiteY6" fmla="*/ 354730 h 377355"/>
                <a:gd name="connsiteX7" fmla="*/ 317325 w 481364"/>
                <a:gd name="connsiteY7" fmla="*/ 346737 h 377355"/>
                <a:gd name="connsiteX8" fmla="*/ 321519 w 481364"/>
                <a:gd name="connsiteY8" fmla="*/ 338744 h 377355"/>
                <a:gd name="connsiteX9" fmla="*/ 325663 w 481364"/>
                <a:gd name="connsiteY9" fmla="*/ 333810 h 377355"/>
                <a:gd name="connsiteX10" fmla="*/ 344314 w 481364"/>
                <a:gd name="connsiteY10" fmla="*/ 330652 h 377355"/>
                <a:gd name="connsiteX11" fmla="*/ 352652 w 481364"/>
                <a:gd name="connsiteY11" fmla="*/ 327445 h 377355"/>
                <a:gd name="connsiteX12" fmla="*/ 350531 w 481364"/>
                <a:gd name="connsiteY12" fmla="*/ 321080 h 377355"/>
                <a:gd name="connsiteX13" fmla="*/ 340169 w 481364"/>
                <a:gd name="connsiteY13" fmla="*/ 319452 h 377355"/>
                <a:gd name="connsiteX14" fmla="*/ 327735 w 481364"/>
                <a:gd name="connsiteY14" fmla="*/ 321080 h 377355"/>
                <a:gd name="connsiteX15" fmla="*/ 311157 w 481364"/>
                <a:gd name="connsiteY15" fmla="*/ 316146 h 377355"/>
                <a:gd name="connsiteX16" fmla="*/ 313180 w 481364"/>
                <a:gd name="connsiteY16" fmla="*/ 304946 h 377355"/>
                <a:gd name="connsiteX17" fmla="*/ 311157 w 481364"/>
                <a:gd name="connsiteY17" fmla="*/ 298581 h 377355"/>
                <a:gd name="connsiteX18" fmla="*/ 319446 w 481364"/>
                <a:gd name="connsiteY18" fmla="*/ 285802 h 377355"/>
                <a:gd name="connsiteX19" fmla="*/ 317325 w 481364"/>
                <a:gd name="connsiteY19" fmla="*/ 280868 h 377355"/>
                <a:gd name="connsiteX20" fmla="*/ 309036 w 481364"/>
                <a:gd name="connsiteY20" fmla="*/ 274799 h 377355"/>
                <a:gd name="connsiteX21" fmla="*/ 302819 w 481364"/>
                <a:gd name="connsiteY21" fmla="*/ 271592 h 377355"/>
                <a:gd name="connsiteX22" fmla="*/ 298674 w 481364"/>
                <a:gd name="connsiteY22" fmla="*/ 263599 h 377355"/>
                <a:gd name="connsiteX23" fmla="*/ 309036 w 481364"/>
                <a:gd name="connsiteY23" fmla="*/ 266806 h 377355"/>
                <a:gd name="connsiteX24" fmla="*/ 319446 w 481364"/>
                <a:gd name="connsiteY24" fmla="*/ 268434 h 377355"/>
                <a:gd name="connsiteX25" fmla="*/ 329808 w 481364"/>
                <a:gd name="connsiteY25" fmla="*/ 273368 h 377355"/>
                <a:gd name="connsiteX26" fmla="*/ 342291 w 481364"/>
                <a:gd name="connsiteY26" fmla="*/ 273368 h 377355"/>
                <a:gd name="connsiteX27" fmla="*/ 358820 w 481364"/>
                <a:gd name="connsiteY27" fmla="*/ 271789 h 377355"/>
                <a:gd name="connsiteX28" fmla="*/ 363014 w 481364"/>
                <a:gd name="connsiteY28" fmla="*/ 273368 h 377355"/>
                <a:gd name="connsiteX29" fmla="*/ 373375 w 481364"/>
                <a:gd name="connsiteY29" fmla="*/ 270210 h 377355"/>
                <a:gd name="connsiteX30" fmla="*/ 385809 w 481364"/>
                <a:gd name="connsiteY30" fmla="*/ 262217 h 377355"/>
                <a:gd name="connsiteX31" fmla="*/ 396220 w 481364"/>
                <a:gd name="connsiteY31" fmla="*/ 260638 h 377355"/>
                <a:gd name="connsiteX32" fmla="*/ 402437 w 481364"/>
                <a:gd name="connsiteY32" fmla="*/ 263796 h 377355"/>
                <a:gd name="connsiteX33" fmla="*/ 416943 w 481364"/>
                <a:gd name="connsiteY33" fmla="*/ 257431 h 377355"/>
                <a:gd name="connsiteX34" fmla="*/ 429426 w 481364"/>
                <a:gd name="connsiteY34" fmla="*/ 255803 h 377355"/>
                <a:gd name="connsiteX35" fmla="*/ 448077 w 481364"/>
                <a:gd name="connsiteY35" fmla="*/ 244652 h 377355"/>
                <a:gd name="connsiteX36" fmla="*/ 452270 w 481364"/>
                <a:gd name="connsiteY36" fmla="*/ 238287 h 377355"/>
                <a:gd name="connsiteX37" fmla="*/ 450149 w 481364"/>
                <a:gd name="connsiteY37" fmla="*/ 230294 h 377355"/>
                <a:gd name="connsiteX38" fmla="*/ 437715 w 481364"/>
                <a:gd name="connsiteY38" fmla="*/ 220426 h 377355"/>
                <a:gd name="connsiteX39" fmla="*/ 427304 w 481364"/>
                <a:gd name="connsiteY39" fmla="*/ 210854 h 377355"/>
                <a:gd name="connsiteX40" fmla="*/ 425281 w 481364"/>
                <a:gd name="connsiteY40" fmla="*/ 202861 h 377355"/>
                <a:gd name="connsiteX41" fmla="*/ 431498 w 481364"/>
                <a:gd name="connsiteY41" fmla="*/ 196496 h 377355"/>
                <a:gd name="connsiteX42" fmla="*/ 433571 w 481364"/>
                <a:gd name="connsiteY42" fmla="*/ 186874 h 377355"/>
                <a:gd name="connsiteX43" fmla="*/ 437715 w 481364"/>
                <a:gd name="connsiteY43" fmla="*/ 181940 h 377355"/>
                <a:gd name="connsiteX44" fmla="*/ 443932 w 481364"/>
                <a:gd name="connsiteY44" fmla="*/ 185098 h 377355"/>
                <a:gd name="connsiteX45" fmla="*/ 448077 w 481364"/>
                <a:gd name="connsiteY45" fmla="*/ 181940 h 377355"/>
                <a:gd name="connsiteX46" fmla="*/ 454294 w 481364"/>
                <a:gd name="connsiteY46" fmla="*/ 185098 h 377355"/>
                <a:gd name="connsiteX47" fmla="*/ 466777 w 481364"/>
                <a:gd name="connsiteY47" fmla="*/ 180164 h 377355"/>
                <a:gd name="connsiteX48" fmla="*/ 466777 w 481364"/>
                <a:gd name="connsiteY48" fmla="*/ 172171 h 377355"/>
                <a:gd name="connsiteX49" fmla="*/ 460560 w 481364"/>
                <a:gd name="connsiteY49" fmla="*/ 168964 h 377355"/>
                <a:gd name="connsiteX50" fmla="*/ 452270 w 481364"/>
                <a:gd name="connsiteY50" fmla="*/ 167385 h 377355"/>
                <a:gd name="connsiteX51" fmla="*/ 448077 w 481364"/>
                <a:gd name="connsiteY51" fmla="*/ 160971 h 377355"/>
                <a:gd name="connsiteX52" fmla="*/ 446004 w 481364"/>
                <a:gd name="connsiteY52" fmla="*/ 157813 h 377355"/>
                <a:gd name="connsiteX53" fmla="*/ 456415 w 481364"/>
                <a:gd name="connsiteY53" fmla="*/ 146613 h 377355"/>
                <a:gd name="connsiteX54" fmla="*/ 460560 w 481364"/>
                <a:gd name="connsiteY54" fmla="*/ 148241 h 377355"/>
                <a:gd name="connsiteX55" fmla="*/ 468799 w 481364"/>
                <a:gd name="connsiteY55" fmla="*/ 143307 h 377355"/>
                <a:gd name="connsiteX56" fmla="*/ 479210 w 481364"/>
                <a:gd name="connsiteY56" fmla="*/ 132107 h 377355"/>
                <a:gd name="connsiteX57" fmla="*/ 481283 w 481364"/>
                <a:gd name="connsiteY57" fmla="*/ 128949 h 377355"/>
                <a:gd name="connsiteX58" fmla="*/ 479210 w 481364"/>
                <a:gd name="connsiteY58" fmla="*/ 128949 h 377355"/>
                <a:gd name="connsiteX59" fmla="*/ 464408 w 481364"/>
                <a:gd name="connsiteY59" fmla="*/ 122535 h 377355"/>
                <a:gd name="connsiteX60" fmla="*/ 460313 w 481364"/>
                <a:gd name="connsiteY60" fmla="*/ 122535 h 377355"/>
                <a:gd name="connsiteX61" fmla="*/ 454047 w 481364"/>
                <a:gd name="connsiteY61" fmla="*/ 124114 h 377355"/>
                <a:gd name="connsiteX62" fmla="*/ 447830 w 481364"/>
                <a:gd name="connsiteY62" fmla="*/ 122535 h 377355"/>
                <a:gd name="connsiteX63" fmla="*/ 443685 w 481364"/>
                <a:gd name="connsiteY63" fmla="*/ 122535 h 377355"/>
                <a:gd name="connsiteX64" fmla="*/ 437468 w 481364"/>
                <a:gd name="connsiteY64" fmla="*/ 125742 h 377355"/>
                <a:gd name="connsiteX65" fmla="*/ 427058 w 481364"/>
                <a:gd name="connsiteY65" fmla="*/ 127321 h 377355"/>
                <a:gd name="connsiteX66" fmla="*/ 416696 w 481364"/>
                <a:gd name="connsiteY66" fmla="*/ 125742 h 377355"/>
                <a:gd name="connsiteX67" fmla="*/ 412552 w 481364"/>
                <a:gd name="connsiteY67" fmla="*/ 125742 h 377355"/>
                <a:gd name="connsiteX68" fmla="*/ 420890 w 481364"/>
                <a:gd name="connsiteY68" fmla="*/ 124114 h 377355"/>
                <a:gd name="connsiteX69" fmla="*/ 425034 w 481364"/>
                <a:gd name="connsiteY69" fmla="*/ 125742 h 377355"/>
                <a:gd name="connsiteX70" fmla="*/ 431251 w 481364"/>
                <a:gd name="connsiteY70" fmla="*/ 122535 h 377355"/>
                <a:gd name="connsiteX71" fmla="*/ 433324 w 481364"/>
                <a:gd name="connsiteY71" fmla="*/ 117601 h 377355"/>
                <a:gd name="connsiteX72" fmla="*/ 441613 w 481364"/>
                <a:gd name="connsiteY72" fmla="*/ 112667 h 377355"/>
                <a:gd name="connsiteX73" fmla="*/ 441613 w 481364"/>
                <a:gd name="connsiteY73" fmla="*/ 109459 h 377355"/>
                <a:gd name="connsiteX74" fmla="*/ 437468 w 481364"/>
                <a:gd name="connsiteY74" fmla="*/ 106252 h 377355"/>
                <a:gd name="connsiteX75" fmla="*/ 437468 w 481364"/>
                <a:gd name="connsiteY75" fmla="*/ 104673 h 377355"/>
                <a:gd name="connsiteX76" fmla="*/ 435396 w 481364"/>
                <a:gd name="connsiteY76" fmla="*/ 99739 h 377355"/>
                <a:gd name="connsiteX77" fmla="*/ 427058 w 481364"/>
                <a:gd name="connsiteY77" fmla="*/ 94805 h 377355"/>
                <a:gd name="connsiteX78" fmla="*/ 414624 w 481364"/>
                <a:gd name="connsiteY78" fmla="*/ 91598 h 377355"/>
                <a:gd name="connsiteX79" fmla="*/ 410479 w 481364"/>
                <a:gd name="connsiteY79" fmla="*/ 88391 h 377355"/>
                <a:gd name="connsiteX80" fmla="*/ 406335 w 481364"/>
                <a:gd name="connsiteY80" fmla="*/ 86812 h 377355"/>
                <a:gd name="connsiteX81" fmla="*/ 400068 w 481364"/>
                <a:gd name="connsiteY81" fmla="*/ 86812 h 377355"/>
                <a:gd name="connsiteX82" fmla="*/ 395973 w 481364"/>
                <a:gd name="connsiteY82" fmla="*/ 83605 h 377355"/>
                <a:gd name="connsiteX83" fmla="*/ 389707 w 481364"/>
                <a:gd name="connsiteY83" fmla="*/ 80398 h 377355"/>
                <a:gd name="connsiteX84" fmla="*/ 385562 w 481364"/>
                <a:gd name="connsiteY84" fmla="*/ 80398 h 377355"/>
                <a:gd name="connsiteX85" fmla="*/ 385562 w 481364"/>
                <a:gd name="connsiteY85" fmla="*/ 86812 h 377355"/>
                <a:gd name="connsiteX86" fmla="*/ 381418 w 481364"/>
                <a:gd name="connsiteY86" fmla="*/ 80398 h 377355"/>
                <a:gd name="connsiteX87" fmla="*/ 379346 w 481364"/>
                <a:gd name="connsiteY87" fmla="*/ 73984 h 377355"/>
                <a:gd name="connsiteX88" fmla="*/ 371056 w 481364"/>
                <a:gd name="connsiteY88" fmla="*/ 72454 h 377355"/>
                <a:gd name="connsiteX89" fmla="*/ 368984 w 481364"/>
                <a:gd name="connsiteY89" fmla="*/ 67520 h 377355"/>
                <a:gd name="connsiteX90" fmla="*/ 373129 w 481364"/>
                <a:gd name="connsiteY90" fmla="*/ 65941 h 377355"/>
                <a:gd name="connsiteX91" fmla="*/ 389707 w 481364"/>
                <a:gd name="connsiteY91" fmla="*/ 65941 h 377355"/>
                <a:gd name="connsiteX92" fmla="*/ 395973 w 481364"/>
                <a:gd name="connsiteY92" fmla="*/ 62734 h 377355"/>
                <a:gd name="connsiteX93" fmla="*/ 404262 w 481364"/>
                <a:gd name="connsiteY93" fmla="*/ 61155 h 377355"/>
                <a:gd name="connsiteX94" fmla="*/ 406335 w 481364"/>
                <a:gd name="connsiteY94" fmla="*/ 56221 h 377355"/>
                <a:gd name="connsiteX95" fmla="*/ 395973 w 481364"/>
                <a:gd name="connsiteY95" fmla="*/ 57800 h 377355"/>
                <a:gd name="connsiteX96" fmla="*/ 381171 w 481364"/>
                <a:gd name="connsiteY96" fmla="*/ 54593 h 377355"/>
                <a:gd name="connsiteX97" fmla="*/ 368737 w 481364"/>
                <a:gd name="connsiteY97" fmla="*/ 56221 h 377355"/>
                <a:gd name="connsiteX98" fmla="*/ 360448 w 481364"/>
                <a:gd name="connsiteY98" fmla="*/ 56221 h 377355"/>
                <a:gd name="connsiteX99" fmla="*/ 345942 w 481364"/>
                <a:gd name="connsiteY99" fmla="*/ 61155 h 377355"/>
                <a:gd name="connsiteX100" fmla="*/ 339676 w 481364"/>
                <a:gd name="connsiteY100" fmla="*/ 59527 h 377355"/>
                <a:gd name="connsiteX101" fmla="*/ 333459 w 481364"/>
                <a:gd name="connsiteY101" fmla="*/ 59527 h 377355"/>
                <a:gd name="connsiteX102" fmla="*/ 321025 w 481364"/>
                <a:gd name="connsiteY102" fmla="*/ 67520 h 377355"/>
                <a:gd name="connsiteX103" fmla="*/ 312687 w 481364"/>
                <a:gd name="connsiteY103" fmla="*/ 69148 h 377355"/>
                <a:gd name="connsiteX104" fmla="*/ 304398 w 481364"/>
                <a:gd name="connsiteY104" fmla="*/ 72355 h 377355"/>
                <a:gd name="connsiteX105" fmla="*/ 302325 w 481364"/>
                <a:gd name="connsiteY105" fmla="*/ 75513 h 377355"/>
                <a:gd name="connsiteX106" fmla="*/ 291964 w 481364"/>
                <a:gd name="connsiteY106" fmla="*/ 77092 h 377355"/>
                <a:gd name="connsiteX107" fmla="*/ 287819 w 481364"/>
                <a:gd name="connsiteY107" fmla="*/ 78720 h 377355"/>
                <a:gd name="connsiteX108" fmla="*/ 283675 w 481364"/>
                <a:gd name="connsiteY108" fmla="*/ 77092 h 377355"/>
                <a:gd name="connsiteX109" fmla="*/ 267047 w 481364"/>
                <a:gd name="connsiteY109" fmla="*/ 67520 h 377355"/>
                <a:gd name="connsiteX110" fmla="*/ 264974 w 481364"/>
                <a:gd name="connsiteY110" fmla="*/ 62586 h 377355"/>
                <a:gd name="connsiteX111" fmla="*/ 242179 w 481364"/>
                <a:gd name="connsiteY111" fmla="*/ 62586 h 377355"/>
                <a:gd name="connsiteX112" fmla="*/ 206852 w 481364"/>
                <a:gd name="connsiteY112" fmla="*/ 67520 h 377355"/>
                <a:gd name="connsiteX113" fmla="*/ 190273 w 481364"/>
                <a:gd name="connsiteY113" fmla="*/ 67520 h 377355"/>
                <a:gd name="connsiteX114" fmla="*/ 184056 w 481364"/>
                <a:gd name="connsiteY114" fmla="*/ 65941 h 377355"/>
                <a:gd name="connsiteX115" fmla="*/ 181984 w 481364"/>
                <a:gd name="connsiteY115" fmla="*/ 61007 h 377355"/>
                <a:gd name="connsiteX116" fmla="*/ 181984 w 481364"/>
                <a:gd name="connsiteY116" fmla="*/ 54593 h 377355"/>
                <a:gd name="connsiteX117" fmla="*/ 186129 w 481364"/>
                <a:gd name="connsiteY117" fmla="*/ 54593 h 377355"/>
                <a:gd name="connsiteX118" fmla="*/ 186129 w 481364"/>
                <a:gd name="connsiteY118" fmla="*/ 48228 h 377355"/>
                <a:gd name="connsiteX119" fmla="*/ 177839 w 481364"/>
                <a:gd name="connsiteY119" fmla="*/ 40235 h 377355"/>
                <a:gd name="connsiteX120" fmla="*/ 171623 w 481364"/>
                <a:gd name="connsiteY120" fmla="*/ 38656 h 377355"/>
                <a:gd name="connsiteX121" fmla="*/ 154995 w 481364"/>
                <a:gd name="connsiteY121" fmla="*/ 40235 h 377355"/>
                <a:gd name="connsiteX122" fmla="*/ 146706 w 481364"/>
                <a:gd name="connsiteY122" fmla="*/ 37028 h 377355"/>
                <a:gd name="connsiteX123" fmla="*/ 140489 w 481364"/>
                <a:gd name="connsiteY123" fmla="*/ 35449 h 377355"/>
                <a:gd name="connsiteX124" fmla="*/ 136344 w 481364"/>
                <a:gd name="connsiteY124" fmla="*/ 37028 h 377355"/>
                <a:gd name="connsiteX125" fmla="*/ 130078 w 481364"/>
                <a:gd name="connsiteY125" fmla="*/ 29035 h 377355"/>
                <a:gd name="connsiteX126" fmla="*/ 130078 w 481364"/>
                <a:gd name="connsiteY126" fmla="*/ 21042 h 377355"/>
                <a:gd name="connsiteX127" fmla="*/ 128006 w 481364"/>
                <a:gd name="connsiteY127" fmla="*/ 11469 h 377355"/>
                <a:gd name="connsiteX128" fmla="*/ 123861 w 481364"/>
                <a:gd name="connsiteY128" fmla="*/ 9891 h 377355"/>
                <a:gd name="connsiteX129" fmla="*/ 113500 w 481364"/>
                <a:gd name="connsiteY129" fmla="*/ 13098 h 377355"/>
                <a:gd name="connsiteX130" fmla="*/ 105211 w 481364"/>
                <a:gd name="connsiteY130" fmla="*/ 22670 h 377355"/>
                <a:gd name="connsiteX131" fmla="*/ 107283 w 481364"/>
                <a:gd name="connsiteY131" fmla="*/ 30663 h 377355"/>
                <a:gd name="connsiteX132" fmla="*/ 109355 w 481364"/>
                <a:gd name="connsiteY132" fmla="*/ 32242 h 377355"/>
                <a:gd name="connsiteX133" fmla="*/ 117644 w 481364"/>
                <a:gd name="connsiteY133" fmla="*/ 29035 h 377355"/>
                <a:gd name="connsiteX134" fmla="*/ 123861 w 481364"/>
                <a:gd name="connsiteY134" fmla="*/ 30663 h 377355"/>
                <a:gd name="connsiteX135" fmla="*/ 130078 w 481364"/>
                <a:gd name="connsiteY135" fmla="*/ 35597 h 377355"/>
                <a:gd name="connsiteX136" fmla="*/ 128006 w 481364"/>
                <a:gd name="connsiteY136" fmla="*/ 38804 h 377355"/>
                <a:gd name="connsiteX137" fmla="*/ 121838 w 481364"/>
                <a:gd name="connsiteY137" fmla="*/ 40383 h 377355"/>
                <a:gd name="connsiteX138" fmla="*/ 115572 w 481364"/>
                <a:gd name="connsiteY138" fmla="*/ 37176 h 377355"/>
                <a:gd name="connsiteX139" fmla="*/ 111427 w 481364"/>
                <a:gd name="connsiteY139" fmla="*/ 35597 h 377355"/>
                <a:gd name="connsiteX140" fmla="*/ 109355 w 481364"/>
                <a:gd name="connsiteY140" fmla="*/ 37176 h 377355"/>
                <a:gd name="connsiteX141" fmla="*/ 109355 w 481364"/>
                <a:gd name="connsiteY141" fmla="*/ 40383 h 377355"/>
                <a:gd name="connsiteX142" fmla="*/ 101066 w 481364"/>
                <a:gd name="connsiteY142" fmla="*/ 43541 h 377355"/>
                <a:gd name="connsiteX143" fmla="*/ 84438 w 481364"/>
                <a:gd name="connsiteY143" fmla="*/ 46797 h 377355"/>
                <a:gd name="connsiteX144" fmla="*/ 70524 w 481364"/>
                <a:gd name="connsiteY144" fmla="*/ 52767 h 377355"/>
                <a:gd name="connsiteX145" fmla="*/ 64307 w 481364"/>
                <a:gd name="connsiteY145" fmla="*/ 59182 h 377355"/>
                <a:gd name="connsiteX146" fmla="*/ 64307 w 481364"/>
                <a:gd name="connsiteY146" fmla="*/ 64116 h 377355"/>
                <a:gd name="connsiteX147" fmla="*/ 68452 w 481364"/>
                <a:gd name="connsiteY147" fmla="*/ 70530 h 377355"/>
                <a:gd name="connsiteX148" fmla="*/ 68452 w 481364"/>
                <a:gd name="connsiteY148" fmla="*/ 81681 h 377355"/>
                <a:gd name="connsiteX149" fmla="*/ 70524 w 481364"/>
                <a:gd name="connsiteY149" fmla="*/ 91253 h 377355"/>
                <a:gd name="connsiteX150" fmla="*/ 74669 w 481364"/>
                <a:gd name="connsiteY150" fmla="*/ 97667 h 377355"/>
                <a:gd name="connsiteX151" fmla="*/ 68353 w 481364"/>
                <a:gd name="connsiteY151" fmla="*/ 107042 h 377355"/>
                <a:gd name="connsiteX152" fmla="*/ 55870 w 481364"/>
                <a:gd name="connsiteY152" fmla="*/ 113456 h 377355"/>
                <a:gd name="connsiteX153" fmla="*/ 49653 w 481364"/>
                <a:gd name="connsiteY153" fmla="*/ 111828 h 377355"/>
                <a:gd name="connsiteX154" fmla="*/ 49653 w 481364"/>
                <a:gd name="connsiteY154" fmla="*/ 103884 h 377355"/>
                <a:gd name="connsiteX155" fmla="*/ 43436 w 481364"/>
                <a:gd name="connsiteY155" fmla="*/ 95891 h 377355"/>
                <a:gd name="connsiteX156" fmla="*/ 41364 w 481364"/>
                <a:gd name="connsiteY156" fmla="*/ 89477 h 377355"/>
                <a:gd name="connsiteX157" fmla="*/ 47581 w 481364"/>
                <a:gd name="connsiteY157" fmla="*/ 84543 h 377355"/>
                <a:gd name="connsiteX158" fmla="*/ 47581 w 481364"/>
                <a:gd name="connsiteY158" fmla="*/ 81335 h 377355"/>
                <a:gd name="connsiteX159" fmla="*/ 62136 w 481364"/>
                <a:gd name="connsiteY159" fmla="*/ 70185 h 377355"/>
                <a:gd name="connsiteX160" fmla="*/ 62136 w 481364"/>
                <a:gd name="connsiteY160" fmla="*/ 60317 h 377355"/>
                <a:gd name="connsiteX161" fmla="*/ 57992 w 481364"/>
                <a:gd name="connsiteY161" fmla="*/ 53951 h 377355"/>
                <a:gd name="connsiteX162" fmla="*/ 57992 w 481364"/>
                <a:gd name="connsiteY162" fmla="*/ 47587 h 377355"/>
                <a:gd name="connsiteX163" fmla="*/ 51726 w 481364"/>
                <a:gd name="connsiteY163" fmla="*/ 44330 h 377355"/>
                <a:gd name="connsiteX164" fmla="*/ 49653 w 481364"/>
                <a:gd name="connsiteY164" fmla="*/ 37965 h 377355"/>
                <a:gd name="connsiteX165" fmla="*/ 49653 w 481364"/>
                <a:gd name="connsiteY165" fmla="*/ 34807 h 377355"/>
                <a:gd name="connsiteX166" fmla="*/ 57992 w 481364"/>
                <a:gd name="connsiteY166" fmla="*/ 31600 h 377355"/>
                <a:gd name="connsiteX167" fmla="*/ 68353 w 481364"/>
                <a:gd name="connsiteY167" fmla="*/ 29972 h 377355"/>
                <a:gd name="connsiteX168" fmla="*/ 74570 w 481364"/>
                <a:gd name="connsiteY168" fmla="*/ 21979 h 377355"/>
                <a:gd name="connsiteX169" fmla="*/ 70524 w 481364"/>
                <a:gd name="connsiteY169" fmla="*/ 21979 h 377355"/>
                <a:gd name="connsiteX170" fmla="*/ 68452 w 481364"/>
                <a:gd name="connsiteY170" fmla="*/ 23607 h 377355"/>
                <a:gd name="connsiteX171" fmla="*/ 51824 w 481364"/>
                <a:gd name="connsiteY171" fmla="*/ 29972 h 377355"/>
                <a:gd name="connsiteX172" fmla="*/ 39390 w 481364"/>
                <a:gd name="connsiteY172" fmla="*/ 42751 h 377355"/>
                <a:gd name="connsiteX173" fmla="*/ 37318 w 481364"/>
                <a:gd name="connsiteY173" fmla="*/ 47685 h 377355"/>
                <a:gd name="connsiteX174" fmla="*/ 31052 w 481364"/>
                <a:gd name="connsiteY174" fmla="*/ 47685 h 377355"/>
                <a:gd name="connsiteX175" fmla="*/ 24786 w 481364"/>
                <a:gd name="connsiteY175" fmla="*/ 55629 h 377355"/>
                <a:gd name="connsiteX176" fmla="*/ 18569 w 481364"/>
                <a:gd name="connsiteY176" fmla="*/ 58836 h 377355"/>
                <a:gd name="connsiteX177" fmla="*/ 8207 w 481364"/>
                <a:gd name="connsiteY177" fmla="*/ 73244 h 377355"/>
                <a:gd name="connsiteX178" fmla="*/ 6135 w 481364"/>
                <a:gd name="connsiteY178" fmla="*/ 79608 h 377355"/>
                <a:gd name="connsiteX179" fmla="*/ 8207 w 481364"/>
                <a:gd name="connsiteY179" fmla="*/ 84543 h 377355"/>
                <a:gd name="connsiteX180" fmla="*/ 6135 w 481364"/>
                <a:gd name="connsiteY180" fmla="*/ 95743 h 377355"/>
                <a:gd name="connsiteX181" fmla="*/ 1990 w 481364"/>
                <a:gd name="connsiteY181" fmla="*/ 105315 h 377355"/>
                <a:gd name="connsiteX182" fmla="*/ -82 w 481364"/>
                <a:gd name="connsiteY182" fmla="*/ 108472 h 377355"/>
                <a:gd name="connsiteX183" fmla="*/ 12401 w 481364"/>
                <a:gd name="connsiteY183" fmla="*/ 108472 h 377355"/>
                <a:gd name="connsiteX184" fmla="*/ 26907 w 481364"/>
                <a:gd name="connsiteY184" fmla="*/ 130824 h 377355"/>
                <a:gd name="connsiteX185" fmla="*/ 33124 w 481364"/>
                <a:gd name="connsiteY185" fmla="*/ 138817 h 377355"/>
                <a:gd name="connsiteX186" fmla="*/ 33124 w 481364"/>
                <a:gd name="connsiteY186" fmla="*/ 143751 h 377355"/>
                <a:gd name="connsiteX187" fmla="*/ 31052 w 481364"/>
                <a:gd name="connsiteY187" fmla="*/ 151744 h 377355"/>
                <a:gd name="connsiteX188" fmla="*/ 31052 w 481364"/>
                <a:gd name="connsiteY188" fmla="*/ 154902 h 377355"/>
                <a:gd name="connsiteX189" fmla="*/ 28930 w 481364"/>
                <a:gd name="connsiteY189" fmla="*/ 158109 h 377355"/>
                <a:gd name="connsiteX190" fmla="*/ 28930 w 481364"/>
                <a:gd name="connsiteY190" fmla="*/ 163043 h 377355"/>
                <a:gd name="connsiteX191" fmla="*/ 37269 w 481364"/>
                <a:gd name="connsiteY191" fmla="*/ 169408 h 377355"/>
                <a:gd name="connsiteX192" fmla="*/ 47630 w 481364"/>
                <a:gd name="connsiteY192" fmla="*/ 172615 h 377355"/>
                <a:gd name="connsiteX193" fmla="*/ 53897 w 481364"/>
                <a:gd name="connsiteY193" fmla="*/ 174243 h 377355"/>
                <a:gd name="connsiteX194" fmla="*/ 60064 w 481364"/>
                <a:gd name="connsiteY194" fmla="*/ 175822 h 377355"/>
                <a:gd name="connsiteX195" fmla="*/ 66281 w 481364"/>
                <a:gd name="connsiteY195" fmla="*/ 174243 h 377355"/>
                <a:gd name="connsiteX196" fmla="*/ 76692 w 481364"/>
                <a:gd name="connsiteY196" fmla="*/ 174243 h 377355"/>
                <a:gd name="connsiteX197" fmla="*/ 84981 w 481364"/>
                <a:gd name="connsiteY197" fmla="*/ 175822 h 377355"/>
                <a:gd name="connsiteX198" fmla="*/ 87053 w 481364"/>
                <a:gd name="connsiteY198" fmla="*/ 174243 h 377355"/>
                <a:gd name="connsiteX199" fmla="*/ 97415 w 481364"/>
                <a:gd name="connsiteY199" fmla="*/ 172615 h 377355"/>
                <a:gd name="connsiteX200" fmla="*/ 109898 w 481364"/>
                <a:gd name="connsiteY200" fmla="*/ 174243 h 377355"/>
                <a:gd name="connsiteX201" fmla="*/ 116115 w 481364"/>
                <a:gd name="connsiteY201" fmla="*/ 177401 h 377355"/>
                <a:gd name="connsiteX202" fmla="*/ 143104 w 481364"/>
                <a:gd name="connsiteY202" fmla="*/ 199802 h 377355"/>
                <a:gd name="connsiteX203" fmla="*/ 153465 w 481364"/>
                <a:gd name="connsiteY203" fmla="*/ 198173 h 377355"/>
                <a:gd name="connsiteX204" fmla="*/ 155538 w 481364"/>
                <a:gd name="connsiteY204" fmla="*/ 199802 h 377355"/>
                <a:gd name="connsiteX205" fmla="*/ 157610 w 481364"/>
                <a:gd name="connsiteY205" fmla="*/ 199802 h 377355"/>
                <a:gd name="connsiteX206" fmla="*/ 165899 w 481364"/>
                <a:gd name="connsiteY206" fmla="*/ 201380 h 377355"/>
                <a:gd name="connsiteX207" fmla="*/ 170044 w 481364"/>
                <a:gd name="connsiteY207" fmla="*/ 202959 h 377355"/>
                <a:gd name="connsiteX208" fmla="*/ 176310 w 481364"/>
                <a:gd name="connsiteY208" fmla="*/ 199802 h 377355"/>
                <a:gd name="connsiteX209" fmla="*/ 184599 w 481364"/>
                <a:gd name="connsiteY209" fmla="*/ 199802 h 377355"/>
                <a:gd name="connsiteX210" fmla="*/ 192888 w 481364"/>
                <a:gd name="connsiteY210" fmla="*/ 201380 h 377355"/>
                <a:gd name="connsiteX211" fmla="*/ 194960 w 481364"/>
                <a:gd name="connsiteY211" fmla="*/ 199802 h 377355"/>
                <a:gd name="connsiteX212" fmla="*/ 201227 w 481364"/>
                <a:gd name="connsiteY212" fmla="*/ 198173 h 377355"/>
                <a:gd name="connsiteX213" fmla="*/ 207394 w 481364"/>
                <a:gd name="connsiteY213" fmla="*/ 201380 h 377355"/>
                <a:gd name="connsiteX214" fmla="*/ 209516 w 481364"/>
                <a:gd name="connsiteY214" fmla="*/ 212581 h 377355"/>
                <a:gd name="connsiteX215" fmla="*/ 207394 w 481364"/>
                <a:gd name="connsiteY215" fmla="*/ 218946 h 377355"/>
                <a:gd name="connsiteX216" fmla="*/ 207394 w 481364"/>
                <a:gd name="connsiteY216" fmla="*/ 223880 h 377355"/>
                <a:gd name="connsiteX217" fmla="*/ 205371 w 481364"/>
                <a:gd name="connsiteY217" fmla="*/ 227087 h 377355"/>
                <a:gd name="connsiteX218" fmla="*/ 197033 w 481364"/>
                <a:gd name="connsiteY218" fmla="*/ 230294 h 377355"/>
                <a:gd name="connsiteX219" fmla="*/ 192888 w 481364"/>
                <a:gd name="connsiteY219" fmla="*/ 233452 h 377355"/>
                <a:gd name="connsiteX220" fmla="*/ 194960 w 481364"/>
                <a:gd name="connsiteY220" fmla="*/ 244652 h 377355"/>
                <a:gd name="connsiteX221" fmla="*/ 194960 w 481364"/>
                <a:gd name="connsiteY221" fmla="*/ 249586 h 377355"/>
                <a:gd name="connsiteX222" fmla="*/ 192888 w 481364"/>
                <a:gd name="connsiteY222" fmla="*/ 255951 h 377355"/>
                <a:gd name="connsiteX223" fmla="*/ 192888 w 481364"/>
                <a:gd name="connsiteY223" fmla="*/ 267151 h 377355"/>
                <a:gd name="connsiteX224" fmla="*/ 197033 w 481364"/>
                <a:gd name="connsiteY224" fmla="*/ 272085 h 377355"/>
                <a:gd name="connsiteX225" fmla="*/ 197033 w 481364"/>
                <a:gd name="connsiteY225" fmla="*/ 274799 h 377355"/>
                <a:gd name="connsiteX226" fmla="*/ 205371 w 481364"/>
                <a:gd name="connsiteY226" fmla="*/ 290785 h 377355"/>
                <a:gd name="connsiteX227" fmla="*/ 192888 w 481364"/>
                <a:gd name="connsiteY227" fmla="*/ 308350 h 377355"/>
                <a:gd name="connsiteX228" fmla="*/ 192888 w 481364"/>
                <a:gd name="connsiteY228" fmla="*/ 313284 h 377355"/>
                <a:gd name="connsiteX229" fmla="*/ 197033 w 481364"/>
                <a:gd name="connsiteY229" fmla="*/ 314863 h 377355"/>
                <a:gd name="connsiteX230" fmla="*/ 201227 w 481364"/>
                <a:gd name="connsiteY230" fmla="*/ 311656 h 377355"/>
                <a:gd name="connsiteX231" fmla="*/ 203250 w 481364"/>
                <a:gd name="connsiteY231" fmla="*/ 313284 h 377355"/>
                <a:gd name="connsiteX232" fmla="*/ 203250 w 481364"/>
                <a:gd name="connsiteY232" fmla="*/ 318218 h 377355"/>
                <a:gd name="connsiteX233" fmla="*/ 207394 w 481364"/>
                <a:gd name="connsiteY233" fmla="*/ 319797 h 377355"/>
                <a:gd name="connsiteX234" fmla="*/ 211588 w 481364"/>
                <a:gd name="connsiteY234" fmla="*/ 326211 h 377355"/>
                <a:gd name="connsiteX235" fmla="*/ 209516 w 481364"/>
                <a:gd name="connsiteY235" fmla="*/ 329369 h 377355"/>
                <a:gd name="connsiteX236" fmla="*/ 213661 w 481364"/>
                <a:gd name="connsiteY236" fmla="*/ 337362 h 377355"/>
                <a:gd name="connsiteX237" fmla="*/ 219878 w 481364"/>
                <a:gd name="connsiteY237" fmla="*/ 353349 h 377355"/>
                <a:gd name="connsiteX238" fmla="*/ 221950 w 481364"/>
                <a:gd name="connsiteY238" fmla="*/ 359714 h 377355"/>
                <a:gd name="connsiteX239" fmla="*/ 174139 w 481364"/>
                <a:gd name="connsiteY239" fmla="*/ 9743 h 377355"/>
                <a:gd name="connsiteX240" fmla="*/ 180356 w 481364"/>
                <a:gd name="connsiteY240" fmla="*/ 9743 h 377355"/>
                <a:gd name="connsiteX241" fmla="*/ 186573 w 481364"/>
                <a:gd name="connsiteY241" fmla="*/ 14677 h 377355"/>
                <a:gd name="connsiteX242" fmla="*/ 184500 w 481364"/>
                <a:gd name="connsiteY242" fmla="*/ 19611 h 377355"/>
                <a:gd name="connsiteX243" fmla="*/ 180356 w 481364"/>
                <a:gd name="connsiteY243" fmla="*/ 16404 h 377355"/>
                <a:gd name="connsiteX244" fmla="*/ 176211 w 481364"/>
                <a:gd name="connsiteY244" fmla="*/ 14825 h 377355"/>
                <a:gd name="connsiteX245" fmla="*/ 149469 w 481364"/>
                <a:gd name="connsiteY245" fmla="*/ 6535 h 377355"/>
                <a:gd name="connsiteX246" fmla="*/ 155686 w 481364"/>
                <a:gd name="connsiteY246" fmla="*/ 12900 h 377355"/>
                <a:gd name="connsiteX247" fmla="*/ 161903 w 481364"/>
                <a:gd name="connsiteY247" fmla="*/ 14529 h 377355"/>
                <a:gd name="connsiteX248" fmla="*/ 159830 w 481364"/>
                <a:gd name="connsiteY248" fmla="*/ 17736 h 377355"/>
                <a:gd name="connsiteX249" fmla="*/ 151541 w 481364"/>
                <a:gd name="connsiteY249" fmla="*/ 16107 h 377355"/>
                <a:gd name="connsiteX250" fmla="*/ 147397 w 481364"/>
                <a:gd name="connsiteY250" fmla="*/ 9743 h 377355"/>
                <a:gd name="connsiteX251" fmla="*/ 116263 w 481364"/>
                <a:gd name="connsiteY251" fmla="*/ 121 h 377355"/>
                <a:gd name="connsiteX252" fmla="*/ 120407 w 481364"/>
                <a:gd name="connsiteY252" fmla="*/ 6535 h 377355"/>
                <a:gd name="connsiteX253" fmla="*/ 126674 w 481364"/>
                <a:gd name="connsiteY253" fmla="*/ 4907 h 377355"/>
                <a:gd name="connsiteX254" fmla="*/ 120407 w 481364"/>
                <a:gd name="connsiteY254" fmla="*/ -27 h 377355"/>
                <a:gd name="connsiteX255" fmla="*/ 317226 w 481364"/>
                <a:gd name="connsiteY255" fmla="*/ 52767 h 377355"/>
                <a:gd name="connsiteX256" fmla="*/ 325564 w 481364"/>
                <a:gd name="connsiteY256" fmla="*/ 47833 h 377355"/>
                <a:gd name="connsiteX257" fmla="*/ 327637 w 481364"/>
                <a:gd name="connsiteY257" fmla="*/ 50991 h 377355"/>
                <a:gd name="connsiteX258" fmla="*/ 340071 w 481364"/>
                <a:gd name="connsiteY258" fmla="*/ 44577 h 377355"/>
                <a:gd name="connsiteX259" fmla="*/ 342192 w 481364"/>
                <a:gd name="connsiteY259" fmla="*/ 49511 h 377355"/>
                <a:gd name="connsiteX260" fmla="*/ 335926 w 481364"/>
                <a:gd name="connsiteY260" fmla="*/ 54445 h 377355"/>
                <a:gd name="connsiteX261" fmla="*/ 329709 w 481364"/>
                <a:gd name="connsiteY261" fmla="*/ 52817 h 377355"/>
                <a:gd name="connsiteX262" fmla="*/ 321420 w 481364"/>
                <a:gd name="connsiteY262" fmla="*/ 54445 h 3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481364" h="377355">
                  <a:moveTo>
                    <a:pt x="221900" y="359467"/>
                  </a:moveTo>
                  <a:lnTo>
                    <a:pt x="234334" y="367460"/>
                  </a:lnTo>
                  <a:lnTo>
                    <a:pt x="248840" y="377328"/>
                  </a:lnTo>
                  <a:lnTo>
                    <a:pt x="271685" y="377328"/>
                  </a:lnTo>
                  <a:lnTo>
                    <a:pt x="279974" y="367460"/>
                  </a:lnTo>
                  <a:lnTo>
                    <a:pt x="292457" y="361095"/>
                  </a:lnTo>
                  <a:lnTo>
                    <a:pt x="298674" y="354730"/>
                  </a:lnTo>
                  <a:lnTo>
                    <a:pt x="317325" y="346737"/>
                  </a:lnTo>
                  <a:lnTo>
                    <a:pt x="321519" y="338744"/>
                  </a:lnTo>
                  <a:lnTo>
                    <a:pt x="325663" y="333810"/>
                  </a:lnTo>
                  <a:lnTo>
                    <a:pt x="344314" y="330652"/>
                  </a:lnTo>
                  <a:lnTo>
                    <a:pt x="352652" y="327445"/>
                  </a:lnTo>
                  <a:lnTo>
                    <a:pt x="350531" y="321080"/>
                  </a:lnTo>
                  <a:lnTo>
                    <a:pt x="340169" y="319452"/>
                  </a:lnTo>
                  <a:lnTo>
                    <a:pt x="327735" y="321080"/>
                  </a:lnTo>
                  <a:lnTo>
                    <a:pt x="311157" y="316146"/>
                  </a:lnTo>
                  <a:lnTo>
                    <a:pt x="313180" y="304946"/>
                  </a:lnTo>
                  <a:lnTo>
                    <a:pt x="311157" y="298581"/>
                  </a:lnTo>
                  <a:lnTo>
                    <a:pt x="319446" y="285802"/>
                  </a:lnTo>
                  <a:lnTo>
                    <a:pt x="317325" y="280868"/>
                  </a:lnTo>
                  <a:lnTo>
                    <a:pt x="309036" y="274799"/>
                  </a:lnTo>
                  <a:lnTo>
                    <a:pt x="302819" y="271592"/>
                  </a:lnTo>
                  <a:lnTo>
                    <a:pt x="298674" y="263599"/>
                  </a:lnTo>
                  <a:lnTo>
                    <a:pt x="309036" y="266806"/>
                  </a:lnTo>
                  <a:lnTo>
                    <a:pt x="319446" y="268434"/>
                  </a:lnTo>
                  <a:lnTo>
                    <a:pt x="329808" y="273368"/>
                  </a:lnTo>
                  <a:lnTo>
                    <a:pt x="342291" y="273368"/>
                  </a:lnTo>
                  <a:lnTo>
                    <a:pt x="358820" y="271789"/>
                  </a:lnTo>
                  <a:lnTo>
                    <a:pt x="363014" y="273368"/>
                  </a:lnTo>
                  <a:lnTo>
                    <a:pt x="373375" y="270210"/>
                  </a:lnTo>
                  <a:lnTo>
                    <a:pt x="385809" y="262217"/>
                  </a:lnTo>
                  <a:lnTo>
                    <a:pt x="396220" y="260638"/>
                  </a:lnTo>
                  <a:lnTo>
                    <a:pt x="402437" y="263796"/>
                  </a:lnTo>
                  <a:lnTo>
                    <a:pt x="416943" y="257431"/>
                  </a:lnTo>
                  <a:lnTo>
                    <a:pt x="429426" y="255803"/>
                  </a:lnTo>
                  <a:lnTo>
                    <a:pt x="448077" y="244652"/>
                  </a:lnTo>
                  <a:lnTo>
                    <a:pt x="452270" y="238287"/>
                  </a:lnTo>
                  <a:lnTo>
                    <a:pt x="450149" y="230294"/>
                  </a:lnTo>
                  <a:lnTo>
                    <a:pt x="437715" y="220426"/>
                  </a:lnTo>
                  <a:lnTo>
                    <a:pt x="427304" y="210854"/>
                  </a:lnTo>
                  <a:lnTo>
                    <a:pt x="425281" y="202861"/>
                  </a:lnTo>
                  <a:lnTo>
                    <a:pt x="431498" y="196496"/>
                  </a:lnTo>
                  <a:lnTo>
                    <a:pt x="433571" y="186874"/>
                  </a:lnTo>
                  <a:lnTo>
                    <a:pt x="437715" y="181940"/>
                  </a:lnTo>
                  <a:lnTo>
                    <a:pt x="443932" y="185098"/>
                  </a:lnTo>
                  <a:lnTo>
                    <a:pt x="448077" y="181940"/>
                  </a:lnTo>
                  <a:lnTo>
                    <a:pt x="454294" y="185098"/>
                  </a:lnTo>
                  <a:lnTo>
                    <a:pt x="466777" y="180164"/>
                  </a:lnTo>
                  <a:lnTo>
                    <a:pt x="466777" y="172171"/>
                  </a:lnTo>
                  <a:lnTo>
                    <a:pt x="460560" y="168964"/>
                  </a:lnTo>
                  <a:lnTo>
                    <a:pt x="452270" y="167385"/>
                  </a:lnTo>
                  <a:lnTo>
                    <a:pt x="448077" y="160971"/>
                  </a:lnTo>
                  <a:lnTo>
                    <a:pt x="446004" y="157813"/>
                  </a:lnTo>
                  <a:lnTo>
                    <a:pt x="456415" y="146613"/>
                  </a:lnTo>
                  <a:lnTo>
                    <a:pt x="460560" y="148241"/>
                  </a:lnTo>
                  <a:lnTo>
                    <a:pt x="468799" y="143307"/>
                  </a:lnTo>
                  <a:lnTo>
                    <a:pt x="479210" y="132107"/>
                  </a:lnTo>
                  <a:lnTo>
                    <a:pt x="481283" y="128949"/>
                  </a:lnTo>
                  <a:lnTo>
                    <a:pt x="479210" y="128949"/>
                  </a:lnTo>
                  <a:lnTo>
                    <a:pt x="464408" y="122535"/>
                  </a:lnTo>
                  <a:lnTo>
                    <a:pt x="460313" y="122535"/>
                  </a:lnTo>
                  <a:lnTo>
                    <a:pt x="454047" y="124114"/>
                  </a:lnTo>
                  <a:lnTo>
                    <a:pt x="447830" y="122535"/>
                  </a:lnTo>
                  <a:lnTo>
                    <a:pt x="443685" y="122535"/>
                  </a:lnTo>
                  <a:lnTo>
                    <a:pt x="437468" y="125742"/>
                  </a:lnTo>
                  <a:lnTo>
                    <a:pt x="427058" y="127321"/>
                  </a:lnTo>
                  <a:lnTo>
                    <a:pt x="416696" y="125742"/>
                  </a:lnTo>
                  <a:lnTo>
                    <a:pt x="412552" y="125742"/>
                  </a:lnTo>
                  <a:lnTo>
                    <a:pt x="420890" y="124114"/>
                  </a:lnTo>
                  <a:lnTo>
                    <a:pt x="425034" y="125742"/>
                  </a:lnTo>
                  <a:lnTo>
                    <a:pt x="431251" y="122535"/>
                  </a:lnTo>
                  <a:lnTo>
                    <a:pt x="433324" y="117601"/>
                  </a:lnTo>
                  <a:lnTo>
                    <a:pt x="441613" y="112667"/>
                  </a:lnTo>
                  <a:lnTo>
                    <a:pt x="441613" y="109459"/>
                  </a:lnTo>
                  <a:lnTo>
                    <a:pt x="437468" y="106252"/>
                  </a:lnTo>
                  <a:lnTo>
                    <a:pt x="437468" y="104673"/>
                  </a:lnTo>
                  <a:lnTo>
                    <a:pt x="435396" y="99739"/>
                  </a:lnTo>
                  <a:lnTo>
                    <a:pt x="427058" y="94805"/>
                  </a:lnTo>
                  <a:lnTo>
                    <a:pt x="414624" y="91598"/>
                  </a:lnTo>
                  <a:lnTo>
                    <a:pt x="410479" y="88391"/>
                  </a:lnTo>
                  <a:lnTo>
                    <a:pt x="406335" y="86812"/>
                  </a:lnTo>
                  <a:lnTo>
                    <a:pt x="400068" y="86812"/>
                  </a:lnTo>
                  <a:lnTo>
                    <a:pt x="395973" y="83605"/>
                  </a:lnTo>
                  <a:lnTo>
                    <a:pt x="389707" y="80398"/>
                  </a:lnTo>
                  <a:lnTo>
                    <a:pt x="385562" y="80398"/>
                  </a:lnTo>
                  <a:lnTo>
                    <a:pt x="385562" y="86812"/>
                  </a:lnTo>
                  <a:lnTo>
                    <a:pt x="381418" y="80398"/>
                  </a:lnTo>
                  <a:lnTo>
                    <a:pt x="379346" y="73984"/>
                  </a:lnTo>
                  <a:lnTo>
                    <a:pt x="371056" y="72454"/>
                  </a:lnTo>
                  <a:lnTo>
                    <a:pt x="368984" y="67520"/>
                  </a:lnTo>
                  <a:lnTo>
                    <a:pt x="373129" y="65941"/>
                  </a:lnTo>
                  <a:lnTo>
                    <a:pt x="389707" y="65941"/>
                  </a:lnTo>
                  <a:lnTo>
                    <a:pt x="395973" y="62734"/>
                  </a:lnTo>
                  <a:lnTo>
                    <a:pt x="404262" y="61155"/>
                  </a:lnTo>
                  <a:lnTo>
                    <a:pt x="406335" y="56221"/>
                  </a:lnTo>
                  <a:lnTo>
                    <a:pt x="395973" y="57800"/>
                  </a:lnTo>
                  <a:lnTo>
                    <a:pt x="381171" y="54593"/>
                  </a:lnTo>
                  <a:lnTo>
                    <a:pt x="368737" y="56221"/>
                  </a:lnTo>
                  <a:lnTo>
                    <a:pt x="360448" y="56221"/>
                  </a:lnTo>
                  <a:lnTo>
                    <a:pt x="345942" y="61155"/>
                  </a:lnTo>
                  <a:lnTo>
                    <a:pt x="339676" y="59527"/>
                  </a:lnTo>
                  <a:lnTo>
                    <a:pt x="333459" y="59527"/>
                  </a:lnTo>
                  <a:lnTo>
                    <a:pt x="321025" y="67520"/>
                  </a:lnTo>
                  <a:lnTo>
                    <a:pt x="312687" y="69148"/>
                  </a:lnTo>
                  <a:lnTo>
                    <a:pt x="304398" y="72355"/>
                  </a:lnTo>
                  <a:lnTo>
                    <a:pt x="302325" y="75513"/>
                  </a:lnTo>
                  <a:lnTo>
                    <a:pt x="291964" y="77092"/>
                  </a:lnTo>
                  <a:lnTo>
                    <a:pt x="287819" y="78720"/>
                  </a:lnTo>
                  <a:lnTo>
                    <a:pt x="283675" y="77092"/>
                  </a:lnTo>
                  <a:lnTo>
                    <a:pt x="267047" y="67520"/>
                  </a:lnTo>
                  <a:lnTo>
                    <a:pt x="264974" y="62586"/>
                  </a:lnTo>
                  <a:lnTo>
                    <a:pt x="242179" y="62586"/>
                  </a:lnTo>
                  <a:lnTo>
                    <a:pt x="206852" y="67520"/>
                  </a:lnTo>
                  <a:lnTo>
                    <a:pt x="190273" y="67520"/>
                  </a:lnTo>
                  <a:lnTo>
                    <a:pt x="184056" y="65941"/>
                  </a:lnTo>
                  <a:lnTo>
                    <a:pt x="181984" y="61007"/>
                  </a:lnTo>
                  <a:lnTo>
                    <a:pt x="181984" y="54593"/>
                  </a:lnTo>
                  <a:lnTo>
                    <a:pt x="186129" y="54593"/>
                  </a:lnTo>
                  <a:lnTo>
                    <a:pt x="186129" y="48228"/>
                  </a:lnTo>
                  <a:lnTo>
                    <a:pt x="177839" y="40235"/>
                  </a:lnTo>
                  <a:lnTo>
                    <a:pt x="171623" y="38656"/>
                  </a:lnTo>
                  <a:lnTo>
                    <a:pt x="154995" y="40235"/>
                  </a:lnTo>
                  <a:lnTo>
                    <a:pt x="146706" y="37028"/>
                  </a:lnTo>
                  <a:lnTo>
                    <a:pt x="140489" y="35449"/>
                  </a:lnTo>
                  <a:lnTo>
                    <a:pt x="136344" y="37028"/>
                  </a:lnTo>
                  <a:lnTo>
                    <a:pt x="130078" y="29035"/>
                  </a:lnTo>
                  <a:lnTo>
                    <a:pt x="130078" y="21042"/>
                  </a:lnTo>
                  <a:lnTo>
                    <a:pt x="128006" y="11469"/>
                  </a:lnTo>
                  <a:lnTo>
                    <a:pt x="123861" y="9891"/>
                  </a:lnTo>
                  <a:lnTo>
                    <a:pt x="113500" y="13098"/>
                  </a:lnTo>
                  <a:lnTo>
                    <a:pt x="105211" y="22670"/>
                  </a:lnTo>
                  <a:lnTo>
                    <a:pt x="107283" y="30663"/>
                  </a:lnTo>
                  <a:lnTo>
                    <a:pt x="109355" y="32242"/>
                  </a:lnTo>
                  <a:lnTo>
                    <a:pt x="117644" y="29035"/>
                  </a:lnTo>
                  <a:lnTo>
                    <a:pt x="123861" y="30663"/>
                  </a:lnTo>
                  <a:lnTo>
                    <a:pt x="130078" y="35597"/>
                  </a:lnTo>
                  <a:lnTo>
                    <a:pt x="128006" y="38804"/>
                  </a:lnTo>
                  <a:lnTo>
                    <a:pt x="121838" y="40383"/>
                  </a:lnTo>
                  <a:lnTo>
                    <a:pt x="115572" y="37176"/>
                  </a:lnTo>
                  <a:lnTo>
                    <a:pt x="111427" y="35597"/>
                  </a:lnTo>
                  <a:lnTo>
                    <a:pt x="109355" y="37176"/>
                  </a:lnTo>
                  <a:lnTo>
                    <a:pt x="109355" y="40383"/>
                  </a:lnTo>
                  <a:lnTo>
                    <a:pt x="101066" y="43541"/>
                  </a:lnTo>
                  <a:lnTo>
                    <a:pt x="84438" y="46797"/>
                  </a:lnTo>
                  <a:lnTo>
                    <a:pt x="70524" y="52767"/>
                  </a:lnTo>
                  <a:lnTo>
                    <a:pt x="64307" y="59182"/>
                  </a:lnTo>
                  <a:lnTo>
                    <a:pt x="64307" y="64116"/>
                  </a:lnTo>
                  <a:lnTo>
                    <a:pt x="68452" y="70530"/>
                  </a:lnTo>
                  <a:lnTo>
                    <a:pt x="68452" y="81681"/>
                  </a:lnTo>
                  <a:lnTo>
                    <a:pt x="70524" y="91253"/>
                  </a:lnTo>
                  <a:lnTo>
                    <a:pt x="74669" y="97667"/>
                  </a:lnTo>
                  <a:lnTo>
                    <a:pt x="68353" y="107042"/>
                  </a:lnTo>
                  <a:lnTo>
                    <a:pt x="55870" y="113456"/>
                  </a:lnTo>
                  <a:lnTo>
                    <a:pt x="49653" y="111828"/>
                  </a:lnTo>
                  <a:lnTo>
                    <a:pt x="49653" y="103884"/>
                  </a:lnTo>
                  <a:lnTo>
                    <a:pt x="43436" y="95891"/>
                  </a:lnTo>
                  <a:lnTo>
                    <a:pt x="41364" y="89477"/>
                  </a:lnTo>
                  <a:lnTo>
                    <a:pt x="47581" y="84543"/>
                  </a:lnTo>
                  <a:lnTo>
                    <a:pt x="47581" y="81335"/>
                  </a:lnTo>
                  <a:lnTo>
                    <a:pt x="62136" y="70185"/>
                  </a:lnTo>
                  <a:lnTo>
                    <a:pt x="62136" y="60317"/>
                  </a:lnTo>
                  <a:lnTo>
                    <a:pt x="57992" y="53951"/>
                  </a:lnTo>
                  <a:lnTo>
                    <a:pt x="57992" y="47587"/>
                  </a:lnTo>
                  <a:lnTo>
                    <a:pt x="51726" y="44330"/>
                  </a:lnTo>
                  <a:lnTo>
                    <a:pt x="49653" y="37965"/>
                  </a:lnTo>
                  <a:lnTo>
                    <a:pt x="49653" y="34807"/>
                  </a:lnTo>
                  <a:lnTo>
                    <a:pt x="57992" y="31600"/>
                  </a:lnTo>
                  <a:lnTo>
                    <a:pt x="68353" y="29972"/>
                  </a:lnTo>
                  <a:lnTo>
                    <a:pt x="74570" y="21979"/>
                  </a:lnTo>
                  <a:lnTo>
                    <a:pt x="70524" y="21979"/>
                  </a:lnTo>
                  <a:lnTo>
                    <a:pt x="68452" y="23607"/>
                  </a:lnTo>
                  <a:lnTo>
                    <a:pt x="51824" y="29972"/>
                  </a:lnTo>
                  <a:lnTo>
                    <a:pt x="39390" y="42751"/>
                  </a:lnTo>
                  <a:lnTo>
                    <a:pt x="37318" y="47685"/>
                  </a:lnTo>
                  <a:lnTo>
                    <a:pt x="31052" y="47685"/>
                  </a:lnTo>
                  <a:lnTo>
                    <a:pt x="24786" y="55629"/>
                  </a:lnTo>
                  <a:lnTo>
                    <a:pt x="18569" y="58836"/>
                  </a:lnTo>
                  <a:lnTo>
                    <a:pt x="8207" y="73244"/>
                  </a:lnTo>
                  <a:lnTo>
                    <a:pt x="6135" y="79608"/>
                  </a:lnTo>
                  <a:lnTo>
                    <a:pt x="8207" y="84543"/>
                  </a:lnTo>
                  <a:lnTo>
                    <a:pt x="6135" y="95743"/>
                  </a:lnTo>
                  <a:lnTo>
                    <a:pt x="1990" y="105315"/>
                  </a:lnTo>
                  <a:lnTo>
                    <a:pt x="-82" y="108472"/>
                  </a:lnTo>
                  <a:lnTo>
                    <a:pt x="12401" y="108472"/>
                  </a:lnTo>
                  <a:lnTo>
                    <a:pt x="26907" y="130824"/>
                  </a:lnTo>
                  <a:lnTo>
                    <a:pt x="33124" y="138817"/>
                  </a:lnTo>
                  <a:lnTo>
                    <a:pt x="33124" y="143751"/>
                  </a:lnTo>
                  <a:lnTo>
                    <a:pt x="31052" y="151744"/>
                  </a:lnTo>
                  <a:lnTo>
                    <a:pt x="31052" y="154902"/>
                  </a:lnTo>
                  <a:lnTo>
                    <a:pt x="28930" y="158109"/>
                  </a:lnTo>
                  <a:lnTo>
                    <a:pt x="28930" y="163043"/>
                  </a:lnTo>
                  <a:lnTo>
                    <a:pt x="37269" y="169408"/>
                  </a:lnTo>
                  <a:lnTo>
                    <a:pt x="47630" y="172615"/>
                  </a:lnTo>
                  <a:lnTo>
                    <a:pt x="53897" y="174243"/>
                  </a:lnTo>
                  <a:lnTo>
                    <a:pt x="60064" y="175822"/>
                  </a:lnTo>
                  <a:lnTo>
                    <a:pt x="66281" y="174243"/>
                  </a:lnTo>
                  <a:lnTo>
                    <a:pt x="76692" y="174243"/>
                  </a:lnTo>
                  <a:lnTo>
                    <a:pt x="84981" y="175822"/>
                  </a:lnTo>
                  <a:lnTo>
                    <a:pt x="87053" y="174243"/>
                  </a:lnTo>
                  <a:lnTo>
                    <a:pt x="97415" y="172615"/>
                  </a:lnTo>
                  <a:lnTo>
                    <a:pt x="109898" y="174243"/>
                  </a:lnTo>
                  <a:lnTo>
                    <a:pt x="116115" y="177401"/>
                  </a:lnTo>
                  <a:lnTo>
                    <a:pt x="143104" y="199802"/>
                  </a:lnTo>
                  <a:lnTo>
                    <a:pt x="153465" y="198173"/>
                  </a:lnTo>
                  <a:lnTo>
                    <a:pt x="155538" y="199802"/>
                  </a:lnTo>
                  <a:lnTo>
                    <a:pt x="157610" y="199802"/>
                  </a:lnTo>
                  <a:lnTo>
                    <a:pt x="165899" y="201380"/>
                  </a:lnTo>
                  <a:lnTo>
                    <a:pt x="170044" y="202959"/>
                  </a:lnTo>
                  <a:lnTo>
                    <a:pt x="176310" y="199802"/>
                  </a:lnTo>
                  <a:lnTo>
                    <a:pt x="184599" y="199802"/>
                  </a:lnTo>
                  <a:lnTo>
                    <a:pt x="192888" y="201380"/>
                  </a:lnTo>
                  <a:lnTo>
                    <a:pt x="194960" y="199802"/>
                  </a:lnTo>
                  <a:lnTo>
                    <a:pt x="201227" y="198173"/>
                  </a:lnTo>
                  <a:lnTo>
                    <a:pt x="207394" y="201380"/>
                  </a:lnTo>
                  <a:lnTo>
                    <a:pt x="209516" y="212581"/>
                  </a:lnTo>
                  <a:lnTo>
                    <a:pt x="207394" y="218946"/>
                  </a:lnTo>
                  <a:lnTo>
                    <a:pt x="207394" y="223880"/>
                  </a:lnTo>
                  <a:lnTo>
                    <a:pt x="205371" y="227087"/>
                  </a:lnTo>
                  <a:lnTo>
                    <a:pt x="197033" y="230294"/>
                  </a:lnTo>
                  <a:lnTo>
                    <a:pt x="192888" y="233452"/>
                  </a:lnTo>
                  <a:lnTo>
                    <a:pt x="194960" y="244652"/>
                  </a:lnTo>
                  <a:lnTo>
                    <a:pt x="194960" y="249586"/>
                  </a:lnTo>
                  <a:lnTo>
                    <a:pt x="192888" y="255951"/>
                  </a:lnTo>
                  <a:lnTo>
                    <a:pt x="192888" y="267151"/>
                  </a:lnTo>
                  <a:lnTo>
                    <a:pt x="197033" y="272085"/>
                  </a:lnTo>
                  <a:lnTo>
                    <a:pt x="197033" y="274799"/>
                  </a:lnTo>
                  <a:lnTo>
                    <a:pt x="205371" y="290785"/>
                  </a:lnTo>
                  <a:lnTo>
                    <a:pt x="192888" y="308350"/>
                  </a:lnTo>
                  <a:lnTo>
                    <a:pt x="192888" y="313284"/>
                  </a:lnTo>
                  <a:lnTo>
                    <a:pt x="197033" y="314863"/>
                  </a:lnTo>
                  <a:lnTo>
                    <a:pt x="201227" y="311656"/>
                  </a:lnTo>
                  <a:lnTo>
                    <a:pt x="203250" y="313284"/>
                  </a:lnTo>
                  <a:lnTo>
                    <a:pt x="203250" y="318218"/>
                  </a:lnTo>
                  <a:lnTo>
                    <a:pt x="207394" y="319797"/>
                  </a:lnTo>
                  <a:lnTo>
                    <a:pt x="211588" y="326211"/>
                  </a:lnTo>
                  <a:lnTo>
                    <a:pt x="209516" y="329369"/>
                  </a:lnTo>
                  <a:lnTo>
                    <a:pt x="213661" y="337362"/>
                  </a:lnTo>
                  <a:lnTo>
                    <a:pt x="219878" y="353349"/>
                  </a:lnTo>
                  <a:lnTo>
                    <a:pt x="221950" y="359714"/>
                  </a:lnTo>
                  <a:close/>
                  <a:moveTo>
                    <a:pt x="174139" y="9743"/>
                  </a:moveTo>
                  <a:lnTo>
                    <a:pt x="180356" y="9743"/>
                  </a:lnTo>
                  <a:lnTo>
                    <a:pt x="186573" y="14677"/>
                  </a:lnTo>
                  <a:lnTo>
                    <a:pt x="184500" y="19611"/>
                  </a:lnTo>
                  <a:lnTo>
                    <a:pt x="180356" y="16404"/>
                  </a:lnTo>
                  <a:lnTo>
                    <a:pt x="176211" y="14825"/>
                  </a:lnTo>
                  <a:close/>
                  <a:moveTo>
                    <a:pt x="149469" y="6535"/>
                  </a:moveTo>
                  <a:lnTo>
                    <a:pt x="155686" y="12900"/>
                  </a:lnTo>
                  <a:lnTo>
                    <a:pt x="161903" y="14529"/>
                  </a:lnTo>
                  <a:lnTo>
                    <a:pt x="159830" y="17736"/>
                  </a:lnTo>
                  <a:lnTo>
                    <a:pt x="151541" y="16107"/>
                  </a:lnTo>
                  <a:lnTo>
                    <a:pt x="147397" y="9743"/>
                  </a:lnTo>
                  <a:close/>
                  <a:moveTo>
                    <a:pt x="116263" y="121"/>
                  </a:moveTo>
                  <a:lnTo>
                    <a:pt x="120407" y="6535"/>
                  </a:lnTo>
                  <a:lnTo>
                    <a:pt x="126674" y="4907"/>
                  </a:lnTo>
                  <a:lnTo>
                    <a:pt x="120407" y="-27"/>
                  </a:lnTo>
                  <a:close/>
                  <a:moveTo>
                    <a:pt x="317226" y="52767"/>
                  </a:moveTo>
                  <a:lnTo>
                    <a:pt x="325564" y="47833"/>
                  </a:lnTo>
                  <a:lnTo>
                    <a:pt x="327637" y="50991"/>
                  </a:lnTo>
                  <a:lnTo>
                    <a:pt x="340071" y="44577"/>
                  </a:lnTo>
                  <a:lnTo>
                    <a:pt x="342192" y="49511"/>
                  </a:lnTo>
                  <a:lnTo>
                    <a:pt x="335926" y="54445"/>
                  </a:lnTo>
                  <a:lnTo>
                    <a:pt x="329709" y="52817"/>
                  </a:lnTo>
                  <a:lnTo>
                    <a:pt x="321420" y="5444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Graphic 2">
              <a:extLst>
                <a:ext uri="{FF2B5EF4-FFF2-40B4-BE49-F238E27FC236}">
                  <a16:creationId xmlns:a16="http://schemas.microsoft.com/office/drawing/2014/main" id="{5D5EEE8F-9E31-4AE5-8F9A-788CAF187DFC}"/>
                </a:ext>
              </a:extLst>
            </p:cNvPr>
            <p:cNvSpPr/>
            <p:nvPr/>
          </p:nvSpPr>
          <p:spPr>
            <a:xfrm>
              <a:off x="2847866" y="4278714"/>
              <a:ext cx="393484" cy="478053"/>
            </a:xfrm>
            <a:custGeom>
              <a:avLst/>
              <a:gdLst>
                <a:gd name="connsiteX0" fmla="*/ 325120 w 433109"/>
                <a:gd name="connsiteY0" fmla="*/ 526188 h 526214"/>
                <a:gd name="connsiteX1" fmla="*/ 331041 w 433109"/>
                <a:gd name="connsiteY1" fmla="*/ 511040 h 526214"/>
                <a:gd name="connsiteX2" fmla="*/ 348705 w 433109"/>
                <a:gd name="connsiteY2" fmla="*/ 446059 h 526214"/>
                <a:gd name="connsiteX3" fmla="*/ 348705 w 433109"/>
                <a:gd name="connsiteY3" fmla="*/ 441520 h 526214"/>
                <a:gd name="connsiteX4" fmla="*/ 350629 w 433109"/>
                <a:gd name="connsiteY4" fmla="*/ 430912 h 526214"/>
                <a:gd name="connsiteX5" fmla="*/ 340761 w 433109"/>
                <a:gd name="connsiteY5" fmla="*/ 417294 h 526214"/>
                <a:gd name="connsiteX6" fmla="*/ 328969 w 433109"/>
                <a:gd name="connsiteY6" fmla="*/ 409745 h 526214"/>
                <a:gd name="connsiteX7" fmla="*/ 321124 w 433109"/>
                <a:gd name="connsiteY7" fmla="*/ 400666 h 526214"/>
                <a:gd name="connsiteX8" fmla="*/ 319200 w 433109"/>
                <a:gd name="connsiteY8" fmla="*/ 385568 h 526214"/>
                <a:gd name="connsiteX9" fmla="*/ 344659 w 433109"/>
                <a:gd name="connsiteY9" fmla="*/ 377969 h 526214"/>
                <a:gd name="connsiteX10" fmla="*/ 352455 w 433109"/>
                <a:gd name="connsiteY10" fmla="*/ 382509 h 526214"/>
                <a:gd name="connsiteX11" fmla="*/ 354428 w 433109"/>
                <a:gd name="connsiteY11" fmla="*/ 377969 h 526214"/>
                <a:gd name="connsiteX12" fmla="*/ 350481 w 433109"/>
                <a:gd name="connsiteY12" fmla="*/ 373479 h 526214"/>
                <a:gd name="connsiteX13" fmla="*/ 354428 w 433109"/>
                <a:gd name="connsiteY13" fmla="*/ 370420 h 526214"/>
                <a:gd name="connsiteX14" fmla="*/ 348705 w 433109"/>
                <a:gd name="connsiteY14" fmla="*/ 361391 h 526214"/>
                <a:gd name="connsiteX15" fmla="*/ 336962 w 433109"/>
                <a:gd name="connsiteY15" fmla="*/ 358332 h 526214"/>
                <a:gd name="connsiteX16" fmla="*/ 333015 w 433109"/>
                <a:gd name="connsiteY16" fmla="*/ 352312 h 526214"/>
                <a:gd name="connsiteX17" fmla="*/ 334988 w 433109"/>
                <a:gd name="connsiteY17" fmla="*/ 341704 h 526214"/>
                <a:gd name="connsiteX18" fmla="*/ 376138 w 433109"/>
                <a:gd name="connsiteY18" fmla="*/ 341704 h 526214"/>
                <a:gd name="connsiteX19" fmla="*/ 380036 w 433109"/>
                <a:gd name="connsiteY19" fmla="*/ 337165 h 526214"/>
                <a:gd name="connsiteX20" fmla="*/ 385908 w 433109"/>
                <a:gd name="connsiteY20" fmla="*/ 337165 h 526214"/>
                <a:gd name="connsiteX21" fmla="*/ 391829 w 433109"/>
                <a:gd name="connsiteY21" fmla="*/ 340175 h 526214"/>
                <a:gd name="connsiteX22" fmla="*/ 397651 w 433109"/>
                <a:gd name="connsiteY22" fmla="*/ 338694 h 526214"/>
                <a:gd name="connsiteX23" fmla="*/ 403572 w 433109"/>
                <a:gd name="connsiteY23" fmla="*/ 332626 h 526214"/>
                <a:gd name="connsiteX24" fmla="*/ 413440 w 433109"/>
                <a:gd name="connsiteY24" fmla="*/ 331096 h 526214"/>
                <a:gd name="connsiteX25" fmla="*/ 415413 w 433109"/>
                <a:gd name="connsiteY25" fmla="*/ 335635 h 526214"/>
                <a:gd name="connsiteX26" fmla="*/ 419361 w 433109"/>
                <a:gd name="connsiteY26" fmla="*/ 341704 h 526214"/>
                <a:gd name="connsiteX27" fmla="*/ 421285 w 433109"/>
                <a:gd name="connsiteY27" fmla="*/ 347773 h 526214"/>
                <a:gd name="connsiteX28" fmla="*/ 421285 w 433109"/>
                <a:gd name="connsiteY28" fmla="*/ 356802 h 526214"/>
                <a:gd name="connsiteX29" fmla="*/ 433028 w 433109"/>
                <a:gd name="connsiteY29" fmla="*/ 356802 h 526214"/>
                <a:gd name="connsiteX30" fmla="*/ 431104 w 433109"/>
                <a:gd name="connsiteY30" fmla="*/ 349253 h 526214"/>
                <a:gd name="connsiteX31" fmla="*/ 423258 w 433109"/>
                <a:gd name="connsiteY31" fmla="*/ 334106 h 526214"/>
                <a:gd name="connsiteX32" fmla="*/ 419361 w 433109"/>
                <a:gd name="connsiteY32" fmla="*/ 326606 h 526214"/>
                <a:gd name="connsiteX33" fmla="*/ 421285 w 433109"/>
                <a:gd name="connsiteY33" fmla="*/ 322017 h 526214"/>
                <a:gd name="connsiteX34" fmla="*/ 417337 w 433109"/>
                <a:gd name="connsiteY34" fmla="*/ 315998 h 526214"/>
                <a:gd name="connsiteX35" fmla="*/ 413440 w 433109"/>
                <a:gd name="connsiteY35" fmla="*/ 314518 h 526214"/>
                <a:gd name="connsiteX36" fmla="*/ 413440 w 433109"/>
                <a:gd name="connsiteY36" fmla="*/ 309929 h 526214"/>
                <a:gd name="connsiteX37" fmla="*/ 411515 w 433109"/>
                <a:gd name="connsiteY37" fmla="*/ 308449 h 526214"/>
                <a:gd name="connsiteX38" fmla="*/ 407568 w 433109"/>
                <a:gd name="connsiteY38" fmla="*/ 311458 h 526214"/>
                <a:gd name="connsiteX39" fmla="*/ 403670 w 433109"/>
                <a:gd name="connsiteY39" fmla="*/ 309929 h 526214"/>
                <a:gd name="connsiteX40" fmla="*/ 403670 w 433109"/>
                <a:gd name="connsiteY40" fmla="*/ 305439 h 526214"/>
                <a:gd name="connsiteX41" fmla="*/ 415413 w 433109"/>
                <a:gd name="connsiteY41" fmla="*/ 287282 h 526214"/>
                <a:gd name="connsiteX42" fmla="*/ 407420 w 433109"/>
                <a:gd name="connsiteY42" fmla="*/ 270901 h 526214"/>
                <a:gd name="connsiteX43" fmla="*/ 407420 w 433109"/>
                <a:gd name="connsiteY43" fmla="*/ 267891 h 526214"/>
                <a:gd name="connsiteX44" fmla="*/ 403522 w 433109"/>
                <a:gd name="connsiteY44" fmla="*/ 263303 h 526214"/>
                <a:gd name="connsiteX45" fmla="*/ 403522 w 433109"/>
                <a:gd name="connsiteY45" fmla="*/ 252744 h 526214"/>
                <a:gd name="connsiteX46" fmla="*/ 405446 w 433109"/>
                <a:gd name="connsiteY46" fmla="*/ 246675 h 526214"/>
                <a:gd name="connsiteX47" fmla="*/ 405446 w 433109"/>
                <a:gd name="connsiteY47" fmla="*/ 240606 h 526214"/>
                <a:gd name="connsiteX48" fmla="*/ 403522 w 433109"/>
                <a:gd name="connsiteY48" fmla="*/ 230047 h 526214"/>
                <a:gd name="connsiteX49" fmla="*/ 407420 w 433109"/>
                <a:gd name="connsiteY49" fmla="*/ 227037 h 526214"/>
                <a:gd name="connsiteX50" fmla="*/ 415265 w 433109"/>
                <a:gd name="connsiteY50" fmla="*/ 224027 h 526214"/>
                <a:gd name="connsiteX51" fmla="*/ 417190 w 433109"/>
                <a:gd name="connsiteY51" fmla="*/ 221018 h 526214"/>
                <a:gd name="connsiteX52" fmla="*/ 417190 w 433109"/>
                <a:gd name="connsiteY52" fmla="*/ 214653 h 526214"/>
                <a:gd name="connsiteX53" fmla="*/ 419212 w 433109"/>
                <a:gd name="connsiteY53" fmla="*/ 208633 h 526214"/>
                <a:gd name="connsiteX54" fmla="*/ 417190 w 433109"/>
                <a:gd name="connsiteY54" fmla="*/ 198074 h 526214"/>
                <a:gd name="connsiteX55" fmla="*/ 411367 w 433109"/>
                <a:gd name="connsiteY55" fmla="*/ 195015 h 526214"/>
                <a:gd name="connsiteX56" fmla="*/ 405446 w 433109"/>
                <a:gd name="connsiteY56" fmla="*/ 196545 h 526214"/>
                <a:gd name="connsiteX57" fmla="*/ 403522 w 433109"/>
                <a:gd name="connsiteY57" fmla="*/ 198074 h 526214"/>
                <a:gd name="connsiteX58" fmla="*/ 395677 w 433109"/>
                <a:gd name="connsiteY58" fmla="*/ 196545 h 526214"/>
                <a:gd name="connsiteX59" fmla="*/ 385809 w 433109"/>
                <a:gd name="connsiteY59" fmla="*/ 196545 h 526214"/>
                <a:gd name="connsiteX60" fmla="*/ 379938 w 433109"/>
                <a:gd name="connsiteY60" fmla="*/ 199555 h 526214"/>
                <a:gd name="connsiteX61" fmla="*/ 376040 w 433109"/>
                <a:gd name="connsiteY61" fmla="*/ 198074 h 526214"/>
                <a:gd name="connsiteX62" fmla="*/ 368195 w 433109"/>
                <a:gd name="connsiteY62" fmla="*/ 196545 h 526214"/>
                <a:gd name="connsiteX63" fmla="*/ 366221 w 433109"/>
                <a:gd name="connsiteY63" fmla="*/ 196545 h 526214"/>
                <a:gd name="connsiteX64" fmla="*/ 364297 w 433109"/>
                <a:gd name="connsiteY64" fmla="*/ 195015 h 526214"/>
                <a:gd name="connsiteX65" fmla="*/ 352504 w 433109"/>
                <a:gd name="connsiteY65" fmla="*/ 196545 h 526214"/>
                <a:gd name="connsiteX66" fmla="*/ 327094 w 433109"/>
                <a:gd name="connsiteY66" fmla="*/ 173848 h 526214"/>
                <a:gd name="connsiteX67" fmla="*/ 319249 w 433109"/>
                <a:gd name="connsiteY67" fmla="*/ 170838 h 526214"/>
                <a:gd name="connsiteX68" fmla="*/ 307457 w 433109"/>
                <a:gd name="connsiteY68" fmla="*/ 169309 h 526214"/>
                <a:gd name="connsiteX69" fmla="*/ 297589 w 433109"/>
                <a:gd name="connsiteY69" fmla="*/ 170838 h 526214"/>
                <a:gd name="connsiteX70" fmla="*/ 295615 w 433109"/>
                <a:gd name="connsiteY70" fmla="*/ 172368 h 526214"/>
                <a:gd name="connsiteX71" fmla="*/ 285747 w 433109"/>
                <a:gd name="connsiteY71" fmla="*/ 170838 h 526214"/>
                <a:gd name="connsiteX72" fmla="*/ 275879 w 433109"/>
                <a:gd name="connsiteY72" fmla="*/ 170838 h 526214"/>
                <a:gd name="connsiteX73" fmla="*/ 270007 w 433109"/>
                <a:gd name="connsiteY73" fmla="*/ 172368 h 526214"/>
                <a:gd name="connsiteX74" fmla="*/ 264136 w 433109"/>
                <a:gd name="connsiteY74" fmla="*/ 170838 h 526214"/>
                <a:gd name="connsiteX75" fmla="*/ 258264 w 433109"/>
                <a:gd name="connsiteY75" fmla="*/ 169309 h 526214"/>
                <a:gd name="connsiteX76" fmla="*/ 246521 w 433109"/>
                <a:gd name="connsiteY76" fmla="*/ 164770 h 526214"/>
                <a:gd name="connsiteX77" fmla="*/ 238676 w 433109"/>
                <a:gd name="connsiteY77" fmla="*/ 158750 h 526214"/>
                <a:gd name="connsiteX78" fmla="*/ 238676 w 433109"/>
                <a:gd name="connsiteY78" fmla="*/ 154211 h 526214"/>
                <a:gd name="connsiteX79" fmla="*/ 240601 w 433109"/>
                <a:gd name="connsiteY79" fmla="*/ 151201 h 526214"/>
                <a:gd name="connsiteX80" fmla="*/ 240601 w 433109"/>
                <a:gd name="connsiteY80" fmla="*/ 148142 h 526214"/>
                <a:gd name="connsiteX81" fmla="*/ 242574 w 433109"/>
                <a:gd name="connsiteY81" fmla="*/ 139113 h 526214"/>
                <a:gd name="connsiteX82" fmla="*/ 242574 w 433109"/>
                <a:gd name="connsiteY82" fmla="*/ 134524 h 526214"/>
                <a:gd name="connsiteX83" fmla="*/ 236702 w 433109"/>
                <a:gd name="connsiteY83" fmla="*/ 126975 h 526214"/>
                <a:gd name="connsiteX84" fmla="*/ 222986 w 433109"/>
                <a:gd name="connsiteY84" fmla="*/ 104328 h 526214"/>
                <a:gd name="connsiteX85" fmla="*/ 209565 w 433109"/>
                <a:gd name="connsiteY85" fmla="*/ 104328 h 526214"/>
                <a:gd name="connsiteX86" fmla="*/ 211539 w 433109"/>
                <a:gd name="connsiteY86" fmla="*/ 101318 h 526214"/>
                <a:gd name="connsiteX87" fmla="*/ 215486 w 433109"/>
                <a:gd name="connsiteY87" fmla="*/ 92239 h 526214"/>
                <a:gd name="connsiteX88" fmla="*/ 217410 w 433109"/>
                <a:gd name="connsiteY88" fmla="*/ 80102 h 526214"/>
                <a:gd name="connsiteX89" fmla="*/ 215486 w 433109"/>
                <a:gd name="connsiteY89" fmla="*/ 75562 h 526214"/>
                <a:gd name="connsiteX90" fmla="*/ 217410 w 433109"/>
                <a:gd name="connsiteY90" fmla="*/ 69543 h 526214"/>
                <a:gd name="connsiteX91" fmla="*/ 229154 w 433109"/>
                <a:gd name="connsiteY91" fmla="*/ 54445 h 526214"/>
                <a:gd name="connsiteX92" fmla="*/ 235074 w 433109"/>
                <a:gd name="connsiteY92" fmla="*/ 51386 h 526214"/>
                <a:gd name="connsiteX93" fmla="*/ 240897 w 433109"/>
                <a:gd name="connsiteY93" fmla="*/ 43836 h 526214"/>
                <a:gd name="connsiteX94" fmla="*/ 246817 w 433109"/>
                <a:gd name="connsiteY94" fmla="*/ 43836 h 526214"/>
                <a:gd name="connsiteX95" fmla="*/ 248741 w 433109"/>
                <a:gd name="connsiteY95" fmla="*/ 39248 h 526214"/>
                <a:gd name="connsiteX96" fmla="*/ 262458 w 433109"/>
                <a:gd name="connsiteY96" fmla="*/ 25679 h 526214"/>
                <a:gd name="connsiteX97" fmla="*/ 278099 w 433109"/>
                <a:gd name="connsiteY97" fmla="*/ 19660 h 526214"/>
                <a:gd name="connsiteX98" fmla="*/ 280122 w 433109"/>
                <a:gd name="connsiteY98" fmla="*/ 18130 h 526214"/>
                <a:gd name="connsiteX99" fmla="*/ 284020 w 433109"/>
                <a:gd name="connsiteY99" fmla="*/ 18130 h 526214"/>
                <a:gd name="connsiteX100" fmla="*/ 285944 w 433109"/>
                <a:gd name="connsiteY100" fmla="*/ 16601 h 526214"/>
                <a:gd name="connsiteX101" fmla="*/ 291865 w 433109"/>
                <a:gd name="connsiteY101" fmla="*/ 15071 h 526214"/>
                <a:gd name="connsiteX102" fmla="*/ 291865 w 433109"/>
                <a:gd name="connsiteY102" fmla="*/ 12061 h 526214"/>
                <a:gd name="connsiteX103" fmla="*/ 285944 w 433109"/>
                <a:gd name="connsiteY103" fmla="*/ 5992 h 526214"/>
                <a:gd name="connsiteX104" fmla="*/ 274201 w 433109"/>
                <a:gd name="connsiteY104" fmla="*/ -27 h 526214"/>
                <a:gd name="connsiteX105" fmla="*/ 270303 w 433109"/>
                <a:gd name="connsiteY105" fmla="*/ -27 h 526214"/>
                <a:gd name="connsiteX106" fmla="*/ 268330 w 433109"/>
                <a:gd name="connsiteY106" fmla="*/ 2983 h 526214"/>
                <a:gd name="connsiteX107" fmla="*/ 268330 w 433109"/>
                <a:gd name="connsiteY107" fmla="*/ 4463 h 526214"/>
                <a:gd name="connsiteX108" fmla="*/ 262458 w 433109"/>
                <a:gd name="connsiteY108" fmla="*/ 5943 h 526214"/>
                <a:gd name="connsiteX109" fmla="*/ 260485 w 433109"/>
                <a:gd name="connsiteY109" fmla="*/ 7522 h 526214"/>
                <a:gd name="connsiteX110" fmla="*/ 252689 w 433109"/>
                <a:gd name="connsiteY110" fmla="*/ 7522 h 526214"/>
                <a:gd name="connsiteX111" fmla="*/ 246817 w 433109"/>
                <a:gd name="connsiteY111" fmla="*/ 10532 h 526214"/>
                <a:gd name="connsiteX112" fmla="*/ 244844 w 433109"/>
                <a:gd name="connsiteY112" fmla="*/ 12012 h 526214"/>
                <a:gd name="connsiteX113" fmla="*/ 246817 w 433109"/>
                <a:gd name="connsiteY113" fmla="*/ 15022 h 526214"/>
                <a:gd name="connsiteX114" fmla="*/ 244844 w 433109"/>
                <a:gd name="connsiteY114" fmla="*/ 18081 h 526214"/>
                <a:gd name="connsiteX115" fmla="*/ 236998 w 433109"/>
                <a:gd name="connsiteY115" fmla="*/ 22620 h 526214"/>
                <a:gd name="connsiteX116" fmla="*/ 225354 w 433109"/>
                <a:gd name="connsiteY116" fmla="*/ 28689 h 526214"/>
                <a:gd name="connsiteX117" fmla="*/ 215486 w 433109"/>
                <a:gd name="connsiteY117" fmla="*/ 33228 h 526214"/>
                <a:gd name="connsiteX118" fmla="*/ 205618 w 433109"/>
                <a:gd name="connsiteY118" fmla="*/ 36238 h 526214"/>
                <a:gd name="connsiteX119" fmla="*/ 182083 w 433109"/>
                <a:gd name="connsiteY119" fmla="*/ 36238 h 526214"/>
                <a:gd name="connsiteX120" fmla="*/ 176211 w 433109"/>
                <a:gd name="connsiteY120" fmla="*/ 39248 h 526214"/>
                <a:gd name="connsiteX121" fmla="*/ 176211 w 433109"/>
                <a:gd name="connsiteY121" fmla="*/ 42307 h 526214"/>
                <a:gd name="connsiteX122" fmla="*/ 178185 w 433109"/>
                <a:gd name="connsiteY122" fmla="*/ 46846 h 526214"/>
                <a:gd name="connsiteX123" fmla="*/ 178185 w 433109"/>
                <a:gd name="connsiteY123" fmla="*/ 51386 h 526214"/>
                <a:gd name="connsiteX124" fmla="*/ 172313 w 433109"/>
                <a:gd name="connsiteY124" fmla="*/ 55925 h 526214"/>
                <a:gd name="connsiteX125" fmla="*/ 170389 w 433109"/>
                <a:gd name="connsiteY125" fmla="*/ 54445 h 526214"/>
                <a:gd name="connsiteX126" fmla="*/ 170389 w 433109"/>
                <a:gd name="connsiteY126" fmla="*/ 48376 h 526214"/>
                <a:gd name="connsiteX127" fmla="*/ 174287 w 433109"/>
                <a:gd name="connsiteY127" fmla="*/ 46846 h 526214"/>
                <a:gd name="connsiteX128" fmla="*/ 168366 w 433109"/>
                <a:gd name="connsiteY128" fmla="*/ 46846 h 526214"/>
                <a:gd name="connsiteX129" fmla="*/ 158498 w 433109"/>
                <a:gd name="connsiteY129" fmla="*/ 42307 h 526214"/>
                <a:gd name="connsiteX130" fmla="*/ 154600 w 433109"/>
                <a:gd name="connsiteY130" fmla="*/ 43836 h 526214"/>
                <a:gd name="connsiteX131" fmla="*/ 140884 w 433109"/>
                <a:gd name="connsiteY131" fmla="*/ 48376 h 526214"/>
                <a:gd name="connsiteX132" fmla="*/ 138910 w 433109"/>
                <a:gd name="connsiteY132" fmla="*/ 52866 h 526214"/>
                <a:gd name="connsiteX133" fmla="*/ 131065 w 433109"/>
                <a:gd name="connsiteY133" fmla="*/ 60464 h 526214"/>
                <a:gd name="connsiteX134" fmla="*/ 121197 w 433109"/>
                <a:gd name="connsiteY134" fmla="*/ 77092 h 526214"/>
                <a:gd name="connsiteX135" fmla="*/ 121197 w 433109"/>
                <a:gd name="connsiteY135" fmla="*/ 81631 h 526214"/>
                <a:gd name="connsiteX136" fmla="*/ 123220 w 433109"/>
                <a:gd name="connsiteY136" fmla="*/ 80102 h 526214"/>
                <a:gd name="connsiteX137" fmla="*/ 125144 w 433109"/>
                <a:gd name="connsiteY137" fmla="*/ 81631 h 526214"/>
                <a:gd name="connsiteX138" fmla="*/ 127118 w 433109"/>
                <a:gd name="connsiteY138" fmla="*/ 89180 h 526214"/>
                <a:gd name="connsiteX139" fmla="*/ 125144 w 433109"/>
                <a:gd name="connsiteY139" fmla="*/ 93720 h 526214"/>
                <a:gd name="connsiteX140" fmla="*/ 119272 w 433109"/>
                <a:gd name="connsiteY140" fmla="*/ 95249 h 526214"/>
                <a:gd name="connsiteX141" fmla="*/ 111427 w 433109"/>
                <a:gd name="connsiteY141" fmla="*/ 96729 h 526214"/>
                <a:gd name="connsiteX142" fmla="*/ 107529 w 433109"/>
                <a:gd name="connsiteY142" fmla="*/ 98259 h 526214"/>
                <a:gd name="connsiteX143" fmla="*/ 97661 w 433109"/>
                <a:gd name="connsiteY143" fmla="*/ 105808 h 526214"/>
                <a:gd name="connsiteX144" fmla="*/ 93764 w 433109"/>
                <a:gd name="connsiteY144" fmla="*/ 107337 h 526214"/>
                <a:gd name="connsiteX145" fmla="*/ 88139 w 433109"/>
                <a:gd name="connsiteY145" fmla="*/ 117946 h 526214"/>
                <a:gd name="connsiteX146" fmla="*/ 76396 w 433109"/>
                <a:gd name="connsiteY146" fmla="*/ 117946 h 526214"/>
                <a:gd name="connsiteX147" fmla="*/ 78369 w 433109"/>
                <a:gd name="connsiteY147" fmla="*/ 124015 h 526214"/>
                <a:gd name="connsiteX148" fmla="*/ 86165 w 433109"/>
                <a:gd name="connsiteY148" fmla="*/ 128554 h 526214"/>
                <a:gd name="connsiteX149" fmla="*/ 86165 w 433109"/>
                <a:gd name="connsiteY149" fmla="*/ 136103 h 526214"/>
                <a:gd name="connsiteX150" fmla="*/ 80293 w 433109"/>
                <a:gd name="connsiteY150" fmla="*/ 143652 h 526214"/>
                <a:gd name="connsiteX151" fmla="*/ 76396 w 433109"/>
                <a:gd name="connsiteY151" fmla="*/ 143652 h 526214"/>
                <a:gd name="connsiteX152" fmla="*/ 70524 w 433109"/>
                <a:gd name="connsiteY152" fmla="*/ 137682 h 526214"/>
                <a:gd name="connsiteX153" fmla="*/ 72449 w 433109"/>
                <a:gd name="connsiteY153" fmla="*/ 136152 h 526214"/>
                <a:gd name="connsiteX154" fmla="*/ 74422 w 433109"/>
                <a:gd name="connsiteY154" fmla="*/ 133143 h 526214"/>
                <a:gd name="connsiteX155" fmla="*/ 68550 w 433109"/>
                <a:gd name="connsiteY155" fmla="*/ 130084 h 526214"/>
                <a:gd name="connsiteX156" fmla="*/ 66577 w 433109"/>
                <a:gd name="connsiteY156" fmla="*/ 125593 h 526214"/>
                <a:gd name="connsiteX157" fmla="*/ 58781 w 433109"/>
                <a:gd name="connsiteY157" fmla="*/ 119525 h 526214"/>
                <a:gd name="connsiteX158" fmla="*/ 58781 w 433109"/>
                <a:gd name="connsiteY158" fmla="*/ 128603 h 526214"/>
                <a:gd name="connsiteX159" fmla="*/ 62679 w 433109"/>
                <a:gd name="connsiteY159" fmla="*/ 136152 h 526214"/>
                <a:gd name="connsiteX160" fmla="*/ 56758 w 433109"/>
                <a:gd name="connsiteY160" fmla="*/ 145231 h 526214"/>
                <a:gd name="connsiteX161" fmla="*/ 54834 w 433109"/>
                <a:gd name="connsiteY161" fmla="*/ 151300 h 526214"/>
                <a:gd name="connsiteX162" fmla="*/ 50936 w 433109"/>
                <a:gd name="connsiteY162" fmla="*/ 154310 h 526214"/>
                <a:gd name="connsiteX163" fmla="*/ 45015 w 433109"/>
                <a:gd name="connsiteY163" fmla="*/ 154310 h 526214"/>
                <a:gd name="connsiteX164" fmla="*/ 41117 w 433109"/>
                <a:gd name="connsiteY164" fmla="*/ 163388 h 526214"/>
                <a:gd name="connsiteX165" fmla="*/ 43091 w 433109"/>
                <a:gd name="connsiteY165" fmla="*/ 164868 h 526214"/>
                <a:gd name="connsiteX166" fmla="*/ 43091 w 433109"/>
                <a:gd name="connsiteY166" fmla="*/ 172220 h 526214"/>
                <a:gd name="connsiteX167" fmla="*/ 45015 w 433109"/>
                <a:gd name="connsiteY167" fmla="*/ 179769 h 526214"/>
                <a:gd name="connsiteX168" fmla="*/ 52860 w 433109"/>
                <a:gd name="connsiteY168" fmla="*/ 185838 h 526214"/>
                <a:gd name="connsiteX169" fmla="*/ 54834 w 433109"/>
                <a:gd name="connsiteY169" fmla="*/ 185838 h 526214"/>
                <a:gd name="connsiteX170" fmla="*/ 58781 w 433109"/>
                <a:gd name="connsiteY170" fmla="*/ 184309 h 526214"/>
                <a:gd name="connsiteX171" fmla="*/ 60705 w 433109"/>
                <a:gd name="connsiteY171" fmla="*/ 187318 h 526214"/>
                <a:gd name="connsiteX172" fmla="*/ 62679 w 433109"/>
                <a:gd name="connsiteY172" fmla="*/ 194867 h 526214"/>
                <a:gd name="connsiteX173" fmla="*/ 56758 w 433109"/>
                <a:gd name="connsiteY173" fmla="*/ 199407 h 526214"/>
                <a:gd name="connsiteX174" fmla="*/ 56758 w 433109"/>
                <a:gd name="connsiteY174" fmla="*/ 200936 h 526214"/>
                <a:gd name="connsiteX175" fmla="*/ 60705 w 433109"/>
                <a:gd name="connsiteY175" fmla="*/ 205475 h 526214"/>
                <a:gd name="connsiteX176" fmla="*/ 60705 w 433109"/>
                <a:gd name="connsiteY176" fmla="*/ 213025 h 526214"/>
                <a:gd name="connsiteX177" fmla="*/ 56758 w 433109"/>
                <a:gd name="connsiteY177" fmla="*/ 216034 h 526214"/>
                <a:gd name="connsiteX178" fmla="*/ 54834 w 433109"/>
                <a:gd name="connsiteY178" fmla="*/ 222103 h 526214"/>
                <a:gd name="connsiteX179" fmla="*/ 56758 w 433109"/>
                <a:gd name="connsiteY179" fmla="*/ 222103 h 526214"/>
                <a:gd name="connsiteX180" fmla="*/ 58781 w 433109"/>
                <a:gd name="connsiteY180" fmla="*/ 228123 h 526214"/>
                <a:gd name="connsiteX181" fmla="*/ 58781 w 433109"/>
                <a:gd name="connsiteY181" fmla="*/ 252349 h 526214"/>
                <a:gd name="connsiteX182" fmla="*/ 54834 w 433109"/>
                <a:gd name="connsiteY182" fmla="*/ 256888 h 526214"/>
                <a:gd name="connsiteX183" fmla="*/ 54834 w 433109"/>
                <a:gd name="connsiteY183" fmla="*/ 261378 h 526214"/>
                <a:gd name="connsiteX184" fmla="*/ 58781 w 433109"/>
                <a:gd name="connsiteY184" fmla="*/ 265967 h 526214"/>
                <a:gd name="connsiteX185" fmla="*/ 64603 w 433109"/>
                <a:gd name="connsiteY185" fmla="*/ 264437 h 526214"/>
                <a:gd name="connsiteX186" fmla="*/ 62679 w 433109"/>
                <a:gd name="connsiteY186" fmla="*/ 267496 h 526214"/>
                <a:gd name="connsiteX187" fmla="*/ 66577 w 433109"/>
                <a:gd name="connsiteY187" fmla="*/ 273516 h 526214"/>
                <a:gd name="connsiteX188" fmla="*/ 70524 w 433109"/>
                <a:gd name="connsiteY188" fmla="*/ 273516 h 526214"/>
                <a:gd name="connsiteX189" fmla="*/ 70524 w 433109"/>
                <a:gd name="connsiteY189" fmla="*/ 274996 h 526214"/>
                <a:gd name="connsiteX190" fmla="*/ 66577 w 433109"/>
                <a:gd name="connsiteY190" fmla="*/ 279585 h 526214"/>
                <a:gd name="connsiteX191" fmla="*/ 64603 w 433109"/>
                <a:gd name="connsiteY191" fmla="*/ 285604 h 526214"/>
                <a:gd name="connsiteX192" fmla="*/ 50936 w 433109"/>
                <a:gd name="connsiteY192" fmla="*/ 296163 h 526214"/>
                <a:gd name="connsiteX193" fmla="*/ 45015 w 433109"/>
                <a:gd name="connsiteY193" fmla="*/ 303761 h 526214"/>
                <a:gd name="connsiteX194" fmla="*/ 37170 w 433109"/>
                <a:gd name="connsiteY194" fmla="*/ 312840 h 526214"/>
                <a:gd name="connsiteX195" fmla="*/ 23503 w 433109"/>
                <a:gd name="connsiteY195" fmla="*/ 314370 h 526214"/>
                <a:gd name="connsiteX196" fmla="*/ 11760 w 433109"/>
                <a:gd name="connsiteY196" fmla="*/ 320389 h 526214"/>
                <a:gd name="connsiteX197" fmla="*/ 1892 w 433109"/>
                <a:gd name="connsiteY197" fmla="*/ 333958 h 526214"/>
                <a:gd name="connsiteX198" fmla="*/ 1892 w 433109"/>
                <a:gd name="connsiteY198" fmla="*/ 344911 h 526214"/>
                <a:gd name="connsiteX199" fmla="*/ -82 w 433109"/>
                <a:gd name="connsiteY199" fmla="*/ 349451 h 526214"/>
                <a:gd name="connsiteX200" fmla="*/ 9786 w 433109"/>
                <a:gd name="connsiteY200" fmla="*/ 353990 h 526214"/>
                <a:gd name="connsiteX201" fmla="*/ 23552 w 433109"/>
                <a:gd name="connsiteY201" fmla="*/ 361588 h 526214"/>
                <a:gd name="connsiteX202" fmla="*/ 37219 w 433109"/>
                <a:gd name="connsiteY202" fmla="*/ 369088 h 526214"/>
                <a:gd name="connsiteX203" fmla="*/ 43140 w 433109"/>
                <a:gd name="connsiteY203" fmla="*/ 369088 h 526214"/>
                <a:gd name="connsiteX204" fmla="*/ 53008 w 433109"/>
                <a:gd name="connsiteY204" fmla="*/ 378167 h 526214"/>
                <a:gd name="connsiteX205" fmla="*/ 53008 w 433109"/>
                <a:gd name="connsiteY205" fmla="*/ 382706 h 526214"/>
                <a:gd name="connsiteX206" fmla="*/ 54982 w 433109"/>
                <a:gd name="connsiteY206" fmla="*/ 385765 h 526214"/>
                <a:gd name="connsiteX207" fmla="*/ 64850 w 433109"/>
                <a:gd name="connsiteY207" fmla="*/ 387245 h 526214"/>
                <a:gd name="connsiteX208" fmla="*/ 76642 w 433109"/>
                <a:gd name="connsiteY208" fmla="*/ 391785 h 526214"/>
                <a:gd name="connsiteX209" fmla="*/ 80540 w 433109"/>
                <a:gd name="connsiteY209" fmla="*/ 394844 h 526214"/>
                <a:gd name="connsiteX210" fmla="*/ 94257 w 433109"/>
                <a:gd name="connsiteY210" fmla="*/ 396373 h 526214"/>
                <a:gd name="connsiteX211" fmla="*/ 98155 w 433109"/>
                <a:gd name="connsiteY211" fmla="*/ 393314 h 526214"/>
                <a:gd name="connsiteX212" fmla="*/ 96231 w 433109"/>
                <a:gd name="connsiteY212" fmla="*/ 387245 h 526214"/>
                <a:gd name="connsiteX213" fmla="*/ 102053 w 433109"/>
                <a:gd name="connsiteY213" fmla="*/ 384235 h 526214"/>
                <a:gd name="connsiteX214" fmla="*/ 104026 w 433109"/>
                <a:gd name="connsiteY214" fmla="*/ 384235 h 526214"/>
                <a:gd name="connsiteX215" fmla="*/ 113894 w 433109"/>
                <a:gd name="connsiteY215" fmla="*/ 387245 h 526214"/>
                <a:gd name="connsiteX216" fmla="*/ 121690 w 433109"/>
                <a:gd name="connsiteY216" fmla="*/ 390255 h 526214"/>
                <a:gd name="connsiteX217" fmla="*/ 123713 w 433109"/>
                <a:gd name="connsiteY217" fmla="*/ 393314 h 526214"/>
                <a:gd name="connsiteX218" fmla="*/ 127611 w 433109"/>
                <a:gd name="connsiteY218" fmla="*/ 394844 h 526214"/>
                <a:gd name="connsiteX219" fmla="*/ 129535 w 433109"/>
                <a:gd name="connsiteY219" fmla="*/ 396373 h 526214"/>
                <a:gd name="connsiteX220" fmla="*/ 131509 w 433109"/>
                <a:gd name="connsiteY220" fmla="*/ 396373 h 526214"/>
                <a:gd name="connsiteX221" fmla="*/ 135456 w 433109"/>
                <a:gd name="connsiteY221" fmla="*/ 399383 h 526214"/>
                <a:gd name="connsiteX222" fmla="*/ 147199 w 433109"/>
                <a:gd name="connsiteY222" fmla="*/ 402393 h 526214"/>
                <a:gd name="connsiteX223" fmla="*/ 157067 w 433109"/>
                <a:gd name="connsiteY223" fmla="*/ 402393 h 526214"/>
                <a:gd name="connsiteX224" fmla="*/ 159041 w 433109"/>
                <a:gd name="connsiteY224" fmla="*/ 408462 h 526214"/>
                <a:gd name="connsiteX225" fmla="*/ 166886 w 433109"/>
                <a:gd name="connsiteY225" fmla="*/ 415962 h 526214"/>
                <a:gd name="connsiteX226" fmla="*/ 166886 w 433109"/>
                <a:gd name="connsiteY226" fmla="*/ 422030 h 526214"/>
                <a:gd name="connsiteX227" fmla="*/ 172758 w 433109"/>
                <a:gd name="connsiteY227" fmla="*/ 431109 h 526214"/>
                <a:gd name="connsiteX228" fmla="*/ 178629 w 433109"/>
                <a:gd name="connsiteY228" fmla="*/ 431109 h 526214"/>
                <a:gd name="connsiteX229" fmla="*/ 196243 w 433109"/>
                <a:gd name="connsiteY229" fmla="*/ 437128 h 526214"/>
                <a:gd name="connsiteX230" fmla="*/ 202115 w 433109"/>
                <a:gd name="connsiteY230" fmla="*/ 444727 h 526214"/>
                <a:gd name="connsiteX231" fmla="*/ 202115 w 433109"/>
                <a:gd name="connsiteY231" fmla="*/ 452276 h 526214"/>
                <a:gd name="connsiteX232" fmla="*/ 204089 w 433109"/>
                <a:gd name="connsiteY232" fmla="*/ 452276 h 526214"/>
                <a:gd name="connsiteX233" fmla="*/ 209960 w 433109"/>
                <a:gd name="connsiteY233" fmla="*/ 456815 h 526214"/>
                <a:gd name="connsiteX234" fmla="*/ 213858 w 433109"/>
                <a:gd name="connsiteY234" fmla="*/ 464364 h 526214"/>
                <a:gd name="connsiteX235" fmla="*/ 211934 w 433109"/>
                <a:gd name="connsiteY235" fmla="*/ 465894 h 526214"/>
                <a:gd name="connsiteX236" fmla="*/ 213858 w 433109"/>
                <a:gd name="connsiteY236" fmla="*/ 470433 h 526214"/>
                <a:gd name="connsiteX237" fmla="*/ 221703 w 433109"/>
                <a:gd name="connsiteY237" fmla="*/ 473443 h 526214"/>
                <a:gd name="connsiteX238" fmla="*/ 229548 w 433109"/>
                <a:gd name="connsiteY238" fmla="*/ 471913 h 526214"/>
                <a:gd name="connsiteX239" fmla="*/ 235469 w 433109"/>
                <a:gd name="connsiteY239" fmla="*/ 473443 h 526214"/>
                <a:gd name="connsiteX240" fmla="*/ 243265 w 433109"/>
                <a:gd name="connsiteY240" fmla="*/ 471913 h 526214"/>
                <a:gd name="connsiteX241" fmla="*/ 245239 w 433109"/>
                <a:gd name="connsiteY241" fmla="*/ 470433 h 526214"/>
                <a:gd name="connsiteX242" fmla="*/ 258955 w 433109"/>
                <a:gd name="connsiteY242" fmla="*/ 465894 h 526214"/>
                <a:gd name="connsiteX243" fmla="*/ 268823 w 433109"/>
                <a:gd name="connsiteY243" fmla="*/ 467424 h 526214"/>
                <a:gd name="connsiteX244" fmla="*/ 276668 w 433109"/>
                <a:gd name="connsiteY244" fmla="*/ 470433 h 526214"/>
                <a:gd name="connsiteX245" fmla="*/ 290385 w 433109"/>
                <a:gd name="connsiteY245" fmla="*/ 465894 h 526214"/>
                <a:gd name="connsiteX246" fmla="*/ 296256 w 433109"/>
                <a:gd name="connsiteY246" fmla="*/ 465894 h 526214"/>
                <a:gd name="connsiteX247" fmla="*/ 298230 w 433109"/>
                <a:gd name="connsiteY247" fmla="*/ 470433 h 526214"/>
                <a:gd name="connsiteX248" fmla="*/ 302128 w 433109"/>
                <a:gd name="connsiteY248" fmla="*/ 468904 h 526214"/>
                <a:gd name="connsiteX249" fmla="*/ 309973 w 433109"/>
                <a:gd name="connsiteY249" fmla="*/ 471913 h 526214"/>
                <a:gd name="connsiteX250" fmla="*/ 313871 w 433109"/>
                <a:gd name="connsiteY250" fmla="*/ 476453 h 526214"/>
                <a:gd name="connsiteX251" fmla="*/ 319792 w 433109"/>
                <a:gd name="connsiteY251" fmla="*/ 474923 h 526214"/>
                <a:gd name="connsiteX252" fmla="*/ 321716 w 433109"/>
                <a:gd name="connsiteY252" fmla="*/ 477982 h 526214"/>
                <a:gd name="connsiteX253" fmla="*/ 297736 w 433109"/>
                <a:gd name="connsiteY253" fmla="*/ 512669 h 526214"/>
                <a:gd name="connsiteX254" fmla="*/ 299710 w 433109"/>
                <a:gd name="connsiteY254" fmla="*/ 517208 h 526214"/>
                <a:gd name="connsiteX255" fmla="*/ 307506 w 433109"/>
                <a:gd name="connsiteY255" fmla="*/ 515678 h 526214"/>
                <a:gd name="connsiteX256" fmla="*/ 315351 w 433109"/>
                <a:gd name="connsiteY256" fmla="*/ 515678 h 526214"/>
                <a:gd name="connsiteX257" fmla="*/ 321222 w 433109"/>
                <a:gd name="connsiteY257" fmla="*/ 520218 h 526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433109" h="526214">
                  <a:moveTo>
                    <a:pt x="325120" y="526188"/>
                  </a:moveTo>
                  <a:lnTo>
                    <a:pt x="331041" y="511040"/>
                  </a:lnTo>
                  <a:lnTo>
                    <a:pt x="348705" y="446059"/>
                  </a:lnTo>
                  <a:lnTo>
                    <a:pt x="348705" y="441520"/>
                  </a:lnTo>
                  <a:lnTo>
                    <a:pt x="350629" y="430912"/>
                  </a:lnTo>
                  <a:lnTo>
                    <a:pt x="340761" y="417294"/>
                  </a:lnTo>
                  <a:lnTo>
                    <a:pt x="328969" y="409745"/>
                  </a:lnTo>
                  <a:lnTo>
                    <a:pt x="321124" y="400666"/>
                  </a:lnTo>
                  <a:lnTo>
                    <a:pt x="319200" y="385568"/>
                  </a:lnTo>
                  <a:lnTo>
                    <a:pt x="344659" y="377969"/>
                  </a:lnTo>
                  <a:lnTo>
                    <a:pt x="352455" y="382509"/>
                  </a:lnTo>
                  <a:lnTo>
                    <a:pt x="354428" y="377969"/>
                  </a:lnTo>
                  <a:lnTo>
                    <a:pt x="350481" y="373479"/>
                  </a:lnTo>
                  <a:lnTo>
                    <a:pt x="354428" y="370420"/>
                  </a:lnTo>
                  <a:lnTo>
                    <a:pt x="348705" y="361391"/>
                  </a:lnTo>
                  <a:lnTo>
                    <a:pt x="336962" y="358332"/>
                  </a:lnTo>
                  <a:lnTo>
                    <a:pt x="333015" y="352312"/>
                  </a:lnTo>
                  <a:lnTo>
                    <a:pt x="334988" y="341704"/>
                  </a:lnTo>
                  <a:lnTo>
                    <a:pt x="376138" y="341704"/>
                  </a:lnTo>
                  <a:lnTo>
                    <a:pt x="380036" y="337165"/>
                  </a:lnTo>
                  <a:lnTo>
                    <a:pt x="385908" y="337165"/>
                  </a:lnTo>
                  <a:lnTo>
                    <a:pt x="391829" y="340175"/>
                  </a:lnTo>
                  <a:lnTo>
                    <a:pt x="397651" y="338694"/>
                  </a:lnTo>
                  <a:lnTo>
                    <a:pt x="403572" y="332626"/>
                  </a:lnTo>
                  <a:lnTo>
                    <a:pt x="413440" y="331096"/>
                  </a:lnTo>
                  <a:lnTo>
                    <a:pt x="415413" y="335635"/>
                  </a:lnTo>
                  <a:lnTo>
                    <a:pt x="419361" y="341704"/>
                  </a:lnTo>
                  <a:lnTo>
                    <a:pt x="421285" y="347773"/>
                  </a:lnTo>
                  <a:lnTo>
                    <a:pt x="421285" y="356802"/>
                  </a:lnTo>
                  <a:lnTo>
                    <a:pt x="433028" y="356802"/>
                  </a:lnTo>
                  <a:lnTo>
                    <a:pt x="431104" y="349253"/>
                  </a:lnTo>
                  <a:lnTo>
                    <a:pt x="423258" y="334106"/>
                  </a:lnTo>
                  <a:lnTo>
                    <a:pt x="419361" y="326606"/>
                  </a:lnTo>
                  <a:lnTo>
                    <a:pt x="421285" y="322017"/>
                  </a:lnTo>
                  <a:lnTo>
                    <a:pt x="417337" y="315998"/>
                  </a:lnTo>
                  <a:lnTo>
                    <a:pt x="413440" y="314518"/>
                  </a:lnTo>
                  <a:lnTo>
                    <a:pt x="413440" y="309929"/>
                  </a:lnTo>
                  <a:lnTo>
                    <a:pt x="411515" y="308449"/>
                  </a:lnTo>
                  <a:lnTo>
                    <a:pt x="407568" y="311458"/>
                  </a:lnTo>
                  <a:lnTo>
                    <a:pt x="403670" y="309929"/>
                  </a:lnTo>
                  <a:lnTo>
                    <a:pt x="403670" y="305439"/>
                  </a:lnTo>
                  <a:lnTo>
                    <a:pt x="415413" y="287282"/>
                  </a:lnTo>
                  <a:lnTo>
                    <a:pt x="407420" y="270901"/>
                  </a:lnTo>
                  <a:lnTo>
                    <a:pt x="407420" y="267891"/>
                  </a:lnTo>
                  <a:lnTo>
                    <a:pt x="403522" y="263303"/>
                  </a:lnTo>
                  <a:lnTo>
                    <a:pt x="403522" y="252744"/>
                  </a:lnTo>
                  <a:lnTo>
                    <a:pt x="405446" y="246675"/>
                  </a:lnTo>
                  <a:lnTo>
                    <a:pt x="405446" y="240606"/>
                  </a:lnTo>
                  <a:lnTo>
                    <a:pt x="403522" y="230047"/>
                  </a:lnTo>
                  <a:lnTo>
                    <a:pt x="407420" y="227037"/>
                  </a:lnTo>
                  <a:lnTo>
                    <a:pt x="415265" y="224027"/>
                  </a:lnTo>
                  <a:lnTo>
                    <a:pt x="417190" y="221018"/>
                  </a:lnTo>
                  <a:lnTo>
                    <a:pt x="417190" y="214653"/>
                  </a:lnTo>
                  <a:lnTo>
                    <a:pt x="419212" y="208633"/>
                  </a:lnTo>
                  <a:lnTo>
                    <a:pt x="417190" y="198074"/>
                  </a:lnTo>
                  <a:lnTo>
                    <a:pt x="411367" y="195015"/>
                  </a:lnTo>
                  <a:lnTo>
                    <a:pt x="405446" y="196545"/>
                  </a:lnTo>
                  <a:lnTo>
                    <a:pt x="403522" y="198074"/>
                  </a:lnTo>
                  <a:lnTo>
                    <a:pt x="395677" y="196545"/>
                  </a:lnTo>
                  <a:lnTo>
                    <a:pt x="385809" y="196545"/>
                  </a:lnTo>
                  <a:lnTo>
                    <a:pt x="379938" y="199555"/>
                  </a:lnTo>
                  <a:lnTo>
                    <a:pt x="376040" y="198074"/>
                  </a:lnTo>
                  <a:lnTo>
                    <a:pt x="368195" y="196545"/>
                  </a:lnTo>
                  <a:lnTo>
                    <a:pt x="366221" y="196545"/>
                  </a:lnTo>
                  <a:lnTo>
                    <a:pt x="364297" y="195015"/>
                  </a:lnTo>
                  <a:lnTo>
                    <a:pt x="352504" y="196545"/>
                  </a:lnTo>
                  <a:lnTo>
                    <a:pt x="327094" y="173848"/>
                  </a:lnTo>
                  <a:lnTo>
                    <a:pt x="319249" y="170838"/>
                  </a:lnTo>
                  <a:lnTo>
                    <a:pt x="307457" y="169309"/>
                  </a:lnTo>
                  <a:lnTo>
                    <a:pt x="297589" y="170838"/>
                  </a:lnTo>
                  <a:lnTo>
                    <a:pt x="295615" y="172368"/>
                  </a:lnTo>
                  <a:lnTo>
                    <a:pt x="285747" y="170838"/>
                  </a:lnTo>
                  <a:lnTo>
                    <a:pt x="275879" y="170838"/>
                  </a:lnTo>
                  <a:lnTo>
                    <a:pt x="270007" y="172368"/>
                  </a:lnTo>
                  <a:lnTo>
                    <a:pt x="264136" y="170838"/>
                  </a:lnTo>
                  <a:lnTo>
                    <a:pt x="258264" y="169309"/>
                  </a:lnTo>
                  <a:lnTo>
                    <a:pt x="246521" y="164770"/>
                  </a:lnTo>
                  <a:lnTo>
                    <a:pt x="238676" y="158750"/>
                  </a:lnTo>
                  <a:lnTo>
                    <a:pt x="238676" y="154211"/>
                  </a:lnTo>
                  <a:lnTo>
                    <a:pt x="240601" y="151201"/>
                  </a:lnTo>
                  <a:lnTo>
                    <a:pt x="240601" y="148142"/>
                  </a:lnTo>
                  <a:lnTo>
                    <a:pt x="242574" y="139113"/>
                  </a:lnTo>
                  <a:lnTo>
                    <a:pt x="242574" y="134524"/>
                  </a:lnTo>
                  <a:lnTo>
                    <a:pt x="236702" y="126975"/>
                  </a:lnTo>
                  <a:lnTo>
                    <a:pt x="222986" y="104328"/>
                  </a:lnTo>
                  <a:lnTo>
                    <a:pt x="209565" y="104328"/>
                  </a:lnTo>
                  <a:lnTo>
                    <a:pt x="211539" y="101318"/>
                  </a:lnTo>
                  <a:lnTo>
                    <a:pt x="215486" y="92239"/>
                  </a:lnTo>
                  <a:lnTo>
                    <a:pt x="217410" y="80102"/>
                  </a:lnTo>
                  <a:lnTo>
                    <a:pt x="215486" y="75562"/>
                  </a:lnTo>
                  <a:lnTo>
                    <a:pt x="217410" y="69543"/>
                  </a:lnTo>
                  <a:lnTo>
                    <a:pt x="229154" y="54445"/>
                  </a:lnTo>
                  <a:lnTo>
                    <a:pt x="235074" y="51386"/>
                  </a:lnTo>
                  <a:lnTo>
                    <a:pt x="240897" y="43836"/>
                  </a:lnTo>
                  <a:lnTo>
                    <a:pt x="246817" y="43836"/>
                  </a:lnTo>
                  <a:lnTo>
                    <a:pt x="248741" y="39248"/>
                  </a:lnTo>
                  <a:lnTo>
                    <a:pt x="262458" y="25679"/>
                  </a:lnTo>
                  <a:lnTo>
                    <a:pt x="278099" y="19660"/>
                  </a:lnTo>
                  <a:lnTo>
                    <a:pt x="280122" y="18130"/>
                  </a:lnTo>
                  <a:lnTo>
                    <a:pt x="284020" y="18130"/>
                  </a:lnTo>
                  <a:lnTo>
                    <a:pt x="285944" y="16601"/>
                  </a:lnTo>
                  <a:lnTo>
                    <a:pt x="291865" y="15071"/>
                  </a:lnTo>
                  <a:lnTo>
                    <a:pt x="291865" y="12061"/>
                  </a:lnTo>
                  <a:lnTo>
                    <a:pt x="285944" y="5992"/>
                  </a:lnTo>
                  <a:lnTo>
                    <a:pt x="274201" y="-27"/>
                  </a:lnTo>
                  <a:lnTo>
                    <a:pt x="270303" y="-27"/>
                  </a:lnTo>
                  <a:lnTo>
                    <a:pt x="268330" y="2983"/>
                  </a:lnTo>
                  <a:lnTo>
                    <a:pt x="268330" y="4463"/>
                  </a:lnTo>
                  <a:lnTo>
                    <a:pt x="262458" y="5943"/>
                  </a:lnTo>
                  <a:lnTo>
                    <a:pt x="260485" y="7522"/>
                  </a:lnTo>
                  <a:lnTo>
                    <a:pt x="252689" y="7522"/>
                  </a:lnTo>
                  <a:lnTo>
                    <a:pt x="246817" y="10532"/>
                  </a:lnTo>
                  <a:lnTo>
                    <a:pt x="244844" y="12012"/>
                  </a:lnTo>
                  <a:lnTo>
                    <a:pt x="246817" y="15022"/>
                  </a:lnTo>
                  <a:lnTo>
                    <a:pt x="244844" y="18081"/>
                  </a:lnTo>
                  <a:lnTo>
                    <a:pt x="236998" y="22620"/>
                  </a:lnTo>
                  <a:lnTo>
                    <a:pt x="225354" y="28689"/>
                  </a:lnTo>
                  <a:lnTo>
                    <a:pt x="215486" y="33228"/>
                  </a:lnTo>
                  <a:lnTo>
                    <a:pt x="205618" y="36238"/>
                  </a:lnTo>
                  <a:lnTo>
                    <a:pt x="182083" y="36238"/>
                  </a:lnTo>
                  <a:lnTo>
                    <a:pt x="176211" y="39248"/>
                  </a:lnTo>
                  <a:lnTo>
                    <a:pt x="176211" y="42307"/>
                  </a:lnTo>
                  <a:lnTo>
                    <a:pt x="178185" y="46846"/>
                  </a:lnTo>
                  <a:lnTo>
                    <a:pt x="178185" y="51386"/>
                  </a:lnTo>
                  <a:lnTo>
                    <a:pt x="172313" y="55925"/>
                  </a:lnTo>
                  <a:lnTo>
                    <a:pt x="170389" y="54445"/>
                  </a:lnTo>
                  <a:lnTo>
                    <a:pt x="170389" y="48376"/>
                  </a:lnTo>
                  <a:lnTo>
                    <a:pt x="174287" y="46846"/>
                  </a:lnTo>
                  <a:lnTo>
                    <a:pt x="168366" y="46846"/>
                  </a:lnTo>
                  <a:lnTo>
                    <a:pt x="158498" y="42307"/>
                  </a:lnTo>
                  <a:lnTo>
                    <a:pt x="154600" y="43836"/>
                  </a:lnTo>
                  <a:lnTo>
                    <a:pt x="140884" y="48376"/>
                  </a:lnTo>
                  <a:lnTo>
                    <a:pt x="138910" y="52866"/>
                  </a:lnTo>
                  <a:lnTo>
                    <a:pt x="131065" y="60464"/>
                  </a:lnTo>
                  <a:lnTo>
                    <a:pt x="121197" y="77092"/>
                  </a:lnTo>
                  <a:lnTo>
                    <a:pt x="121197" y="81631"/>
                  </a:lnTo>
                  <a:lnTo>
                    <a:pt x="123220" y="80102"/>
                  </a:lnTo>
                  <a:lnTo>
                    <a:pt x="125144" y="81631"/>
                  </a:lnTo>
                  <a:lnTo>
                    <a:pt x="127118" y="89180"/>
                  </a:lnTo>
                  <a:lnTo>
                    <a:pt x="125144" y="93720"/>
                  </a:lnTo>
                  <a:lnTo>
                    <a:pt x="119272" y="95249"/>
                  </a:lnTo>
                  <a:lnTo>
                    <a:pt x="111427" y="96729"/>
                  </a:lnTo>
                  <a:lnTo>
                    <a:pt x="107529" y="98259"/>
                  </a:lnTo>
                  <a:lnTo>
                    <a:pt x="97661" y="105808"/>
                  </a:lnTo>
                  <a:lnTo>
                    <a:pt x="93764" y="107337"/>
                  </a:lnTo>
                  <a:lnTo>
                    <a:pt x="88139" y="117946"/>
                  </a:lnTo>
                  <a:lnTo>
                    <a:pt x="76396" y="117946"/>
                  </a:lnTo>
                  <a:lnTo>
                    <a:pt x="78369" y="124015"/>
                  </a:lnTo>
                  <a:lnTo>
                    <a:pt x="86165" y="128554"/>
                  </a:lnTo>
                  <a:lnTo>
                    <a:pt x="86165" y="136103"/>
                  </a:lnTo>
                  <a:lnTo>
                    <a:pt x="80293" y="143652"/>
                  </a:lnTo>
                  <a:lnTo>
                    <a:pt x="76396" y="143652"/>
                  </a:lnTo>
                  <a:lnTo>
                    <a:pt x="70524" y="137682"/>
                  </a:lnTo>
                  <a:lnTo>
                    <a:pt x="72449" y="136152"/>
                  </a:lnTo>
                  <a:lnTo>
                    <a:pt x="74422" y="133143"/>
                  </a:lnTo>
                  <a:lnTo>
                    <a:pt x="68550" y="130084"/>
                  </a:lnTo>
                  <a:lnTo>
                    <a:pt x="66577" y="125593"/>
                  </a:lnTo>
                  <a:lnTo>
                    <a:pt x="58781" y="119525"/>
                  </a:lnTo>
                  <a:lnTo>
                    <a:pt x="58781" y="128603"/>
                  </a:lnTo>
                  <a:lnTo>
                    <a:pt x="62679" y="136152"/>
                  </a:lnTo>
                  <a:lnTo>
                    <a:pt x="56758" y="145231"/>
                  </a:lnTo>
                  <a:lnTo>
                    <a:pt x="54834" y="151300"/>
                  </a:lnTo>
                  <a:lnTo>
                    <a:pt x="50936" y="154310"/>
                  </a:lnTo>
                  <a:lnTo>
                    <a:pt x="45015" y="154310"/>
                  </a:lnTo>
                  <a:lnTo>
                    <a:pt x="41117" y="163388"/>
                  </a:lnTo>
                  <a:lnTo>
                    <a:pt x="43091" y="164868"/>
                  </a:lnTo>
                  <a:lnTo>
                    <a:pt x="43091" y="172220"/>
                  </a:lnTo>
                  <a:lnTo>
                    <a:pt x="45015" y="179769"/>
                  </a:lnTo>
                  <a:lnTo>
                    <a:pt x="52860" y="185838"/>
                  </a:lnTo>
                  <a:lnTo>
                    <a:pt x="54834" y="185838"/>
                  </a:lnTo>
                  <a:lnTo>
                    <a:pt x="58781" y="184309"/>
                  </a:lnTo>
                  <a:lnTo>
                    <a:pt x="60705" y="187318"/>
                  </a:lnTo>
                  <a:lnTo>
                    <a:pt x="62679" y="194867"/>
                  </a:lnTo>
                  <a:lnTo>
                    <a:pt x="56758" y="199407"/>
                  </a:lnTo>
                  <a:lnTo>
                    <a:pt x="56758" y="200936"/>
                  </a:lnTo>
                  <a:lnTo>
                    <a:pt x="60705" y="205475"/>
                  </a:lnTo>
                  <a:lnTo>
                    <a:pt x="60705" y="213025"/>
                  </a:lnTo>
                  <a:lnTo>
                    <a:pt x="56758" y="216034"/>
                  </a:lnTo>
                  <a:lnTo>
                    <a:pt x="54834" y="222103"/>
                  </a:lnTo>
                  <a:lnTo>
                    <a:pt x="56758" y="222103"/>
                  </a:lnTo>
                  <a:lnTo>
                    <a:pt x="58781" y="228123"/>
                  </a:lnTo>
                  <a:lnTo>
                    <a:pt x="58781" y="252349"/>
                  </a:lnTo>
                  <a:lnTo>
                    <a:pt x="54834" y="256888"/>
                  </a:lnTo>
                  <a:lnTo>
                    <a:pt x="54834" y="261378"/>
                  </a:lnTo>
                  <a:lnTo>
                    <a:pt x="58781" y="265967"/>
                  </a:lnTo>
                  <a:lnTo>
                    <a:pt x="64603" y="264437"/>
                  </a:lnTo>
                  <a:lnTo>
                    <a:pt x="62679" y="267496"/>
                  </a:lnTo>
                  <a:lnTo>
                    <a:pt x="66577" y="273516"/>
                  </a:lnTo>
                  <a:lnTo>
                    <a:pt x="70524" y="273516"/>
                  </a:lnTo>
                  <a:lnTo>
                    <a:pt x="70524" y="274996"/>
                  </a:lnTo>
                  <a:lnTo>
                    <a:pt x="66577" y="279585"/>
                  </a:lnTo>
                  <a:lnTo>
                    <a:pt x="64603" y="285604"/>
                  </a:lnTo>
                  <a:lnTo>
                    <a:pt x="50936" y="296163"/>
                  </a:lnTo>
                  <a:lnTo>
                    <a:pt x="45015" y="303761"/>
                  </a:lnTo>
                  <a:lnTo>
                    <a:pt x="37170" y="312840"/>
                  </a:lnTo>
                  <a:lnTo>
                    <a:pt x="23503" y="314370"/>
                  </a:lnTo>
                  <a:lnTo>
                    <a:pt x="11760" y="320389"/>
                  </a:lnTo>
                  <a:lnTo>
                    <a:pt x="1892" y="333958"/>
                  </a:lnTo>
                  <a:lnTo>
                    <a:pt x="1892" y="344911"/>
                  </a:lnTo>
                  <a:lnTo>
                    <a:pt x="-82" y="349451"/>
                  </a:lnTo>
                  <a:lnTo>
                    <a:pt x="9786" y="353990"/>
                  </a:lnTo>
                  <a:lnTo>
                    <a:pt x="23552" y="361588"/>
                  </a:lnTo>
                  <a:lnTo>
                    <a:pt x="37219" y="369088"/>
                  </a:lnTo>
                  <a:lnTo>
                    <a:pt x="43140" y="369088"/>
                  </a:lnTo>
                  <a:lnTo>
                    <a:pt x="53008" y="378167"/>
                  </a:lnTo>
                  <a:lnTo>
                    <a:pt x="53008" y="382706"/>
                  </a:lnTo>
                  <a:lnTo>
                    <a:pt x="54982" y="385765"/>
                  </a:lnTo>
                  <a:lnTo>
                    <a:pt x="64850" y="387245"/>
                  </a:lnTo>
                  <a:lnTo>
                    <a:pt x="76642" y="391785"/>
                  </a:lnTo>
                  <a:lnTo>
                    <a:pt x="80540" y="394844"/>
                  </a:lnTo>
                  <a:lnTo>
                    <a:pt x="94257" y="396373"/>
                  </a:lnTo>
                  <a:lnTo>
                    <a:pt x="98155" y="393314"/>
                  </a:lnTo>
                  <a:lnTo>
                    <a:pt x="96231" y="387245"/>
                  </a:lnTo>
                  <a:lnTo>
                    <a:pt x="102053" y="384235"/>
                  </a:lnTo>
                  <a:lnTo>
                    <a:pt x="104026" y="384235"/>
                  </a:lnTo>
                  <a:lnTo>
                    <a:pt x="113894" y="387245"/>
                  </a:lnTo>
                  <a:lnTo>
                    <a:pt x="121690" y="390255"/>
                  </a:lnTo>
                  <a:lnTo>
                    <a:pt x="123713" y="393314"/>
                  </a:lnTo>
                  <a:lnTo>
                    <a:pt x="127611" y="394844"/>
                  </a:lnTo>
                  <a:lnTo>
                    <a:pt x="129535" y="396373"/>
                  </a:lnTo>
                  <a:lnTo>
                    <a:pt x="131509" y="396373"/>
                  </a:lnTo>
                  <a:lnTo>
                    <a:pt x="135456" y="399383"/>
                  </a:lnTo>
                  <a:lnTo>
                    <a:pt x="147199" y="402393"/>
                  </a:lnTo>
                  <a:lnTo>
                    <a:pt x="157067" y="402393"/>
                  </a:lnTo>
                  <a:lnTo>
                    <a:pt x="159041" y="408462"/>
                  </a:lnTo>
                  <a:lnTo>
                    <a:pt x="166886" y="415962"/>
                  </a:lnTo>
                  <a:lnTo>
                    <a:pt x="166886" y="422030"/>
                  </a:lnTo>
                  <a:lnTo>
                    <a:pt x="172758" y="431109"/>
                  </a:lnTo>
                  <a:lnTo>
                    <a:pt x="178629" y="431109"/>
                  </a:lnTo>
                  <a:lnTo>
                    <a:pt x="196243" y="437128"/>
                  </a:lnTo>
                  <a:lnTo>
                    <a:pt x="202115" y="444727"/>
                  </a:lnTo>
                  <a:lnTo>
                    <a:pt x="202115" y="452276"/>
                  </a:lnTo>
                  <a:lnTo>
                    <a:pt x="204089" y="452276"/>
                  </a:lnTo>
                  <a:lnTo>
                    <a:pt x="209960" y="456815"/>
                  </a:lnTo>
                  <a:lnTo>
                    <a:pt x="213858" y="464364"/>
                  </a:lnTo>
                  <a:lnTo>
                    <a:pt x="211934" y="465894"/>
                  </a:lnTo>
                  <a:lnTo>
                    <a:pt x="213858" y="470433"/>
                  </a:lnTo>
                  <a:lnTo>
                    <a:pt x="221703" y="473443"/>
                  </a:lnTo>
                  <a:lnTo>
                    <a:pt x="229548" y="471913"/>
                  </a:lnTo>
                  <a:lnTo>
                    <a:pt x="235469" y="473443"/>
                  </a:lnTo>
                  <a:lnTo>
                    <a:pt x="243265" y="471913"/>
                  </a:lnTo>
                  <a:lnTo>
                    <a:pt x="245239" y="470433"/>
                  </a:lnTo>
                  <a:lnTo>
                    <a:pt x="258955" y="465894"/>
                  </a:lnTo>
                  <a:lnTo>
                    <a:pt x="268823" y="467424"/>
                  </a:lnTo>
                  <a:lnTo>
                    <a:pt x="276668" y="470433"/>
                  </a:lnTo>
                  <a:lnTo>
                    <a:pt x="290385" y="465894"/>
                  </a:lnTo>
                  <a:lnTo>
                    <a:pt x="296256" y="465894"/>
                  </a:lnTo>
                  <a:lnTo>
                    <a:pt x="298230" y="470433"/>
                  </a:lnTo>
                  <a:lnTo>
                    <a:pt x="302128" y="468904"/>
                  </a:lnTo>
                  <a:lnTo>
                    <a:pt x="309973" y="471913"/>
                  </a:lnTo>
                  <a:lnTo>
                    <a:pt x="313871" y="476453"/>
                  </a:lnTo>
                  <a:lnTo>
                    <a:pt x="319792" y="474923"/>
                  </a:lnTo>
                  <a:lnTo>
                    <a:pt x="321716" y="477982"/>
                  </a:lnTo>
                  <a:lnTo>
                    <a:pt x="297736" y="512669"/>
                  </a:lnTo>
                  <a:lnTo>
                    <a:pt x="299710" y="517208"/>
                  </a:lnTo>
                  <a:lnTo>
                    <a:pt x="307506" y="515678"/>
                  </a:lnTo>
                  <a:lnTo>
                    <a:pt x="315351" y="515678"/>
                  </a:lnTo>
                  <a:lnTo>
                    <a:pt x="321222" y="52021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Graphic 2">
              <a:extLst>
                <a:ext uri="{FF2B5EF4-FFF2-40B4-BE49-F238E27FC236}">
                  <a16:creationId xmlns:a16="http://schemas.microsoft.com/office/drawing/2014/main" id="{E9EBE1E5-B5D5-47BC-9F49-6C7EE7BD630F}"/>
                </a:ext>
              </a:extLst>
            </p:cNvPr>
            <p:cNvSpPr/>
            <p:nvPr/>
          </p:nvSpPr>
          <p:spPr>
            <a:xfrm>
              <a:off x="2779372" y="4597325"/>
              <a:ext cx="190690" cy="183152"/>
            </a:xfrm>
            <a:custGeom>
              <a:avLst/>
              <a:gdLst>
                <a:gd name="connsiteX0" fmla="*/ 202065 w 209893"/>
                <a:gd name="connsiteY0" fmla="*/ 47044 h 201604"/>
                <a:gd name="connsiteX1" fmla="*/ 200092 w 209893"/>
                <a:gd name="connsiteY1" fmla="*/ 45514 h 201604"/>
                <a:gd name="connsiteX2" fmla="*/ 196243 w 209893"/>
                <a:gd name="connsiteY2" fmla="*/ 43985 h 201604"/>
                <a:gd name="connsiteX3" fmla="*/ 194270 w 209893"/>
                <a:gd name="connsiteY3" fmla="*/ 40975 h 201604"/>
                <a:gd name="connsiteX4" fmla="*/ 186572 w 209893"/>
                <a:gd name="connsiteY4" fmla="*/ 37965 h 201604"/>
                <a:gd name="connsiteX5" fmla="*/ 176704 w 209893"/>
                <a:gd name="connsiteY5" fmla="*/ 34906 h 201604"/>
                <a:gd name="connsiteX6" fmla="*/ 174731 w 209893"/>
                <a:gd name="connsiteY6" fmla="*/ 34906 h 201604"/>
                <a:gd name="connsiteX7" fmla="*/ 168909 w 209893"/>
                <a:gd name="connsiteY7" fmla="*/ 37965 h 201604"/>
                <a:gd name="connsiteX8" fmla="*/ 170882 w 209893"/>
                <a:gd name="connsiteY8" fmla="*/ 43985 h 201604"/>
                <a:gd name="connsiteX9" fmla="*/ 166985 w 209893"/>
                <a:gd name="connsiteY9" fmla="*/ 47044 h 201604"/>
                <a:gd name="connsiteX10" fmla="*/ 153465 w 209893"/>
                <a:gd name="connsiteY10" fmla="*/ 45514 h 201604"/>
                <a:gd name="connsiteX11" fmla="*/ 149617 w 209893"/>
                <a:gd name="connsiteY11" fmla="*/ 42504 h 201604"/>
                <a:gd name="connsiteX12" fmla="*/ 137972 w 209893"/>
                <a:gd name="connsiteY12" fmla="*/ 37965 h 201604"/>
                <a:gd name="connsiteX13" fmla="*/ 128104 w 209893"/>
                <a:gd name="connsiteY13" fmla="*/ 36436 h 201604"/>
                <a:gd name="connsiteX14" fmla="*/ 126131 w 209893"/>
                <a:gd name="connsiteY14" fmla="*/ 33377 h 201604"/>
                <a:gd name="connsiteX15" fmla="*/ 126131 w 209893"/>
                <a:gd name="connsiteY15" fmla="*/ 28739 h 201604"/>
                <a:gd name="connsiteX16" fmla="*/ 116509 w 209893"/>
                <a:gd name="connsiteY16" fmla="*/ 19660 h 201604"/>
                <a:gd name="connsiteX17" fmla="*/ 110687 w 209893"/>
                <a:gd name="connsiteY17" fmla="*/ 19660 h 201604"/>
                <a:gd name="connsiteX18" fmla="*/ 97168 w 209893"/>
                <a:gd name="connsiteY18" fmla="*/ 12111 h 201604"/>
                <a:gd name="connsiteX19" fmla="*/ 83599 w 209893"/>
                <a:gd name="connsiteY19" fmla="*/ 4513 h 201604"/>
                <a:gd name="connsiteX20" fmla="*/ 73731 w 209893"/>
                <a:gd name="connsiteY20" fmla="*/ -27 h 201604"/>
                <a:gd name="connsiteX21" fmla="*/ 71807 w 209893"/>
                <a:gd name="connsiteY21" fmla="*/ 9052 h 201604"/>
                <a:gd name="connsiteX22" fmla="*/ 61939 w 209893"/>
                <a:gd name="connsiteY22" fmla="*/ 9052 h 201604"/>
                <a:gd name="connsiteX23" fmla="*/ 44571 w 209893"/>
                <a:gd name="connsiteY23" fmla="*/ 18130 h 201604"/>
                <a:gd name="connsiteX24" fmla="*/ 34703 w 209893"/>
                <a:gd name="connsiteY24" fmla="*/ 19660 h 201604"/>
                <a:gd name="connsiteX25" fmla="*/ 27006 w 209893"/>
                <a:gd name="connsiteY25" fmla="*/ 22670 h 201604"/>
                <a:gd name="connsiteX26" fmla="*/ 30854 w 209893"/>
                <a:gd name="connsiteY26" fmla="*/ 31798 h 201604"/>
                <a:gd name="connsiteX27" fmla="*/ 30854 w 209893"/>
                <a:gd name="connsiteY27" fmla="*/ 34807 h 201604"/>
                <a:gd name="connsiteX28" fmla="*/ 34703 w 209893"/>
                <a:gd name="connsiteY28" fmla="*/ 39396 h 201604"/>
                <a:gd name="connsiteX29" fmla="*/ 32779 w 209893"/>
                <a:gd name="connsiteY29" fmla="*/ 46945 h 201604"/>
                <a:gd name="connsiteX30" fmla="*/ 17335 w 209893"/>
                <a:gd name="connsiteY30" fmla="*/ 60563 h 201604"/>
                <a:gd name="connsiteX31" fmla="*/ 17335 w 209893"/>
                <a:gd name="connsiteY31" fmla="*/ 65102 h 201604"/>
                <a:gd name="connsiteX32" fmla="*/ 21184 w 209893"/>
                <a:gd name="connsiteY32" fmla="*/ 69691 h 201604"/>
                <a:gd name="connsiteX33" fmla="*/ 13437 w 209893"/>
                <a:gd name="connsiteY33" fmla="*/ 77240 h 201604"/>
                <a:gd name="connsiteX34" fmla="*/ 5691 w 209893"/>
                <a:gd name="connsiteY34" fmla="*/ 77240 h 201604"/>
                <a:gd name="connsiteX35" fmla="*/ -82 w 209893"/>
                <a:gd name="connsiteY35" fmla="*/ 86319 h 201604"/>
                <a:gd name="connsiteX36" fmla="*/ 3767 w 209893"/>
                <a:gd name="connsiteY36" fmla="*/ 90858 h 201604"/>
                <a:gd name="connsiteX37" fmla="*/ 5691 w 209893"/>
                <a:gd name="connsiteY37" fmla="*/ 96976 h 201604"/>
                <a:gd name="connsiteX38" fmla="*/ 5691 w 209893"/>
                <a:gd name="connsiteY38" fmla="*/ 112124 h 201604"/>
                <a:gd name="connsiteX39" fmla="*/ 1842 w 209893"/>
                <a:gd name="connsiteY39" fmla="*/ 116614 h 201604"/>
                <a:gd name="connsiteX40" fmla="*/ -82 w 209893"/>
                <a:gd name="connsiteY40" fmla="*/ 119673 h 201604"/>
                <a:gd name="connsiteX41" fmla="*/ 3767 w 209893"/>
                <a:gd name="connsiteY41" fmla="*/ 124212 h 201604"/>
                <a:gd name="connsiteX42" fmla="*/ 9589 w 209893"/>
                <a:gd name="connsiteY42" fmla="*/ 127271 h 201604"/>
                <a:gd name="connsiteX43" fmla="*/ 17335 w 209893"/>
                <a:gd name="connsiteY43" fmla="*/ 134820 h 201604"/>
                <a:gd name="connsiteX44" fmla="*/ 25032 w 209893"/>
                <a:gd name="connsiteY44" fmla="*/ 137879 h 201604"/>
                <a:gd name="connsiteX45" fmla="*/ 27006 w 209893"/>
                <a:gd name="connsiteY45" fmla="*/ 136350 h 201604"/>
                <a:gd name="connsiteX46" fmla="*/ 30854 w 209893"/>
                <a:gd name="connsiteY46" fmla="*/ 127271 h 201604"/>
                <a:gd name="connsiteX47" fmla="*/ 32779 w 209893"/>
                <a:gd name="connsiteY47" fmla="*/ 124212 h 201604"/>
                <a:gd name="connsiteX48" fmla="*/ 36676 w 209893"/>
                <a:gd name="connsiteY48" fmla="*/ 119673 h 201604"/>
                <a:gd name="connsiteX49" fmla="*/ 36676 w 209893"/>
                <a:gd name="connsiteY49" fmla="*/ 124212 h 201604"/>
                <a:gd name="connsiteX50" fmla="*/ 38601 w 209893"/>
                <a:gd name="connsiteY50" fmla="*/ 128752 h 201604"/>
                <a:gd name="connsiteX51" fmla="*/ 38601 w 209893"/>
                <a:gd name="connsiteY51" fmla="*/ 121153 h 201604"/>
                <a:gd name="connsiteX52" fmla="*/ 40525 w 209893"/>
                <a:gd name="connsiteY52" fmla="*/ 122732 h 201604"/>
                <a:gd name="connsiteX53" fmla="*/ 42499 w 209893"/>
                <a:gd name="connsiteY53" fmla="*/ 130281 h 201604"/>
                <a:gd name="connsiteX54" fmla="*/ 40525 w 209893"/>
                <a:gd name="connsiteY54" fmla="*/ 139360 h 201604"/>
                <a:gd name="connsiteX55" fmla="*/ 42499 w 209893"/>
                <a:gd name="connsiteY55" fmla="*/ 143899 h 201604"/>
                <a:gd name="connsiteX56" fmla="*/ 39242 w 209893"/>
                <a:gd name="connsiteY56" fmla="*/ 151596 h 201604"/>
                <a:gd name="connsiteX57" fmla="*/ 31496 w 209893"/>
                <a:gd name="connsiteY57" fmla="*/ 157665 h 201604"/>
                <a:gd name="connsiteX58" fmla="*/ 33420 w 209893"/>
                <a:gd name="connsiteY58" fmla="*/ 160675 h 201604"/>
                <a:gd name="connsiteX59" fmla="*/ 37318 w 209893"/>
                <a:gd name="connsiteY59" fmla="*/ 168273 h 201604"/>
                <a:gd name="connsiteX60" fmla="*/ 29571 w 209893"/>
                <a:gd name="connsiteY60" fmla="*/ 171283 h 201604"/>
                <a:gd name="connsiteX61" fmla="*/ 23749 w 209893"/>
                <a:gd name="connsiteY61" fmla="*/ 177352 h 201604"/>
                <a:gd name="connsiteX62" fmla="*/ 25674 w 209893"/>
                <a:gd name="connsiteY62" fmla="*/ 183420 h 201604"/>
                <a:gd name="connsiteX63" fmla="*/ 31496 w 209893"/>
                <a:gd name="connsiteY63" fmla="*/ 183420 h 201604"/>
                <a:gd name="connsiteX64" fmla="*/ 39242 w 209893"/>
                <a:gd name="connsiteY64" fmla="*/ 180411 h 201604"/>
                <a:gd name="connsiteX65" fmla="*/ 43140 w 209893"/>
                <a:gd name="connsiteY65" fmla="*/ 186430 h 201604"/>
                <a:gd name="connsiteX66" fmla="*/ 52761 w 209893"/>
                <a:gd name="connsiteY66" fmla="*/ 187960 h 201604"/>
                <a:gd name="connsiteX67" fmla="*/ 60508 w 209893"/>
                <a:gd name="connsiteY67" fmla="*/ 189440 h 201604"/>
                <a:gd name="connsiteX68" fmla="*/ 70376 w 209893"/>
                <a:gd name="connsiteY68" fmla="*/ 201578 h 201604"/>
                <a:gd name="connsiteX69" fmla="*/ 74225 w 209893"/>
                <a:gd name="connsiteY69" fmla="*/ 201578 h 201604"/>
                <a:gd name="connsiteX70" fmla="*/ 81971 w 209893"/>
                <a:gd name="connsiteY70" fmla="*/ 195558 h 201604"/>
                <a:gd name="connsiteX71" fmla="*/ 109059 w 209893"/>
                <a:gd name="connsiteY71" fmla="*/ 147007 h 201604"/>
                <a:gd name="connsiteX72" fmla="*/ 114832 w 209893"/>
                <a:gd name="connsiteY72" fmla="*/ 142517 h 201604"/>
                <a:gd name="connsiteX73" fmla="*/ 149715 w 209893"/>
                <a:gd name="connsiteY73" fmla="*/ 131860 h 201604"/>
                <a:gd name="connsiteX74" fmla="*/ 167083 w 209893"/>
                <a:gd name="connsiteY74" fmla="*/ 122831 h 201604"/>
                <a:gd name="connsiteX75" fmla="*/ 192247 w 209893"/>
                <a:gd name="connsiteY75" fmla="*/ 103095 h 201604"/>
                <a:gd name="connsiteX76" fmla="*/ 202115 w 209893"/>
                <a:gd name="connsiteY76" fmla="*/ 83358 h 201604"/>
                <a:gd name="connsiteX77" fmla="*/ 207888 w 209893"/>
                <a:gd name="connsiteY77" fmla="*/ 83358 h 201604"/>
                <a:gd name="connsiteX78" fmla="*/ 207888 w 209893"/>
                <a:gd name="connsiteY78" fmla="*/ 78819 h 201604"/>
                <a:gd name="connsiteX79" fmla="*/ 209812 w 209893"/>
                <a:gd name="connsiteY79" fmla="*/ 72750 h 201604"/>
                <a:gd name="connsiteX80" fmla="*/ 209812 w 209893"/>
                <a:gd name="connsiteY80" fmla="*/ 66731 h 201604"/>
                <a:gd name="connsiteX81" fmla="*/ 202065 w 209893"/>
                <a:gd name="connsiteY81" fmla="*/ 56122 h 201604"/>
                <a:gd name="connsiteX82" fmla="*/ 202065 w 209893"/>
                <a:gd name="connsiteY82" fmla="*/ 47044 h 201604"/>
                <a:gd name="connsiteX83" fmla="*/ 25871 w 209893"/>
                <a:gd name="connsiteY83" fmla="*/ 147155 h 201604"/>
                <a:gd name="connsiteX84" fmla="*/ 25871 w 209893"/>
                <a:gd name="connsiteY84" fmla="*/ 144146 h 201604"/>
                <a:gd name="connsiteX85" fmla="*/ 27845 w 209893"/>
                <a:gd name="connsiteY85" fmla="*/ 139606 h 201604"/>
                <a:gd name="connsiteX86" fmla="*/ 35542 w 209893"/>
                <a:gd name="connsiteY86" fmla="*/ 135067 h 201604"/>
                <a:gd name="connsiteX87" fmla="*/ 35542 w 209893"/>
                <a:gd name="connsiteY87" fmla="*/ 136597 h 201604"/>
                <a:gd name="connsiteX88" fmla="*/ 33617 w 209893"/>
                <a:gd name="connsiteY88" fmla="*/ 139606 h 201604"/>
                <a:gd name="connsiteX89" fmla="*/ 33617 w 209893"/>
                <a:gd name="connsiteY89" fmla="*/ 144146 h 201604"/>
                <a:gd name="connsiteX90" fmla="*/ 31693 w 209893"/>
                <a:gd name="connsiteY90" fmla="*/ 148685 h 201604"/>
                <a:gd name="connsiteX91" fmla="*/ 27845 w 209893"/>
                <a:gd name="connsiteY91" fmla="*/ 148685 h 20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09893" h="201604">
                  <a:moveTo>
                    <a:pt x="202065" y="47044"/>
                  </a:moveTo>
                  <a:lnTo>
                    <a:pt x="200092" y="45514"/>
                  </a:lnTo>
                  <a:lnTo>
                    <a:pt x="196243" y="43985"/>
                  </a:lnTo>
                  <a:lnTo>
                    <a:pt x="194270" y="40975"/>
                  </a:lnTo>
                  <a:lnTo>
                    <a:pt x="186572" y="37965"/>
                  </a:lnTo>
                  <a:lnTo>
                    <a:pt x="176704" y="34906"/>
                  </a:lnTo>
                  <a:lnTo>
                    <a:pt x="174731" y="34906"/>
                  </a:lnTo>
                  <a:lnTo>
                    <a:pt x="168909" y="37965"/>
                  </a:lnTo>
                  <a:lnTo>
                    <a:pt x="170882" y="43985"/>
                  </a:lnTo>
                  <a:lnTo>
                    <a:pt x="166985" y="47044"/>
                  </a:lnTo>
                  <a:lnTo>
                    <a:pt x="153465" y="45514"/>
                  </a:lnTo>
                  <a:lnTo>
                    <a:pt x="149617" y="42504"/>
                  </a:lnTo>
                  <a:lnTo>
                    <a:pt x="137972" y="37965"/>
                  </a:lnTo>
                  <a:lnTo>
                    <a:pt x="128104" y="36436"/>
                  </a:lnTo>
                  <a:lnTo>
                    <a:pt x="126131" y="33377"/>
                  </a:lnTo>
                  <a:lnTo>
                    <a:pt x="126131" y="28739"/>
                  </a:lnTo>
                  <a:lnTo>
                    <a:pt x="116509" y="19660"/>
                  </a:lnTo>
                  <a:lnTo>
                    <a:pt x="110687" y="19660"/>
                  </a:lnTo>
                  <a:lnTo>
                    <a:pt x="97168" y="12111"/>
                  </a:lnTo>
                  <a:lnTo>
                    <a:pt x="83599" y="4513"/>
                  </a:lnTo>
                  <a:lnTo>
                    <a:pt x="73731" y="-27"/>
                  </a:lnTo>
                  <a:lnTo>
                    <a:pt x="71807" y="9052"/>
                  </a:lnTo>
                  <a:lnTo>
                    <a:pt x="61939" y="9052"/>
                  </a:lnTo>
                  <a:lnTo>
                    <a:pt x="44571" y="18130"/>
                  </a:lnTo>
                  <a:lnTo>
                    <a:pt x="34703" y="19660"/>
                  </a:lnTo>
                  <a:lnTo>
                    <a:pt x="27006" y="22670"/>
                  </a:lnTo>
                  <a:lnTo>
                    <a:pt x="30854" y="31798"/>
                  </a:lnTo>
                  <a:lnTo>
                    <a:pt x="30854" y="34807"/>
                  </a:lnTo>
                  <a:lnTo>
                    <a:pt x="34703" y="39396"/>
                  </a:lnTo>
                  <a:lnTo>
                    <a:pt x="32779" y="46945"/>
                  </a:lnTo>
                  <a:lnTo>
                    <a:pt x="17335" y="60563"/>
                  </a:lnTo>
                  <a:lnTo>
                    <a:pt x="17335" y="65102"/>
                  </a:lnTo>
                  <a:lnTo>
                    <a:pt x="21184" y="69691"/>
                  </a:lnTo>
                  <a:lnTo>
                    <a:pt x="13437" y="77240"/>
                  </a:lnTo>
                  <a:lnTo>
                    <a:pt x="5691" y="77240"/>
                  </a:lnTo>
                  <a:lnTo>
                    <a:pt x="-82" y="86319"/>
                  </a:lnTo>
                  <a:lnTo>
                    <a:pt x="3767" y="90858"/>
                  </a:lnTo>
                  <a:lnTo>
                    <a:pt x="5691" y="96976"/>
                  </a:lnTo>
                  <a:lnTo>
                    <a:pt x="5691" y="112124"/>
                  </a:lnTo>
                  <a:lnTo>
                    <a:pt x="1842" y="116614"/>
                  </a:lnTo>
                  <a:lnTo>
                    <a:pt x="-82" y="119673"/>
                  </a:lnTo>
                  <a:lnTo>
                    <a:pt x="3767" y="124212"/>
                  </a:lnTo>
                  <a:lnTo>
                    <a:pt x="9589" y="127271"/>
                  </a:lnTo>
                  <a:lnTo>
                    <a:pt x="17335" y="134820"/>
                  </a:lnTo>
                  <a:lnTo>
                    <a:pt x="25032" y="137879"/>
                  </a:lnTo>
                  <a:lnTo>
                    <a:pt x="27006" y="136350"/>
                  </a:lnTo>
                  <a:lnTo>
                    <a:pt x="30854" y="127271"/>
                  </a:lnTo>
                  <a:lnTo>
                    <a:pt x="32779" y="124212"/>
                  </a:lnTo>
                  <a:lnTo>
                    <a:pt x="36676" y="119673"/>
                  </a:lnTo>
                  <a:lnTo>
                    <a:pt x="36676" y="124212"/>
                  </a:lnTo>
                  <a:lnTo>
                    <a:pt x="38601" y="128752"/>
                  </a:lnTo>
                  <a:lnTo>
                    <a:pt x="38601" y="121153"/>
                  </a:lnTo>
                  <a:lnTo>
                    <a:pt x="40525" y="122732"/>
                  </a:lnTo>
                  <a:lnTo>
                    <a:pt x="42499" y="130281"/>
                  </a:lnTo>
                  <a:lnTo>
                    <a:pt x="40525" y="139360"/>
                  </a:lnTo>
                  <a:lnTo>
                    <a:pt x="42499" y="143899"/>
                  </a:lnTo>
                  <a:lnTo>
                    <a:pt x="39242" y="151596"/>
                  </a:lnTo>
                  <a:lnTo>
                    <a:pt x="31496" y="157665"/>
                  </a:lnTo>
                  <a:lnTo>
                    <a:pt x="33420" y="160675"/>
                  </a:lnTo>
                  <a:lnTo>
                    <a:pt x="37318" y="168273"/>
                  </a:lnTo>
                  <a:lnTo>
                    <a:pt x="29571" y="171283"/>
                  </a:lnTo>
                  <a:lnTo>
                    <a:pt x="23749" y="177352"/>
                  </a:lnTo>
                  <a:lnTo>
                    <a:pt x="25674" y="183420"/>
                  </a:lnTo>
                  <a:lnTo>
                    <a:pt x="31496" y="183420"/>
                  </a:lnTo>
                  <a:lnTo>
                    <a:pt x="39242" y="180411"/>
                  </a:lnTo>
                  <a:lnTo>
                    <a:pt x="43140" y="186430"/>
                  </a:lnTo>
                  <a:lnTo>
                    <a:pt x="52761" y="187960"/>
                  </a:lnTo>
                  <a:lnTo>
                    <a:pt x="60508" y="189440"/>
                  </a:lnTo>
                  <a:lnTo>
                    <a:pt x="70376" y="201578"/>
                  </a:lnTo>
                  <a:lnTo>
                    <a:pt x="74225" y="201578"/>
                  </a:lnTo>
                  <a:lnTo>
                    <a:pt x="81971" y="195558"/>
                  </a:lnTo>
                  <a:lnTo>
                    <a:pt x="109059" y="147007"/>
                  </a:lnTo>
                  <a:lnTo>
                    <a:pt x="114832" y="142517"/>
                  </a:lnTo>
                  <a:lnTo>
                    <a:pt x="149715" y="131860"/>
                  </a:lnTo>
                  <a:lnTo>
                    <a:pt x="167083" y="122831"/>
                  </a:lnTo>
                  <a:lnTo>
                    <a:pt x="192247" y="103095"/>
                  </a:lnTo>
                  <a:lnTo>
                    <a:pt x="202115" y="83358"/>
                  </a:lnTo>
                  <a:lnTo>
                    <a:pt x="207888" y="83358"/>
                  </a:lnTo>
                  <a:lnTo>
                    <a:pt x="207888" y="78819"/>
                  </a:lnTo>
                  <a:lnTo>
                    <a:pt x="209812" y="72750"/>
                  </a:lnTo>
                  <a:lnTo>
                    <a:pt x="209812" y="66731"/>
                  </a:lnTo>
                  <a:lnTo>
                    <a:pt x="202065" y="56122"/>
                  </a:lnTo>
                  <a:lnTo>
                    <a:pt x="202065" y="47044"/>
                  </a:lnTo>
                  <a:close/>
                  <a:moveTo>
                    <a:pt x="25871" y="147155"/>
                  </a:moveTo>
                  <a:lnTo>
                    <a:pt x="25871" y="144146"/>
                  </a:lnTo>
                  <a:lnTo>
                    <a:pt x="27845" y="139606"/>
                  </a:lnTo>
                  <a:lnTo>
                    <a:pt x="35542" y="135067"/>
                  </a:lnTo>
                  <a:lnTo>
                    <a:pt x="35542" y="136597"/>
                  </a:lnTo>
                  <a:lnTo>
                    <a:pt x="33617" y="139606"/>
                  </a:lnTo>
                  <a:lnTo>
                    <a:pt x="33617" y="144146"/>
                  </a:lnTo>
                  <a:lnTo>
                    <a:pt x="31693" y="148685"/>
                  </a:lnTo>
                  <a:lnTo>
                    <a:pt x="27845" y="148685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Graphic 2">
              <a:extLst>
                <a:ext uri="{FF2B5EF4-FFF2-40B4-BE49-F238E27FC236}">
                  <a16:creationId xmlns:a16="http://schemas.microsoft.com/office/drawing/2014/main" id="{55F3A5BE-1D4B-4045-AAB9-E79768CA0C07}"/>
                </a:ext>
              </a:extLst>
            </p:cNvPr>
            <p:cNvSpPr/>
            <p:nvPr/>
          </p:nvSpPr>
          <p:spPr>
            <a:xfrm>
              <a:off x="2769556" y="4638073"/>
              <a:ext cx="421411" cy="535831"/>
            </a:xfrm>
            <a:custGeom>
              <a:avLst/>
              <a:gdLst>
                <a:gd name="connsiteX0" fmla="*/ 429969 w 463848"/>
                <a:gd name="connsiteY0" fmla="*/ 346490 h 589814"/>
                <a:gd name="connsiteX1" fmla="*/ 429969 w 463848"/>
                <a:gd name="connsiteY1" fmla="*/ 346490 h 589814"/>
                <a:gd name="connsiteX2" fmla="*/ 426071 w 463848"/>
                <a:gd name="connsiteY2" fmla="*/ 344961 h 589814"/>
                <a:gd name="connsiteX3" fmla="*/ 422123 w 463848"/>
                <a:gd name="connsiteY3" fmla="*/ 344961 h 589814"/>
                <a:gd name="connsiteX4" fmla="*/ 414328 w 463848"/>
                <a:gd name="connsiteY4" fmla="*/ 346490 h 589814"/>
                <a:gd name="connsiteX5" fmla="*/ 406532 w 463848"/>
                <a:gd name="connsiteY5" fmla="*/ 348020 h 589814"/>
                <a:gd name="connsiteX6" fmla="*/ 398687 w 463848"/>
                <a:gd name="connsiteY6" fmla="*/ 348020 h 589814"/>
                <a:gd name="connsiteX7" fmla="*/ 394838 w 463848"/>
                <a:gd name="connsiteY7" fmla="*/ 344961 h 589814"/>
                <a:gd name="connsiteX8" fmla="*/ 394838 w 463848"/>
                <a:gd name="connsiteY8" fmla="*/ 339139 h 589814"/>
                <a:gd name="connsiteX9" fmla="*/ 392864 w 463848"/>
                <a:gd name="connsiteY9" fmla="*/ 319402 h 589814"/>
                <a:gd name="connsiteX10" fmla="*/ 392864 w 463848"/>
                <a:gd name="connsiteY10" fmla="*/ 308745 h 589814"/>
                <a:gd name="connsiteX11" fmla="*/ 396763 w 463848"/>
                <a:gd name="connsiteY11" fmla="*/ 307216 h 589814"/>
                <a:gd name="connsiteX12" fmla="*/ 396763 w 463848"/>
                <a:gd name="connsiteY12" fmla="*/ 301146 h 589814"/>
                <a:gd name="connsiteX13" fmla="*/ 394838 w 463848"/>
                <a:gd name="connsiteY13" fmla="*/ 296607 h 589814"/>
                <a:gd name="connsiteX14" fmla="*/ 381171 w 463848"/>
                <a:gd name="connsiteY14" fmla="*/ 304156 h 589814"/>
                <a:gd name="connsiteX15" fmla="*/ 365481 w 463848"/>
                <a:gd name="connsiteY15" fmla="*/ 314468 h 589814"/>
                <a:gd name="connsiteX16" fmla="*/ 347915 w 463848"/>
                <a:gd name="connsiteY16" fmla="*/ 312988 h 589814"/>
                <a:gd name="connsiteX17" fmla="*/ 332275 w 463848"/>
                <a:gd name="connsiteY17" fmla="*/ 312988 h 589814"/>
                <a:gd name="connsiteX18" fmla="*/ 330301 w 463848"/>
                <a:gd name="connsiteY18" fmla="*/ 305341 h 589814"/>
                <a:gd name="connsiteX19" fmla="*/ 322505 w 463848"/>
                <a:gd name="connsiteY19" fmla="*/ 294732 h 589814"/>
                <a:gd name="connsiteX20" fmla="*/ 312637 w 463848"/>
                <a:gd name="connsiteY20" fmla="*/ 293203 h 589814"/>
                <a:gd name="connsiteX21" fmla="*/ 289200 w 463848"/>
                <a:gd name="connsiteY21" fmla="*/ 294732 h 589814"/>
                <a:gd name="connsiteX22" fmla="*/ 297046 w 463848"/>
                <a:gd name="connsiteY22" fmla="*/ 285604 h 589814"/>
                <a:gd name="connsiteX23" fmla="*/ 281405 w 463848"/>
                <a:gd name="connsiteY23" fmla="*/ 259750 h 589814"/>
                <a:gd name="connsiteX24" fmla="*/ 269711 w 463848"/>
                <a:gd name="connsiteY24" fmla="*/ 252201 h 589814"/>
                <a:gd name="connsiteX25" fmla="*/ 273609 w 463848"/>
                <a:gd name="connsiteY25" fmla="*/ 247612 h 589814"/>
                <a:gd name="connsiteX26" fmla="*/ 269711 w 463848"/>
                <a:gd name="connsiteY26" fmla="*/ 241543 h 589814"/>
                <a:gd name="connsiteX27" fmla="*/ 273609 w 463848"/>
                <a:gd name="connsiteY27" fmla="*/ 235474 h 589814"/>
                <a:gd name="connsiteX28" fmla="*/ 275533 w 463848"/>
                <a:gd name="connsiteY28" fmla="*/ 229356 h 589814"/>
                <a:gd name="connsiteX29" fmla="*/ 273609 w 463848"/>
                <a:gd name="connsiteY29" fmla="*/ 226347 h 589814"/>
                <a:gd name="connsiteX30" fmla="*/ 277507 w 463848"/>
                <a:gd name="connsiteY30" fmla="*/ 223288 h 589814"/>
                <a:gd name="connsiteX31" fmla="*/ 277507 w 463848"/>
                <a:gd name="connsiteY31" fmla="*/ 215788 h 589814"/>
                <a:gd name="connsiteX32" fmla="*/ 287375 w 463848"/>
                <a:gd name="connsiteY32" fmla="*/ 209719 h 589814"/>
                <a:gd name="connsiteX33" fmla="*/ 291273 w 463848"/>
                <a:gd name="connsiteY33" fmla="*/ 211199 h 589814"/>
                <a:gd name="connsiteX34" fmla="*/ 297144 w 463848"/>
                <a:gd name="connsiteY34" fmla="*/ 206660 h 589814"/>
                <a:gd name="connsiteX35" fmla="*/ 293246 w 463848"/>
                <a:gd name="connsiteY35" fmla="*/ 200591 h 589814"/>
                <a:gd name="connsiteX36" fmla="*/ 291273 w 463848"/>
                <a:gd name="connsiteY36" fmla="*/ 189933 h 589814"/>
                <a:gd name="connsiteX37" fmla="*/ 301141 w 463848"/>
                <a:gd name="connsiteY37" fmla="*/ 180855 h 589814"/>
                <a:gd name="connsiteX38" fmla="*/ 299167 w 463848"/>
                <a:gd name="connsiteY38" fmla="*/ 176315 h 589814"/>
                <a:gd name="connsiteX39" fmla="*/ 303114 w 463848"/>
                <a:gd name="connsiteY39" fmla="*/ 171727 h 589814"/>
                <a:gd name="connsiteX40" fmla="*/ 301141 w 463848"/>
                <a:gd name="connsiteY40" fmla="*/ 162599 h 589814"/>
                <a:gd name="connsiteX41" fmla="*/ 308936 w 463848"/>
                <a:gd name="connsiteY41" fmla="*/ 159589 h 589814"/>
                <a:gd name="connsiteX42" fmla="*/ 316486 w 463848"/>
                <a:gd name="connsiteY42" fmla="*/ 156579 h 589814"/>
                <a:gd name="connsiteX43" fmla="*/ 324282 w 463848"/>
                <a:gd name="connsiteY43" fmla="*/ 150461 h 589814"/>
                <a:gd name="connsiteX44" fmla="*/ 328179 w 463848"/>
                <a:gd name="connsiteY44" fmla="*/ 148981 h 589814"/>
                <a:gd name="connsiteX45" fmla="*/ 332077 w 463848"/>
                <a:gd name="connsiteY45" fmla="*/ 145922 h 589814"/>
                <a:gd name="connsiteX46" fmla="*/ 351813 w 463848"/>
                <a:gd name="connsiteY46" fmla="*/ 142912 h 589814"/>
                <a:gd name="connsiteX47" fmla="*/ 377174 w 463848"/>
                <a:gd name="connsiteY47" fmla="*/ 135314 h 589814"/>
                <a:gd name="connsiteX48" fmla="*/ 379148 w 463848"/>
                <a:gd name="connsiteY48" fmla="*/ 130725 h 589814"/>
                <a:gd name="connsiteX49" fmla="*/ 390842 w 463848"/>
                <a:gd name="connsiteY49" fmla="*/ 130725 h 589814"/>
                <a:gd name="connsiteX50" fmla="*/ 398638 w 463848"/>
                <a:gd name="connsiteY50" fmla="*/ 135314 h 589814"/>
                <a:gd name="connsiteX51" fmla="*/ 398638 w 463848"/>
                <a:gd name="connsiteY51" fmla="*/ 136843 h 589814"/>
                <a:gd name="connsiteX52" fmla="*/ 406482 w 463848"/>
                <a:gd name="connsiteY52" fmla="*/ 139853 h 589814"/>
                <a:gd name="connsiteX53" fmla="*/ 410381 w 463848"/>
                <a:gd name="connsiteY53" fmla="*/ 133784 h 589814"/>
                <a:gd name="connsiteX54" fmla="*/ 406482 w 463848"/>
                <a:gd name="connsiteY54" fmla="*/ 124656 h 589814"/>
                <a:gd name="connsiteX55" fmla="*/ 400611 w 463848"/>
                <a:gd name="connsiteY55" fmla="*/ 120117 h 589814"/>
                <a:gd name="connsiteX56" fmla="*/ 392815 w 463848"/>
                <a:gd name="connsiteY56" fmla="*/ 120117 h 589814"/>
                <a:gd name="connsiteX57" fmla="*/ 384970 w 463848"/>
                <a:gd name="connsiteY57" fmla="*/ 121646 h 589814"/>
                <a:gd name="connsiteX58" fmla="*/ 383046 w 463848"/>
                <a:gd name="connsiteY58" fmla="*/ 117058 h 589814"/>
                <a:gd name="connsiteX59" fmla="*/ 406482 w 463848"/>
                <a:gd name="connsiteY59" fmla="*/ 82125 h 589814"/>
                <a:gd name="connsiteX60" fmla="*/ 404509 w 463848"/>
                <a:gd name="connsiteY60" fmla="*/ 79066 h 589814"/>
                <a:gd name="connsiteX61" fmla="*/ 398638 w 463848"/>
                <a:gd name="connsiteY61" fmla="*/ 80595 h 589814"/>
                <a:gd name="connsiteX62" fmla="*/ 394789 w 463848"/>
                <a:gd name="connsiteY62" fmla="*/ 76006 h 589814"/>
                <a:gd name="connsiteX63" fmla="*/ 386944 w 463848"/>
                <a:gd name="connsiteY63" fmla="*/ 72997 h 589814"/>
                <a:gd name="connsiteX64" fmla="*/ 383046 w 463848"/>
                <a:gd name="connsiteY64" fmla="*/ 74477 h 589814"/>
                <a:gd name="connsiteX65" fmla="*/ 381121 w 463848"/>
                <a:gd name="connsiteY65" fmla="*/ 69938 h 589814"/>
                <a:gd name="connsiteX66" fmla="*/ 375250 w 463848"/>
                <a:gd name="connsiteY66" fmla="*/ 69938 h 589814"/>
                <a:gd name="connsiteX67" fmla="*/ 361533 w 463848"/>
                <a:gd name="connsiteY67" fmla="*/ 74477 h 589814"/>
                <a:gd name="connsiteX68" fmla="*/ 353738 w 463848"/>
                <a:gd name="connsiteY68" fmla="*/ 71467 h 589814"/>
                <a:gd name="connsiteX69" fmla="*/ 343870 w 463848"/>
                <a:gd name="connsiteY69" fmla="*/ 69938 h 589814"/>
                <a:gd name="connsiteX70" fmla="*/ 330202 w 463848"/>
                <a:gd name="connsiteY70" fmla="*/ 74477 h 589814"/>
                <a:gd name="connsiteX71" fmla="*/ 328278 w 463848"/>
                <a:gd name="connsiteY71" fmla="*/ 76006 h 589814"/>
                <a:gd name="connsiteX72" fmla="*/ 320482 w 463848"/>
                <a:gd name="connsiteY72" fmla="*/ 77536 h 589814"/>
                <a:gd name="connsiteX73" fmla="*/ 314611 w 463848"/>
                <a:gd name="connsiteY73" fmla="*/ 76006 h 589814"/>
                <a:gd name="connsiteX74" fmla="*/ 306766 w 463848"/>
                <a:gd name="connsiteY74" fmla="*/ 77536 h 589814"/>
                <a:gd name="connsiteX75" fmla="*/ 298970 w 463848"/>
                <a:gd name="connsiteY75" fmla="*/ 74477 h 589814"/>
                <a:gd name="connsiteX76" fmla="*/ 297046 w 463848"/>
                <a:gd name="connsiteY76" fmla="*/ 69938 h 589814"/>
                <a:gd name="connsiteX77" fmla="*/ 298970 w 463848"/>
                <a:gd name="connsiteY77" fmla="*/ 68408 h 589814"/>
                <a:gd name="connsiteX78" fmla="*/ 295072 w 463848"/>
                <a:gd name="connsiteY78" fmla="*/ 60859 h 589814"/>
                <a:gd name="connsiteX79" fmla="*/ 289200 w 463848"/>
                <a:gd name="connsiteY79" fmla="*/ 56270 h 589814"/>
                <a:gd name="connsiteX80" fmla="*/ 287276 w 463848"/>
                <a:gd name="connsiteY80" fmla="*/ 56270 h 589814"/>
                <a:gd name="connsiteX81" fmla="*/ 287276 w 463848"/>
                <a:gd name="connsiteY81" fmla="*/ 48672 h 589814"/>
                <a:gd name="connsiteX82" fmla="*/ 281405 w 463848"/>
                <a:gd name="connsiteY82" fmla="*/ 41074 h 589814"/>
                <a:gd name="connsiteX83" fmla="*/ 263840 w 463848"/>
                <a:gd name="connsiteY83" fmla="*/ 35005 h 589814"/>
                <a:gd name="connsiteX84" fmla="*/ 257968 w 463848"/>
                <a:gd name="connsiteY84" fmla="*/ 35005 h 589814"/>
                <a:gd name="connsiteX85" fmla="*/ 252343 w 463848"/>
                <a:gd name="connsiteY85" fmla="*/ 25827 h 589814"/>
                <a:gd name="connsiteX86" fmla="*/ 252343 w 463848"/>
                <a:gd name="connsiteY86" fmla="*/ 19759 h 589814"/>
                <a:gd name="connsiteX87" fmla="*/ 244547 w 463848"/>
                <a:gd name="connsiteY87" fmla="*/ 12160 h 589814"/>
                <a:gd name="connsiteX88" fmla="*/ 242475 w 463848"/>
                <a:gd name="connsiteY88" fmla="*/ 6091 h 589814"/>
                <a:gd name="connsiteX89" fmla="*/ 232607 w 463848"/>
                <a:gd name="connsiteY89" fmla="*/ 6091 h 589814"/>
                <a:gd name="connsiteX90" fmla="*/ 220864 w 463848"/>
                <a:gd name="connsiteY90" fmla="*/ 3032 h 589814"/>
                <a:gd name="connsiteX91" fmla="*/ 217016 w 463848"/>
                <a:gd name="connsiteY91" fmla="*/ -27 h 589814"/>
                <a:gd name="connsiteX92" fmla="*/ 215042 w 463848"/>
                <a:gd name="connsiteY92" fmla="*/ -27 h 589814"/>
                <a:gd name="connsiteX93" fmla="*/ 215042 w 463848"/>
                <a:gd name="connsiteY93" fmla="*/ 9101 h 589814"/>
                <a:gd name="connsiteX94" fmla="*/ 222838 w 463848"/>
                <a:gd name="connsiteY94" fmla="*/ 19759 h 589814"/>
                <a:gd name="connsiteX95" fmla="*/ 222838 w 463848"/>
                <a:gd name="connsiteY95" fmla="*/ 25827 h 589814"/>
                <a:gd name="connsiteX96" fmla="*/ 220864 w 463848"/>
                <a:gd name="connsiteY96" fmla="*/ 31896 h 589814"/>
                <a:gd name="connsiteX97" fmla="*/ 220864 w 463848"/>
                <a:gd name="connsiteY97" fmla="*/ 36436 h 589814"/>
                <a:gd name="connsiteX98" fmla="*/ 215042 w 463848"/>
                <a:gd name="connsiteY98" fmla="*/ 36436 h 589814"/>
                <a:gd name="connsiteX99" fmla="*/ 205174 w 463848"/>
                <a:gd name="connsiteY99" fmla="*/ 56172 h 589814"/>
                <a:gd name="connsiteX100" fmla="*/ 179813 w 463848"/>
                <a:gd name="connsiteY100" fmla="*/ 75908 h 589814"/>
                <a:gd name="connsiteX101" fmla="*/ 162248 w 463848"/>
                <a:gd name="connsiteY101" fmla="*/ 85036 h 589814"/>
                <a:gd name="connsiteX102" fmla="*/ 127068 w 463848"/>
                <a:gd name="connsiteY102" fmla="*/ 95693 h 589814"/>
                <a:gd name="connsiteX103" fmla="*/ 121197 w 463848"/>
                <a:gd name="connsiteY103" fmla="*/ 100282 h 589814"/>
                <a:gd name="connsiteX104" fmla="*/ 93862 w 463848"/>
                <a:gd name="connsiteY104" fmla="*/ 148882 h 589814"/>
                <a:gd name="connsiteX105" fmla="*/ 86066 w 463848"/>
                <a:gd name="connsiteY105" fmla="*/ 154951 h 589814"/>
                <a:gd name="connsiteX106" fmla="*/ 82119 w 463848"/>
                <a:gd name="connsiteY106" fmla="*/ 154951 h 589814"/>
                <a:gd name="connsiteX107" fmla="*/ 72251 w 463848"/>
                <a:gd name="connsiteY107" fmla="*/ 142813 h 589814"/>
                <a:gd name="connsiteX108" fmla="*/ 64455 w 463848"/>
                <a:gd name="connsiteY108" fmla="*/ 141284 h 589814"/>
                <a:gd name="connsiteX109" fmla="*/ 54587 w 463848"/>
                <a:gd name="connsiteY109" fmla="*/ 139754 h 589814"/>
                <a:gd name="connsiteX110" fmla="*/ 50640 w 463848"/>
                <a:gd name="connsiteY110" fmla="*/ 133685 h 589814"/>
                <a:gd name="connsiteX111" fmla="*/ 42844 w 463848"/>
                <a:gd name="connsiteY111" fmla="*/ 136744 h 589814"/>
                <a:gd name="connsiteX112" fmla="*/ 37022 w 463848"/>
                <a:gd name="connsiteY112" fmla="*/ 136744 h 589814"/>
                <a:gd name="connsiteX113" fmla="*/ 35048 w 463848"/>
                <a:gd name="connsiteY113" fmla="*/ 130626 h 589814"/>
                <a:gd name="connsiteX114" fmla="*/ 40920 w 463848"/>
                <a:gd name="connsiteY114" fmla="*/ 124557 h 589814"/>
                <a:gd name="connsiteX115" fmla="*/ 48716 w 463848"/>
                <a:gd name="connsiteY115" fmla="*/ 121548 h 589814"/>
                <a:gd name="connsiteX116" fmla="*/ 44818 w 463848"/>
                <a:gd name="connsiteY116" fmla="*/ 113900 h 589814"/>
                <a:gd name="connsiteX117" fmla="*/ 42844 w 463848"/>
                <a:gd name="connsiteY117" fmla="*/ 110890 h 589814"/>
                <a:gd name="connsiteX118" fmla="*/ 40920 w 463848"/>
                <a:gd name="connsiteY118" fmla="*/ 110890 h 589814"/>
                <a:gd name="connsiteX119" fmla="*/ 23355 w 463848"/>
                <a:gd name="connsiteY119" fmla="*/ 118489 h 589814"/>
                <a:gd name="connsiteX120" fmla="*/ 17483 w 463848"/>
                <a:gd name="connsiteY120" fmla="*/ 124557 h 589814"/>
                <a:gd name="connsiteX121" fmla="*/ 5740 w 463848"/>
                <a:gd name="connsiteY121" fmla="*/ 133685 h 589814"/>
                <a:gd name="connsiteX122" fmla="*/ 3816 w 463848"/>
                <a:gd name="connsiteY122" fmla="*/ 142813 h 589814"/>
                <a:gd name="connsiteX123" fmla="*/ -82 w 463848"/>
                <a:gd name="connsiteY123" fmla="*/ 148882 h 589814"/>
                <a:gd name="connsiteX124" fmla="*/ 1842 w 463848"/>
                <a:gd name="connsiteY124" fmla="*/ 150362 h 589814"/>
                <a:gd name="connsiteX125" fmla="*/ 5740 w 463848"/>
                <a:gd name="connsiteY125" fmla="*/ 154951 h 589814"/>
                <a:gd name="connsiteX126" fmla="*/ 7714 w 463848"/>
                <a:gd name="connsiteY126" fmla="*/ 159540 h 589814"/>
                <a:gd name="connsiteX127" fmla="*/ 3816 w 463848"/>
                <a:gd name="connsiteY127" fmla="*/ 161069 h 589814"/>
                <a:gd name="connsiteX128" fmla="*/ 3816 w 463848"/>
                <a:gd name="connsiteY128" fmla="*/ 164079 h 589814"/>
                <a:gd name="connsiteX129" fmla="*/ 9638 w 463848"/>
                <a:gd name="connsiteY129" fmla="*/ 171677 h 589814"/>
                <a:gd name="connsiteX130" fmla="*/ 15510 w 463848"/>
                <a:gd name="connsiteY130" fmla="*/ 179276 h 589814"/>
                <a:gd name="connsiteX131" fmla="*/ 13585 w 463848"/>
                <a:gd name="connsiteY131" fmla="*/ 185345 h 589814"/>
                <a:gd name="connsiteX132" fmla="*/ 9638 w 463848"/>
                <a:gd name="connsiteY132" fmla="*/ 185345 h 589814"/>
                <a:gd name="connsiteX133" fmla="*/ 3816 w 463848"/>
                <a:gd name="connsiteY133" fmla="*/ 186874 h 589814"/>
                <a:gd name="connsiteX134" fmla="*/ 1842 w 463848"/>
                <a:gd name="connsiteY134" fmla="*/ 192943 h 589814"/>
                <a:gd name="connsiteX135" fmla="*/ 7714 w 463848"/>
                <a:gd name="connsiteY135" fmla="*/ 197532 h 589814"/>
                <a:gd name="connsiteX136" fmla="*/ 13585 w 463848"/>
                <a:gd name="connsiteY136" fmla="*/ 200541 h 589814"/>
                <a:gd name="connsiteX137" fmla="*/ 23453 w 463848"/>
                <a:gd name="connsiteY137" fmla="*/ 208140 h 589814"/>
                <a:gd name="connsiteX138" fmla="*/ 35147 w 463848"/>
                <a:gd name="connsiteY138" fmla="*/ 208140 h 589814"/>
                <a:gd name="connsiteX139" fmla="*/ 48814 w 463848"/>
                <a:gd name="connsiteY139" fmla="*/ 218797 h 589814"/>
                <a:gd name="connsiteX140" fmla="*/ 56610 w 463848"/>
                <a:gd name="connsiteY140" fmla="*/ 220327 h 589814"/>
                <a:gd name="connsiteX141" fmla="*/ 58584 w 463848"/>
                <a:gd name="connsiteY141" fmla="*/ 224866 h 589814"/>
                <a:gd name="connsiteX142" fmla="*/ 64850 w 463848"/>
                <a:gd name="connsiteY142" fmla="*/ 234044 h 589814"/>
                <a:gd name="connsiteX143" fmla="*/ 68748 w 463848"/>
                <a:gd name="connsiteY143" fmla="*/ 241642 h 589814"/>
                <a:gd name="connsiteX144" fmla="*/ 72646 w 463848"/>
                <a:gd name="connsiteY144" fmla="*/ 249191 h 589814"/>
                <a:gd name="connsiteX145" fmla="*/ 86313 w 463848"/>
                <a:gd name="connsiteY145" fmla="*/ 255309 h 589814"/>
                <a:gd name="connsiteX146" fmla="*/ 92184 w 463848"/>
                <a:gd name="connsiteY146" fmla="*/ 264437 h 589814"/>
                <a:gd name="connsiteX147" fmla="*/ 94109 w 463848"/>
                <a:gd name="connsiteY147" fmla="*/ 273565 h 589814"/>
                <a:gd name="connsiteX148" fmla="*/ 98006 w 463848"/>
                <a:gd name="connsiteY148" fmla="*/ 279634 h 589814"/>
                <a:gd name="connsiteX149" fmla="*/ 101954 w 463848"/>
                <a:gd name="connsiteY149" fmla="*/ 288713 h 589814"/>
                <a:gd name="connsiteX150" fmla="*/ 105802 w 463848"/>
                <a:gd name="connsiteY150" fmla="*/ 294831 h 589814"/>
                <a:gd name="connsiteX151" fmla="*/ 111674 w 463848"/>
                <a:gd name="connsiteY151" fmla="*/ 299370 h 589814"/>
                <a:gd name="connsiteX152" fmla="*/ 117545 w 463848"/>
                <a:gd name="connsiteY152" fmla="*/ 308498 h 589814"/>
                <a:gd name="connsiteX153" fmla="*/ 117545 w 463848"/>
                <a:gd name="connsiteY153" fmla="*/ 316097 h 589814"/>
                <a:gd name="connsiteX154" fmla="*/ 115621 w 463848"/>
                <a:gd name="connsiteY154" fmla="*/ 317626 h 589814"/>
                <a:gd name="connsiteX155" fmla="*/ 121443 w 463848"/>
                <a:gd name="connsiteY155" fmla="*/ 329764 h 589814"/>
                <a:gd name="connsiteX156" fmla="*/ 133186 w 463848"/>
                <a:gd name="connsiteY156" fmla="*/ 341902 h 589814"/>
                <a:gd name="connsiteX157" fmla="*/ 138860 w 463848"/>
                <a:gd name="connsiteY157" fmla="*/ 348020 h 589814"/>
                <a:gd name="connsiteX158" fmla="*/ 136838 w 463848"/>
                <a:gd name="connsiteY158" fmla="*/ 354089 h 589814"/>
                <a:gd name="connsiteX159" fmla="*/ 138860 w 463848"/>
                <a:gd name="connsiteY159" fmla="*/ 357148 h 589814"/>
                <a:gd name="connsiteX160" fmla="*/ 142709 w 463848"/>
                <a:gd name="connsiteY160" fmla="*/ 358628 h 589814"/>
                <a:gd name="connsiteX161" fmla="*/ 154452 w 463848"/>
                <a:gd name="connsiteY161" fmla="*/ 367756 h 589814"/>
                <a:gd name="connsiteX162" fmla="*/ 156426 w 463848"/>
                <a:gd name="connsiteY162" fmla="*/ 373874 h 589814"/>
                <a:gd name="connsiteX163" fmla="*/ 158350 w 463848"/>
                <a:gd name="connsiteY163" fmla="*/ 382953 h 589814"/>
                <a:gd name="connsiteX164" fmla="*/ 160274 w 463848"/>
                <a:gd name="connsiteY164" fmla="*/ 386012 h 589814"/>
                <a:gd name="connsiteX165" fmla="*/ 172017 w 463848"/>
                <a:gd name="connsiteY165" fmla="*/ 389071 h 589814"/>
                <a:gd name="connsiteX166" fmla="*/ 173991 w 463848"/>
                <a:gd name="connsiteY166" fmla="*/ 396620 h 589814"/>
                <a:gd name="connsiteX167" fmla="*/ 183859 w 463848"/>
                <a:gd name="connsiteY167" fmla="*/ 410337 h 589814"/>
                <a:gd name="connsiteX168" fmla="*/ 185833 w 463848"/>
                <a:gd name="connsiteY168" fmla="*/ 417886 h 589814"/>
                <a:gd name="connsiteX169" fmla="*/ 197526 w 463848"/>
                <a:gd name="connsiteY169" fmla="*/ 433132 h 589814"/>
                <a:gd name="connsiteX170" fmla="*/ 197526 w 463848"/>
                <a:gd name="connsiteY170" fmla="*/ 437819 h 589814"/>
                <a:gd name="connsiteX171" fmla="*/ 193677 w 463848"/>
                <a:gd name="connsiteY171" fmla="*/ 439349 h 589814"/>
                <a:gd name="connsiteX172" fmla="*/ 191704 w 463848"/>
                <a:gd name="connsiteY172" fmla="*/ 437819 h 589814"/>
                <a:gd name="connsiteX173" fmla="*/ 191704 w 463848"/>
                <a:gd name="connsiteY173" fmla="*/ 450006 h 589814"/>
                <a:gd name="connsiteX174" fmla="*/ 195602 w 463848"/>
                <a:gd name="connsiteY174" fmla="*/ 450006 h 589814"/>
                <a:gd name="connsiteX175" fmla="*/ 199500 w 463848"/>
                <a:gd name="connsiteY175" fmla="*/ 451487 h 589814"/>
                <a:gd name="connsiteX176" fmla="*/ 201473 w 463848"/>
                <a:gd name="connsiteY176" fmla="*/ 457555 h 589814"/>
                <a:gd name="connsiteX177" fmla="*/ 199500 w 463848"/>
                <a:gd name="connsiteY177" fmla="*/ 460615 h 589814"/>
                <a:gd name="connsiteX178" fmla="*/ 213167 w 463848"/>
                <a:gd name="connsiteY178" fmla="*/ 466733 h 589814"/>
                <a:gd name="connsiteX179" fmla="*/ 223035 w 463848"/>
                <a:gd name="connsiteY179" fmla="*/ 471272 h 589814"/>
                <a:gd name="connsiteX180" fmla="*/ 225009 w 463848"/>
                <a:gd name="connsiteY180" fmla="*/ 475811 h 589814"/>
                <a:gd name="connsiteX181" fmla="*/ 228907 w 463848"/>
                <a:gd name="connsiteY181" fmla="*/ 480351 h 589814"/>
                <a:gd name="connsiteX182" fmla="*/ 238775 w 463848"/>
                <a:gd name="connsiteY182" fmla="*/ 483410 h 589814"/>
                <a:gd name="connsiteX183" fmla="*/ 240748 w 463848"/>
                <a:gd name="connsiteY183" fmla="*/ 486469 h 589814"/>
                <a:gd name="connsiteX184" fmla="*/ 242722 w 463848"/>
                <a:gd name="connsiteY184" fmla="*/ 491008 h 589814"/>
                <a:gd name="connsiteX185" fmla="*/ 246620 w 463848"/>
                <a:gd name="connsiteY185" fmla="*/ 492538 h 589814"/>
                <a:gd name="connsiteX186" fmla="*/ 258314 w 463848"/>
                <a:gd name="connsiteY186" fmla="*/ 492538 h 589814"/>
                <a:gd name="connsiteX187" fmla="*/ 260287 w 463848"/>
                <a:gd name="connsiteY187" fmla="*/ 489479 h 589814"/>
                <a:gd name="connsiteX188" fmla="*/ 258314 w 463848"/>
                <a:gd name="connsiteY188" fmla="*/ 494067 h 589814"/>
                <a:gd name="connsiteX189" fmla="*/ 264185 w 463848"/>
                <a:gd name="connsiteY189" fmla="*/ 500136 h 589814"/>
                <a:gd name="connsiteX190" fmla="*/ 277852 w 463848"/>
                <a:gd name="connsiteY190" fmla="*/ 504725 h 589814"/>
                <a:gd name="connsiteX191" fmla="*/ 281750 w 463848"/>
                <a:gd name="connsiteY191" fmla="*/ 510744 h 589814"/>
                <a:gd name="connsiteX192" fmla="*/ 283674 w 463848"/>
                <a:gd name="connsiteY192" fmla="*/ 513804 h 589814"/>
                <a:gd name="connsiteX193" fmla="*/ 287622 w 463848"/>
                <a:gd name="connsiteY193" fmla="*/ 516813 h 589814"/>
                <a:gd name="connsiteX194" fmla="*/ 297490 w 463848"/>
                <a:gd name="connsiteY194" fmla="*/ 519872 h 589814"/>
                <a:gd name="connsiteX195" fmla="*/ 299414 w 463848"/>
                <a:gd name="connsiteY195" fmla="*/ 518343 h 589814"/>
                <a:gd name="connsiteX196" fmla="*/ 307210 w 463848"/>
                <a:gd name="connsiteY196" fmla="*/ 519872 h 589814"/>
                <a:gd name="connsiteX197" fmla="*/ 320926 w 463848"/>
                <a:gd name="connsiteY197" fmla="*/ 527471 h 589814"/>
                <a:gd name="connsiteX198" fmla="*/ 328722 w 463848"/>
                <a:gd name="connsiteY198" fmla="*/ 530530 h 589814"/>
                <a:gd name="connsiteX199" fmla="*/ 334594 w 463848"/>
                <a:gd name="connsiteY199" fmla="*/ 530530 h 589814"/>
                <a:gd name="connsiteX200" fmla="*/ 338442 w 463848"/>
                <a:gd name="connsiteY200" fmla="*/ 532059 h 589814"/>
                <a:gd name="connsiteX201" fmla="*/ 342389 w 463848"/>
                <a:gd name="connsiteY201" fmla="*/ 536599 h 589814"/>
                <a:gd name="connsiteX202" fmla="*/ 352257 w 463848"/>
                <a:gd name="connsiteY202" fmla="*/ 542717 h 589814"/>
                <a:gd name="connsiteX203" fmla="*/ 356155 w 463848"/>
                <a:gd name="connsiteY203" fmla="*/ 545727 h 589814"/>
                <a:gd name="connsiteX204" fmla="*/ 364000 w 463848"/>
                <a:gd name="connsiteY204" fmla="*/ 551795 h 589814"/>
                <a:gd name="connsiteX205" fmla="*/ 367849 w 463848"/>
                <a:gd name="connsiteY205" fmla="*/ 553325 h 589814"/>
                <a:gd name="connsiteX206" fmla="*/ 371796 w 463848"/>
                <a:gd name="connsiteY206" fmla="*/ 556335 h 589814"/>
                <a:gd name="connsiteX207" fmla="*/ 369823 w 463848"/>
                <a:gd name="connsiteY207" fmla="*/ 559394 h 589814"/>
                <a:gd name="connsiteX208" fmla="*/ 369823 w 463848"/>
                <a:gd name="connsiteY208" fmla="*/ 565463 h 589814"/>
                <a:gd name="connsiteX209" fmla="*/ 379691 w 463848"/>
                <a:gd name="connsiteY209" fmla="*/ 566992 h 589814"/>
                <a:gd name="connsiteX210" fmla="*/ 387487 w 463848"/>
                <a:gd name="connsiteY210" fmla="*/ 570051 h 589814"/>
                <a:gd name="connsiteX211" fmla="*/ 397355 w 463848"/>
                <a:gd name="connsiteY211" fmla="*/ 577601 h 589814"/>
                <a:gd name="connsiteX212" fmla="*/ 405150 w 463848"/>
                <a:gd name="connsiteY212" fmla="*/ 585248 h 589814"/>
                <a:gd name="connsiteX213" fmla="*/ 412995 w 463848"/>
                <a:gd name="connsiteY213" fmla="*/ 586778 h 589814"/>
                <a:gd name="connsiteX214" fmla="*/ 414920 w 463848"/>
                <a:gd name="connsiteY214" fmla="*/ 589788 h 589814"/>
                <a:gd name="connsiteX215" fmla="*/ 422716 w 463848"/>
                <a:gd name="connsiteY215" fmla="*/ 583719 h 589814"/>
                <a:gd name="connsiteX216" fmla="*/ 430561 w 463848"/>
                <a:gd name="connsiteY216" fmla="*/ 579180 h 589814"/>
                <a:gd name="connsiteX217" fmla="*/ 434458 w 463848"/>
                <a:gd name="connsiteY217" fmla="*/ 580709 h 589814"/>
                <a:gd name="connsiteX218" fmla="*/ 444326 w 463848"/>
                <a:gd name="connsiteY218" fmla="*/ 577601 h 589814"/>
                <a:gd name="connsiteX219" fmla="*/ 446251 w 463848"/>
                <a:gd name="connsiteY219" fmla="*/ 571532 h 589814"/>
                <a:gd name="connsiteX220" fmla="*/ 438455 w 463848"/>
                <a:gd name="connsiteY220" fmla="*/ 566992 h 589814"/>
                <a:gd name="connsiteX221" fmla="*/ 440429 w 463848"/>
                <a:gd name="connsiteY221" fmla="*/ 562453 h 589814"/>
                <a:gd name="connsiteX222" fmla="*/ 446251 w 463848"/>
                <a:gd name="connsiteY222" fmla="*/ 556335 h 589814"/>
                <a:gd name="connsiteX223" fmla="*/ 450198 w 463848"/>
                <a:gd name="connsiteY223" fmla="*/ 556335 h 589814"/>
                <a:gd name="connsiteX224" fmla="*/ 450198 w 463848"/>
                <a:gd name="connsiteY224" fmla="*/ 553325 h 589814"/>
                <a:gd name="connsiteX225" fmla="*/ 446251 w 463848"/>
                <a:gd name="connsiteY225" fmla="*/ 551795 h 589814"/>
                <a:gd name="connsiteX226" fmla="*/ 440429 w 463848"/>
                <a:gd name="connsiteY226" fmla="*/ 550266 h 589814"/>
                <a:gd name="connsiteX227" fmla="*/ 448224 w 463848"/>
                <a:gd name="connsiteY227" fmla="*/ 539658 h 589814"/>
                <a:gd name="connsiteX228" fmla="*/ 456020 w 463848"/>
                <a:gd name="connsiteY228" fmla="*/ 536599 h 589814"/>
                <a:gd name="connsiteX229" fmla="*/ 461892 w 463848"/>
                <a:gd name="connsiteY229" fmla="*/ 525990 h 589814"/>
                <a:gd name="connsiteX230" fmla="*/ 461892 w 463848"/>
                <a:gd name="connsiteY230" fmla="*/ 519724 h 589814"/>
                <a:gd name="connsiteX231" fmla="*/ 452023 w 463848"/>
                <a:gd name="connsiteY231" fmla="*/ 498458 h 589814"/>
                <a:gd name="connsiteX232" fmla="*/ 455922 w 463848"/>
                <a:gd name="connsiteY232" fmla="*/ 493919 h 589814"/>
                <a:gd name="connsiteX233" fmla="*/ 455922 w 463848"/>
                <a:gd name="connsiteY233" fmla="*/ 486321 h 589814"/>
                <a:gd name="connsiteX234" fmla="*/ 453948 w 463848"/>
                <a:gd name="connsiteY234" fmla="*/ 483262 h 589814"/>
                <a:gd name="connsiteX235" fmla="*/ 452023 w 463848"/>
                <a:gd name="connsiteY235" fmla="*/ 475663 h 589814"/>
                <a:gd name="connsiteX236" fmla="*/ 455922 w 463848"/>
                <a:gd name="connsiteY236" fmla="*/ 471124 h 589814"/>
                <a:gd name="connsiteX237" fmla="*/ 457895 w 463848"/>
                <a:gd name="connsiteY237" fmla="*/ 461996 h 589814"/>
                <a:gd name="connsiteX238" fmla="*/ 457895 w 463848"/>
                <a:gd name="connsiteY238" fmla="*/ 440681 h 589814"/>
                <a:gd name="connsiteX239" fmla="*/ 453948 w 463848"/>
                <a:gd name="connsiteY239" fmla="*/ 433132 h 589814"/>
                <a:gd name="connsiteX240" fmla="*/ 457895 w 463848"/>
                <a:gd name="connsiteY240" fmla="*/ 422475 h 589814"/>
                <a:gd name="connsiteX241" fmla="*/ 457895 w 463848"/>
                <a:gd name="connsiteY241" fmla="*/ 401209 h 589814"/>
                <a:gd name="connsiteX242" fmla="*/ 463767 w 463848"/>
                <a:gd name="connsiteY242" fmla="*/ 392081 h 589814"/>
                <a:gd name="connsiteX243" fmla="*/ 463767 w 463848"/>
                <a:gd name="connsiteY243" fmla="*/ 389071 h 589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</a:cxnLst>
              <a:rect l="l" t="t" r="r" b="b"/>
              <a:pathLst>
                <a:path w="463848" h="589814">
                  <a:moveTo>
                    <a:pt x="429969" y="346490"/>
                  </a:moveTo>
                  <a:lnTo>
                    <a:pt x="429969" y="346490"/>
                  </a:lnTo>
                  <a:lnTo>
                    <a:pt x="426071" y="344961"/>
                  </a:lnTo>
                  <a:lnTo>
                    <a:pt x="422123" y="344961"/>
                  </a:lnTo>
                  <a:lnTo>
                    <a:pt x="414328" y="346490"/>
                  </a:lnTo>
                  <a:lnTo>
                    <a:pt x="406532" y="348020"/>
                  </a:lnTo>
                  <a:lnTo>
                    <a:pt x="398687" y="348020"/>
                  </a:lnTo>
                  <a:lnTo>
                    <a:pt x="394838" y="344961"/>
                  </a:lnTo>
                  <a:lnTo>
                    <a:pt x="394838" y="339139"/>
                  </a:lnTo>
                  <a:lnTo>
                    <a:pt x="392864" y="319402"/>
                  </a:lnTo>
                  <a:lnTo>
                    <a:pt x="392864" y="308745"/>
                  </a:lnTo>
                  <a:lnTo>
                    <a:pt x="396763" y="307216"/>
                  </a:lnTo>
                  <a:lnTo>
                    <a:pt x="396763" y="301146"/>
                  </a:lnTo>
                  <a:lnTo>
                    <a:pt x="394838" y="296607"/>
                  </a:lnTo>
                  <a:lnTo>
                    <a:pt x="381171" y="304156"/>
                  </a:lnTo>
                  <a:lnTo>
                    <a:pt x="365481" y="314468"/>
                  </a:lnTo>
                  <a:lnTo>
                    <a:pt x="347915" y="312988"/>
                  </a:lnTo>
                  <a:lnTo>
                    <a:pt x="332275" y="312988"/>
                  </a:lnTo>
                  <a:lnTo>
                    <a:pt x="330301" y="305341"/>
                  </a:lnTo>
                  <a:lnTo>
                    <a:pt x="322505" y="294732"/>
                  </a:lnTo>
                  <a:lnTo>
                    <a:pt x="312637" y="293203"/>
                  </a:lnTo>
                  <a:lnTo>
                    <a:pt x="289200" y="294732"/>
                  </a:lnTo>
                  <a:lnTo>
                    <a:pt x="297046" y="285604"/>
                  </a:lnTo>
                  <a:lnTo>
                    <a:pt x="281405" y="259750"/>
                  </a:lnTo>
                  <a:lnTo>
                    <a:pt x="269711" y="252201"/>
                  </a:lnTo>
                  <a:lnTo>
                    <a:pt x="273609" y="247612"/>
                  </a:lnTo>
                  <a:lnTo>
                    <a:pt x="269711" y="241543"/>
                  </a:lnTo>
                  <a:lnTo>
                    <a:pt x="273609" y="235474"/>
                  </a:lnTo>
                  <a:lnTo>
                    <a:pt x="275533" y="229356"/>
                  </a:lnTo>
                  <a:lnTo>
                    <a:pt x="273609" y="226347"/>
                  </a:lnTo>
                  <a:lnTo>
                    <a:pt x="277507" y="223288"/>
                  </a:lnTo>
                  <a:lnTo>
                    <a:pt x="277507" y="215788"/>
                  </a:lnTo>
                  <a:lnTo>
                    <a:pt x="287375" y="209719"/>
                  </a:lnTo>
                  <a:lnTo>
                    <a:pt x="291273" y="211199"/>
                  </a:lnTo>
                  <a:lnTo>
                    <a:pt x="297144" y="206660"/>
                  </a:lnTo>
                  <a:lnTo>
                    <a:pt x="293246" y="200591"/>
                  </a:lnTo>
                  <a:lnTo>
                    <a:pt x="291273" y="189933"/>
                  </a:lnTo>
                  <a:lnTo>
                    <a:pt x="301141" y="180855"/>
                  </a:lnTo>
                  <a:lnTo>
                    <a:pt x="299167" y="176315"/>
                  </a:lnTo>
                  <a:lnTo>
                    <a:pt x="303114" y="171727"/>
                  </a:lnTo>
                  <a:lnTo>
                    <a:pt x="301141" y="162599"/>
                  </a:lnTo>
                  <a:lnTo>
                    <a:pt x="308936" y="159589"/>
                  </a:lnTo>
                  <a:lnTo>
                    <a:pt x="316486" y="156579"/>
                  </a:lnTo>
                  <a:lnTo>
                    <a:pt x="324282" y="150461"/>
                  </a:lnTo>
                  <a:lnTo>
                    <a:pt x="328179" y="148981"/>
                  </a:lnTo>
                  <a:lnTo>
                    <a:pt x="332077" y="145922"/>
                  </a:lnTo>
                  <a:lnTo>
                    <a:pt x="351813" y="142912"/>
                  </a:lnTo>
                  <a:lnTo>
                    <a:pt x="377174" y="135314"/>
                  </a:lnTo>
                  <a:lnTo>
                    <a:pt x="379148" y="130725"/>
                  </a:lnTo>
                  <a:lnTo>
                    <a:pt x="390842" y="130725"/>
                  </a:lnTo>
                  <a:lnTo>
                    <a:pt x="398638" y="135314"/>
                  </a:lnTo>
                  <a:lnTo>
                    <a:pt x="398638" y="136843"/>
                  </a:lnTo>
                  <a:lnTo>
                    <a:pt x="406482" y="139853"/>
                  </a:lnTo>
                  <a:lnTo>
                    <a:pt x="410381" y="133784"/>
                  </a:lnTo>
                  <a:lnTo>
                    <a:pt x="406482" y="124656"/>
                  </a:lnTo>
                  <a:lnTo>
                    <a:pt x="400611" y="120117"/>
                  </a:lnTo>
                  <a:lnTo>
                    <a:pt x="392815" y="120117"/>
                  </a:lnTo>
                  <a:lnTo>
                    <a:pt x="384970" y="121646"/>
                  </a:lnTo>
                  <a:lnTo>
                    <a:pt x="383046" y="117058"/>
                  </a:lnTo>
                  <a:lnTo>
                    <a:pt x="406482" y="82125"/>
                  </a:lnTo>
                  <a:lnTo>
                    <a:pt x="404509" y="79066"/>
                  </a:lnTo>
                  <a:lnTo>
                    <a:pt x="398638" y="80595"/>
                  </a:lnTo>
                  <a:lnTo>
                    <a:pt x="394789" y="76006"/>
                  </a:lnTo>
                  <a:lnTo>
                    <a:pt x="386944" y="72997"/>
                  </a:lnTo>
                  <a:lnTo>
                    <a:pt x="383046" y="74477"/>
                  </a:lnTo>
                  <a:lnTo>
                    <a:pt x="381121" y="69938"/>
                  </a:lnTo>
                  <a:lnTo>
                    <a:pt x="375250" y="69938"/>
                  </a:lnTo>
                  <a:lnTo>
                    <a:pt x="361533" y="74477"/>
                  </a:lnTo>
                  <a:lnTo>
                    <a:pt x="353738" y="71467"/>
                  </a:lnTo>
                  <a:lnTo>
                    <a:pt x="343870" y="69938"/>
                  </a:lnTo>
                  <a:lnTo>
                    <a:pt x="330202" y="74477"/>
                  </a:lnTo>
                  <a:lnTo>
                    <a:pt x="328278" y="76006"/>
                  </a:lnTo>
                  <a:lnTo>
                    <a:pt x="320482" y="77536"/>
                  </a:lnTo>
                  <a:lnTo>
                    <a:pt x="314611" y="76006"/>
                  </a:lnTo>
                  <a:lnTo>
                    <a:pt x="306766" y="77536"/>
                  </a:lnTo>
                  <a:lnTo>
                    <a:pt x="298970" y="74477"/>
                  </a:lnTo>
                  <a:lnTo>
                    <a:pt x="297046" y="69938"/>
                  </a:lnTo>
                  <a:lnTo>
                    <a:pt x="298970" y="68408"/>
                  </a:lnTo>
                  <a:lnTo>
                    <a:pt x="295072" y="60859"/>
                  </a:lnTo>
                  <a:lnTo>
                    <a:pt x="289200" y="56270"/>
                  </a:lnTo>
                  <a:lnTo>
                    <a:pt x="287276" y="56270"/>
                  </a:lnTo>
                  <a:lnTo>
                    <a:pt x="287276" y="48672"/>
                  </a:lnTo>
                  <a:lnTo>
                    <a:pt x="281405" y="41074"/>
                  </a:lnTo>
                  <a:lnTo>
                    <a:pt x="263840" y="35005"/>
                  </a:lnTo>
                  <a:lnTo>
                    <a:pt x="257968" y="35005"/>
                  </a:lnTo>
                  <a:lnTo>
                    <a:pt x="252343" y="25827"/>
                  </a:lnTo>
                  <a:lnTo>
                    <a:pt x="252343" y="19759"/>
                  </a:lnTo>
                  <a:lnTo>
                    <a:pt x="244547" y="12160"/>
                  </a:lnTo>
                  <a:lnTo>
                    <a:pt x="242475" y="6091"/>
                  </a:lnTo>
                  <a:lnTo>
                    <a:pt x="232607" y="6091"/>
                  </a:lnTo>
                  <a:lnTo>
                    <a:pt x="220864" y="3032"/>
                  </a:lnTo>
                  <a:lnTo>
                    <a:pt x="217016" y="-27"/>
                  </a:lnTo>
                  <a:lnTo>
                    <a:pt x="215042" y="-27"/>
                  </a:lnTo>
                  <a:lnTo>
                    <a:pt x="215042" y="9101"/>
                  </a:lnTo>
                  <a:lnTo>
                    <a:pt x="222838" y="19759"/>
                  </a:lnTo>
                  <a:lnTo>
                    <a:pt x="222838" y="25827"/>
                  </a:lnTo>
                  <a:lnTo>
                    <a:pt x="220864" y="31896"/>
                  </a:lnTo>
                  <a:lnTo>
                    <a:pt x="220864" y="36436"/>
                  </a:lnTo>
                  <a:lnTo>
                    <a:pt x="215042" y="36436"/>
                  </a:lnTo>
                  <a:lnTo>
                    <a:pt x="205174" y="56172"/>
                  </a:lnTo>
                  <a:lnTo>
                    <a:pt x="179813" y="75908"/>
                  </a:lnTo>
                  <a:lnTo>
                    <a:pt x="162248" y="85036"/>
                  </a:lnTo>
                  <a:lnTo>
                    <a:pt x="127068" y="95693"/>
                  </a:lnTo>
                  <a:lnTo>
                    <a:pt x="121197" y="100282"/>
                  </a:lnTo>
                  <a:lnTo>
                    <a:pt x="93862" y="148882"/>
                  </a:lnTo>
                  <a:lnTo>
                    <a:pt x="86066" y="154951"/>
                  </a:lnTo>
                  <a:lnTo>
                    <a:pt x="82119" y="154951"/>
                  </a:lnTo>
                  <a:lnTo>
                    <a:pt x="72251" y="142813"/>
                  </a:lnTo>
                  <a:lnTo>
                    <a:pt x="64455" y="141284"/>
                  </a:lnTo>
                  <a:lnTo>
                    <a:pt x="54587" y="139754"/>
                  </a:lnTo>
                  <a:lnTo>
                    <a:pt x="50640" y="133685"/>
                  </a:lnTo>
                  <a:lnTo>
                    <a:pt x="42844" y="136744"/>
                  </a:lnTo>
                  <a:lnTo>
                    <a:pt x="37022" y="136744"/>
                  </a:lnTo>
                  <a:lnTo>
                    <a:pt x="35048" y="130626"/>
                  </a:lnTo>
                  <a:lnTo>
                    <a:pt x="40920" y="124557"/>
                  </a:lnTo>
                  <a:lnTo>
                    <a:pt x="48716" y="121548"/>
                  </a:lnTo>
                  <a:lnTo>
                    <a:pt x="44818" y="113900"/>
                  </a:lnTo>
                  <a:lnTo>
                    <a:pt x="42844" y="110890"/>
                  </a:lnTo>
                  <a:lnTo>
                    <a:pt x="40920" y="110890"/>
                  </a:lnTo>
                  <a:lnTo>
                    <a:pt x="23355" y="118489"/>
                  </a:lnTo>
                  <a:lnTo>
                    <a:pt x="17483" y="124557"/>
                  </a:lnTo>
                  <a:lnTo>
                    <a:pt x="5740" y="133685"/>
                  </a:lnTo>
                  <a:lnTo>
                    <a:pt x="3816" y="142813"/>
                  </a:lnTo>
                  <a:lnTo>
                    <a:pt x="-82" y="148882"/>
                  </a:lnTo>
                  <a:lnTo>
                    <a:pt x="1842" y="150362"/>
                  </a:lnTo>
                  <a:lnTo>
                    <a:pt x="5740" y="154951"/>
                  </a:lnTo>
                  <a:lnTo>
                    <a:pt x="7714" y="159540"/>
                  </a:lnTo>
                  <a:lnTo>
                    <a:pt x="3816" y="161069"/>
                  </a:lnTo>
                  <a:lnTo>
                    <a:pt x="3816" y="164079"/>
                  </a:lnTo>
                  <a:lnTo>
                    <a:pt x="9638" y="171677"/>
                  </a:lnTo>
                  <a:lnTo>
                    <a:pt x="15510" y="179276"/>
                  </a:lnTo>
                  <a:lnTo>
                    <a:pt x="13585" y="185345"/>
                  </a:lnTo>
                  <a:lnTo>
                    <a:pt x="9638" y="185345"/>
                  </a:lnTo>
                  <a:lnTo>
                    <a:pt x="3816" y="186874"/>
                  </a:lnTo>
                  <a:lnTo>
                    <a:pt x="1842" y="192943"/>
                  </a:lnTo>
                  <a:lnTo>
                    <a:pt x="7714" y="197532"/>
                  </a:lnTo>
                  <a:lnTo>
                    <a:pt x="13585" y="200541"/>
                  </a:lnTo>
                  <a:lnTo>
                    <a:pt x="23453" y="208140"/>
                  </a:lnTo>
                  <a:lnTo>
                    <a:pt x="35147" y="208140"/>
                  </a:lnTo>
                  <a:lnTo>
                    <a:pt x="48814" y="218797"/>
                  </a:lnTo>
                  <a:lnTo>
                    <a:pt x="56610" y="220327"/>
                  </a:lnTo>
                  <a:lnTo>
                    <a:pt x="58584" y="224866"/>
                  </a:lnTo>
                  <a:lnTo>
                    <a:pt x="64850" y="234044"/>
                  </a:lnTo>
                  <a:lnTo>
                    <a:pt x="68748" y="241642"/>
                  </a:lnTo>
                  <a:lnTo>
                    <a:pt x="72646" y="249191"/>
                  </a:lnTo>
                  <a:lnTo>
                    <a:pt x="86313" y="255309"/>
                  </a:lnTo>
                  <a:lnTo>
                    <a:pt x="92184" y="264437"/>
                  </a:lnTo>
                  <a:lnTo>
                    <a:pt x="94109" y="273565"/>
                  </a:lnTo>
                  <a:lnTo>
                    <a:pt x="98006" y="279634"/>
                  </a:lnTo>
                  <a:lnTo>
                    <a:pt x="101954" y="288713"/>
                  </a:lnTo>
                  <a:lnTo>
                    <a:pt x="105802" y="294831"/>
                  </a:lnTo>
                  <a:lnTo>
                    <a:pt x="111674" y="299370"/>
                  </a:lnTo>
                  <a:lnTo>
                    <a:pt x="117545" y="308498"/>
                  </a:lnTo>
                  <a:lnTo>
                    <a:pt x="117545" y="316097"/>
                  </a:lnTo>
                  <a:lnTo>
                    <a:pt x="115621" y="317626"/>
                  </a:lnTo>
                  <a:lnTo>
                    <a:pt x="121443" y="329764"/>
                  </a:lnTo>
                  <a:lnTo>
                    <a:pt x="133186" y="341902"/>
                  </a:lnTo>
                  <a:lnTo>
                    <a:pt x="138860" y="348020"/>
                  </a:lnTo>
                  <a:lnTo>
                    <a:pt x="136838" y="354089"/>
                  </a:lnTo>
                  <a:lnTo>
                    <a:pt x="138860" y="357148"/>
                  </a:lnTo>
                  <a:lnTo>
                    <a:pt x="142709" y="358628"/>
                  </a:lnTo>
                  <a:lnTo>
                    <a:pt x="154452" y="367756"/>
                  </a:lnTo>
                  <a:lnTo>
                    <a:pt x="156426" y="373874"/>
                  </a:lnTo>
                  <a:lnTo>
                    <a:pt x="158350" y="382953"/>
                  </a:lnTo>
                  <a:lnTo>
                    <a:pt x="160274" y="386012"/>
                  </a:lnTo>
                  <a:lnTo>
                    <a:pt x="172017" y="389071"/>
                  </a:lnTo>
                  <a:lnTo>
                    <a:pt x="173991" y="396620"/>
                  </a:lnTo>
                  <a:lnTo>
                    <a:pt x="183859" y="410337"/>
                  </a:lnTo>
                  <a:lnTo>
                    <a:pt x="185833" y="417886"/>
                  </a:lnTo>
                  <a:lnTo>
                    <a:pt x="197526" y="433132"/>
                  </a:lnTo>
                  <a:lnTo>
                    <a:pt x="197526" y="437819"/>
                  </a:lnTo>
                  <a:lnTo>
                    <a:pt x="193677" y="439349"/>
                  </a:lnTo>
                  <a:lnTo>
                    <a:pt x="191704" y="437819"/>
                  </a:lnTo>
                  <a:lnTo>
                    <a:pt x="191704" y="450006"/>
                  </a:lnTo>
                  <a:lnTo>
                    <a:pt x="195602" y="450006"/>
                  </a:lnTo>
                  <a:lnTo>
                    <a:pt x="199500" y="451487"/>
                  </a:lnTo>
                  <a:lnTo>
                    <a:pt x="201473" y="457555"/>
                  </a:lnTo>
                  <a:lnTo>
                    <a:pt x="199500" y="460615"/>
                  </a:lnTo>
                  <a:lnTo>
                    <a:pt x="213167" y="466733"/>
                  </a:lnTo>
                  <a:lnTo>
                    <a:pt x="223035" y="471272"/>
                  </a:lnTo>
                  <a:lnTo>
                    <a:pt x="225009" y="475811"/>
                  </a:lnTo>
                  <a:lnTo>
                    <a:pt x="228907" y="480351"/>
                  </a:lnTo>
                  <a:lnTo>
                    <a:pt x="238775" y="483410"/>
                  </a:lnTo>
                  <a:lnTo>
                    <a:pt x="240748" y="486469"/>
                  </a:lnTo>
                  <a:lnTo>
                    <a:pt x="242722" y="491008"/>
                  </a:lnTo>
                  <a:lnTo>
                    <a:pt x="246620" y="492538"/>
                  </a:lnTo>
                  <a:lnTo>
                    <a:pt x="258314" y="492538"/>
                  </a:lnTo>
                  <a:lnTo>
                    <a:pt x="260287" y="489479"/>
                  </a:lnTo>
                  <a:lnTo>
                    <a:pt x="258314" y="494067"/>
                  </a:lnTo>
                  <a:lnTo>
                    <a:pt x="264185" y="500136"/>
                  </a:lnTo>
                  <a:lnTo>
                    <a:pt x="277852" y="504725"/>
                  </a:lnTo>
                  <a:lnTo>
                    <a:pt x="281750" y="510744"/>
                  </a:lnTo>
                  <a:lnTo>
                    <a:pt x="283674" y="513804"/>
                  </a:lnTo>
                  <a:lnTo>
                    <a:pt x="287622" y="516813"/>
                  </a:lnTo>
                  <a:lnTo>
                    <a:pt x="297490" y="519872"/>
                  </a:lnTo>
                  <a:lnTo>
                    <a:pt x="299414" y="518343"/>
                  </a:lnTo>
                  <a:lnTo>
                    <a:pt x="307210" y="519872"/>
                  </a:lnTo>
                  <a:lnTo>
                    <a:pt x="320926" y="527471"/>
                  </a:lnTo>
                  <a:lnTo>
                    <a:pt x="328722" y="530530"/>
                  </a:lnTo>
                  <a:lnTo>
                    <a:pt x="334594" y="530530"/>
                  </a:lnTo>
                  <a:lnTo>
                    <a:pt x="338442" y="532059"/>
                  </a:lnTo>
                  <a:lnTo>
                    <a:pt x="342389" y="536599"/>
                  </a:lnTo>
                  <a:lnTo>
                    <a:pt x="352257" y="542717"/>
                  </a:lnTo>
                  <a:lnTo>
                    <a:pt x="356155" y="545727"/>
                  </a:lnTo>
                  <a:lnTo>
                    <a:pt x="364000" y="551795"/>
                  </a:lnTo>
                  <a:lnTo>
                    <a:pt x="367849" y="553325"/>
                  </a:lnTo>
                  <a:lnTo>
                    <a:pt x="371796" y="556335"/>
                  </a:lnTo>
                  <a:lnTo>
                    <a:pt x="369823" y="559394"/>
                  </a:lnTo>
                  <a:lnTo>
                    <a:pt x="369823" y="565463"/>
                  </a:lnTo>
                  <a:lnTo>
                    <a:pt x="379691" y="566992"/>
                  </a:lnTo>
                  <a:lnTo>
                    <a:pt x="387487" y="570051"/>
                  </a:lnTo>
                  <a:lnTo>
                    <a:pt x="397355" y="577601"/>
                  </a:lnTo>
                  <a:lnTo>
                    <a:pt x="405150" y="585248"/>
                  </a:lnTo>
                  <a:lnTo>
                    <a:pt x="412995" y="586778"/>
                  </a:lnTo>
                  <a:lnTo>
                    <a:pt x="414920" y="589788"/>
                  </a:lnTo>
                  <a:lnTo>
                    <a:pt x="422716" y="583719"/>
                  </a:lnTo>
                  <a:lnTo>
                    <a:pt x="430561" y="579180"/>
                  </a:lnTo>
                  <a:lnTo>
                    <a:pt x="434458" y="580709"/>
                  </a:lnTo>
                  <a:lnTo>
                    <a:pt x="444326" y="577601"/>
                  </a:lnTo>
                  <a:lnTo>
                    <a:pt x="446251" y="571532"/>
                  </a:lnTo>
                  <a:lnTo>
                    <a:pt x="438455" y="566992"/>
                  </a:lnTo>
                  <a:lnTo>
                    <a:pt x="440429" y="562453"/>
                  </a:lnTo>
                  <a:lnTo>
                    <a:pt x="446251" y="556335"/>
                  </a:lnTo>
                  <a:lnTo>
                    <a:pt x="450198" y="556335"/>
                  </a:lnTo>
                  <a:lnTo>
                    <a:pt x="450198" y="553325"/>
                  </a:lnTo>
                  <a:lnTo>
                    <a:pt x="446251" y="551795"/>
                  </a:lnTo>
                  <a:lnTo>
                    <a:pt x="440429" y="550266"/>
                  </a:lnTo>
                  <a:lnTo>
                    <a:pt x="448224" y="539658"/>
                  </a:lnTo>
                  <a:lnTo>
                    <a:pt x="456020" y="536599"/>
                  </a:lnTo>
                  <a:lnTo>
                    <a:pt x="461892" y="525990"/>
                  </a:lnTo>
                  <a:lnTo>
                    <a:pt x="461892" y="519724"/>
                  </a:lnTo>
                  <a:lnTo>
                    <a:pt x="452023" y="498458"/>
                  </a:lnTo>
                  <a:lnTo>
                    <a:pt x="455922" y="493919"/>
                  </a:lnTo>
                  <a:lnTo>
                    <a:pt x="455922" y="486321"/>
                  </a:lnTo>
                  <a:lnTo>
                    <a:pt x="453948" y="483262"/>
                  </a:lnTo>
                  <a:lnTo>
                    <a:pt x="452023" y="475663"/>
                  </a:lnTo>
                  <a:lnTo>
                    <a:pt x="455922" y="471124"/>
                  </a:lnTo>
                  <a:lnTo>
                    <a:pt x="457895" y="461996"/>
                  </a:lnTo>
                  <a:lnTo>
                    <a:pt x="457895" y="440681"/>
                  </a:lnTo>
                  <a:lnTo>
                    <a:pt x="453948" y="433132"/>
                  </a:lnTo>
                  <a:lnTo>
                    <a:pt x="457895" y="422475"/>
                  </a:lnTo>
                  <a:lnTo>
                    <a:pt x="457895" y="401209"/>
                  </a:lnTo>
                  <a:lnTo>
                    <a:pt x="463767" y="392081"/>
                  </a:lnTo>
                  <a:lnTo>
                    <a:pt x="463767" y="38907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Graphic 2">
              <a:extLst>
                <a:ext uri="{FF2B5EF4-FFF2-40B4-BE49-F238E27FC236}">
                  <a16:creationId xmlns:a16="http://schemas.microsoft.com/office/drawing/2014/main" id="{98A9F526-DE6E-4268-A235-3B82D2FE1360}"/>
                </a:ext>
              </a:extLst>
            </p:cNvPr>
            <p:cNvSpPr/>
            <p:nvPr/>
          </p:nvSpPr>
          <p:spPr>
            <a:xfrm>
              <a:off x="3159857" y="4916074"/>
              <a:ext cx="410249" cy="393513"/>
            </a:xfrm>
            <a:custGeom>
              <a:avLst/>
              <a:gdLst>
                <a:gd name="connsiteX0" fmla="*/ 431794 w 451562"/>
                <a:gd name="connsiteY0" fmla="*/ 327396 h 433158"/>
                <a:gd name="connsiteX1" fmla="*/ 435692 w 451562"/>
                <a:gd name="connsiteY1" fmla="*/ 322758 h 433158"/>
                <a:gd name="connsiteX2" fmla="*/ 433719 w 451562"/>
                <a:gd name="connsiteY2" fmla="*/ 318169 h 433158"/>
                <a:gd name="connsiteX3" fmla="*/ 451481 w 451562"/>
                <a:gd name="connsiteY3" fmla="*/ 287578 h 433158"/>
                <a:gd name="connsiteX4" fmla="*/ 449508 w 451562"/>
                <a:gd name="connsiteY4" fmla="*/ 272282 h 433158"/>
                <a:gd name="connsiteX5" fmla="*/ 431794 w 451562"/>
                <a:gd name="connsiteY5" fmla="*/ 243221 h 433158"/>
                <a:gd name="connsiteX6" fmla="*/ 412058 w 451562"/>
                <a:gd name="connsiteY6" fmla="*/ 240162 h 433158"/>
                <a:gd name="connsiteX7" fmla="*/ 414032 w 451562"/>
                <a:gd name="connsiteY7" fmla="*/ 226396 h 433158"/>
                <a:gd name="connsiteX8" fmla="*/ 410085 w 451562"/>
                <a:gd name="connsiteY8" fmla="*/ 208041 h 433158"/>
                <a:gd name="connsiteX9" fmla="*/ 347028 w 451562"/>
                <a:gd name="connsiteY9" fmla="*/ 206512 h 433158"/>
                <a:gd name="connsiteX10" fmla="*/ 347028 w 451562"/>
                <a:gd name="connsiteY10" fmla="*/ 191019 h 433158"/>
                <a:gd name="connsiteX11" fmla="*/ 335186 w 451562"/>
                <a:gd name="connsiteY11" fmla="*/ 171283 h 433158"/>
                <a:gd name="connsiteX12" fmla="*/ 339133 w 451562"/>
                <a:gd name="connsiteY12" fmla="*/ 165164 h 433158"/>
                <a:gd name="connsiteX13" fmla="*/ 335186 w 451562"/>
                <a:gd name="connsiteY13" fmla="*/ 154458 h 433158"/>
                <a:gd name="connsiteX14" fmla="*/ 337160 w 451562"/>
                <a:gd name="connsiteY14" fmla="*/ 139162 h 433158"/>
                <a:gd name="connsiteX15" fmla="*/ 335186 w 451562"/>
                <a:gd name="connsiteY15" fmla="*/ 133044 h 433158"/>
                <a:gd name="connsiteX16" fmla="*/ 319397 w 451562"/>
                <a:gd name="connsiteY16" fmla="*/ 126926 h 433158"/>
                <a:gd name="connsiteX17" fmla="*/ 299661 w 451562"/>
                <a:gd name="connsiteY17" fmla="*/ 128455 h 433158"/>
                <a:gd name="connsiteX18" fmla="*/ 291816 w 451562"/>
                <a:gd name="connsiteY18" fmla="*/ 122337 h 433158"/>
                <a:gd name="connsiteX19" fmla="*/ 281948 w 451562"/>
                <a:gd name="connsiteY19" fmla="*/ 120808 h 433158"/>
                <a:gd name="connsiteX20" fmla="*/ 279974 w 451562"/>
                <a:gd name="connsiteY20" fmla="*/ 113160 h 433158"/>
                <a:gd name="connsiteX21" fmla="*/ 270106 w 451562"/>
                <a:gd name="connsiteY21" fmla="*/ 110100 h 433158"/>
                <a:gd name="connsiteX22" fmla="*/ 256291 w 451562"/>
                <a:gd name="connsiteY22" fmla="*/ 105512 h 433158"/>
                <a:gd name="connsiteX23" fmla="*/ 248446 w 451562"/>
                <a:gd name="connsiteY23" fmla="*/ 105512 h 433158"/>
                <a:gd name="connsiteX24" fmla="*/ 236604 w 451562"/>
                <a:gd name="connsiteY24" fmla="*/ 93276 h 433158"/>
                <a:gd name="connsiteX25" fmla="*/ 226736 w 451562"/>
                <a:gd name="connsiteY25" fmla="*/ 94805 h 433158"/>
                <a:gd name="connsiteX26" fmla="*/ 212921 w 451562"/>
                <a:gd name="connsiteY26" fmla="*/ 85628 h 433158"/>
                <a:gd name="connsiteX27" fmla="*/ 199155 w 451562"/>
                <a:gd name="connsiteY27" fmla="*/ 87157 h 433158"/>
                <a:gd name="connsiteX28" fmla="*/ 197132 w 451562"/>
                <a:gd name="connsiteY28" fmla="*/ 90216 h 433158"/>
                <a:gd name="connsiteX29" fmla="*/ 189237 w 451562"/>
                <a:gd name="connsiteY29" fmla="*/ 85628 h 433158"/>
                <a:gd name="connsiteX30" fmla="*/ 175471 w 451562"/>
                <a:gd name="connsiteY30" fmla="*/ 79460 h 433158"/>
                <a:gd name="connsiteX31" fmla="*/ 167577 w 451562"/>
                <a:gd name="connsiteY31" fmla="*/ 74872 h 433158"/>
                <a:gd name="connsiteX32" fmla="*/ 165603 w 451562"/>
                <a:gd name="connsiteY32" fmla="*/ 65744 h 433158"/>
                <a:gd name="connsiteX33" fmla="*/ 157709 w 451562"/>
                <a:gd name="connsiteY33" fmla="*/ 62684 h 433158"/>
                <a:gd name="connsiteX34" fmla="*/ 151788 w 451562"/>
                <a:gd name="connsiteY34" fmla="*/ 51978 h 433158"/>
                <a:gd name="connsiteX35" fmla="*/ 155735 w 451562"/>
                <a:gd name="connsiteY35" fmla="*/ 45860 h 433158"/>
                <a:gd name="connsiteX36" fmla="*/ 147841 w 451562"/>
                <a:gd name="connsiteY36" fmla="*/ 30564 h 433158"/>
                <a:gd name="connsiteX37" fmla="*/ 155735 w 451562"/>
                <a:gd name="connsiteY37" fmla="*/ 21387 h 433158"/>
                <a:gd name="connsiteX38" fmla="*/ 151788 w 451562"/>
                <a:gd name="connsiteY38" fmla="*/ 9150 h 433158"/>
                <a:gd name="connsiteX39" fmla="*/ 153762 w 451562"/>
                <a:gd name="connsiteY39" fmla="*/ 3032 h 433158"/>
                <a:gd name="connsiteX40" fmla="*/ 147841 w 451562"/>
                <a:gd name="connsiteY40" fmla="*/ -27 h 433158"/>
                <a:gd name="connsiteX41" fmla="*/ 139995 w 451562"/>
                <a:gd name="connsiteY41" fmla="*/ 4562 h 433158"/>
                <a:gd name="connsiteX42" fmla="*/ 132052 w 451562"/>
                <a:gd name="connsiteY42" fmla="*/ -27 h 433158"/>
                <a:gd name="connsiteX43" fmla="*/ 124207 w 451562"/>
                <a:gd name="connsiteY43" fmla="*/ -27 h 433158"/>
                <a:gd name="connsiteX44" fmla="*/ 112365 w 451562"/>
                <a:gd name="connsiteY44" fmla="*/ 4562 h 433158"/>
                <a:gd name="connsiteX45" fmla="*/ 100523 w 451562"/>
                <a:gd name="connsiteY45" fmla="*/ 6091 h 433158"/>
                <a:gd name="connsiteX46" fmla="*/ 84734 w 451562"/>
                <a:gd name="connsiteY46" fmla="*/ 15268 h 433158"/>
                <a:gd name="connsiteX47" fmla="*/ 76889 w 451562"/>
                <a:gd name="connsiteY47" fmla="*/ 29034 h 433158"/>
                <a:gd name="connsiteX48" fmla="*/ 67021 w 451562"/>
                <a:gd name="connsiteY48" fmla="*/ 32093 h 433158"/>
                <a:gd name="connsiteX49" fmla="*/ 59077 w 451562"/>
                <a:gd name="connsiteY49" fmla="*/ 32093 h 433158"/>
                <a:gd name="connsiteX50" fmla="*/ 51183 w 451562"/>
                <a:gd name="connsiteY50" fmla="*/ 36682 h 433158"/>
                <a:gd name="connsiteX51" fmla="*/ 43289 w 451562"/>
                <a:gd name="connsiteY51" fmla="*/ 36682 h 433158"/>
                <a:gd name="connsiteX52" fmla="*/ 33420 w 451562"/>
                <a:gd name="connsiteY52" fmla="*/ 42800 h 433158"/>
                <a:gd name="connsiteX53" fmla="*/ 23552 w 451562"/>
                <a:gd name="connsiteY53" fmla="*/ 41271 h 433158"/>
                <a:gd name="connsiteX54" fmla="*/ -82 w 451562"/>
                <a:gd name="connsiteY54" fmla="*/ 41271 h 433158"/>
                <a:gd name="connsiteX55" fmla="*/ 33420 w 451562"/>
                <a:gd name="connsiteY55" fmla="*/ 84098 h 433158"/>
                <a:gd name="connsiteX56" fmla="*/ 33420 w 451562"/>
                <a:gd name="connsiteY56" fmla="*/ 87404 h 433158"/>
                <a:gd name="connsiteX57" fmla="*/ 27549 w 451562"/>
                <a:gd name="connsiteY57" fmla="*/ 96581 h 433158"/>
                <a:gd name="connsiteX58" fmla="*/ 27549 w 451562"/>
                <a:gd name="connsiteY58" fmla="*/ 117995 h 433158"/>
                <a:gd name="connsiteX59" fmla="*/ 23552 w 451562"/>
                <a:gd name="connsiteY59" fmla="*/ 128702 h 433158"/>
                <a:gd name="connsiteX60" fmla="*/ 27549 w 451562"/>
                <a:gd name="connsiteY60" fmla="*/ 136350 h 433158"/>
                <a:gd name="connsiteX61" fmla="*/ 27549 w 451562"/>
                <a:gd name="connsiteY61" fmla="*/ 157763 h 433158"/>
                <a:gd name="connsiteX62" fmla="*/ 25526 w 451562"/>
                <a:gd name="connsiteY62" fmla="*/ 166941 h 433158"/>
                <a:gd name="connsiteX63" fmla="*/ 21579 w 451562"/>
                <a:gd name="connsiteY63" fmla="*/ 171529 h 433158"/>
                <a:gd name="connsiteX64" fmla="*/ 23552 w 451562"/>
                <a:gd name="connsiteY64" fmla="*/ 179177 h 433158"/>
                <a:gd name="connsiteX65" fmla="*/ 25526 w 451562"/>
                <a:gd name="connsiteY65" fmla="*/ 182236 h 433158"/>
                <a:gd name="connsiteX66" fmla="*/ 25526 w 451562"/>
                <a:gd name="connsiteY66" fmla="*/ 189884 h 433158"/>
                <a:gd name="connsiteX67" fmla="*/ 21579 w 451562"/>
                <a:gd name="connsiteY67" fmla="*/ 194473 h 433158"/>
                <a:gd name="connsiteX68" fmla="*/ 31447 w 451562"/>
                <a:gd name="connsiteY68" fmla="*/ 215886 h 433158"/>
                <a:gd name="connsiteX69" fmla="*/ 31447 w 451562"/>
                <a:gd name="connsiteY69" fmla="*/ 222005 h 433158"/>
                <a:gd name="connsiteX70" fmla="*/ 25526 w 451562"/>
                <a:gd name="connsiteY70" fmla="*/ 232711 h 433158"/>
                <a:gd name="connsiteX71" fmla="*/ 17681 w 451562"/>
                <a:gd name="connsiteY71" fmla="*/ 235771 h 433158"/>
                <a:gd name="connsiteX72" fmla="*/ 9786 w 451562"/>
                <a:gd name="connsiteY72" fmla="*/ 246477 h 433158"/>
                <a:gd name="connsiteX73" fmla="*/ 15707 w 451562"/>
                <a:gd name="connsiteY73" fmla="*/ 248007 h 433158"/>
                <a:gd name="connsiteX74" fmla="*/ 19605 w 451562"/>
                <a:gd name="connsiteY74" fmla="*/ 249536 h 433158"/>
                <a:gd name="connsiteX75" fmla="*/ 19605 w 451562"/>
                <a:gd name="connsiteY75" fmla="*/ 252595 h 433158"/>
                <a:gd name="connsiteX76" fmla="*/ 21579 w 451562"/>
                <a:gd name="connsiteY76" fmla="*/ 254125 h 433158"/>
                <a:gd name="connsiteX77" fmla="*/ 21579 w 451562"/>
                <a:gd name="connsiteY77" fmla="*/ 261773 h 433158"/>
                <a:gd name="connsiteX78" fmla="*/ 29522 w 451562"/>
                <a:gd name="connsiteY78" fmla="*/ 267891 h 433158"/>
                <a:gd name="connsiteX79" fmla="*/ 33420 w 451562"/>
                <a:gd name="connsiteY79" fmla="*/ 270950 h 433158"/>
                <a:gd name="connsiteX80" fmla="*/ 33420 w 451562"/>
                <a:gd name="connsiteY80" fmla="*/ 275539 h 433158"/>
                <a:gd name="connsiteX81" fmla="*/ 31447 w 451562"/>
                <a:gd name="connsiteY81" fmla="*/ 281657 h 433158"/>
                <a:gd name="connsiteX82" fmla="*/ 33420 w 451562"/>
                <a:gd name="connsiteY82" fmla="*/ 286246 h 433158"/>
                <a:gd name="connsiteX83" fmla="*/ 35394 w 451562"/>
                <a:gd name="connsiteY83" fmla="*/ 296952 h 433158"/>
                <a:gd name="connsiteX84" fmla="*/ 41315 w 451562"/>
                <a:gd name="connsiteY84" fmla="*/ 303071 h 433158"/>
                <a:gd name="connsiteX85" fmla="*/ 59077 w 451562"/>
                <a:gd name="connsiteY85" fmla="*/ 315307 h 433158"/>
                <a:gd name="connsiteX86" fmla="*/ 59077 w 451562"/>
                <a:gd name="connsiteY86" fmla="*/ 319896 h 433158"/>
                <a:gd name="connsiteX87" fmla="*/ 55130 w 451562"/>
                <a:gd name="connsiteY87" fmla="*/ 327593 h 433158"/>
                <a:gd name="connsiteX88" fmla="*/ 57104 w 451562"/>
                <a:gd name="connsiteY88" fmla="*/ 333711 h 433158"/>
                <a:gd name="connsiteX89" fmla="*/ 49209 w 451562"/>
                <a:gd name="connsiteY89" fmla="*/ 352066 h 433158"/>
                <a:gd name="connsiteX90" fmla="*/ 55130 w 451562"/>
                <a:gd name="connsiteY90" fmla="*/ 356654 h 433158"/>
                <a:gd name="connsiteX91" fmla="*/ 70870 w 451562"/>
                <a:gd name="connsiteY91" fmla="*/ 371900 h 433158"/>
                <a:gd name="connsiteX92" fmla="*/ 98500 w 451562"/>
                <a:gd name="connsiteY92" fmla="*/ 433132 h 433158"/>
                <a:gd name="connsiteX93" fmla="*/ 108368 w 451562"/>
                <a:gd name="connsiteY93" fmla="*/ 433132 h 433158"/>
                <a:gd name="connsiteX94" fmla="*/ 110342 w 451562"/>
                <a:gd name="connsiteY94" fmla="*/ 430073 h 433158"/>
                <a:gd name="connsiteX95" fmla="*/ 118237 w 451562"/>
                <a:gd name="connsiteY95" fmla="*/ 428543 h 433158"/>
                <a:gd name="connsiteX96" fmla="*/ 118237 w 451562"/>
                <a:gd name="connsiteY96" fmla="*/ 428543 h 433158"/>
                <a:gd name="connsiteX97" fmla="*/ 122184 w 451562"/>
                <a:gd name="connsiteY97" fmla="*/ 423905 h 433158"/>
                <a:gd name="connsiteX98" fmla="*/ 128055 w 451562"/>
                <a:gd name="connsiteY98" fmla="*/ 411669 h 433158"/>
                <a:gd name="connsiteX99" fmla="*/ 141870 w 451562"/>
                <a:gd name="connsiteY99" fmla="*/ 399432 h 433158"/>
                <a:gd name="connsiteX100" fmla="*/ 151739 w 451562"/>
                <a:gd name="connsiteY100" fmla="*/ 397903 h 433158"/>
                <a:gd name="connsiteX101" fmla="*/ 159633 w 451562"/>
                <a:gd name="connsiteY101" fmla="*/ 404021 h 433158"/>
                <a:gd name="connsiteX102" fmla="*/ 169501 w 451562"/>
                <a:gd name="connsiteY102" fmla="*/ 402491 h 433158"/>
                <a:gd name="connsiteX103" fmla="*/ 175422 w 451562"/>
                <a:gd name="connsiteY103" fmla="*/ 402491 h 433158"/>
                <a:gd name="connsiteX104" fmla="*/ 185290 w 451562"/>
                <a:gd name="connsiteY104" fmla="*/ 404021 h 433158"/>
                <a:gd name="connsiteX105" fmla="*/ 197082 w 451562"/>
                <a:gd name="connsiteY105" fmla="*/ 400962 h 433158"/>
                <a:gd name="connsiteX106" fmla="*/ 204977 w 451562"/>
                <a:gd name="connsiteY106" fmla="*/ 402491 h 433158"/>
                <a:gd name="connsiteX107" fmla="*/ 204977 w 451562"/>
                <a:gd name="connsiteY107" fmla="*/ 410139 h 433158"/>
                <a:gd name="connsiteX108" fmla="*/ 210898 w 451562"/>
                <a:gd name="connsiteY108" fmla="*/ 423905 h 433158"/>
                <a:gd name="connsiteX109" fmla="*/ 212871 w 451562"/>
                <a:gd name="connsiteY109" fmla="*/ 426964 h 433158"/>
                <a:gd name="connsiteX110" fmla="*/ 216818 w 451562"/>
                <a:gd name="connsiteY110" fmla="*/ 423905 h 433158"/>
                <a:gd name="connsiteX111" fmla="*/ 214845 w 451562"/>
                <a:gd name="connsiteY111" fmla="*/ 417787 h 433158"/>
                <a:gd name="connsiteX112" fmla="*/ 220766 w 451562"/>
                <a:gd name="connsiteY112" fmla="*/ 411669 h 433158"/>
                <a:gd name="connsiteX113" fmla="*/ 220766 w 451562"/>
                <a:gd name="connsiteY113" fmla="*/ 405551 h 433158"/>
                <a:gd name="connsiteX114" fmla="*/ 226687 w 451562"/>
                <a:gd name="connsiteY114" fmla="*/ 399432 h 433158"/>
                <a:gd name="connsiteX115" fmla="*/ 266159 w 451562"/>
                <a:gd name="connsiteY115" fmla="*/ 399432 h 433158"/>
                <a:gd name="connsiteX116" fmla="*/ 272080 w 451562"/>
                <a:gd name="connsiteY116" fmla="*/ 404021 h 433158"/>
                <a:gd name="connsiteX117" fmla="*/ 276027 w 451562"/>
                <a:gd name="connsiteY117" fmla="*/ 394844 h 433158"/>
                <a:gd name="connsiteX118" fmla="*/ 283921 w 451562"/>
                <a:gd name="connsiteY118" fmla="*/ 376489 h 433158"/>
                <a:gd name="connsiteX119" fmla="*/ 285895 w 451562"/>
                <a:gd name="connsiteY119" fmla="*/ 368841 h 433158"/>
                <a:gd name="connsiteX120" fmla="*/ 283921 w 451562"/>
                <a:gd name="connsiteY120" fmla="*/ 359713 h 433158"/>
                <a:gd name="connsiteX121" fmla="*/ 279974 w 451562"/>
                <a:gd name="connsiteY121" fmla="*/ 355125 h 433158"/>
                <a:gd name="connsiteX122" fmla="*/ 293789 w 451562"/>
                <a:gd name="connsiteY122" fmla="*/ 341359 h 433158"/>
                <a:gd name="connsiteX123" fmla="*/ 297737 w 451562"/>
                <a:gd name="connsiteY123" fmla="*/ 329122 h 433158"/>
                <a:gd name="connsiteX124" fmla="*/ 297737 w 451562"/>
                <a:gd name="connsiteY124" fmla="*/ 324238 h 433158"/>
                <a:gd name="connsiteX125" fmla="*/ 305582 w 451562"/>
                <a:gd name="connsiteY125" fmla="*/ 319600 h 433158"/>
                <a:gd name="connsiteX126" fmla="*/ 354922 w 451562"/>
                <a:gd name="connsiteY126" fmla="*/ 305834 h 433158"/>
                <a:gd name="connsiteX127" fmla="*/ 396319 w 451562"/>
                <a:gd name="connsiteY127" fmla="*/ 307363 h 433158"/>
                <a:gd name="connsiteX128" fmla="*/ 420002 w 451562"/>
                <a:gd name="connsiteY128" fmla="*/ 322659 h 433158"/>
                <a:gd name="connsiteX129" fmla="*/ 427847 w 451562"/>
                <a:gd name="connsiteY129" fmla="*/ 324238 h 433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451562" h="433158">
                  <a:moveTo>
                    <a:pt x="431794" y="327396"/>
                  </a:moveTo>
                  <a:lnTo>
                    <a:pt x="435692" y="322758"/>
                  </a:lnTo>
                  <a:lnTo>
                    <a:pt x="433719" y="318169"/>
                  </a:lnTo>
                  <a:lnTo>
                    <a:pt x="451481" y="287578"/>
                  </a:lnTo>
                  <a:lnTo>
                    <a:pt x="449508" y="272282"/>
                  </a:lnTo>
                  <a:lnTo>
                    <a:pt x="431794" y="243221"/>
                  </a:lnTo>
                  <a:lnTo>
                    <a:pt x="412058" y="240162"/>
                  </a:lnTo>
                  <a:lnTo>
                    <a:pt x="414032" y="226396"/>
                  </a:lnTo>
                  <a:lnTo>
                    <a:pt x="410085" y="208041"/>
                  </a:lnTo>
                  <a:lnTo>
                    <a:pt x="347028" y="206512"/>
                  </a:lnTo>
                  <a:lnTo>
                    <a:pt x="347028" y="191019"/>
                  </a:lnTo>
                  <a:lnTo>
                    <a:pt x="335186" y="171283"/>
                  </a:lnTo>
                  <a:lnTo>
                    <a:pt x="339133" y="165164"/>
                  </a:lnTo>
                  <a:lnTo>
                    <a:pt x="335186" y="154458"/>
                  </a:lnTo>
                  <a:lnTo>
                    <a:pt x="337160" y="139162"/>
                  </a:lnTo>
                  <a:lnTo>
                    <a:pt x="335186" y="133044"/>
                  </a:lnTo>
                  <a:lnTo>
                    <a:pt x="319397" y="126926"/>
                  </a:lnTo>
                  <a:lnTo>
                    <a:pt x="299661" y="128455"/>
                  </a:lnTo>
                  <a:lnTo>
                    <a:pt x="291816" y="122337"/>
                  </a:lnTo>
                  <a:lnTo>
                    <a:pt x="281948" y="120808"/>
                  </a:lnTo>
                  <a:lnTo>
                    <a:pt x="279974" y="113160"/>
                  </a:lnTo>
                  <a:lnTo>
                    <a:pt x="270106" y="110100"/>
                  </a:lnTo>
                  <a:lnTo>
                    <a:pt x="256291" y="105512"/>
                  </a:lnTo>
                  <a:lnTo>
                    <a:pt x="248446" y="105512"/>
                  </a:lnTo>
                  <a:lnTo>
                    <a:pt x="236604" y="93276"/>
                  </a:lnTo>
                  <a:lnTo>
                    <a:pt x="226736" y="94805"/>
                  </a:lnTo>
                  <a:lnTo>
                    <a:pt x="212921" y="85628"/>
                  </a:lnTo>
                  <a:lnTo>
                    <a:pt x="199155" y="87157"/>
                  </a:lnTo>
                  <a:lnTo>
                    <a:pt x="197132" y="90216"/>
                  </a:lnTo>
                  <a:lnTo>
                    <a:pt x="189237" y="85628"/>
                  </a:lnTo>
                  <a:lnTo>
                    <a:pt x="175471" y="79460"/>
                  </a:lnTo>
                  <a:lnTo>
                    <a:pt x="167577" y="74872"/>
                  </a:lnTo>
                  <a:lnTo>
                    <a:pt x="165603" y="65744"/>
                  </a:lnTo>
                  <a:lnTo>
                    <a:pt x="157709" y="62684"/>
                  </a:lnTo>
                  <a:lnTo>
                    <a:pt x="151788" y="51978"/>
                  </a:lnTo>
                  <a:lnTo>
                    <a:pt x="155735" y="45860"/>
                  </a:lnTo>
                  <a:lnTo>
                    <a:pt x="147841" y="30564"/>
                  </a:lnTo>
                  <a:lnTo>
                    <a:pt x="155735" y="21387"/>
                  </a:lnTo>
                  <a:lnTo>
                    <a:pt x="151788" y="9150"/>
                  </a:lnTo>
                  <a:lnTo>
                    <a:pt x="153762" y="3032"/>
                  </a:lnTo>
                  <a:lnTo>
                    <a:pt x="147841" y="-27"/>
                  </a:lnTo>
                  <a:lnTo>
                    <a:pt x="139995" y="4562"/>
                  </a:lnTo>
                  <a:lnTo>
                    <a:pt x="132052" y="-27"/>
                  </a:lnTo>
                  <a:lnTo>
                    <a:pt x="124207" y="-27"/>
                  </a:lnTo>
                  <a:lnTo>
                    <a:pt x="112365" y="4562"/>
                  </a:lnTo>
                  <a:lnTo>
                    <a:pt x="100523" y="6091"/>
                  </a:lnTo>
                  <a:lnTo>
                    <a:pt x="84734" y="15268"/>
                  </a:lnTo>
                  <a:lnTo>
                    <a:pt x="76889" y="29034"/>
                  </a:lnTo>
                  <a:lnTo>
                    <a:pt x="67021" y="32093"/>
                  </a:lnTo>
                  <a:lnTo>
                    <a:pt x="59077" y="32093"/>
                  </a:lnTo>
                  <a:lnTo>
                    <a:pt x="51183" y="36682"/>
                  </a:lnTo>
                  <a:lnTo>
                    <a:pt x="43289" y="36682"/>
                  </a:lnTo>
                  <a:lnTo>
                    <a:pt x="33420" y="42800"/>
                  </a:lnTo>
                  <a:lnTo>
                    <a:pt x="23552" y="41271"/>
                  </a:lnTo>
                  <a:lnTo>
                    <a:pt x="-82" y="41271"/>
                  </a:lnTo>
                  <a:lnTo>
                    <a:pt x="33420" y="84098"/>
                  </a:lnTo>
                  <a:lnTo>
                    <a:pt x="33420" y="87404"/>
                  </a:lnTo>
                  <a:lnTo>
                    <a:pt x="27549" y="96581"/>
                  </a:lnTo>
                  <a:lnTo>
                    <a:pt x="27549" y="117995"/>
                  </a:lnTo>
                  <a:lnTo>
                    <a:pt x="23552" y="128702"/>
                  </a:lnTo>
                  <a:lnTo>
                    <a:pt x="27549" y="136350"/>
                  </a:lnTo>
                  <a:lnTo>
                    <a:pt x="27549" y="157763"/>
                  </a:lnTo>
                  <a:lnTo>
                    <a:pt x="25526" y="166941"/>
                  </a:lnTo>
                  <a:lnTo>
                    <a:pt x="21579" y="171529"/>
                  </a:lnTo>
                  <a:lnTo>
                    <a:pt x="23552" y="179177"/>
                  </a:lnTo>
                  <a:lnTo>
                    <a:pt x="25526" y="182236"/>
                  </a:lnTo>
                  <a:lnTo>
                    <a:pt x="25526" y="189884"/>
                  </a:lnTo>
                  <a:lnTo>
                    <a:pt x="21579" y="194473"/>
                  </a:lnTo>
                  <a:lnTo>
                    <a:pt x="31447" y="215886"/>
                  </a:lnTo>
                  <a:lnTo>
                    <a:pt x="31447" y="222005"/>
                  </a:lnTo>
                  <a:lnTo>
                    <a:pt x="25526" y="232711"/>
                  </a:lnTo>
                  <a:lnTo>
                    <a:pt x="17681" y="235771"/>
                  </a:lnTo>
                  <a:lnTo>
                    <a:pt x="9786" y="246477"/>
                  </a:lnTo>
                  <a:lnTo>
                    <a:pt x="15707" y="248007"/>
                  </a:lnTo>
                  <a:lnTo>
                    <a:pt x="19605" y="249536"/>
                  </a:lnTo>
                  <a:lnTo>
                    <a:pt x="19605" y="252595"/>
                  </a:lnTo>
                  <a:lnTo>
                    <a:pt x="21579" y="254125"/>
                  </a:lnTo>
                  <a:lnTo>
                    <a:pt x="21579" y="261773"/>
                  </a:lnTo>
                  <a:lnTo>
                    <a:pt x="29522" y="267891"/>
                  </a:lnTo>
                  <a:lnTo>
                    <a:pt x="33420" y="270950"/>
                  </a:lnTo>
                  <a:lnTo>
                    <a:pt x="33420" y="275539"/>
                  </a:lnTo>
                  <a:lnTo>
                    <a:pt x="31447" y="281657"/>
                  </a:lnTo>
                  <a:lnTo>
                    <a:pt x="33420" y="286246"/>
                  </a:lnTo>
                  <a:lnTo>
                    <a:pt x="35394" y="296952"/>
                  </a:lnTo>
                  <a:lnTo>
                    <a:pt x="41315" y="303071"/>
                  </a:lnTo>
                  <a:lnTo>
                    <a:pt x="59077" y="315307"/>
                  </a:lnTo>
                  <a:lnTo>
                    <a:pt x="59077" y="319896"/>
                  </a:lnTo>
                  <a:lnTo>
                    <a:pt x="55130" y="327593"/>
                  </a:lnTo>
                  <a:lnTo>
                    <a:pt x="57104" y="333711"/>
                  </a:lnTo>
                  <a:lnTo>
                    <a:pt x="49209" y="352066"/>
                  </a:lnTo>
                  <a:lnTo>
                    <a:pt x="55130" y="356654"/>
                  </a:lnTo>
                  <a:lnTo>
                    <a:pt x="70870" y="371900"/>
                  </a:lnTo>
                  <a:lnTo>
                    <a:pt x="98500" y="433132"/>
                  </a:lnTo>
                  <a:lnTo>
                    <a:pt x="108368" y="433132"/>
                  </a:lnTo>
                  <a:lnTo>
                    <a:pt x="110342" y="430073"/>
                  </a:lnTo>
                  <a:lnTo>
                    <a:pt x="118237" y="428543"/>
                  </a:lnTo>
                  <a:lnTo>
                    <a:pt x="118237" y="428543"/>
                  </a:lnTo>
                  <a:lnTo>
                    <a:pt x="122184" y="423905"/>
                  </a:lnTo>
                  <a:lnTo>
                    <a:pt x="128055" y="411669"/>
                  </a:lnTo>
                  <a:lnTo>
                    <a:pt x="141870" y="399432"/>
                  </a:lnTo>
                  <a:lnTo>
                    <a:pt x="151739" y="397903"/>
                  </a:lnTo>
                  <a:lnTo>
                    <a:pt x="159633" y="404021"/>
                  </a:lnTo>
                  <a:lnTo>
                    <a:pt x="169501" y="402491"/>
                  </a:lnTo>
                  <a:lnTo>
                    <a:pt x="175422" y="402491"/>
                  </a:lnTo>
                  <a:lnTo>
                    <a:pt x="185290" y="404021"/>
                  </a:lnTo>
                  <a:lnTo>
                    <a:pt x="197082" y="400962"/>
                  </a:lnTo>
                  <a:lnTo>
                    <a:pt x="204977" y="402491"/>
                  </a:lnTo>
                  <a:lnTo>
                    <a:pt x="204977" y="410139"/>
                  </a:lnTo>
                  <a:lnTo>
                    <a:pt x="210898" y="423905"/>
                  </a:lnTo>
                  <a:lnTo>
                    <a:pt x="212871" y="426964"/>
                  </a:lnTo>
                  <a:lnTo>
                    <a:pt x="216818" y="423905"/>
                  </a:lnTo>
                  <a:lnTo>
                    <a:pt x="214845" y="417787"/>
                  </a:lnTo>
                  <a:lnTo>
                    <a:pt x="220766" y="411669"/>
                  </a:lnTo>
                  <a:lnTo>
                    <a:pt x="220766" y="405551"/>
                  </a:lnTo>
                  <a:lnTo>
                    <a:pt x="226687" y="399432"/>
                  </a:lnTo>
                  <a:lnTo>
                    <a:pt x="266159" y="399432"/>
                  </a:lnTo>
                  <a:lnTo>
                    <a:pt x="272080" y="404021"/>
                  </a:lnTo>
                  <a:lnTo>
                    <a:pt x="276027" y="394844"/>
                  </a:lnTo>
                  <a:lnTo>
                    <a:pt x="283921" y="376489"/>
                  </a:lnTo>
                  <a:lnTo>
                    <a:pt x="285895" y="368841"/>
                  </a:lnTo>
                  <a:lnTo>
                    <a:pt x="283921" y="359713"/>
                  </a:lnTo>
                  <a:lnTo>
                    <a:pt x="279974" y="355125"/>
                  </a:lnTo>
                  <a:lnTo>
                    <a:pt x="293789" y="341359"/>
                  </a:lnTo>
                  <a:lnTo>
                    <a:pt x="297737" y="329122"/>
                  </a:lnTo>
                  <a:lnTo>
                    <a:pt x="297737" y="324238"/>
                  </a:lnTo>
                  <a:lnTo>
                    <a:pt x="305582" y="319600"/>
                  </a:lnTo>
                  <a:lnTo>
                    <a:pt x="354922" y="305834"/>
                  </a:lnTo>
                  <a:lnTo>
                    <a:pt x="396319" y="307363"/>
                  </a:lnTo>
                  <a:lnTo>
                    <a:pt x="420002" y="322659"/>
                  </a:lnTo>
                  <a:lnTo>
                    <a:pt x="427847" y="32423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Graphic 2">
              <a:extLst>
                <a:ext uri="{FF2B5EF4-FFF2-40B4-BE49-F238E27FC236}">
                  <a16:creationId xmlns:a16="http://schemas.microsoft.com/office/drawing/2014/main" id="{0B52AA85-4EBC-4CAB-8B39-057E88E254DC}"/>
                </a:ext>
              </a:extLst>
            </p:cNvPr>
            <p:cNvSpPr/>
            <p:nvPr/>
          </p:nvSpPr>
          <p:spPr>
            <a:xfrm>
              <a:off x="3407343" y="5194209"/>
              <a:ext cx="281420" cy="254020"/>
            </a:xfrm>
            <a:custGeom>
              <a:avLst/>
              <a:gdLst>
                <a:gd name="connsiteX0" fmla="*/ -82 w 309758"/>
                <a:gd name="connsiteY0" fmla="*/ 96729 h 279611"/>
                <a:gd name="connsiteX1" fmla="*/ 3865 w 309758"/>
                <a:gd name="connsiteY1" fmla="*/ 87602 h 279611"/>
                <a:gd name="connsiteX2" fmla="*/ 11711 w 309758"/>
                <a:gd name="connsiteY2" fmla="*/ 69493 h 279611"/>
                <a:gd name="connsiteX3" fmla="*/ 13684 w 309758"/>
                <a:gd name="connsiteY3" fmla="*/ 61895 h 279611"/>
                <a:gd name="connsiteX4" fmla="*/ 11711 w 309758"/>
                <a:gd name="connsiteY4" fmla="*/ 52816 h 279611"/>
                <a:gd name="connsiteX5" fmla="*/ 7763 w 309758"/>
                <a:gd name="connsiteY5" fmla="*/ 48277 h 279611"/>
                <a:gd name="connsiteX6" fmla="*/ 21480 w 309758"/>
                <a:gd name="connsiteY6" fmla="*/ 34659 h 279611"/>
                <a:gd name="connsiteX7" fmla="*/ 25427 w 309758"/>
                <a:gd name="connsiteY7" fmla="*/ 22571 h 279611"/>
                <a:gd name="connsiteX8" fmla="*/ 25427 w 309758"/>
                <a:gd name="connsiteY8" fmla="*/ 18081 h 279611"/>
                <a:gd name="connsiteX9" fmla="*/ 33272 w 309758"/>
                <a:gd name="connsiteY9" fmla="*/ 13591 h 279611"/>
                <a:gd name="connsiteX10" fmla="*/ 82267 w 309758"/>
                <a:gd name="connsiteY10" fmla="*/ -27 h 279611"/>
                <a:gd name="connsiteX11" fmla="*/ 123417 w 309758"/>
                <a:gd name="connsiteY11" fmla="*/ 1503 h 279611"/>
                <a:gd name="connsiteX12" fmla="*/ 146952 w 309758"/>
                <a:gd name="connsiteY12" fmla="*/ 16601 h 279611"/>
                <a:gd name="connsiteX13" fmla="*/ 154798 w 309758"/>
                <a:gd name="connsiteY13" fmla="*/ 18081 h 279611"/>
                <a:gd name="connsiteX14" fmla="*/ 160718 w 309758"/>
                <a:gd name="connsiteY14" fmla="*/ 24199 h 279611"/>
                <a:gd name="connsiteX15" fmla="*/ 158745 w 309758"/>
                <a:gd name="connsiteY15" fmla="*/ 31748 h 279611"/>
                <a:gd name="connsiteX16" fmla="*/ 166541 w 309758"/>
                <a:gd name="connsiteY16" fmla="*/ 37817 h 279611"/>
                <a:gd name="connsiteX17" fmla="*/ 168563 w 309758"/>
                <a:gd name="connsiteY17" fmla="*/ 46896 h 279611"/>
                <a:gd name="connsiteX18" fmla="*/ 174386 w 309758"/>
                <a:gd name="connsiteY18" fmla="*/ 55925 h 279611"/>
                <a:gd name="connsiteX19" fmla="*/ 170488 w 309758"/>
                <a:gd name="connsiteY19" fmla="*/ 74082 h 279611"/>
                <a:gd name="connsiteX20" fmla="*/ 172462 w 309758"/>
                <a:gd name="connsiteY20" fmla="*/ 81681 h 279611"/>
                <a:gd name="connsiteX21" fmla="*/ 170488 w 309758"/>
                <a:gd name="connsiteY21" fmla="*/ 89230 h 279611"/>
                <a:gd name="connsiteX22" fmla="*/ 172462 w 309758"/>
                <a:gd name="connsiteY22" fmla="*/ 95299 h 279611"/>
                <a:gd name="connsiteX23" fmla="*/ 188152 w 309758"/>
                <a:gd name="connsiteY23" fmla="*/ 95299 h 279611"/>
                <a:gd name="connsiteX24" fmla="*/ 194023 w 309758"/>
                <a:gd name="connsiteY24" fmla="*/ 96828 h 279611"/>
                <a:gd name="connsiteX25" fmla="*/ 209713 w 309758"/>
                <a:gd name="connsiteY25" fmla="*/ 95299 h 279611"/>
                <a:gd name="connsiteX26" fmla="*/ 221456 w 309758"/>
                <a:gd name="connsiteY26" fmla="*/ 98308 h 279611"/>
                <a:gd name="connsiteX27" fmla="*/ 237147 w 309758"/>
                <a:gd name="connsiteY27" fmla="*/ 93769 h 279611"/>
                <a:gd name="connsiteX28" fmla="*/ 244992 w 309758"/>
                <a:gd name="connsiteY28" fmla="*/ 98308 h 279611"/>
                <a:gd name="connsiteX29" fmla="*/ 250863 w 309758"/>
                <a:gd name="connsiteY29" fmla="*/ 99838 h 279611"/>
                <a:gd name="connsiteX30" fmla="*/ 252837 w 309758"/>
                <a:gd name="connsiteY30" fmla="*/ 107387 h 279611"/>
                <a:gd name="connsiteX31" fmla="*/ 264580 w 309758"/>
                <a:gd name="connsiteY31" fmla="*/ 140642 h 279611"/>
                <a:gd name="connsiteX32" fmla="*/ 270451 w 309758"/>
                <a:gd name="connsiteY32" fmla="*/ 152780 h 279611"/>
                <a:gd name="connsiteX33" fmla="*/ 276372 w 309758"/>
                <a:gd name="connsiteY33" fmla="*/ 154260 h 279611"/>
                <a:gd name="connsiteX34" fmla="*/ 292013 w 309758"/>
                <a:gd name="connsiteY34" fmla="*/ 148241 h 279611"/>
                <a:gd name="connsiteX35" fmla="*/ 299858 w 309758"/>
                <a:gd name="connsiteY35" fmla="*/ 149770 h 279611"/>
                <a:gd name="connsiteX36" fmla="*/ 303806 w 309758"/>
                <a:gd name="connsiteY36" fmla="*/ 154260 h 279611"/>
                <a:gd name="connsiteX37" fmla="*/ 309677 w 309758"/>
                <a:gd name="connsiteY37" fmla="*/ 154260 h 279611"/>
                <a:gd name="connsiteX38" fmla="*/ 305779 w 309758"/>
                <a:gd name="connsiteY38" fmla="*/ 160329 h 279611"/>
                <a:gd name="connsiteX39" fmla="*/ 305779 w 309758"/>
                <a:gd name="connsiteY39" fmla="*/ 190575 h 279611"/>
                <a:gd name="connsiteX40" fmla="*/ 303806 w 309758"/>
                <a:gd name="connsiteY40" fmla="*/ 193634 h 279611"/>
                <a:gd name="connsiteX41" fmla="*/ 303806 w 309758"/>
                <a:gd name="connsiteY41" fmla="*/ 193634 h 279611"/>
                <a:gd name="connsiteX42" fmla="*/ 303806 w 309758"/>
                <a:gd name="connsiteY42" fmla="*/ 198173 h 279611"/>
                <a:gd name="connsiteX43" fmla="*/ 301832 w 309758"/>
                <a:gd name="connsiteY43" fmla="*/ 201183 h 279611"/>
                <a:gd name="connsiteX44" fmla="*/ 301832 w 309758"/>
                <a:gd name="connsiteY44" fmla="*/ 204193 h 279611"/>
                <a:gd name="connsiteX45" fmla="*/ 299858 w 309758"/>
                <a:gd name="connsiteY45" fmla="*/ 205722 h 279611"/>
                <a:gd name="connsiteX46" fmla="*/ 299858 w 309758"/>
                <a:gd name="connsiteY46" fmla="*/ 228419 h 279611"/>
                <a:gd name="connsiteX47" fmla="*/ 293987 w 309758"/>
                <a:gd name="connsiteY47" fmla="*/ 232958 h 279611"/>
                <a:gd name="connsiteX48" fmla="*/ 286191 w 309758"/>
                <a:gd name="connsiteY48" fmla="*/ 242037 h 279611"/>
                <a:gd name="connsiteX49" fmla="*/ 284217 w 309758"/>
                <a:gd name="connsiteY49" fmla="*/ 248106 h 279611"/>
                <a:gd name="connsiteX50" fmla="*/ 268527 w 309758"/>
                <a:gd name="connsiteY50" fmla="*/ 257184 h 279611"/>
                <a:gd name="connsiteX51" fmla="*/ 266553 w 309758"/>
                <a:gd name="connsiteY51" fmla="*/ 264733 h 279611"/>
                <a:gd name="connsiteX52" fmla="*/ 260830 w 309758"/>
                <a:gd name="connsiteY52" fmla="*/ 272184 h 279611"/>
                <a:gd name="connsiteX53" fmla="*/ 250962 w 309758"/>
                <a:gd name="connsiteY53" fmla="*/ 270704 h 279611"/>
                <a:gd name="connsiteX54" fmla="*/ 247064 w 309758"/>
                <a:gd name="connsiteY54" fmla="*/ 272184 h 279611"/>
                <a:gd name="connsiteX55" fmla="*/ 241094 w 309758"/>
                <a:gd name="connsiteY55" fmla="*/ 279585 h 279611"/>
                <a:gd name="connsiteX56" fmla="*/ 237196 w 309758"/>
                <a:gd name="connsiteY56" fmla="*/ 276526 h 279611"/>
                <a:gd name="connsiteX57" fmla="*/ 233249 w 309758"/>
                <a:gd name="connsiteY57" fmla="*/ 276526 h 279611"/>
                <a:gd name="connsiteX58" fmla="*/ 225453 w 309758"/>
                <a:gd name="connsiteY58" fmla="*/ 279585 h 279611"/>
                <a:gd name="connsiteX59" fmla="*/ 209763 w 309758"/>
                <a:gd name="connsiteY59" fmla="*/ 271986 h 279611"/>
                <a:gd name="connsiteX60" fmla="*/ 188201 w 309758"/>
                <a:gd name="connsiteY60" fmla="*/ 264437 h 279611"/>
                <a:gd name="connsiteX61" fmla="*/ 162692 w 309758"/>
                <a:gd name="connsiteY61" fmla="*/ 270506 h 279611"/>
                <a:gd name="connsiteX62" fmla="*/ 156820 w 309758"/>
                <a:gd name="connsiteY62" fmla="*/ 270506 h 279611"/>
                <a:gd name="connsiteX63" fmla="*/ 158794 w 309758"/>
                <a:gd name="connsiteY63" fmla="*/ 261428 h 279611"/>
                <a:gd name="connsiteX64" fmla="*/ 170537 w 309758"/>
                <a:gd name="connsiteY64" fmla="*/ 252299 h 279611"/>
                <a:gd name="connsiteX65" fmla="*/ 174435 w 309758"/>
                <a:gd name="connsiteY65" fmla="*/ 241741 h 279611"/>
                <a:gd name="connsiteX66" fmla="*/ 172511 w 309758"/>
                <a:gd name="connsiteY66" fmla="*/ 234192 h 279611"/>
                <a:gd name="connsiteX67" fmla="*/ 176409 w 309758"/>
                <a:gd name="connsiteY67" fmla="*/ 229652 h 279611"/>
                <a:gd name="connsiteX68" fmla="*/ 182280 w 309758"/>
                <a:gd name="connsiteY68" fmla="*/ 225113 h 279611"/>
                <a:gd name="connsiteX69" fmla="*/ 188201 w 309758"/>
                <a:gd name="connsiteY69" fmla="*/ 219044 h 279611"/>
                <a:gd name="connsiteX70" fmla="*/ 192099 w 309758"/>
                <a:gd name="connsiteY70" fmla="*/ 209966 h 279611"/>
                <a:gd name="connsiteX71" fmla="*/ 188201 w 309758"/>
                <a:gd name="connsiteY71" fmla="*/ 203897 h 279611"/>
                <a:gd name="connsiteX72" fmla="*/ 174435 w 309758"/>
                <a:gd name="connsiteY72" fmla="*/ 196348 h 279611"/>
                <a:gd name="connsiteX73" fmla="*/ 166590 w 309758"/>
                <a:gd name="connsiteY73" fmla="*/ 187269 h 279611"/>
                <a:gd name="connsiteX74" fmla="*/ 145028 w 309758"/>
                <a:gd name="connsiteY74" fmla="*/ 184259 h 279611"/>
                <a:gd name="connsiteX75" fmla="*/ 129387 w 309758"/>
                <a:gd name="connsiteY75" fmla="*/ 178190 h 279611"/>
                <a:gd name="connsiteX76" fmla="*/ 113697 w 309758"/>
                <a:gd name="connsiteY76" fmla="*/ 167632 h 279611"/>
                <a:gd name="connsiteX77" fmla="*/ 105852 w 309758"/>
                <a:gd name="connsiteY77" fmla="*/ 166102 h 279611"/>
                <a:gd name="connsiteX78" fmla="*/ 94109 w 309758"/>
                <a:gd name="connsiteY78" fmla="*/ 158553 h 279611"/>
                <a:gd name="connsiteX79" fmla="*/ 70574 w 309758"/>
                <a:gd name="connsiteY79" fmla="*/ 153964 h 279611"/>
                <a:gd name="connsiteX80" fmla="*/ 64702 w 309758"/>
                <a:gd name="connsiteY80" fmla="*/ 147945 h 279611"/>
                <a:gd name="connsiteX81" fmla="*/ 56808 w 309758"/>
                <a:gd name="connsiteY81" fmla="*/ 140346 h 279611"/>
                <a:gd name="connsiteX82" fmla="*/ 46940 w 309758"/>
                <a:gd name="connsiteY82" fmla="*/ 140346 h 279611"/>
                <a:gd name="connsiteX83" fmla="*/ 25378 w 309758"/>
                <a:gd name="connsiteY83" fmla="*/ 120610 h 279611"/>
                <a:gd name="connsiteX84" fmla="*/ 17533 w 309758"/>
                <a:gd name="connsiteY84" fmla="*/ 105463 h 279611"/>
                <a:gd name="connsiteX85" fmla="*/ 9687 w 309758"/>
                <a:gd name="connsiteY85" fmla="*/ 103933 h 279611"/>
                <a:gd name="connsiteX86" fmla="*/ 1842 w 309758"/>
                <a:gd name="connsiteY86" fmla="*/ 97914 h 279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09758" h="279611">
                  <a:moveTo>
                    <a:pt x="-82" y="96729"/>
                  </a:moveTo>
                  <a:lnTo>
                    <a:pt x="3865" y="87602"/>
                  </a:lnTo>
                  <a:lnTo>
                    <a:pt x="11711" y="69493"/>
                  </a:lnTo>
                  <a:lnTo>
                    <a:pt x="13684" y="61895"/>
                  </a:lnTo>
                  <a:lnTo>
                    <a:pt x="11711" y="52816"/>
                  </a:lnTo>
                  <a:lnTo>
                    <a:pt x="7763" y="48277"/>
                  </a:lnTo>
                  <a:lnTo>
                    <a:pt x="21480" y="34659"/>
                  </a:lnTo>
                  <a:lnTo>
                    <a:pt x="25427" y="22571"/>
                  </a:lnTo>
                  <a:lnTo>
                    <a:pt x="25427" y="18081"/>
                  </a:lnTo>
                  <a:lnTo>
                    <a:pt x="33272" y="13591"/>
                  </a:lnTo>
                  <a:lnTo>
                    <a:pt x="82267" y="-27"/>
                  </a:lnTo>
                  <a:lnTo>
                    <a:pt x="123417" y="1503"/>
                  </a:lnTo>
                  <a:lnTo>
                    <a:pt x="146952" y="16601"/>
                  </a:lnTo>
                  <a:lnTo>
                    <a:pt x="154798" y="18081"/>
                  </a:lnTo>
                  <a:lnTo>
                    <a:pt x="160718" y="24199"/>
                  </a:lnTo>
                  <a:lnTo>
                    <a:pt x="158745" y="31748"/>
                  </a:lnTo>
                  <a:lnTo>
                    <a:pt x="166541" y="37817"/>
                  </a:lnTo>
                  <a:lnTo>
                    <a:pt x="168563" y="46896"/>
                  </a:lnTo>
                  <a:lnTo>
                    <a:pt x="174386" y="55925"/>
                  </a:lnTo>
                  <a:lnTo>
                    <a:pt x="170488" y="74082"/>
                  </a:lnTo>
                  <a:lnTo>
                    <a:pt x="172462" y="81681"/>
                  </a:lnTo>
                  <a:lnTo>
                    <a:pt x="170488" y="89230"/>
                  </a:lnTo>
                  <a:lnTo>
                    <a:pt x="172462" y="95299"/>
                  </a:lnTo>
                  <a:lnTo>
                    <a:pt x="188152" y="95299"/>
                  </a:lnTo>
                  <a:lnTo>
                    <a:pt x="194023" y="96828"/>
                  </a:lnTo>
                  <a:lnTo>
                    <a:pt x="209713" y="95299"/>
                  </a:lnTo>
                  <a:lnTo>
                    <a:pt x="221456" y="98308"/>
                  </a:lnTo>
                  <a:lnTo>
                    <a:pt x="237147" y="93769"/>
                  </a:lnTo>
                  <a:lnTo>
                    <a:pt x="244992" y="98308"/>
                  </a:lnTo>
                  <a:lnTo>
                    <a:pt x="250863" y="99838"/>
                  </a:lnTo>
                  <a:lnTo>
                    <a:pt x="252837" y="107387"/>
                  </a:lnTo>
                  <a:lnTo>
                    <a:pt x="264580" y="140642"/>
                  </a:lnTo>
                  <a:lnTo>
                    <a:pt x="270451" y="152780"/>
                  </a:lnTo>
                  <a:lnTo>
                    <a:pt x="276372" y="154260"/>
                  </a:lnTo>
                  <a:lnTo>
                    <a:pt x="292013" y="148241"/>
                  </a:lnTo>
                  <a:lnTo>
                    <a:pt x="299858" y="149770"/>
                  </a:lnTo>
                  <a:lnTo>
                    <a:pt x="303806" y="154260"/>
                  </a:lnTo>
                  <a:lnTo>
                    <a:pt x="309677" y="154260"/>
                  </a:lnTo>
                  <a:lnTo>
                    <a:pt x="305779" y="160329"/>
                  </a:lnTo>
                  <a:lnTo>
                    <a:pt x="305779" y="190575"/>
                  </a:lnTo>
                  <a:lnTo>
                    <a:pt x="303806" y="193634"/>
                  </a:lnTo>
                  <a:lnTo>
                    <a:pt x="303806" y="193634"/>
                  </a:lnTo>
                  <a:lnTo>
                    <a:pt x="303806" y="198173"/>
                  </a:lnTo>
                  <a:lnTo>
                    <a:pt x="301832" y="201183"/>
                  </a:lnTo>
                  <a:lnTo>
                    <a:pt x="301832" y="204193"/>
                  </a:lnTo>
                  <a:lnTo>
                    <a:pt x="299858" y="205722"/>
                  </a:lnTo>
                  <a:lnTo>
                    <a:pt x="299858" y="228419"/>
                  </a:lnTo>
                  <a:lnTo>
                    <a:pt x="293987" y="232958"/>
                  </a:lnTo>
                  <a:lnTo>
                    <a:pt x="286191" y="242037"/>
                  </a:lnTo>
                  <a:lnTo>
                    <a:pt x="284217" y="248106"/>
                  </a:lnTo>
                  <a:lnTo>
                    <a:pt x="268527" y="257184"/>
                  </a:lnTo>
                  <a:lnTo>
                    <a:pt x="266553" y="264733"/>
                  </a:lnTo>
                  <a:lnTo>
                    <a:pt x="260830" y="272184"/>
                  </a:lnTo>
                  <a:lnTo>
                    <a:pt x="250962" y="270704"/>
                  </a:lnTo>
                  <a:lnTo>
                    <a:pt x="247064" y="272184"/>
                  </a:lnTo>
                  <a:lnTo>
                    <a:pt x="241094" y="279585"/>
                  </a:lnTo>
                  <a:lnTo>
                    <a:pt x="237196" y="276526"/>
                  </a:lnTo>
                  <a:lnTo>
                    <a:pt x="233249" y="276526"/>
                  </a:lnTo>
                  <a:lnTo>
                    <a:pt x="225453" y="279585"/>
                  </a:lnTo>
                  <a:lnTo>
                    <a:pt x="209763" y="271986"/>
                  </a:lnTo>
                  <a:lnTo>
                    <a:pt x="188201" y="264437"/>
                  </a:lnTo>
                  <a:lnTo>
                    <a:pt x="162692" y="270506"/>
                  </a:lnTo>
                  <a:lnTo>
                    <a:pt x="156820" y="270506"/>
                  </a:lnTo>
                  <a:lnTo>
                    <a:pt x="158794" y="261428"/>
                  </a:lnTo>
                  <a:lnTo>
                    <a:pt x="170537" y="252299"/>
                  </a:lnTo>
                  <a:lnTo>
                    <a:pt x="174435" y="241741"/>
                  </a:lnTo>
                  <a:lnTo>
                    <a:pt x="172511" y="234192"/>
                  </a:lnTo>
                  <a:lnTo>
                    <a:pt x="176409" y="229652"/>
                  </a:lnTo>
                  <a:lnTo>
                    <a:pt x="182280" y="225113"/>
                  </a:lnTo>
                  <a:lnTo>
                    <a:pt x="188201" y="219044"/>
                  </a:lnTo>
                  <a:lnTo>
                    <a:pt x="192099" y="209966"/>
                  </a:lnTo>
                  <a:lnTo>
                    <a:pt x="188201" y="203897"/>
                  </a:lnTo>
                  <a:lnTo>
                    <a:pt x="174435" y="196348"/>
                  </a:lnTo>
                  <a:lnTo>
                    <a:pt x="166590" y="187269"/>
                  </a:lnTo>
                  <a:lnTo>
                    <a:pt x="145028" y="184259"/>
                  </a:lnTo>
                  <a:lnTo>
                    <a:pt x="129387" y="178190"/>
                  </a:lnTo>
                  <a:lnTo>
                    <a:pt x="113697" y="167632"/>
                  </a:lnTo>
                  <a:lnTo>
                    <a:pt x="105852" y="166102"/>
                  </a:lnTo>
                  <a:lnTo>
                    <a:pt x="94109" y="158553"/>
                  </a:lnTo>
                  <a:lnTo>
                    <a:pt x="70574" y="153964"/>
                  </a:lnTo>
                  <a:lnTo>
                    <a:pt x="64702" y="147945"/>
                  </a:lnTo>
                  <a:lnTo>
                    <a:pt x="56808" y="140346"/>
                  </a:lnTo>
                  <a:lnTo>
                    <a:pt x="46940" y="140346"/>
                  </a:lnTo>
                  <a:lnTo>
                    <a:pt x="25378" y="120610"/>
                  </a:lnTo>
                  <a:lnTo>
                    <a:pt x="17533" y="105463"/>
                  </a:lnTo>
                  <a:lnTo>
                    <a:pt x="9687" y="103933"/>
                  </a:lnTo>
                  <a:lnTo>
                    <a:pt x="1842" y="9791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Graphic 2">
              <a:extLst>
                <a:ext uri="{FF2B5EF4-FFF2-40B4-BE49-F238E27FC236}">
                  <a16:creationId xmlns:a16="http://schemas.microsoft.com/office/drawing/2014/main" id="{434EA06B-E7C5-4B9C-922F-523DC567C3E0}"/>
                </a:ext>
              </a:extLst>
            </p:cNvPr>
            <p:cNvSpPr/>
            <p:nvPr/>
          </p:nvSpPr>
          <p:spPr>
            <a:xfrm>
              <a:off x="3580193" y="5522998"/>
              <a:ext cx="166306" cy="162803"/>
            </a:xfrm>
            <a:custGeom>
              <a:avLst/>
              <a:gdLst>
                <a:gd name="connsiteX0" fmla="*/ 17681 w 183052"/>
                <a:gd name="connsiteY0" fmla="*/ 3032 h 179203"/>
                <a:gd name="connsiteX1" fmla="*/ 23601 w 183052"/>
                <a:gd name="connsiteY1" fmla="*/ 3032 h 179203"/>
                <a:gd name="connsiteX2" fmla="*/ 27549 w 183052"/>
                <a:gd name="connsiteY2" fmla="*/ 4561 h 179203"/>
                <a:gd name="connsiteX3" fmla="*/ 45262 w 183052"/>
                <a:gd name="connsiteY3" fmla="*/ -27 h 179203"/>
                <a:gd name="connsiteX4" fmla="*/ 53107 w 183052"/>
                <a:gd name="connsiteY4" fmla="*/ 4561 h 179203"/>
                <a:gd name="connsiteX5" fmla="*/ 60952 w 183052"/>
                <a:gd name="connsiteY5" fmla="*/ 15268 h 179203"/>
                <a:gd name="connsiteX6" fmla="*/ 68847 w 183052"/>
                <a:gd name="connsiteY6" fmla="*/ 16798 h 179203"/>
                <a:gd name="connsiteX7" fmla="*/ 74718 w 183052"/>
                <a:gd name="connsiteY7" fmla="*/ 25975 h 179203"/>
                <a:gd name="connsiteX8" fmla="*/ 82613 w 183052"/>
                <a:gd name="connsiteY8" fmla="*/ 38261 h 179203"/>
                <a:gd name="connsiteX9" fmla="*/ 86510 w 183052"/>
                <a:gd name="connsiteY9" fmla="*/ 38261 h 179203"/>
                <a:gd name="connsiteX10" fmla="*/ 92431 w 183052"/>
                <a:gd name="connsiteY10" fmla="*/ 30613 h 179203"/>
                <a:gd name="connsiteX11" fmla="*/ 96378 w 183052"/>
                <a:gd name="connsiteY11" fmla="*/ 30613 h 179203"/>
                <a:gd name="connsiteX12" fmla="*/ 106247 w 183052"/>
                <a:gd name="connsiteY12" fmla="*/ 44379 h 179203"/>
                <a:gd name="connsiteX13" fmla="*/ 116115 w 183052"/>
                <a:gd name="connsiteY13" fmla="*/ 47438 h 179203"/>
                <a:gd name="connsiteX14" fmla="*/ 123960 w 183052"/>
                <a:gd name="connsiteY14" fmla="*/ 48968 h 179203"/>
                <a:gd name="connsiteX15" fmla="*/ 131854 w 183052"/>
                <a:gd name="connsiteY15" fmla="*/ 55086 h 179203"/>
                <a:gd name="connsiteX16" fmla="*/ 131854 w 183052"/>
                <a:gd name="connsiteY16" fmla="*/ 65694 h 179203"/>
                <a:gd name="connsiteX17" fmla="*/ 139699 w 183052"/>
                <a:gd name="connsiteY17" fmla="*/ 62635 h 179203"/>
                <a:gd name="connsiteX18" fmla="*/ 153465 w 183052"/>
                <a:gd name="connsiteY18" fmla="*/ 68753 h 179203"/>
                <a:gd name="connsiteX19" fmla="*/ 161311 w 183052"/>
                <a:gd name="connsiteY19" fmla="*/ 77930 h 179203"/>
                <a:gd name="connsiteX20" fmla="*/ 171179 w 183052"/>
                <a:gd name="connsiteY20" fmla="*/ 88638 h 179203"/>
                <a:gd name="connsiteX21" fmla="*/ 179073 w 183052"/>
                <a:gd name="connsiteY21" fmla="*/ 94805 h 179203"/>
                <a:gd name="connsiteX22" fmla="*/ 177050 w 183052"/>
                <a:gd name="connsiteY22" fmla="*/ 102452 h 179203"/>
                <a:gd name="connsiteX23" fmla="*/ 171179 w 183052"/>
                <a:gd name="connsiteY23" fmla="*/ 110100 h 179203"/>
                <a:gd name="connsiteX24" fmla="*/ 175076 w 183052"/>
                <a:gd name="connsiteY24" fmla="*/ 120808 h 179203"/>
                <a:gd name="connsiteX25" fmla="*/ 175076 w 183052"/>
                <a:gd name="connsiteY25" fmla="*/ 122337 h 179203"/>
                <a:gd name="connsiteX26" fmla="*/ 177050 w 183052"/>
                <a:gd name="connsiteY26" fmla="*/ 123867 h 179203"/>
                <a:gd name="connsiteX27" fmla="*/ 180997 w 183052"/>
                <a:gd name="connsiteY27" fmla="*/ 128455 h 179203"/>
                <a:gd name="connsiteX28" fmla="*/ 182971 w 183052"/>
                <a:gd name="connsiteY28" fmla="*/ 129985 h 179203"/>
                <a:gd name="connsiteX29" fmla="*/ 179073 w 183052"/>
                <a:gd name="connsiteY29" fmla="*/ 131514 h 179203"/>
                <a:gd name="connsiteX30" fmla="*/ 175076 w 183052"/>
                <a:gd name="connsiteY30" fmla="*/ 137632 h 179203"/>
                <a:gd name="connsiteX31" fmla="*/ 175076 w 183052"/>
                <a:gd name="connsiteY31" fmla="*/ 146809 h 179203"/>
                <a:gd name="connsiteX32" fmla="*/ 165208 w 183052"/>
                <a:gd name="connsiteY32" fmla="*/ 152977 h 179203"/>
                <a:gd name="connsiteX33" fmla="*/ 163235 w 183052"/>
                <a:gd name="connsiteY33" fmla="*/ 157566 h 179203"/>
                <a:gd name="connsiteX34" fmla="*/ 163235 w 183052"/>
                <a:gd name="connsiteY34" fmla="*/ 157566 h 179203"/>
                <a:gd name="connsiteX35" fmla="*/ 161261 w 183052"/>
                <a:gd name="connsiteY35" fmla="*/ 160625 h 179203"/>
                <a:gd name="connsiteX36" fmla="*/ 153416 w 183052"/>
                <a:gd name="connsiteY36" fmla="*/ 171332 h 179203"/>
                <a:gd name="connsiteX37" fmla="*/ 139650 w 183052"/>
                <a:gd name="connsiteY37" fmla="*/ 174391 h 179203"/>
                <a:gd name="connsiteX38" fmla="*/ 137676 w 183052"/>
                <a:gd name="connsiteY38" fmla="*/ 172861 h 179203"/>
                <a:gd name="connsiteX39" fmla="*/ 135703 w 183052"/>
                <a:gd name="connsiteY39" fmla="*/ 174391 h 179203"/>
                <a:gd name="connsiteX40" fmla="*/ 135703 w 183052"/>
                <a:gd name="connsiteY40" fmla="*/ 177450 h 179203"/>
                <a:gd name="connsiteX41" fmla="*/ 129782 w 183052"/>
                <a:gd name="connsiteY41" fmla="*/ 179177 h 179203"/>
                <a:gd name="connsiteX42" fmla="*/ 123861 w 183052"/>
                <a:gd name="connsiteY42" fmla="*/ 179177 h 179203"/>
                <a:gd name="connsiteX43" fmla="*/ 119963 w 183052"/>
                <a:gd name="connsiteY43" fmla="*/ 177647 h 179203"/>
                <a:gd name="connsiteX44" fmla="*/ 116016 w 183052"/>
                <a:gd name="connsiteY44" fmla="*/ 177647 h 179203"/>
                <a:gd name="connsiteX45" fmla="*/ 112069 w 183052"/>
                <a:gd name="connsiteY45" fmla="*/ 176118 h 179203"/>
                <a:gd name="connsiteX46" fmla="*/ 104224 w 183052"/>
                <a:gd name="connsiteY46" fmla="*/ 174588 h 179203"/>
                <a:gd name="connsiteX47" fmla="*/ 94356 w 183052"/>
                <a:gd name="connsiteY47" fmla="*/ 176118 h 179203"/>
                <a:gd name="connsiteX48" fmla="*/ 86461 w 183052"/>
                <a:gd name="connsiteY48" fmla="*/ 179177 h 179203"/>
                <a:gd name="connsiteX49" fmla="*/ 78616 w 183052"/>
                <a:gd name="connsiteY49" fmla="*/ 179177 h 179203"/>
                <a:gd name="connsiteX50" fmla="*/ 78616 w 183052"/>
                <a:gd name="connsiteY50" fmla="*/ 176118 h 179203"/>
                <a:gd name="connsiteX51" fmla="*/ 80590 w 183052"/>
                <a:gd name="connsiteY51" fmla="*/ 173059 h 179203"/>
                <a:gd name="connsiteX52" fmla="*/ 78616 w 183052"/>
                <a:gd name="connsiteY52" fmla="*/ 173059 h 179203"/>
                <a:gd name="connsiteX53" fmla="*/ 72695 w 183052"/>
                <a:gd name="connsiteY53" fmla="*/ 171529 h 179203"/>
                <a:gd name="connsiteX54" fmla="*/ 68797 w 183052"/>
                <a:gd name="connsiteY54" fmla="*/ 171529 h 179203"/>
                <a:gd name="connsiteX55" fmla="*/ 58929 w 183052"/>
                <a:gd name="connsiteY55" fmla="*/ 165411 h 179203"/>
                <a:gd name="connsiteX56" fmla="*/ 49061 w 183052"/>
                <a:gd name="connsiteY56" fmla="*/ 163882 h 179203"/>
                <a:gd name="connsiteX57" fmla="*/ 33322 w 183052"/>
                <a:gd name="connsiteY57" fmla="*/ 165411 h 179203"/>
                <a:gd name="connsiteX58" fmla="*/ 27450 w 183052"/>
                <a:gd name="connsiteY58" fmla="*/ 163882 h 179203"/>
                <a:gd name="connsiteX59" fmla="*/ 17582 w 183052"/>
                <a:gd name="connsiteY59" fmla="*/ 156234 h 179203"/>
                <a:gd name="connsiteX60" fmla="*/ 13684 w 183052"/>
                <a:gd name="connsiteY60" fmla="*/ 156234 h 179203"/>
                <a:gd name="connsiteX61" fmla="*/ 3816 w 183052"/>
                <a:gd name="connsiteY61" fmla="*/ 142419 h 179203"/>
                <a:gd name="connsiteX62" fmla="*/ -82 w 183052"/>
                <a:gd name="connsiteY62" fmla="*/ 131712 h 179203"/>
                <a:gd name="connsiteX63" fmla="*/ -82 w 183052"/>
                <a:gd name="connsiteY63" fmla="*/ 115035 h 179203"/>
                <a:gd name="connsiteX64" fmla="*/ 5790 w 183052"/>
                <a:gd name="connsiteY64" fmla="*/ 110446 h 179203"/>
                <a:gd name="connsiteX65" fmla="*/ 7763 w 183052"/>
                <a:gd name="connsiteY65" fmla="*/ 105857 h 179203"/>
                <a:gd name="connsiteX66" fmla="*/ 5790 w 183052"/>
                <a:gd name="connsiteY66" fmla="*/ 96680 h 179203"/>
                <a:gd name="connsiteX67" fmla="*/ 3816 w 183052"/>
                <a:gd name="connsiteY67" fmla="*/ 82865 h 179203"/>
                <a:gd name="connsiteX68" fmla="*/ 5790 w 183052"/>
                <a:gd name="connsiteY68" fmla="*/ 79805 h 179203"/>
                <a:gd name="connsiteX69" fmla="*/ 1892 w 183052"/>
                <a:gd name="connsiteY69" fmla="*/ 70628 h 179203"/>
                <a:gd name="connsiteX70" fmla="*/ 5790 w 183052"/>
                <a:gd name="connsiteY70" fmla="*/ 62980 h 179203"/>
                <a:gd name="connsiteX71" fmla="*/ 5790 w 183052"/>
                <a:gd name="connsiteY71" fmla="*/ 56862 h 179203"/>
                <a:gd name="connsiteX72" fmla="*/ 7763 w 183052"/>
                <a:gd name="connsiteY72" fmla="*/ 52274 h 179203"/>
                <a:gd name="connsiteX73" fmla="*/ 9737 w 183052"/>
                <a:gd name="connsiteY73" fmla="*/ 40037 h 179203"/>
                <a:gd name="connsiteX74" fmla="*/ 7763 w 183052"/>
                <a:gd name="connsiteY74" fmla="*/ 32389 h 179203"/>
                <a:gd name="connsiteX75" fmla="*/ 9737 w 183052"/>
                <a:gd name="connsiteY75" fmla="*/ 29281 h 179203"/>
                <a:gd name="connsiteX76" fmla="*/ 7763 w 183052"/>
                <a:gd name="connsiteY76" fmla="*/ 18574 h 179203"/>
                <a:gd name="connsiteX77" fmla="*/ 13684 w 183052"/>
                <a:gd name="connsiteY77" fmla="*/ 12456 h 179203"/>
                <a:gd name="connsiteX78" fmla="*/ 17582 w 183052"/>
                <a:gd name="connsiteY78" fmla="*/ 4808 h 17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83052" h="179203">
                  <a:moveTo>
                    <a:pt x="17681" y="3032"/>
                  </a:moveTo>
                  <a:lnTo>
                    <a:pt x="23601" y="3032"/>
                  </a:lnTo>
                  <a:lnTo>
                    <a:pt x="27549" y="4561"/>
                  </a:lnTo>
                  <a:lnTo>
                    <a:pt x="45262" y="-27"/>
                  </a:lnTo>
                  <a:lnTo>
                    <a:pt x="53107" y="4561"/>
                  </a:lnTo>
                  <a:lnTo>
                    <a:pt x="60952" y="15268"/>
                  </a:lnTo>
                  <a:lnTo>
                    <a:pt x="68847" y="16798"/>
                  </a:lnTo>
                  <a:lnTo>
                    <a:pt x="74718" y="25975"/>
                  </a:lnTo>
                  <a:lnTo>
                    <a:pt x="82613" y="38261"/>
                  </a:lnTo>
                  <a:lnTo>
                    <a:pt x="86510" y="38261"/>
                  </a:lnTo>
                  <a:lnTo>
                    <a:pt x="92431" y="30613"/>
                  </a:lnTo>
                  <a:lnTo>
                    <a:pt x="96378" y="30613"/>
                  </a:lnTo>
                  <a:lnTo>
                    <a:pt x="106247" y="44379"/>
                  </a:lnTo>
                  <a:lnTo>
                    <a:pt x="116115" y="47438"/>
                  </a:lnTo>
                  <a:lnTo>
                    <a:pt x="123960" y="48968"/>
                  </a:lnTo>
                  <a:lnTo>
                    <a:pt x="131854" y="55086"/>
                  </a:lnTo>
                  <a:lnTo>
                    <a:pt x="131854" y="65694"/>
                  </a:lnTo>
                  <a:lnTo>
                    <a:pt x="139699" y="62635"/>
                  </a:lnTo>
                  <a:lnTo>
                    <a:pt x="153465" y="68753"/>
                  </a:lnTo>
                  <a:lnTo>
                    <a:pt x="161311" y="77930"/>
                  </a:lnTo>
                  <a:lnTo>
                    <a:pt x="171179" y="88638"/>
                  </a:lnTo>
                  <a:lnTo>
                    <a:pt x="179073" y="94805"/>
                  </a:lnTo>
                  <a:lnTo>
                    <a:pt x="177050" y="102452"/>
                  </a:lnTo>
                  <a:lnTo>
                    <a:pt x="171179" y="110100"/>
                  </a:lnTo>
                  <a:lnTo>
                    <a:pt x="175076" y="120808"/>
                  </a:lnTo>
                  <a:lnTo>
                    <a:pt x="175076" y="122337"/>
                  </a:lnTo>
                  <a:lnTo>
                    <a:pt x="177050" y="123867"/>
                  </a:lnTo>
                  <a:lnTo>
                    <a:pt x="180997" y="128455"/>
                  </a:lnTo>
                  <a:lnTo>
                    <a:pt x="182971" y="129985"/>
                  </a:lnTo>
                  <a:lnTo>
                    <a:pt x="179073" y="131514"/>
                  </a:lnTo>
                  <a:lnTo>
                    <a:pt x="175076" y="137632"/>
                  </a:lnTo>
                  <a:lnTo>
                    <a:pt x="175076" y="146809"/>
                  </a:lnTo>
                  <a:lnTo>
                    <a:pt x="165208" y="152977"/>
                  </a:lnTo>
                  <a:lnTo>
                    <a:pt x="163235" y="157566"/>
                  </a:lnTo>
                  <a:lnTo>
                    <a:pt x="163235" y="157566"/>
                  </a:lnTo>
                  <a:lnTo>
                    <a:pt x="161261" y="160625"/>
                  </a:lnTo>
                  <a:lnTo>
                    <a:pt x="153416" y="171332"/>
                  </a:lnTo>
                  <a:lnTo>
                    <a:pt x="139650" y="174391"/>
                  </a:lnTo>
                  <a:lnTo>
                    <a:pt x="137676" y="172861"/>
                  </a:lnTo>
                  <a:lnTo>
                    <a:pt x="135703" y="174391"/>
                  </a:lnTo>
                  <a:lnTo>
                    <a:pt x="135703" y="177450"/>
                  </a:lnTo>
                  <a:lnTo>
                    <a:pt x="129782" y="179177"/>
                  </a:lnTo>
                  <a:lnTo>
                    <a:pt x="123861" y="179177"/>
                  </a:lnTo>
                  <a:lnTo>
                    <a:pt x="119963" y="177647"/>
                  </a:lnTo>
                  <a:lnTo>
                    <a:pt x="116016" y="177647"/>
                  </a:lnTo>
                  <a:lnTo>
                    <a:pt x="112069" y="176118"/>
                  </a:lnTo>
                  <a:lnTo>
                    <a:pt x="104224" y="174588"/>
                  </a:lnTo>
                  <a:lnTo>
                    <a:pt x="94356" y="176118"/>
                  </a:lnTo>
                  <a:lnTo>
                    <a:pt x="86461" y="179177"/>
                  </a:lnTo>
                  <a:lnTo>
                    <a:pt x="78616" y="179177"/>
                  </a:lnTo>
                  <a:lnTo>
                    <a:pt x="78616" y="176118"/>
                  </a:lnTo>
                  <a:lnTo>
                    <a:pt x="80590" y="173059"/>
                  </a:lnTo>
                  <a:lnTo>
                    <a:pt x="78616" y="173059"/>
                  </a:lnTo>
                  <a:lnTo>
                    <a:pt x="72695" y="171529"/>
                  </a:lnTo>
                  <a:lnTo>
                    <a:pt x="68797" y="171529"/>
                  </a:lnTo>
                  <a:lnTo>
                    <a:pt x="58929" y="165411"/>
                  </a:lnTo>
                  <a:lnTo>
                    <a:pt x="49061" y="163882"/>
                  </a:lnTo>
                  <a:lnTo>
                    <a:pt x="33322" y="165411"/>
                  </a:lnTo>
                  <a:lnTo>
                    <a:pt x="27450" y="163882"/>
                  </a:lnTo>
                  <a:lnTo>
                    <a:pt x="17582" y="156234"/>
                  </a:lnTo>
                  <a:lnTo>
                    <a:pt x="13684" y="156234"/>
                  </a:lnTo>
                  <a:lnTo>
                    <a:pt x="3816" y="142419"/>
                  </a:lnTo>
                  <a:lnTo>
                    <a:pt x="-82" y="131712"/>
                  </a:lnTo>
                  <a:lnTo>
                    <a:pt x="-82" y="115035"/>
                  </a:lnTo>
                  <a:lnTo>
                    <a:pt x="5790" y="110446"/>
                  </a:lnTo>
                  <a:lnTo>
                    <a:pt x="7763" y="105857"/>
                  </a:lnTo>
                  <a:lnTo>
                    <a:pt x="5790" y="96680"/>
                  </a:lnTo>
                  <a:lnTo>
                    <a:pt x="3816" y="82865"/>
                  </a:lnTo>
                  <a:lnTo>
                    <a:pt x="5790" y="79805"/>
                  </a:lnTo>
                  <a:lnTo>
                    <a:pt x="1892" y="70628"/>
                  </a:lnTo>
                  <a:lnTo>
                    <a:pt x="5790" y="62980"/>
                  </a:lnTo>
                  <a:lnTo>
                    <a:pt x="5790" y="56862"/>
                  </a:lnTo>
                  <a:lnTo>
                    <a:pt x="7763" y="52274"/>
                  </a:lnTo>
                  <a:lnTo>
                    <a:pt x="9737" y="40037"/>
                  </a:lnTo>
                  <a:lnTo>
                    <a:pt x="7763" y="32389"/>
                  </a:lnTo>
                  <a:lnTo>
                    <a:pt x="9737" y="29281"/>
                  </a:lnTo>
                  <a:lnTo>
                    <a:pt x="7763" y="18574"/>
                  </a:lnTo>
                  <a:lnTo>
                    <a:pt x="13684" y="12456"/>
                  </a:lnTo>
                  <a:lnTo>
                    <a:pt x="17582" y="480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Graphic 2">
              <a:extLst>
                <a:ext uri="{FF2B5EF4-FFF2-40B4-BE49-F238E27FC236}">
                  <a16:creationId xmlns:a16="http://schemas.microsoft.com/office/drawing/2014/main" id="{E201D41E-A4AF-43C7-9ADB-D83919BD7F17}"/>
                </a:ext>
              </a:extLst>
            </p:cNvPr>
            <p:cNvSpPr/>
            <p:nvPr/>
          </p:nvSpPr>
          <p:spPr>
            <a:xfrm>
              <a:off x="3186934" y="5275477"/>
              <a:ext cx="525948" cy="1163063"/>
            </a:xfrm>
            <a:custGeom>
              <a:avLst/>
              <a:gdLst>
                <a:gd name="connsiteX0" fmla="*/ 90162 w 578910"/>
                <a:gd name="connsiteY0" fmla="*/ 30367 h 1280234"/>
                <a:gd name="connsiteX1" fmla="*/ 94060 w 578910"/>
                <a:gd name="connsiteY1" fmla="*/ 25827 h 1280234"/>
                <a:gd name="connsiteX2" fmla="*/ 99980 w 578910"/>
                <a:gd name="connsiteY2" fmla="*/ 13640 h 1280234"/>
                <a:gd name="connsiteX3" fmla="*/ 113697 w 578910"/>
                <a:gd name="connsiteY3" fmla="*/ 1503 h 1280234"/>
                <a:gd name="connsiteX4" fmla="*/ 123565 w 578910"/>
                <a:gd name="connsiteY4" fmla="*/ -27 h 1280234"/>
                <a:gd name="connsiteX5" fmla="*/ 131410 w 578910"/>
                <a:gd name="connsiteY5" fmla="*/ 6042 h 1280234"/>
                <a:gd name="connsiteX6" fmla="*/ 141278 w 578910"/>
                <a:gd name="connsiteY6" fmla="*/ 4512 h 1280234"/>
                <a:gd name="connsiteX7" fmla="*/ 147199 w 578910"/>
                <a:gd name="connsiteY7" fmla="*/ 4512 h 1280234"/>
                <a:gd name="connsiteX8" fmla="*/ 157067 w 578910"/>
                <a:gd name="connsiteY8" fmla="*/ 6042 h 1280234"/>
                <a:gd name="connsiteX9" fmla="*/ 168859 w 578910"/>
                <a:gd name="connsiteY9" fmla="*/ 2983 h 1280234"/>
                <a:gd name="connsiteX10" fmla="*/ 176705 w 578910"/>
                <a:gd name="connsiteY10" fmla="*/ 4512 h 1280234"/>
                <a:gd name="connsiteX11" fmla="*/ 176705 w 578910"/>
                <a:gd name="connsiteY11" fmla="*/ 12111 h 1280234"/>
                <a:gd name="connsiteX12" fmla="*/ 182576 w 578910"/>
                <a:gd name="connsiteY12" fmla="*/ 25827 h 1280234"/>
                <a:gd name="connsiteX13" fmla="*/ 184550 w 578910"/>
                <a:gd name="connsiteY13" fmla="*/ 28837 h 1280234"/>
                <a:gd name="connsiteX14" fmla="*/ 188447 w 578910"/>
                <a:gd name="connsiteY14" fmla="*/ 25827 h 1280234"/>
                <a:gd name="connsiteX15" fmla="*/ 186523 w 578910"/>
                <a:gd name="connsiteY15" fmla="*/ 19709 h 1280234"/>
                <a:gd name="connsiteX16" fmla="*/ 192346 w 578910"/>
                <a:gd name="connsiteY16" fmla="*/ 13640 h 1280234"/>
                <a:gd name="connsiteX17" fmla="*/ 192346 w 578910"/>
                <a:gd name="connsiteY17" fmla="*/ 7571 h 1280234"/>
                <a:gd name="connsiteX18" fmla="*/ 198266 w 578910"/>
                <a:gd name="connsiteY18" fmla="*/ 1503 h 1280234"/>
                <a:gd name="connsiteX19" fmla="*/ 237492 w 578910"/>
                <a:gd name="connsiteY19" fmla="*/ 1503 h 1280234"/>
                <a:gd name="connsiteX20" fmla="*/ 245337 w 578910"/>
                <a:gd name="connsiteY20" fmla="*/ 7571 h 1280234"/>
                <a:gd name="connsiteX21" fmla="*/ 253182 w 578910"/>
                <a:gd name="connsiteY21" fmla="*/ 13640 h 1280234"/>
                <a:gd name="connsiteX22" fmla="*/ 260978 w 578910"/>
                <a:gd name="connsiteY22" fmla="*/ 15170 h 1280234"/>
                <a:gd name="connsiteX23" fmla="*/ 268823 w 578910"/>
                <a:gd name="connsiteY23" fmla="*/ 30367 h 1280234"/>
                <a:gd name="connsiteX24" fmla="*/ 290385 w 578910"/>
                <a:gd name="connsiteY24" fmla="*/ 50103 h 1280234"/>
                <a:gd name="connsiteX25" fmla="*/ 300253 w 578910"/>
                <a:gd name="connsiteY25" fmla="*/ 50103 h 1280234"/>
                <a:gd name="connsiteX26" fmla="*/ 308098 w 578910"/>
                <a:gd name="connsiteY26" fmla="*/ 57701 h 1280234"/>
                <a:gd name="connsiteX27" fmla="*/ 314019 w 578910"/>
                <a:gd name="connsiteY27" fmla="*/ 63770 h 1280234"/>
                <a:gd name="connsiteX28" fmla="*/ 337505 w 578910"/>
                <a:gd name="connsiteY28" fmla="*/ 68309 h 1280234"/>
                <a:gd name="connsiteX29" fmla="*/ 349297 w 578910"/>
                <a:gd name="connsiteY29" fmla="*/ 75908 h 1280234"/>
                <a:gd name="connsiteX30" fmla="*/ 357142 w 578910"/>
                <a:gd name="connsiteY30" fmla="*/ 77437 h 1280234"/>
                <a:gd name="connsiteX31" fmla="*/ 372833 w 578910"/>
                <a:gd name="connsiteY31" fmla="*/ 88046 h 1280234"/>
                <a:gd name="connsiteX32" fmla="*/ 388473 w 578910"/>
                <a:gd name="connsiteY32" fmla="*/ 94114 h 1280234"/>
                <a:gd name="connsiteX33" fmla="*/ 410085 w 578910"/>
                <a:gd name="connsiteY33" fmla="*/ 97173 h 1280234"/>
                <a:gd name="connsiteX34" fmla="*/ 417929 w 578910"/>
                <a:gd name="connsiteY34" fmla="*/ 106252 h 1280234"/>
                <a:gd name="connsiteX35" fmla="*/ 431646 w 578910"/>
                <a:gd name="connsiteY35" fmla="*/ 113900 h 1280234"/>
                <a:gd name="connsiteX36" fmla="*/ 435544 w 578910"/>
                <a:gd name="connsiteY36" fmla="*/ 119919 h 1280234"/>
                <a:gd name="connsiteX37" fmla="*/ 431646 w 578910"/>
                <a:gd name="connsiteY37" fmla="*/ 129047 h 1280234"/>
                <a:gd name="connsiteX38" fmla="*/ 425775 w 578910"/>
                <a:gd name="connsiteY38" fmla="*/ 135116 h 1280234"/>
                <a:gd name="connsiteX39" fmla="*/ 419903 w 578910"/>
                <a:gd name="connsiteY39" fmla="*/ 139656 h 1280234"/>
                <a:gd name="connsiteX40" fmla="*/ 415956 w 578910"/>
                <a:gd name="connsiteY40" fmla="*/ 144244 h 1280234"/>
                <a:gd name="connsiteX41" fmla="*/ 417929 w 578910"/>
                <a:gd name="connsiteY41" fmla="*/ 151843 h 1280234"/>
                <a:gd name="connsiteX42" fmla="*/ 413982 w 578910"/>
                <a:gd name="connsiteY42" fmla="*/ 162451 h 1280234"/>
                <a:gd name="connsiteX43" fmla="*/ 402239 w 578910"/>
                <a:gd name="connsiteY43" fmla="*/ 171579 h 1280234"/>
                <a:gd name="connsiteX44" fmla="*/ 400266 w 578910"/>
                <a:gd name="connsiteY44" fmla="*/ 180657 h 1280234"/>
                <a:gd name="connsiteX45" fmla="*/ 406137 w 578910"/>
                <a:gd name="connsiteY45" fmla="*/ 180657 h 1280234"/>
                <a:gd name="connsiteX46" fmla="*/ 431646 w 578910"/>
                <a:gd name="connsiteY46" fmla="*/ 174588 h 1280234"/>
                <a:gd name="connsiteX47" fmla="*/ 453208 w 578910"/>
                <a:gd name="connsiteY47" fmla="*/ 182236 h 1280234"/>
                <a:gd name="connsiteX48" fmla="*/ 468898 w 578910"/>
                <a:gd name="connsiteY48" fmla="*/ 189785 h 1280234"/>
                <a:gd name="connsiteX49" fmla="*/ 476743 w 578910"/>
                <a:gd name="connsiteY49" fmla="*/ 186776 h 1280234"/>
                <a:gd name="connsiteX50" fmla="*/ 480691 w 578910"/>
                <a:gd name="connsiteY50" fmla="*/ 186776 h 1280234"/>
                <a:gd name="connsiteX51" fmla="*/ 484588 w 578910"/>
                <a:gd name="connsiteY51" fmla="*/ 189785 h 1280234"/>
                <a:gd name="connsiteX52" fmla="*/ 490509 w 578910"/>
                <a:gd name="connsiteY52" fmla="*/ 182236 h 1280234"/>
                <a:gd name="connsiteX53" fmla="*/ 494407 w 578910"/>
                <a:gd name="connsiteY53" fmla="*/ 180657 h 1280234"/>
                <a:gd name="connsiteX54" fmla="*/ 504275 w 578910"/>
                <a:gd name="connsiteY54" fmla="*/ 182236 h 1280234"/>
                <a:gd name="connsiteX55" fmla="*/ 510196 w 578910"/>
                <a:gd name="connsiteY55" fmla="*/ 174588 h 1280234"/>
                <a:gd name="connsiteX56" fmla="*/ 512170 w 578910"/>
                <a:gd name="connsiteY56" fmla="*/ 167039 h 1280234"/>
                <a:gd name="connsiteX57" fmla="*/ 527811 w 578910"/>
                <a:gd name="connsiteY57" fmla="*/ 157911 h 1280234"/>
                <a:gd name="connsiteX58" fmla="*/ 529784 w 578910"/>
                <a:gd name="connsiteY58" fmla="*/ 151843 h 1280234"/>
                <a:gd name="connsiteX59" fmla="*/ 537629 w 578910"/>
                <a:gd name="connsiteY59" fmla="*/ 142715 h 1280234"/>
                <a:gd name="connsiteX60" fmla="*/ 543501 w 578910"/>
                <a:gd name="connsiteY60" fmla="*/ 138175 h 1280234"/>
                <a:gd name="connsiteX61" fmla="*/ 543501 w 578910"/>
                <a:gd name="connsiteY61" fmla="*/ 115380 h 1280234"/>
                <a:gd name="connsiteX62" fmla="*/ 551346 w 578910"/>
                <a:gd name="connsiteY62" fmla="*/ 110841 h 1280234"/>
                <a:gd name="connsiteX63" fmla="*/ 569010 w 578910"/>
                <a:gd name="connsiteY63" fmla="*/ 112370 h 1280234"/>
                <a:gd name="connsiteX64" fmla="*/ 569010 w 578910"/>
                <a:gd name="connsiteY64" fmla="*/ 118439 h 1280234"/>
                <a:gd name="connsiteX65" fmla="*/ 574881 w 578910"/>
                <a:gd name="connsiteY65" fmla="*/ 132106 h 1280234"/>
                <a:gd name="connsiteX66" fmla="*/ 574881 w 578910"/>
                <a:gd name="connsiteY66" fmla="*/ 142715 h 1280234"/>
                <a:gd name="connsiteX67" fmla="*/ 576855 w 578910"/>
                <a:gd name="connsiteY67" fmla="*/ 154852 h 1280234"/>
                <a:gd name="connsiteX68" fmla="*/ 578829 w 578910"/>
                <a:gd name="connsiteY68" fmla="*/ 165510 h 1280234"/>
                <a:gd name="connsiteX69" fmla="*/ 576855 w 578910"/>
                <a:gd name="connsiteY69" fmla="*/ 170049 h 1280234"/>
                <a:gd name="connsiteX70" fmla="*/ 569010 w 578910"/>
                <a:gd name="connsiteY70" fmla="*/ 170049 h 1280234"/>
                <a:gd name="connsiteX71" fmla="*/ 559142 w 578910"/>
                <a:gd name="connsiteY71" fmla="*/ 173059 h 1280234"/>
                <a:gd name="connsiteX72" fmla="*/ 557119 w 578910"/>
                <a:gd name="connsiteY72" fmla="*/ 176118 h 1280234"/>
                <a:gd name="connsiteX73" fmla="*/ 553221 w 578910"/>
                <a:gd name="connsiteY73" fmla="*/ 180657 h 1280234"/>
                <a:gd name="connsiteX74" fmla="*/ 551247 w 578910"/>
                <a:gd name="connsiteY74" fmla="*/ 179128 h 1280234"/>
                <a:gd name="connsiteX75" fmla="*/ 535557 w 578910"/>
                <a:gd name="connsiteY75" fmla="*/ 188256 h 1280234"/>
                <a:gd name="connsiteX76" fmla="*/ 533633 w 578910"/>
                <a:gd name="connsiteY76" fmla="*/ 191315 h 1280234"/>
                <a:gd name="connsiteX77" fmla="*/ 525738 w 578910"/>
                <a:gd name="connsiteY77" fmla="*/ 192795 h 1280234"/>
                <a:gd name="connsiteX78" fmla="*/ 513995 w 578910"/>
                <a:gd name="connsiteY78" fmla="*/ 201923 h 1280234"/>
                <a:gd name="connsiteX79" fmla="*/ 510097 w 578910"/>
                <a:gd name="connsiteY79" fmla="*/ 204982 h 1280234"/>
                <a:gd name="connsiteX80" fmla="*/ 508124 w 578910"/>
                <a:gd name="connsiteY80" fmla="*/ 211051 h 1280234"/>
                <a:gd name="connsiteX81" fmla="*/ 504177 w 578910"/>
                <a:gd name="connsiteY81" fmla="*/ 212531 h 1280234"/>
                <a:gd name="connsiteX82" fmla="*/ 500279 w 578910"/>
                <a:gd name="connsiteY82" fmla="*/ 212531 h 1280234"/>
                <a:gd name="connsiteX83" fmla="*/ 486513 w 578910"/>
                <a:gd name="connsiteY83" fmla="*/ 223189 h 1280234"/>
                <a:gd name="connsiteX84" fmla="*/ 484588 w 578910"/>
                <a:gd name="connsiteY84" fmla="*/ 227728 h 1280234"/>
                <a:gd name="connsiteX85" fmla="*/ 486513 w 578910"/>
                <a:gd name="connsiteY85" fmla="*/ 235376 h 1280234"/>
                <a:gd name="connsiteX86" fmla="*/ 480691 w 578910"/>
                <a:gd name="connsiteY86" fmla="*/ 236856 h 1280234"/>
                <a:gd name="connsiteX87" fmla="*/ 478717 w 578910"/>
                <a:gd name="connsiteY87" fmla="*/ 241395 h 1280234"/>
                <a:gd name="connsiteX88" fmla="*/ 470872 w 578910"/>
                <a:gd name="connsiteY88" fmla="*/ 252053 h 1280234"/>
                <a:gd name="connsiteX89" fmla="*/ 466924 w 578910"/>
                <a:gd name="connsiteY89" fmla="*/ 255112 h 1280234"/>
                <a:gd name="connsiteX90" fmla="*/ 459079 w 578910"/>
                <a:gd name="connsiteY90" fmla="*/ 265671 h 1280234"/>
                <a:gd name="connsiteX91" fmla="*/ 459079 w 578910"/>
                <a:gd name="connsiteY91" fmla="*/ 268779 h 1280234"/>
                <a:gd name="connsiteX92" fmla="*/ 453208 w 578910"/>
                <a:gd name="connsiteY92" fmla="*/ 271789 h 1280234"/>
                <a:gd name="connsiteX93" fmla="*/ 451284 w 578910"/>
                <a:gd name="connsiteY93" fmla="*/ 276328 h 1280234"/>
                <a:gd name="connsiteX94" fmla="*/ 447336 w 578910"/>
                <a:gd name="connsiteY94" fmla="*/ 283927 h 1280234"/>
                <a:gd name="connsiteX95" fmla="*/ 441465 w 578910"/>
                <a:gd name="connsiteY95" fmla="*/ 289996 h 1280234"/>
                <a:gd name="connsiteX96" fmla="*/ 443439 w 578910"/>
                <a:gd name="connsiteY96" fmla="*/ 300604 h 1280234"/>
                <a:gd name="connsiteX97" fmla="*/ 441465 w 578910"/>
                <a:gd name="connsiteY97" fmla="*/ 303663 h 1280234"/>
                <a:gd name="connsiteX98" fmla="*/ 443439 w 578910"/>
                <a:gd name="connsiteY98" fmla="*/ 311261 h 1280234"/>
                <a:gd name="connsiteX99" fmla="*/ 441465 w 578910"/>
                <a:gd name="connsiteY99" fmla="*/ 323448 h 1280234"/>
                <a:gd name="connsiteX100" fmla="*/ 439491 w 578910"/>
                <a:gd name="connsiteY100" fmla="*/ 327987 h 1280234"/>
                <a:gd name="connsiteX101" fmla="*/ 439491 w 578910"/>
                <a:gd name="connsiteY101" fmla="*/ 334007 h 1280234"/>
                <a:gd name="connsiteX102" fmla="*/ 435544 w 578910"/>
                <a:gd name="connsiteY102" fmla="*/ 341655 h 1280234"/>
                <a:gd name="connsiteX103" fmla="*/ 439491 w 578910"/>
                <a:gd name="connsiteY103" fmla="*/ 350734 h 1280234"/>
                <a:gd name="connsiteX104" fmla="*/ 437518 w 578910"/>
                <a:gd name="connsiteY104" fmla="*/ 353793 h 1280234"/>
                <a:gd name="connsiteX105" fmla="*/ 439491 w 578910"/>
                <a:gd name="connsiteY105" fmla="*/ 367411 h 1280234"/>
                <a:gd name="connsiteX106" fmla="*/ 441465 w 578910"/>
                <a:gd name="connsiteY106" fmla="*/ 376588 h 1280234"/>
                <a:gd name="connsiteX107" fmla="*/ 439491 w 578910"/>
                <a:gd name="connsiteY107" fmla="*/ 381127 h 1280234"/>
                <a:gd name="connsiteX108" fmla="*/ 433620 w 578910"/>
                <a:gd name="connsiteY108" fmla="*/ 385667 h 1280234"/>
                <a:gd name="connsiteX109" fmla="*/ 433620 w 578910"/>
                <a:gd name="connsiteY109" fmla="*/ 390206 h 1280234"/>
                <a:gd name="connsiteX110" fmla="*/ 433620 w 578910"/>
                <a:gd name="connsiteY110" fmla="*/ 390206 h 1280234"/>
                <a:gd name="connsiteX111" fmla="*/ 431646 w 578910"/>
                <a:gd name="connsiteY111" fmla="*/ 400863 h 1280234"/>
                <a:gd name="connsiteX112" fmla="*/ 433620 w 578910"/>
                <a:gd name="connsiteY112" fmla="*/ 411471 h 1280234"/>
                <a:gd name="connsiteX113" fmla="*/ 431646 w 578910"/>
                <a:gd name="connsiteY113" fmla="*/ 416060 h 1280234"/>
                <a:gd name="connsiteX114" fmla="*/ 437518 w 578910"/>
                <a:gd name="connsiteY114" fmla="*/ 420599 h 1280234"/>
                <a:gd name="connsiteX115" fmla="*/ 437518 w 578910"/>
                <a:gd name="connsiteY115" fmla="*/ 425139 h 1280234"/>
                <a:gd name="connsiteX116" fmla="*/ 435544 w 578910"/>
                <a:gd name="connsiteY116" fmla="*/ 428198 h 1280234"/>
                <a:gd name="connsiteX117" fmla="*/ 437518 w 578910"/>
                <a:gd name="connsiteY117" fmla="*/ 432737 h 1280234"/>
                <a:gd name="connsiteX118" fmla="*/ 453208 w 578910"/>
                <a:gd name="connsiteY118" fmla="*/ 443394 h 1280234"/>
                <a:gd name="connsiteX119" fmla="*/ 468898 w 578910"/>
                <a:gd name="connsiteY119" fmla="*/ 447934 h 1280234"/>
                <a:gd name="connsiteX120" fmla="*/ 486513 w 578910"/>
                <a:gd name="connsiteY120" fmla="*/ 460072 h 1280234"/>
                <a:gd name="connsiteX121" fmla="*/ 490509 w 578910"/>
                <a:gd name="connsiteY121" fmla="*/ 464660 h 1280234"/>
                <a:gd name="connsiteX122" fmla="*/ 490509 w 578910"/>
                <a:gd name="connsiteY122" fmla="*/ 472210 h 1280234"/>
                <a:gd name="connsiteX123" fmla="*/ 480641 w 578910"/>
                <a:gd name="connsiteY123" fmla="*/ 485876 h 1280234"/>
                <a:gd name="connsiteX124" fmla="*/ 480641 w 578910"/>
                <a:gd name="connsiteY124" fmla="*/ 490416 h 1280234"/>
                <a:gd name="connsiteX125" fmla="*/ 486463 w 578910"/>
                <a:gd name="connsiteY125" fmla="*/ 499544 h 1280234"/>
                <a:gd name="connsiteX126" fmla="*/ 494358 w 578910"/>
                <a:gd name="connsiteY126" fmla="*/ 505613 h 1280234"/>
                <a:gd name="connsiteX127" fmla="*/ 504226 w 578910"/>
                <a:gd name="connsiteY127" fmla="*/ 505613 h 1280234"/>
                <a:gd name="connsiteX128" fmla="*/ 508173 w 578910"/>
                <a:gd name="connsiteY128" fmla="*/ 501074 h 1280234"/>
                <a:gd name="connsiteX129" fmla="*/ 510147 w 578910"/>
                <a:gd name="connsiteY129" fmla="*/ 501074 h 1280234"/>
                <a:gd name="connsiteX130" fmla="*/ 512120 w 578910"/>
                <a:gd name="connsiteY130" fmla="*/ 505613 h 1280234"/>
                <a:gd name="connsiteX131" fmla="*/ 512120 w 578910"/>
                <a:gd name="connsiteY131" fmla="*/ 520711 h 1280234"/>
                <a:gd name="connsiteX132" fmla="*/ 510147 w 578910"/>
                <a:gd name="connsiteY132" fmla="*/ 525251 h 1280234"/>
                <a:gd name="connsiteX133" fmla="*/ 504226 w 578910"/>
                <a:gd name="connsiteY133" fmla="*/ 534378 h 1280234"/>
                <a:gd name="connsiteX134" fmla="*/ 500328 w 578910"/>
                <a:gd name="connsiteY134" fmla="*/ 543457 h 1280234"/>
                <a:gd name="connsiteX135" fmla="*/ 496381 w 578910"/>
                <a:gd name="connsiteY135" fmla="*/ 548046 h 1280234"/>
                <a:gd name="connsiteX136" fmla="*/ 496381 w 578910"/>
                <a:gd name="connsiteY136" fmla="*/ 543457 h 1280234"/>
                <a:gd name="connsiteX137" fmla="*/ 492483 w 578910"/>
                <a:gd name="connsiteY137" fmla="*/ 548046 h 1280234"/>
                <a:gd name="connsiteX138" fmla="*/ 490559 w 578910"/>
                <a:gd name="connsiteY138" fmla="*/ 555644 h 1280234"/>
                <a:gd name="connsiteX139" fmla="*/ 492483 w 578910"/>
                <a:gd name="connsiteY139" fmla="*/ 563242 h 1280234"/>
                <a:gd name="connsiteX140" fmla="*/ 488535 w 578910"/>
                <a:gd name="connsiteY140" fmla="*/ 569311 h 1280234"/>
                <a:gd name="connsiteX141" fmla="*/ 470921 w 578910"/>
                <a:gd name="connsiteY141" fmla="*/ 579919 h 1280234"/>
                <a:gd name="connsiteX142" fmla="*/ 453257 w 578910"/>
                <a:gd name="connsiteY142" fmla="*/ 584508 h 1280234"/>
                <a:gd name="connsiteX143" fmla="*/ 451333 w 578910"/>
                <a:gd name="connsiteY143" fmla="*/ 581449 h 1280234"/>
                <a:gd name="connsiteX144" fmla="*/ 451333 w 578910"/>
                <a:gd name="connsiteY144" fmla="*/ 584508 h 1280234"/>
                <a:gd name="connsiteX145" fmla="*/ 427748 w 578910"/>
                <a:gd name="connsiteY145" fmla="*/ 592057 h 1280234"/>
                <a:gd name="connsiteX146" fmla="*/ 404262 w 578910"/>
                <a:gd name="connsiteY146" fmla="*/ 599656 h 1280234"/>
                <a:gd name="connsiteX147" fmla="*/ 388523 w 578910"/>
                <a:gd name="connsiteY147" fmla="*/ 599656 h 1280234"/>
                <a:gd name="connsiteX148" fmla="*/ 376780 w 578910"/>
                <a:gd name="connsiteY148" fmla="*/ 596597 h 1280234"/>
                <a:gd name="connsiteX149" fmla="*/ 366912 w 578910"/>
                <a:gd name="connsiteY149" fmla="*/ 599656 h 1280234"/>
                <a:gd name="connsiteX150" fmla="*/ 357044 w 578910"/>
                <a:gd name="connsiteY150" fmla="*/ 599656 h 1280234"/>
                <a:gd name="connsiteX151" fmla="*/ 349198 w 578910"/>
                <a:gd name="connsiteY151" fmla="*/ 593587 h 1280234"/>
                <a:gd name="connsiteX152" fmla="*/ 339330 w 578910"/>
                <a:gd name="connsiteY152" fmla="*/ 592057 h 1280234"/>
                <a:gd name="connsiteX153" fmla="*/ 335433 w 578910"/>
                <a:gd name="connsiteY153" fmla="*/ 592057 h 1280234"/>
                <a:gd name="connsiteX154" fmla="*/ 333459 w 578910"/>
                <a:gd name="connsiteY154" fmla="*/ 587518 h 1280234"/>
                <a:gd name="connsiteX155" fmla="*/ 329512 w 578910"/>
                <a:gd name="connsiteY155" fmla="*/ 590577 h 1280234"/>
                <a:gd name="connsiteX156" fmla="*/ 329512 w 578910"/>
                <a:gd name="connsiteY156" fmla="*/ 595116 h 1280234"/>
                <a:gd name="connsiteX157" fmla="*/ 331485 w 578910"/>
                <a:gd name="connsiteY157" fmla="*/ 599656 h 1280234"/>
                <a:gd name="connsiteX158" fmla="*/ 331485 w 578910"/>
                <a:gd name="connsiteY158" fmla="*/ 610313 h 1280234"/>
                <a:gd name="connsiteX159" fmla="*/ 335433 w 578910"/>
                <a:gd name="connsiteY159" fmla="*/ 613323 h 1280234"/>
                <a:gd name="connsiteX160" fmla="*/ 335433 w 578910"/>
                <a:gd name="connsiteY160" fmla="*/ 616382 h 1280234"/>
                <a:gd name="connsiteX161" fmla="*/ 339330 w 578910"/>
                <a:gd name="connsiteY161" fmla="*/ 617911 h 1280234"/>
                <a:gd name="connsiteX162" fmla="*/ 341304 w 578910"/>
                <a:gd name="connsiteY162" fmla="*/ 622451 h 1280234"/>
                <a:gd name="connsiteX163" fmla="*/ 341304 w 578910"/>
                <a:gd name="connsiteY163" fmla="*/ 628520 h 1280234"/>
                <a:gd name="connsiteX164" fmla="*/ 337357 w 578910"/>
                <a:gd name="connsiteY164" fmla="*/ 628520 h 1280234"/>
                <a:gd name="connsiteX165" fmla="*/ 337357 w 578910"/>
                <a:gd name="connsiteY165" fmla="*/ 630049 h 1280234"/>
                <a:gd name="connsiteX166" fmla="*/ 331485 w 578910"/>
                <a:gd name="connsiteY166" fmla="*/ 636118 h 1280234"/>
                <a:gd name="connsiteX167" fmla="*/ 333459 w 578910"/>
                <a:gd name="connsiteY167" fmla="*/ 637647 h 1280234"/>
                <a:gd name="connsiteX168" fmla="*/ 331485 w 578910"/>
                <a:gd name="connsiteY168" fmla="*/ 642187 h 1280234"/>
                <a:gd name="connsiteX169" fmla="*/ 331485 w 578910"/>
                <a:gd name="connsiteY169" fmla="*/ 648256 h 1280234"/>
                <a:gd name="connsiteX170" fmla="*/ 335433 w 578910"/>
                <a:gd name="connsiteY170" fmla="*/ 655854 h 1280234"/>
                <a:gd name="connsiteX171" fmla="*/ 341304 w 578910"/>
                <a:gd name="connsiteY171" fmla="*/ 655854 h 1280234"/>
                <a:gd name="connsiteX172" fmla="*/ 339330 w 578910"/>
                <a:gd name="connsiteY172" fmla="*/ 661923 h 1280234"/>
                <a:gd name="connsiteX173" fmla="*/ 337357 w 578910"/>
                <a:gd name="connsiteY173" fmla="*/ 664933 h 1280234"/>
                <a:gd name="connsiteX174" fmla="*/ 339330 w 578910"/>
                <a:gd name="connsiteY174" fmla="*/ 667992 h 1280234"/>
                <a:gd name="connsiteX175" fmla="*/ 337357 w 578910"/>
                <a:gd name="connsiteY175" fmla="*/ 674061 h 1280234"/>
                <a:gd name="connsiteX176" fmla="*/ 329512 w 578910"/>
                <a:gd name="connsiteY176" fmla="*/ 680130 h 1280234"/>
                <a:gd name="connsiteX177" fmla="*/ 331485 w 578910"/>
                <a:gd name="connsiteY177" fmla="*/ 683189 h 1280234"/>
                <a:gd name="connsiteX178" fmla="*/ 317769 w 578910"/>
                <a:gd name="connsiteY178" fmla="*/ 689258 h 1280234"/>
                <a:gd name="connsiteX179" fmla="*/ 298032 w 578910"/>
                <a:gd name="connsiteY179" fmla="*/ 689258 h 1280234"/>
                <a:gd name="connsiteX180" fmla="*/ 286289 w 578910"/>
                <a:gd name="connsiteY180" fmla="*/ 687777 h 1280234"/>
                <a:gd name="connsiteX181" fmla="*/ 274546 w 578910"/>
                <a:gd name="connsiteY181" fmla="*/ 677120 h 1280234"/>
                <a:gd name="connsiteX182" fmla="*/ 260781 w 578910"/>
                <a:gd name="connsiteY182" fmla="*/ 674061 h 1280234"/>
                <a:gd name="connsiteX183" fmla="*/ 250912 w 578910"/>
                <a:gd name="connsiteY183" fmla="*/ 674061 h 1280234"/>
                <a:gd name="connsiteX184" fmla="*/ 248988 w 578910"/>
                <a:gd name="connsiteY184" fmla="*/ 672581 h 1280234"/>
                <a:gd name="connsiteX185" fmla="*/ 250912 w 578910"/>
                <a:gd name="connsiteY185" fmla="*/ 669522 h 1280234"/>
                <a:gd name="connsiteX186" fmla="*/ 246867 w 578910"/>
                <a:gd name="connsiteY186" fmla="*/ 669522 h 1280234"/>
                <a:gd name="connsiteX187" fmla="*/ 239021 w 578910"/>
                <a:gd name="connsiteY187" fmla="*/ 675590 h 1280234"/>
                <a:gd name="connsiteX188" fmla="*/ 239021 w 578910"/>
                <a:gd name="connsiteY188" fmla="*/ 687777 h 1280234"/>
                <a:gd name="connsiteX189" fmla="*/ 246867 w 578910"/>
                <a:gd name="connsiteY189" fmla="*/ 693797 h 1280234"/>
                <a:gd name="connsiteX190" fmla="*/ 248840 w 578910"/>
                <a:gd name="connsiteY190" fmla="*/ 705984 h 1280234"/>
                <a:gd name="connsiteX191" fmla="*/ 248840 w 578910"/>
                <a:gd name="connsiteY191" fmla="*/ 719602 h 1280234"/>
                <a:gd name="connsiteX192" fmla="*/ 250764 w 578910"/>
                <a:gd name="connsiteY192" fmla="*/ 724191 h 1280234"/>
                <a:gd name="connsiteX193" fmla="*/ 260632 w 578910"/>
                <a:gd name="connsiteY193" fmla="*/ 728730 h 1280234"/>
                <a:gd name="connsiteX194" fmla="*/ 270500 w 578910"/>
                <a:gd name="connsiteY194" fmla="*/ 727250 h 1280234"/>
                <a:gd name="connsiteX195" fmla="*/ 274448 w 578910"/>
                <a:gd name="connsiteY195" fmla="*/ 728730 h 1280234"/>
                <a:gd name="connsiteX196" fmla="*/ 270500 w 578910"/>
                <a:gd name="connsiteY196" fmla="*/ 733269 h 1280234"/>
                <a:gd name="connsiteX197" fmla="*/ 268527 w 578910"/>
                <a:gd name="connsiteY197" fmla="*/ 734799 h 1280234"/>
                <a:gd name="connsiteX198" fmla="*/ 272474 w 578910"/>
                <a:gd name="connsiteY198" fmla="*/ 736328 h 1280234"/>
                <a:gd name="connsiteX199" fmla="*/ 284267 w 578910"/>
                <a:gd name="connsiteY199" fmla="*/ 734799 h 1280234"/>
                <a:gd name="connsiteX200" fmla="*/ 284267 w 578910"/>
                <a:gd name="connsiteY200" fmla="*/ 728730 h 1280234"/>
                <a:gd name="connsiteX201" fmla="*/ 280319 w 578910"/>
                <a:gd name="connsiteY201" fmla="*/ 728730 h 1280234"/>
                <a:gd name="connsiteX202" fmla="*/ 276372 w 578910"/>
                <a:gd name="connsiteY202" fmla="*/ 727250 h 1280234"/>
                <a:gd name="connsiteX203" fmla="*/ 280319 w 578910"/>
                <a:gd name="connsiteY203" fmla="*/ 724191 h 1280234"/>
                <a:gd name="connsiteX204" fmla="*/ 286339 w 578910"/>
                <a:gd name="connsiteY204" fmla="*/ 724191 h 1280234"/>
                <a:gd name="connsiteX205" fmla="*/ 294184 w 578910"/>
                <a:gd name="connsiteY205" fmla="*/ 721132 h 1280234"/>
                <a:gd name="connsiteX206" fmla="*/ 300056 w 578910"/>
                <a:gd name="connsiteY206" fmla="*/ 721132 h 1280234"/>
                <a:gd name="connsiteX207" fmla="*/ 304003 w 578910"/>
                <a:gd name="connsiteY207" fmla="*/ 727250 h 1280234"/>
                <a:gd name="connsiteX208" fmla="*/ 302029 w 578910"/>
                <a:gd name="connsiteY208" fmla="*/ 734799 h 1280234"/>
                <a:gd name="connsiteX209" fmla="*/ 300056 w 578910"/>
                <a:gd name="connsiteY209" fmla="*/ 736328 h 1280234"/>
                <a:gd name="connsiteX210" fmla="*/ 304003 w 578910"/>
                <a:gd name="connsiteY210" fmla="*/ 740917 h 1280234"/>
                <a:gd name="connsiteX211" fmla="*/ 307901 w 578910"/>
                <a:gd name="connsiteY211" fmla="*/ 746986 h 1280234"/>
                <a:gd name="connsiteX212" fmla="*/ 305976 w 578910"/>
                <a:gd name="connsiteY212" fmla="*/ 751525 h 1280234"/>
                <a:gd name="connsiteX213" fmla="*/ 290237 w 578910"/>
                <a:gd name="connsiteY213" fmla="*/ 760653 h 1280234"/>
                <a:gd name="connsiteX214" fmla="*/ 286339 w 578910"/>
                <a:gd name="connsiteY214" fmla="*/ 759123 h 1280234"/>
                <a:gd name="connsiteX215" fmla="*/ 282441 w 578910"/>
                <a:gd name="connsiteY215" fmla="*/ 751525 h 1280234"/>
                <a:gd name="connsiteX216" fmla="*/ 284414 w 578910"/>
                <a:gd name="connsiteY216" fmla="*/ 748466 h 1280234"/>
                <a:gd name="connsiteX217" fmla="*/ 284414 w 578910"/>
                <a:gd name="connsiteY217" fmla="*/ 745457 h 1280234"/>
                <a:gd name="connsiteX218" fmla="*/ 276471 w 578910"/>
                <a:gd name="connsiteY218" fmla="*/ 742743 h 1280234"/>
                <a:gd name="connsiteX219" fmla="*/ 266603 w 578910"/>
                <a:gd name="connsiteY219" fmla="*/ 744272 h 1280234"/>
                <a:gd name="connsiteX220" fmla="*/ 260682 w 578910"/>
                <a:gd name="connsiteY220" fmla="*/ 748811 h 1280234"/>
                <a:gd name="connsiteX221" fmla="*/ 256784 w 578910"/>
                <a:gd name="connsiteY221" fmla="*/ 751870 h 1280234"/>
                <a:gd name="connsiteX222" fmla="*/ 262705 w 578910"/>
                <a:gd name="connsiteY222" fmla="*/ 756410 h 1280234"/>
                <a:gd name="connsiteX223" fmla="*/ 268527 w 578910"/>
                <a:gd name="connsiteY223" fmla="*/ 756410 h 1280234"/>
                <a:gd name="connsiteX224" fmla="*/ 278395 w 578910"/>
                <a:gd name="connsiteY224" fmla="*/ 760998 h 1280234"/>
                <a:gd name="connsiteX225" fmla="*/ 278395 w 578910"/>
                <a:gd name="connsiteY225" fmla="*/ 764009 h 1280234"/>
                <a:gd name="connsiteX226" fmla="*/ 272524 w 578910"/>
                <a:gd name="connsiteY226" fmla="*/ 770077 h 1280234"/>
                <a:gd name="connsiteX227" fmla="*/ 260731 w 578910"/>
                <a:gd name="connsiteY227" fmla="*/ 773136 h 1280234"/>
                <a:gd name="connsiteX228" fmla="*/ 254860 w 578910"/>
                <a:gd name="connsiteY228" fmla="*/ 776196 h 1280234"/>
                <a:gd name="connsiteX229" fmla="*/ 260731 w 578910"/>
                <a:gd name="connsiteY229" fmla="*/ 779205 h 1280234"/>
                <a:gd name="connsiteX230" fmla="*/ 254860 w 578910"/>
                <a:gd name="connsiteY230" fmla="*/ 785274 h 1280234"/>
                <a:gd name="connsiteX231" fmla="*/ 250912 w 578910"/>
                <a:gd name="connsiteY231" fmla="*/ 791343 h 1280234"/>
                <a:gd name="connsiteX232" fmla="*/ 252935 w 578910"/>
                <a:gd name="connsiteY232" fmla="*/ 797411 h 1280234"/>
                <a:gd name="connsiteX233" fmla="*/ 254860 w 578910"/>
                <a:gd name="connsiteY233" fmla="*/ 801951 h 1280234"/>
                <a:gd name="connsiteX234" fmla="*/ 254860 w 578910"/>
                <a:gd name="connsiteY234" fmla="*/ 805010 h 1280234"/>
                <a:gd name="connsiteX235" fmla="*/ 252935 w 578910"/>
                <a:gd name="connsiteY235" fmla="*/ 811079 h 1280234"/>
                <a:gd name="connsiteX236" fmla="*/ 262803 w 578910"/>
                <a:gd name="connsiteY236" fmla="*/ 817148 h 1280234"/>
                <a:gd name="connsiteX237" fmla="*/ 262803 w 578910"/>
                <a:gd name="connsiteY237" fmla="*/ 820207 h 1280234"/>
                <a:gd name="connsiteX238" fmla="*/ 260781 w 578910"/>
                <a:gd name="connsiteY238" fmla="*/ 824746 h 1280234"/>
                <a:gd name="connsiteX239" fmla="*/ 262803 w 578910"/>
                <a:gd name="connsiteY239" fmla="*/ 826276 h 1280234"/>
                <a:gd name="connsiteX240" fmla="*/ 250962 w 578910"/>
                <a:gd name="connsiteY240" fmla="*/ 830815 h 1280234"/>
                <a:gd name="connsiteX241" fmla="*/ 249038 w 578910"/>
                <a:gd name="connsiteY241" fmla="*/ 835355 h 1280234"/>
                <a:gd name="connsiteX242" fmla="*/ 249038 w 578910"/>
                <a:gd name="connsiteY242" fmla="*/ 839893 h 1280234"/>
                <a:gd name="connsiteX243" fmla="*/ 254909 w 578910"/>
                <a:gd name="connsiteY243" fmla="*/ 841423 h 1280234"/>
                <a:gd name="connsiteX244" fmla="*/ 260781 w 578910"/>
                <a:gd name="connsiteY244" fmla="*/ 844482 h 1280234"/>
                <a:gd name="connsiteX245" fmla="*/ 256883 w 578910"/>
                <a:gd name="connsiteY245" fmla="*/ 847541 h 1280234"/>
                <a:gd name="connsiteX246" fmla="*/ 247015 w 578910"/>
                <a:gd name="connsiteY246" fmla="*/ 849071 h 1280234"/>
                <a:gd name="connsiteX247" fmla="*/ 241143 w 578910"/>
                <a:gd name="connsiteY247" fmla="*/ 847541 h 1280234"/>
                <a:gd name="connsiteX248" fmla="*/ 231275 w 578910"/>
                <a:gd name="connsiteY248" fmla="*/ 849071 h 1280234"/>
                <a:gd name="connsiteX249" fmla="*/ 225404 w 578910"/>
                <a:gd name="connsiteY249" fmla="*/ 855091 h 1280234"/>
                <a:gd name="connsiteX250" fmla="*/ 215536 w 578910"/>
                <a:gd name="connsiteY250" fmla="*/ 856620 h 1280234"/>
                <a:gd name="connsiteX251" fmla="*/ 209615 w 578910"/>
                <a:gd name="connsiteY251" fmla="*/ 861209 h 1280234"/>
                <a:gd name="connsiteX252" fmla="*/ 205717 w 578910"/>
                <a:gd name="connsiteY252" fmla="*/ 864219 h 1280234"/>
                <a:gd name="connsiteX253" fmla="*/ 201769 w 578910"/>
                <a:gd name="connsiteY253" fmla="*/ 870287 h 1280234"/>
                <a:gd name="connsiteX254" fmla="*/ 199796 w 578910"/>
                <a:gd name="connsiteY254" fmla="*/ 876356 h 1280234"/>
                <a:gd name="connsiteX255" fmla="*/ 191951 w 578910"/>
                <a:gd name="connsiteY255" fmla="*/ 880945 h 1280234"/>
                <a:gd name="connsiteX256" fmla="*/ 191951 w 578910"/>
                <a:gd name="connsiteY256" fmla="*/ 883955 h 1280234"/>
                <a:gd name="connsiteX257" fmla="*/ 195898 w 578910"/>
                <a:gd name="connsiteY257" fmla="*/ 890023 h 1280234"/>
                <a:gd name="connsiteX258" fmla="*/ 195898 w 578910"/>
                <a:gd name="connsiteY258" fmla="*/ 897671 h 1280234"/>
                <a:gd name="connsiteX259" fmla="*/ 203743 w 578910"/>
                <a:gd name="connsiteY259" fmla="*/ 906750 h 1280234"/>
                <a:gd name="connsiteX260" fmla="*/ 209615 w 578910"/>
                <a:gd name="connsiteY260" fmla="*/ 912819 h 1280234"/>
                <a:gd name="connsiteX261" fmla="*/ 215536 w 578910"/>
                <a:gd name="connsiteY261" fmla="*/ 912819 h 1280234"/>
                <a:gd name="connsiteX262" fmla="*/ 225404 w 578910"/>
                <a:gd name="connsiteY262" fmla="*/ 921946 h 1280234"/>
                <a:gd name="connsiteX263" fmla="*/ 239120 w 578910"/>
                <a:gd name="connsiteY263" fmla="*/ 932555 h 1280234"/>
                <a:gd name="connsiteX264" fmla="*/ 250863 w 578910"/>
                <a:gd name="connsiteY264" fmla="*/ 931026 h 1280234"/>
                <a:gd name="connsiteX265" fmla="*/ 260731 w 578910"/>
                <a:gd name="connsiteY265" fmla="*/ 931026 h 1280234"/>
                <a:gd name="connsiteX266" fmla="*/ 266652 w 578910"/>
                <a:gd name="connsiteY266" fmla="*/ 932555 h 1280234"/>
                <a:gd name="connsiteX267" fmla="*/ 268576 w 578910"/>
                <a:gd name="connsiteY267" fmla="*/ 935614 h 1280234"/>
                <a:gd name="connsiteX268" fmla="*/ 266652 w 578910"/>
                <a:gd name="connsiteY268" fmla="*/ 937094 h 1280234"/>
                <a:gd name="connsiteX269" fmla="*/ 266652 w 578910"/>
                <a:gd name="connsiteY269" fmla="*/ 940153 h 1280234"/>
                <a:gd name="connsiteX270" fmla="*/ 270550 w 578910"/>
                <a:gd name="connsiteY270" fmla="*/ 949281 h 1280234"/>
                <a:gd name="connsiteX271" fmla="*/ 270550 w 578910"/>
                <a:gd name="connsiteY271" fmla="*/ 953821 h 1280234"/>
                <a:gd name="connsiteX272" fmla="*/ 264678 w 578910"/>
                <a:gd name="connsiteY272" fmla="*/ 958360 h 1280234"/>
                <a:gd name="connsiteX273" fmla="*/ 268576 w 578910"/>
                <a:gd name="connsiteY273" fmla="*/ 958360 h 1280234"/>
                <a:gd name="connsiteX274" fmla="*/ 274497 w 578910"/>
                <a:gd name="connsiteY274" fmla="*/ 962899 h 1280234"/>
                <a:gd name="connsiteX275" fmla="*/ 270550 w 578910"/>
                <a:gd name="connsiteY275" fmla="*/ 965958 h 1280234"/>
                <a:gd name="connsiteX276" fmla="*/ 270550 w 578910"/>
                <a:gd name="connsiteY276" fmla="*/ 973557 h 1280234"/>
                <a:gd name="connsiteX277" fmla="*/ 264678 w 578910"/>
                <a:gd name="connsiteY277" fmla="*/ 978096 h 1280234"/>
                <a:gd name="connsiteX278" fmla="*/ 260731 w 578910"/>
                <a:gd name="connsiteY278" fmla="*/ 981155 h 1280234"/>
                <a:gd name="connsiteX279" fmla="*/ 256833 w 578910"/>
                <a:gd name="connsiteY279" fmla="*/ 985744 h 1280234"/>
                <a:gd name="connsiteX280" fmla="*/ 252935 w 578910"/>
                <a:gd name="connsiteY280" fmla="*/ 985744 h 1280234"/>
                <a:gd name="connsiteX281" fmla="*/ 248988 w 578910"/>
                <a:gd name="connsiteY281" fmla="*/ 991763 h 1280234"/>
                <a:gd name="connsiteX282" fmla="*/ 247015 w 578910"/>
                <a:gd name="connsiteY282" fmla="*/ 1000891 h 1280234"/>
                <a:gd name="connsiteX283" fmla="*/ 239169 w 578910"/>
                <a:gd name="connsiteY283" fmla="*/ 1000891 h 1280234"/>
                <a:gd name="connsiteX284" fmla="*/ 231324 w 578910"/>
                <a:gd name="connsiteY284" fmla="*/ 1006960 h 1280234"/>
                <a:gd name="connsiteX285" fmla="*/ 231324 w 578910"/>
                <a:gd name="connsiteY285" fmla="*/ 1013029 h 1280234"/>
                <a:gd name="connsiteX286" fmla="*/ 227426 w 578910"/>
                <a:gd name="connsiteY286" fmla="*/ 1022157 h 1280234"/>
                <a:gd name="connsiteX287" fmla="*/ 219581 w 578910"/>
                <a:gd name="connsiteY287" fmla="*/ 1026697 h 1280234"/>
                <a:gd name="connsiteX288" fmla="*/ 219581 w 578910"/>
                <a:gd name="connsiteY288" fmla="*/ 1029706 h 1280234"/>
                <a:gd name="connsiteX289" fmla="*/ 221506 w 578910"/>
                <a:gd name="connsiteY289" fmla="*/ 1028226 h 1280234"/>
                <a:gd name="connsiteX290" fmla="*/ 229351 w 578910"/>
                <a:gd name="connsiteY290" fmla="*/ 1029706 h 1280234"/>
                <a:gd name="connsiteX291" fmla="*/ 231324 w 578910"/>
                <a:gd name="connsiteY291" fmla="*/ 1037354 h 1280234"/>
                <a:gd name="connsiteX292" fmla="*/ 229351 w 578910"/>
                <a:gd name="connsiteY292" fmla="*/ 1041893 h 1280234"/>
                <a:gd name="connsiteX293" fmla="*/ 221506 w 578910"/>
                <a:gd name="connsiteY293" fmla="*/ 1049442 h 1280234"/>
                <a:gd name="connsiteX294" fmla="*/ 219581 w 578910"/>
                <a:gd name="connsiteY294" fmla="*/ 1054031 h 1280234"/>
                <a:gd name="connsiteX295" fmla="*/ 213710 w 578910"/>
                <a:gd name="connsiteY295" fmla="*/ 1060099 h 1280234"/>
                <a:gd name="connsiteX296" fmla="*/ 207789 w 578910"/>
                <a:gd name="connsiteY296" fmla="*/ 1058620 h 1280234"/>
                <a:gd name="connsiteX297" fmla="*/ 203891 w 578910"/>
                <a:gd name="connsiteY297" fmla="*/ 1054031 h 1280234"/>
                <a:gd name="connsiteX298" fmla="*/ 199944 w 578910"/>
                <a:gd name="connsiteY298" fmla="*/ 1052501 h 1280234"/>
                <a:gd name="connsiteX299" fmla="*/ 201918 w 578910"/>
                <a:gd name="connsiteY299" fmla="*/ 1055561 h 1280234"/>
                <a:gd name="connsiteX300" fmla="*/ 201918 w 578910"/>
                <a:gd name="connsiteY300" fmla="*/ 1060099 h 1280234"/>
                <a:gd name="connsiteX301" fmla="*/ 203891 w 578910"/>
                <a:gd name="connsiteY301" fmla="*/ 1063159 h 1280234"/>
                <a:gd name="connsiteX302" fmla="*/ 201918 w 578910"/>
                <a:gd name="connsiteY302" fmla="*/ 1067698 h 1280234"/>
                <a:gd name="connsiteX303" fmla="*/ 194122 w 578910"/>
                <a:gd name="connsiteY303" fmla="*/ 1075297 h 1280234"/>
                <a:gd name="connsiteX304" fmla="*/ 188201 w 578910"/>
                <a:gd name="connsiteY304" fmla="*/ 1084375 h 1280234"/>
                <a:gd name="connsiteX305" fmla="*/ 188201 w 578910"/>
                <a:gd name="connsiteY305" fmla="*/ 1093059 h 1280234"/>
                <a:gd name="connsiteX306" fmla="*/ 198069 w 578910"/>
                <a:gd name="connsiteY306" fmla="*/ 1103717 h 1280234"/>
                <a:gd name="connsiteX307" fmla="*/ 203940 w 578910"/>
                <a:gd name="connsiteY307" fmla="*/ 1117335 h 1280234"/>
                <a:gd name="connsiteX308" fmla="*/ 203940 w 578910"/>
                <a:gd name="connsiteY308" fmla="*/ 1120394 h 1280234"/>
                <a:gd name="connsiteX309" fmla="*/ 205914 w 578910"/>
                <a:gd name="connsiteY309" fmla="*/ 1121923 h 1280234"/>
                <a:gd name="connsiteX310" fmla="*/ 203940 w 578910"/>
                <a:gd name="connsiteY310" fmla="*/ 1124982 h 1280234"/>
                <a:gd name="connsiteX311" fmla="*/ 198069 w 578910"/>
                <a:gd name="connsiteY311" fmla="*/ 1129522 h 1280234"/>
                <a:gd name="connsiteX312" fmla="*/ 201967 w 578910"/>
                <a:gd name="connsiteY312" fmla="*/ 1132531 h 1280234"/>
                <a:gd name="connsiteX313" fmla="*/ 205914 w 578910"/>
                <a:gd name="connsiteY313" fmla="*/ 1131051 h 1280234"/>
                <a:gd name="connsiteX314" fmla="*/ 211786 w 578910"/>
                <a:gd name="connsiteY314" fmla="*/ 1137071 h 1280234"/>
                <a:gd name="connsiteX315" fmla="*/ 213759 w 578910"/>
                <a:gd name="connsiteY315" fmla="*/ 1141659 h 1280234"/>
                <a:gd name="connsiteX316" fmla="*/ 227476 w 578910"/>
                <a:gd name="connsiteY316" fmla="*/ 1147728 h 1280234"/>
                <a:gd name="connsiteX317" fmla="*/ 233347 w 578910"/>
                <a:gd name="connsiteY317" fmla="*/ 1153797 h 1280234"/>
                <a:gd name="connsiteX318" fmla="*/ 235321 w 578910"/>
                <a:gd name="connsiteY318" fmla="*/ 1159916 h 1280234"/>
                <a:gd name="connsiteX319" fmla="*/ 231374 w 578910"/>
                <a:gd name="connsiteY319" fmla="*/ 1159916 h 1280234"/>
                <a:gd name="connsiteX320" fmla="*/ 221506 w 578910"/>
                <a:gd name="connsiteY320" fmla="*/ 1156856 h 1280234"/>
                <a:gd name="connsiteX321" fmla="*/ 211637 w 578910"/>
                <a:gd name="connsiteY321" fmla="*/ 1147728 h 1280234"/>
                <a:gd name="connsiteX322" fmla="*/ 203793 w 578910"/>
                <a:gd name="connsiteY322" fmla="*/ 1146199 h 1280234"/>
                <a:gd name="connsiteX323" fmla="*/ 201819 w 578910"/>
                <a:gd name="connsiteY323" fmla="*/ 1144718 h 1280234"/>
                <a:gd name="connsiteX324" fmla="*/ 156722 w 578910"/>
                <a:gd name="connsiteY324" fmla="*/ 1144718 h 1280234"/>
                <a:gd name="connsiteX325" fmla="*/ 129288 w 578910"/>
                <a:gd name="connsiteY325" fmla="*/ 1147728 h 1280234"/>
                <a:gd name="connsiteX326" fmla="*/ 125391 w 578910"/>
                <a:gd name="connsiteY326" fmla="*/ 1144718 h 1280234"/>
                <a:gd name="connsiteX327" fmla="*/ 105654 w 578910"/>
                <a:gd name="connsiteY327" fmla="*/ 1144718 h 1280234"/>
                <a:gd name="connsiteX328" fmla="*/ 99783 w 578910"/>
                <a:gd name="connsiteY328" fmla="*/ 1132531 h 1280234"/>
                <a:gd name="connsiteX329" fmla="*/ 97809 w 578910"/>
                <a:gd name="connsiteY329" fmla="*/ 1120394 h 1280234"/>
                <a:gd name="connsiteX330" fmla="*/ 89964 w 578910"/>
                <a:gd name="connsiteY330" fmla="*/ 1114325 h 1280234"/>
                <a:gd name="connsiteX331" fmla="*/ 87991 w 578910"/>
                <a:gd name="connsiteY331" fmla="*/ 1096118 h 1280234"/>
                <a:gd name="connsiteX332" fmla="*/ 87991 w 578910"/>
                <a:gd name="connsiteY332" fmla="*/ 1088520 h 1280234"/>
                <a:gd name="connsiteX333" fmla="*/ 78122 w 578910"/>
                <a:gd name="connsiteY333" fmla="*/ 1088520 h 1280234"/>
                <a:gd name="connsiteX334" fmla="*/ 68254 w 578910"/>
                <a:gd name="connsiteY334" fmla="*/ 1093059 h 1280234"/>
                <a:gd name="connsiteX335" fmla="*/ 62334 w 578910"/>
                <a:gd name="connsiteY335" fmla="*/ 1100658 h 1280234"/>
                <a:gd name="connsiteX336" fmla="*/ 54538 w 578910"/>
                <a:gd name="connsiteY336" fmla="*/ 1100658 h 1280234"/>
                <a:gd name="connsiteX337" fmla="*/ 38848 w 578910"/>
                <a:gd name="connsiteY337" fmla="*/ 1071843 h 1280234"/>
                <a:gd name="connsiteX338" fmla="*/ 34900 w 578910"/>
                <a:gd name="connsiteY338" fmla="*/ 1062715 h 1280234"/>
                <a:gd name="connsiteX339" fmla="*/ 40772 w 578910"/>
                <a:gd name="connsiteY339" fmla="*/ 1035380 h 1280234"/>
                <a:gd name="connsiteX340" fmla="*/ 46693 w 578910"/>
                <a:gd name="connsiteY340" fmla="*/ 1026252 h 1280234"/>
                <a:gd name="connsiteX341" fmla="*/ 60409 w 578910"/>
                <a:gd name="connsiteY341" fmla="*/ 1014115 h 1280234"/>
                <a:gd name="connsiteX342" fmla="*/ 64307 w 578910"/>
                <a:gd name="connsiteY342" fmla="*/ 998918 h 1280234"/>
                <a:gd name="connsiteX343" fmla="*/ 60409 w 578910"/>
                <a:gd name="connsiteY343" fmla="*/ 982241 h 1280234"/>
                <a:gd name="connsiteX344" fmla="*/ 56511 w 578910"/>
                <a:gd name="connsiteY344" fmla="*/ 971583 h 1280234"/>
                <a:gd name="connsiteX345" fmla="*/ 58436 w 578910"/>
                <a:gd name="connsiteY345" fmla="*/ 956387 h 1280234"/>
                <a:gd name="connsiteX346" fmla="*/ 66281 w 578910"/>
                <a:gd name="connsiteY346" fmla="*/ 948837 h 1280234"/>
                <a:gd name="connsiteX347" fmla="*/ 60409 w 578910"/>
                <a:gd name="connsiteY347" fmla="*/ 933640 h 1280234"/>
                <a:gd name="connsiteX348" fmla="*/ 60409 w 578910"/>
                <a:gd name="connsiteY348" fmla="*/ 927522 h 1280234"/>
                <a:gd name="connsiteX349" fmla="*/ 66281 w 578910"/>
                <a:gd name="connsiteY349" fmla="*/ 921503 h 1280234"/>
                <a:gd name="connsiteX350" fmla="*/ 62334 w 578910"/>
                <a:gd name="connsiteY350" fmla="*/ 907786 h 1280234"/>
                <a:gd name="connsiteX351" fmla="*/ 60409 w 578910"/>
                <a:gd name="connsiteY351" fmla="*/ 892639 h 1280234"/>
                <a:gd name="connsiteX352" fmla="*/ 56511 w 578910"/>
                <a:gd name="connsiteY352" fmla="*/ 883511 h 1280234"/>
                <a:gd name="connsiteX353" fmla="*/ 56511 w 578910"/>
                <a:gd name="connsiteY353" fmla="*/ 877442 h 1280234"/>
                <a:gd name="connsiteX354" fmla="*/ 64307 w 578910"/>
                <a:gd name="connsiteY354" fmla="*/ 869843 h 1280234"/>
                <a:gd name="connsiteX355" fmla="*/ 64307 w 578910"/>
                <a:gd name="connsiteY355" fmla="*/ 863775 h 1280234"/>
                <a:gd name="connsiteX356" fmla="*/ 58436 w 578910"/>
                <a:gd name="connsiteY356" fmla="*/ 851636 h 1280234"/>
                <a:gd name="connsiteX357" fmla="*/ 44719 w 578910"/>
                <a:gd name="connsiteY357" fmla="*/ 845568 h 1280234"/>
                <a:gd name="connsiteX358" fmla="*/ 36874 w 578910"/>
                <a:gd name="connsiteY358" fmla="*/ 845568 h 1280234"/>
                <a:gd name="connsiteX359" fmla="*/ 34900 w 578910"/>
                <a:gd name="connsiteY359" fmla="*/ 847098 h 1280234"/>
                <a:gd name="connsiteX360" fmla="*/ 31003 w 578910"/>
                <a:gd name="connsiteY360" fmla="*/ 842509 h 1280234"/>
                <a:gd name="connsiteX361" fmla="*/ 32927 w 578910"/>
                <a:gd name="connsiteY361" fmla="*/ 837970 h 1280234"/>
                <a:gd name="connsiteX362" fmla="*/ 48666 w 578910"/>
                <a:gd name="connsiteY362" fmla="*/ 837970 h 1280234"/>
                <a:gd name="connsiteX363" fmla="*/ 58535 w 578910"/>
                <a:gd name="connsiteY363" fmla="*/ 828891 h 1280234"/>
                <a:gd name="connsiteX364" fmla="*/ 58535 w 578910"/>
                <a:gd name="connsiteY364" fmla="*/ 822773 h 1280234"/>
                <a:gd name="connsiteX365" fmla="*/ 50689 w 578910"/>
                <a:gd name="connsiteY365" fmla="*/ 821243 h 1280234"/>
                <a:gd name="connsiteX366" fmla="*/ 46791 w 578910"/>
                <a:gd name="connsiteY366" fmla="*/ 824302 h 1280234"/>
                <a:gd name="connsiteX367" fmla="*/ 40871 w 578910"/>
                <a:gd name="connsiteY367" fmla="*/ 822773 h 1280234"/>
                <a:gd name="connsiteX368" fmla="*/ 36973 w 578910"/>
                <a:gd name="connsiteY368" fmla="*/ 807576 h 1280234"/>
                <a:gd name="connsiteX369" fmla="*/ 31101 w 578910"/>
                <a:gd name="connsiteY369" fmla="*/ 795487 h 1280234"/>
                <a:gd name="connsiteX370" fmla="*/ 29128 w 578910"/>
                <a:gd name="connsiteY370" fmla="*/ 787840 h 1280234"/>
                <a:gd name="connsiteX371" fmla="*/ 31101 w 578910"/>
                <a:gd name="connsiteY371" fmla="*/ 775751 h 1280234"/>
                <a:gd name="connsiteX372" fmla="*/ 19309 w 578910"/>
                <a:gd name="connsiteY372" fmla="*/ 772692 h 1280234"/>
                <a:gd name="connsiteX373" fmla="*/ 15411 w 578910"/>
                <a:gd name="connsiteY373" fmla="*/ 765094 h 1280234"/>
                <a:gd name="connsiteX374" fmla="*/ 13437 w 578910"/>
                <a:gd name="connsiteY374" fmla="*/ 740818 h 1280234"/>
                <a:gd name="connsiteX375" fmla="*/ 23305 w 578910"/>
                <a:gd name="connsiteY375" fmla="*/ 736230 h 1280234"/>
                <a:gd name="connsiteX376" fmla="*/ 25328 w 578910"/>
                <a:gd name="connsiteY376" fmla="*/ 727151 h 1280234"/>
                <a:gd name="connsiteX377" fmla="*/ 21381 w 578910"/>
                <a:gd name="connsiteY377" fmla="*/ 721033 h 1280234"/>
                <a:gd name="connsiteX378" fmla="*/ 13536 w 578910"/>
                <a:gd name="connsiteY378" fmla="*/ 719503 h 1280234"/>
                <a:gd name="connsiteX379" fmla="*/ 9638 w 578910"/>
                <a:gd name="connsiteY379" fmla="*/ 705886 h 1280234"/>
                <a:gd name="connsiteX380" fmla="*/ 9638 w 578910"/>
                <a:gd name="connsiteY380" fmla="*/ 684620 h 1280234"/>
                <a:gd name="connsiteX381" fmla="*/ 11562 w 578910"/>
                <a:gd name="connsiteY381" fmla="*/ 661824 h 1280234"/>
                <a:gd name="connsiteX382" fmla="*/ 3717 w 578910"/>
                <a:gd name="connsiteY382" fmla="*/ 652746 h 1280234"/>
                <a:gd name="connsiteX383" fmla="*/ 3717 w 578910"/>
                <a:gd name="connsiteY383" fmla="*/ 640559 h 1280234"/>
                <a:gd name="connsiteX384" fmla="*/ 15510 w 578910"/>
                <a:gd name="connsiteY384" fmla="*/ 626892 h 1280234"/>
                <a:gd name="connsiteX385" fmla="*/ 19408 w 578910"/>
                <a:gd name="connsiteY385" fmla="*/ 608685 h 1280234"/>
                <a:gd name="connsiteX386" fmla="*/ 29276 w 578910"/>
                <a:gd name="connsiteY386" fmla="*/ 605675 h 1280234"/>
                <a:gd name="connsiteX387" fmla="*/ 33173 w 578910"/>
                <a:gd name="connsiteY387" fmla="*/ 599557 h 1280234"/>
                <a:gd name="connsiteX388" fmla="*/ 11612 w 578910"/>
                <a:gd name="connsiteY388" fmla="*/ 563144 h 1280234"/>
                <a:gd name="connsiteX389" fmla="*/ 13585 w 578910"/>
                <a:gd name="connsiteY389" fmla="*/ 551006 h 1280234"/>
                <a:gd name="connsiteX390" fmla="*/ 13585 w 578910"/>
                <a:gd name="connsiteY390" fmla="*/ 522142 h 1280234"/>
                <a:gd name="connsiteX391" fmla="*/ 23453 w 578910"/>
                <a:gd name="connsiteY391" fmla="*/ 508425 h 1280234"/>
                <a:gd name="connsiteX392" fmla="*/ 31348 w 578910"/>
                <a:gd name="connsiteY392" fmla="*/ 500876 h 1280234"/>
                <a:gd name="connsiteX393" fmla="*/ 29374 w 578910"/>
                <a:gd name="connsiteY393" fmla="*/ 488739 h 1280234"/>
                <a:gd name="connsiteX394" fmla="*/ 21529 w 578910"/>
                <a:gd name="connsiteY394" fmla="*/ 479611 h 1280234"/>
                <a:gd name="connsiteX395" fmla="*/ 15658 w 578910"/>
                <a:gd name="connsiteY395" fmla="*/ 475071 h 1280234"/>
                <a:gd name="connsiteX396" fmla="*/ 25526 w 578910"/>
                <a:gd name="connsiteY396" fmla="*/ 464463 h 1280234"/>
                <a:gd name="connsiteX397" fmla="*/ 23503 w 578910"/>
                <a:gd name="connsiteY397" fmla="*/ 452276 h 1280234"/>
                <a:gd name="connsiteX398" fmla="*/ 29424 w 578910"/>
                <a:gd name="connsiteY398" fmla="*/ 441668 h 1280234"/>
                <a:gd name="connsiteX399" fmla="*/ 35295 w 578910"/>
                <a:gd name="connsiteY399" fmla="*/ 437079 h 1280234"/>
                <a:gd name="connsiteX400" fmla="*/ 37269 w 578910"/>
                <a:gd name="connsiteY400" fmla="*/ 423412 h 1280234"/>
                <a:gd name="connsiteX401" fmla="*/ 35295 w 578910"/>
                <a:gd name="connsiteY401" fmla="*/ 399136 h 1280234"/>
                <a:gd name="connsiteX402" fmla="*/ 29424 w 578910"/>
                <a:gd name="connsiteY402" fmla="*/ 396127 h 1280234"/>
                <a:gd name="connsiteX403" fmla="*/ 25526 w 578910"/>
                <a:gd name="connsiteY403" fmla="*/ 377871 h 1280234"/>
                <a:gd name="connsiteX404" fmla="*/ 19605 w 578910"/>
                <a:gd name="connsiteY404" fmla="*/ 368743 h 1280234"/>
                <a:gd name="connsiteX405" fmla="*/ 9737 w 578910"/>
                <a:gd name="connsiteY405" fmla="*/ 356654 h 1280234"/>
                <a:gd name="connsiteX406" fmla="*/ 9737 w 578910"/>
                <a:gd name="connsiteY406" fmla="*/ 350536 h 1280234"/>
                <a:gd name="connsiteX407" fmla="*/ 1892 w 578910"/>
                <a:gd name="connsiteY407" fmla="*/ 342938 h 1280234"/>
                <a:gd name="connsiteX408" fmla="*/ -82 w 578910"/>
                <a:gd name="connsiteY408" fmla="*/ 327790 h 1280234"/>
                <a:gd name="connsiteX409" fmla="*/ 1892 w 578910"/>
                <a:gd name="connsiteY409" fmla="*/ 317133 h 1280234"/>
                <a:gd name="connsiteX410" fmla="*/ 9737 w 578910"/>
                <a:gd name="connsiteY410" fmla="*/ 312593 h 1280234"/>
                <a:gd name="connsiteX411" fmla="*/ 11661 w 578910"/>
                <a:gd name="connsiteY411" fmla="*/ 297397 h 1280234"/>
                <a:gd name="connsiteX412" fmla="*/ 15608 w 578910"/>
                <a:gd name="connsiteY412" fmla="*/ 291328 h 1280234"/>
                <a:gd name="connsiteX413" fmla="*/ 19506 w 578910"/>
                <a:gd name="connsiteY413" fmla="*/ 276131 h 1280234"/>
                <a:gd name="connsiteX414" fmla="*/ 9638 w 578910"/>
                <a:gd name="connsiteY414" fmla="*/ 267052 h 1280234"/>
                <a:gd name="connsiteX415" fmla="*/ 9638 w 578910"/>
                <a:gd name="connsiteY415" fmla="*/ 247316 h 1280234"/>
                <a:gd name="connsiteX416" fmla="*/ 13536 w 578910"/>
                <a:gd name="connsiteY416" fmla="*/ 242777 h 1280234"/>
                <a:gd name="connsiteX417" fmla="*/ 19408 w 578910"/>
                <a:gd name="connsiteY417" fmla="*/ 220031 h 1280234"/>
                <a:gd name="connsiteX418" fmla="*/ 25328 w 578910"/>
                <a:gd name="connsiteY418" fmla="*/ 212383 h 1280234"/>
                <a:gd name="connsiteX419" fmla="*/ 33124 w 578910"/>
                <a:gd name="connsiteY419" fmla="*/ 192647 h 1280234"/>
                <a:gd name="connsiteX420" fmla="*/ 42992 w 578910"/>
                <a:gd name="connsiteY420" fmla="*/ 183568 h 1280234"/>
                <a:gd name="connsiteX421" fmla="*/ 48913 w 578910"/>
                <a:gd name="connsiteY421" fmla="*/ 180509 h 1280234"/>
                <a:gd name="connsiteX422" fmla="*/ 56758 w 578910"/>
                <a:gd name="connsiteY422" fmla="*/ 174441 h 1280234"/>
                <a:gd name="connsiteX423" fmla="*/ 50837 w 578910"/>
                <a:gd name="connsiteY423" fmla="*/ 171431 h 1280234"/>
                <a:gd name="connsiteX424" fmla="*/ 50837 w 578910"/>
                <a:gd name="connsiteY424" fmla="*/ 163832 h 1280234"/>
                <a:gd name="connsiteX425" fmla="*/ 48913 w 578910"/>
                <a:gd name="connsiteY425" fmla="*/ 159244 h 1280234"/>
                <a:gd name="connsiteX426" fmla="*/ 44966 w 578910"/>
                <a:gd name="connsiteY426" fmla="*/ 156234 h 1280234"/>
                <a:gd name="connsiteX427" fmla="*/ 44966 w 578910"/>
                <a:gd name="connsiteY427" fmla="*/ 148636 h 1280234"/>
                <a:gd name="connsiteX428" fmla="*/ 54834 w 578910"/>
                <a:gd name="connsiteY428" fmla="*/ 145626 h 1280234"/>
                <a:gd name="connsiteX429" fmla="*/ 54834 w 578910"/>
                <a:gd name="connsiteY429" fmla="*/ 138027 h 1280234"/>
                <a:gd name="connsiteX430" fmla="*/ 44966 w 578910"/>
                <a:gd name="connsiteY430" fmla="*/ 130429 h 1280234"/>
                <a:gd name="connsiteX431" fmla="*/ 42992 w 578910"/>
                <a:gd name="connsiteY431" fmla="*/ 118291 h 1280234"/>
                <a:gd name="connsiteX432" fmla="*/ 46939 w 578910"/>
                <a:gd name="connsiteY432" fmla="*/ 112222 h 1280234"/>
                <a:gd name="connsiteX433" fmla="*/ 44966 w 578910"/>
                <a:gd name="connsiteY433" fmla="*/ 107634 h 1280234"/>
                <a:gd name="connsiteX434" fmla="*/ 37121 w 578910"/>
                <a:gd name="connsiteY434" fmla="*/ 101565 h 1280234"/>
                <a:gd name="connsiteX435" fmla="*/ 41019 w 578910"/>
                <a:gd name="connsiteY435" fmla="*/ 92437 h 1280234"/>
                <a:gd name="connsiteX436" fmla="*/ 84192 w 578910"/>
                <a:gd name="connsiteY436" fmla="*/ 74230 h 1280234"/>
                <a:gd name="connsiteX437" fmla="*/ 94060 w 578910"/>
                <a:gd name="connsiteY437" fmla="*/ 37768 h 1280234"/>
                <a:gd name="connsiteX438" fmla="*/ 90162 w 578910"/>
                <a:gd name="connsiteY438" fmla="*/ 30219 h 1280234"/>
                <a:gd name="connsiteX439" fmla="*/ 384279 w 578910"/>
                <a:gd name="connsiteY439" fmla="*/ 1264862 h 1280234"/>
                <a:gd name="connsiteX440" fmla="*/ 390200 w 578910"/>
                <a:gd name="connsiteY440" fmla="*/ 1269401 h 1280234"/>
                <a:gd name="connsiteX441" fmla="*/ 400068 w 578910"/>
                <a:gd name="connsiteY441" fmla="*/ 1264862 h 1280234"/>
                <a:gd name="connsiteX442" fmla="*/ 405940 w 578910"/>
                <a:gd name="connsiteY442" fmla="*/ 1263333 h 1280234"/>
                <a:gd name="connsiteX443" fmla="*/ 411861 w 578910"/>
                <a:gd name="connsiteY443" fmla="*/ 1257264 h 1280234"/>
                <a:gd name="connsiteX444" fmla="*/ 404015 w 578910"/>
                <a:gd name="connsiteY444" fmla="*/ 1257264 h 1280234"/>
                <a:gd name="connsiteX445" fmla="*/ 400068 w 578910"/>
                <a:gd name="connsiteY445" fmla="*/ 1261803 h 1280234"/>
                <a:gd name="connsiteX446" fmla="*/ 388276 w 578910"/>
                <a:gd name="connsiteY446" fmla="*/ 1263333 h 1280234"/>
                <a:gd name="connsiteX447" fmla="*/ 384378 w 578910"/>
                <a:gd name="connsiteY447" fmla="*/ 1264862 h 1280234"/>
                <a:gd name="connsiteX448" fmla="*/ 221456 w 578910"/>
                <a:gd name="connsiteY448" fmla="*/ 1166181 h 1280234"/>
                <a:gd name="connsiteX449" fmla="*/ 225404 w 578910"/>
                <a:gd name="connsiteY449" fmla="*/ 1166181 h 1280234"/>
                <a:gd name="connsiteX450" fmla="*/ 231275 w 578910"/>
                <a:gd name="connsiteY450" fmla="*/ 1172251 h 1280234"/>
                <a:gd name="connsiteX451" fmla="*/ 241143 w 578910"/>
                <a:gd name="connsiteY451" fmla="*/ 1182908 h 1280234"/>
                <a:gd name="connsiteX452" fmla="*/ 245090 w 578910"/>
                <a:gd name="connsiteY452" fmla="*/ 1198105 h 1280234"/>
                <a:gd name="connsiteX453" fmla="*/ 241143 w 578910"/>
                <a:gd name="connsiteY453" fmla="*/ 1195046 h 1280234"/>
                <a:gd name="connsiteX454" fmla="*/ 235272 w 578910"/>
                <a:gd name="connsiteY454" fmla="*/ 1196575 h 1280234"/>
                <a:gd name="connsiteX455" fmla="*/ 233298 w 578910"/>
                <a:gd name="connsiteY455" fmla="*/ 1201115 h 1280234"/>
                <a:gd name="connsiteX456" fmla="*/ 221506 w 578910"/>
                <a:gd name="connsiteY456" fmla="*/ 1166181 h 1280234"/>
                <a:gd name="connsiteX457" fmla="*/ 233249 w 578910"/>
                <a:gd name="connsiteY457" fmla="*/ 1202644 h 1280234"/>
                <a:gd name="connsiteX458" fmla="*/ 241094 w 578910"/>
                <a:gd name="connsiteY458" fmla="*/ 1204174 h 1280234"/>
                <a:gd name="connsiteX459" fmla="*/ 248939 w 578910"/>
                <a:gd name="connsiteY459" fmla="*/ 1204174 h 1280234"/>
                <a:gd name="connsiteX460" fmla="*/ 252886 w 578910"/>
                <a:gd name="connsiteY460" fmla="*/ 1210242 h 1280234"/>
                <a:gd name="connsiteX461" fmla="*/ 256784 w 578910"/>
                <a:gd name="connsiteY461" fmla="*/ 1220851 h 1280234"/>
                <a:gd name="connsiteX462" fmla="*/ 268527 w 578910"/>
                <a:gd name="connsiteY462" fmla="*/ 1220851 h 1280234"/>
                <a:gd name="connsiteX463" fmla="*/ 276372 w 578910"/>
                <a:gd name="connsiteY463" fmla="*/ 1226919 h 1280234"/>
                <a:gd name="connsiteX464" fmla="*/ 276372 w 578910"/>
                <a:gd name="connsiteY464" fmla="*/ 1236146 h 1280234"/>
                <a:gd name="connsiteX465" fmla="*/ 284267 w 578910"/>
                <a:gd name="connsiteY465" fmla="*/ 1237676 h 1280234"/>
                <a:gd name="connsiteX466" fmla="*/ 313871 w 578910"/>
                <a:gd name="connsiteY466" fmla="*/ 1245274 h 1280234"/>
                <a:gd name="connsiteX467" fmla="*/ 315795 w 578910"/>
                <a:gd name="connsiteY467" fmla="*/ 1248333 h 1280234"/>
                <a:gd name="connsiteX468" fmla="*/ 325663 w 578910"/>
                <a:gd name="connsiteY468" fmla="*/ 1251343 h 1280234"/>
                <a:gd name="connsiteX469" fmla="*/ 337406 w 578910"/>
                <a:gd name="connsiteY469" fmla="*/ 1257412 h 1280234"/>
                <a:gd name="connsiteX470" fmla="*/ 343327 w 578910"/>
                <a:gd name="connsiteY470" fmla="*/ 1257412 h 1280234"/>
                <a:gd name="connsiteX471" fmla="*/ 357044 w 578910"/>
                <a:gd name="connsiteY471" fmla="*/ 1255882 h 1280234"/>
                <a:gd name="connsiteX472" fmla="*/ 364889 w 578910"/>
                <a:gd name="connsiteY472" fmla="*/ 1257412 h 1280234"/>
                <a:gd name="connsiteX473" fmla="*/ 364889 w 578910"/>
                <a:gd name="connsiteY473" fmla="*/ 1263481 h 1280234"/>
                <a:gd name="connsiteX474" fmla="*/ 355021 w 578910"/>
                <a:gd name="connsiteY474" fmla="*/ 1268020 h 1280234"/>
                <a:gd name="connsiteX475" fmla="*/ 351123 w 578910"/>
                <a:gd name="connsiteY475" fmla="*/ 1266540 h 1280234"/>
                <a:gd name="connsiteX476" fmla="*/ 343277 w 578910"/>
                <a:gd name="connsiteY476" fmla="*/ 1268020 h 1280234"/>
                <a:gd name="connsiteX477" fmla="*/ 343277 w 578910"/>
                <a:gd name="connsiteY477" fmla="*/ 1272609 h 1280234"/>
                <a:gd name="connsiteX478" fmla="*/ 337357 w 578910"/>
                <a:gd name="connsiteY478" fmla="*/ 1278677 h 1280234"/>
                <a:gd name="connsiteX479" fmla="*/ 329512 w 578910"/>
                <a:gd name="connsiteY479" fmla="*/ 1280207 h 1280234"/>
                <a:gd name="connsiteX480" fmla="*/ 319644 w 578910"/>
                <a:gd name="connsiteY480" fmla="*/ 1277148 h 1280234"/>
                <a:gd name="connsiteX481" fmla="*/ 311848 w 578910"/>
                <a:gd name="connsiteY481" fmla="*/ 1274089 h 1280234"/>
                <a:gd name="connsiteX482" fmla="*/ 298082 w 578910"/>
                <a:gd name="connsiteY482" fmla="*/ 1272609 h 1280234"/>
                <a:gd name="connsiteX483" fmla="*/ 270550 w 578910"/>
                <a:gd name="connsiteY483" fmla="*/ 1272609 h 1280234"/>
                <a:gd name="connsiteX484" fmla="*/ 260682 w 578910"/>
                <a:gd name="connsiteY484" fmla="*/ 1275618 h 1280234"/>
                <a:gd name="connsiteX485" fmla="*/ 254810 w 578910"/>
                <a:gd name="connsiteY485" fmla="*/ 1275618 h 1280234"/>
                <a:gd name="connsiteX486" fmla="*/ 250863 w 578910"/>
                <a:gd name="connsiteY486" fmla="*/ 1265010 h 1280234"/>
                <a:gd name="connsiteX487" fmla="*/ 268527 w 578910"/>
                <a:gd name="connsiteY487" fmla="*/ 1263481 h 1280234"/>
                <a:gd name="connsiteX488" fmla="*/ 278395 w 578910"/>
                <a:gd name="connsiteY488" fmla="*/ 1260422 h 1280234"/>
                <a:gd name="connsiteX489" fmla="*/ 284316 w 578910"/>
                <a:gd name="connsiteY489" fmla="*/ 1260422 h 1280234"/>
                <a:gd name="connsiteX490" fmla="*/ 284316 w 578910"/>
                <a:gd name="connsiteY490" fmla="*/ 1257412 h 1280234"/>
                <a:gd name="connsiteX491" fmla="*/ 276421 w 578910"/>
                <a:gd name="connsiteY491" fmla="*/ 1260422 h 1280234"/>
                <a:gd name="connsiteX492" fmla="*/ 266553 w 578910"/>
                <a:gd name="connsiteY492" fmla="*/ 1260422 h 1280234"/>
                <a:gd name="connsiteX493" fmla="*/ 252837 w 578910"/>
                <a:gd name="connsiteY493" fmla="*/ 1261951 h 1280234"/>
                <a:gd name="connsiteX494" fmla="*/ 250814 w 578910"/>
                <a:gd name="connsiteY494" fmla="*/ 1261951 h 1280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</a:cxnLst>
              <a:rect l="l" t="t" r="r" b="b"/>
              <a:pathLst>
                <a:path w="578910" h="1280234">
                  <a:moveTo>
                    <a:pt x="90162" y="30367"/>
                  </a:moveTo>
                  <a:lnTo>
                    <a:pt x="94060" y="25827"/>
                  </a:lnTo>
                  <a:lnTo>
                    <a:pt x="99980" y="13640"/>
                  </a:lnTo>
                  <a:lnTo>
                    <a:pt x="113697" y="1503"/>
                  </a:lnTo>
                  <a:lnTo>
                    <a:pt x="123565" y="-27"/>
                  </a:lnTo>
                  <a:lnTo>
                    <a:pt x="131410" y="6042"/>
                  </a:lnTo>
                  <a:lnTo>
                    <a:pt x="141278" y="4512"/>
                  </a:lnTo>
                  <a:lnTo>
                    <a:pt x="147199" y="4512"/>
                  </a:lnTo>
                  <a:lnTo>
                    <a:pt x="157067" y="6042"/>
                  </a:lnTo>
                  <a:lnTo>
                    <a:pt x="168859" y="2983"/>
                  </a:lnTo>
                  <a:lnTo>
                    <a:pt x="176705" y="4512"/>
                  </a:lnTo>
                  <a:lnTo>
                    <a:pt x="176705" y="12111"/>
                  </a:lnTo>
                  <a:lnTo>
                    <a:pt x="182576" y="25827"/>
                  </a:lnTo>
                  <a:lnTo>
                    <a:pt x="184550" y="28837"/>
                  </a:lnTo>
                  <a:lnTo>
                    <a:pt x="188447" y="25827"/>
                  </a:lnTo>
                  <a:lnTo>
                    <a:pt x="186523" y="19709"/>
                  </a:lnTo>
                  <a:lnTo>
                    <a:pt x="192346" y="13640"/>
                  </a:lnTo>
                  <a:lnTo>
                    <a:pt x="192346" y="7571"/>
                  </a:lnTo>
                  <a:lnTo>
                    <a:pt x="198266" y="1503"/>
                  </a:lnTo>
                  <a:lnTo>
                    <a:pt x="237492" y="1503"/>
                  </a:lnTo>
                  <a:lnTo>
                    <a:pt x="245337" y="7571"/>
                  </a:lnTo>
                  <a:lnTo>
                    <a:pt x="253182" y="13640"/>
                  </a:lnTo>
                  <a:lnTo>
                    <a:pt x="260978" y="15170"/>
                  </a:lnTo>
                  <a:lnTo>
                    <a:pt x="268823" y="30367"/>
                  </a:lnTo>
                  <a:lnTo>
                    <a:pt x="290385" y="50103"/>
                  </a:lnTo>
                  <a:lnTo>
                    <a:pt x="300253" y="50103"/>
                  </a:lnTo>
                  <a:lnTo>
                    <a:pt x="308098" y="57701"/>
                  </a:lnTo>
                  <a:lnTo>
                    <a:pt x="314019" y="63770"/>
                  </a:lnTo>
                  <a:lnTo>
                    <a:pt x="337505" y="68309"/>
                  </a:lnTo>
                  <a:lnTo>
                    <a:pt x="349297" y="75908"/>
                  </a:lnTo>
                  <a:lnTo>
                    <a:pt x="357142" y="77437"/>
                  </a:lnTo>
                  <a:lnTo>
                    <a:pt x="372833" y="88046"/>
                  </a:lnTo>
                  <a:lnTo>
                    <a:pt x="388473" y="94114"/>
                  </a:lnTo>
                  <a:lnTo>
                    <a:pt x="410085" y="97173"/>
                  </a:lnTo>
                  <a:lnTo>
                    <a:pt x="417929" y="106252"/>
                  </a:lnTo>
                  <a:lnTo>
                    <a:pt x="431646" y="113900"/>
                  </a:lnTo>
                  <a:lnTo>
                    <a:pt x="435544" y="119919"/>
                  </a:lnTo>
                  <a:lnTo>
                    <a:pt x="431646" y="129047"/>
                  </a:lnTo>
                  <a:lnTo>
                    <a:pt x="425775" y="135116"/>
                  </a:lnTo>
                  <a:lnTo>
                    <a:pt x="419903" y="139656"/>
                  </a:lnTo>
                  <a:lnTo>
                    <a:pt x="415956" y="144244"/>
                  </a:lnTo>
                  <a:lnTo>
                    <a:pt x="417929" y="151843"/>
                  </a:lnTo>
                  <a:lnTo>
                    <a:pt x="413982" y="162451"/>
                  </a:lnTo>
                  <a:lnTo>
                    <a:pt x="402239" y="171579"/>
                  </a:lnTo>
                  <a:lnTo>
                    <a:pt x="400266" y="180657"/>
                  </a:lnTo>
                  <a:lnTo>
                    <a:pt x="406137" y="180657"/>
                  </a:lnTo>
                  <a:lnTo>
                    <a:pt x="431646" y="174588"/>
                  </a:lnTo>
                  <a:lnTo>
                    <a:pt x="453208" y="182236"/>
                  </a:lnTo>
                  <a:lnTo>
                    <a:pt x="468898" y="189785"/>
                  </a:lnTo>
                  <a:lnTo>
                    <a:pt x="476743" y="186776"/>
                  </a:lnTo>
                  <a:lnTo>
                    <a:pt x="480691" y="186776"/>
                  </a:lnTo>
                  <a:lnTo>
                    <a:pt x="484588" y="189785"/>
                  </a:lnTo>
                  <a:lnTo>
                    <a:pt x="490509" y="182236"/>
                  </a:lnTo>
                  <a:lnTo>
                    <a:pt x="494407" y="180657"/>
                  </a:lnTo>
                  <a:lnTo>
                    <a:pt x="504275" y="182236"/>
                  </a:lnTo>
                  <a:lnTo>
                    <a:pt x="510196" y="174588"/>
                  </a:lnTo>
                  <a:lnTo>
                    <a:pt x="512170" y="167039"/>
                  </a:lnTo>
                  <a:lnTo>
                    <a:pt x="527811" y="157911"/>
                  </a:lnTo>
                  <a:lnTo>
                    <a:pt x="529784" y="151843"/>
                  </a:lnTo>
                  <a:lnTo>
                    <a:pt x="537629" y="142715"/>
                  </a:lnTo>
                  <a:lnTo>
                    <a:pt x="543501" y="138175"/>
                  </a:lnTo>
                  <a:lnTo>
                    <a:pt x="543501" y="115380"/>
                  </a:lnTo>
                  <a:lnTo>
                    <a:pt x="551346" y="110841"/>
                  </a:lnTo>
                  <a:lnTo>
                    <a:pt x="569010" y="112370"/>
                  </a:lnTo>
                  <a:lnTo>
                    <a:pt x="569010" y="118439"/>
                  </a:lnTo>
                  <a:lnTo>
                    <a:pt x="574881" y="132106"/>
                  </a:lnTo>
                  <a:lnTo>
                    <a:pt x="574881" y="142715"/>
                  </a:lnTo>
                  <a:lnTo>
                    <a:pt x="576855" y="154852"/>
                  </a:lnTo>
                  <a:lnTo>
                    <a:pt x="578829" y="165510"/>
                  </a:lnTo>
                  <a:lnTo>
                    <a:pt x="576855" y="170049"/>
                  </a:lnTo>
                  <a:lnTo>
                    <a:pt x="569010" y="170049"/>
                  </a:lnTo>
                  <a:lnTo>
                    <a:pt x="559142" y="173059"/>
                  </a:lnTo>
                  <a:lnTo>
                    <a:pt x="557119" y="176118"/>
                  </a:lnTo>
                  <a:lnTo>
                    <a:pt x="553221" y="180657"/>
                  </a:lnTo>
                  <a:lnTo>
                    <a:pt x="551247" y="179128"/>
                  </a:lnTo>
                  <a:lnTo>
                    <a:pt x="535557" y="188256"/>
                  </a:lnTo>
                  <a:lnTo>
                    <a:pt x="533633" y="191315"/>
                  </a:lnTo>
                  <a:lnTo>
                    <a:pt x="525738" y="192795"/>
                  </a:lnTo>
                  <a:lnTo>
                    <a:pt x="513995" y="201923"/>
                  </a:lnTo>
                  <a:lnTo>
                    <a:pt x="510097" y="204982"/>
                  </a:lnTo>
                  <a:lnTo>
                    <a:pt x="508124" y="211051"/>
                  </a:lnTo>
                  <a:lnTo>
                    <a:pt x="504177" y="212531"/>
                  </a:lnTo>
                  <a:lnTo>
                    <a:pt x="500279" y="212531"/>
                  </a:lnTo>
                  <a:lnTo>
                    <a:pt x="486513" y="223189"/>
                  </a:lnTo>
                  <a:lnTo>
                    <a:pt x="484588" y="227728"/>
                  </a:lnTo>
                  <a:lnTo>
                    <a:pt x="486513" y="235376"/>
                  </a:lnTo>
                  <a:lnTo>
                    <a:pt x="480691" y="236856"/>
                  </a:lnTo>
                  <a:lnTo>
                    <a:pt x="478717" y="241395"/>
                  </a:lnTo>
                  <a:lnTo>
                    <a:pt x="470872" y="252053"/>
                  </a:lnTo>
                  <a:lnTo>
                    <a:pt x="466924" y="255112"/>
                  </a:lnTo>
                  <a:lnTo>
                    <a:pt x="459079" y="265671"/>
                  </a:lnTo>
                  <a:lnTo>
                    <a:pt x="459079" y="268779"/>
                  </a:lnTo>
                  <a:lnTo>
                    <a:pt x="453208" y="271789"/>
                  </a:lnTo>
                  <a:lnTo>
                    <a:pt x="451284" y="276328"/>
                  </a:lnTo>
                  <a:lnTo>
                    <a:pt x="447336" y="283927"/>
                  </a:lnTo>
                  <a:lnTo>
                    <a:pt x="441465" y="289996"/>
                  </a:lnTo>
                  <a:lnTo>
                    <a:pt x="443439" y="300604"/>
                  </a:lnTo>
                  <a:lnTo>
                    <a:pt x="441465" y="303663"/>
                  </a:lnTo>
                  <a:lnTo>
                    <a:pt x="443439" y="311261"/>
                  </a:lnTo>
                  <a:lnTo>
                    <a:pt x="441465" y="323448"/>
                  </a:lnTo>
                  <a:lnTo>
                    <a:pt x="439491" y="327987"/>
                  </a:lnTo>
                  <a:lnTo>
                    <a:pt x="439491" y="334007"/>
                  </a:lnTo>
                  <a:lnTo>
                    <a:pt x="435544" y="341655"/>
                  </a:lnTo>
                  <a:lnTo>
                    <a:pt x="439491" y="350734"/>
                  </a:lnTo>
                  <a:lnTo>
                    <a:pt x="437518" y="353793"/>
                  </a:lnTo>
                  <a:lnTo>
                    <a:pt x="439491" y="367411"/>
                  </a:lnTo>
                  <a:lnTo>
                    <a:pt x="441465" y="376588"/>
                  </a:lnTo>
                  <a:lnTo>
                    <a:pt x="439491" y="381127"/>
                  </a:lnTo>
                  <a:lnTo>
                    <a:pt x="433620" y="385667"/>
                  </a:lnTo>
                  <a:lnTo>
                    <a:pt x="433620" y="390206"/>
                  </a:lnTo>
                  <a:lnTo>
                    <a:pt x="433620" y="390206"/>
                  </a:lnTo>
                  <a:lnTo>
                    <a:pt x="431646" y="400863"/>
                  </a:lnTo>
                  <a:lnTo>
                    <a:pt x="433620" y="411471"/>
                  </a:lnTo>
                  <a:lnTo>
                    <a:pt x="431646" y="416060"/>
                  </a:lnTo>
                  <a:lnTo>
                    <a:pt x="437518" y="420599"/>
                  </a:lnTo>
                  <a:lnTo>
                    <a:pt x="437518" y="425139"/>
                  </a:lnTo>
                  <a:lnTo>
                    <a:pt x="435544" y="428198"/>
                  </a:lnTo>
                  <a:lnTo>
                    <a:pt x="437518" y="432737"/>
                  </a:lnTo>
                  <a:lnTo>
                    <a:pt x="453208" y="443394"/>
                  </a:lnTo>
                  <a:lnTo>
                    <a:pt x="468898" y="447934"/>
                  </a:lnTo>
                  <a:lnTo>
                    <a:pt x="486513" y="460072"/>
                  </a:lnTo>
                  <a:lnTo>
                    <a:pt x="490509" y="464660"/>
                  </a:lnTo>
                  <a:lnTo>
                    <a:pt x="490509" y="472210"/>
                  </a:lnTo>
                  <a:lnTo>
                    <a:pt x="480641" y="485876"/>
                  </a:lnTo>
                  <a:lnTo>
                    <a:pt x="480641" y="490416"/>
                  </a:lnTo>
                  <a:lnTo>
                    <a:pt x="486463" y="499544"/>
                  </a:lnTo>
                  <a:lnTo>
                    <a:pt x="494358" y="505613"/>
                  </a:lnTo>
                  <a:lnTo>
                    <a:pt x="504226" y="505613"/>
                  </a:lnTo>
                  <a:lnTo>
                    <a:pt x="508173" y="501074"/>
                  </a:lnTo>
                  <a:lnTo>
                    <a:pt x="510147" y="501074"/>
                  </a:lnTo>
                  <a:lnTo>
                    <a:pt x="512120" y="505613"/>
                  </a:lnTo>
                  <a:lnTo>
                    <a:pt x="512120" y="520711"/>
                  </a:lnTo>
                  <a:lnTo>
                    <a:pt x="510147" y="525251"/>
                  </a:lnTo>
                  <a:lnTo>
                    <a:pt x="504226" y="534378"/>
                  </a:lnTo>
                  <a:lnTo>
                    <a:pt x="500328" y="543457"/>
                  </a:lnTo>
                  <a:lnTo>
                    <a:pt x="496381" y="548046"/>
                  </a:lnTo>
                  <a:lnTo>
                    <a:pt x="496381" y="543457"/>
                  </a:lnTo>
                  <a:lnTo>
                    <a:pt x="492483" y="548046"/>
                  </a:lnTo>
                  <a:lnTo>
                    <a:pt x="490559" y="555644"/>
                  </a:lnTo>
                  <a:lnTo>
                    <a:pt x="492483" y="563242"/>
                  </a:lnTo>
                  <a:lnTo>
                    <a:pt x="488535" y="569311"/>
                  </a:lnTo>
                  <a:lnTo>
                    <a:pt x="470921" y="579919"/>
                  </a:lnTo>
                  <a:lnTo>
                    <a:pt x="453257" y="584508"/>
                  </a:lnTo>
                  <a:lnTo>
                    <a:pt x="451333" y="581449"/>
                  </a:lnTo>
                  <a:lnTo>
                    <a:pt x="451333" y="584508"/>
                  </a:lnTo>
                  <a:lnTo>
                    <a:pt x="427748" y="592057"/>
                  </a:lnTo>
                  <a:lnTo>
                    <a:pt x="404262" y="599656"/>
                  </a:lnTo>
                  <a:lnTo>
                    <a:pt x="388523" y="599656"/>
                  </a:lnTo>
                  <a:lnTo>
                    <a:pt x="376780" y="596597"/>
                  </a:lnTo>
                  <a:lnTo>
                    <a:pt x="366912" y="599656"/>
                  </a:lnTo>
                  <a:lnTo>
                    <a:pt x="357044" y="599656"/>
                  </a:lnTo>
                  <a:lnTo>
                    <a:pt x="349198" y="593587"/>
                  </a:lnTo>
                  <a:lnTo>
                    <a:pt x="339330" y="592057"/>
                  </a:lnTo>
                  <a:lnTo>
                    <a:pt x="335433" y="592057"/>
                  </a:lnTo>
                  <a:lnTo>
                    <a:pt x="333459" y="587518"/>
                  </a:lnTo>
                  <a:lnTo>
                    <a:pt x="329512" y="590577"/>
                  </a:lnTo>
                  <a:lnTo>
                    <a:pt x="329512" y="595116"/>
                  </a:lnTo>
                  <a:lnTo>
                    <a:pt x="331485" y="599656"/>
                  </a:lnTo>
                  <a:lnTo>
                    <a:pt x="331485" y="610313"/>
                  </a:lnTo>
                  <a:lnTo>
                    <a:pt x="335433" y="613323"/>
                  </a:lnTo>
                  <a:lnTo>
                    <a:pt x="335433" y="616382"/>
                  </a:lnTo>
                  <a:lnTo>
                    <a:pt x="339330" y="617911"/>
                  </a:lnTo>
                  <a:lnTo>
                    <a:pt x="341304" y="622451"/>
                  </a:lnTo>
                  <a:lnTo>
                    <a:pt x="341304" y="628520"/>
                  </a:lnTo>
                  <a:lnTo>
                    <a:pt x="337357" y="628520"/>
                  </a:lnTo>
                  <a:lnTo>
                    <a:pt x="337357" y="630049"/>
                  </a:lnTo>
                  <a:lnTo>
                    <a:pt x="331485" y="636118"/>
                  </a:lnTo>
                  <a:lnTo>
                    <a:pt x="333459" y="637647"/>
                  </a:lnTo>
                  <a:lnTo>
                    <a:pt x="331485" y="642187"/>
                  </a:lnTo>
                  <a:lnTo>
                    <a:pt x="331485" y="648256"/>
                  </a:lnTo>
                  <a:lnTo>
                    <a:pt x="335433" y="655854"/>
                  </a:lnTo>
                  <a:lnTo>
                    <a:pt x="341304" y="655854"/>
                  </a:lnTo>
                  <a:lnTo>
                    <a:pt x="339330" y="661923"/>
                  </a:lnTo>
                  <a:lnTo>
                    <a:pt x="337357" y="664933"/>
                  </a:lnTo>
                  <a:lnTo>
                    <a:pt x="339330" y="667992"/>
                  </a:lnTo>
                  <a:lnTo>
                    <a:pt x="337357" y="674061"/>
                  </a:lnTo>
                  <a:lnTo>
                    <a:pt x="329512" y="680130"/>
                  </a:lnTo>
                  <a:lnTo>
                    <a:pt x="331485" y="683189"/>
                  </a:lnTo>
                  <a:lnTo>
                    <a:pt x="317769" y="689258"/>
                  </a:lnTo>
                  <a:lnTo>
                    <a:pt x="298032" y="689258"/>
                  </a:lnTo>
                  <a:lnTo>
                    <a:pt x="286289" y="687777"/>
                  </a:lnTo>
                  <a:lnTo>
                    <a:pt x="274546" y="677120"/>
                  </a:lnTo>
                  <a:lnTo>
                    <a:pt x="260781" y="674061"/>
                  </a:lnTo>
                  <a:lnTo>
                    <a:pt x="250912" y="674061"/>
                  </a:lnTo>
                  <a:lnTo>
                    <a:pt x="248988" y="672581"/>
                  </a:lnTo>
                  <a:lnTo>
                    <a:pt x="250912" y="669522"/>
                  </a:lnTo>
                  <a:lnTo>
                    <a:pt x="246867" y="669522"/>
                  </a:lnTo>
                  <a:lnTo>
                    <a:pt x="239021" y="675590"/>
                  </a:lnTo>
                  <a:lnTo>
                    <a:pt x="239021" y="687777"/>
                  </a:lnTo>
                  <a:lnTo>
                    <a:pt x="246867" y="693797"/>
                  </a:lnTo>
                  <a:lnTo>
                    <a:pt x="248840" y="705984"/>
                  </a:lnTo>
                  <a:lnTo>
                    <a:pt x="248840" y="719602"/>
                  </a:lnTo>
                  <a:lnTo>
                    <a:pt x="250764" y="724191"/>
                  </a:lnTo>
                  <a:lnTo>
                    <a:pt x="260632" y="728730"/>
                  </a:lnTo>
                  <a:lnTo>
                    <a:pt x="270500" y="727250"/>
                  </a:lnTo>
                  <a:lnTo>
                    <a:pt x="274448" y="728730"/>
                  </a:lnTo>
                  <a:lnTo>
                    <a:pt x="270500" y="733269"/>
                  </a:lnTo>
                  <a:lnTo>
                    <a:pt x="268527" y="734799"/>
                  </a:lnTo>
                  <a:lnTo>
                    <a:pt x="272474" y="736328"/>
                  </a:lnTo>
                  <a:lnTo>
                    <a:pt x="284267" y="734799"/>
                  </a:lnTo>
                  <a:lnTo>
                    <a:pt x="284267" y="728730"/>
                  </a:lnTo>
                  <a:lnTo>
                    <a:pt x="280319" y="728730"/>
                  </a:lnTo>
                  <a:lnTo>
                    <a:pt x="276372" y="727250"/>
                  </a:lnTo>
                  <a:lnTo>
                    <a:pt x="280319" y="724191"/>
                  </a:lnTo>
                  <a:lnTo>
                    <a:pt x="286339" y="724191"/>
                  </a:lnTo>
                  <a:lnTo>
                    <a:pt x="294184" y="721132"/>
                  </a:lnTo>
                  <a:lnTo>
                    <a:pt x="300056" y="721132"/>
                  </a:lnTo>
                  <a:lnTo>
                    <a:pt x="304003" y="727250"/>
                  </a:lnTo>
                  <a:lnTo>
                    <a:pt x="302029" y="734799"/>
                  </a:lnTo>
                  <a:lnTo>
                    <a:pt x="300056" y="736328"/>
                  </a:lnTo>
                  <a:lnTo>
                    <a:pt x="304003" y="740917"/>
                  </a:lnTo>
                  <a:lnTo>
                    <a:pt x="307901" y="746986"/>
                  </a:lnTo>
                  <a:lnTo>
                    <a:pt x="305976" y="751525"/>
                  </a:lnTo>
                  <a:lnTo>
                    <a:pt x="290237" y="760653"/>
                  </a:lnTo>
                  <a:lnTo>
                    <a:pt x="286339" y="759123"/>
                  </a:lnTo>
                  <a:lnTo>
                    <a:pt x="282441" y="751525"/>
                  </a:lnTo>
                  <a:lnTo>
                    <a:pt x="284414" y="748466"/>
                  </a:lnTo>
                  <a:lnTo>
                    <a:pt x="284414" y="745457"/>
                  </a:lnTo>
                  <a:lnTo>
                    <a:pt x="276471" y="742743"/>
                  </a:lnTo>
                  <a:lnTo>
                    <a:pt x="266603" y="744272"/>
                  </a:lnTo>
                  <a:lnTo>
                    <a:pt x="260682" y="748811"/>
                  </a:lnTo>
                  <a:lnTo>
                    <a:pt x="256784" y="751870"/>
                  </a:lnTo>
                  <a:lnTo>
                    <a:pt x="262705" y="756410"/>
                  </a:lnTo>
                  <a:lnTo>
                    <a:pt x="268527" y="756410"/>
                  </a:lnTo>
                  <a:lnTo>
                    <a:pt x="278395" y="760998"/>
                  </a:lnTo>
                  <a:lnTo>
                    <a:pt x="278395" y="764009"/>
                  </a:lnTo>
                  <a:lnTo>
                    <a:pt x="272524" y="770077"/>
                  </a:lnTo>
                  <a:lnTo>
                    <a:pt x="260731" y="773136"/>
                  </a:lnTo>
                  <a:lnTo>
                    <a:pt x="254860" y="776196"/>
                  </a:lnTo>
                  <a:lnTo>
                    <a:pt x="260731" y="779205"/>
                  </a:lnTo>
                  <a:lnTo>
                    <a:pt x="254860" y="785274"/>
                  </a:lnTo>
                  <a:lnTo>
                    <a:pt x="250912" y="791343"/>
                  </a:lnTo>
                  <a:lnTo>
                    <a:pt x="252935" y="797411"/>
                  </a:lnTo>
                  <a:lnTo>
                    <a:pt x="254860" y="801951"/>
                  </a:lnTo>
                  <a:lnTo>
                    <a:pt x="254860" y="805010"/>
                  </a:lnTo>
                  <a:lnTo>
                    <a:pt x="252935" y="811079"/>
                  </a:lnTo>
                  <a:lnTo>
                    <a:pt x="262803" y="817148"/>
                  </a:lnTo>
                  <a:lnTo>
                    <a:pt x="262803" y="820207"/>
                  </a:lnTo>
                  <a:lnTo>
                    <a:pt x="260781" y="824746"/>
                  </a:lnTo>
                  <a:lnTo>
                    <a:pt x="262803" y="826276"/>
                  </a:lnTo>
                  <a:lnTo>
                    <a:pt x="250962" y="830815"/>
                  </a:lnTo>
                  <a:lnTo>
                    <a:pt x="249038" y="835355"/>
                  </a:lnTo>
                  <a:lnTo>
                    <a:pt x="249038" y="839893"/>
                  </a:lnTo>
                  <a:lnTo>
                    <a:pt x="254909" y="841423"/>
                  </a:lnTo>
                  <a:lnTo>
                    <a:pt x="260781" y="844482"/>
                  </a:lnTo>
                  <a:lnTo>
                    <a:pt x="256883" y="847541"/>
                  </a:lnTo>
                  <a:lnTo>
                    <a:pt x="247015" y="849071"/>
                  </a:lnTo>
                  <a:lnTo>
                    <a:pt x="241143" y="847541"/>
                  </a:lnTo>
                  <a:lnTo>
                    <a:pt x="231275" y="849071"/>
                  </a:lnTo>
                  <a:lnTo>
                    <a:pt x="225404" y="855091"/>
                  </a:lnTo>
                  <a:lnTo>
                    <a:pt x="215536" y="856620"/>
                  </a:lnTo>
                  <a:lnTo>
                    <a:pt x="209615" y="861209"/>
                  </a:lnTo>
                  <a:lnTo>
                    <a:pt x="205717" y="864219"/>
                  </a:lnTo>
                  <a:lnTo>
                    <a:pt x="201769" y="870287"/>
                  </a:lnTo>
                  <a:lnTo>
                    <a:pt x="199796" y="876356"/>
                  </a:lnTo>
                  <a:lnTo>
                    <a:pt x="191951" y="880945"/>
                  </a:lnTo>
                  <a:lnTo>
                    <a:pt x="191951" y="883955"/>
                  </a:lnTo>
                  <a:lnTo>
                    <a:pt x="195898" y="890023"/>
                  </a:lnTo>
                  <a:lnTo>
                    <a:pt x="195898" y="897671"/>
                  </a:lnTo>
                  <a:lnTo>
                    <a:pt x="203743" y="906750"/>
                  </a:lnTo>
                  <a:lnTo>
                    <a:pt x="209615" y="912819"/>
                  </a:lnTo>
                  <a:lnTo>
                    <a:pt x="215536" y="912819"/>
                  </a:lnTo>
                  <a:lnTo>
                    <a:pt x="225404" y="921946"/>
                  </a:lnTo>
                  <a:lnTo>
                    <a:pt x="239120" y="932555"/>
                  </a:lnTo>
                  <a:lnTo>
                    <a:pt x="250863" y="931026"/>
                  </a:lnTo>
                  <a:lnTo>
                    <a:pt x="260731" y="931026"/>
                  </a:lnTo>
                  <a:lnTo>
                    <a:pt x="266652" y="932555"/>
                  </a:lnTo>
                  <a:lnTo>
                    <a:pt x="268576" y="935614"/>
                  </a:lnTo>
                  <a:lnTo>
                    <a:pt x="266652" y="937094"/>
                  </a:lnTo>
                  <a:lnTo>
                    <a:pt x="266652" y="940153"/>
                  </a:lnTo>
                  <a:lnTo>
                    <a:pt x="270550" y="949281"/>
                  </a:lnTo>
                  <a:lnTo>
                    <a:pt x="270550" y="953821"/>
                  </a:lnTo>
                  <a:lnTo>
                    <a:pt x="264678" y="958360"/>
                  </a:lnTo>
                  <a:lnTo>
                    <a:pt x="268576" y="958360"/>
                  </a:lnTo>
                  <a:lnTo>
                    <a:pt x="274497" y="962899"/>
                  </a:lnTo>
                  <a:lnTo>
                    <a:pt x="270550" y="965958"/>
                  </a:lnTo>
                  <a:lnTo>
                    <a:pt x="270550" y="973557"/>
                  </a:lnTo>
                  <a:lnTo>
                    <a:pt x="264678" y="978096"/>
                  </a:lnTo>
                  <a:lnTo>
                    <a:pt x="260731" y="981155"/>
                  </a:lnTo>
                  <a:lnTo>
                    <a:pt x="256833" y="985744"/>
                  </a:lnTo>
                  <a:lnTo>
                    <a:pt x="252935" y="985744"/>
                  </a:lnTo>
                  <a:lnTo>
                    <a:pt x="248988" y="991763"/>
                  </a:lnTo>
                  <a:lnTo>
                    <a:pt x="247015" y="1000891"/>
                  </a:lnTo>
                  <a:lnTo>
                    <a:pt x="239169" y="1000891"/>
                  </a:lnTo>
                  <a:lnTo>
                    <a:pt x="231324" y="1006960"/>
                  </a:lnTo>
                  <a:lnTo>
                    <a:pt x="231324" y="1013029"/>
                  </a:lnTo>
                  <a:lnTo>
                    <a:pt x="227426" y="1022157"/>
                  </a:lnTo>
                  <a:lnTo>
                    <a:pt x="219581" y="1026697"/>
                  </a:lnTo>
                  <a:lnTo>
                    <a:pt x="219581" y="1029706"/>
                  </a:lnTo>
                  <a:lnTo>
                    <a:pt x="221506" y="1028226"/>
                  </a:lnTo>
                  <a:lnTo>
                    <a:pt x="229351" y="1029706"/>
                  </a:lnTo>
                  <a:lnTo>
                    <a:pt x="231324" y="1037354"/>
                  </a:lnTo>
                  <a:lnTo>
                    <a:pt x="229351" y="1041893"/>
                  </a:lnTo>
                  <a:lnTo>
                    <a:pt x="221506" y="1049442"/>
                  </a:lnTo>
                  <a:lnTo>
                    <a:pt x="219581" y="1054031"/>
                  </a:lnTo>
                  <a:lnTo>
                    <a:pt x="213710" y="1060099"/>
                  </a:lnTo>
                  <a:lnTo>
                    <a:pt x="207789" y="1058620"/>
                  </a:lnTo>
                  <a:lnTo>
                    <a:pt x="203891" y="1054031"/>
                  </a:lnTo>
                  <a:lnTo>
                    <a:pt x="199944" y="1052501"/>
                  </a:lnTo>
                  <a:lnTo>
                    <a:pt x="201918" y="1055561"/>
                  </a:lnTo>
                  <a:lnTo>
                    <a:pt x="201918" y="1060099"/>
                  </a:lnTo>
                  <a:lnTo>
                    <a:pt x="203891" y="1063159"/>
                  </a:lnTo>
                  <a:lnTo>
                    <a:pt x="201918" y="1067698"/>
                  </a:lnTo>
                  <a:lnTo>
                    <a:pt x="194122" y="1075297"/>
                  </a:lnTo>
                  <a:lnTo>
                    <a:pt x="188201" y="1084375"/>
                  </a:lnTo>
                  <a:lnTo>
                    <a:pt x="188201" y="1093059"/>
                  </a:lnTo>
                  <a:lnTo>
                    <a:pt x="198069" y="1103717"/>
                  </a:lnTo>
                  <a:lnTo>
                    <a:pt x="203940" y="1117335"/>
                  </a:lnTo>
                  <a:lnTo>
                    <a:pt x="203940" y="1120394"/>
                  </a:lnTo>
                  <a:lnTo>
                    <a:pt x="205914" y="1121923"/>
                  </a:lnTo>
                  <a:lnTo>
                    <a:pt x="203940" y="1124982"/>
                  </a:lnTo>
                  <a:lnTo>
                    <a:pt x="198069" y="1129522"/>
                  </a:lnTo>
                  <a:lnTo>
                    <a:pt x="201967" y="1132531"/>
                  </a:lnTo>
                  <a:lnTo>
                    <a:pt x="205914" y="1131051"/>
                  </a:lnTo>
                  <a:lnTo>
                    <a:pt x="211786" y="1137071"/>
                  </a:lnTo>
                  <a:lnTo>
                    <a:pt x="213759" y="1141659"/>
                  </a:lnTo>
                  <a:lnTo>
                    <a:pt x="227476" y="1147728"/>
                  </a:lnTo>
                  <a:lnTo>
                    <a:pt x="233347" y="1153797"/>
                  </a:lnTo>
                  <a:lnTo>
                    <a:pt x="235321" y="1159916"/>
                  </a:lnTo>
                  <a:lnTo>
                    <a:pt x="231374" y="1159916"/>
                  </a:lnTo>
                  <a:lnTo>
                    <a:pt x="221506" y="1156856"/>
                  </a:lnTo>
                  <a:lnTo>
                    <a:pt x="211637" y="1147728"/>
                  </a:lnTo>
                  <a:lnTo>
                    <a:pt x="203793" y="1146199"/>
                  </a:lnTo>
                  <a:lnTo>
                    <a:pt x="201819" y="1144718"/>
                  </a:lnTo>
                  <a:lnTo>
                    <a:pt x="156722" y="1144718"/>
                  </a:lnTo>
                  <a:lnTo>
                    <a:pt x="129288" y="1147728"/>
                  </a:lnTo>
                  <a:lnTo>
                    <a:pt x="125391" y="1144718"/>
                  </a:lnTo>
                  <a:lnTo>
                    <a:pt x="105654" y="1144718"/>
                  </a:lnTo>
                  <a:lnTo>
                    <a:pt x="99783" y="1132531"/>
                  </a:lnTo>
                  <a:lnTo>
                    <a:pt x="97809" y="1120394"/>
                  </a:lnTo>
                  <a:lnTo>
                    <a:pt x="89964" y="1114325"/>
                  </a:lnTo>
                  <a:lnTo>
                    <a:pt x="87991" y="1096118"/>
                  </a:lnTo>
                  <a:lnTo>
                    <a:pt x="87991" y="1088520"/>
                  </a:lnTo>
                  <a:lnTo>
                    <a:pt x="78122" y="1088520"/>
                  </a:lnTo>
                  <a:lnTo>
                    <a:pt x="68254" y="1093059"/>
                  </a:lnTo>
                  <a:lnTo>
                    <a:pt x="62334" y="1100658"/>
                  </a:lnTo>
                  <a:lnTo>
                    <a:pt x="54538" y="1100658"/>
                  </a:lnTo>
                  <a:lnTo>
                    <a:pt x="38848" y="1071843"/>
                  </a:lnTo>
                  <a:lnTo>
                    <a:pt x="34900" y="1062715"/>
                  </a:lnTo>
                  <a:lnTo>
                    <a:pt x="40772" y="1035380"/>
                  </a:lnTo>
                  <a:lnTo>
                    <a:pt x="46693" y="1026252"/>
                  </a:lnTo>
                  <a:lnTo>
                    <a:pt x="60409" y="1014115"/>
                  </a:lnTo>
                  <a:lnTo>
                    <a:pt x="64307" y="998918"/>
                  </a:lnTo>
                  <a:lnTo>
                    <a:pt x="60409" y="982241"/>
                  </a:lnTo>
                  <a:lnTo>
                    <a:pt x="56511" y="971583"/>
                  </a:lnTo>
                  <a:lnTo>
                    <a:pt x="58436" y="956387"/>
                  </a:lnTo>
                  <a:lnTo>
                    <a:pt x="66281" y="948837"/>
                  </a:lnTo>
                  <a:lnTo>
                    <a:pt x="60409" y="933640"/>
                  </a:lnTo>
                  <a:lnTo>
                    <a:pt x="60409" y="927522"/>
                  </a:lnTo>
                  <a:lnTo>
                    <a:pt x="66281" y="921503"/>
                  </a:lnTo>
                  <a:lnTo>
                    <a:pt x="62334" y="907786"/>
                  </a:lnTo>
                  <a:lnTo>
                    <a:pt x="60409" y="892639"/>
                  </a:lnTo>
                  <a:lnTo>
                    <a:pt x="56511" y="883511"/>
                  </a:lnTo>
                  <a:lnTo>
                    <a:pt x="56511" y="877442"/>
                  </a:lnTo>
                  <a:lnTo>
                    <a:pt x="64307" y="869843"/>
                  </a:lnTo>
                  <a:lnTo>
                    <a:pt x="64307" y="863775"/>
                  </a:lnTo>
                  <a:lnTo>
                    <a:pt x="58436" y="851636"/>
                  </a:lnTo>
                  <a:lnTo>
                    <a:pt x="44719" y="845568"/>
                  </a:lnTo>
                  <a:lnTo>
                    <a:pt x="36874" y="845568"/>
                  </a:lnTo>
                  <a:lnTo>
                    <a:pt x="34900" y="847098"/>
                  </a:lnTo>
                  <a:lnTo>
                    <a:pt x="31003" y="842509"/>
                  </a:lnTo>
                  <a:lnTo>
                    <a:pt x="32927" y="837970"/>
                  </a:lnTo>
                  <a:lnTo>
                    <a:pt x="48666" y="837970"/>
                  </a:lnTo>
                  <a:lnTo>
                    <a:pt x="58535" y="828891"/>
                  </a:lnTo>
                  <a:lnTo>
                    <a:pt x="58535" y="822773"/>
                  </a:lnTo>
                  <a:lnTo>
                    <a:pt x="50689" y="821243"/>
                  </a:lnTo>
                  <a:lnTo>
                    <a:pt x="46791" y="824302"/>
                  </a:lnTo>
                  <a:lnTo>
                    <a:pt x="40871" y="822773"/>
                  </a:lnTo>
                  <a:lnTo>
                    <a:pt x="36973" y="807576"/>
                  </a:lnTo>
                  <a:lnTo>
                    <a:pt x="31101" y="795487"/>
                  </a:lnTo>
                  <a:lnTo>
                    <a:pt x="29128" y="787840"/>
                  </a:lnTo>
                  <a:lnTo>
                    <a:pt x="31101" y="775751"/>
                  </a:lnTo>
                  <a:lnTo>
                    <a:pt x="19309" y="772692"/>
                  </a:lnTo>
                  <a:lnTo>
                    <a:pt x="15411" y="765094"/>
                  </a:lnTo>
                  <a:lnTo>
                    <a:pt x="13437" y="740818"/>
                  </a:lnTo>
                  <a:lnTo>
                    <a:pt x="23305" y="736230"/>
                  </a:lnTo>
                  <a:lnTo>
                    <a:pt x="25328" y="727151"/>
                  </a:lnTo>
                  <a:lnTo>
                    <a:pt x="21381" y="721033"/>
                  </a:lnTo>
                  <a:lnTo>
                    <a:pt x="13536" y="719503"/>
                  </a:lnTo>
                  <a:lnTo>
                    <a:pt x="9638" y="705886"/>
                  </a:lnTo>
                  <a:lnTo>
                    <a:pt x="9638" y="684620"/>
                  </a:lnTo>
                  <a:lnTo>
                    <a:pt x="11562" y="661824"/>
                  </a:lnTo>
                  <a:lnTo>
                    <a:pt x="3717" y="652746"/>
                  </a:lnTo>
                  <a:lnTo>
                    <a:pt x="3717" y="640559"/>
                  </a:lnTo>
                  <a:lnTo>
                    <a:pt x="15510" y="626892"/>
                  </a:lnTo>
                  <a:lnTo>
                    <a:pt x="19408" y="608685"/>
                  </a:lnTo>
                  <a:lnTo>
                    <a:pt x="29276" y="605675"/>
                  </a:lnTo>
                  <a:lnTo>
                    <a:pt x="33173" y="599557"/>
                  </a:lnTo>
                  <a:lnTo>
                    <a:pt x="11612" y="563144"/>
                  </a:lnTo>
                  <a:lnTo>
                    <a:pt x="13585" y="551006"/>
                  </a:lnTo>
                  <a:lnTo>
                    <a:pt x="13585" y="522142"/>
                  </a:lnTo>
                  <a:lnTo>
                    <a:pt x="23453" y="508425"/>
                  </a:lnTo>
                  <a:lnTo>
                    <a:pt x="31348" y="500876"/>
                  </a:lnTo>
                  <a:lnTo>
                    <a:pt x="29374" y="488739"/>
                  </a:lnTo>
                  <a:lnTo>
                    <a:pt x="21529" y="479611"/>
                  </a:lnTo>
                  <a:lnTo>
                    <a:pt x="15658" y="475071"/>
                  </a:lnTo>
                  <a:lnTo>
                    <a:pt x="25526" y="464463"/>
                  </a:lnTo>
                  <a:lnTo>
                    <a:pt x="23503" y="452276"/>
                  </a:lnTo>
                  <a:lnTo>
                    <a:pt x="29424" y="441668"/>
                  </a:lnTo>
                  <a:lnTo>
                    <a:pt x="35295" y="437079"/>
                  </a:lnTo>
                  <a:lnTo>
                    <a:pt x="37269" y="423412"/>
                  </a:lnTo>
                  <a:lnTo>
                    <a:pt x="35295" y="399136"/>
                  </a:lnTo>
                  <a:lnTo>
                    <a:pt x="29424" y="396127"/>
                  </a:lnTo>
                  <a:lnTo>
                    <a:pt x="25526" y="377871"/>
                  </a:lnTo>
                  <a:lnTo>
                    <a:pt x="19605" y="368743"/>
                  </a:lnTo>
                  <a:lnTo>
                    <a:pt x="9737" y="356654"/>
                  </a:lnTo>
                  <a:lnTo>
                    <a:pt x="9737" y="350536"/>
                  </a:lnTo>
                  <a:lnTo>
                    <a:pt x="1892" y="342938"/>
                  </a:lnTo>
                  <a:lnTo>
                    <a:pt x="-82" y="327790"/>
                  </a:lnTo>
                  <a:lnTo>
                    <a:pt x="1892" y="317133"/>
                  </a:lnTo>
                  <a:lnTo>
                    <a:pt x="9737" y="312593"/>
                  </a:lnTo>
                  <a:lnTo>
                    <a:pt x="11661" y="297397"/>
                  </a:lnTo>
                  <a:lnTo>
                    <a:pt x="15608" y="291328"/>
                  </a:lnTo>
                  <a:lnTo>
                    <a:pt x="19506" y="276131"/>
                  </a:lnTo>
                  <a:lnTo>
                    <a:pt x="9638" y="267052"/>
                  </a:lnTo>
                  <a:lnTo>
                    <a:pt x="9638" y="247316"/>
                  </a:lnTo>
                  <a:lnTo>
                    <a:pt x="13536" y="242777"/>
                  </a:lnTo>
                  <a:lnTo>
                    <a:pt x="19408" y="220031"/>
                  </a:lnTo>
                  <a:lnTo>
                    <a:pt x="25328" y="212383"/>
                  </a:lnTo>
                  <a:lnTo>
                    <a:pt x="33124" y="192647"/>
                  </a:lnTo>
                  <a:lnTo>
                    <a:pt x="42992" y="183568"/>
                  </a:lnTo>
                  <a:lnTo>
                    <a:pt x="48913" y="180509"/>
                  </a:lnTo>
                  <a:lnTo>
                    <a:pt x="56758" y="174441"/>
                  </a:lnTo>
                  <a:lnTo>
                    <a:pt x="50837" y="171431"/>
                  </a:lnTo>
                  <a:lnTo>
                    <a:pt x="50837" y="163832"/>
                  </a:lnTo>
                  <a:lnTo>
                    <a:pt x="48913" y="159244"/>
                  </a:lnTo>
                  <a:lnTo>
                    <a:pt x="44966" y="156234"/>
                  </a:lnTo>
                  <a:lnTo>
                    <a:pt x="44966" y="148636"/>
                  </a:lnTo>
                  <a:lnTo>
                    <a:pt x="54834" y="145626"/>
                  </a:lnTo>
                  <a:lnTo>
                    <a:pt x="54834" y="138027"/>
                  </a:lnTo>
                  <a:lnTo>
                    <a:pt x="44966" y="130429"/>
                  </a:lnTo>
                  <a:lnTo>
                    <a:pt x="42992" y="118291"/>
                  </a:lnTo>
                  <a:lnTo>
                    <a:pt x="46939" y="112222"/>
                  </a:lnTo>
                  <a:lnTo>
                    <a:pt x="44966" y="107634"/>
                  </a:lnTo>
                  <a:lnTo>
                    <a:pt x="37121" y="101565"/>
                  </a:lnTo>
                  <a:lnTo>
                    <a:pt x="41019" y="92437"/>
                  </a:lnTo>
                  <a:lnTo>
                    <a:pt x="84192" y="74230"/>
                  </a:lnTo>
                  <a:lnTo>
                    <a:pt x="94060" y="37768"/>
                  </a:lnTo>
                  <a:lnTo>
                    <a:pt x="90162" y="30219"/>
                  </a:lnTo>
                  <a:close/>
                  <a:moveTo>
                    <a:pt x="384279" y="1264862"/>
                  </a:moveTo>
                  <a:lnTo>
                    <a:pt x="390200" y="1269401"/>
                  </a:lnTo>
                  <a:lnTo>
                    <a:pt x="400068" y="1264862"/>
                  </a:lnTo>
                  <a:lnTo>
                    <a:pt x="405940" y="1263333"/>
                  </a:lnTo>
                  <a:lnTo>
                    <a:pt x="411861" y="1257264"/>
                  </a:lnTo>
                  <a:lnTo>
                    <a:pt x="404015" y="1257264"/>
                  </a:lnTo>
                  <a:lnTo>
                    <a:pt x="400068" y="1261803"/>
                  </a:lnTo>
                  <a:lnTo>
                    <a:pt x="388276" y="1263333"/>
                  </a:lnTo>
                  <a:lnTo>
                    <a:pt x="384378" y="1264862"/>
                  </a:lnTo>
                  <a:close/>
                  <a:moveTo>
                    <a:pt x="221456" y="1166181"/>
                  </a:moveTo>
                  <a:lnTo>
                    <a:pt x="225404" y="1166181"/>
                  </a:lnTo>
                  <a:lnTo>
                    <a:pt x="231275" y="1172251"/>
                  </a:lnTo>
                  <a:lnTo>
                    <a:pt x="241143" y="1182908"/>
                  </a:lnTo>
                  <a:lnTo>
                    <a:pt x="245090" y="1198105"/>
                  </a:lnTo>
                  <a:lnTo>
                    <a:pt x="241143" y="1195046"/>
                  </a:lnTo>
                  <a:lnTo>
                    <a:pt x="235272" y="1196575"/>
                  </a:lnTo>
                  <a:lnTo>
                    <a:pt x="233298" y="1201115"/>
                  </a:lnTo>
                  <a:lnTo>
                    <a:pt x="221506" y="1166181"/>
                  </a:lnTo>
                  <a:close/>
                  <a:moveTo>
                    <a:pt x="233249" y="1202644"/>
                  </a:moveTo>
                  <a:lnTo>
                    <a:pt x="241094" y="1204174"/>
                  </a:lnTo>
                  <a:lnTo>
                    <a:pt x="248939" y="1204174"/>
                  </a:lnTo>
                  <a:lnTo>
                    <a:pt x="252886" y="1210242"/>
                  </a:lnTo>
                  <a:lnTo>
                    <a:pt x="256784" y="1220851"/>
                  </a:lnTo>
                  <a:lnTo>
                    <a:pt x="268527" y="1220851"/>
                  </a:lnTo>
                  <a:lnTo>
                    <a:pt x="276372" y="1226919"/>
                  </a:lnTo>
                  <a:lnTo>
                    <a:pt x="276372" y="1236146"/>
                  </a:lnTo>
                  <a:lnTo>
                    <a:pt x="284267" y="1237676"/>
                  </a:lnTo>
                  <a:lnTo>
                    <a:pt x="313871" y="1245274"/>
                  </a:lnTo>
                  <a:lnTo>
                    <a:pt x="315795" y="1248333"/>
                  </a:lnTo>
                  <a:lnTo>
                    <a:pt x="325663" y="1251343"/>
                  </a:lnTo>
                  <a:lnTo>
                    <a:pt x="337406" y="1257412"/>
                  </a:lnTo>
                  <a:lnTo>
                    <a:pt x="343327" y="1257412"/>
                  </a:lnTo>
                  <a:lnTo>
                    <a:pt x="357044" y="1255882"/>
                  </a:lnTo>
                  <a:lnTo>
                    <a:pt x="364889" y="1257412"/>
                  </a:lnTo>
                  <a:lnTo>
                    <a:pt x="364889" y="1263481"/>
                  </a:lnTo>
                  <a:lnTo>
                    <a:pt x="355021" y="1268020"/>
                  </a:lnTo>
                  <a:lnTo>
                    <a:pt x="351123" y="1266540"/>
                  </a:lnTo>
                  <a:lnTo>
                    <a:pt x="343277" y="1268020"/>
                  </a:lnTo>
                  <a:lnTo>
                    <a:pt x="343277" y="1272609"/>
                  </a:lnTo>
                  <a:lnTo>
                    <a:pt x="337357" y="1278677"/>
                  </a:lnTo>
                  <a:lnTo>
                    <a:pt x="329512" y="1280207"/>
                  </a:lnTo>
                  <a:lnTo>
                    <a:pt x="319644" y="1277148"/>
                  </a:lnTo>
                  <a:lnTo>
                    <a:pt x="311848" y="1274089"/>
                  </a:lnTo>
                  <a:lnTo>
                    <a:pt x="298082" y="1272609"/>
                  </a:lnTo>
                  <a:lnTo>
                    <a:pt x="270550" y="1272609"/>
                  </a:lnTo>
                  <a:lnTo>
                    <a:pt x="260682" y="1275618"/>
                  </a:lnTo>
                  <a:lnTo>
                    <a:pt x="254810" y="1275618"/>
                  </a:lnTo>
                  <a:lnTo>
                    <a:pt x="250863" y="1265010"/>
                  </a:lnTo>
                  <a:lnTo>
                    <a:pt x="268527" y="1263481"/>
                  </a:lnTo>
                  <a:lnTo>
                    <a:pt x="278395" y="1260422"/>
                  </a:lnTo>
                  <a:lnTo>
                    <a:pt x="284316" y="1260422"/>
                  </a:lnTo>
                  <a:lnTo>
                    <a:pt x="284316" y="1257412"/>
                  </a:lnTo>
                  <a:lnTo>
                    <a:pt x="276421" y="1260422"/>
                  </a:lnTo>
                  <a:lnTo>
                    <a:pt x="266553" y="1260422"/>
                  </a:lnTo>
                  <a:lnTo>
                    <a:pt x="252837" y="1261951"/>
                  </a:lnTo>
                  <a:lnTo>
                    <a:pt x="250814" y="126195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Graphic 2">
              <a:extLst>
                <a:ext uri="{FF2B5EF4-FFF2-40B4-BE49-F238E27FC236}">
                  <a16:creationId xmlns:a16="http://schemas.microsoft.com/office/drawing/2014/main" id="{5B51FD45-38D1-46C8-84E4-0913A34E5186}"/>
                </a:ext>
              </a:extLst>
            </p:cNvPr>
            <p:cNvSpPr/>
            <p:nvPr/>
          </p:nvSpPr>
          <p:spPr>
            <a:xfrm>
              <a:off x="3115927" y="5146471"/>
              <a:ext cx="352469" cy="1332590"/>
            </a:xfrm>
            <a:custGeom>
              <a:avLst/>
              <a:gdLst>
                <a:gd name="connsiteX0" fmla="*/ 332127 w 387963"/>
                <a:gd name="connsiteY0" fmla="*/ 1420087 h 1466839"/>
                <a:gd name="connsiteX1" fmla="*/ 328031 w 387963"/>
                <a:gd name="connsiteY1" fmla="*/ 1408788 h 1466839"/>
                <a:gd name="connsiteX2" fmla="*/ 323887 w 387963"/>
                <a:gd name="connsiteY2" fmla="*/ 1408788 h 1466839"/>
                <a:gd name="connsiteX3" fmla="*/ 317670 w 387963"/>
                <a:gd name="connsiteY3" fmla="*/ 1403854 h 1466839"/>
                <a:gd name="connsiteX4" fmla="*/ 305286 w 387963"/>
                <a:gd name="connsiteY4" fmla="*/ 1400647 h 1466839"/>
                <a:gd name="connsiteX5" fmla="*/ 286684 w 387963"/>
                <a:gd name="connsiteY5" fmla="*/ 1395713 h 1466839"/>
                <a:gd name="connsiteX6" fmla="*/ 278444 w 387963"/>
                <a:gd name="connsiteY6" fmla="*/ 1392457 h 1466839"/>
                <a:gd name="connsiteX7" fmla="*/ 278444 w 387963"/>
                <a:gd name="connsiteY7" fmla="*/ 1395713 h 1466839"/>
                <a:gd name="connsiteX8" fmla="*/ 280517 w 387963"/>
                <a:gd name="connsiteY8" fmla="*/ 1398920 h 1466839"/>
                <a:gd name="connsiteX9" fmla="*/ 278444 w 387963"/>
                <a:gd name="connsiteY9" fmla="*/ 1400548 h 1466839"/>
                <a:gd name="connsiteX10" fmla="*/ 274300 w 387963"/>
                <a:gd name="connsiteY10" fmla="*/ 1398920 h 1466839"/>
                <a:gd name="connsiteX11" fmla="*/ 261965 w 387963"/>
                <a:gd name="connsiteY11" fmla="*/ 1393986 h 1466839"/>
                <a:gd name="connsiteX12" fmla="*/ 255748 w 387963"/>
                <a:gd name="connsiteY12" fmla="*/ 1392308 h 1466839"/>
                <a:gd name="connsiteX13" fmla="*/ 253676 w 387963"/>
                <a:gd name="connsiteY13" fmla="*/ 1392308 h 1466839"/>
                <a:gd name="connsiteX14" fmla="*/ 257820 w 387963"/>
                <a:gd name="connsiteY14" fmla="*/ 1395565 h 1466839"/>
                <a:gd name="connsiteX15" fmla="*/ 272277 w 387963"/>
                <a:gd name="connsiteY15" fmla="*/ 1402028 h 1466839"/>
                <a:gd name="connsiteX16" fmla="*/ 274300 w 387963"/>
                <a:gd name="connsiteY16" fmla="*/ 1405236 h 1466839"/>
                <a:gd name="connsiteX17" fmla="*/ 268132 w 387963"/>
                <a:gd name="connsiteY17" fmla="*/ 1405236 h 1466839"/>
                <a:gd name="connsiteX18" fmla="*/ 268132 w 387963"/>
                <a:gd name="connsiteY18" fmla="*/ 1408443 h 1466839"/>
                <a:gd name="connsiteX19" fmla="*/ 263988 w 387963"/>
                <a:gd name="connsiteY19" fmla="*/ 1408443 h 1466839"/>
                <a:gd name="connsiteX20" fmla="*/ 261965 w 387963"/>
                <a:gd name="connsiteY20" fmla="*/ 1405236 h 1466839"/>
                <a:gd name="connsiteX21" fmla="*/ 255748 w 387963"/>
                <a:gd name="connsiteY21" fmla="*/ 1400302 h 1466839"/>
                <a:gd name="connsiteX22" fmla="*/ 253676 w 387963"/>
                <a:gd name="connsiteY22" fmla="*/ 1401930 h 1466839"/>
                <a:gd name="connsiteX23" fmla="*/ 253676 w 387963"/>
                <a:gd name="connsiteY23" fmla="*/ 1406864 h 1466839"/>
                <a:gd name="connsiteX24" fmla="*/ 249580 w 387963"/>
                <a:gd name="connsiteY24" fmla="*/ 1406864 h 1466839"/>
                <a:gd name="connsiteX25" fmla="*/ 237196 w 387963"/>
                <a:gd name="connsiteY25" fmla="*/ 1408443 h 1466839"/>
                <a:gd name="connsiteX26" fmla="*/ 235074 w 387963"/>
                <a:gd name="connsiteY26" fmla="*/ 1410071 h 1466839"/>
                <a:gd name="connsiteX27" fmla="*/ 237196 w 387963"/>
                <a:gd name="connsiteY27" fmla="*/ 1411699 h 1466839"/>
                <a:gd name="connsiteX28" fmla="*/ 237196 w 387963"/>
                <a:gd name="connsiteY28" fmla="*/ 1413278 h 1466839"/>
                <a:gd name="connsiteX29" fmla="*/ 230979 w 387963"/>
                <a:gd name="connsiteY29" fmla="*/ 1411699 h 1466839"/>
                <a:gd name="connsiteX30" fmla="*/ 222690 w 387963"/>
                <a:gd name="connsiteY30" fmla="*/ 1413278 h 1466839"/>
                <a:gd name="connsiteX31" fmla="*/ 224762 w 387963"/>
                <a:gd name="connsiteY31" fmla="*/ 1416485 h 1466839"/>
                <a:gd name="connsiteX32" fmla="*/ 233051 w 387963"/>
                <a:gd name="connsiteY32" fmla="*/ 1418113 h 1466839"/>
                <a:gd name="connsiteX33" fmla="*/ 239219 w 387963"/>
                <a:gd name="connsiteY33" fmla="*/ 1418113 h 1466839"/>
                <a:gd name="connsiteX34" fmla="*/ 241291 w 387963"/>
                <a:gd name="connsiteY34" fmla="*/ 1414906 h 1466839"/>
                <a:gd name="connsiteX35" fmla="*/ 243364 w 387963"/>
                <a:gd name="connsiteY35" fmla="*/ 1414906 h 1466839"/>
                <a:gd name="connsiteX36" fmla="*/ 247459 w 387963"/>
                <a:gd name="connsiteY36" fmla="*/ 1416485 h 1466839"/>
                <a:gd name="connsiteX37" fmla="*/ 253676 w 387963"/>
                <a:gd name="connsiteY37" fmla="*/ 1419742 h 1466839"/>
                <a:gd name="connsiteX38" fmla="*/ 257820 w 387963"/>
                <a:gd name="connsiteY38" fmla="*/ 1418113 h 1466839"/>
                <a:gd name="connsiteX39" fmla="*/ 259843 w 387963"/>
                <a:gd name="connsiteY39" fmla="*/ 1421370 h 1466839"/>
                <a:gd name="connsiteX40" fmla="*/ 259843 w 387963"/>
                <a:gd name="connsiteY40" fmla="*/ 1424577 h 1466839"/>
                <a:gd name="connsiteX41" fmla="*/ 263988 w 387963"/>
                <a:gd name="connsiteY41" fmla="*/ 1426156 h 1466839"/>
                <a:gd name="connsiteX42" fmla="*/ 259843 w 387963"/>
                <a:gd name="connsiteY42" fmla="*/ 1429412 h 1466839"/>
                <a:gd name="connsiteX43" fmla="*/ 255748 w 387963"/>
                <a:gd name="connsiteY43" fmla="*/ 1434346 h 1466839"/>
                <a:gd name="connsiteX44" fmla="*/ 259843 w 387963"/>
                <a:gd name="connsiteY44" fmla="*/ 1437603 h 1466839"/>
                <a:gd name="connsiteX45" fmla="*/ 263988 w 387963"/>
                <a:gd name="connsiteY45" fmla="*/ 1437603 h 1466839"/>
                <a:gd name="connsiteX46" fmla="*/ 268132 w 387963"/>
                <a:gd name="connsiteY46" fmla="*/ 1439182 h 1466839"/>
                <a:gd name="connsiteX47" fmla="*/ 274300 w 387963"/>
                <a:gd name="connsiteY47" fmla="*/ 1444116 h 1466839"/>
                <a:gd name="connsiteX48" fmla="*/ 278444 w 387963"/>
                <a:gd name="connsiteY48" fmla="*/ 1444116 h 1466839"/>
                <a:gd name="connsiteX49" fmla="*/ 280517 w 387963"/>
                <a:gd name="connsiteY49" fmla="*/ 1442488 h 1466839"/>
                <a:gd name="connsiteX50" fmla="*/ 274300 w 387963"/>
                <a:gd name="connsiteY50" fmla="*/ 1440909 h 1466839"/>
                <a:gd name="connsiteX51" fmla="*/ 268132 w 387963"/>
                <a:gd name="connsiteY51" fmla="*/ 1435975 h 1466839"/>
                <a:gd name="connsiteX52" fmla="*/ 268132 w 387963"/>
                <a:gd name="connsiteY52" fmla="*/ 1432767 h 1466839"/>
                <a:gd name="connsiteX53" fmla="*/ 268132 w 387963"/>
                <a:gd name="connsiteY53" fmla="*/ 1432767 h 1466839"/>
                <a:gd name="connsiteX54" fmla="*/ 274300 w 387963"/>
                <a:gd name="connsiteY54" fmla="*/ 1434396 h 1466839"/>
                <a:gd name="connsiteX55" fmla="*/ 278444 w 387963"/>
                <a:gd name="connsiteY55" fmla="*/ 1432767 h 1466839"/>
                <a:gd name="connsiteX56" fmla="*/ 278444 w 387963"/>
                <a:gd name="connsiteY56" fmla="*/ 1429561 h 1466839"/>
                <a:gd name="connsiteX57" fmla="*/ 274300 w 387963"/>
                <a:gd name="connsiteY57" fmla="*/ 1429561 h 1466839"/>
                <a:gd name="connsiteX58" fmla="*/ 270205 w 387963"/>
                <a:gd name="connsiteY58" fmla="*/ 1426304 h 1466839"/>
                <a:gd name="connsiteX59" fmla="*/ 286684 w 387963"/>
                <a:gd name="connsiteY59" fmla="*/ 1421370 h 1466839"/>
                <a:gd name="connsiteX60" fmla="*/ 292901 w 387963"/>
                <a:gd name="connsiteY60" fmla="*/ 1418113 h 1466839"/>
                <a:gd name="connsiteX61" fmla="*/ 319742 w 387963"/>
                <a:gd name="connsiteY61" fmla="*/ 1424577 h 1466839"/>
                <a:gd name="connsiteX62" fmla="*/ 323887 w 387963"/>
                <a:gd name="connsiteY62" fmla="*/ 1422949 h 1466839"/>
                <a:gd name="connsiteX63" fmla="*/ 323887 w 387963"/>
                <a:gd name="connsiteY63" fmla="*/ 1419742 h 1466839"/>
                <a:gd name="connsiteX64" fmla="*/ 328031 w 387963"/>
                <a:gd name="connsiteY64" fmla="*/ 1405581 h 1466839"/>
                <a:gd name="connsiteX65" fmla="*/ 319742 w 387963"/>
                <a:gd name="connsiteY65" fmla="*/ 1402374 h 1466839"/>
                <a:gd name="connsiteX66" fmla="*/ 301190 w 387963"/>
                <a:gd name="connsiteY66" fmla="*/ 1392506 h 1466839"/>
                <a:gd name="connsiteX67" fmla="*/ 290829 w 387963"/>
                <a:gd name="connsiteY67" fmla="*/ 1389299 h 1466839"/>
                <a:gd name="connsiteX68" fmla="*/ 284661 w 387963"/>
                <a:gd name="connsiteY68" fmla="*/ 1389299 h 1466839"/>
                <a:gd name="connsiteX69" fmla="*/ 276422 w 387963"/>
                <a:gd name="connsiteY69" fmla="*/ 1386091 h 1466839"/>
                <a:gd name="connsiteX70" fmla="*/ 270205 w 387963"/>
                <a:gd name="connsiteY70" fmla="*/ 1379628 h 1466839"/>
                <a:gd name="connsiteX71" fmla="*/ 268132 w 387963"/>
                <a:gd name="connsiteY71" fmla="*/ 1378049 h 1466839"/>
                <a:gd name="connsiteX72" fmla="*/ 268132 w 387963"/>
                <a:gd name="connsiteY72" fmla="*/ 1374792 h 1466839"/>
                <a:gd name="connsiteX73" fmla="*/ 280517 w 387963"/>
                <a:gd name="connsiteY73" fmla="*/ 1369858 h 1466839"/>
                <a:gd name="connsiteX74" fmla="*/ 280517 w 387963"/>
                <a:gd name="connsiteY74" fmla="*/ 1366652 h 1466839"/>
                <a:gd name="connsiteX75" fmla="*/ 288806 w 387963"/>
                <a:gd name="connsiteY75" fmla="*/ 1365023 h 1466839"/>
                <a:gd name="connsiteX76" fmla="*/ 292901 w 387963"/>
                <a:gd name="connsiteY76" fmla="*/ 1358560 h 1466839"/>
                <a:gd name="connsiteX77" fmla="*/ 290829 w 387963"/>
                <a:gd name="connsiteY77" fmla="*/ 1352145 h 1466839"/>
                <a:gd name="connsiteX78" fmla="*/ 282589 w 387963"/>
                <a:gd name="connsiteY78" fmla="*/ 1352145 h 1466839"/>
                <a:gd name="connsiteX79" fmla="*/ 272277 w 387963"/>
                <a:gd name="connsiteY79" fmla="*/ 1357079 h 1466839"/>
                <a:gd name="connsiteX80" fmla="*/ 268132 w 387963"/>
                <a:gd name="connsiteY80" fmla="*/ 1362013 h 1466839"/>
                <a:gd name="connsiteX81" fmla="*/ 261965 w 387963"/>
                <a:gd name="connsiteY81" fmla="*/ 1363642 h 1466839"/>
                <a:gd name="connsiteX82" fmla="*/ 255748 w 387963"/>
                <a:gd name="connsiteY82" fmla="*/ 1355550 h 1466839"/>
                <a:gd name="connsiteX83" fmla="*/ 255748 w 387963"/>
                <a:gd name="connsiteY83" fmla="*/ 1349086 h 1466839"/>
                <a:gd name="connsiteX84" fmla="*/ 253676 w 387963"/>
                <a:gd name="connsiteY84" fmla="*/ 1344152 h 1466839"/>
                <a:gd name="connsiteX85" fmla="*/ 259843 w 387963"/>
                <a:gd name="connsiteY85" fmla="*/ 1339218 h 1466839"/>
                <a:gd name="connsiteX86" fmla="*/ 259843 w 387963"/>
                <a:gd name="connsiteY86" fmla="*/ 1334284 h 1466839"/>
                <a:gd name="connsiteX87" fmla="*/ 253676 w 387963"/>
                <a:gd name="connsiteY87" fmla="*/ 1335863 h 1466839"/>
                <a:gd name="connsiteX88" fmla="*/ 249580 w 387963"/>
                <a:gd name="connsiteY88" fmla="*/ 1332656 h 1466839"/>
                <a:gd name="connsiteX89" fmla="*/ 253676 w 387963"/>
                <a:gd name="connsiteY89" fmla="*/ 1327722 h 1466839"/>
                <a:gd name="connsiteX90" fmla="*/ 259843 w 387963"/>
                <a:gd name="connsiteY90" fmla="*/ 1327722 h 1466839"/>
                <a:gd name="connsiteX91" fmla="*/ 266060 w 387963"/>
                <a:gd name="connsiteY91" fmla="*/ 1330929 h 1466839"/>
                <a:gd name="connsiteX92" fmla="*/ 268132 w 387963"/>
                <a:gd name="connsiteY92" fmla="*/ 1329350 h 1466839"/>
                <a:gd name="connsiteX93" fmla="*/ 274300 w 387963"/>
                <a:gd name="connsiteY93" fmla="*/ 1324416 h 1466839"/>
                <a:gd name="connsiteX94" fmla="*/ 274300 w 387963"/>
                <a:gd name="connsiteY94" fmla="*/ 1314548 h 1466839"/>
                <a:gd name="connsiteX95" fmla="*/ 276422 w 387963"/>
                <a:gd name="connsiteY95" fmla="*/ 1309614 h 1466839"/>
                <a:gd name="connsiteX96" fmla="*/ 282589 w 387963"/>
                <a:gd name="connsiteY96" fmla="*/ 1311193 h 1466839"/>
                <a:gd name="connsiteX97" fmla="*/ 286684 w 387963"/>
                <a:gd name="connsiteY97" fmla="*/ 1316127 h 1466839"/>
                <a:gd name="connsiteX98" fmla="*/ 290829 w 387963"/>
                <a:gd name="connsiteY98" fmla="*/ 1312871 h 1466839"/>
                <a:gd name="connsiteX99" fmla="*/ 299069 w 387963"/>
                <a:gd name="connsiteY99" fmla="*/ 1309663 h 1466839"/>
                <a:gd name="connsiteX100" fmla="*/ 309430 w 387963"/>
                <a:gd name="connsiteY100" fmla="*/ 1345090 h 1466839"/>
                <a:gd name="connsiteX101" fmla="*/ 309430 w 387963"/>
                <a:gd name="connsiteY101" fmla="*/ 1346718 h 1466839"/>
                <a:gd name="connsiteX102" fmla="*/ 309430 w 387963"/>
                <a:gd name="connsiteY102" fmla="*/ 1346718 h 1466839"/>
                <a:gd name="connsiteX103" fmla="*/ 299069 w 387963"/>
                <a:gd name="connsiteY103" fmla="*/ 1300831 h 1466839"/>
                <a:gd name="connsiteX104" fmla="*/ 288806 w 387963"/>
                <a:gd name="connsiteY104" fmla="*/ 1292789 h 1466839"/>
                <a:gd name="connsiteX105" fmla="*/ 280517 w 387963"/>
                <a:gd name="connsiteY105" fmla="*/ 1291161 h 1466839"/>
                <a:gd name="connsiteX106" fmla="*/ 278444 w 387963"/>
                <a:gd name="connsiteY106" fmla="*/ 1289533 h 1466839"/>
                <a:gd name="connsiteX107" fmla="*/ 233051 w 387963"/>
                <a:gd name="connsiteY107" fmla="*/ 1289533 h 1466839"/>
                <a:gd name="connsiteX108" fmla="*/ 206210 w 387963"/>
                <a:gd name="connsiteY108" fmla="*/ 1292789 h 1466839"/>
                <a:gd name="connsiteX109" fmla="*/ 202066 w 387963"/>
                <a:gd name="connsiteY109" fmla="*/ 1289533 h 1466839"/>
                <a:gd name="connsiteX110" fmla="*/ 183464 w 387963"/>
                <a:gd name="connsiteY110" fmla="*/ 1289533 h 1466839"/>
                <a:gd name="connsiteX111" fmla="*/ 177297 w 387963"/>
                <a:gd name="connsiteY111" fmla="*/ 1276655 h 1466839"/>
                <a:gd name="connsiteX112" fmla="*/ 175225 w 387963"/>
                <a:gd name="connsiteY112" fmla="*/ 1265356 h 1466839"/>
                <a:gd name="connsiteX113" fmla="*/ 166985 w 387963"/>
                <a:gd name="connsiteY113" fmla="*/ 1258892 h 1466839"/>
                <a:gd name="connsiteX114" fmla="*/ 164912 w 387963"/>
                <a:gd name="connsiteY114" fmla="*/ 1241179 h 1466839"/>
                <a:gd name="connsiteX115" fmla="*/ 164912 w 387963"/>
                <a:gd name="connsiteY115" fmla="*/ 1233136 h 1466839"/>
                <a:gd name="connsiteX116" fmla="*/ 156623 w 387963"/>
                <a:gd name="connsiteY116" fmla="*/ 1233136 h 1466839"/>
                <a:gd name="connsiteX117" fmla="*/ 146360 w 387963"/>
                <a:gd name="connsiteY117" fmla="*/ 1238070 h 1466839"/>
                <a:gd name="connsiteX118" fmla="*/ 140144 w 387963"/>
                <a:gd name="connsiteY118" fmla="*/ 1244534 h 1466839"/>
                <a:gd name="connsiteX119" fmla="*/ 131854 w 387963"/>
                <a:gd name="connsiteY119" fmla="*/ 1244534 h 1466839"/>
                <a:gd name="connsiteX120" fmla="*/ 117398 w 387963"/>
                <a:gd name="connsiteY120" fmla="*/ 1217150 h 1466839"/>
                <a:gd name="connsiteX121" fmla="*/ 113302 w 387963"/>
                <a:gd name="connsiteY121" fmla="*/ 1207282 h 1466839"/>
                <a:gd name="connsiteX122" fmla="*/ 119519 w 387963"/>
                <a:gd name="connsiteY122" fmla="*/ 1179898 h 1466839"/>
                <a:gd name="connsiteX123" fmla="*/ 125687 w 387963"/>
                <a:gd name="connsiteY123" fmla="*/ 1170030 h 1466839"/>
                <a:gd name="connsiteX124" fmla="*/ 138071 w 387963"/>
                <a:gd name="connsiteY124" fmla="*/ 1158731 h 1466839"/>
                <a:gd name="connsiteX125" fmla="*/ 142216 w 387963"/>
                <a:gd name="connsiteY125" fmla="*/ 1142597 h 1466839"/>
                <a:gd name="connsiteX126" fmla="*/ 138071 w 387963"/>
                <a:gd name="connsiteY126" fmla="*/ 1126512 h 1466839"/>
                <a:gd name="connsiteX127" fmla="*/ 133927 w 387963"/>
                <a:gd name="connsiteY127" fmla="*/ 1115213 h 1466839"/>
                <a:gd name="connsiteX128" fmla="*/ 135999 w 387963"/>
                <a:gd name="connsiteY128" fmla="*/ 1100756 h 1466839"/>
                <a:gd name="connsiteX129" fmla="*/ 144239 w 387963"/>
                <a:gd name="connsiteY129" fmla="*/ 1092665 h 1466839"/>
                <a:gd name="connsiteX130" fmla="*/ 138071 w 387963"/>
                <a:gd name="connsiteY130" fmla="*/ 1078158 h 1466839"/>
                <a:gd name="connsiteX131" fmla="*/ 138071 w 387963"/>
                <a:gd name="connsiteY131" fmla="*/ 1071695 h 1466839"/>
                <a:gd name="connsiteX132" fmla="*/ 144239 w 387963"/>
                <a:gd name="connsiteY132" fmla="*/ 1065231 h 1466839"/>
                <a:gd name="connsiteX133" fmla="*/ 140144 w 387963"/>
                <a:gd name="connsiteY133" fmla="*/ 1052353 h 1466839"/>
                <a:gd name="connsiteX134" fmla="*/ 138071 w 387963"/>
                <a:gd name="connsiteY134" fmla="*/ 1036268 h 1466839"/>
                <a:gd name="connsiteX135" fmla="*/ 133927 w 387963"/>
                <a:gd name="connsiteY135" fmla="*/ 1028176 h 1466839"/>
                <a:gd name="connsiteX136" fmla="*/ 133927 w 387963"/>
                <a:gd name="connsiteY136" fmla="*/ 1021713 h 1466839"/>
                <a:gd name="connsiteX137" fmla="*/ 142216 w 387963"/>
                <a:gd name="connsiteY137" fmla="*/ 1013720 h 1466839"/>
                <a:gd name="connsiteX138" fmla="*/ 142216 w 387963"/>
                <a:gd name="connsiteY138" fmla="*/ 1007256 h 1466839"/>
                <a:gd name="connsiteX139" fmla="*/ 135999 w 387963"/>
                <a:gd name="connsiteY139" fmla="*/ 995958 h 1466839"/>
                <a:gd name="connsiteX140" fmla="*/ 123614 w 387963"/>
                <a:gd name="connsiteY140" fmla="*/ 989543 h 1466839"/>
                <a:gd name="connsiteX141" fmla="*/ 115375 w 387963"/>
                <a:gd name="connsiteY141" fmla="*/ 989543 h 1466839"/>
                <a:gd name="connsiteX142" fmla="*/ 113302 w 387963"/>
                <a:gd name="connsiteY142" fmla="*/ 991122 h 1466839"/>
                <a:gd name="connsiteX143" fmla="*/ 109158 w 387963"/>
                <a:gd name="connsiteY143" fmla="*/ 986188 h 1466839"/>
                <a:gd name="connsiteX144" fmla="*/ 111230 w 387963"/>
                <a:gd name="connsiteY144" fmla="*/ 981254 h 1466839"/>
                <a:gd name="connsiteX145" fmla="*/ 127660 w 387963"/>
                <a:gd name="connsiteY145" fmla="*/ 981254 h 1466839"/>
                <a:gd name="connsiteX146" fmla="*/ 135900 w 387963"/>
                <a:gd name="connsiteY146" fmla="*/ 973212 h 1466839"/>
                <a:gd name="connsiteX147" fmla="*/ 135900 w 387963"/>
                <a:gd name="connsiteY147" fmla="*/ 966748 h 1466839"/>
                <a:gd name="connsiteX148" fmla="*/ 129683 w 387963"/>
                <a:gd name="connsiteY148" fmla="*/ 965120 h 1466839"/>
                <a:gd name="connsiteX149" fmla="*/ 125588 w 387963"/>
                <a:gd name="connsiteY149" fmla="*/ 968327 h 1466839"/>
                <a:gd name="connsiteX150" fmla="*/ 119421 w 387963"/>
                <a:gd name="connsiteY150" fmla="*/ 966748 h 1466839"/>
                <a:gd name="connsiteX151" fmla="*/ 115276 w 387963"/>
                <a:gd name="connsiteY151" fmla="*/ 952242 h 1466839"/>
                <a:gd name="connsiteX152" fmla="*/ 109059 w 387963"/>
                <a:gd name="connsiteY152" fmla="*/ 939364 h 1466839"/>
                <a:gd name="connsiteX153" fmla="*/ 107036 w 387963"/>
                <a:gd name="connsiteY153" fmla="*/ 931272 h 1466839"/>
                <a:gd name="connsiteX154" fmla="*/ 109059 w 387963"/>
                <a:gd name="connsiteY154" fmla="*/ 920023 h 1466839"/>
                <a:gd name="connsiteX155" fmla="*/ 96675 w 387963"/>
                <a:gd name="connsiteY155" fmla="*/ 916766 h 1466839"/>
                <a:gd name="connsiteX156" fmla="*/ 94652 w 387963"/>
                <a:gd name="connsiteY156" fmla="*/ 908724 h 1466839"/>
                <a:gd name="connsiteX157" fmla="*/ 92530 w 387963"/>
                <a:gd name="connsiteY157" fmla="*/ 884547 h 1466839"/>
                <a:gd name="connsiteX158" fmla="*/ 100819 w 387963"/>
                <a:gd name="connsiteY158" fmla="*/ 879613 h 1466839"/>
                <a:gd name="connsiteX159" fmla="*/ 102891 w 387963"/>
                <a:gd name="connsiteY159" fmla="*/ 871570 h 1466839"/>
                <a:gd name="connsiteX160" fmla="*/ 98747 w 387963"/>
                <a:gd name="connsiteY160" fmla="*/ 865107 h 1466839"/>
                <a:gd name="connsiteX161" fmla="*/ 92530 w 387963"/>
                <a:gd name="connsiteY161" fmla="*/ 863478 h 1466839"/>
                <a:gd name="connsiteX162" fmla="*/ 88435 w 387963"/>
                <a:gd name="connsiteY162" fmla="*/ 848973 h 1466839"/>
                <a:gd name="connsiteX163" fmla="*/ 88435 w 387963"/>
                <a:gd name="connsiteY163" fmla="*/ 828052 h 1466839"/>
                <a:gd name="connsiteX164" fmla="*/ 90507 w 387963"/>
                <a:gd name="connsiteY164" fmla="*/ 805455 h 1466839"/>
                <a:gd name="connsiteX165" fmla="*/ 82218 w 387963"/>
                <a:gd name="connsiteY165" fmla="*/ 795587 h 1466839"/>
                <a:gd name="connsiteX166" fmla="*/ 82218 w 387963"/>
                <a:gd name="connsiteY166" fmla="*/ 784337 h 1466839"/>
                <a:gd name="connsiteX167" fmla="*/ 94652 w 387963"/>
                <a:gd name="connsiteY167" fmla="*/ 769830 h 1466839"/>
                <a:gd name="connsiteX168" fmla="*/ 96675 w 387963"/>
                <a:gd name="connsiteY168" fmla="*/ 752068 h 1466839"/>
                <a:gd name="connsiteX169" fmla="*/ 107036 w 387963"/>
                <a:gd name="connsiteY169" fmla="*/ 748861 h 1466839"/>
                <a:gd name="connsiteX170" fmla="*/ 111131 w 387963"/>
                <a:gd name="connsiteY170" fmla="*/ 742397 h 1466839"/>
                <a:gd name="connsiteX171" fmla="*/ 90507 w 387963"/>
                <a:gd name="connsiteY171" fmla="*/ 706971 h 1466839"/>
                <a:gd name="connsiteX172" fmla="*/ 92530 w 387963"/>
                <a:gd name="connsiteY172" fmla="*/ 694093 h 1466839"/>
                <a:gd name="connsiteX173" fmla="*/ 92530 w 387963"/>
                <a:gd name="connsiteY173" fmla="*/ 665081 h 1466839"/>
                <a:gd name="connsiteX174" fmla="*/ 100819 w 387963"/>
                <a:gd name="connsiteY174" fmla="*/ 652203 h 1466839"/>
                <a:gd name="connsiteX175" fmla="*/ 109059 w 387963"/>
                <a:gd name="connsiteY175" fmla="*/ 644111 h 1466839"/>
                <a:gd name="connsiteX176" fmla="*/ 107036 w 387963"/>
                <a:gd name="connsiteY176" fmla="*/ 632812 h 1466839"/>
                <a:gd name="connsiteX177" fmla="*/ 98747 w 387963"/>
                <a:gd name="connsiteY177" fmla="*/ 622944 h 1466839"/>
                <a:gd name="connsiteX178" fmla="*/ 94652 w 387963"/>
                <a:gd name="connsiteY178" fmla="*/ 618010 h 1466839"/>
                <a:gd name="connsiteX179" fmla="*/ 102891 w 387963"/>
                <a:gd name="connsiteY179" fmla="*/ 608142 h 1466839"/>
                <a:gd name="connsiteX180" fmla="*/ 100819 w 387963"/>
                <a:gd name="connsiteY180" fmla="*/ 595215 h 1466839"/>
                <a:gd name="connsiteX181" fmla="*/ 107036 w 387963"/>
                <a:gd name="connsiteY181" fmla="*/ 583966 h 1466839"/>
                <a:gd name="connsiteX182" fmla="*/ 113204 w 387963"/>
                <a:gd name="connsiteY182" fmla="*/ 580709 h 1466839"/>
                <a:gd name="connsiteX183" fmla="*/ 115276 w 387963"/>
                <a:gd name="connsiteY183" fmla="*/ 566203 h 1466839"/>
                <a:gd name="connsiteX184" fmla="*/ 113204 w 387963"/>
                <a:gd name="connsiteY184" fmla="*/ 542026 h 1466839"/>
                <a:gd name="connsiteX185" fmla="*/ 107036 w 387963"/>
                <a:gd name="connsiteY185" fmla="*/ 538819 h 1466839"/>
                <a:gd name="connsiteX186" fmla="*/ 102891 w 387963"/>
                <a:gd name="connsiteY186" fmla="*/ 521106 h 1466839"/>
                <a:gd name="connsiteX187" fmla="*/ 96675 w 387963"/>
                <a:gd name="connsiteY187" fmla="*/ 511238 h 1466839"/>
                <a:gd name="connsiteX188" fmla="*/ 88435 w 387963"/>
                <a:gd name="connsiteY188" fmla="*/ 499988 h 1466839"/>
                <a:gd name="connsiteX189" fmla="*/ 88435 w 387963"/>
                <a:gd name="connsiteY189" fmla="*/ 494956 h 1466839"/>
                <a:gd name="connsiteX190" fmla="*/ 80146 w 387963"/>
                <a:gd name="connsiteY190" fmla="*/ 486913 h 1466839"/>
                <a:gd name="connsiteX191" fmla="*/ 78073 w 387963"/>
                <a:gd name="connsiteY191" fmla="*/ 472407 h 1466839"/>
                <a:gd name="connsiteX192" fmla="*/ 80146 w 387963"/>
                <a:gd name="connsiteY192" fmla="*/ 461108 h 1466839"/>
                <a:gd name="connsiteX193" fmla="*/ 88435 w 387963"/>
                <a:gd name="connsiteY193" fmla="*/ 456174 h 1466839"/>
                <a:gd name="connsiteX194" fmla="*/ 90507 w 387963"/>
                <a:gd name="connsiteY194" fmla="*/ 441668 h 1466839"/>
                <a:gd name="connsiteX195" fmla="*/ 94652 w 387963"/>
                <a:gd name="connsiteY195" fmla="*/ 435204 h 1466839"/>
                <a:gd name="connsiteX196" fmla="*/ 96675 w 387963"/>
                <a:gd name="connsiteY196" fmla="*/ 420747 h 1466839"/>
                <a:gd name="connsiteX197" fmla="*/ 88435 w 387963"/>
                <a:gd name="connsiteY197" fmla="*/ 410880 h 1466839"/>
                <a:gd name="connsiteX198" fmla="*/ 88435 w 387963"/>
                <a:gd name="connsiteY198" fmla="*/ 391489 h 1466839"/>
                <a:gd name="connsiteX199" fmla="*/ 92530 w 387963"/>
                <a:gd name="connsiteY199" fmla="*/ 386555 h 1466839"/>
                <a:gd name="connsiteX200" fmla="*/ 96675 w 387963"/>
                <a:gd name="connsiteY200" fmla="*/ 363957 h 1466839"/>
                <a:gd name="connsiteX201" fmla="*/ 102891 w 387963"/>
                <a:gd name="connsiteY201" fmla="*/ 355914 h 1466839"/>
                <a:gd name="connsiteX202" fmla="*/ 111131 w 387963"/>
                <a:gd name="connsiteY202" fmla="*/ 336573 h 1466839"/>
                <a:gd name="connsiteX203" fmla="*/ 121443 w 387963"/>
                <a:gd name="connsiteY203" fmla="*/ 326705 h 1466839"/>
                <a:gd name="connsiteX204" fmla="*/ 127660 w 387963"/>
                <a:gd name="connsiteY204" fmla="*/ 323498 h 1466839"/>
                <a:gd name="connsiteX205" fmla="*/ 133828 w 387963"/>
                <a:gd name="connsiteY205" fmla="*/ 318564 h 1466839"/>
                <a:gd name="connsiteX206" fmla="*/ 129683 w 387963"/>
                <a:gd name="connsiteY206" fmla="*/ 315357 h 1466839"/>
                <a:gd name="connsiteX207" fmla="*/ 129683 w 387963"/>
                <a:gd name="connsiteY207" fmla="*/ 307265 h 1466839"/>
                <a:gd name="connsiteX208" fmla="*/ 127660 w 387963"/>
                <a:gd name="connsiteY208" fmla="*/ 302331 h 1466839"/>
                <a:gd name="connsiteX209" fmla="*/ 123516 w 387963"/>
                <a:gd name="connsiteY209" fmla="*/ 299124 h 1466839"/>
                <a:gd name="connsiteX210" fmla="*/ 123516 w 387963"/>
                <a:gd name="connsiteY210" fmla="*/ 292660 h 1466839"/>
                <a:gd name="connsiteX211" fmla="*/ 131756 w 387963"/>
                <a:gd name="connsiteY211" fmla="*/ 289453 h 1466839"/>
                <a:gd name="connsiteX212" fmla="*/ 131756 w 387963"/>
                <a:gd name="connsiteY212" fmla="*/ 281410 h 1466839"/>
                <a:gd name="connsiteX213" fmla="*/ 123516 w 387963"/>
                <a:gd name="connsiteY213" fmla="*/ 273319 h 1466839"/>
                <a:gd name="connsiteX214" fmla="*/ 121443 w 387963"/>
                <a:gd name="connsiteY214" fmla="*/ 262020 h 1466839"/>
                <a:gd name="connsiteX215" fmla="*/ 125588 w 387963"/>
                <a:gd name="connsiteY215" fmla="*/ 255605 h 1466839"/>
                <a:gd name="connsiteX216" fmla="*/ 123516 w 387963"/>
                <a:gd name="connsiteY216" fmla="*/ 250671 h 1466839"/>
                <a:gd name="connsiteX217" fmla="*/ 115276 w 387963"/>
                <a:gd name="connsiteY217" fmla="*/ 244208 h 1466839"/>
                <a:gd name="connsiteX218" fmla="*/ 119421 w 387963"/>
                <a:gd name="connsiteY218" fmla="*/ 236116 h 1466839"/>
                <a:gd name="connsiteX219" fmla="*/ 162741 w 387963"/>
                <a:gd name="connsiteY219" fmla="*/ 216824 h 1466839"/>
                <a:gd name="connsiteX220" fmla="*/ 170981 w 387963"/>
                <a:gd name="connsiteY220" fmla="*/ 181348 h 1466839"/>
                <a:gd name="connsiteX221" fmla="*/ 167133 w 387963"/>
                <a:gd name="connsiteY221" fmla="*/ 174243 h 1466839"/>
                <a:gd name="connsiteX222" fmla="*/ 160916 w 387963"/>
                <a:gd name="connsiteY222" fmla="*/ 175822 h 1466839"/>
                <a:gd name="connsiteX223" fmla="*/ 158893 w 387963"/>
                <a:gd name="connsiteY223" fmla="*/ 179079 h 1466839"/>
                <a:gd name="connsiteX224" fmla="*/ 148531 w 387963"/>
                <a:gd name="connsiteY224" fmla="*/ 179079 h 1466839"/>
                <a:gd name="connsiteX225" fmla="*/ 121690 w 387963"/>
                <a:gd name="connsiteY225" fmla="*/ 117847 h 1466839"/>
                <a:gd name="connsiteX226" fmla="*/ 105161 w 387963"/>
                <a:gd name="connsiteY226" fmla="*/ 103341 h 1466839"/>
                <a:gd name="connsiteX227" fmla="*/ 98994 w 387963"/>
                <a:gd name="connsiteY227" fmla="*/ 98407 h 1466839"/>
                <a:gd name="connsiteX228" fmla="*/ 107283 w 387963"/>
                <a:gd name="connsiteY228" fmla="*/ 80694 h 1466839"/>
                <a:gd name="connsiteX229" fmla="*/ 105161 w 387963"/>
                <a:gd name="connsiteY229" fmla="*/ 74280 h 1466839"/>
                <a:gd name="connsiteX230" fmla="*/ 109306 w 387963"/>
                <a:gd name="connsiteY230" fmla="*/ 66188 h 1466839"/>
                <a:gd name="connsiteX231" fmla="*/ 109306 w 387963"/>
                <a:gd name="connsiteY231" fmla="*/ 61254 h 1466839"/>
                <a:gd name="connsiteX232" fmla="*/ 92777 w 387963"/>
                <a:gd name="connsiteY232" fmla="*/ 50004 h 1466839"/>
                <a:gd name="connsiteX233" fmla="*/ 86609 w 387963"/>
                <a:gd name="connsiteY233" fmla="*/ 43541 h 1466839"/>
                <a:gd name="connsiteX234" fmla="*/ 84537 w 387963"/>
                <a:gd name="connsiteY234" fmla="*/ 32242 h 1466839"/>
                <a:gd name="connsiteX235" fmla="*/ 82465 w 387963"/>
                <a:gd name="connsiteY235" fmla="*/ 29035 h 1466839"/>
                <a:gd name="connsiteX236" fmla="*/ 84537 w 387963"/>
                <a:gd name="connsiteY236" fmla="*/ 22620 h 1466839"/>
                <a:gd name="connsiteX237" fmla="*/ 84537 w 387963"/>
                <a:gd name="connsiteY237" fmla="*/ 17686 h 1466839"/>
                <a:gd name="connsiteX238" fmla="*/ 80392 w 387963"/>
                <a:gd name="connsiteY238" fmla="*/ 14479 h 1466839"/>
                <a:gd name="connsiteX239" fmla="*/ 72152 w 387963"/>
                <a:gd name="connsiteY239" fmla="*/ 8016 h 1466839"/>
                <a:gd name="connsiteX240" fmla="*/ 72152 w 387963"/>
                <a:gd name="connsiteY240" fmla="*/ 1552 h 1466839"/>
                <a:gd name="connsiteX241" fmla="*/ 65936 w 387963"/>
                <a:gd name="connsiteY241" fmla="*/ -27 h 1466839"/>
                <a:gd name="connsiteX242" fmla="*/ 61840 w 387963"/>
                <a:gd name="connsiteY242" fmla="*/ 4907 h 1466839"/>
                <a:gd name="connsiteX243" fmla="*/ 59768 w 387963"/>
                <a:gd name="connsiteY243" fmla="*/ 9841 h 1466839"/>
                <a:gd name="connsiteX244" fmla="*/ 65936 w 387963"/>
                <a:gd name="connsiteY244" fmla="*/ 14775 h 1466839"/>
                <a:gd name="connsiteX245" fmla="*/ 63913 w 387963"/>
                <a:gd name="connsiteY245" fmla="*/ 21189 h 1466839"/>
                <a:gd name="connsiteX246" fmla="*/ 55673 w 387963"/>
                <a:gd name="connsiteY246" fmla="*/ 24446 h 1466839"/>
                <a:gd name="connsiteX247" fmla="*/ 51528 w 387963"/>
                <a:gd name="connsiteY247" fmla="*/ 22867 h 1466839"/>
                <a:gd name="connsiteX248" fmla="*/ 43239 w 387963"/>
                <a:gd name="connsiteY248" fmla="*/ 27801 h 1466839"/>
                <a:gd name="connsiteX249" fmla="*/ 34999 w 387963"/>
                <a:gd name="connsiteY249" fmla="*/ 32735 h 1466839"/>
                <a:gd name="connsiteX250" fmla="*/ 39094 w 387963"/>
                <a:gd name="connsiteY250" fmla="*/ 34363 h 1466839"/>
                <a:gd name="connsiteX251" fmla="*/ 39094 w 387963"/>
                <a:gd name="connsiteY251" fmla="*/ 42406 h 1466839"/>
                <a:gd name="connsiteX252" fmla="*/ 37072 w 387963"/>
                <a:gd name="connsiteY252" fmla="*/ 50498 h 1466839"/>
                <a:gd name="connsiteX253" fmla="*/ 39094 w 387963"/>
                <a:gd name="connsiteY253" fmla="*/ 58540 h 1466839"/>
                <a:gd name="connsiteX254" fmla="*/ 45311 w 387963"/>
                <a:gd name="connsiteY254" fmla="*/ 81089 h 1466839"/>
                <a:gd name="connsiteX255" fmla="*/ 45311 w 387963"/>
                <a:gd name="connsiteY255" fmla="*/ 90957 h 1466839"/>
                <a:gd name="connsiteX256" fmla="*/ 43239 w 387963"/>
                <a:gd name="connsiteY256" fmla="*/ 95891 h 1466839"/>
                <a:gd name="connsiteX257" fmla="*/ 39094 w 387963"/>
                <a:gd name="connsiteY257" fmla="*/ 100825 h 1466839"/>
                <a:gd name="connsiteX258" fmla="*/ 43239 w 387963"/>
                <a:gd name="connsiteY258" fmla="*/ 112075 h 1466839"/>
                <a:gd name="connsiteX259" fmla="*/ 47384 w 387963"/>
                <a:gd name="connsiteY259" fmla="*/ 123324 h 1466839"/>
                <a:gd name="connsiteX260" fmla="*/ 51528 w 387963"/>
                <a:gd name="connsiteY260" fmla="*/ 133192 h 1466839"/>
                <a:gd name="connsiteX261" fmla="*/ 51528 w 387963"/>
                <a:gd name="connsiteY261" fmla="*/ 149326 h 1466839"/>
                <a:gd name="connsiteX262" fmla="*/ 49456 w 387963"/>
                <a:gd name="connsiteY262" fmla="*/ 154260 h 1466839"/>
                <a:gd name="connsiteX263" fmla="*/ 47384 w 387963"/>
                <a:gd name="connsiteY263" fmla="*/ 157467 h 1466839"/>
                <a:gd name="connsiteX264" fmla="*/ 49456 w 387963"/>
                <a:gd name="connsiteY264" fmla="*/ 178437 h 1466839"/>
                <a:gd name="connsiteX265" fmla="*/ 49456 w 387963"/>
                <a:gd name="connsiteY265" fmla="*/ 184111 h 1466839"/>
                <a:gd name="connsiteX266" fmla="*/ 43239 w 387963"/>
                <a:gd name="connsiteY266" fmla="*/ 185690 h 1466839"/>
                <a:gd name="connsiteX267" fmla="*/ 39094 w 387963"/>
                <a:gd name="connsiteY267" fmla="*/ 188947 h 1466839"/>
                <a:gd name="connsiteX268" fmla="*/ 39094 w 387963"/>
                <a:gd name="connsiteY268" fmla="*/ 201825 h 1466839"/>
                <a:gd name="connsiteX269" fmla="*/ 41167 w 387963"/>
                <a:gd name="connsiteY269" fmla="*/ 205081 h 1466839"/>
                <a:gd name="connsiteX270" fmla="*/ 47384 w 387963"/>
                <a:gd name="connsiteY270" fmla="*/ 201825 h 1466839"/>
                <a:gd name="connsiteX271" fmla="*/ 49456 w 387963"/>
                <a:gd name="connsiteY271" fmla="*/ 203453 h 1466839"/>
                <a:gd name="connsiteX272" fmla="*/ 45311 w 387963"/>
                <a:gd name="connsiteY272" fmla="*/ 206660 h 1466839"/>
                <a:gd name="connsiteX273" fmla="*/ 45311 w 387963"/>
                <a:gd name="connsiteY273" fmla="*/ 238928 h 1466839"/>
                <a:gd name="connsiteX274" fmla="*/ 51528 w 387963"/>
                <a:gd name="connsiteY274" fmla="*/ 251806 h 1466839"/>
                <a:gd name="connsiteX275" fmla="*/ 51528 w 387963"/>
                <a:gd name="connsiteY275" fmla="*/ 261674 h 1466839"/>
                <a:gd name="connsiteX276" fmla="*/ 49456 w 387963"/>
                <a:gd name="connsiteY276" fmla="*/ 269717 h 1466839"/>
                <a:gd name="connsiteX277" fmla="*/ 45311 w 387963"/>
                <a:gd name="connsiteY277" fmla="*/ 277759 h 1466839"/>
                <a:gd name="connsiteX278" fmla="*/ 45311 w 387963"/>
                <a:gd name="connsiteY278" fmla="*/ 285851 h 1466839"/>
                <a:gd name="connsiteX279" fmla="*/ 51528 w 387963"/>
                <a:gd name="connsiteY279" fmla="*/ 297101 h 1466839"/>
                <a:gd name="connsiteX280" fmla="*/ 49456 w 387963"/>
                <a:gd name="connsiteY280" fmla="*/ 303564 h 1466839"/>
                <a:gd name="connsiteX281" fmla="*/ 49456 w 387963"/>
                <a:gd name="connsiteY281" fmla="*/ 318070 h 1466839"/>
                <a:gd name="connsiteX282" fmla="*/ 45311 w 387963"/>
                <a:gd name="connsiteY282" fmla="*/ 324534 h 1466839"/>
                <a:gd name="connsiteX283" fmla="*/ 45311 w 387963"/>
                <a:gd name="connsiteY283" fmla="*/ 332132 h 1466839"/>
                <a:gd name="connsiteX284" fmla="*/ 47384 w 387963"/>
                <a:gd name="connsiteY284" fmla="*/ 337066 h 1466839"/>
                <a:gd name="connsiteX285" fmla="*/ 47384 w 387963"/>
                <a:gd name="connsiteY285" fmla="*/ 340274 h 1466839"/>
                <a:gd name="connsiteX286" fmla="*/ 41167 w 387963"/>
                <a:gd name="connsiteY286" fmla="*/ 348316 h 1466839"/>
                <a:gd name="connsiteX287" fmla="*/ 41167 w 387963"/>
                <a:gd name="connsiteY287" fmla="*/ 356408 h 1466839"/>
                <a:gd name="connsiteX288" fmla="*/ 37072 w 387963"/>
                <a:gd name="connsiteY288" fmla="*/ 361342 h 1466839"/>
                <a:gd name="connsiteX289" fmla="*/ 39094 w 387963"/>
                <a:gd name="connsiteY289" fmla="*/ 371210 h 1466839"/>
                <a:gd name="connsiteX290" fmla="*/ 37072 w 387963"/>
                <a:gd name="connsiteY290" fmla="*/ 376144 h 1466839"/>
                <a:gd name="connsiteX291" fmla="*/ 30855 w 387963"/>
                <a:gd name="connsiteY291" fmla="*/ 387443 h 1466839"/>
                <a:gd name="connsiteX292" fmla="*/ 30855 w 387963"/>
                <a:gd name="connsiteY292" fmla="*/ 392377 h 1466839"/>
                <a:gd name="connsiteX293" fmla="*/ 37072 w 387963"/>
                <a:gd name="connsiteY293" fmla="*/ 400469 h 1466839"/>
                <a:gd name="connsiteX294" fmla="*/ 39094 w 387963"/>
                <a:gd name="connsiteY294" fmla="*/ 410337 h 1466839"/>
                <a:gd name="connsiteX295" fmla="*/ 43239 w 387963"/>
                <a:gd name="connsiteY295" fmla="*/ 415271 h 1466839"/>
                <a:gd name="connsiteX296" fmla="*/ 39094 w 387963"/>
                <a:gd name="connsiteY296" fmla="*/ 418478 h 1466839"/>
                <a:gd name="connsiteX297" fmla="*/ 34999 w 387963"/>
                <a:gd name="connsiteY297" fmla="*/ 426520 h 1466839"/>
                <a:gd name="connsiteX298" fmla="*/ 39094 w 387963"/>
                <a:gd name="connsiteY298" fmla="*/ 431455 h 1466839"/>
                <a:gd name="connsiteX299" fmla="*/ 34999 w 387963"/>
                <a:gd name="connsiteY299" fmla="*/ 436389 h 1466839"/>
                <a:gd name="connsiteX300" fmla="*/ 30855 w 387963"/>
                <a:gd name="connsiteY300" fmla="*/ 438017 h 1466839"/>
                <a:gd name="connsiteX301" fmla="*/ 28782 w 387963"/>
                <a:gd name="connsiteY301" fmla="*/ 446108 h 1466839"/>
                <a:gd name="connsiteX302" fmla="*/ 30855 w 387963"/>
                <a:gd name="connsiteY302" fmla="*/ 454102 h 1466839"/>
                <a:gd name="connsiteX303" fmla="*/ 32927 w 387963"/>
                <a:gd name="connsiteY303" fmla="*/ 460565 h 1466839"/>
                <a:gd name="connsiteX304" fmla="*/ 41167 w 387963"/>
                <a:gd name="connsiteY304" fmla="*/ 478328 h 1466839"/>
                <a:gd name="connsiteX305" fmla="*/ 41167 w 387963"/>
                <a:gd name="connsiteY305" fmla="*/ 488196 h 1466839"/>
                <a:gd name="connsiteX306" fmla="*/ 37072 w 387963"/>
                <a:gd name="connsiteY306" fmla="*/ 491403 h 1466839"/>
                <a:gd name="connsiteX307" fmla="*/ 37072 w 387963"/>
                <a:gd name="connsiteY307" fmla="*/ 497866 h 1466839"/>
                <a:gd name="connsiteX308" fmla="*/ 45311 w 387963"/>
                <a:gd name="connsiteY308" fmla="*/ 507734 h 1466839"/>
                <a:gd name="connsiteX309" fmla="*/ 45311 w 387963"/>
                <a:gd name="connsiteY309" fmla="*/ 518984 h 1466839"/>
                <a:gd name="connsiteX310" fmla="*/ 43239 w 387963"/>
                <a:gd name="connsiteY310" fmla="*/ 525448 h 1466839"/>
                <a:gd name="connsiteX311" fmla="*/ 43239 w 387963"/>
                <a:gd name="connsiteY311" fmla="*/ 528655 h 1466839"/>
                <a:gd name="connsiteX312" fmla="*/ 45311 w 387963"/>
                <a:gd name="connsiteY312" fmla="*/ 533589 h 1466839"/>
                <a:gd name="connsiteX313" fmla="*/ 45311 w 387963"/>
                <a:gd name="connsiteY313" fmla="*/ 538523 h 1466839"/>
                <a:gd name="connsiteX314" fmla="*/ 43239 w 387963"/>
                <a:gd name="connsiteY314" fmla="*/ 544987 h 1466839"/>
                <a:gd name="connsiteX315" fmla="*/ 45311 w 387963"/>
                <a:gd name="connsiteY315" fmla="*/ 548194 h 1466839"/>
                <a:gd name="connsiteX316" fmla="*/ 53551 w 387963"/>
                <a:gd name="connsiteY316" fmla="*/ 558062 h 1466839"/>
                <a:gd name="connsiteX317" fmla="*/ 53551 w 387963"/>
                <a:gd name="connsiteY317" fmla="*/ 562996 h 1466839"/>
                <a:gd name="connsiteX318" fmla="*/ 49456 w 387963"/>
                <a:gd name="connsiteY318" fmla="*/ 567930 h 1466839"/>
                <a:gd name="connsiteX319" fmla="*/ 45311 w 387963"/>
                <a:gd name="connsiteY319" fmla="*/ 571137 h 1466839"/>
                <a:gd name="connsiteX320" fmla="*/ 39094 w 387963"/>
                <a:gd name="connsiteY320" fmla="*/ 579179 h 1466839"/>
                <a:gd name="connsiteX321" fmla="*/ 39094 w 387963"/>
                <a:gd name="connsiteY321" fmla="*/ 582386 h 1466839"/>
                <a:gd name="connsiteX322" fmla="*/ 43239 w 387963"/>
                <a:gd name="connsiteY322" fmla="*/ 585643 h 1466839"/>
                <a:gd name="connsiteX323" fmla="*/ 39094 w 387963"/>
                <a:gd name="connsiteY323" fmla="*/ 592058 h 1466839"/>
                <a:gd name="connsiteX324" fmla="*/ 34999 w 387963"/>
                <a:gd name="connsiteY324" fmla="*/ 596992 h 1466839"/>
                <a:gd name="connsiteX325" fmla="*/ 34999 w 387963"/>
                <a:gd name="connsiteY325" fmla="*/ 611794 h 1466839"/>
                <a:gd name="connsiteX326" fmla="*/ 30855 w 387963"/>
                <a:gd name="connsiteY326" fmla="*/ 616728 h 1466839"/>
                <a:gd name="connsiteX327" fmla="*/ 32927 w 387963"/>
                <a:gd name="connsiteY327" fmla="*/ 621662 h 1466839"/>
                <a:gd name="connsiteX328" fmla="*/ 30855 w 387963"/>
                <a:gd name="connsiteY328" fmla="*/ 624868 h 1466839"/>
                <a:gd name="connsiteX329" fmla="*/ 28782 w 387963"/>
                <a:gd name="connsiteY329" fmla="*/ 632911 h 1466839"/>
                <a:gd name="connsiteX330" fmla="*/ 24687 w 387963"/>
                <a:gd name="connsiteY330" fmla="*/ 636118 h 1466839"/>
                <a:gd name="connsiteX331" fmla="*/ 26710 w 387963"/>
                <a:gd name="connsiteY331" fmla="*/ 639375 h 1466839"/>
                <a:gd name="connsiteX332" fmla="*/ 28782 w 387963"/>
                <a:gd name="connsiteY332" fmla="*/ 642582 h 1466839"/>
                <a:gd name="connsiteX333" fmla="*/ 24687 w 387963"/>
                <a:gd name="connsiteY333" fmla="*/ 649045 h 1466839"/>
                <a:gd name="connsiteX334" fmla="*/ 24687 w 387963"/>
                <a:gd name="connsiteY334" fmla="*/ 657088 h 1466839"/>
                <a:gd name="connsiteX335" fmla="*/ 22566 w 387963"/>
                <a:gd name="connsiteY335" fmla="*/ 662022 h 1466839"/>
                <a:gd name="connsiteX336" fmla="*/ 18470 w 387963"/>
                <a:gd name="connsiteY336" fmla="*/ 665229 h 1466839"/>
                <a:gd name="connsiteX337" fmla="*/ 18470 w 387963"/>
                <a:gd name="connsiteY337" fmla="*/ 671692 h 1466839"/>
                <a:gd name="connsiteX338" fmla="*/ 16447 w 387963"/>
                <a:gd name="connsiteY338" fmla="*/ 674900 h 1466839"/>
                <a:gd name="connsiteX339" fmla="*/ 14326 w 387963"/>
                <a:gd name="connsiteY339" fmla="*/ 679834 h 1466839"/>
                <a:gd name="connsiteX340" fmla="*/ 18470 w 387963"/>
                <a:gd name="connsiteY340" fmla="*/ 684768 h 1466839"/>
                <a:gd name="connsiteX341" fmla="*/ 18470 w 387963"/>
                <a:gd name="connsiteY341" fmla="*/ 691232 h 1466839"/>
                <a:gd name="connsiteX342" fmla="*/ 14326 w 387963"/>
                <a:gd name="connsiteY342" fmla="*/ 696166 h 1466839"/>
                <a:gd name="connsiteX343" fmla="*/ 10230 w 387963"/>
                <a:gd name="connsiteY343" fmla="*/ 696166 h 1466839"/>
                <a:gd name="connsiteX344" fmla="*/ 6086 w 387963"/>
                <a:gd name="connsiteY344" fmla="*/ 694537 h 1466839"/>
                <a:gd name="connsiteX345" fmla="*/ -82 w 387963"/>
                <a:gd name="connsiteY345" fmla="*/ 694537 h 1466839"/>
                <a:gd name="connsiteX346" fmla="*/ -82 w 387963"/>
                <a:gd name="connsiteY346" fmla="*/ 713879 h 1466839"/>
                <a:gd name="connsiteX347" fmla="*/ 6086 w 387963"/>
                <a:gd name="connsiteY347" fmla="*/ 720342 h 1466839"/>
                <a:gd name="connsiteX348" fmla="*/ 14326 w 387963"/>
                <a:gd name="connsiteY348" fmla="*/ 726806 h 1466839"/>
                <a:gd name="connsiteX349" fmla="*/ 14326 w 387963"/>
                <a:gd name="connsiteY349" fmla="*/ 733270 h 1466839"/>
                <a:gd name="connsiteX350" fmla="*/ 12303 w 387963"/>
                <a:gd name="connsiteY350" fmla="*/ 741312 h 1466839"/>
                <a:gd name="connsiteX351" fmla="*/ 24687 w 387963"/>
                <a:gd name="connsiteY351" fmla="*/ 757397 h 1466839"/>
                <a:gd name="connsiteX352" fmla="*/ 26710 w 387963"/>
                <a:gd name="connsiteY352" fmla="*/ 762331 h 1466839"/>
                <a:gd name="connsiteX353" fmla="*/ 30855 w 387963"/>
                <a:gd name="connsiteY353" fmla="*/ 765538 h 1466839"/>
                <a:gd name="connsiteX354" fmla="*/ 30855 w 387963"/>
                <a:gd name="connsiteY354" fmla="*/ 775406 h 1466839"/>
                <a:gd name="connsiteX355" fmla="*/ 26710 w 387963"/>
                <a:gd name="connsiteY355" fmla="*/ 789912 h 1466839"/>
                <a:gd name="connsiteX356" fmla="*/ 24687 w 387963"/>
                <a:gd name="connsiteY356" fmla="*/ 791540 h 1466839"/>
                <a:gd name="connsiteX357" fmla="*/ 26710 w 387963"/>
                <a:gd name="connsiteY357" fmla="*/ 796474 h 1466839"/>
                <a:gd name="connsiteX358" fmla="*/ 24687 w 387963"/>
                <a:gd name="connsiteY358" fmla="*/ 799682 h 1466839"/>
                <a:gd name="connsiteX359" fmla="*/ 22566 w 387963"/>
                <a:gd name="connsiteY359" fmla="*/ 798102 h 1466839"/>
                <a:gd name="connsiteX360" fmla="*/ 18470 w 387963"/>
                <a:gd name="connsiteY360" fmla="*/ 799682 h 1466839"/>
                <a:gd name="connsiteX361" fmla="*/ 16447 w 387963"/>
                <a:gd name="connsiteY361" fmla="*/ 804616 h 1466839"/>
                <a:gd name="connsiteX362" fmla="*/ 18470 w 387963"/>
                <a:gd name="connsiteY362" fmla="*/ 811030 h 1466839"/>
                <a:gd name="connsiteX363" fmla="*/ 22566 w 387963"/>
                <a:gd name="connsiteY363" fmla="*/ 814286 h 1466839"/>
                <a:gd name="connsiteX364" fmla="*/ 18470 w 387963"/>
                <a:gd name="connsiteY364" fmla="*/ 827114 h 1466839"/>
                <a:gd name="connsiteX365" fmla="*/ 20542 w 387963"/>
                <a:gd name="connsiteY365" fmla="*/ 832049 h 1466839"/>
                <a:gd name="connsiteX366" fmla="*/ 16447 w 387963"/>
                <a:gd name="connsiteY366" fmla="*/ 835256 h 1466839"/>
                <a:gd name="connsiteX367" fmla="*/ 20542 w 387963"/>
                <a:gd name="connsiteY367" fmla="*/ 838512 h 1466839"/>
                <a:gd name="connsiteX368" fmla="*/ 18470 w 387963"/>
                <a:gd name="connsiteY368" fmla="*/ 843446 h 1466839"/>
                <a:gd name="connsiteX369" fmla="*/ 16447 w 387963"/>
                <a:gd name="connsiteY369" fmla="*/ 845124 h 1466839"/>
                <a:gd name="connsiteX370" fmla="*/ 18470 w 387963"/>
                <a:gd name="connsiteY370" fmla="*/ 848331 h 1466839"/>
                <a:gd name="connsiteX371" fmla="*/ 30855 w 387963"/>
                <a:gd name="connsiteY371" fmla="*/ 862837 h 1466839"/>
                <a:gd name="connsiteX372" fmla="*/ 32927 w 387963"/>
                <a:gd name="connsiteY372" fmla="*/ 866044 h 1466839"/>
                <a:gd name="connsiteX373" fmla="*/ 37072 w 387963"/>
                <a:gd name="connsiteY373" fmla="*/ 870978 h 1466839"/>
                <a:gd name="connsiteX374" fmla="*/ 47384 w 387963"/>
                <a:gd name="connsiteY374" fmla="*/ 874235 h 1466839"/>
                <a:gd name="connsiteX375" fmla="*/ 55673 w 387963"/>
                <a:gd name="connsiteY375" fmla="*/ 872656 h 1466839"/>
                <a:gd name="connsiteX376" fmla="*/ 57696 w 387963"/>
                <a:gd name="connsiteY376" fmla="*/ 862788 h 1466839"/>
                <a:gd name="connsiteX377" fmla="*/ 57696 w 387963"/>
                <a:gd name="connsiteY377" fmla="*/ 861159 h 1466839"/>
                <a:gd name="connsiteX378" fmla="*/ 65936 w 387963"/>
                <a:gd name="connsiteY378" fmla="*/ 862788 h 1466839"/>
                <a:gd name="connsiteX379" fmla="*/ 70080 w 387963"/>
                <a:gd name="connsiteY379" fmla="*/ 867722 h 1466839"/>
                <a:gd name="connsiteX380" fmla="*/ 72152 w 387963"/>
                <a:gd name="connsiteY380" fmla="*/ 866143 h 1466839"/>
                <a:gd name="connsiteX381" fmla="*/ 78320 w 387963"/>
                <a:gd name="connsiteY381" fmla="*/ 866143 h 1466839"/>
                <a:gd name="connsiteX382" fmla="*/ 74175 w 387963"/>
                <a:gd name="connsiteY382" fmla="*/ 871077 h 1466839"/>
                <a:gd name="connsiteX383" fmla="*/ 65936 w 387963"/>
                <a:gd name="connsiteY383" fmla="*/ 876011 h 1466839"/>
                <a:gd name="connsiteX384" fmla="*/ 65936 w 387963"/>
                <a:gd name="connsiteY384" fmla="*/ 880945 h 1466839"/>
                <a:gd name="connsiteX385" fmla="*/ 72152 w 387963"/>
                <a:gd name="connsiteY385" fmla="*/ 882574 h 1466839"/>
                <a:gd name="connsiteX386" fmla="*/ 76297 w 387963"/>
                <a:gd name="connsiteY386" fmla="*/ 880945 h 1466839"/>
                <a:gd name="connsiteX387" fmla="*/ 76297 w 387963"/>
                <a:gd name="connsiteY387" fmla="*/ 885879 h 1466839"/>
                <a:gd name="connsiteX388" fmla="*/ 78320 w 387963"/>
                <a:gd name="connsiteY388" fmla="*/ 895747 h 1466839"/>
                <a:gd name="connsiteX389" fmla="*/ 80392 w 387963"/>
                <a:gd name="connsiteY389" fmla="*/ 900681 h 1466839"/>
                <a:gd name="connsiteX390" fmla="*/ 78320 w 387963"/>
                <a:gd name="connsiteY390" fmla="*/ 902260 h 1466839"/>
                <a:gd name="connsiteX391" fmla="*/ 76297 w 387963"/>
                <a:gd name="connsiteY391" fmla="*/ 899053 h 1466839"/>
                <a:gd name="connsiteX392" fmla="*/ 74175 w 387963"/>
                <a:gd name="connsiteY392" fmla="*/ 892589 h 1466839"/>
                <a:gd name="connsiteX393" fmla="*/ 70080 w 387963"/>
                <a:gd name="connsiteY393" fmla="*/ 891011 h 1466839"/>
                <a:gd name="connsiteX394" fmla="*/ 68057 w 387963"/>
                <a:gd name="connsiteY394" fmla="*/ 894218 h 1466839"/>
                <a:gd name="connsiteX395" fmla="*/ 68057 w 387963"/>
                <a:gd name="connsiteY395" fmla="*/ 897424 h 1466839"/>
                <a:gd name="connsiteX396" fmla="*/ 74175 w 387963"/>
                <a:gd name="connsiteY396" fmla="*/ 902359 h 1466839"/>
                <a:gd name="connsiteX397" fmla="*/ 76297 w 387963"/>
                <a:gd name="connsiteY397" fmla="*/ 905566 h 1466839"/>
                <a:gd name="connsiteX398" fmla="*/ 70080 w 387963"/>
                <a:gd name="connsiteY398" fmla="*/ 907244 h 1466839"/>
                <a:gd name="connsiteX399" fmla="*/ 68057 w 387963"/>
                <a:gd name="connsiteY399" fmla="*/ 908822 h 1466839"/>
                <a:gd name="connsiteX400" fmla="*/ 68057 w 387963"/>
                <a:gd name="connsiteY400" fmla="*/ 916914 h 1466839"/>
                <a:gd name="connsiteX401" fmla="*/ 74175 w 387963"/>
                <a:gd name="connsiteY401" fmla="*/ 921848 h 1466839"/>
                <a:gd name="connsiteX402" fmla="*/ 68057 w 387963"/>
                <a:gd name="connsiteY402" fmla="*/ 926782 h 1466839"/>
                <a:gd name="connsiteX403" fmla="*/ 68057 w 387963"/>
                <a:gd name="connsiteY403" fmla="*/ 931716 h 1466839"/>
                <a:gd name="connsiteX404" fmla="*/ 70080 w 387963"/>
                <a:gd name="connsiteY404" fmla="*/ 933344 h 1466839"/>
                <a:gd name="connsiteX405" fmla="*/ 63913 w 387963"/>
                <a:gd name="connsiteY405" fmla="*/ 938278 h 1466839"/>
                <a:gd name="connsiteX406" fmla="*/ 65936 w 387963"/>
                <a:gd name="connsiteY406" fmla="*/ 941535 h 1466839"/>
                <a:gd name="connsiteX407" fmla="*/ 74175 w 387963"/>
                <a:gd name="connsiteY407" fmla="*/ 946469 h 1466839"/>
                <a:gd name="connsiteX408" fmla="*/ 72152 w 387963"/>
                <a:gd name="connsiteY408" fmla="*/ 951403 h 1466839"/>
                <a:gd name="connsiteX409" fmla="*/ 70080 w 387963"/>
                <a:gd name="connsiteY409" fmla="*/ 959446 h 1466839"/>
                <a:gd name="connsiteX410" fmla="*/ 65936 w 387963"/>
                <a:gd name="connsiteY410" fmla="*/ 964380 h 1466839"/>
                <a:gd name="connsiteX411" fmla="*/ 65936 w 387963"/>
                <a:gd name="connsiteY411" fmla="*/ 967587 h 1466839"/>
                <a:gd name="connsiteX412" fmla="*/ 70080 w 387963"/>
                <a:gd name="connsiteY412" fmla="*/ 970794 h 1466839"/>
                <a:gd name="connsiteX413" fmla="*/ 76297 w 387963"/>
                <a:gd name="connsiteY413" fmla="*/ 970794 h 1466839"/>
                <a:gd name="connsiteX414" fmla="*/ 80392 w 387963"/>
                <a:gd name="connsiteY414" fmla="*/ 975728 h 1466839"/>
                <a:gd name="connsiteX415" fmla="*/ 80392 w 387963"/>
                <a:gd name="connsiteY415" fmla="*/ 978984 h 1466839"/>
                <a:gd name="connsiteX416" fmla="*/ 86609 w 387963"/>
                <a:gd name="connsiteY416" fmla="*/ 980563 h 1466839"/>
                <a:gd name="connsiteX417" fmla="*/ 90754 w 387963"/>
                <a:gd name="connsiteY417" fmla="*/ 983770 h 1466839"/>
                <a:gd name="connsiteX418" fmla="*/ 88681 w 387963"/>
                <a:gd name="connsiteY418" fmla="*/ 993638 h 1466839"/>
                <a:gd name="connsiteX419" fmla="*/ 84537 w 387963"/>
                <a:gd name="connsiteY419" fmla="*/ 1001681 h 1466839"/>
                <a:gd name="connsiteX420" fmla="*/ 74175 w 387963"/>
                <a:gd name="connsiteY420" fmla="*/ 1006615 h 1466839"/>
                <a:gd name="connsiteX421" fmla="*/ 70080 w 387963"/>
                <a:gd name="connsiteY421" fmla="*/ 1006615 h 1466839"/>
                <a:gd name="connsiteX422" fmla="*/ 70080 w 387963"/>
                <a:gd name="connsiteY422" fmla="*/ 1011549 h 1466839"/>
                <a:gd name="connsiteX423" fmla="*/ 72152 w 387963"/>
                <a:gd name="connsiteY423" fmla="*/ 1017963 h 1466839"/>
                <a:gd name="connsiteX424" fmla="*/ 70080 w 387963"/>
                <a:gd name="connsiteY424" fmla="*/ 1021220 h 1466839"/>
                <a:gd name="connsiteX425" fmla="*/ 70080 w 387963"/>
                <a:gd name="connsiteY425" fmla="*/ 1026154 h 1466839"/>
                <a:gd name="connsiteX426" fmla="*/ 74175 w 387963"/>
                <a:gd name="connsiteY426" fmla="*/ 1027732 h 1466839"/>
                <a:gd name="connsiteX427" fmla="*/ 68057 w 387963"/>
                <a:gd name="connsiteY427" fmla="*/ 1032667 h 1466839"/>
                <a:gd name="connsiteX428" fmla="*/ 63913 w 387963"/>
                <a:gd name="connsiteY428" fmla="*/ 1042535 h 1466839"/>
                <a:gd name="connsiteX429" fmla="*/ 63913 w 387963"/>
                <a:gd name="connsiteY429" fmla="*/ 1048949 h 1466839"/>
                <a:gd name="connsiteX430" fmla="*/ 68057 w 387963"/>
                <a:gd name="connsiteY430" fmla="*/ 1050577 h 1466839"/>
                <a:gd name="connsiteX431" fmla="*/ 65936 w 387963"/>
                <a:gd name="connsiteY431" fmla="*/ 1053784 h 1466839"/>
                <a:gd name="connsiteX432" fmla="*/ 65936 w 387963"/>
                <a:gd name="connsiteY432" fmla="*/ 1066712 h 1466839"/>
                <a:gd name="connsiteX433" fmla="*/ 61840 w 387963"/>
                <a:gd name="connsiteY433" fmla="*/ 1068290 h 1466839"/>
                <a:gd name="connsiteX434" fmla="*/ 59768 w 387963"/>
                <a:gd name="connsiteY434" fmla="*/ 1074754 h 1466839"/>
                <a:gd name="connsiteX435" fmla="*/ 57696 w 387963"/>
                <a:gd name="connsiteY435" fmla="*/ 1069820 h 1466839"/>
                <a:gd name="connsiteX436" fmla="*/ 59768 w 387963"/>
                <a:gd name="connsiteY436" fmla="*/ 1068192 h 1466839"/>
                <a:gd name="connsiteX437" fmla="*/ 61840 w 387963"/>
                <a:gd name="connsiteY437" fmla="*/ 1058324 h 1466839"/>
                <a:gd name="connsiteX438" fmla="*/ 59768 w 387963"/>
                <a:gd name="connsiteY438" fmla="*/ 1051860 h 1466839"/>
                <a:gd name="connsiteX439" fmla="*/ 61840 w 387963"/>
                <a:gd name="connsiteY439" fmla="*/ 1048653 h 1466839"/>
                <a:gd name="connsiteX440" fmla="*/ 59768 w 387963"/>
                <a:gd name="connsiteY440" fmla="*/ 1048653 h 1466839"/>
                <a:gd name="connsiteX441" fmla="*/ 49456 w 387963"/>
                <a:gd name="connsiteY441" fmla="*/ 1051860 h 1466839"/>
                <a:gd name="connsiteX442" fmla="*/ 43239 w 387963"/>
                <a:gd name="connsiteY442" fmla="*/ 1055117 h 1466839"/>
                <a:gd name="connsiteX443" fmla="*/ 38848 w 387963"/>
                <a:gd name="connsiteY443" fmla="*/ 1055117 h 1466839"/>
                <a:gd name="connsiteX444" fmla="*/ 38848 w 387963"/>
                <a:gd name="connsiteY444" fmla="*/ 1051860 h 1466839"/>
                <a:gd name="connsiteX445" fmla="*/ 45065 w 387963"/>
                <a:gd name="connsiteY445" fmla="*/ 1050281 h 1466839"/>
                <a:gd name="connsiteX446" fmla="*/ 49209 w 387963"/>
                <a:gd name="connsiteY446" fmla="*/ 1047074 h 1466839"/>
                <a:gd name="connsiteX447" fmla="*/ 49209 w 387963"/>
                <a:gd name="connsiteY447" fmla="*/ 1038982 h 1466839"/>
                <a:gd name="connsiteX448" fmla="*/ 47137 w 387963"/>
                <a:gd name="connsiteY448" fmla="*/ 1037403 h 1466839"/>
                <a:gd name="connsiteX449" fmla="*/ 38848 w 387963"/>
                <a:gd name="connsiteY449" fmla="*/ 1038982 h 1466839"/>
                <a:gd name="connsiteX450" fmla="*/ 26463 w 387963"/>
                <a:gd name="connsiteY450" fmla="*/ 1040610 h 1466839"/>
                <a:gd name="connsiteX451" fmla="*/ 22319 w 387963"/>
                <a:gd name="connsiteY451" fmla="*/ 1038982 h 1466839"/>
                <a:gd name="connsiteX452" fmla="*/ 18224 w 387963"/>
                <a:gd name="connsiteY452" fmla="*/ 1040610 h 1466839"/>
                <a:gd name="connsiteX453" fmla="*/ 18224 w 387963"/>
                <a:gd name="connsiteY453" fmla="*/ 1043817 h 1466839"/>
                <a:gd name="connsiteX454" fmla="*/ 22319 w 387963"/>
                <a:gd name="connsiteY454" fmla="*/ 1050281 h 1466839"/>
                <a:gd name="connsiteX455" fmla="*/ 24440 w 387963"/>
                <a:gd name="connsiteY455" fmla="*/ 1050281 h 1466839"/>
                <a:gd name="connsiteX456" fmla="*/ 26463 w 387963"/>
                <a:gd name="connsiteY456" fmla="*/ 1055215 h 1466839"/>
                <a:gd name="connsiteX457" fmla="*/ 22319 w 387963"/>
                <a:gd name="connsiteY457" fmla="*/ 1055215 h 1466839"/>
                <a:gd name="connsiteX458" fmla="*/ 18224 w 387963"/>
                <a:gd name="connsiteY458" fmla="*/ 1061629 h 1466839"/>
                <a:gd name="connsiteX459" fmla="*/ 14079 w 387963"/>
                <a:gd name="connsiteY459" fmla="*/ 1064886 h 1466839"/>
                <a:gd name="connsiteX460" fmla="*/ 12056 w 387963"/>
                <a:gd name="connsiteY460" fmla="*/ 1069820 h 1466839"/>
                <a:gd name="connsiteX461" fmla="*/ 1694 w 387963"/>
                <a:gd name="connsiteY461" fmla="*/ 1074754 h 1466839"/>
                <a:gd name="connsiteX462" fmla="*/ 1694 w 387963"/>
                <a:gd name="connsiteY462" fmla="*/ 1079688 h 1466839"/>
                <a:gd name="connsiteX463" fmla="*/ 12056 w 387963"/>
                <a:gd name="connsiteY463" fmla="*/ 1089556 h 1466839"/>
                <a:gd name="connsiteX464" fmla="*/ 16200 w 387963"/>
                <a:gd name="connsiteY464" fmla="*/ 1089556 h 1466839"/>
                <a:gd name="connsiteX465" fmla="*/ 20296 w 387963"/>
                <a:gd name="connsiteY465" fmla="*/ 1086299 h 1466839"/>
                <a:gd name="connsiteX466" fmla="*/ 20296 w 387963"/>
                <a:gd name="connsiteY466" fmla="*/ 1083092 h 1466839"/>
                <a:gd name="connsiteX467" fmla="*/ 14079 w 387963"/>
                <a:gd name="connsiteY467" fmla="*/ 1081514 h 1466839"/>
                <a:gd name="connsiteX468" fmla="*/ 12056 w 387963"/>
                <a:gd name="connsiteY468" fmla="*/ 1078257 h 1466839"/>
                <a:gd name="connsiteX469" fmla="*/ 16200 w 387963"/>
                <a:gd name="connsiteY469" fmla="*/ 1071794 h 1466839"/>
                <a:gd name="connsiteX470" fmla="*/ 24440 w 387963"/>
                <a:gd name="connsiteY470" fmla="*/ 1071794 h 1466839"/>
                <a:gd name="connsiteX471" fmla="*/ 26463 w 387963"/>
                <a:gd name="connsiteY471" fmla="*/ 1070214 h 1466839"/>
                <a:gd name="connsiteX472" fmla="*/ 28535 w 387963"/>
                <a:gd name="connsiteY472" fmla="*/ 1076678 h 1466839"/>
                <a:gd name="connsiteX473" fmla="*/ 34752 w 387963"/>
                <a:gd name="connsiteY473" fmla="*/ 1079886 h 1466839"/>
                <a:gd name="connsiteX474" fmla="*/ 42992 w 387963"/>
                <a:gd name="connsiteY474" fmla="*/ 1079886 h 1466839"/>
                <a:gd name="connsiteX475" fmla="*/ 47137 w 387963"/>
                <a:gd name="connsiteY475" fmla="*/ 1076678 h 1466839"/>
                <a:gd name="connsiteX476" fmla="*/ 51282 w 387963"/>
                <a:gd name="connsiteY476" fmla="*/ 1078257 h 1466839"/>
                <a:gd name="connsiteX477" fmla="*/ 53304 w 387963"/>
                <a:gd name="connsiteY477" fmla="*/ 1081514 h 1466839"/>
                <a:gd name="connsiteX478" fmla="*/ 61594 w 387963"/>
                <a:gd name="connsiteY478" fmla="*/ 1086448 h 1466839"/>
                <a:gd name="connsiteX479" fmla="*/ 65689 w 387963"/>
                <a:gd name="connsiteY479" fmla="*/ 1089704 h 1466839"/>
                <a:gd name="connsiteX480" fmla="*/ 61594 w 387963"/>
                <a:gd name="connsiteY480" fmla="*/ 1091332 h 1466839"/>
                <a:gd name="connsiteX481" fmla="*/ 59521 w 387963"/>
                <a:gd name="connsiteY481" fmla="*/ 1094540 h 1466839"/>
                <a:gd name="connsiteX482" fmla="*/ 63666 w 387963"/>
                <a:gd name="connsiteY482" fmla="*/ 1097747 h 1466839"/>
                <a:gd name="connsiteX483" fmla="*/ 59521 w 387963"/>
                <a:gd name="connsiteY483" fmla="*/ 1099375 h 1466839"/>
                <a:gd name="connsiteX484" fmla="*/ 55426 w 387963"/>
                <a:gd name="connsiteY484" fmla="*/ 1104309 h 1466839"/>
                <a:gd name="connsiteX485" fmla="*/ 59521 w 387963"/>
                <a:gd name="connsiteY485" fmla="*/ 1107565 h 1466839"/>
                <a:gd name="connsiteX486" fmla="*/ 65689 w 387963"/>
                <a:gd name="connsiteY486" fmla="*/ 1110773 h 1466839"/>
                <a:gd name="connsiteX487" fmla="*/ 63666 w 387963"/>
                <a:gd name="connsiteY487" fmla="*/ 1113979 h 1466839"/>
                <a:gd name="connsiteX488" fmla="*/ 57449 w 387963"/>
                <a:gd name="connsiteY488" fmla="*/ 1110773 h 1466839"/>
                <a:gd name="connsiteX489" fmla="*/ 55426 w 387963"/>
                <a:gd name="connsiteY489" fmla="*/ 1107565 h 1466839"/>
                <a:gd name="connsiteX490" fmla="*/ 51282 w 387963"/>
                <a:gd name="connsiteY490" fmla="*/ 1107565 h 1466839"/>
                <a:gd name="connsiteX491" fmla="*/ 51282 w 387963"/>
                <a:gd name="connsiteY491" fmla="*/ 1113979 h 1466839"/>
                <a:gd name="connsiteX492" fmla="*/ 57449 w 387963"/>
                <a:gd name="connsiteY492" fmla="*/ 1117187 h 1466839"/>
                <a:gd name="connsiteX493" fmla="*/ 59521 w 387963"/>
                <a:gd name="connsiteY493" fmla="*/ 1122121 h 1466839"/>
                <a:gd name="connsiteX494" fmla="*/ 67811 w 387963"/>
                <a:gd name="connsiteY494" fmla="*/ 1123749 h 1466839"/>
                <a:gd name="connsiteX495" fmla="*/ 78073 w 387963"/>
                <a:gd name="connsiteY495" fmla="*/ 1118815 h 1466839"/>
                <a:gd name="connsiteX496" fmla="*/ 82218 w 387963"/>
                <a:gd name="connsiteY496" fmla="*/ 1122022 h 1466839"/>
                <a:gd name="connsiteX497" fmla="*/ 86363 w 387963"/>
                <a:gd name="connsiteY497" fmla="*/ 1122022 h 1466839"/>
                <a:gd name="connsiteX498" fmla="*/ 92530 w 387963"/>
                <a:gd name="connsiteY498" fmla="*/ 1120394 h 1466839"/>
                <a:gd name="connsiteX499" fmla="*/ 88435 w 387963"/>
                <a:gd name="connsiteY499" fmla="*/ 1123650 h 1466839"/>
                <a:gd name="connsiteX500" fmla="*/ 90507 w 387963"/>
                <a:gd name="connsiteY500" fmla="*/ 1125278 h 1466839"/>
                <a:gd name="connsiteX501" fmla="*/ 88435 w 387963"/>
                <a:gd name="connsiteY501" fmla="*/ 1126857 h 1466839"/>
                <a:gd name="connsiteX502" fmla="*/ 82218 w 387963"/>
                <a:gd name="connsiteY502" fmla="*/ 1126857 h 1466839"/>
                <a:gd name="connsiteX503" fmla="*/ 80146 w 387963"/>
                <a:gd name="connsiteY503" fmla="*/ 1130064 h 1466839"/>
                <a:gd name="connsiteX504" fmla="*/ 73929 w 387963"/>
                <a:gd name="connsiteY504" fmla="*/ 1126857 h 1466839"/>
                <a:gd name="connsiteX505" fmla="*/ 63666 w 387963"/>
                <a:gd name="connsiteY505" fmla="*/ 1128486 h 1466839"/>
                <a:gd name="connsiteX506" fmla="*/ 61594 w 387963"/>
                <a:gd name="connsiteY506" fmla="*/ 1133420 h 1466839"/>
                <a:gd name="connsiteX507" fmla="*/ 63666 w 387963"/>
                <a:gd name="connsiteY507" fmla="*/ 1136627 h 1466839"/>
                <a:gd name="connsiteX508" fmla="*/ 69834 w 387963"/>
                <a:gd name="connsiteY508" fmla="*/ 1139834 h 1466839"/>
                <a:gd name="connsiteX509" fmla="*/ 71906 w 387963"/>
                <a:gd name="connsiteY509" fmla="*/ 1144768 h 1466839"/>
                <a:gd name="connsiteX510" fmla="*/ 78073 w 387963"/>
                <a:gd name="connsiteY510" fmla="*/ 1146347 h 1466839"/>
                <a:gd name="connsiteX511" fmla="*/ 82218 w 387963"/>
                <a:gd name="connsiteY511" fmla="*/ 1144768 h 1466839"/>
                <a:gd name="connsiteX512" fmla="*/ 82218 w 387963"/>
                <a:gd name="connsiteY512" fmla="*/ 1147975 h 1466839"/>
                <a:gd name="connsiteX513" fmla="*/ 76050 w 387963"/>
                <a:gd name="connsiteY513" fmla="*/ 1152909 h 1466839"/>
                <a:gd name="connsiteX514" fmla="*/ 76050 w 387963"/>
                <a:gd name="connsiteY514" fmla="*/ 1154538 h 1466839"/>
                <a:gd name="connsiteX515" fmla="*/ 78073 w 387963"/>
                <a:gd name="connsiteY515" fmla="*/ 1157744 h 1466839"/>
                <a:gd name="connsiteX516" fmla="*/ 76050 w 387963"/>
                <a:gd name="connsiteY516" fmla="*/ 1160951 h 1466839"/>
                <a:gd name="connsiteX517" fmla="*/ 71906 w 387963"/>
                <a:gd name="connsiteY517" fmla="*/ 1160951 h 1466839"/>
                <a:gd name="connsiteX518" fmla="*/ 71906 w 387963"/>
                <a:gd name="connsiteY518" fmla="*/ 1165885 h 1466839"/>
                <a:gd name="connsiteX519" fmla="*/ 76050 w 387963"/>
                <a:gd name="connsiteY519" fmla="*/ 1180392 h 1466839"/>
                <a:gd name="connsiteX520" fmla="*/ 78073 w 387963"/>
                <a:gd name="connsiteY520" fmla="*/ 1185326 h 1466839"/>
                <a:gd name="connsiteX521" fmla="*/ 78073 w 387963"/>
                <a:gd name="connsiteY521" fmla="*/ 1191789 h 1466839"/>
                <a:gd name="connsiteX522" fmla="*/ 82218 w 387963"/>
                <a:gd name="connsiteY522" fmla="*/ 1198204 h 1466839"/>
                <a:gd name="connsiteX523" fmla="*/ 88435 w 387963"/>
                <a:gd name="connsiteY523" fmla="*/ 1199832 h 1466839"/>
                <a:gd name="connsiteX524" fmla="*/ 88435 w 387963"/>
                <a:gd name="connsiteY524" fmla="*/ 1189964 h 1466839"/>
                <a:gd name="connsiteX525" fmla="*/ 92530 w 387963"/>
                <a:gd name="connsiteY525" fmla="*/ 1178714 h 1466839"/>
                <a:gd name="connsiteX526" fmla="*/ 96675 w 387963"/>
                <a:gd name="connsiteY526" fmla="*/ 1175458 h 1466839"/>
                <a:gd name="connsiteX527" fmla="*/ 98747 w 387963"/>
                <a:gd name="connsiteY527" fmla="*/ 1177086 h 1466839"/>
                <a:gd name="connsiteX528" fmla="*/ 94652 w 387963"/>
                <a:gd name="connsiteY528" fmla="*/ 1178714 h 1466839"/>
                <a:gd name="connsiteX529" fmla="*/ 90507 w 387963"/>
                <a:gd name="connsiteY529" fmla="*/ 1191592 h 1466839"/>
                <a:gd name="connsiteX530" fmla="*/ 92530 w 387963"/>
                <a:gd name="connsiteY530" fmla="*/ 1194799 h 1466839"/>
                <a:gd name="connsiteX531" fmla="*/ 96675 w 387963"/>
                <a:gd name="connsiteY531" fmla="*/ 1198006 h 1466839"/>
                <a:gd name="connsiteX532" fmla="*/ 102891 w 387963"/>
                <a:gd name="connsiteY532" fmla="*/ 1196427 h 1466839"/>
                <a:gd name="connsiteX533" fmla="*/ 100819 w 387963"/>
                <a:gd name="connsiteY533" fmla="*/ 1198006 h 1466839"/>
                <a:gd name="connsiteX534" fmla="*/ 92530 w 387963"/>
                <a:gd name="connsiteY534" fmla="*/ 1199634 h 1466839"/>
                <a:gd name="connsiteX535" fmla="*/ 86363 w 387963"/>
                <a:gd name="connsiteY535" fmla="*/ 1204568 h 1466839"/>
                <a:gd name="connsiteX536" fmla="*/ 86363 w 387963"/>
                <a:gd name="connsiteY536" fmla="*/ 1207775 h 1466839"/>
                <a:gd name="connsiteX537" fmla="*/ 84290 w 387963"/>
                <a:gd name="connsiteY537" fmla="*/ 1214239 h 1466839"/>
                <a:gd name="connsiteX538" fmla="*/ 84290 w 387963"/>
                <a:gd name="connsiteY538" fmla="*/ 1219173 h 1466839"/>
                <a:gd name="connsiteX539" fmla="*/ 82218 w 387963"/>
                <a:gd name="connsiteY539" fmla="*/ 1222429 h 1466839"/>
                <a:gd name="connsiteX540" fmla="*/ 78073 w 387963"/>
                <a:gd name="connsiteY540" fmla="*/ 1227363 h 1466839"/>
                <a:gd name="connsiteX541" fmla="*/ 80146 w 387963"/>
                <a:gd name="connsiteY541" fmla="*/ 1230620 h 1466839"/>
                <a:gd name="connsiteX542" fmla="*/ 88435 w 387963"/>
                <a:gd name="connsiteY542" fmla="*/ 1237084 h 1466839"/>
                <a:gd name="connsiteX543" fmla="*/ 102891 w 387963"/>
                <a:gd name="connsiteY543" fmla="*/ 1240291 h 1466839"/>
                <a:gd name="connsiteX544" fmla="*/ 109059 w 387963"/>
                <a:gd name="connsiteY544" fmla="*/ 1243498 h 1466839"/>
                <a:gd name="connsiteX545" fmla="*/ 107036 w 387963"/>
                <a:gd name="connsiteY545" fmla="*/ 1246754 h 1466839"/>
                <a:gd name="connsiteX546" fmla="*/ 104915 w 387963"/>
                <a:gd name="connsiteY546" fmla="*/ 1246754 h 1466839"/>
                <a:gd name="connsiteX547" fmla="*/ 107036 w 387963"/>
                <a:gd name="connsiteY547" fmla="*/ 1251688 h 1466839"/>
                <a:gd name="connsiteX548" fmla="*/ 109059 w 387963"/>
                <a:gd name="connsiteY548" fmla="*/ 1254945 h 1466839"/>
                <a:gd name="connsiteX549" fmla="*/ 115276 w 387963"/>
                <a:gd name="connsiteY549" fmla="*/ 1250011 h 1466839"/>
                <a:gd name="connsiteX550" fmla="*/ 113204 w 387963"/>
                <a:gd name="connsiteY550" fmla="*/ 1254945 h 1466839"/>
                <a:gd name="connsiteX551" fmla="*/ 113204 w 387963"/>
                <a:gd name="connsiteY551" fmla="*/ 1258152 h 1466839"/>
                <a:gd name="connsiteX552" fmla="*/ 107036 w 387963"/>
                <a:gd name="connsiteY552" fmla="*/ 1259780 h 1466839"/>
                <a:gd name="connsiteX553" fmla="*/ 102891 w 387963"/>
                <a:gd name="connsiteY553" fmla="*/ 1264714 h 1466839"/>
                <a:gd name="connsiteX554" fmla="*/ 107036 w 387963"/>
                <a:gd name="connsiteY554" fmla="*/ 1267922 h 1466839"/>
                <a:gd name="connsiteX555" fmla="*/ 111131 w 387963"/>
                <a:gd name="connsiteY555" fmla="*/ 1267922 h 1466839"/>
                <a:gd name="connsiteX556" fmla="*/ 111131 w 387963"/>
                <a:gd name="connsiteY556" fmla="*/ 1271129 h 1466839"/>
                <a:gd name="connsiteX557" fmla="*/ 117299 w 387963"/>
                <a:gd name="connsiteY557" fmla="*/ 1276063 h 1466839"/>
                <a:gd name="connsiteX558" fmla="*/ 119421 w 387963"/>
                <a:gd name="connsiteY558" fmla="*/ 1276063 h 1466839"/>
                <a:gd name="connsiteX559" fmla="*/ 123516 w 387963"/>
                <a:gd name="connsiteY559" fmla="*/ 1272856 h 1466839"/>
                <a:gd name="connsiteX560" fmla="*/ 123516 w 387963"/>
                <a:gd name="connsiteY560" fmla="*/ 1279270 h 1466839"/>
                <a:gd name="connsiteX561" fmla="*/ 125588 w 387963"/>
                <a:gd name="connsiteY561" fmla="*/ 1284204 h 1466839"/>
                <a:gd name="connsiteX562" fmla="*/ 121443 w 387963"/>
                <a:gd name="connsiteY562" fmla="*/ 1284204 h 1466839"/>
                <a:gd name="connsiteX563" fmla="*/ 119421 w 387963"/>
                <a:gd name="connsiteY563" fmla="*/ 1282576 h 1466839"/>
                <a:gd name="connsiteX564" fmla="*/ 115276 w 387963"/>
                <a:gd name="connsiteY564" fmla="*/ 1282576 h 1466839"/>
                <a:gd name="connsiteX565" fmla="*/ 115276 w 387963"/>
                <a:gd name="connsiteY565" fmla="*/ 1287510 h 1466839"/>
                <a:gd name="connsiteX566" fmla="*/ 121443 w 387963"/>
                <a:gd name="connsiteY566" fmla="*/ 1293973 h 1466839"/>
                <a:gd name="connsiteX567" fmla="*/ 123516 w 387963"/>
                <a:gd name="connsiteY567" fmla="*/ 1293973 h 1466839"/>
                <a:gd name="connsiteX568" fmla="*/ 125588 w 387963"/>
                <a:gd name="connsiteY568" fmla="*/ 1300437 h 1466839"/>
                <a:gd name="connsiteX569" fmla="*/ 127660 w 387963"/>
                <a:gd name="connsiteY569" fmla="*/ 1303644 h 1466839"/>
                <a:gd name="connsiteX570" fmla="*/ 133828 w 387963"/>
                <a:gd name="connsiteY570" fmla="*/ 1308578 h 1466839"/>
                <a:gd name="connsiteX571" fmla="*/ 140045 w 387963"/>
                <a:gd name="connsiteY571" fmla="*/ 1308578 h 1466839"/>
                <a:gd name="connsiteX572" fmla="*/ 135900 w 387963"/>
                <a:gd name="connsiteY572" fmla="*/ 1300535 h 1466839"/>
                <a:gd name="connsiteX573" fmla="*/ 137973 w 387963"/>
                <a:gd name="connsiteY573" fmla="*/ 1297279 h 1466839"/>
                <a:gd name="connsiteX574" fmla="*/ 135900 w 387963"/>
                <a:gd name="connsiteY574" fmla="*/ 1292345 h 1466839"/>
                <a:gd name="connsiteX575" fmla="*/ 142117 w 387963"/>
                <a:gd name="connsiteY575" fmla="*/ 1295552 h 1466839"/>
                <a:gd name="connsiteX576" fmla="*/ 142117 w 387963"/>
                <a:gd name="connsiteY576" fmla="*/ 1300486 h 1466839"/>
                <a:gd name="connsiteX577" fmla="*/ 146262 w 387963"/>
                <a:gd name="connsiteY577" fmla="*/ 1305420 h 1466839"/>
                <a:gd name="connsiteX578" fmla="*/ 150357 w 387963"/>
                <a:gd name="connsiteY578" fmla="*/ 1299006 h 1466839"/>
                <a:gd name="connsiteX579" fmla="*/ 154502 w 387963"/>
                <a:gd name="connsiteY579" fmla="*/ 1295750 h 1466839"/>
                <a:gd name="connsiteX580" fmla="*/ 154502 w 387963"/>
                <a:gd name="connsiteY580" fmla="*/ 1290816 h 1466839"/>
                <a:gd name="connsiteX581" fmla="*/ 148383 w 387963"/>
                <a:gd name="connsiteY581" fmla="*/ 1290816 h 1466839"/>
                <a:gd name="connsiteX582" fmla="*/ 140144 w 387963"/>
                <a:gd name="connsiteY582" fmla="*/ 1289138 h 1466839"/>
                <a:gd name="connsiteX583" fmla="*/ 140144 w 387963"/>
                <a:gd name="connsiteY583" fmla="*/ 1285931 h 1466839"/>
                <a:gd name="connsiteX584" fmla="*/ 146360 w 387963"/>
                <a:gd name="connsiteY584" fmla="*/ 1285931 h 1466839"/>
                <a:gd name="connsiteX585" fmla="*/ 156623 w 387963"/>
                <a:gd name="connsiteY585" fmla="*/ 1289138 h 1466839"/>
                <a:gd name="connsiteX586" fmla="*/ 158745 w 387963"/>
                <a:gd name="connsiteY586" fmla="*/ 1292394 h 1466839"/>
                <a:gd name="connsiteX587" fmla="*/ 167133 w 387963"/>
                <a:gd name="connsiteY587" fmla="*/ 1292394 h 1466839"/>
                <a:gd name="connsiteX588" fmla="*/ 165060 w 387963"/>
                <a:gd name="connsiteY588" fmla="*/ 1287460 h 1466839"/>
                <a:gd name="connsiteX589" fmla="*/ 158893 w 387963"/>
                <a:gd name="connsiteY589" fmla="*/ 1284253 h 1466839"/>
                <a:gd name="connsiteX590" fmla="*/ 144387 w 387963"/>
                <a:gd name="connsiteY590" fmla="*/ 1282625 h 1466839"/>
                <a:gd name="connsiteX591" fmla="*/ 144387 w 387963"/>
                <a:gd name="connsiteY591" fmla="*/ 1281046 h 1466839"/>
                <a:gd name="connsiteX592" fmla="*/ 148531 w 387963"/>
                <a:gd name="connsiteY592" fmla="*/ 1279368 h 1466839"/>
                <a:gd name="connsiteX593" fmla="*/ 158893 w 387963"/>
                <a:gd name="connsiteY593" fmla="*/ 1282625 h 1466839"/>
                <a:gd name="connsiteX594" fmla="*/ 171228 w 387963"/>
                <a:gd name="connsiteY594" fmla="*/ 1287559 h 1466839"/>
                <a:gd name="connsiteX595" fmla="*/ 173300 w 387963"/>
                <a:gd name="connsiteY595" fmla="*/ 1295601 h 1466839"/>
                <a:gd name="connsiteX596" fmla="*/ 167133 w 387963"/>
                <a:gd name="connsiteY596" fmla="*/ 1300535 h 1466839"/>
                <a:gd name="connsiteX597" fmla="*/ 167133 w 387963"/>
                <a:gd name="connsiteY597" fmla="*/ 1305470 h 1466839"/>
                <a:gd name="connsiteX598" fmla="*/ 173300 w 387963"/>
                <a:gd name="connsiteY598" fmla="*/ 1313512 h 1466839"/>
                <a:gd name="connsiteX599" fmla="*/ 171228 w 387963"/>
                <a:gd name="connsiteY599" fmla="*/ 1316769 h 1466839"/>
                <a:gd name="connsiteX600" fmla="*/ 167133 w 387963"/>
                <a:gd name="connsiteY600" fmla="*/ 1321703 h 1466839"/>
                <a:gd name="connsiteX601" fmla="*/ 169155 w 387963"/>
                <a:gd name="connsiteY601" fmla="*/ 1313611 h 1466839"/>
                <a:gd name="connsiteX602" fmla="*/ 165060 w 387963"/>
                <a:gd name="connsiteY602" fmla="*/ 1303743 h 1466839"/>
                <a:gd name="connsiteX603" fmla="*/ 158893 w 387963"/>
                <a:gd name="connsiteY603" fmla="*/ 1300535 h 1466839"/>
                <a:gd name="connsiteX604" fmla="*/ 156771 w 387963"/>
                <a:gd name="connsiteY604" fmla="*/ 1303743 h 1466839"/>
                <a:gd name="connsiteX605" fmla="*/ 156771 w 387963"/>
                <a:gd name="connsiteY605" fmla="*/ 1308677 h 1466839"/>
                <a:gd name="connsiteX606" fmla="*/ 158893 w 387963"/>
                <a:gd name="connsiteY606" fmla="*/ 1311883 h 1466839"/>
                <a:gd name="connsiteX607" fmla="*/ 156771 w 387963"/>
                <a:gd name="connsiteY607" fmla="*/ 1316817 h 1466839"/>
                <a:gd name="connsiteX608" fmla="*/ 154748 w 387963"/>
                <a:gd name="connsiteY608" fmla="*/ 1315189 h 1466839"/>
                <a:gd name="connsiteX609" fmla="*/ 152676 w 387963"/>
                <a:gd name="connsiteY609" fmla="*/ 1310255 h 1466839"/>
                <a:gd name="connsiteX610" fmla="*/ 148531 w 387963"/>
                <a:gd name="connsiteY610" fmla="*/ 1310255 h 1466839"/>
                <a:gd name="connsiteX611" fmla="*/ 144387 w 387963"/>
                <a:gd name="connsiteY611" fmla="*/ 1313463 h 1466839"/>
                <a:gd name="connsiteX612" fmla="*/ 136147 w 387963"/>
                <a:gd name="connsiteY612" fmla="*/ 1313463 h 1466839"/>
                <a:gd name="connsiteX613" fmla="*/ 127907 w 387963"/>
                <a:gd name="connsiteY613" fmla="*/ 1315091 h 1466839"/>
                <a:gd name="connsiteX614" fmla="*/ 134075 w 387963"/>
                <a:gd name="connsiteY614" fmla="*/ 1320025 h 1466839"/>
                <a:gd name="connsiteX615" fmla="*/ 136147 w 387963"/>
                <a:gd name="connsiteY615" fmla="*/ 1326489 h 1466839"/>
                <a:gd name="connsiteX616" fmla="*/ 138219 w 387963"/>
                <a:gd name="connsiteY616" fmla="*/ 1331423 h 1466839"/>
                <a:gd name="connsiteX617" fmla="*/ 140292 w 387963"/>
                <a:gd name="connsiteY617" fmla="*/ 1334679 h 1466839"/>
                <a:gd name="connsiteX618" fmla="*/ 138219 w 387963"/>
                <a:gd name="connsiteY618" fmla="*/ 1337886 h 1466839"/>
                <a:gd name="connsiteX619" fmla="*/ 138219 w 387963"/>
                <a:gd name="connsiteY619" fmla="*/ 1341093 h 1466839"/>
                <a:gd name="connsiteX620" fmla="*/ 142462 w 387963"/>
                <a:gd name="connsiteY620" fmla="*/ 1341093 h 1466839"/>
                <a:gd name="connsiteX621" fmla="*/ 146607 w 387963"/>
                <a:gd name="connsiteY621" fmla="*/ 1336159 h 1466839"/>
                <a:gd name="connsiteX622" fmla="*/ 148630 w 387963"/>
                <a:gd name="connsiteY622" fmla="*/ 1337787 h 1466839"/>
                <a:gd name="connsiteX623" fmla="*/ 154847 w 387963"/>
                <a:gd name="connsiteY623" fmla="*/ 1339366 h 1466839"/>
                <a:gd name="connsiteX624" fmla="*/ 154847 w 387963"/>
                <a:gd name="connsiteY624" fmla="*/ 1340994 h 1466839"/>
                <a:gd name="connsiteX625" fmla="*/ 150702 w 387963"/>
                <a:gd name="connsiteY625" fmla="*/ 1342623 h 1466839"/>
                <a:gd name="connsiteX626" fmla="*/ 144485 w 387963"/>
                <a:gd name="connsiteY626" fmla="*/ 1347557 h 1466839"/>
                <a:gd name="connsiteX627" fmla="*/ 146607 w 387963"/>
                <a:gd name="connsiteY627" fmla="*/ 1350813 h 1466839"/>
                <a:gd name="connsiteX628" fmla="*/ 154847 w 387963"/>
                <a:gd name="connsiteY628" fmla="*/ 1350813 h 1466839"/>
                <a:gd name="connsiteX629" fmla="*/ 165159 w 387963"/>
                <a:gd name="connsiteY629" fmla="*/ 1355747 h 1466839"/>
                <a:gd name="connsiteX630" fmla="*/ 167231 w 387963"/>
                <a:gd name="connsiteY630" fmla="*/ 1354119 h 1466839"/>
                <a:gd name="connsiteX631" fmla="*/ 171326 w 387963"/>
                <a:gd name="connsiteY631" fmla="*/ 1350912 h 1466839"/>
                <a:gd name="connsiteX632" fmla="*/ 167231 w 387963"/>
                <a:gd name="connsiteY632" fmla="*/ 1344449 h 1466839"/>
                <a:gd name="connsiteX633" fmla="*/ 169254 w 387963"/>
                <a:gd name="connsiteY633" fmla="*/ 1339514 h 1466839"/>
                <a:gd name="connsiteX634" fmla="*/ 167231 w 387963"/>
                <a:gd name="connsiteY634" fmla="*/ 1334580 h 1466839"/>
                <a:gd name="connsiteX635" fmla="*/ 165159 w 387963"/>
                <a:gd name="connsiteY635" fmla="*/ 1336159 h 1466839"/>
                <a:gd name="connsiteX636" fmla="*/ 158745 w 387963"/>
                <a:gd name="connsiteY636" fmla="*/ 1336159 h 1466839"/>
                <a:gd name="connsiteX637" fmla="*/ 160768 w 387963"/>
                <a:gd name="connsiteY637" fmla="*/ 1334580 h 1466839"/>
                <a:gd name="connsiteX638" fmla="*/ 164912 w 387963"/>
                <a:gd name="connsiteY638" fmla="*/ 1331324 h 1466839"/>
                <a:gd name="connsiteX639" fmla="*/ 164912 w 387963"/>
                <a:gd name="connsiteY639" fmla="*/ 1328117 h 1466839"/>
                <a:gd name="connsiteX640" fmla="*/ 169008 w 387963"/>
                <a:gd name="connsiteY640" fmla="*/ 1326489 h 1466839"/>
                <a:gd name="connsiteX641" fmla="*/ 177297 w 387963"/>
                <a:gd name="connsiteY641" fmla="*/ 1328117 h 1466839"/>
                <a:gd name="connsiteX642" fmla="*/ 179369 w 387963"/>
                <a:gd name="connsiteY642" fmla="*/ 1326489 h 1466839"/>
                <a:gd name="connsiteX643" fmla="*/ 181441 w 387963"/>
                <a:gd name="connsiteY643" fmla="*/ 1329696 h 1466839"/>
                <a:gd name="connsiteX644" fmla="*/ 185586 w 387963"/>
                <a:gd name="connsiteY644" fmla="*/ 1331324 h 1466839"/>
                <a:gd name="connsiteX645" fmla="*/ 185586 w 387963"/>
                <a:gd name="connsiteY645" fmla="*/ 1328117 h 1466839"/>
                <a:gd name="connsiteX646" fmla="*/ 193826 w 387963"/>
                <a:gd name="connsiteY646" fmla="*/ 1326489 h 1466839"/>
                <a:gd name="connsiteX647" fmla="*/ 199993 w 387963"/>
                <a:gd name="connsiteY647" fmla="*/ 1328117 h 1466839"/>
                <a:gd name="connsiteX648" fmla="*/ 212378 w 387963"/>
                <a:gd name="connsiteY648" fmla="*/ 1328117 h 1466839"/>
                <a:gd name="connsiteX649" fmla="*/ 212378 w 387963"/>
                <a:gd name="connsiteY649" fmla="*/ 1331324 h 1466839"/>
                <a:gd name="connsiteX650" fmla="*/ 210355 w 387963"/>
                <a:gd name="connsiteY650" fmla="*/ 1332952 h 1466839"/>
                <a:gd name="connsiteX651" fmla="*/ 206210 w 387963"/>
                <a:gd name="connsiteY651" fmla="*/ 1336159 h 1466839"/>
                <a:gd name="connsiteX652" fmla="*/ 202066 w 387963"/>
                <a:gd name="connsiteY652" fmla="*/ 1336159 h 1466839"/>
                <a:gd name="connsiteX653" fmla="*/ 197970 w 387963"/>
                <a:gd name="connsiteY653" fmla="*/ 1332952 h 1466839"/>
                <a:gd name="connsiteX654" fmla="*/ 193826 w 387963"/>
                <a:gd name="connsiteY654" fmla="*/ 1332952 h 1466839"/>
                <a:gd name="connsiteX655" fmla="*/ 181441 w 387963"/>
                <a:gd name="connsiteY655" fmla="*/ 1342820 h 1466839"/>
                <a:gd name="connsiteX656" fmla="*/ 175225 w 387963"/>
                <a:gd name="connsiteY656" fmla="*/ 1342820 h 1466839"/>
                <a:gd name="connsiteX657" fmla="*/ 171080 w 387963"/>
                <a:gd name="connsiteY657" fmla="*/ 1346027 h 1466839"/>
                <a:gd name="connsiteX658" fmla="*/ 173152 w 387963"/>
                <a:gd name="connsiteY658" fmla="*/ 1349234 h 1466839"/>
                <a:gd name="connsiteX659" fmla="*/ 171080 w 387963"/>
                <a:gd name="connsiteY659" fmla="*/ 1354168 h 1466839"/>
                <a:gd name="connsiteX660" fmla="*/ 169008 w 387963"/>
                <a:gd name="connsiteY660" fmla="*/ 1355796 h 1466839"/>
                <a:gd name="connsiteX661" fmla="*/ 169008 w 387963"/>
                <a:gd name="connsiteY661" fmla="*/ 1359053 h 1466839"/>
                <a:gd name="connsiteX662" fmla="*/ 171080 w 387963"/>
                <a:gd name="connsiteY662" fmla="*/ 1360632 h 1466839"/>
                <a:gd name="connsiteX663" fmla="*/ 169008 w 387963"/>
                <a:gd name="connsiteY663" fmla="*/ 1362260 h 1466839"/>
                <a:gd name="connsiteX664" fmla="*/ 169008 w 387963"/>
                <a:gd name="connsiteY664" fmla="*/ 1365468 h 1466839"/>
                <a:gd name="connsiteX665" fmla="*/ 179369 w 387963"/>
                <a:gd name="connsiteY665" fmla="*/ 1368724 h 1466839"/>
                <a:gd name="connsiteX666" fmla="*/ 187609 w 387963"/>
                <a:gd name="connsiteY666" fmla="*/ 1373658 h 1466839"/>
                <a:gd name="connsiteX667" fmla="*/ 189681 w 387963"/>
                <a:gd name="connsiteY667" fmla="*/ 1373658 h 1466839"/>
                <a:gd name="connsiteX668" fmla="*/ 191753 w 387963"/>
                <a:gd name="connsiteY668" fmla="*/ 1372079 h 1466839"/>
                <a:gd name="connsiteX669" fmla="*/ 189681 w 387963"/>
                <a:gd name="connsiteY669" fmla="*/ 1367145 h 1466839"/>
                <a:gd name="connsiteX670" fmla="*/ 193826 w 387963"/>
                <a:gd name="connsiteY670" fmla="*/ 1362211 h 1466839"/>
                <a:gd name="connsiteX671" fmla="*/ 197970 w 387963"/>
                <a:gd name="connsiteY671" fmla="*/ 1360582 h 1466839"/>
                <a:gd name="connsiteX672" fmla="*/ 197970 w 387963"/>
                <a:gd name="connsiteY672" fmla="*/ 1359004 h 1466839"/>
                <a:gd name="connsiteX673" fmla="*/ 193826 w 387963"/>
                <a:gd name="connsiteY673" fmla="*/ 1354070 h 1466839"/>
                <a:gd name="connsiteX674" fmla="*/ 202066 w 387963"/>
                <a:gd name="connsiteY674" fmla="*/ 1352491 h 1466839"/>
                <a:gd name="connsiteX675" fmla="*/ 208233 w 387963"/>
                <a:gd name="connsiteY675" fmla="*/ 1347557 h 1466839"/>
                <a:gd name="connsiteX676" fmla="*/ 214450 w 387963"/>
                <a:gd name="connsiteY676" fmla="*/ 1339514 h 1466839"/>
                <a:gd name="connsiteX677" fmla="*/ 218595 w 387963"/>
                <a:gd name="connsiteY677" fmla="*/ 1337935 h 1466839"/>
                <a:gd name="connsiteX678" fmla="*/ 220618 w 387963"/>
                <a:gd name="connsiteY678" fmla="*/ 1339514 h 1466839"/>
                <a:gd name="connsiteX679" fmla="*/ 224762 w 387963"/>
                <a:gd name="connsiteY679" fmla="*/ 1341143 h 1466839"/>
                <a:gd name="connsiteX680" fmla="*/ 228907 w 387963"/>
                <a:gd name="connsiteY680" fmla="*/ 1341143 h 1466839"/>
                <a:gd name="connsiteX681" fmla="*/ 230979 w 387963"/>
                <a:gd name="connsiteY681" fmla="*/ 1342771 h 1466839"/>
                <a:gd name="connsiteX682" fmla="*/ 224762 w 387963"/>
                <a:gd name="connsiteY682" fmla="*/ 1344350 h 1466839"/>
                <a:gd name="connsiteX683" fmla="*/ 220618 w 387963"/>
                <a:gd name="connsiteY683" fmla="*/ 1349284 h 1466839"/>
                <a:gd name="connsiteX684" fmla="*/ 220618 w 387963"/>
                <a:gd name="connsiteY684" fmla="*/ 1352540 h 1466839"/>
                <a:gd name="connsiteX685" fmla="*/ 214450 w 387963"/>
                <a:gd name="connsiteY685" fmla="*/ 1359004 h 1466839"/>
                <a:gd name="connsiteX686" fmla="*/ 214450 w 387963"/>
                <a:gd name="connsiteY686" fmla="*/ 1365418 h 1466839"/>
                <a:gd name="connsiteX687" fmla="*/ 216522 w 387963"/>
                <a:gd name="connsiteY687" fmla="*/ 1368674 h 1466839"/>
                <a:gd name="connsiteX688" fmla="*/ 212378 w 387963"/>
                <a:gd name="connsiteY688" fmla="*/ 1371881 h 1466839"/>
                <a:gd name="connsiteX689" fmla="*/ 206210 w 387963"/>
                <a:gd name="connsiteY689" fmla="*/ 1375089 h 1466839"/>
                <a:gd name="connsiteX690" fmla="*/ 208233 w 387963"/>
                <a:gd name="connsiteY690" fmla="*/ 1371881 h 1466839"/>
                <a:gd name="connsiteX691" fmla="*/ 210355 w 387963"/>
                <a:gd name="connsiteY691" fmla="*/ 1370253 h 1466839"/>
                <a:gd name="connsiteX692" fmla="*/ 210355 w 387963"/>
                <a:gd name="connsiteY692" fmla="*/ 1362211 h 1466839"/>
                <a:gd name="connsiteX693" fmla="*/ 208233 w 387963"/>
                <a:gd name="connsiteY693" fmla="*/ 1360582 h 1466839"/>
                <a:gd name="connsiteX694" fmla="*/ 204138 w 387963"/>
                <a:gd name="connsiteY694" fmla="*/ 1363790 h 1466839"/>
                <a:gd name="connsiteX695" fmla="*/ 204138 w 387963"/>
                <a:gd name="connsiteY695" fmla="*/ 1366997 h 1466839"/>
                <a:gd name="connsiteX696" fmla="*/ 197970 w 387963"/>
                <a:gd name="connsiteY696" fmla="*/ 1366997 h 1466839"/>
                <a:gd name="connsiteX697" fmla="*/ 193826 w 387963"/>
                <a:gd name="connsiteY697" fmla="*/ 1370253 h 1466839"/>
                <a:gd name="connsiteX698" fmla="*/ 197970 w 387963"/>
                <a:gd name="connsiteY698" fmla="*/ 1375187 h 1466839"/>
                <a:gd name="connsiteX699" fmla="*/ 210355 w 387963"/>
                <a:gd name="connsiteY699" fmla="*/ 1385056 h 1466839"/>
                <a:gd name="connsiteX700" fmla="*/ 220618 w 387963"/>
                <a:gd name="connsiteY700" fmla="*/ 1386684 h 1466839"/>
                <a:gd name="connsiteX701" fmla="*/ 226834 w 387963"/>
                <a:gd name="connsiteY701" fmla="*/ 1389891 h 1466839"/>
                <a:gd name="connsiteX702" fmla="*/ 230979 w 387963"/>
                <a:gd name="connsiteY702" fmla="*/ 1389891 h 1466839"/>
                <a:gd name="connsiteX703" fmla="*/ 235074 w 387963"/>
                <a:gd name="connsiteY703" fmla="*/ 1391469 h 1466839"/>
                <a:gd name="connsiteX704" fmla="*/ 239219 w 387963"/>
                <a:gd name="connsiteY704" fmla="*/ 1388263 h 1466839"/>
                <a:gd name="connsiteX705" fmla="*/ 243364 w 387963"/>
                <a:gd name="connsiteY705" fmla="*/ 1381848 h 1466839"/>
                <a:gd name="connsiteX706" fmla="*/ 239219 w 387963"/>
                <a:gd name="connsiteY706" fmla="*/ 1371980 h 1466839"/>
                <a:gd name="connsiteX707" fmla="*/ 241291 w 387963"/>
                <a:gd name="connsiteY707" fmla="*/ 1367046 h 1466839"/>
                <a:gd name="connsiteX708" fmla="*/ 239219 w 387963"/>
                <a:gd name="connsiteY708" fmla="*/ 1363839 h 1466839"/>
                <a:gd name="connsiteX709" fmla="*/ 241291 w 387963"/>
                <a:gd name="connsiteY709" fmla="*/ 1355796 h 1466839"/>
                <a:gd name="connsiteX710" fmla="*/ 241291 w 387963"/>
                <a:gd name="connsiteY710" fmla="*/ 1345928 h 1466839"/>
                <a:gd name="connsiteX711" fmla="*/ 239219 w 387963"/>
                <a:gd name="connsiteY711" fmla="*/ 1339465 h 1466839"/>
                <a:gd name="connsiteX712" fmla="*/ 241291 w 387963"/>
                <a:gd name="connsiteY712" fmla="*/ 1336258 h 1466839"/>
                <a:gd name="connsiteX713" fmla="*/ 249580 w 387963"/>
                <a:gd name="connsiteY713" fmla="*/ 1331324 h 1466839"/>
                <a:gd name="connsiteX714" fmla="*/ 257820 w 387963"/>
                <a:gd name="connsiteY714" fmla="*/ 1323232 h 1466839"/>
                <a:gd name="connsiteX715" fmla="*/ 261965 w 387963"/>
                <a:gd name="connsiteY715" fmla="*/ 1320025 h 1466839"/>
                <a:gd name="connsiteX716" fmla="*/ 270205 w 387963"/>
                <a:gd name="connsiteY716" fmla="*/ 1320025 h 1466839"/>
                <a:gd name="connsiteX717" fmla="*/ 272277 w 387963"/>
                <a:gd name="connsiteY717" fmla="*/ 1318446 h 1466839"/>
                <a:gd name="connsiteX718" fmla="*/ 272277 w 387963"/>
                <a:gd name="connsiteY718" fmla="*/ 1310354 h 1466839"/>
                <a:gd name="connsiteX719" fmla="*/ 276422 w 387963"/>
                <a:gd name="connsiteY719" fmla="*/ 1307147 h 1466839"/>
                <a:gd name="connsiteX720" fmla="*/ 284661 w 387963"/>
                <a:gd name="connsiteY720" fmla="*/ 1305519 h 1466839"/>
                <a:gd name="connsiteX721" fmla="*/ 292901 w 387963"/>
                <a:gd name="connsiteY721" fmla="*/ 1310453 h 1466839"/>
                <a:gd name="connsiteX722" fmla="*/ 297046 w 387963"/>
                <a:gd name="connsiteY722" fmla="*/ 1307246 h 1466839"/>
                <a:gd name="connsiteX723" fmla="*/ 371352 w 387963"/>
                <a:gd name="connsiteY723" fmla="*/ 1465234 h 1466839"/>
                <a:gd name="connsiteX724" fmla="*/ 373425 w 387963"/>
                <a:gd name="connsiteY724" fmla="*/ 1466812 h 1466839"/>
                <a:gd name="connsiteX725" fmla="*/ 377520 w 387963"/>
                <a:gd name="connsiteY725" fmla="*/ 1461878 h 1466839"/>
                <a:gd name="connsiteX726" fmla="*/ 375497 w 387963"/>
                <a:gd name="connsiteY726" fmla="*/ 1461878 h 1466839"/>
                <a:gd name="connsiteX727" fmla="*/ 47236 w 387963"/>
                <a:gd name="connsiteY727" fmla="*/ 904480 h 1466839"/>
                <a:gd name="connsiteX728" fmla="*/ 41019 w 387963"/>
                <a:gd name="connsiteY728" fmla="*/ 901224 h 1466839"/>
                <a:gd name="connsiteX729" fmla="*/ 36923 w 387963"/>
                <a:gd name="connsiteY729" fmla="*/ 901224 h 1466839"/>
                <a:gd name="connsiteX730" fmla="*/ 36923 w 387963"/>
                <a:gd name="connsiteY730" fmla="*/ 904480 h 1466839"/>
                <a:gd name="connsiteX731" fmla="*/ 45163 w 387963"/>
                <a:gd name="connsiteY731" fmla="*/ 910944 h 1466839"/>
                <a:gd name="connsiteX732" fmla="*/ 41019 w 387963"/>
                <a:gd name="connsiteY732" fmla="*/ 914151 h 1466839"/>
                <a:gd name="connsiteX733" fmla="*/ 49308 w 387963"/>
                <a:gd name="connsiteY733" fmla="*/ 920615 h 1466839"/>
                <a:gd name="connsiteX734" fmla="*/ 47236 w 387963"/>
                <a:gd name="connsiteY734" fmla="*/ 922243 h 1466839"/>
                <a:gd name="connsiteX735" fmla="*/ 41019 w 387963"/>
                <a:gd name="connsiteY735" fmla="*/ 918986 h 1466839"/>
                <a:gd name="connsiteX736" fmla="*/ 36923 w 387963"/>
                <a:gd name="connsiteY736" fmla="*/ 923920 h 1466839"/>
                <a:gd name="connsiteX737" fmla="*/ 38947 w 387963"/>
                <a:gd name="connsiteY737" fmla="*/ 930384 h 1466839"/>
                <a:gd name="connsiteX738" fmla="*/ 38947 w 387963"/>
                <a:gd name="connsiteY738" fmla="*/ 933591 h 1466839"/>
                <a:gd name="connsiteX739" fmla="*/ 26562 w 387963"/>
                <a:gd name="connsiteY739" fmla="*/ 933591 h 1466839"/>
                <a:gd name="connsiteX740" fmla="*/ 18322 w 387963"/>
                <a:gd name="connsiteY740" fmla="*/ 930384 h 1466839"/>
                <a:gd name="connsiteX741" fmla="*/ 22417 w 387963"/>
                <a:gd name="connsiteY741" fmla="*/ 923920 h 1466839"/>
                <a:gd name="connsiteX742" fmla="*/ 20395 w 387963"/>
                <a:gd name="connsiteY742" fmla="*/ 904579 h 1466839"/>
                <a:gd name="connsiteX743" fmla="*/ 16299 w 387963"/>
                <a:gd name="connsiteY743" fmla="*/ 898115 h 1466839"/>
                <a:gd name="connsiteX744" fmla="*/ 14178 w 387963"/>
                <a:gd name="connsiteY744" fmla="*/ 896537 h 1466839"/>
                <a:gd name="connsiteX745" fmla="*/ 14178 w 387963"/>
                <a:gd name="connsiteY745" fmla="*/ 886669 h 1466839"/>
                <a:gd name="connsiteX746" fmla="*/ 18322 w 387963"/>
                <a:gd name="connsiteY746" fmla="*/ 885041 h 1466839"/>
                <a:gd name="connsiteX747" fmla="*/ 20395 w 387963"/>
                <a:gd name="connsiteY747" fmla="*/ 880107 h 1466839"/>
                <a:gd name="connsiteX748" fmla="*/ 16299 w 387963"/>
                <a:gd name="connsiteY748" fmla="*/ 876899 h 1466839"/>
                <a:gd name="connsiteX749" fmla="*/ 16299 w 387963"/>
                <a:gd name="connsiteY749" fmla="*/ 873643 h 1466839"/>
                <a:gd name="connsiteX750" fmla="*/ 22417 w 387963"/>
                <a:gd name="connsiteY750" fmla="*/ 868709 h 1466839"/>
                <a:gd name="connsiteX751" fmla="*/ 30706 w 387963"/>
                <a:gd name="connsiteY751" fmla="*/ 868709 h 1466839"/>
                <a:gd name="connsiteX752" fmla="*/ 36923 w 387963"/>
                <a:gd name="connsiteY752" fmla="*/ 871916 h 1466839"/>
                <a:gd name="connsiteX753" fmla="*/ 43091 w 387963"/>
                <a:gd name="connsiteY753" fmla="*/ 879958 h 1466839"/>
                <a:gd name="connsiteX754" fmla="*/ 43091 w 387963"/>
                <a:gd name="connsiteY754" fmla="*/ 896093 h 1466839"/>
                <a:gd name="connsiteX755" fmla="*/ 36923 w 387963"/>
                <a:gd name="connsiteY755" fmla="*/ 894464 h 1466839"/>
                <a:gd name="connsiteX756" fmla="*/ 45163 w 387963"/>
                <a:gd name="connsiteY756" fmla="*/ 899398 h 1466839"/>
                <a:gd name="connsiteX757" fmla="*/ 47236 w 387963"/>
                <a:gd name="connsiteY757" fmla="*/ 902655 h 1466839"/>
                <a:gd name="connsiteX758" fmla="*/ 51380 w 387963"/>
                <a:gd name="connsiteY758" fmla="*/ 888346 h 1466839"/>
                <a:gd name="connsiteX759" fmla="*/ 57548 w 387963"/>
                <a:gd name="connsiteY759" fmla="*/ 886767 h 1466839"/>
                <a:gd name="connsiteX760" fmla="*/ 59620 w 387963"/>
                <a:gd name="connsiteY760" fmla="*/ 889975 h 1466839"/>
                <a:gd name="connsiteX761" fmla="*/ 57548 w 387963"/>
                <a:gd name="connsiteY761" fmla="*/ 893181 h 1466839"/>
                <a:gd name="connsiteX762" fmla="*/ 10082 w 387963"/>
                <a:gd name="connsiteY762" fmla="*/ 946420 h 1466839"/>
                <a:gd name="connsiteX763" fmla="*/ 12155 w 387963"/>
                <a:gd name="connsiteY763" fmla="*/ 944742 h 1466839"/>
                <a:gd name="connsiteX764" fmla="*/ 18322 w 387963"/>
                <a:gd name="connsiteY764" fmla="*/ 944742 h 1466839"/>
                <a:gd name="connsiteX765" fmla="*/ 22417 w 387963"/>
                <a:gd name="connsiteY765" fmla="*/ 946420 h 1466839"/>
                <a:gd name="connsiteX766" fmla="*/ 14178 w 387963"/>
                <a:gd name="connsiteY766" fmla="*/ 949627 h 1466839"/>
                <a:gd name="connsiteX767" fmla="*/ 59423 w 387963"/>
                <a:gd name="connsiteY767" fmla="*/ 952834 h 1466839"/>
                <a:gd name="connsiteX768" fmla="*/ 65590 w 387963"/>
                <a:gd name="connsiteY768" fmla="*/ 949627 h 1466839"/>
                <a:gd name="connsiteX769" fmla="*/ 65590 w 387963"/>
                <a:gd name="connsiteY769" fmla="*/ 954561 h 1466839"/>
                <a:gd name="connsiteX770" fmla="*/ 61495 w 387963"/>
                <a:gd name="connsiteY770" fmla="*/ 957768 h 1466839"/>
                <a:gd name="connsiteX771" fmla="*/ 49111 w 387963"/>
                <a:gd name="connsiteY771" fmla="*/ 952834 h 1466839"/>
                <a:gd name="connsiteX772" fmla="*/ 53206 w 387963"/>
                <a:gd name="connsiteY772" fmla="*/ 954462 h 1466839"/>
                <a:gd name="connsiteX773" fmla="*/ 55328 w 387963"/>
                <a:gd name="connsiteY773" fmla="*/ 960877 h 1466839"/>
                <a:gd name="connsiteX774" fmla="*/ 49111 w 387963"/>
                <a:gd name="connsiteY774" fmla="*/ 962505 h 1466839"/>
                <a:gd name="connsiteX775" fmla="*/ 49111 w 387963"/>
                <a:gd name="connsiteY775" fmla="*/ 959297 h 1466839"/>
                <a:gd name="connsiteX776" fmla="*/ 44966 w 387963"/>
                <a:gd name="connsiteY776" fmla="*/ 956090 h 1466839"/>
                <a:gd name="connsiteX777" fmla="*/ 32581 w 387963"/>
                <a:gd name="connsiteY777" fmla="*/ 951206 h 1466839"/>
                <a:gd name="connsiteX778" fmla="*/ 32581 w 387963"/>
                <a:gd name="connsiteY778" fmla="*/ 949627 h 1466839"/>
                <a:gd name="connsiteX779" fmla="*/ 42894 w 387963"/>
                <a:gd name="connsiteY779" fmla="*/ 951206 h 1466839"/>
                <a:gd name="connsiteX780" fmla="*/ 36726 w 387963"/>
                <a:gd name="connsiteY780" fmla="*/ 954462 h 1466839"/>
                <a:gd name="connsiteX781" fmla="*/ 34654 w 387963"/>
                <a:gd name="connsiteY781" fmla="*/ 962505 h 1466839"/>
                <a:gd name="connsiteX782" fmla="*/ 36726 w 387963"/>
                <a:gd name="connsiteY782" fmla="*/ 960877 h 1466839"/>
                <a:gd name="connsiteX783" fmla="*/ 38749 w 387963"/>
                <a:gd name="connsiteY783" fmla="*/ 962505 h 1466839"/>
                <a:gd name="connsiteX784" fmla="*/ 38749 w 387963"/>
                <a:gd name="connsiteY784" fmla="*/ 965712 h 1466839"/>
                <a:gd name="connsiteX785" fmla="*/ 26365 w 387963"/>
                <a:gd name="connsiteY785" fmla="*/ 970547 h 1466839"/>
                <a:gd name="connsiteX786" fmla="*/ 28437 w 387963"/>
                <a:gd name="connsiteY786" fmla="*/ 965613 h 1466839"/>
                <a:gd name="connsiteX787" fmla="*/ 32581 w 387963"/>
                <a:gd name="connsiteY787" fmla="*/ 965613 h 1466839"/>
                <a:gd name="connsiteX788" fmla="*/ 36726 w 387963"/>
                <a:gd name="connsiteY788" fmla="*/ 968820 h 1466839"/>
                <a:gd name="connsiteX789" fmla="*/ 36726 w 387963"/>
                <a:gd name="connsiteY789" fmla="*/ 972076 h 1466839"/>
                <a:gd name="connsiteX790" fmla="*/ 30509 w 387963"/>
                <a:gd name="connsiteY790" fmla="*/ 973705 h 1466839"/>
                <a:gd name="connsiteX791" fmla="*/ 26365 w 387963"/>
                <a:gd name="connsiteY791" fmla="*/ 973705 h 1466839"/>
                <a:gd name="connsiteX792" fmla="*/ 20197 w 387963"/>
                <a:gd name="connsiteY792" fmla="*/ 980415 h 1466839"/>
                <a:gd name="connsiteX793" fmla="*/ 24342 w 387963"/>
                <a:gd name="connsiteY793" fmla="*/ 983623 h 1466839"/>
                <a:gd name="connsiteX794" fmla="*/ 18125 w 387963"/>
                <a:gd name="connsiteY794" fmla="*/ 986829 h 1466839"/>
                <a:gd name="connsiteX795" fmla="*/ 16102 w 387963"/>
                <a:gd name="connsiteY795" fmla="*/ 985201 h 1466839"/>
                <a:gd name="connsiteX796" fmla="*/ 53650 w 387963"/>
                <a:gd name="connsiteY796" fmla="*/ 978491 h 1466839"/>
                <a:gd name="connsiteX797" fmla="*/ 55771 w 387963"/>
                <a:gd name="connsiteY797" fmla="*/ 984955 h 1466839"/>
                <a:gd name="connsiteX798" fmla="*/ 51627 w 387963"/>
                <a:gd name="connsiteY798" fmla="*/ 984955 h 1466839"/>
                <a:gd name="connsiteX799" fmla="*/ 41265 w 387963"/>
                <a:gd name="connsiteY799" fmla="*/ 976912 h 1466839"/>
                <a:gd name="connsiteX800" fmla="*/ 49555 w 387963"/>
                <a:gd name="connsiteY800" fmla="*/ 973705 h 1466839"/>
                <a:gd name="connsiteX801" fmla="*/ 49555 w 387963"/>
                <a:gd name="connsiteY801" fmla="*/ 981748 h 1466839"/>
                <a:gd name="connsiteX802" fmla="*/ 26809 w 387963"/>
                <a:gd name="connsiteY802" fmla="*/ 1025265 h 1466839"/>
                <a:gd name="connsiteX803" fmla="*/ 28881 w 387963"/>
                <a:gd name="connsiteY803" fmla="*/ 1023687 h 1466839"/>
                <a:gd name="connsiteX804" fmla="*/ 30953 w 387963"/>
                <a:gd name="connsiteY804" fmla="*/ 1030101 h 1466839"/>
                <a:gd name="connsiteX805" fmla="*/ 26809 w 387963"/>
                <a:gd name="connsiteY805" fmla="*/ 1030101 h 1466839"/>
                <a:gd name="connsiteX806" fmla="*/ 26809 w 387963"/>
                <a:gd name="connsiteY806" fmla="*/ 984955 h 1466839"/>
                <a:gd name="connsiteX807" fmla="*/ 28881 w 387963"/>
                <a:gd name="connsiteY807" fmla="*/ 980021 h 1466839"/>
                <a:gd name="connsiteX808" fmla="*/ 26809 w 387963"/>
                <a:gd name="connsiteY808" fmla="*/ 975087 h 1466839"/>
                <a:gd name="connsiteX809" fmla="*/ 33026 w 387963"/>
                <a:gd name="connsiteY809" fmla="*/ 975087 h 1466839"/>
                <a:gd name="connsiteX810" fmla="*/ 37170 w 387963"/>
                <a:gd name="connsiteY810" fmla="*/ 981550 h 1466839"/>
                <a:gd name="connsiteX811" fmla="*/ 30953 w 387963"/>
                <a:gd name="connsiteY811" fmla="*/ 983178 h 1466839"/>
                <a:gd name="connsiteX812" fmla="*/ 12401 w 387963"/>
                <a:gd name="connsiteY812" fmla="*/ 994823 h 1466839"/>
                <a:gd name="connsiteX813" fmla="*/ 4161 w 387963"/>
                <a:gd name="connsiteY813" fmla="*/ 991616 h 1466839"/>
                <a:gd name="connsiteX814" fmla="*/ 4161 w 387963"/>
                <a:gd name="connsiteY814" fmla="*/ 986682 h 1466839"/>
                <a:gd name="connsiteX815" fmla="*/ 10329 w 387963"/>
                <a:gd name="connsiteY815" fmla="*/ 986682 h 1466839"/>
                <a:gd name="connsiteX816" fmla="*/ 14424 w 387963"/>
                <a:gd name="connsiteY816" fmla="*/ 991616 h 1466839"/>
                <a:gd name="connsiteX817" fmla="*/ 37072 w 387963"/>
                <a:gd name="connsiteY817" fmla="*/ 1015793 h 1466839"/>
                <a:gd name="connsiteX818" fmla="*/ 43239 w 387963"/>
                <a:gd name="connsiteY818" fmla="*/ 1014213 h 1466839"/>
                <a:gd name="connsiteX819" fmla="*/ 43239 w 387963"/>
                <a:gd name="connsiteY819" fmla="*/ 1020628 h 1466839"/>
                <a:gd name="connsiteX820" fmla="*/ 47384 w 387963"/>
                <a:gd name="connsiteY820" fmla="*/ 1022206 h 1466839"/>
                <a:gd name="connsiteX821" fmla="*/ 53650 w 387963"/>
                <a:gd name="connsiteY821" fmla="*/ 1022206 h 1466839"/>
                <a:gd name="connsiteX822" fmla="*/ 51627 w 387963"/>
                <a:gd name="connsiteY822" fmla="*/ 1027140 h 1466839"/>
                <a:gd name="connsiteX823" fmla="*/ 59768 w 387963"/>
                <a:gd name="connsiteY823" fmla="*/ 969017 h 1466839"/>
                <a:gd name="connsiteX824" fmla="*/ 63913 w 387963"/>
                <a:gd name="connsiteY824" fmla="*/ 967439 h 1466839"/>
                <a:gd name="connsiteX825" fmla="*/ 70080 w 387963"/>
                <a:gd name="connsiteY825" fmla="*/ 970646 h 1466839"/>
                <a:gd name="connsiteX826" fmla="*/ 61840 w 387963"/>
                <a:gd name="connsiteY826" fmla="*/ 972274 h 1466839"/>
                <a:gd name="connsiteX827" fmla="*/ 72152 w 387963"/>
                <a:gd name="connsiteY827" fmla="*/ 973951 h 1466839"/>
                <a:gd name="connsiteX828" fmla="*/ 78320 w 387963"/>
                <a:gd name="connsiteY828" fmla="*/ 973951 h 1466839"/>
                <a:gd name="connsiteX829" fmla="*/ 80392 w 387963"/>
                <a:gd name="connsiteY829" fmla="*/ 978885 h 1466839"/>
                <a:gd name="connsiteX830" fmla="*/ 86609 w 387963"/>
                <a:gd name="connsiteY830" fmla="*/ 985349 h 1466839"/>
                <a:gd name="connsiteX831" fmla="*/ 82465 w 387963"/>
                <a:gd name="connsiteY831" fmla="*/ 990283 h 1466839"/>
                <a:gd name="connsiteX832" fmla="*/ 80392 w 387963"/>
                <a:gd name="connsiteY832" fmla="*/ 993491 h 1466839"/>
                <a:gd name="connsiteX833" fmla="*/ 74175 w 387963"/>
                <a:gd name="connsiteY833" fmla="*/ 995069 h 1466839"/>
                <a:gd name="connsiteX834" fmla="*/ 72152 w 387963"/>
                <a:gd name="connsiteY834" fmla="*/ 993491 h 1466839"/>
                <a:gd name="connsiteX835" fmla="*/ 68057 w 387963"/>
                <a:gd name="connsiteY835" fmla="*/ 991862 h 1466839"/>
                <a:gd name="connsiteX836" fmla="*/ 63913 w 387963"/>
                <a:gd name="connsiteY836" fmla="*/ 996796 h 1466839"/>
                <a:gd name="connsiteX837" fmla="*/ 61840 w 387963"/>
                <a:gd name="connsiteY837" fmla="*/ 990382 h 1466839"/>
                <a:gd name="connsiteX838" fmla="*/ 61840 w 387963"/>
                <a:gd name="connsiteY838" fmla="*/ 985448 h 1466839"/>
                <a:gd name="connsiteX839" fmla="*/ 63913 w 387963"/>
                <a:gd name="connsiteY839" fmla="*/ 975580 h 1466839"/>
                <a:gd name="connsiteX840" fmla="*/ 30855 w 387963"/>
                <a:gd name="connsiteY840" fmla="*/ 991665 h 1466839"/>
                <a:gd name="connsiteX841" fmla="*/ 32927 w 387963"/>
                <a:gd name="connsiteY841" fmla="*/ 986731 h 1466839"/>
                <a:gd name="connsiteX842" fmla="*/ 49456 w 387963"/>
                <a:gd name="connsiteY842" fmla="*/ 986731 h 1466839"/>
                <a:gd name="connsiteX843" fmla="*/ 45311 w 387963"/>
                <a:gd name="connsiteY843" fmla="*/ 989987 h 1466839"/>
                <a:gd name="connsiteX844" fmla="*/ 37072 w 387963"/>
                <a:gd name="connsiteY844" fmla="*/ 991566 h 1466839"/>
                <a:gd name="connsiteX845" fmla="*/ 34999 w 387963"/>
                <a:gd name="connsiteY845" fmla="*/ 994773 h 1466839"/>
                <a:gd name="connsiteX846" fmla="*/ 39094 w 387963"/>
                <a:gd name="connsiteY846" fmla="*/ 1004543 h 1466839"/>
                <a:gd name="connsiteX847" fmla="*/ 37072 w 387963"/>
                <a:gd name="connsiteY847" fmla="*/ 1001336 h 1466839"/>
                <a:gd name="connsiteX848" fmla="*/ 45311 w 387963"/>
                <a:gd name="connsiteY848" fmla="*/ 999708 h 1466839"/>
                <a:gd name="connsiteX849" fmla="*/ 49456 w 387963"/>
                <a:gd name="connsiteY849" fmla="*/ 998128 h 1466839"/>
                <a:gd name="connsiteX850" fmla="*/ 49456 w 387963"/>
                <a:gd name="connsiteY850" fmla="*/ 1003062 h 1466839"/>
                <a:gd name="connsiteX851" fmla="*/ 43239 w 387963"/>
                <a:gd name="connsiteY851" fmla="*/ 1007799 h 1466839"/>
                <a:gd name="connsiteX852" fmla="*/ 49456 w 387963"/>
                <a:gd name="connsiteY852" fmla="*/ 1004543 h 1466839"/>
                <a:gd name="connsiteX853" fmla="*/ 57696 w 387963"/>
                <a:gd name="connsiteY853" fmla="*/ 1004543 h 1466839"/>
                <a:gd name="connsiteX854" fmla="*/ 57696 w 387963"/>
                <a:gd name="connsiteY854" fmla="*/ 1014411 h 1466839"/>
                <a:gd name="connsiteX855" fmla="*/ 53551 w 387963"/>
                <a:gd name="connsiteY855" fmla="*/ 1019345 h 1466839"/>
                <a:gd name="connsiteX856" fmla="*/ 49456 w 387963"/>
                <a:gd name="connsiteY856" fmla="*/ 1017766 h 1466839"/>
                <a:gd name="connsiteX857" fmla="*/ 47384 w 387963"/>
                <a:gd name="connsiteY857" fmla="*/ 1011302 h 1466839"/>
                <a:gd name="connsiteX858" fmla="*/ 32927 w 387963"/>
                <a:gd name="connsiteY858" fmla="*/ 1023933 h 1466839"/>
                <a:gd name="connsiteX859" fmla="*/ 34999 w 387963"/>
                <a:gd name="connsiteY859" fmla="*/ 1020677 h 1466839"/>
                <a:gd name="connsiteX860" fmla="*/ 37072 w 387963"/>
                <a:gd name="connsiteY860" fmla="*/ 1023933 h 1466839"/>
                <a:gd name="connsiteX861" fmla="*/ 43239 w 387963"/>
                <a:gd name="connsiteY861" fmla="*/ 1025512 h 1466839"/>
                <a:gd name="connsiteX862" fmla="*/ 47384 w 387963"/>
                <a:gd name="connsiteY862" fmla="*/ 1030446 h 1466839"/>
                <a:gd name="connsiteX863" fmla="*/ 38848 w 387963"/>
                <a:gd name="connsiteY863" fmla="*/ 1030446 h 1466839"/>
                <a:gd name="connsiteX864" fmla="*/ 51528 w 387963"/>
                <a:gd name="connsiteY864" fmla="*/ 1144768 h 1466839"/>
                <a:gd name="connsiteX865" fmla="*/ 55673 w 387963"/>
                <a:gd name="connsiteY865" fmla="*/ 1141561 h 1466839"/>
                <a:gd name="connsiteX866" fmla="*/ 53551 w 387963"/>
                <a:gd name="connsiteY866" fmla="*/ 1138354 h 1466839"/>
                <a:gd name="connsiteX867" fmla="*/ 51528 w 387963"/>
                <a:gd name="connsiteY867" fmla="*/ 1141561 h 1466839"/>
                <a:gd name="connsiteX868" fmla="*/ 43239 w 387963"/>
                <a:gd name="connsiteY868" fmla="*/ 1130262 h 1466839"/>
                <a:gd name="connsiteX869" fmla="*/ 34999 w 387963"/>
                <a:gd name="connsiteY869" fmla="*/ 1125328 h 1466839"/>
                <a:gd name="connsiteX870" fmla="*/ 39094 w 387963"/>
                <a:gd name="connsiteY870" fmla="*/ 1120394 h 1466839"/>
                <a:gd name="connsiteX871" fmla="*/ 45311 w 387963"/>
                <a:gd name="connsiteY871" fmla="*/ 1120394 h 1466839"/>
                <a:gd name="connsiteX872" fmla="*/ 51528 w 387963"/>
                <a:gd name="connsiteY872" fmla="*/ 1117187 h 1466839"/>
                <a:gd name="connsiteX873" fmla="*/ 51528 w 387963"/>
                <a:gd name="connsiteY873" fmla="*/ 1127055 h 1466839"/>
                <a:gd name="connsiteX874" fmla="*/ 57696 w 387963"/>
                <a:gd name="connsiteY874" fmla="*/ 1130262 h 1466839"/>
                <a:gd name="connsiteX875" fmla="*/ 57696 w 387963"/>
                <a:gd name="connsiteY875" fmla="*/ 1136380 h 1466839"/>
                <a:gd name="connsiteX876" fmla="*/ 63913 w 387963"/>
                <a:gd name="connsiteY876" fmla="*/ 1141314 h 1466839"/>
                <a:gd name="connsiteX877" fmla="*/ 68057 w 387963"/>
                <a:gd name="connsiteY877" fmla="*/ 1151182 h 1466839"/>
                <a:gd name="connsiteX878" fmla="*/ 53650 w 387963"/>
                <a:gd name="connsiteY878" fmla="*/ 1151182 h 1466839"/>
                <a:gd name="connsiteX879" fmla="*/ 24539 w 387963"/>
                <a:gd name="connsiteY879" fmla="*/ 1131446 h 1466839"/>
                <a:gd name="connsiteX880" fmla="*/ 24539 w 387963"/>
                <a:gd name="connsiteY880" fmla="*/ 1128239 h 1466839"/>
                <a:gd name="connsiteX881" fmla="*/ 28634 w 387963"/>
                <a:gd name="connsiteY881" fmla="*/ 1126611 h 1466839"/>
                <a:gd name="connsiteX882" fmla="*/ 32779 w 387963"/>
                <a:gd name="connsiteY882" fmla="*/ 1128239 h 1466839"/>
                <a:gd name="connsiteX883" fmla="*/ 43091 w 387963"/>
                <a:gd name="connsiteY883" fmla="*/ 1139489 h 1466839"/>
                <a:gd name="connsiteX884" fmla="*/ 49308 w 387963"/>
                <a:gd name="connsiteY884" fmla="*/ 1147580 h 1466839"/>
                <a:gd name="connsiteX885" fmla="*/ 49308 w 387963"/>
                <a:gd name="connsiteY885" fmla="*/ 1155623 h 1466839"/>
                <a:gd name="connsiteX886" fmla="*/ 47236 w 387963"/>
                <a:gd name="connsiteY886" fmla="*/ 1158830 h 1466839"/>
                <a:gd name="connsiteX887" fmla="*/ 41019 w 387963"/>
                <a:gd name="connsiteY887" fmla="*/ 1155623 h 1466839"/>
                <a:gd name="connsiteX888" fmla="*/ 36923 w 387963"/>
                <a:gd name="connsiteY888" fmla="*/ 1145755 h 1466839"/>
                <a:gd name="connsiteX889" fmla="*/ 38947 w 387963"/>
                <a:gd name="connsiteY889" fmla="*/ 1144126 h 1466839"/>
                <a:gd name="connsiteX890" fmla="*/ 34851 w 387963"/>
                <a:gd name="connsiteY890" fmla="*/ 1140920 h 1466839"/>
                <a:gd name="connsiteX891" fmla="*/ 26562 w 387963"/>
                <a:gd name="connsiteY891" fmla="*/ 1139291 h 1466839"/>
                <a:gd name="connsiteX892" fmla="*/ 26562 w 387963"/>
                <a:gd name="connsiteY892" fmla="*/ 1142696 h 1466839"/>
                <a:gd name="connsiteX893" fmla="*/ 28634 w 387963"/>
                <a:gd name="connsiteY893" fmla="*/ 1142696 h 1466839"/>
                <a:gd name="connsiteX894" fmla="*/ 34851 w 387963"/>
                <a:gd name="connsiteY894" fmla="*/ 1144324 h 1466839"/>
                <a:gd name="connsiteX895" fmla="*/ 36923 w 387963"/>
                <a:gd name="connsiteY895" fmla="*/ 1150788 h 1466839"/>
                <a:gd name="connsiteX896" fmla="*/ 34851 w 387963"/>
                <a:gd name="connsiteY896" fmla="*/ 1155722 h 1466839"/>
                <a:gd name="connsiteX897" fmla="*/ 30706 w 387963"/>
                <a:gd name="connsiteY897" fmla="*/ 1155722 h 1466839"/>
                <a:gd name="connsiteX898" fmla="*/ 30706 w 387963"/>
                <a:gd name="connsiteY898" fmla="*/ 1154093 h 1466839"/>
                <a:gd name="connsiteX899" fmla="*/ 26562 w 387963"/>
                <a:gd name="connsiteY899" fmla="*/ 1150886 h 1466839"/>
                <a:gd name="connsiteX900" fmla="*/ 38947 w 387963"/>
                <a:gd name="connsiteY900" fmla="*/ 1179800 h 1466839"/>
                <a:gd name="connsiteX901" fmla="*/ 36923 w 387963"/>
                <a:gd name="connsiteY901" fmla="*/ 1178171 h 1466839"/>
                <a:gd name="connsiteX902" fmla="*/ 36923 w 387963"/>
                <a:gd name="connsiteY902" fmla="*/ 1173237 h 1466839"/>
                <a:gd name="connsiteX903" fmla="*/ 32779 w 387963"/>
                <a:gd name="connsiteY903" fmla="*/ 1161987 h 1466839"/>
                <a:gd name="connsiteX904" fmla="*/ 36923 w 387963"/>
                <a:gd name="connsiteY904" fmla="*/ 1158731 h 1466839"/>
                <a:gd name="connsiteX905" fmla="*/ 38947 w 387963"/>
                <a:gd name="connsiteY905" fmla="*/ 1160359 h 1466839"/>
                <a:gd name="connsiteX906" fmla="*/ 47236 w 387963"/>
                <a:gd name="connsiteY906" fmla="*/ 1163567 h 1466839"/>
                <a:gd name="connsiteX907" fmla="*/ 49308 w 387963"/>
                <a:gd name="connsiteY907" fmla="*/ 1170030 h 1466839"/>
                <a:gd name="connsiteX908" fmla="*/ 45163 w 387963"/>
                <a:gd name="connsiteY908" fmla="*/ 1170030 h 1466839"/>
                <a:gd name="connsiteX909" fmla="*/ 49308 w 387963"/>
                <a:gd name="connsiteY909" fmla="*/ 1202348 h 1466839"/>
                <a:gd name="connsiteX910" fmla="*/ 45163 w 387963"/>
                <a:gd name="connsiteY910" fmla="*/ 1205605 h 1466839"/>
                <a:gd name="connsiteX911" fmla="*/ 41019 w 387963"/>
                <a:gd name="connsiteY911" fmla="*/ 1202348 h 1466839"/>
                <a:gd name="connsiteX912" fmla="*/ 43091 w 387963"/>
                <a:gd name="connsiteY912" fmla="*/ 1199141 h 1466839"/>
                <a:gd name="connsiteX913" fmla="*/ 38947 w 387963"/>
                <a:gd name="connsiteY913" fmla="*/ 1194207 h 1466839"/>
                <a:gd name="connsiteX914" fmla="*/ 47236 w 387963"/>
                <a:gd name="connsiteY914" fmla="*/ 1191000 h 1466839"/>
                <a:gd name="connsiteX915" fmla="*/ 51380 w 387963"/>
                <a:gd name="connsiteY915" fmla="*/ 1197463 h 1466839"/>
                <a:gd name="connsiteX916" fmla="*/ 67909 w 387963"/>
                <a:gd name="connsiteY916" fmla="*/ 1199141 h 1466839"/>
                <a:gd name="connsiteX917" fmla="*/ 65788 w 387963"/>
                <a:gd name="connsiteY917" fmla="*/ 1205605 h 1466839"/>
                <a:gd name="connsiteX918" fmla="*/ 61692 w 387963"/>
                <a:gd name="connsiteY918" fmla="*/ 1207183 h 1466839"/>
                <a:gd name="connsiteX919" fmla="*/ 55525 w 387963"/>
                <a:gd name="connsiteY919" fmla="*/ 1202249 h 1466839"/>
                <a:gd name="connsiteX920" fmla="*/ 53403 w 387963"/>
                <a:gd name="connsiteY920" fmla="*/ 1195835 h 1466839"/>
                <a:gd name="connsiteX921" fmla="*/ 47236 w 387963"/>
                <a:gd name="connsiteY921" fmla="*/ 1182908 h 1466839"/>
                <a:gd name="connsiteX922" fmla="*/ 53403 w 387963"/>
                <a:gd name="connsiteY922" fmla="*/ 1181329 h 1466839"/>
                <a:gd name="connsiteX923" fmla="*/ 59620 w 387963"/>
                <a:gd name="connsiteY923" fmla="*/ 1178072 h 1466839"/>
                <a:gd name="connsiteX924" fmla="*/ 59620 w 387963"/>
                <a:gd name="connsiteY924" fmla="*/ 1173138 h 1466839"/>
                <a:gd name="connsiteX925" fmla="*/ 55525 w 387963"/>
                <a:gd name="connsiteY925" fmla="*/ 1178072 h 1466839"/>
                <a:gd name="connsiteX926" fmla="*/ 53650 w 387963"/>
                <a:gd name="connsiteY926" fmla="*/ 1178072 h 1466839"/>
                <a:gd name="connsiteX927" fmla="*/ 51627 w 387963"/>
                <a:gd name="connsiteY927" fmla="*/ 1174866 h 1466839"/>
                <a:gd name="connsiteX928" fmla="*/ 53650 w 387963"/>
                <a:gd name="connsiteY928" fmla="*/ 1168402 h 1466839"/>
                <a:gd name="connsiteX929" fmla="*/ 49555 w 387963"/>
                <a:gd name="connsiteY929" fmla="*/ 1165195 h 1466839"/>
                <a:gd name="connsiteX930" fmla="*/ 49555 w 387963"/>
                <a:gd name="connsiteY930" fmla="*/ 1158731 h 1466839"/>
                <a:gd name="connsiteX931" fmla="*/ 53650 w 387963"/>
                <a:gd name="connsiteY931" fmla="*/ 1155524 h 1466839"/>
                <a:gd name="connsiteX932" fmla="*/ 64011 w 387963"/>
                <a:gd name="connsiteY932" fmla="*/ 1155524 h 1466839"/>
                <a:gd name="connsiteX933" fmla="*/ 68156 w 387963"/>
                <a:gd name="connsiteY933" fmla="*/ 1158731 h 1466839"/>
                <a:gd name="connsiteX934" fmla="*/ 72251 w 387963"/>
                <a:gd name="connsiteY934" fmla="*/ 1171659 h 1466839"/>
                <a:gd name="connsiteX935" fmla="*/ 76396 w 387963"/>
                <a:gd name="connsiteY935" fmla="*/ 1178072 h 1466839"/>
                <a:gd name="connsiteX936" fmla="*/ 78419 w 387963"/>
                <a:gd name="connsiteY936" fmla="*/ 1189372 h 1466839"/>
                <a:gd name="connsiteX937" fmla="*/ 76396 w 387963"/>
                <a:gd name="connsiteY937" fmla="*/ 1192579 h 1466839"/>
                <a:gd name="connsiteX938" fmla="*/ 80491 w 387963"/>
                <a:gd name="connsiteY938" fmla="*/ 1200621 h 1466839"/>
                <a:gd name="connsiteX939" fmla="*/ 80491 w 387963"/>
                <a:gd name="connsiteY939" fmla="*/ 1210489 h 1466839"/>
                <a:gd name="connsiteX940" fmla="*/ 74274 w 387963"/>
                <a:gd name="connsiteY940" fmla="*/ 1213746 h 1466839"/>
                <a:gd name="connsiteX941" fmla="*/ 70179 w 387963"/>
                <a:gd name="connsiteY941" fmla="*/ 1212117 h 1466839"/>
                <a:gd name="connsiteX942" fmla="*/ 70179 w 387963"/>
                <a:gd name="connsiteY942" fmla="*/ 1205703 h 1466839"/>
                <a:gd name="connsiteX943" fmla="*/ 61692 w 387963"/>
                <a:gd name="connsiteY943" fmla="*/ 1231360 h 1466839"/>
                <a:gd name="connsiteX944" fmla="*/ 59620 w 387963"/>
                <a:gd name="connsiteY944" fmla="*/ 1226426 h 1466839"/>
                <a:gd name="connsiteX945" fmla="*/ 55525 w 387963"/>
                <a:gd name="connsiteY945" fmla="*/ 1223219 h 1466839"/>
                <a:gd name="connsiteX946" fmla="*/ 57548 w 387963"/>
                <a:gd name="connsiteY946" fmla="*/ 1219962 h 1466839"/>
                <a:gd name="connsiteX947" fmla="*/ 57548 w 387963"/>
                <a:gd name="connsiteY947" fmla="*/ 1216756 h 1466839"/>
                <a:gd name="connsiteX948" fmla="*/ 59620 w 387963"/>
                <a:gd name="connsiteY948" fmla="*/ 1215176 h 1466839"/>
                <a:gd name="connsiteX949" fmla="*/ 63765 w 387963"/>
                <a:gd name="connsiteY949" fmla="*/ 1216756 h 1466839"/>
                <a:gd name="connsiteX950" fmla="*/ 72004 w 387963"/>
                <a:gd name="connsiteY950" fmla="*/ 1218384 h 1466839"/>
                <a:gd name="connsiteX951" fmla="*/ 67909 w 387963"/>
                <a:gd name="connsiteY951" fmla="*/ 1223318 h 1466839"/>
                <a:gd name="connsiteX952" fmla="*/ 67909 w 387963"/>
                <a:gd name="connsiteY952" fmla="*/ 1228252 h 1466839"/>
                <a:gd name="connsiteX953" fmla="*/ 65788 w 387963"/>
                <a:gd name="connsiteY953" fmla="*/ 1231459 h 1466839"/>
                <a:gd name="connsiteX954" fmla="*/ 57548 w 387963"/>
                <a:gd name="connsiteY954" fmla="*/ 1239452 h 1466839"/>
                <a:gd name="connsiteX955" fmla="*/ 57548 w 387963"/>
                <a:gd name="connsiteY955" fmla="*/ 1234518 h 1466839"/>
                <a:gd name="connsiteX956" fmla="*/ 65788 w 387963"/>
                <a:gd name="connsiteY956" fmla="*/ 1234518 h 1466839"/>
                <a:gd name="connsiteX957" fmla="*/ 61692 w 387963"/>
                <a:gd name="connsiteY957" fmla="*/ 1237725 h 1466839"/>
                <a:gd name="connsiteX958" fmla="*/ 72004 w 387963"/>
                <a:gd name="connsiteY958" fmla="*/ 1236195 h 1466839"/>
                <a:gd name="connsiteX959" fmla="*/ 74027 w 387963"/>
                <a:gd name="connsiteY959" fmla="*/ 1239452 h 1466839"/>
                <a:gd name="connsiteX960" fmla="*/ 74027 w 387963"/>
                <a:gd name="connsiteY960" fmla="*/ 1245866 h 1466839"/>
                <a:gd name="connsiteX961" fmla="*/ 72004 w 387963"/>
                <a:gd name="connsiteY961" fmla="*/ 1247495 h 1466839"/>
                <a:gd name="connsiteX962" fmla="*/ 69932 w 387963"/>
                <a:gd name="connsiteY962" fmla="*/ 1241031 h 1466839"/>
                <a:gd name="connsiteX963" fmla="*/ 76149 w 387963"/>
                <a:gd name="connsiteY963" fmla="*/ 1232988 h 1466839"/>
                <a:gd name="connsiteX964" fmla="*/ 76149 w 387963"/>
                <a:gd name="connsiteY964" fmla="*/ 1231360 h 1466839"/>
                <a:gd name="connsiteX965" fmla="*/ 80244 w 387963"/>
                <a:gd name="connsiteY965" fmla="*/ 1231360 h 1466839"/>
                <a:gd name="connsiteX966" fmla="*/ 84389 w 387963"/>
                <a:gd name="connsiteY966" fmla="*/ 1234567 h 1466839"/>
                <a:gd name="connsiteX967" fmla="*/ 88534 w 387963"/>
                <a:gd name="connsiteY967" fmla="*/ 1234567 h 1466839"/>
                <a:gd name="connsiteX968" fmla="*/ 94750 w 387963"/>
                <a:gd name="connsiteY968" fmla="*/ 1242659 h 1466839"/>
                <a:gd name="connsiteX969" fmla="*/ 98845 w 387963"/>
                <a:gd name="connsiteY969" fmla="*/ 1250702 h 1466839"/>
                <a:gd name="connsiteX970" fmla="*/ 88534 w 387963"/>
                <a:gd name="connsiteY970" fmla="*/ 1242659 h 1466839"/>
                <a:gd name="connsiteX971" fmla="*/ 82317 w 387963"/>
                <a:gd name="connsiteY971" fmla="*/ 1241031 h 1466839"/>
                <a:gd name="connsiteX972" fmla="*/ 76149 w 387963"/>
                <a:gd name="connsiteY972" fmla="*/ 1244238 h 1466839"/>
                <a:gd name="connsiteX973" fmla="*/ 80244 w 387963"/>
                <a:gd name="connsiteY973" fmla="*/ 1242659 h 1466839"/>
                <a:gd name="connsiteX974" fmla="*/ 88534 w 387963"/>
                <a:gd name="connsiteY974" fmla="*/ 1247593 h 1466839"/>
                <a:gd name="connsiteX975" fmla="*/ 94750 w 387963"/>
                <a:gd name="connsiteY975" fmla="*/ 1255636 h 1466839"/>
                <a:gd name="connsiteX976" fmla="*/ 92629 w 387963"/>
                <a:gd name="connsiteY976" fmla="*/ 1260570 h 1466839"/>
                <a:gd name="connsiteX977" fmla="*/ 86461 w 387963"/>
                <a:gd name="connsiteY977" fmla="*/ 1260570 h 1466839"/>
                <a:gd name="connsiteX978" fmla="*/ 78172 w 387963"/>
                <a:gd name="connsiteY978" fmla="*/ 1252527 h 1466839"/>
                <a:gd name="connsiteX979" fmla="*/ 84389 w 387963"/>
                <a:gd name="connsiteY979" fmla="*/ 1274878 h 1466839"/>
                <a:gd name="connsiteX980" fmla="*/ 74027 w 387963"/>
                <a:gd name="connsiteY980" fmla="*/ 1276507 h 1466839"/>
                <a:gd name="connsiteX981" fmla="*/ 69932 w 387963"/>
                <a:gd name="connsiteY981" fmla="*/ 1274878 h 1466839"/>
                <a:gd name="connsiteX982" fmla="*/ 74027 w 387963"/>
                <a:gd name="connsiteY982" fmla="*/ 1271622 h 1466839"/>
                <a:gd name="connsiteX983" fmla="*/ 76149 w 387963"/>
                <a:gd name="connsiteY983" fmla="*/ 1265208 h 1466839"/>
                <a:gd name="connsiteX984" fmla="*/ 74027 w 387963"/>
                <a:gd name="connsiteY984" fmla="*/ 1260274 h 1466839"/>
                <a:gd name="connsiteX985" fmla="*/ 78172 w 387963"/>
                <a:gd name="connsiteY985" fmla="*/ 1258646 h 1466839"/>
                <a:gd name="connsiteX986" fmla="*/ 82317 w 387963"/>
                <a:gd name="connsiteY986" fmla="*/ 1263580 h 1466839"/>
                <a:gd name="connsiteX987" fmla="*/ 86461 w 387963"/>
                <a:gd name="connsiteY987" fmla="*/ 1262000 h 1466839"/>
                <a:gd name="connsiteX988" fmla="*/ 96773 w 387963"/>
                <a:gd name="connsiteY988" fmla="*/ 1268415 h 1466839"/>
                <a:gd name="connsiteX989" fmla="*/ 96773 w 387963"/>
                <a:gd name="connsiteY989" fmla="*/ 1271622 h 1466839"/>
                <a:gd name="connsiteX990" fmla="*/ 90606 w 387963"/>
                <a:gd name="connsiteY990" fmla="*/ 1271622 h 1466839"/>
                <a:gd name="connsiteX991" fmla="*/ 90606 w 387963"/>
                <a:gd name="connsiteY991" fmla="*/ 1273300 h 1466839"/>
                <a:gd name="connsiteX992" fmla="*/ 92629 w 387963"/>
                <a:gd name="connsiteY992" fmla="*/ 1300684 h 1466839"/>
                <a:gd name="connsiteX993" fmla="*/ 88534 w 387963"/>
                <a:gd name="connsiteY993" fmla="*/ 1299055 h 1466839"/>
                <a:gd name="connsiteX994" fmla="*/ 84389 w 387963"/>
                <a:gd name="connsiteY994" fmla="*/ 1297427 h 1466839"/>
                <a:gd name="connsiteX995" fmla="*/ 82317 w 387963"/>
                <a:gd name="connsiteY995" fmla="*/ 1292493 h 1466839"/>
                <a:gd name="connsiteX996" fmla="*/ 84389 w 387963"/>
                <a:gd name="connsiteY996" fmla="*/ 1289236 h 1466839"/>
                <a:gd name="connsiteX997" fmla="*/ 86461 w 387963"/>
                <a:gd name="connsiteY997" fmla="*/ 1287608 h 1466839"/>
                <a:gd name="connsiteX998" fmla="*/ 86461 w 387963"/>
                <a:gd name="connsiteY998" fmla="*/ 1286029 h 1466839"/>
                <a:gd name="connsiteX999" fmla="*/ 84389 w 387963"/>
                <a:gd name="connsiteY999" fmla="*/ 1284401 h 1466839"/>
                <a:gd name="connsiteX1000" fmla="*/ 90606 w 387963"/>
                <a:gd name="connsiteY1000" fmla="*/ 1282822 h 1466839"/>
                <a:gd name="connsiteX1001" fmla="*/ 92629 w 387963"/>
                <a:gd name="connsiteY1001" fmla="*/ 1287757 h 1466839"/>
                <a:gd name="connsiteX1002" fmla="*/ 92629 w 387963"/>
                <a:gd name="connsiteY1002" fmla="*/ 1292691 h 1466839"/>
                <a:gd name="connsiteX1003" fmla="*/ 88534 w 387963"/>
                <a:gd name="connsiteY1003" fmla="*/ 1295897 h 1466839"/>
                <a:gd name="connsiteX1004" fmla="*/ 92629 w 387963"/>
                <a:gd name="connsiteY1004" fmla="*/ 1290816 h 1466839"/>
                <a:gd name="connsiteX1005" fmla="*/ 94750 w 387963"/>
                <a:gd name="connsiteY1005" fmla="*/ 1287559 h 1466839"/>
                <a:gd name="connsiteX1006" fmla="*/ 96773 w 387963"/>
                <a:gd name="connsiteY1006" fmla="*/ 1285980 h 1466839"/>
                <a:gd name="connsiteX1007" fmla="*/ 100918 w 387963"/>
                <a:gd name="connsiteY1007" fmla="*/ 1289187 h 1466839"/>
                <a:gd name="connsiteX1008" fmla="*/ 102990 w 387963"/>
                <a:gd name="connsiteY1008" fmla="*/ 1290816 h 1466839"/>
                <a:gd name="connsiteX1009" fmla="*/ 102990 w 387963"/>
                <a:gd name="connsiteY1009" fmla="*/ 1297229 h 1466839"/>
                <a:gd name="connsiteX1010" fmla="*/ 98845 w 387963"/>
                <a:gd name="connsiteY1010" fmla="*/ 1298858 h 1466839"/>
                <a:gd name="connsiteX1011" fmla="*/ 96773 w 387963"/>
                <a:gd name="connsiteY1011" fmla="*/ 1298858 h 1466839"/>
                <a:gd name="connsiteX1012" fmla="*/ 96773 w 387963"/>
                <a:gd name="connsiteY1012" fmla="*/ 1295651 h 1466839"/>
                <a:gd name="connsiteX1013" fmla="*/ 94750 w 387963"/>
                <a:gd name="connsiteY1013" fmla="*/ 1294022 h 1466839"/>
                <a:gd name="connsiteX1014" fmla="*/ 105013 w 387963"/>
                <a:gd name="connsiteY1014" fmla="*/ 1292444 h 1466839"/>
                <a:gd name="connsiteX1015" fmla="*/ 113302 w 387963"/>
                <a:gd name="connsiteY1015" fmla="*/ 1295651 h 1466839"/>
                <a:gd name="connsiteX1016" fmla="*/ 113302 w 387963"/>
                <a:gd name="connsiteY1016" fmla="*/ 1300585 h 1466839"/>
                <a:gd name="connsiteX1017" fmla="*/ 107135 w 387963"/>
                <a:gd name="connsiteY1017" fmla="*/ 1297328 h 1466839"/>
                <a:gd name="connsiteX1018" fmla="*/ 102990 w 387963"/>
                <a:gd name="connsiteY1018" fmla="*/ 1313364 h 1466839"/>
                <a:gd name="connsiteX1019" fmla="*/ 98845 w 387963"/>
                <a:gd name="connsiteY1019" fmla="*/ 1314942 h 1466839"/>
                <a:gd name="connsiteX1020" fmla="*/ 98845 w 387963"/>
                <a:gd name="connsiteY1020" fmla="*/ 1313364 h 1466839"/>
                <a:gd name="connsiteX1021" fmla="*/ 100918 w 387963"/>
                <a:gd name="connsiteY1021" fmla="*/ 1310157 h 1466839"/>
                <a:gd name="connsiteX1022" fmla="*/ 100918 w 387963"/>
                <a:gd name="connsiteY1022" fmla="*/ 1305223 h 1466839"/>
                <a:gd name="connsiteX1023" fmla="*/ 105013 w 387963"/>
                <a:gd name="connsiteY1023" fmla="*/ 1303644 h 1466839"/>
                <a:gd name="connsiteX1024" fmla="*/ 105013 w 387963"/>
                <a:gd name="connsiteY1024" fmla="*/ 1306851 h 1466839"/>
                <a:gd name="connsiteX1025" fmla="*/ 123614 w 387963"/>
                <a:gd name="connsiteY1025" fmla="*/ 1297229 h 1466839"/>
                <a:gd name="connsiteX1026" fmla="*/ 115375 w 387963"/>
                <a:gd name="connsiteY1026" fmla="*/ 1294022 h 1466839"/>
                <a:gd name="connsiteX1027" fmla="*/ 111230 w 387963"/>
                <a:gd name="connsiteY1027" fmla="*/ 1290816 h 1466839"/>
                <a:gd name="connsiteX1028" fmla="*/ 111230 w 387963"/>
                <a:gd name="connsiteY1028" fmla="*/ 1280948 h 1466839"/>
                <a:gd name="connsiteX1029" fmla="*/ 113302 w 387963"/>
                <a:gd name="connsiteY1029" fmla="*/ 1280948 h 1466839"/>
                <a:gd name="connsiteX1030" fmla="*/ 117398 w 387963"/>
                <a:gd name="connsiteY1030" fmla="*/ 1287411 h 1466839"/>
                <a:gd name="connsiteX1031" fmla="*/ 123614 w 387963"/>
                <a:gd name="connsiteY1031" fmla="*/ 1293875 h 1466839"/>
                <a:gd name="connsiteX1032" fmla="*/ 125687 w 387963"/>
                <a:gd name="connsiteY1032" fmla="*/ 1297081 h 1466839"/>
                <a:gd name="connsiteX1033" fmla="*/ 121542 w 387963"/>
                <a:gd name="connsiteY1033" fmla="*/ 1307098 h 1466839"/>
                <a:gd name="connsiteX1034" fmla="*/ 117398 w 387963"/>
                <a:gd name="connsiteY1034" fmla="*/ 1302164 h 1466839"/>
                <a:gd name="connsiteX1035" fmla="*/ 119519 w 387963"/>
                <a:gd name="connsiteY1035" fmla="*/ 1300585 h 1466839"/>
                <a:gd name="connsiteX1036" fmla="*/ 123614 w 387963"/>
                <a:gd name="connsiteY1036" fmla="*/ 1302164 h 1466839"/>
                <a:gd name="connsiteX1037" fmla="*/ 125687 w 387963"/>
                <a:gd name="connsiteY1037" fmla="*/ 1307098 h 1466839"/>
                <a:gd name="connsiteX1038" fmla="*/ 125687 w 387963"/>
                <a:gd name="connsiteY1038" fmla="*/ 1318397 h 1466839"/>
                <a:gd name="connsiteX1039" fmla="*/ 117398 w 387963"/>
                <a:gd name="connsiteY1039" fmla="*/ 1311933 h 1466839"/>
                <a:gd name="connsiteX1040" fmla="*/ 115375 w 387963"/>
                <a:gd name="connsiteY1040" fmla="*/ 1306999 h 1466839"/>
                <a:gd name="connsiteX1041" fmla="*/ 117398 w 387963"/>
                <a:gd name="connsiteY1041" fmla="*/ 1305371 h 1466839"/>
                <a:gd name="connsiteX1042" fmla="*/ 127759 w 387963"/>
                <a:gd name="connsiteY1042" fmla="*/ 1313463 h 1466839"/>
                <a:gd name="connsiteX1043" fmla="*/ 127759 w 387963"/>
                <a:gd name="connsiteY1043" fmla="*/ 1318397 h 1466839"/>
                <a:gd name="connsiteX1044" fmla="*/ 133927 w 387963"/>
                <a:gd name="connsiteY1044" fmla="*/ 1332902 h 1466839"/>
                <a:gd name="connsiteX1045" fmla="*/ 129782 w 387963"/>
                <a:gd name="connsiteY1045" fmla="*/ 1331274 h 1466839"/>
                <a:gd name="connsiteX1046" fmla="*/ 125687 w 387963"/>
                <a:gd name="connsiteY1046" fmla="*/ 1329696 h 1466839"/>
                <a:gd name="connsiteX1047" fmla="*/ 125687 w 387963"/>
                <a:gd name="connsiteY1047" fmla="*/ 1326489 h 1466839"/>
                <a:gd name="connsiteX1048" fmla="*/ 119519 w 387963"/>
                <a:gd name="connsiteY1048" fmla="*/ 1326489 h 1466839"/>
                <a:gd name="connsiteX1049" fmla="*/ 115375 w 387963"/>
                <a:gd name="connsiteY1049" fmla="*/ 1324860 h 1466839"/>
                <a:gd name="connsiteX1050" fmla="*/ 121542 w 387963"/>
                <a:gd name="connsiteY1050" fmla="*/ 1321604 h 1466839"/>
                <a:gd name="connsiteX1051" fmla="*/ 125687 w 387963"/>
                <a:gd name="connsiteY1051" fmla="*/ 1323232 h 1466839"/>
                <a:gd name="connsiteX1052" fmla="*/ 133927 w 387963"/>
                <a:gd name="connsiteY1052" fmla="*/ 1321604 h 1466839"/>
                <a:gd name="connsiteX1053" fmla="*/ 135999 w 387963"/>
                <a:gd name="connsiteY1053" fmla="*/ 1328067 h 1466839"/>
                <a:gd name="connsiteX1054" fmla="*/ 154600 w 387963"/>
                <a:gd name="connsiteY1054" fmla="*/ 1363543 h 1466839"/>
                <a:gd name="connsiteX1055" fmla="*/ 144239 w 387963"/>
                <a:gd name="connsiteY1055" fmla="*/ 1360336 h 1466839"/>
                <a:gd name="connsiteX1056" fmla="*/ 142216 w 387963"/>
                <a:gd name="connsiteY1056" fmla="*/ 1361915 h 1466839"/>
                <a:gd name="connsiteX1057" fmla="*/ 135999 w 387963"/>
                <a:gd name="connsiteY1057" fmla="*/ 1361915 h 1466839"/>
                <a:gd name="connsiteX1058" fmla="*/ 133927 w 387963"/>
                <a:gd name="connsiteY1058" fmla="*/ 1358659 h 1466839"/>
                <a:gd name="connsiteX1059" fmla="*/ 123614 w 387963"/>
                <a:gd name="connsiteY1059" fmla="*/ 1353725 h 1466839"/>
                <a:gd name="connsiteX1060" fmla="*/ 115375 w 387963"/>
                <a:gd name="connsiteY1060" fmla="*/ 1353725 h 1466839"/>
                <a:gd name="connsiteX1061" fmla="*/ 111230 w 387963"/>
                <a:gd name="connsiteY1061" fmla="*/ 1345633 h 1466839"/>
                <a:gd name="connsiteX1062" fmla="*/ 109158 w 387963"/>
                <a:gd name="connsiteY1062" fmla="*/ 1339169 h 1466839"/>
                <a:gd name="connsiteX1063" fmla="*/ 111230 w 387963"/>
                <a:gd name="connsiteY1063" fmla="*/ 1337590 h 1466839"/>
                <a:gd name="connsiteX1064" fmla="*/ 115375 w 387963"/>
                <a:gd name="connsiteY1064" fmla="*/ 1339169 h 1466839"/>
                <a:gd name="connsiteX1065" fmla="*/ 123614 w 387963"/>
                <a:gd name="connsiteY1065" fmla="*/ 1347261 h 1466839"/>
                <a:gd name="connsiteX1066" fmla="*/ 127759 w 387963"/>
                <a:gd name="connsiteY1066" fmla="*/ 1348840 h 1466839"/>
                <a:gd name="connsiteX1067" fmla="*/ 133927 w 387963"/>
                <a:gd name="connsiteY1067" fmla="*/ 1350517 h 1466839"/>
                <a:gd name="connsiteX1068" fmla="*/ 140144 w 387963"/>
                <a:gd name="connsiteY1068" fmla="*/ 1352096 h 1466839"/>
                <a:gd name="connsiteX1069" fmla="*/ 146360 w 387963"/>
                <a:gd name="connsiteY1069" fmla="*/ 1353725 h 1466839"/>
                <a:gd name="connsiteX1070" fmla="*/ 154600 w 387963"/>
                <a:gd name="connsiteY1070" fmla="*/ 1353725 h 1466839"/>
                <a:gd name="connsiteX1071" fmla="*/ 156623 w 387963"/>
                <a:gd name="connsiteY1071" fmla="*/ 1356931 h 1466839"/>
                <a:gd name="connsiteX1072" fmla="*/ 164912 w 387963"/>
                <a:gd name="connsiteY1072" fmla="*/ 1361865 h 1466839"/>
                <a:gd name="connsiteX1073" fmla="*/ 167133 w 387963"/>
                <a:gd name="connsiteY1073" fmla="*/ 1361865 h 1466839"/>
                <a:gd name="connsiteX1074" fmla="*/ 169155 w 387963"/>
                <a:gd name="connsiteY1074" fmla="*/ 1365072 h 1466839"/>
                <a:gd name="connsiteX1075" fmla="*/ 169155 w 387963"/>
                <a:gd name="connsiteY1075" fmla="*/ 1366701 h 1466839"/>
                <a:gd name="connsiteX1076" fmla="*/ 160916 w 387963"/>
                <a:gd name="connsiteY1076" fmla="*/ 1366701 h 1466839"/>
                <a:gd name="connsiteX1077" fmla="*/ 131854 w 387963"/>
                <a:gd name="connsiteY1077" fmla="*/ 1366750 h 1466839"/>
                <a:gd name="connsiteX1078" fmla="*/ 135999 w 387963"/>
                <a:gd name="connsiteY1078" fmla="*/ 1369957 h 1466839"/>
                <a:gd name="connsiteX1079" fmla="*/ 127759 w 387963"/>
                <a:gd name="connsiteY1079" fmla="*/ 1368378 h 1466839"/>
                <a:gd name="connsiteX1080" fmla="*/ 181195 w 387963"/>
                <a:gd name="connsiteY1080" fmla="*/ 1394183 h 1466839"/>
                <a:gd name="connsiteX1081" fmla="*/ 183218 w 387963"/>
                <a:gd name="connsiteY1081" fmla="*/ 1397391 h 1466839"/>
                <a:gd name="connsiteX1082" fmla="*/ 185339 w 387963"/>
                <a:gd name="connsiteY1082" fmla="*/ 1394183 h 1466839"/>
                <a:gd name="connsiteX1083" fmla="*/ 183218 w 387963"/>
                <a:gd name="connsiteY1083" fmla="*/ 1390927 h 1466839"/>
                <a:gd name="connsiteX1084" fmla="*/ 179122 w 387963"/>
                <a:gd name="connsiteY1084" fmla="*/ 1394183 h 1466839"/>
                <a:gd name="connsiteX1085" fmla="*/ 199747 w 387963"/>
                <a:gd name="connsiteY1085" fmla="*/ 1397391 h 1466839"/>
                <a:gd name="connsiteX1086" fmla="*/ 193579 w 387963"/>
                <a:gd name="connsiteY1086" fmla="*/ 1398969 h 1466839"/>
                <a:gd name="connsiteX1087" fmla="*/ 189435 w 387963"/>
                <a:gd name="connsiteY1087" fmla="*/ 1395762 h 1466839"/>
                <a:gd name="connsiteX1088" fmla="*/ 189435 w 387963"/>
                <a:gd name="connsiteY1088" fmla="*/ 1390828 h 1466839"/>
                <a:gd name="connsiteX1089" fmla="*/ 185339 w 387963"/>
                <a:gd name="connsiteY1089" fmla="*/ 1389200 h 1466839"/>
                <a:gd name="connsiteX1090" fmla="*/ 177050 w 387963"/>
                <a:gd name="connsiteY1090" fmla="*/ 1390828 h 1466839"/>
                <a:gd name="connsiteX1091" fmla="*/ 170833 w 387963"/>
                <a:gd name="connsiteY1091" fmla="*/ 1389200 h 1466839"/>
                <a:gd name="connsiteX1092" fmla="*/ 164666 w 387963"/>
                <a:gd name="connsiteY1092" fmla="*/ 1382737 h 1466839"/>
                <a:gd name="connsiteX1093" fmla="*/ 158498 w 387963"/>
                <a:gd name="connsiteY1093" fmla="*/ 1381157 h 1466839"/>
                <a:gd name="connsiteX1094" fmla="*/ 156377 w 387963"/>
                <a:gd name="connsiteY1094" fmla="*/ 1376223 h 1466839"/>
                <a:gd name="connsiteX1095" fmla="*/ 148137 w 387963"/>
                <a:gd name="connsiteY1095" fmla="*/ 1373016 h 1466839"/>
                <a:gd name="connsiteX1096" fmla="*/ 148137 w 387963"/>
                <a:gd name="connsiteY1096" fmla="*/ 1369760 h 1466839"/>
                <a:gd name="connsiteX1097" fmla="*/ 150209 w 387963"/>
                <a:gd name="connsiteY1097" fmla="*/ 1366553 h 1466839"/>
                <a:gd name="connsiteX1098" fmla="*/ 156377 w 387963"/>
                <a:gd name="connsiteY1098" fmla="*/ 1366553 h 1466839"/>
                <a:gd name="connsiteX1099" fmla="*/ 160521 w 387963"/>
                <a:gd name="connsiteY1099" fmla="*/ 1369760 h 1466839"/>
                <a:gd name="connsiteX1100" fmla="*/ 162593 w 387963"/>
                <a:gd name="connsiteY1100" fmla="*/ 1371388 h 1466839"/>
                <a:gd name="connsiteX1101" fmla="*/ 168761 w 387963"/>
                <a:gd name="connsiteY1101" fmla="*/ 1368181 h 1466839"/>
                <a:gd name="connsiteX1102" fmla="*/ 177050 w 387963"/>
                <a:gd name="connsiteY1102" fmla="*/ 1368181 h 1466839"/>
                <a:gd name="connsiteX1103" fmla="*/ 187362 w 387963"/>
                <a:gd name="connsiteY1103" fmla="*/ 1374595 h 1466839"/>
                <a:gd name="connsiteX1104" fmla="*/ 191507 w 387963"/>
                <a:gd name="connsiteY1104" fmla="*/ 1376223 h 1466839"/>
                <a:gd name="connsiteX1105" fmla="*/ 193579 w 387963"/>
                <a:gd name="connsiteY1105" fmla="*/ 1379431 h 1466839"/>
                <a:gd name="connsiteX1106" fmla="*/ 199747 w 387963"/>
                <a:gd name="connsiteY1106" fmla="*/ 1377851 h 1466839"/>
                <a:gd name="connsiteX1107" fmla="*/ 205963 w 387963"/>
                <a:gd name="connsiteY1107" fmla="*/ 1379431 h 1466839"/>
                <a:gd name="connsiteX1108" fmla="*/ 207987 w 387963"/>
                <a:gd name="connsiteY1108" fmla="*/ 1384365 h 1466839"/>
                <a:gd name="connsiteX1109" fmla="*/ 201819 w 387963"/>
                <a:gd name="connsiteY1109" fmla="*/ 1382737 h 1466839"/>
                <a:gd name="connsiteX1110" fmla="*/ 199747 w 387963"/>
                <a:gd name="connsiteY1110" fmla="*/ 1384365 h 1466839"/>
                <a:gd name="connsiteX1111" fmla="*/ 201819 w 387963"/>
                <a:gd name="connsiteY1111" fmla="*/ 1385993 h 1466839"/>
                <a:gd name="connsiteX1112" fmla="*/ 201819 w 387963"/>
                <a:gd name="connsiteY1112" fmla="*/ 1389200 h 1466839"/>
                <a:gd name="connsiteX1113" fmla="*/ 197724 w 387963"/>
                <a:gd name="connsiteY1113" fmla="*/ 1394134 h 1466839"/>
                <a:gd name="connsiteX1114" fmla="*/ 207987 w 387963"/>
                <a:gd name="connsiteY1114" fmla="*/ 1395762 h 1466839"/>
                <a:gd name="connsiteX1115" fmla="*/ 203891 w 387963"/>
                <a:gd name="connsiteY1115" fmla="*/ 1398969 h 1466839"/>
                <a:gd name="connsiteX1116" fmla="*/ 203891 w 387963"/>
                <a:gd name="connsiteY1116" fmla="*/ 1403903 h 1466839"/>
                <a:gd name="connsiteX1117" fmla="*/ 207987 w 387963"/>
                <a:gd name="connsiteY1117" fmla="*/ 1402325 h 1466839"/>
                <a:gd name="connsiteX1118" fmla="*/ 212131 w 387963"/>
                <a:gd name="connsiteY1118" fmla="*/ 1397391 h 1466839"/>
                <a:gd name="connsiteX1119" fmla="*/ 212131 w 387963"/>
                <a:gd name="connsiteY1119" fmla="*/ 1395762 h 1466839"/>
                <a:gd name="connsiteX1120" fmla="*/ 210108 w 387963"/>
                <a:gd name="connsiteY1120" fmla="*/ 1394183 h 1466839"/>
                <a:gd name="connsiteX1121" fmla="*/ 247212 w 387963"/>
                <a:gd name="connsiteY1121" fmla="*/ 1390828 h 1466839"/>
                <a:gd name="connsiteX1122" fmla="*/ 245189 w 387963"/>
                <a:gd name="connsiteY1122" fmla="*/ 1395762 h 1466839"/>
                <a:gd name="connsiteX1123" fmla="*/ 247212 w 387963"/>
                <a:gd name="connsiteY1123" fmla="*/ 1398969 h 1466839"/>
                <a:gd name="connsiteX1124" fmla="*/ 243117 w 387963"/>
                <a:gd name="connsiteY1124" fmla="*/ 1400598 h 1466839"/>
                <a:gd name="connsiteX1125" fmla="*/ 237196 w 387963"/>
                <a:gd name="connsiteY1125" fmla="*/ 1400598 h 1466839"/>
                <a:gd name="connsiteX1126" fmla="*/ 235074 w 387963"/>
                <a:gd name="connsiteY1126" fmla="*/ 1397391 h 1466839"/>
                <a:gd name="connsiteX1127" fmla="*/ 230979 w 387963"/>
                <a:gd name="connsiteY1127" fmla="*/ 1398969 h 1466839"/>
                <a:gd name="connsiteX1128" fmla="*/ 226834 w 387963"/>
                <a:gd name="connsiteY1128" fmla="*/ 1395762 h 1466839"/>
                <a:gd name="connsiteX1129" fmla="*/ 220618 w 387963"/>
                <a:gd name="connsiteY1129" fmla="*/ 1395762 h 1466839"/>
                <a:gd name="connsiteX1130" fmla="*/ 218595 w 387963"/>
                <a:gd name="connsiteY1130" fmla="*/ 1397391 h 1466839"/>
                <a:gd name="connsiteX1131" fmla="*/ 214450 w 387963"/>
                <a:gd name="connsiteY1131" fmla="*/ 1392457 h 1466839"/>
                <a:gd name="connsiteX1132" fmla="*/ 210355 w 387963"/>
                <a:gd name="connsiteY1132" fmla="*/ 1390877 h 1466839"/>
                <a:gd name="connsiteX1133" fmla="*/ 210355 w 387963"/>
                <a:gd name="connsiteY1133" fmla="*/ 1388016 h 1466839"/>
                <a:gd name="connsiteX1134" fmla="*/ 220618 w 387963"/>
                <a:gd name="connsiteY1134" fmla="*/ 1388016 h 1466839"/>
                <a:gd name="connsiteX1135" fmla="*/ 222690 w 387963"/>
                <a:gd name="connsiteY1135" fmla="*/ 1384759 h 1466839"/>
                <a:gd name="connsiteX1136" fmla="*/ 235074 w 387963"/>
                <a:gd name="connsiteY1136" fmla="*/ 1388016 h 1466839"/>
                <a:gd name="connsiteX1137" fmla="*/ 237196 w 387963"/>
                <a:gd name="connsiteY1137" fmla="*/ 1392950 h 1466839"/>
                <a:gd name="connsiteX1138" fmla="*/ 241291 w 387963"/>
                <a:gd name="connsiteY1138" fmla="*/ 1389743 h 1466839"/>
                <a:gd name="connsiteX1139" fmla="*/ 245436 w 387963"/>
                <a:gd name="connsiteY1139" fmla="*/ 1389743 h 1466839"/>
                <a:gd name="connsiteX1140" fmla="*/ 267886 w 387963"/>
                <a:gd name="connsiteY1140" fmla="*/ 1387621 h 1466839"/>
                <a:gd name="connsiteX1141" fmla="*/ 259596 w 387963"/>
                <a:gd name="connsiteY1141" fmla="*/ 1382687 h 1466839"/>
                <a:gd name="connsiteX1142" fmla="*/ 263741 w 387963"/>
                <a:gd name="connsiteY1142" fmla="*/ 1379480 h 1466839"/>
                <a:gd name="connsiteX1143" fmla="*/ 261718 w 387963"/>
                <a:gd name="connsiteY1143" fmla="*/ 1376273 h 1466839"/>
                <a:gd name="connsiteX1144" fmla="*/ 261718 w 387963"/>
                <a:gd name="connsiteY1144" fmla="*/ 1373214 h 1466839"/>
                <a:gd name="connsiteX1145" fmla="*/ 257574 w 387963"/>
                <a:gd name="connsiteY1145" fmla="*/ 1368280 h 1466839"/>
                <a:gd name="connsiteX1146" fmla="*/ 255501 w 387963"/>
                <a:gd name="connsiteY1146" fmla="*/ 1361816 h 1466839"/>
                <a:gd name="connsiteX1147" fmla="*/ 251357 w 387963"/>
                <a:gd name="connsiteY1147" fmla="*/ 1358560 h 1466839"/>
                <a:gd name="connsiteX1148" fmla="*/ 251357 w 387963"/>
                <a:gd name="connsiteY1148" fmla="*/ 1365023 h 1466839"/>
                <a:gd name="connsiteX1149" fmla="*/ 249334 w 387963"/>
                <a:gd name="connsiteY1149" fmla="*/ 1371487 h 1466839"/>
                <a:gd name="connsiteX1150" fmla="*/ 251357 w 387963"/>
                <a:gd name="connsiteY1150" fmla="*/ 1376421 h 1466839"/>
                <a:gd name="connsiteX1151" fmla="*/ 249334 w 387963"/>
                <a:gd name="connsiteY1151" fmla="*/ 1379628 h 1466839"/>
                <a:gd name="connsiteX1152" fmla="*/ 249334 w 387963"/>
                <a:gd name="connsiteY1152" fmla="*/ 1384562 h 1466839"/>
                <a:gd name="connsiteX1153" fmla="*/ 255501 w 387963"/>
                <a:gd name="connsiteY1153" fmla="*/ 1387818 h 1466839"/>
                <a:gd name="connsiteX1154" fmla="*/ 261718 w 387963"/>
                <a:gd name="connsiteY1154" fmla="*/ 1389398 h 1466839"/>
                <a:gd name="connsiteX1155" fmla="*/ 263741 w 387963"/>
                <a:gd name="connsiteY1155" fmla="*/ 1391026 h 1466839"/>
                <a:gd name="connsiteX1156" fmla="*/ 241044 w 387963"/>
                <a:gd name="connsiteY1156" fmla="*/ 1434346 h 1466839"/>
                <a:gd name="connsiteX1157" fmla="*/ 247212 w 387963"/>
                <a:gd name="connsiteY1157" fmla="*/ 1431139 h 1466839"/>
                <a:gd name="connsiteX1158" fmla="*/ 249334 w 387963"/>
                <a:gd name="connsiteY1158" fmla="*/ 1434346 h 1466839"/>
                <a:gd name="connsiteX1159" fmla="*/ 245189 w 387963"/>
                <a:gd name="connsiteY1159" fmla="*/ 1437603 h 1466839"/>
                <a:gd name="connsiteX1160" fmla="*/ 243117 w 387963"/>
                <a:gd name="connsiteY1160" fmla="*/ 1427932 h 1466839"/>
                <a:gd name="connsiteX1161" fmla="*/ 241044 w 387963"/>
                <a:gd name="connsiteY1161" fmla="*/ 1426255 h 1466839"/>
                <a:gd name="connsiteX1162" fmla="*/ 243117 w 387963"/>
                <a:gd name="connsiteY1162" fmla="*/ 1423047 h 1466839"/>
                <a:gd name="connsiteX1163" fmla="*/ 247212 w 387963"/>
                <a:gd name="connsiteY1163" fmla="*/ 1424676 h 1466839"/>
                <a:gd name="connsiteX1164" fmla="*/ 247212 w 387963"/>
                <a:gd name="connsiteY1164" fmla="*/ 1427932 h 1466839"/>
                <a:gd name="connsiteX1165" fmla="*/ 383737 w 387963"/>
                <a:gd name="connsiteY1165" fmla="*/ 1462026 h 1466839"/>
                <a:gd name="connsiteX1166" fmla="*/ 379642 w 387963"/>
                <a:gd name="connsiteY1166" fmla="*/ 1457092 h 1466839"/>
                <a:gd name="connsiteX1167" fmla="*/ 383737 w 387963"/>
                <a:gd name="connsiteY1167" fmla="*/ 1453885 h 1466839"/>
                <a:gd name="connsiteX1168" fmla="*/ 381664 w 387963"/>
                <a:gd name="connsiteY1168" fmla="*/ 1450628 h 1466839"/>
                <a:gd name="connsiteX1169" fmla="*/ 385809 w 387963"/>
                <a:gd name="connsiteY1169" fmla="*/ 1452257 h 1466839"/>
                <a:gd name="connsiteX1170" fmla="*/ 387881 w 387963"/>
                <a:gd name="connsiteY1170" fmla="*/ 1455514 h 1466839"/>
                <a:gd name="connsiteX1171" fmla="*/ 387881 w 387963"/>
                <a:gd name="connsiteY1171" fmla="*/ 1461928 h 1466839"/>
                <a:gd name="connsiteX1172" fmla="*/ 294924 w 387963"/>
                <a:gd name="connsiteY1172" fmla="*/ 1429807 h 1466839"/>
                <a:gd name="connsiteX1173" fmla="*/ 299019 w 387963"/>
                <a:gd name="connsiteY1173" fmla="*/ 1428228 h 1466839"/>
                <a:gd name="connsiteX1174" fmla="*/ 317621 w 387963"/>
                <a:gd name="connsiteY1174" fmla="*/ 1428228 h 1466839"/>
                <a:gd name="connsiteX1175" fmla="*/ 334150 w 387963"/>
                <a:gd name="connsiteY1175" fmla="*/ 1424972 h 1466839"/>
                <a:gd name="connsiteX1176" fmla="*/ 344462 w 387963"/>
                <a:gd name="connsiteY1176" fmla="*/ 1421764 h 1466839"/>
                <a:gd name="connsiteX1177" fmla="*/ 354774 w 387963"/>
                <a:gd name="connsiteY1177" fmla="*/ 1423344 h 1466839"/>
                <a:gd name="connsiteX1178" fmla="*/ 363063 w 387963"/>
                <a:gd name="connsiteY1178" fmla="*/ 1421764 h 1466839"/>
                <a:gd name="connsiteX1179" fmla="*/ 373375 w 387963"/>
                <a:gd name="connsiteY1179" fmla="*/ 1421764 h 1466839"/>
                <a:gd name="connsiteX1180" fmla="*/ 379592 w 387963"/>
                <a:gd name="connsiteY1180" fmla="*/ 1423344 h 1466839"/>
                <a:gd name="connsiteX1181" fmla="*/ 381615 w 387963"/>
                <a:gd name="connsiteY1181" fmla="*/ 1428278 h 1466839"/>
                <a:gd name="connsiteX1182" fmla="*/ 385760 w 387963"/>
                <a:gd name="connsiteY1182" fmla="*/ 1431485 h 1466839"/>
                <a:gd name="connsiteX1183" fmla="*/ 381615 w 387963"/>
                <a:gd name="connsiteY1183" fmla="*/ 1434692 h 1466839"/>
                <a:gd name="connsiteX1184" fmla="*/ 375447 w 387963"/>
                <a:gd name="connsiteY1184" fmla="*/ 1437948 h 1466839"/>
                <a:gd name="connsiteX1185" fmla="*/ 373375 w 387963"/>
                <a:gd name="connsiteY1185" fmla="*/ 1434692 h 1466839"/>
                <a:gd name="connsiteX1186" fmla="*/ 369231 w 387963"/>
                <a:gd name="connsiteY1186" fmla="*/ 1433064 h 1466839"/>
                <a:gd name="connsiteX1187" fmla="*/ 363063 w 387963"/>
                <a:gd name="connsiteY1187" fmla="*/ 1436271 h 1466839"/>
                <a:gd name="connsiteX1188" fmla="*/ 354626 w 387963"/>
                <a:gd name="connsiteY1188" fmla="*/ 1436271 h 1466839"/>
                <a:gd name="connsiteX1189" fmla="*/ 350481 w 387963"/>
                <a:gd name="connsiteY1189" fmla="*/ 1433064 h 1466839"/>
                <a:gd name="connsiteX1190" fmla="*/ 348458 w 387963"/>
                <a:gd name="connsiteY1190" fmla="*/ 1428130 h 1466839"/>
                <a:gd name="connsiteX1191" fmla="*/ 342242 w 387963"/>
                <a:gd name="connsiteY1191" fmla="*/ 1426452 h 1466839"/>
                <a:gd name="connsiteX1192" fmla="*/ 336074 w 387963"/>
                <a:gd name="connsiteY1192" fmla="*/ 1431386 h 1466839"/>
                <a:gd name="connsiteX1193" fmla="*/ 331930 w 387963"/>
                <a:gd name="connsiteY1193" fmla="*/ 1431386 h 1466839"/>
                <a:gd name="connsiteX1194" fmla="*/ 323690 w 387963"/>
                <a:gd name="connsiteY1194" fmla="*/ 1432965 h 1466839"/>
                <a:gd name="connsiteX1195" fmla="*/ 331930 w 387963"/>
                <a:gd name="connsiteY1195" fmla="*/ 1437899 h 1466839"/>
                <a:gd name="connsiteX1196" fmla="*/ 331930 w 387963"/>
                <a:gd name="connsiteY1196" fmla="*/ 1436221 h 1466839"/>
                <a:gd name="connsiteX1197" fmla="*/ 342242 w 387963"/>
                <a:gd name="connsiteY1197" fmla="*/ 1437899 h 1466839"/>
                <a:gd name="connsiteX1198" fmla="*/ 344314 w 387963"/>
                <a:gd name="connsiteY1198" fmla="*/ 1441106 h 1466839"/>
                <a:gd name="connsiteX1199" fmla="*/ 342242 w 387963"/>
                <a:gd name="connsiteY1199" fmla="*/ 1442685 h 1466839"/>
                <a:gd name="connsiteX1200" fmla="*/ 348458 w 387963"/>
                <a:gd name="connsiteY1200" fmla="*/ 1444313 h 1466839"/>
                <a:gd name="connsiteX1201" fmla="*/ 354626 w 387963"/>
                <a:gd name="connsiteY1201" fmla="*/ 1450727 h 1466839"/>
                <a:gd name="connsiteX1202" fmla="*/ 354626 w 387963"/>
                <a:gd name="connsiteY1202" fmla="*/ 1455661 h 1466839"/>
                <a:gd name="connsiteX1203" fmla="*/ 352603 w 387963"/>
                <a:gd name="connsiteY1203" fmla="*/ 1455661 h 1466839"/>
                <a:gd name="connsiteX1204" fmla="*/ 344314 w 387963"/>
                <a:gd name="connsiteY1204" fmla="*/ 1449198 h 1466839"/>
                <a:gd name="connsiteX1205" fmla="*/ 340219 w 387963"/>
                <a:gd name="connsiteY1205" fmla="*/ 1449198 h 1466839"/>
                <a:gd name="connsiteX1206" fmla="*/ 334002 w 387963"/>
                <a:gd name="connsiteY1206" fmla="*/ 1450777 h 1466839"/>
                <a:gd name="connsiteX1207" fmla="*/ 329857 w 387963"/>
                <a:gd name="connsiteY1207" fmla="*/ 1447569 h 1466839"/>
                <a:gd name="connsiteX1208" fmla="*/ 325713 w 387963"/>
                <a:gd name="connsiteY1208" fmla="*/ 1442635 h 1466839"/>
                <a:gd name="connsiteX1209" fmla="*/ 319545 w 387963"/>
                <a:gd name="connsiteY1209" fmla="*/ 1442635 h 1466839"/>
                <a:gd name="connsiteX1210" fmla="*/ 317473 w 387963"/>
                <a:gd name="connsiteY1210" fmla="*/ 1445892 h 1466839"/>
                <a:gd name="connsiteX1211" fmla="*/ 323690 w 387963"/>
                <a:gd name="connsiteY1211" fmla="*/ 1449099 h 1466839"/>
                <a:gd name="connsiteX1212" fmla="*/ 323690 w 387963"/>
                <a:gd name="connsiteY1212" fmla="*/ 1452306 h 1466839"/>
                <a:gd name="connsiteX1213" fmla="*/ 319545 w 387963"/>
                <a:gd name="connsiteY1213" fmla="*/ 1453934 h 1466839"/>
                <a:gd name="connsiteX1214" fmla="*/ 311256 w 387963"/>
                <a:gd name="connsiteY1214" fmla="*/ 1450678 h 1466839"/>
                <a:gd name="connsiteX1215" fmla="*/ 307161 w 387963"/>
                <a:gd name="connsiteY1215" fmla="*/ 1452306 h 1466839"/>
                <a:gd name="connsiteX1216" fmla="*/ 305088 w 387963"/>
                <a:gd name="connsiteY1216" fmla="*/ 1449099 h 1466839"/>
                <a:gd name="connsiteX1217" fmla="*/ 300993 w 387963"/>
                <a:gd name="connsiteY1217" fmla="*/ 1447471 h 1466839"/>
                <a:gd name="connsiteX1218" fmla="*/ 303016 w 387963"/>
                <a:gd name="connsiteY1218" fmla="*/ 1442537 h 1466839"/>
                <a:gd name="connsiteX1219" fmla="*/ 296848 w 387963"/>
                <a:gd name="connsiteY1219" fmla="*/ 1445793 h 1466839"/>
                <a:gd name="connsiteX1220" fmla="*/ 292704 w 387963"/>
                <a:gd name="connsiteY1220" fmla="*/ 1442537 h 1466839"/>
                <a:gd name="connsiteX1221" fmla="*/ 292704 w 387963"/>
                <a:gd name="connsiteY1221" fmla="*/ 1439330 h 1466839"/>
                <a:gd name="connsiteX1222" fmla="*/ 298871 w 387963"/>
                <a:gd name="connsiteY1222" fmla="*/ 1437751 h 1466839"/>
                <a:gd name="connsiteX1223" fmla="*/ 309233 w 387963"/>
                <a:gd name="connsiteY1223" fmla="*/ 1434495 h 1466839"/>
                <a:gd name="connsiteX1224" fmla="*/ 303016 w 387963"/>
                <a:gd name="connsiteY1224" fmla="*/ 1431287 h 1466839"/>
                <a:gd name="connsiteX1225" fmla="*/ 298871 w 387963"/>
                <a:gd name="connsiteY1225" fmla="*/ 1432866 h 146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</a:cxnLst>
              <a:rect l="l" t="t" r="r" b="b"/>
              <a:pathLst>
                <a:path w="387963" h="1466839">
                  <a:moveTo>
                    <a:pt x="332127" y="1420087"/>
                  </a:moveTo>
                  <a:lnTo>
                    <a:pt x="328031" y="1408788"/>
                  </a:lnTo>
                  <a:lnTo>
                    <a:pt x="323887" y="1408788"/>
                  </a:lnTo>
                  <a:lnTo>
                    <a:pt x="317670" y="1403854"/>
                  </a:lnTo>
                  <a:lnTo>
                    <a:pt x="305286" y="1400647"/>
                  </a:lnTo>
                  <a:lnTo>
                    <a:pt x="286684" y="1395713"/>
                  </a:lnTo>
                  <a:lnTo>
                    <a:pt x="278444" y="1392457"/>
                  </a:lnTo>
                  <a:lnTo>
                    <a:pt x="278444" y="1395713"/>
                  </a:lnTo>
                  <a:lnTo>
                    <a:pt x="280517" y="1398920"/>
                  </a:lnTo>
                  <a:lnTo>
                    <a:pt x="278444" y="1400548"/>
                  </a:lnTo>
                  <a:lnTo>
                    <a:pt x="274300" y="1398920"/>
                  </a:lnTo>
                  <a:lnTo>
                    <a:pt x="261965" y="1393986"/>
                  </a:lnTo>
                  <a:lnTo>
                    <a:pt x="255748" y="1392308"/>
                  </a:lnTo>
                  <a:lnTo>
                    <a:pt x="253676" y="1392308"/>
                  </a:lnTo>
                  <a:lnTo>
                    <a:pt x="257820" y="1395565"/>
                  </a:lnTo>
                  <a:lnTo>
                    <a:pt x="272277" y="1402028"/>
                  </a:lnTo>
                  <a:lnTo>
                    <a:pt x="274300" y="1405236"/>
                  </a:lnTo>
                  <a:lnTo>
                    <a:pt x="268132" y="1405236"/>
                  </a:lnTo>
                  <a:lnTo>
                    <a:pt x="268132" y="1408443"/>
                  </a:lnTo>
                  <a:lnTo>
                    <a:pt x="263988" y="1408443"/>
                  </a:lnTo>
                  <a:lnTo>
                    <a:pt x="261965" y="1405236"/>
                  </a:lnTo>
                  <a:lnTo>
                    <a:pt x="255748" y="1400302"/>
                  </a:lnTo>
                  <a:lnTo>
                    <a:pt x="253676" y="1401930"/>
                  </a:lnTo>
                  <a:lnTo>
                    <a:pt x="253676" y="1406864"/>
                  </a:lnTo>
                  <a:lnTo>
                    <a:pt x="249580" y="1406864"/>
                  </a:lnTo>
                  <a:lnTo>
                    <a:pt x="237196" y="1408443"/>
                  </a:lnTo>
                  <a:lnTo>
                    <a:pt x="235074" y="1410071"/>
                  </a:lnTo>
                  <a:lnTo>
                    <a:pt x="237196" y="1411699"/>
                  </a:lnTo>
                  <a:lnTo>
                    <a:pt x="237196" y="1413278"/>
                  </a:lnTo>
                  <a:lnTo>
                    <a:pt x="230979" y="1411699"/>
                  </a:lnTo>
                  <a:lnTo>
                    <a:pt x="222690" y="1413278"/>
                  </a:lnTo>
                  <a:lnTo>
                    <a:pt x="224762" y="1416485"/>
                  </a:lnTo>
                  <a:lnTo>
                    <a:pt x="233051" y="1418113"/>
                  </a:lnTo>
                  <a:lnTo>
                    <a:pt x="239219" y="1418113"/>
                  </a:lnTo>
                  <a:lnTo>
                    <a:pt x="241291" y="1414906"/>
                  </a:lnTo>
                  <a:lnTo>
                    <a:pt x="243364" y="1414906"/>
                  </a:lnTo>
                  <a:lnTo>
                    <a:pt x="247459" y="1416485"/>
                  </a:lnTo>
                  <a:lnTo>
                    <a:pt x="253676" y="1419742"/>
                  </a:lnTo>
                  <a:lnTo>
                    <a:pt x="257820" y="1418113"/>
                  </a:lnTo>
                  <a:lnTo>
                    <a:pt x="259843" y="1421370"/>
                  </a:lnTo>
                  <a:lnTo>
                    <a:pt x="259843" y="1424577"/>
                  </a:lnTo>
                  <a:lnTo>
                    <a:pt x="263988" y="1426156"/>
                  </a:lnTo>
                  <a:lnTo>
                    <a:pt x="259843" y="1429412"/>
                  </a:lnTo>
                  <a:lnTo>
                    <a:pt x="255748" y="1434346"/>
                  </a:lnTo>
                  <a:lnTo>
                    <a:pt x="259843" y="1437603"/>
                  </a:lnTo>
                  <a:lnTo>
                    <a:pt x="263988" y="1437603"/>
                  </a:lnTo>
                  <a:lnTo>
                    <a:pt x="268132" y="1439182"/>
                  </a:lnTo>
                  <a:lnTo>
                    <a:pt x="274300" y="1444116"/>
                  </a:lnTo>
                  <a:lnTo>
                    <a:pt x="278444" y="1444116"/>
                  </a:lnTo>
                  <a:lnTo>
                    <a:pt x="280517" y="1442488"/>
                  </a:lnTo>
                  <a:lnTo>
                    <a:pt x="274300" y="1440909"/>
                  </a:lnTo>
                  <a:lnTo>
                    <a:pt x="268132" y="1435975"/>
                  </a:lnTo>
                  <a:lnTo>
                    <a:pt x="268132" y="1432767"/>
                  </a:lnTo>
                  <a:lnTo>
                    <a:pt x="268132" y="1432767"/>
                  </a:lnTo>
                  <a:lnTo>
                    <a:pt x="274300" y="1434396"/>
                  </a:lnTo>
                  <a:lnTo>
                    <a:pt x="278444" y="1432767"/>
                  </a:lnTo>
                  <a:lnTo>
                    <a:pt x="278444" y="1429561"/>
                  </a:lnTo>
                  <a:lnTo>
                    <a:pt x="274300" y="1429561"/>
                  </a:lnTo>
                  <a:lnTo>
                    <a:pt x="270205" y="1426304"/>
                  </a:lnTo>
                  <a:lnTo>
                    <a:pt x="286684" y="1421370"/>
                  </a:lnTo>
                  <a:lnTo>
                    <a:pt x="292901" y="1418113"/>
                  </a:lnTo>
                  <a:lnTo>
                    <a:pt x="319742" y="1424577"/>
                  </a:lnTo>
                  <a:lnTo>
                    <a:pt x="323887" y="1422949"/>
                  </a:lnTo>
                  <a:lnTo>
                    <a:pt x="323887" y="1419742"/>
                  </a:lnTo>
                  <a:close/>
                  <a:moveTo>
                    <a:pt x="328031" y="1405581"/>
                  </a:moveTo>
                  <a:lnTo>
                    <a:pt x="319742" y="1402374"/>
                  </a:lnTo>
                  <a:lnTo>
                    <a:pt x="301190" y="1392506"/>
                  </a:lnTo>
                  <a:lnTo>
                    <a:pt x="290829" y="1389299"/>
                  </a:lnTo>
                  <a:lnTo>
                    <a:pt x="284661" y="1389299"/>
                  </a:lnTo>
                  <a:lnTo>
                    <a:pt x="276422" y="1386091"/>
                  </a:lnTo>
                  <a:lnTo>
                    <a:pt x="270205" y="1379628"/>
                  </a:lnTo>
                  <a:lnTo>
                    <a:pt x="268132" y="1378049"/>
                  </a:lnTo>
                  <a:lnTo>
                    <a:pt x="268132" y="1374792"/>
                  </a:lnTo>
                  <a:lnTo>
                    <a:pt x="280517" y="1369858"/>
                  </a:lnTo>
                  <a:lnTo>
                    <a:pt x="280517" y="1366652"/>
                  </a:lnTo>
                  <a:lnTo>
                    <a:pt x="288806" y="1365023"/>
                  </a:lnTo>
                  <a:lnTo>
                    <a:pt x="292901" y="1358560"/>
                  </a:lnTo>
                  <a:lnTo>
                    <a:pt x="290829" y="1352145"/>
                  </a:lnTo>
                  <a:lnTo>
                    <a:pt x="282589" y="1352145"/>
                  </a:lnTo>
                  <a:lnTo>
                    <a:pt x="272277" y="1357079"/>
                  </a:lnTo>
                  <a:lnTo>
                    <a:pt x="268132" y="1362013"/>
                  </a:lnTo>
                  <a:lnTo>
                    <a:pt x="261965" y="1363642"/>
                  </a:lnTo>
                  <a:lnTo>
                    <a:pt x="255748" y="1355550"/>
                  </a:lnTo>
                  <a:lnTo>
                    <a:pt x="255748" y="1349086"/>
                  </a:lnTo>
                  <a:lnTo>
                    <a:pt x="253676" y="1344152"/>
                  </a:lnTo>
                  <a:lnTo>
                    <a:pt x="259843" y="1339218"/>
                  </a:lnTo>
                  <a:lnTo>
                    <a:pt x="259843" y="1334284"/>
                  </a:lnTo>
                  <a:lnTo>
                    <a:pt x="253676" y="1335863"/>
                  </a:lnTo>
                  <a:lnTo>
                    <a:pt x="249580" y="1332656"/>
                  </a:lnTo>
                  <a:lnTo>
                    <a:pt x="253676" y="1327722"/>
                  </a:lnTo>
                  <a:lnTo>
                    <a:pt x="259843" y="1327722"/>
                  </a:lnTo>
                  <a:lnTo>
                    <a:pt x="266060" y="1330929"/>
                  </a:lnTo>
                  <a:lnTo>
                    <a:pt x="268132" y="1329350"/>
                  </a:lnTo>
                  <a:lnTo>
                    <a:pt x="274300" y="1324416"/>
                  </a:lnTo>
                  <a:lnTo>
                    <a:pt x="274300" y="1314548"/>
                  </a:lnTo>
                  <a:lnTo>
                    <a:pt x="276422" y="1309614"/>
                  </a:lnTo>
                  <a:lnTo>
                    <a:pt x="282589" y="1311193"/>
                  </a:lnTo>
                  <a:lnTo>
                    <a:pt x="286684" y="1316127"/>
                  </a:lnTo>
                  <a:lnTo>
                    <a:pt x="290829" y="1312871"/>
                  </a:lnTo>
                  <a:lnTo>
                    <a:pt x="299069" y="1309663"/>
                  </a:lnTo>
                  <a:lnTo>
                    <a:pt x="309430" y="1345090"/>
                  </a:lnTo>
                  <a:lnTo>
                    <a:pt x="309430" y="1346718"/>
                  </a:lnTo>
                  <a:lnTo>
                    <a:pt x="309430" y="1346718"/>
                  </a:lnTo>
                  <a:close/>
                  <a:moveTo>
                    <a:pt x="299069" y="1300831"/>
                  </a:moveTo>
                  <a:lnTo>
                    <a:pt x="288806" y="1292789"/>
                  </a:lnTo>
                  <a:lnTo>
                    <a:pt x="280517" y="1291161"/>
                  </a:lnTo>
                  <a:lnTo>
                    <a:pt x="278444" y="1289533"/>
                  </a:lnTo>
                  <a:lnTo>
                    <a:pt x="233051" y="1289533"/>
                  </a:lnTo>
                  <a:lnTo>
                    <a:pt x="206210" y="1292789"/>
                  </a:lnTo>
                  <a:lnTo>
                    <a:pt x="202066" y="1289533"/>
                  </a:lnTo>
                  <a:lnTo>
                    <a:pt x="183464" y="1289533"/>
                  </a:lnTo>
                  <a:lnTo>
                    <a:pt x="177297" y="1276655"/>
                  </a:lnTo>
                  <a:lnTo>
                    <a:pt x="175225" y="1265356"/>
                  </a:lnTo>
                  <a:lnTo>
                    <a:pt x="166985" y="1258892"/>
                  </a:lnTo>
                  <a:lnTo>
                    <a:pt x="164912" y="1241179"/>
                  </a:lnTo>
                  <a:lnTo>
                    <a:pt x="164912" y="1233136"/>
                  </a:lnTo>
                  <a:lnTo>
                    <a:pt x="156623" y="1233136"/>
                  </a:lnTo>
                  <a:lnTo>
                    <a:pt x="146360" y="1238070"/>
                  </a:lnTo>
                  <a:lnTo>
                    <a:pt x="140144" y="1244534"/>
                  </a:lnTo>
                  <a:lnTo>
                    <a:pt x="131854" y="1244534"/>
                  </a:lnTo>
                  <a:lnTo>
                    <a:pt x="117398" y="1217150"/>
                  </a:lnTo>
                  <a:lnTo>
                    <a:pt x="113302" y="1207282"/>
                  </a:lnTo>
                  <a:lnTo>
                    <a:pt x="119519" y="1179898"/>
                  </a:lnTo>
                  <a:lnTo>
                    <a:pt x="125687" y="1170030"/>
                  </a:lnTo>
                  <a:lnTo>
                    <a:pt x="138071" y="1158731"/>
                  </a:lnTo>
                  <a:lnTo>
                    <a:pt x="142216" y="1142597"/>
                  </a:lnTo>
                  <a:lnTo>
                    <a:pt x="138071" y="1126512"/>
                  </a:lnTo>
                  <a:lnTo>
                    <a:pt x="133927" y="1115213"/>
                  </a:lnTo>
                  <a:lnTo>
                    <a:pt x="135999" y="1100756"/>
                  </a:lnTo>
                  <a:lnTo>
                    <a:pt x="144239" y="1092665"/>
                  </a:lnTo>
                  <a:lnTo>
                    <a:pt x="138071" y="1078158"/>
                  </a:lnTo>
                  <a:lnTo>
                    <a:pt x="138071" y="1071695"/>
                  </a:lnTo>
                  <a:lnTo>
                    <a:pt x="144239" y="1065231"/>
                  </a:lnTo>
                  <a:lnTo>
                    <a:pt x="140144" y="1052353"/>
                  </a:lnTo>
                  <a:lnTo>
                    <a:pt x="138071" y="1036268"/>
                  </a:lnTo>
                  <a:lnTo>
                    <a:pt x="133927" y="1028176"/>
                  </a:lnTo>
                  <a:lnTo>
                    <a:pt x="133927" y="1021713"/>
                  </a:lnTo>
                  <a:lnTo>
                    <a:pt x="142216" y="1013720"/>
                  </a:lnTo>
                  <a:lnTo>
                    <a:pt x="142216" y="1007256"/>
                  </a:lnTo>
                  <a:lnTo>
                    <a:pt x="135999" y="995958"/>
                  </a:lnTo>
                  <a:lnTo>
                    <a:pt x="123614" y="989543"/>
                  </a:lnTo>
                  <a:lnTo>
                    <a:pt x="115375" y="989543"/>
                  </a:lnTo>
                  <a:lnTo>
                    <a:pt x="113302" y="991122"/>
                  </a:lnTo>
                  <a:lnTo>
                    <a:pt x="109158" y="986188"/>
                  </a:lnTo>
                  <a:lnTo>
                    <a:pt x="111230" y="981254"/>
                  </a:lnTo>
                  <a:lnTo>
                    <a:pt x="127660" y="981254"/>
                  </a:lnTo>
                  <a:lnTo>
                    <a:pt x="135900" y="973212"/>
                  </a:lnTo>
                  <a:lnTo>
                    <a:pt x="135900" y="966748"/>
                  </a:lnTo>
                  <a:lnTo>
                    <a:pt x="129683" y="965120"/>
                  </a:lnTo>
                  <a:lnTo>
                    <a:pt x="125588" y="968327"/>
                  </a:lnTo>
                  <a:lnTo>
                    <a:pt x="119421" y="966748"/>
                  </a:lnTo>
                  <a:lnTo>
                    <a:pt x="115276" y="952242"/>
                  </a:lnTo>
                  <a:lnTo>
                    <a:pt x="109059" y="939364"/>
                  </a:lnTo>
                  <a:lnTo>
                    <a:pt x="107036" y="931272"/>
                  </a:lnTo>
                  <a:lnTo>
                    <a:pt x="109059" y="920023"/>
                  </a:lnTo>
                  <a:lnTo>
                    <a:pt x="96675" y="916766"/>
                  </a:lnTo>
                  <a:lnTo>
                    <a:pt x="94652" y="908724"/>
                  </a:lnTo>
                  <a:lnTo>
                    <a:pt x="92530" y="884547"/>
                  </a:lnTo>
                  <a:lnTo>
                    <a:pt x="100819" y="879613"/>
                  </a:lnTo>
                  <a:lnTo>
                    <a:pt x="102891" y="871570"/>
                  </a:lnTo>
                  <a:lnTo>
                    <a:pt x="98747" y="865107"/>
                  </a:lnTo>
                  <a:lnTo>
                    <a:pt x="92530" y="863478"/>
                  </a:lnTo>
                  <a:lnTo>
                    <a:pt x="88435" y="848973"/>
                  </a:lnTo>
                  <a:lnTo>
                    <a:pt x="88435" y="828052"/>
                  </a:lnTo>
                  <a:lnTo>
                    <a:pt x="90507" y="805455"/>
                  </a:lnTo>
                  <a:lnTo>
                    <a:pt x="82218" y="795587"/>
                  </a:lnTo>
                  <a:lnTo>
                    <a:pt x="82218" y="784337"/>
                  </a:lnTo>
                  <a:lnTo>
                    <a:pt x="94652" y="769830"/>
                  </a:lnTo>
                  <a:lnTo>
                    <a:pt x="96675" y="752068"/>
                  </a:lnTo>
                  <a:lnTo>
                    <a:pt x="107036" y="748861"/>
                  </a:lnTo>
                  <a:lnTo>
                    <a:pt x="111131" y="742397"/>
                  </a:lnTo>
                  <a:lnTo>
                    <a:pt x="90507" y="706971"/>
                  </a:lnTo>
                  <a:lnTo>
                    <a:pt x="92530" y="694093"/>
                  </a:lnTo>
                  <a:lnTo>
                    <a:pt x="92530" y="665081"/>
                  </a:lnTo>
                  <a:lnTo>
                    <a:pt x="100819" y="652203"/>
                  </a:lnTo>
                  <a:lnTo>
                    <a:pt x="109059" y="644111"/>
                  </a:lnTo>
                  <a:lnTo>
                    <a:pt x="107036" y="632812"/>
                  </a:lnTo>
                  <a:lnTo>
                    <a:pt x="98747" y="622944"/>
                  </a:lnTo>
                  <a:lnTo>
                    <a:pt x="94652" y="618010"/>
                  </a:lnTo>
                  <a:lnTo>
                    <a:pt x="102891" y="608142"/>
                  </a:lnTo>
                  <a:lnTo>
                    <a:pt x="100819" y="595215"/>
                  </a:lnTo>
                  <a:lnTo>
                    <a:pt x="107036" y="583966"/>
                  </a:lnTo>
                  <a:lnTo>
                    <a:pt x="113204" y="580709"/>
                  </a:lnTo>
                  <a:lnTo>
                    <a:pt x="115276" y="566203"/>
                  </a:lnTo>
                  <a:lnTo>
                    <a:pt x="113204" y="542026"/>
                  </a:lnTo>
                  <a:lnTo>
                    <a:pt x="107036" y="538819"/>
                  </a:lnTo>
                  <a:lnTo>
                    <a:pt x="102891" y="521106"/>
                  </a:lnTo>
                  <a:lnTo>
                    <a:pt x="96675" y="511238"/>
                  </a:lnTo>
                  <a:lnTo>
                    <a:pt x="88435" y="499988"/>
                  </a:lnTo>
                  <a:lnTo>
                    <a:pt x="88435" y="494956"/>
                  </a:lnTo>
                  <a:lnTo>
                    <a:pt x="80146" y="486913"/>
                  </a:lnTo>
                  <a:lnTo>
                    <a:pt x="78073" y="472407"/>
                  </a:lnTo>
                  <a:lnTo>
                    <a:pt x="80146" y="461108"/>
                  </a:lnTo>
                  <a:lnTo>
                    <a:pt x="88435" y="456174"/>
                  </a:lnTo>
                  <a:lnTo>
                    <a:pt x="90507" y="441668"/>
                  </a:lnTo>
                  <a:lnTo>
                    <a:pt x="94652" y="435204"/>
                  </a:lnTo>
                  <a:lnTo>
                    <a:pt x="96675" y="420747"/>
                  </a:lnTo>
                  <a:lnTo>
                    <a:pt x="88435" y="410880"/>
                  </a:lnTo>
                  <a:lnTo>
                    <a:pt x="88435" y="391489"/>
                  </a:lnTo>
                  <a:lnTo>
                    <a:pt x="92530" y="386555"/>
                  </a:lnTo>
                  <a:lnTo>
                    <a:pt x="96675" y="363957"/>
                  </a:lnTo>
                  <a:lnTo>
                    <a:pt x="102891" y="355914"/>
                  </a:lnTo>
                  <a:lnTo>
                    <a:pt x="111131" y="336573"/>
                  </a:lnTo>
                  <a:lnTo>
                    <a:pt x="121443" y="326705"/>
                  </a:lnTo>
                  <a:lnTo>
                    <a:pt x="127660" y="323498"/>
                  </a:lnTo>
                  <a:lnTo>
                    <a:pt x="133828" y="318564"/>
                  </a:lnTo>
                  <a:lnTo>
                    <a:pt x="129683" y="315357"/>
                  </a:lnTo>
                  <a:lnTo>
                    <a:pt x="129683" y="307265"/>
                  </a:lnTo>
                  <a:lnTo>
                    <a:pt x="127660" y="302331"/>
                  </a:lnTo>
                  <a:lnTo>
                    <a:pt x="123516" y="299124"/>
                  </a:lnTo>
                  <a:lnTo>
                    <a:pt x="123516" y="292660"/>
                  </a:lnTo>
                  <a:lnTo>
                    <a:pt x="131756" y="289453"/>
                  </a:lnTo>
                  <a:lnTo>
                    <a:pt x="131756" y="281410"/>
                  </a:lnTo>
                  <a:lnTo>
                    <a:pt x="123516" y="273319"/>
                  </a:lnTo>
                  <a:lnTo>
                    <a:pt x="121443" y="262020"/>
                  </a:lnTo>
                  <a:lnTo>
                    <a:pt x="125588" y="255605"/>
                  </a:lnTo>
                  <a:lnTo>
                    <a:pt x="123516" y="250671"/>
                  </a:lnTo>
                  <a:lnTo>
                    <a:pt x="115276" y="244208"/>
                  </a:lnTo>
                  <a:lnTo>
                    <a:pt x="119421" y="236116"/>
                  </a:lnTo>
                  <a:lnTo>
                    <a:pt x="162741" y="216824"/>
                  </a:lnTo>
                  <a:lnTo>
                    <a:pt x="170981" y="181348"/>
                  </a:lnTo>
                  <a:lnTo>
                    <a:pt x="167133" y="174243"/>
                  </a:lnTo>
                  <a:lnTo>
                    <a:pt x="160916" y="175822"/>
                  </a:lnTo>
                  <a:lnTo>
                    <a:pt x="158893" y="179079"/>
                  </a:lnTo>
                  <a:lnTo>
                    <a:pt x="148531" y="179079"/>
                  </a:lnTo>
                  <a:lnTo>
                    <a:pt x="121690" y="117847"/>
                  </a:lnTo>
                  <a:lnTo>
                    <a:pt x="105161" y="103341"/>
                  </a:lnTo>
                  <a:lnTo>
                    <a:pt x="98994" y="98407"/>
                  </a:lnTo>
                  <a:lnTo>
                    <a:pt x="107283" y="80694"/>
                  </a:lnTo>
                  <a:lnTo>
                    <a:pt x="105161" y="74280"/>
                  </a:lnTo>
                  <a:lnTo>
                    <a:pt x="109306" y="66188"/>
                  </a:lnTo>
                  <a:lnTo>
                    <a:pt x="109306" y="61254"/>
                  </a:lnTo>
                  <a:lnTo>
                    <a:pt x="92777" y="50004"/>
                  </a:lnTo>
                  <a:lnTo>
                    <a:pt x="86609" y="43541"/>
                  </a:lnTo>
                  <a:lnTo>
                    <a:pt x="84537" y="32242"/>
                  </a:lnTo>
                  <a:lnTo>
                    <a:pt x="82465" y="29035"/>
                  </a:lnTo>
                  <a:lnTo>
                    <a:pt x="84537" y="22620"/>
                  </a:lnTo>
                  <a:lnTo>
                    <a:pt x="84537" y="17686"/>
                  </a:lnTo>
                  <a:lnTo>
                    <a:pt x="80392" y="14479"/>
                  </a:lnTo>
                  <a:lnTo>
                    <a:pt x="72152" y="8016"/>
                  </a:lnTo>
                  <a:lnTo>
                    <a:pt x="72152" y="1552"/>
                  </a:lnTo>
                  <a:lnTo>
                    <a:pt x="65936" y="-27"/>
                  </a:lnTo>
                  <a:lnTo>
                    <a:pt x="61840" y="4907"/>
                  </a:lnTo>
                  <a:lnTo>
                    <a:pt x="59768" y="9841"/>
                  </a:lnTo>
                  <a:lnTo>
                    <a:pt x="65936" y="14775"/>
                  </a:lnTo>
                  <a:lnTo>
                    <a:pt x="63913" y="21189"/>
                  </a:lnTo>
                  <a:lnTo>
                    <a:pt x="55673" y="24446"/>
                  </a:lnTo>
                  <a:lnTo>
                    <a:pt x="51528" y="22867"/>
                  </a:lnTo>
                  <a:lnTo>
                    <a:pt x="43239" y="27801"/>
                  </a:lnTo>
                  <a:lnTo>
                    <a:pt x="34999" y="32735"/>
                  </a:lnTo>
                  <a:lnTo>
                    <a:pt x="39094" y="34363"/>
                  </a:lnTo>
                  <a:lnTo>
                    <a:pt x="39094" y="42406"/>
                  </a:lnTo>
                  <a:lnTo>
                    <a:pt x="37072" y="50498"/>
                  </a:lnTo>
                  <a:lnTo>
                    <a:pt x="39094" y="58540"/>
                  </a:lnTo>
                  <a:lnTo>
                    <a:pt x="45311" y="81089"/>
                  </a:lnTo>
                  <a:lnTo>
                    <a:pt x="45311" y="90957"/>
                  </a:lnTo>
                  <a:lnTo>
                    <a:pt x="43239" y="95891"/>
                  </a:lnTo>
                  <a:lnTo>
                    <a:pt x="39094" y="100825"/>
                  </a:lnTo>
                  <a:lnTo>
                    <a:pt x="43239" y="112075"/>
                  </a:lnTo>
                  <a:lnTo>
                    <a:pt x="47384" y="123324"/>
                  </a:lnTo>
                  <a:lnTo>
                    <a:pt x="51528" y="133192"/>
                  </a:lnTo>
                  <a:lnTo>
                    <a:pt x="51528" y="149326"/>
                  </a:lnTo>
                  <a:lnTo>
                    <a:pt x="49456" y="154260"/>
                  </a:lnTo>
                  <a:lnTo>
                    <a:pt x="47384" y="157467"/>
                  </a:lnTo>
                  <a:lnTo>
                    <a:pt x="49456" y="178437"/>
                  </a:lnTo>
                  <a:lnTo>
                    <a:pt x="49456" y="184111"/>
                  </a:lnTo>
                  <a:lnTo>
                    <a:pt x="43239" y="185690"/>
                  </a:lnTo>
                  <a:lnTo>
                    <a:pt x="39094" y="188947"/>
                  </a:lnTo>
                  <a:lnTo>
                    <a:pt x="39094" y="201825"/>
                  </a:lnTo>
                  <a:lnTo>
                    <a:pt x="41167" y="205081"/>
                  </a:lnTo>
                  <a:lnTo>
                    <a:pt x="47384" y="201825"/>
                  </a:lnTo>
                  <a:lnTo>
                    <a:pt x="49456" y="203453"/>
                  </a:lnTo>
                  <a:lnTo>
                    <a:pt x="45311" y="206660"/>
                  </a:lnTo>
                  <a:lnTo>
                    <a:pt x="45311" y="238928"/>
                  </a:lnTo>
                  <a:lnTo>
                    <a:pt x="51528" y="251806"/>
                  </a:lnTo>
                  <a:lnTo>
                    <a:pt x="51528" y="261674"/>
                  </a:lnTo>
                  <a:lnTo>
                    <a:pt x="49456" y="269717"/>
                  </a:lnTo>
                  <a:lnTo>
                    <a:pt x="45311" y="277759"/>
                  </a:lnTo>
                  <a:lnTo>
                    <a:pt x="45311" y="285851"/>
                  </a:lnTo>
                  <a:lnTo>
                    <a:pt x="51528" y="297101"/>
                  </a:lnTo>
                  <a:lnTo>
                    <a:pt x="49456" y="303564"/>
                  </a:lnTo>
                  <a:lnTo>
                    <a:pt x="49456" y="318070"/>
                  </a:lnTo>
                  <a:lnTo>
                    <a:pt x="45311" y="324534"/>
                  </a:lnTo>
                  <a:lnTo>
                    <a:pt x="45311" y="332132"/>
                  </a:lnTo>
                  <a:lnTo>
                    <a:pt x="47384" y="337066"/>
                  </a:lnTo>
                  <a:lnTo>
                    <a:pt x="47384" y="340274"/>
                  </a:lnTo>
                  <a:lnTo>
                    <a:pt x="41167" y="348316"/>
                  </a:lnTo>
                  <a:lnTo>
                    <a:pt x="41167" y="356408"/>
                  </a:lnTo>
                  <a:lnTo>
                    <a:pt x="37072" y="361342"/>
                  </a:lnTo>
                  <a:lnTo>
                    <a:pt x="39094" y="371210"/>
                  </a:lnTo>
                  <a:lnTo>
                    <a:pt x="37072" y="376144"/>
                  </a:lnTo>
                  <a:lnTo>
                    <a:pt x="30855" y="387443"/>
                  </a:lnTo>
                  <a:lnTo>
                    <a:pt x="30855" y="392377"/>
                  </a:lnTo>
                  <a:lnTo>
                    <a:pt x="37072" y="400469"/>
                  </a:lnTo>
                  <a:lnTo>
                    <a:pt x="39094" y="410337"/>
                  </a:lnTo>
                  <a:lnTo>
                    <a:pt x="43239" y="415271"/>
                  </a:lnTo>
                  <a:lnTo>
                    <a:pt x="39094" y="418478"/>
                  </a:lnTo>
                  <a:lnTo>
                    <a:pt x="34999" y="426520"/>
                  </a:lnTo>
                  <a:lnTo>
                    <a:pt x="39094" y="431455"/>
                  </a:lnTo>
                  <a:lnTo>
                    <a:pt x="34999" y="436389"/>
                  </a:lnTo>
                  <a:lnTo>
                    <a:pt x="30855" y="438017"/>
                  </a:lnTo>
                  <a:lnTo>
                    <a:pt x="28782" y="446108"/>
                  </a:lnTo>
                  <a:lnTo>
                    <a:pt x="30855" y="454102"/>
                  </a:lnTo>
                  <a:lnTo>
                    <a:pt x="32927" y="460565"/>
                  </a:lnTo>
                  <a:lnTo>
                    <a:pt x="41167" y="478328"/>
                  </a:lnTo>
                  <a:lnTo>
                    <a:pt x="41167" y="488196"/>
                  </a:lnTo>
                  <a:lnTo>
                    <a:pt x="37072" y="491403"/>
                  </a:lnTo>
                  <a:lnTo>
                    <a:pt x="37072" y="497866"/>
                  </a:lnTo>
                  <a:lnTo>
                    <a:pt x="45311" y="507734"/>
                  </a:lnTo>
                  <a:lnTo>
                    <a:pt x="45311" y="518984"/>
                  </a:lnTo>
                  <a:lnTo>
                    <a:pt x="43239" y="525448"/>
                  </a:lnTo>
                  <a:lnTo>
                    <a:pt x="43239" y="528655"/>
                  </a:lnTo>
                  <a:lnTo>
                    <a:pt x="45311" y="533589"/>
                  </a:lnTo>
                  <a:lnTo>
                    <a:pt x="45311" y="538523"/>
                  </a:lnTo>
                  <a:lnTo>
                    <a:pt x="43239" y="544987"/>
                  </a:lnTo>
                  <a:lnTo>
                    <a:pt x="45311" y="548194"/>
                  </a:lnTo>
                  <a:lnTo>
                    <a:pt x="53551" y="558062"/>
                  </a:lnTo>
                  <a:lnTo>
                    <a:pt x="53551" y="562996"/>
                  </a:lnTo>
                  <a:lnTo>
                    <a:pt x="49456" y="567930"/>
                  </a:lnTo>
                  <a:lnTo>
                    <a:pt x="45311" y="571137"/>
                  </a:lnTo>
                  <a:lnTo>
                    <a:pt x="39094" y="579179"/>
                  </a:lnTo>
                  <a:lnTo>
                    <a:pt x="39094" y="582386"/>
                  </a:lnTo>
                  <a:lnTo>
                    <a:pt x="43239" y="585643"/>
                  </a:lnTo>
                  <a:lnTo>
                    <a:pt x="39094" y="592058"/>
                  </a:lnTo>
                  <a:lnTo>
                    <a:pt x="34999" y="596992"/>
                  </a:lnTo>
                  <a:lnTo>
                    <a:pt x="34999" y="611794"/>
                  </a:lnTo>
                  <a:lnTo>
                    <a:pt x="30855" y="616728"/>
                  </a:lnTo>
                  <a:lnTo>
                    <a:pt x="32927" y="621662"/>
                  </a:lnTo>
                  <a:lnTo>
                    <a:pt x="30855" y="624868"/>
                  </a:lnTo>
                  <a:lnTo>
                    <a:pt x="28782" y="632911"/>
                  </a:lnTo>
                  <a:lnTo>
                    <a:pt x="24687" y="636118"/>
                  </a:lnTo>
                  <a:lnTo>
                    <a:pt x="26710" y="639375"/>
                  </a:lnTo>
                  <a:lnTo>
                    <a:pt x="28782" y="642582"/>
                  </a:lnTo>
                  <a:lnTo>
                    <a:pt x="24687" y="649045"/>
                  </a:lnTo>
                  <a:lnTo>
                    <a:pt x="24687" y="657088"/>
                  </a:lnTo>
                  <a:lnTo>
                    <a:pt x="22566" y="662022"/>
                  </a:lnTo>
                  <a:lnTo>
                    <a:pt x="18470" y="665229"/>
                  </a:lnTo>
                  <a:lnTo>
                    <a:pt x="18470" y="671692"/>
                  </a:lnTo>
                  <a:lnTo>
                    <a:pt x="16447" y="674900"/>
                  </a:lnTo>
                  <a:lnTo>
                    <a:pt x="14326" y="679834"/>
                  </a:lnTo>
                  <a:lnTo>
                    <a:pt x="18470" y="684768"/>
                  </a:lnTo>
                  <a:lnTo>
                    <a:pt x="18470" y="691232"/>
                  </a:lnTo>
                  <a:lnTo>
                    <a:pt x="14326" y="696166"/>
                  </a:lnTo>
                  <a:lnTo>
                    <a:pt x="10230" y="696166"/>
                  </a:lnTo>
                  <a:lnTo>
                    <a:pt x="6086" y="694537"/>
                  </a:lnTo>
                  <a:lnTo>
                    <a:pt x="-82" y="694537"/>
                  </a:lnTo>
                  <a:lnTo>
                    <a:pt x="-82" y="713879"/>
                  </a:lnTo>
                  <a:lnTo>
                    <a:pt x="6086" y="720342"/>
                  </a:lnTo>
                  <a:lnTo>
                    <a:pt x="14326" y="726806"/>
                  </a:lnTo>
                  <a:lnTo>
                    <a:pt x="14326" y="733270"/>
                  </a:lnTo>
                  <a:lnTo>
                    <a:pt x="12303" y="741312"/>
                  </a:lnTo>
                  <a:lnTo>
                    <a:pt x="24687" y="757397"/>
                  </a:lnTo>
                  <a:lnTo>
                    <a:pt x="26710" y="762331"/>
                  </a:lnTo>
                  <a:lnTo>
                    <a:pt x="30855" y="765538"/>
                  </a:lnTo>
                  <a:lnTo>
                    <a:pt x="30855" y="775406"/>
                  </a:lnTo>
                  <a:lnTo>
                    <a:pt x="26710" y="789912"/>
                  </a:lnTo>
                  <a:lnTo>
                    <a:pt x="24687" y="791540"/>
                  </a:lnTo>
                  <a:lnTo>
                    <a:pt x="26710" y="796474"/>
                  </a:lnTo>
                  <a:lnTo>
                    <a:pt x="24687" y="799682"/>
                  </a:lnTo>
                  <a:lnTo>
                    <a:pt x="22566" y="798102"/>
                  </a:lnTo>
                  <a:lnTo>
                    <a:pt x="18470" y="799682"/>
                  </a:lnTo>
                  <a:lnTo>
                    <a:pt x="16447" y="804616"/>
                  </a:lnTo>
                  <a:lnTo>
                    <a:pt x="18470" y="811030"/>
                  </a:lnTo>
                  <a:lnTo>
                    <a:pt x="22566" y="814286"/>
                  </a:lnTo>
                  <a:lnTo>
                    <a:pt x="18470" y="827114"/>
                  </a:lnTo>
                  <a:lnTo>
                    <a:pt x="20542" y="832049"/>
                  </a:lnTo>
                  <a:lnTo>
                    <a:pt x="16447" y="835256"/>
                  </a:lnTo>
                  <a:lnTo>
                    <a:pt x="20542" y="838512"/>
                  </a:lnTo>
                  <a:lnTo>
                    <a:pt x="18470" y="843446"/>
                  </a:lnTo>
                  <a:lnTo>
                    <a:pt x="16447" y="845124"/>
                  </a:lnTo>
                  <a:lnTo>
                    <a:pt x="18470" y="848331"/>
                  </a:lnTo>
                  <a:lnTo>
                    <a:pt x="30855" y="862837"/>
                  </a:lnTo>
                  <a:lnTo>
                    <a:pt x="32927" y="866044"/>
                  </a:lnTo>
                  <a:lnTo>
                    <a:pt x="37072" y="870978"/>
                  </a:lnTo>
                  <a:lnTo>
                    <a:pt x="47384" y="874235"/>
                  </a:lnTo>
                  <a:lnTo>
                    <a:pt x="55673" y="872656"/>
                  </a:lnTo>
                  <a:lnTo>
                    <a:pt x="57696" y="862788"/>
                  </a:lnTo>
                  <a:lnTo>
                    <a:pt x="57696" y="861159"/>
                  </a:lnTo>
                  <a:lnTo>
                    <a:pt x="65936" y="862788"/>
                  </a:lnTo>
                  <a:lnTo>
                    <a:pt x="70080" y="867722"/>
                  </a:lnTo>
                  <a:lnTo>
                    <a:pt x="72152" y="866143"/>
                  </a:lnTo>
                  <a:lnTo>
                    <a:pt x="78320" y="866143"/>
                  </a:lnTo>
                  <a:lnTo>
                    <a:pt x="74175" y="871077"/>
                  </a:lnTo>
                  <a:lnTo>
                    <a:pt x="65936" y="876011"/>
                  </a:lnTo>
                  <a:lnTo>
                    <a:pt x="65936" y="880945"/>
                  </a:lnTo>
                  <a:lnTo>
                    <a:pt x="72152" y="882574"/>
                  </a:lnTo>
                  <a:lnTo>
                    <a:pt x="76297" y="880945"/>
                  </a:lnTo>
                  <a:lnTo>
                    <a:pt x="76297" y="885879"/>
                  </a:lnTo>
                  <a:lnTo>
                    <a:pt x="78320" y="895747"/>
                  </a:lnTo>
                  <a:lnTo>
                    <a:pt x="80392" y="900681"/>
                  </a:lnTo>
                  <a:lnTo>
                    <a:pt x="78320" y="902260"/>
                  </a:lnTo>
                  <a:lnTo>
                    <a:pt x="76297" y="899053"/>
                  </a:lnTo>
                  <a:lnTo>
                    <a:pt x="74175" y="892589"/>
                  </a:lnTo>
                  <a:lnTo>
                    <a:pt x="70080" y="891011"/>
                  </a:lnTo>
                  <a:lnTo>
                    <a:pt x="68057" y="894218"/>
                  </a:lnTo>
                  <a:lnTo>
                    <a:pt x="68057" y="897424"/>
                  </a:lnTo>
                  <a:lnTo>
                    <a:pt x="74175" y="902359"/>
                  </a:lnTo>
                  <a:lnTo>
                    <a:pt x="76297" y="905566"/>
                  </a:lnTo>
                  <a:lnTo>
                    <a:pt x="70080" y="907244"/>
                  </a:lnTo>
                  <a:lnTo>
                    <a:pt x="68057" y="908822"/>
                  </a:lnTo>
                  <a:lnTo>
                    <a:pt x="68057" y="916914"/>
                  </a:lnTo>
                  <a:lnTo>
                    <a:pt x="74175" y="921848"/>
                  </a:lnTo>
                  <a:lnTo>
                    <a:pt x="68057" y="926782"/>
                  </a:lnTo>
                  <a:lnTo>
                    <a:pt x="68057" y="931716"/>
                  </a:lnTo>
                  <a:lnTo>
                    <a:pt x="70080" y="933344"/>
                  </a:lnTo>
                  <a:lnTo>
                    <a:pt x="63913" y="938278"/>
                  </a:lnTo>
                  <a:lnTo>
                    <a:pt x="65936" y="941535"/>
                  </a:lnTo>
                  <a:lnTo>
                    <a:pt x="74175" y="946469"/>
                  </a:lnTo>
                  <a:lnTo>
                    <a:pt x="72152" y="951403"/>
                  </a:lnTo>
                  <a:lnTo>
                    <a:pt x="70080" y="959446"/>
                  </a:lnTo>
                  <a:lnTo>
                    <a:pt x="65936" y="964380"/>
                  </a:lnTo>
                  <a:lnTo>
                    <a:pt x="65936" y="967587"/>
                  </a:lnTo>
                  <a:lnTo>
                    <a:pt x="70080" y="970794"/>
                  </a:lnTo>
                  <a:lnTo>
                    <a:pt x="76297" y="970794"/>
                  </a:lnTo>
                  <a:lnTo>
                    <a:pt x="80392" y="975728"/>
                  </a:lnTo>
                  <a:lnTo>
                    <a:pt x="80392" y="978984"/>
                  </a:lnTo>
                  <a:lnTo>
                    <a:pt x="86609" y="980563"/>
                  </a:lnTo>
                  <a:lnTo>
                    <a:pt x="90754" y="983770"/>
                  </a:lnTo>
                  <a:lnTo>
                    <a:pt x="88681" y="993638"/>
                  </a:lnTo>
                  <a:lnTo>
                    <a:pt x="84537" y="1001681"/>
                  </a:lnTo>
                  <a:lnTo>
                    <a:pt x="74175" y="1006615"/>
                  </a:lnTo>
                  <a:lnTo>
                    <a:pt x="70080" y="1006615"/>
                  </a:lnTo>
                  <a:lnTo>
                    <a:pt x="70080" y="1011549"/>
                  </a:lnTo>
                  <a:lnTo>
                    <a:pt x="72152" y="1017963"/>
                  </a:lnTo>
                  <a:lnTo>
                    <a:pt x="70080" y="1021220"/>
                  </a:lnTo>
                  <a:lnTo>
                    <a:pt x="70080" y="1026154"/>
                  </a:lnTo>
                  <a:lnTo>
                    <a:pt x="74175" y="1027732"/>
                  </a:lnTo>
                  <a:lnTo>
                    <a:pt x="68057" y="1032667"/>
                  </a:lnTo>
                  <a:lnTo>
                    <a:pt x="63913" y="1042535"/>
                  </a:lnTo>
                  <a:lnTo>
                    <a:pt x="63913" y="1048949"/>
                  </a:lnTo>
                  <a:lnTo>
                    <a:pt x="68057" y="1050577"/>
                  </a:lnTo>
                  <a:lnTo>
                    <a:pt x="65936" y="1053784"/>
                  </a:lnTo>
                  <a:lnTo>
                    <a:pt x="65936" y="1066712"/>
                  </a:lnTo>
                  <a:lnTo>
                    <a:pt x="61840" y="1068290"/>
                  </a:lnTo>
                  <a:lnTo>
                    <a:pt x="59768" y="1074754"/>
                  </a:lnTo>
                  <a:lnTo>
                    <a:pt x="57696" y="1069820"/>
                  </a:lnTo>
                  <a:lnTo>
                    <a:pt x="59768" y="1068192"/>
                  </a:lnTo>
                  <a:lnTo>
                    <a:pt x="61840" y="1058324"/>
                  </a:lnTo>
                  <a:lnTo>
                    <a:pt x="59768" y="1051860"/>
                  </a:lnTo>
                  <a:lnTo>
                    <a:pt x="61840" y="1048653"/>
                  </a:lnTo>
                  <a:lnTo>
                    <a:pt x="59768" y="1048653"/>
                  </a:lnTo>
                  <a:lnTo>
                    <a:pt x="49456" y="1051860"/>
                  </a:lnTo>
                  <a:lnTo>
                    <a:pt x="43239" y="1055117"/>
                  </a:lnTo>
                  <a:lnTo>
                    <a:pt x="38848" y="1055117"/>
                  </a:lnTo>
                  <a:lnTo>
                    <a:pt x="38848" y="1051860"/>
                  </a:lnTo>
                  <a:lnTo>
                    <a:pt x="45065" y="1050281"/>
                  </a:lnTo>
                  <a:lnTo>
                    <a:pt x="49209" y="1047074"/>
                  </a:lnTo>
                  <a:lnTo>
                    <a:pt x="49209" y="1038982"/>
                  </a:lnTo>
                  <a:lnTo>
                    <a:pt x="47137" y="1037403"/>
                  </a:lnTo>
                  <a:lnTo>
                    <a:pt x="38848" y="1038982"/>
                  </a:lnTo>
                  <a:lnTo>
                    <a:pt x="26463" y="1040610"/>
                  </a:lnTo>
                  <a:lnTo>
                    <a:pt x="22319" y="1038982"/>
                  </a:lnTo>
                  <a:lnTo>
                    <a:pt x="18224" y="1040610"/>
                  </a:lnTo>
                  <a:lnTo>
                    <a:pt x="18224" y="1043817"/>
                  </a:lnTo>
                  <a:lnTo>
                    <a:pt x="22319" y="1050281"/>
                  </a:lnTo>
                  <a:lnTo>
                    <a:pt x="24440" y="1050281"/>
                  </a:lnTo>
                  <a:lnTo>
                    <a:pt x="26463" y="1055215"/>
                  </a:lnTo>
                  <a:lnTo>
                    <a:pt x="22319" y="1055215"/>
                  </a:lnTo>
                  <a:lnTo>
                    <a:pt x="18224" y="1061629"/>
                  </a:lnTo>
                  <a:lnTo>
                    <a:pt x="14079" y="1064886"/>
                  </a:lnTo>
                  <a:lnTo>
                    <a:pt x="12056" y="1069820"/>
                  </a:lnTo>
                  <a:lnTo>
                    <a:pt x="1694" y="1074754"/>
                  </a:lnTo>
                  <a:lnTo>
                    <a:pt x="1694" y="1079688"/>
                  </a:lnTo>
                  <a:lnTo>
                    <a:pt x="12056" y="1089556"/>
                  </a:lnTo>
                  <a:lnTo>
                    <a:pt x="16200" y="1089556"/>
                  </a:lnTo>
                  <a:lnTo>
                    <a:pt x="20296" y="1086299"/>
                  </a:lnTo>
                  <a:lnTo>
                    <a:pt x="20296" y="1083092"/>
                  </a:lnTo>
                  <a:lnTo>
                    <a:pt x="14079" y="1081514"/>
                  </a:lnTo>
                  <a:lnTo>
                    <a:pt x="12056" y="1078257"/>
                  </a:lnTo>
                  <a:lnTo>
                    <a:pt x="16200" y="1071794"/>
                  </a:lnTo>
                  <a:lnTo>
                    <a:pt x="24440" y="1071794"/>
                  </a:lnTo>
                  <a:lnTo>
                    <a:pt x="26463" y="1070214"/>
                  </a:lnTo>
                  <a:lnTo>
                    <a:pt x="28535" y="1076678"/>
                  </a:lnTo>
                  <a:lnTo>
                    <a:pt x="34752" y="1079886"/>
                  </a:lnTo>
                  <a:lnTo>
                    <a:pt x="42992" y="1079886"/>
                  </a:lnTo>
                  <a:lnTo>
                    <a:pt x="47137" y="1076678"/>
                  </a:lnTo>
                  <a:lnTo>
                    <a:pt x="51282" y="1078257"/>
                  </a:lnTo>
                  <a:lnTo>
                    <a:pt x="53304" y="1081514"/>
                  </a:lnTo>
                  <a:lnTo>
                    <a:pt x="61594" y="1086448"/>
                  </a:lnTo>
                  <a:lnTo>
                    <a:pt x="65689" y="1089704"/>
                  </a:lnTo>
                  <a:lnTo>
                    <a:pt x="61594" y="1091332"/>
                  </a:lnTo>
                  <a:lnTo>
                    <a:pt x="59521" y="1094540"/>
                  </a:lnTo>
                  <a:lnTo>
                    <a:pt x="63666" y="1097747"/>
                  </a:lnTo>
                  <a:lnTo>
                    <a:pt x="59521" y="1099375"/>
                  </a:lnTo>
                  <a:lnTo>
                    <a:pt x="55426" y="1104309"/>
                  </a:lnTo>
                  <a:lnTo>
                    <a:pt x="59521" y="1107565"/>
                  </a:lnTo>
                  <a:lnTo>
                    <a:pt x="65689" y="1110773"/>
                  </a:lnTo>
                  <a:lnTo>
                    <a:pt x="63666" y="1113979"/>
                  </a:lnTo>
                  <a:lnTo>
                    <a:pt x="57449" y="1110773"/>
                  </a:lnTo>
                  <a:lnTo>
                    <a:pt x="55426" y="1107565"/>
                  </a:lnTo>
                  <a:lnTo>
                    <a:pt x="51282" y="1107565"/>
                  </a:lnTo>
                  <a:lnTo>
                    <a:pt x="51282" y="1113979"/>
                  </a:lnTo>
                  <a:lnTo>
                    <a:pt x="57449" y="1117187"/>
                  </a:lnTo>
                  <a:lnTo>
                    <a:pt x="59521" y="1122121"/>
                  </a:lnTo>
                  <a:lnTo>
                    <a:pt x="67811" y="1123749"/>
                  </a:lnTo>
                  <a:lnTo>
                    <a:pt x="78073" y="1118815"/>
                  </a:lnTo>
                  <a:lnTo>
                    <a:pt x="82218" y="1122022"/>
                  </a:lnTo>
                  <a:lnTo>
                    <a:pt x="86363" y="1122022"/>
                  </a:lnTo>
                  <a:lnTo>
                    <a:pt x="92530" y="1120394"/>
                  </a:lnTo>
                  <a:lnTo>
                    <a:pt x="88435" y="1123650"/>
                  </a:lnTo>
                  <a:lnTo>
                    <a:pt x="90507" y="1125278"/>
                  </a:lnTo>
                  <a:lnTo>
                    <a:pt x="88435" y="1126857"/>
                  </a:lnTo>
                  <a:lnTo>
                    <a:pt x="82218" y="1126857"/>
                  </a:lnTo>
                  <a:lnTo>
                    <a:pt x="80146" y="1130064"/>
                  </a:lnTo>
                  <a:lnTo>
                    <a:pt x="73929" y="1126857"/>
                  </a:lnTo>
                  <a:lnTo>
                    <a:pt x="63666" y="1128486"/>
                  </a:lnTo>
                  <a:lnTo>
                    <a:pt x="61594" y="1133420"/>
                  </a:lnTo>
                  <a:lnTo>
                    <a:pt x="63666" y="1136627"/>
                  </a:lnTo>
                  <a:lnTo>
                    <a:pt x="69834" y="1139834"/>
                  </a:lnTo>
                  <a:lnTo>
                    <a:pt x="71906" y="1144768"/>
                  </a:lnTo>
                  <a:lnTo>
                    <a:pt x="78073" y="1146347"/>
                  </a:lnTo>
                  <a:lnTo>
                    <a:pt x="82218" y="1144768"/>
                  </a:lnTo>
                  <a:lnTo>
                    <a:pt x="82218" y="1147975"/>
                  </a:lnTo>
                  <a:lnTo>
                    <a:pt x="76050" y="1152909"/>
                  </a:lnTo>
                  <a:lnTo>
                    <a:pt x="76050" y="1154538"/>
                  </a:lnTo>
                  <a:lnTo>
                    <a:pt x="78073" y="1157744"/>
                  </a:lnTo>
                  <a:lnTo>
                    <a:pt x="76050" y="1160951"/>
                  </a:lnTo>
                  <a:lnTo>
                    <a:pt x="71906" y="1160951"/>
                  </a:lnTo>
                  <a:lnTo>
                    <a:pt x="71906" y="1165885"/>
                  </a:lnTo>
                  <a:lnTo>
                    <a:pt x="76050" y="1180392"/>
                  </a:lnTo>
                  <a:lnTo>
                    <a:pt x="78073" y="1185326"/>
                  </a:lnTo>
                  <a:lnTo>
                    <a:pt x="78073" y="1191789"/>
                  </a:lnTo>
                  <a:lnTo>
                    <a:pt x="82218" y="1198204"/>
                  </a:lnTo>
                  <a:lnTo>
                    <a:pt x="88435" y="1199832"/>
                  </a:lnTo>
                  <a:lnTo>
                    <a:pt x="88435" y="1189964"/>
                  </a:lnTo>
                  <a:lnTo>
                    <a:pt x="92530" y="1178714"/>
                  </a:lnTo>
                  <a:lnTo>
                    <a:pt x="96675" y="1175458"/>
                  </a:lnTo>
                  <a:lnTo>
                    <a:pt x="98747" y="1177086"/>
                  </a:lnTo>
                  <a:lnTo>
                    <a:pt x="94652" y="1178714"/>
                  </a:lnTo>
                  <a:lnTo>
                    <a:pt x="90507" y="1191592"/>
                  </a:lnTo>
                  <a:lnTo>
                    <a:pt x="92530" y="1194799"/>
                  </a:lnTo>
                  <a:lnTo>
                    <a:pt x="96675" y="1198006"/>
                  </a:lnTo>
                  <a:lnTo>
                    <a:pt x="102891" y="1196427"/>
                  </a:lnTo>
                  <a:lnTo>
                    <a:pt x="100819" y="1198006"/>
                  </a:lnTo>
                  <a:lnTo>
                    <a:pt x="92530" y="1199634"/>
                  </a:lnTo>
                  <a:lnTo>
                    <a:pt x="86363" y="1204568"/>
                  </a:lnTo>
                  <a:lnTo>
                    <a:pt x="86363" y="1207775"/>
                  </a:lnTo>
                  <a:lnTo>
                    <a:pt x="84290" y="1214239"/>
                  </a:lnTo>
                  <a:lnTo>
                    <a:pt x="84290" y="1219173"/>
                  </a:lnTo>
                  <a:lnTo>
                    <a:pt x="82218" y="1222429"/>
                  </a:lnTo>
                  <a:lnTo>
                    <a:pt x="78073" y="1227363"/>
                  </a:lnTo>
                  <a:lnTo>
                    <a:pt x="80146" y="1230620"/>
                  </a:lnTo>
                  <a:lnTo>
                    <a:pt x="88435" y="1237084"/>
                  </a:lnTo>
                  <a:lnTo>
                    <a:pt x="102891" y="1240291"/>
                  </a:lnTo>
                  <a:lnTo>
                    <a:pt x="109059" y="1243498"/>
                  </a:lnTo>
                  <a:lnTo>
                    <a:pt x="107036" y="1246754"/>
                  </a:lnTo>
                  <a:lnTo>
                    <a:pt x="104915" y="1246754"/>
                  </a:lnTo>
                  <a:lnTo>
                    <a:pt x="107036" y="1251688"/>
                  </a:lnTo>
                  <a:lnTo>
                    <a:pt x="109059" y="1254945"/>
                  </a:lnTo>
                  <a:lnTo>
                    <a:pt x="115276" y="1250011"/>
                  </a:lnTo>
                  <a:lnTo>
                    <a:pt x="113204" y="1254945"/>
                  </a:lnTo>
                  <a:lnTo>
                    <a:pt x="113204" y="1258152"/>
                  </a:lnTo>
                  <a:lnTo>
                    <a:pt x="107036" y="1259780"/>
                  </a:lnTo>
                  <a:lnTo>
                    <a:pt x="102891" y="1264714"/>
                  </a:lnTo>
                  <a:lnTo>
                    <a:pt x="107036" y="1267922"/>
                  </a:lnTo>
                  <a:lnTo>
                    <a:pt x="111131" y="1267922"/>
                  </a:lnTo>
                  <a:lnTo>
                    <a:pt x="111131" y="1271129"/>
                  </a:lnTo>
                  <a:lnTo>
                    <a:pt x="117299" y="1276063"/>
                  </a:lnTo>
                  <a:lnTo>
                    <a:pt x="119421" y="1276063"/>
                  </a:lnTo>
                  <a:lnTo>
                    <a:pt x="123516" y="1272856"/>
                  </a:lnTo>
                  <a:lnTo>
                    <a:pt x="123516" y="1279270"/>
                  </a:lnTo>
                  <a:lnTo>
                    <a:pt x="125588" y="1284204"/>
                  </a:lnTo>
                  <a:lnTo>
                    <a:pt x="121443" y="1284204"/>
                  </a:lnTo>
                  <a:lnTo>
                    <a:pt x="119421" y="1282576"/>
                  </a:lnTo>
                  <a:lnTo>
                    <a:pt x="115276" y="1282576"/>
                  </a:lnTo>
                  <a:lnTo>
                    <a:pt x="115276" y="1287510"/>
                  </a:lnTo>
                  <a:lnTo>
                    <a:pt x="121443" y="1293973"/>
                  </a:lnTo>
                  <a:lnTo>
                    <a:pt x="123516" y="1293973"/>
                  </a:lnTo>
                  <a:lnTo>
                    <a:pt x="125588" y="1300437"/>
                  </a:lnTo>
                  <a:lnTo>
                    <a:pt x="127660" y="1303644"/>
                  </a:lnTo>
                  <a:lnTo>
                    <a:pt x="133828" y="1308578"/>
                  </a:lnTo>
                  <a:lnTo>
                    <a:pt x="140045" y="1308578"/>
                  </a:lnTo>
                  <a:lnTo>
                    <a:pt x="135900" y="1300535"/>
                  </a:lnTo>
                  <a:lnTo>
                    <a:pt x="137973" y="1297279"/>
                  </a:lnTo>
                  <a:lnTo>
                    <a:pt x="135900" y="1292345"/>
                  </a:lnTo>
                  <a:lnTo>
                    <a:pt x="142117" y="1295552"/>
                  </a:lnTo>
                  <a:lnTo>
                    <a:pt x="142117" y="1300486"/>
                  </a:lnTo>
                  <a:lnTo>
                    <a:pt x="146262" y="1305420"/>
                  </a:lnTo>
                  <a:lnTo>
                    <a:pt x="150357" y="1299006"/>
                  </a:lnTo>
                  <a:lnTo>
                    <a:pt x="154502" y="1295750"/>
                  </a:lnTo>
                  <a:lnTo>
                    <a:pt x="154502" y="1290816"/>
                  </a:lnTo>
                  <a:lnTo>
                    <a:pt x="148383" y="1290816"/>
                  </a:lnTo>
                  <a:lnTo>
                    <a:pt x="140144" y="1289138"/>
                  </a:lnTo>
                  <a:lnTo>
                    <a:pt x="140144" y="1285931"/>
                  </a:lnTo>
                  <a:lnTo>
                    <a:pt x="146360" y="1285931"/>
                  </a:lnTo>
                  <a:lnTo>
                    <a:pt x="156623" y="1289138"/>
                  </a:lnTo>
                  <a:lnTo>
                    <a:pt x="158745" y="1292394"/>
                  </a:lnTo>
                  <a:lnTo>
                    <a:pt x="167133" y="1292394"/>
                  </a:lnTo>
                  <a:lnTo>
                    <a:pt x="165060" y="1287460"/>
                  </a:lnTo>
                  <a:lnTo>
                    <a:pt x="158893" y="1284253"/>
                  </a:lnTo>
                  <a:lnTo>
                    <a:pt x="144387" y="1282625"/>
                  </a:lnTo>
                  <a:lnTo>
                    <a:pt x="144387" y="1281046"/>
                  </a:lnTo>
                  <a:lnTo>
                    <a:pt x="148531" y="1279368"/>
                  </a:lnTo>
                  <a:lnTo>
                    <a:pt x="158893" y="1282625"/>
                  </a:lnTo>
                  <a:lnTo>
                    <a:pt x="171228" y="1287559"/>
                  </a:lnTo>
                  <a:lnTo>
                    <a:pt x="173300" y="1295601"/>
                  </a:lnTo>
                  <a:lnTo>
                    <a:pt x="167133" y="1300535"/>
                  </a:lnTo>
                  <a:lnTo>
                    <a:pt x="167133" y="1305470"/>
                  </a:lnTo>
                  <a:lnTo>
                    <a:pt x="173300" y="1313512"/>
                  </a:lnTo>
                  <a:lnTo>
                    <a:pt x="171228" y="1316769"/>
                  </a:lnTo>
                  <a:lnTo>
                    <a:pt x="167133" y="1321703"/>
                  </a:lnTo>
                  <a:lnTo>
                    <a:pt x="169155" y="1313611"/>
                  </a:lnTo>
                  <a:lnTo>
                    <a:pt x="165060" y="1303743"/>
                  </a:lnTo>
                  <a:lnTo>
                    <a:pt x="158893" y="1300535"/>
                  </a:lnTo>
                  <a:lnTo>
                    <a:pt x="156771" y="1303743"/>
                  </a:lnTo>
                  <a:lnTo>
                    <a:pt x="156771" y="1308677"/>
                  </a:lnTo>
                  <a:lnTo>
                    <a:pt x="158893" y="1311883"/>
                  </a:lnTo>
                  <a:lnTo>
                    <a:pt x="156771" y="1316817"/>
                  </a:lnTo>
                  <a:lnTo>
                    <a:pt x="154748" y="1315189"/>
                  </a:lnTo>
                  <a:lnTo>
                    <a:pt x="152676" y="1310255"/>
                  </a:lnTo>
                  <a:lnTo>
                    <a:pt x="148531" y="1310255"/>
                  </a:lnTo>
                  <a:lnTo>
                    <a:pt x="144387" y="1313463"/>
                  </a:lnTo>
                  <a:lnTo>
                    <a:pt x="136147" y="1313463"/>
                  </a:lnTo>
                  <a:lnTo>
                    <a:pt x="127907" y="1315091"/>
                  </a:lnTo>
                  <a:lnTo>
                    <a:pt x="134075" y="1320025"/>
                  </a:lnTo>
                  <a:lnTo>
                    <a:pt x="136147" y="1326489"/>
                  </a:lnTo>
                  <a:lnTo>
                    <a:pt x="138219" y="1331423"/>
                  </a:lnTo>
                  <a:lnTo>
                    <a:pt x="140292" y="1334679"/>
                  </a:lnTo>
                  <a:lnTo>
                    <a:pt x="138219" y="1337886"/>
                  </a:lnTo>
                  <a:lnTo>
                    <a:pt x="138219" y="1341093"/>
                  </a:lnTo>
                  <a:lnTo>
                    <a:pt x="142462" y="1341093"/>
                  </a:lnTo>
                  <a:lnTo>
                    <a:pt x="146607" y="1336159"/>
                  </a:lnTo>
                  <a:lnTo>
                    <a:pt x="148630" y="1337787"/>
                  </a:lnTo>
                  <a:lnTo>
                    <a:pt x="154847" y="1339366"/>
                  </a:lnTo>
                  <a:lnTo>
                    <a:pt x="154847" y="1340994"/>
                  </a:lnTo>
                  <a:lnTo>
                    <a:pt x="150702" y="1342623"/>
                  </a:lnTo>
                  <a:lnTo>
                    <a:pt x="144485" y="1347557"/>
                  </a:lnTo>
                  <a:lnTo>
                    <a:pt x="146607" y="1350813"/>
                  </a:lnTo>
                  <a:lnTo>
                    <a:pt x="154847" y="1350813"/>
                  </a:lnTo>
                  <a:lnTo>
                    <a:pt x="165159" y="1355747"/>
                  </a:lnTo>
                  <a:lnTo>
                    <a:pt x="167231" y="1354119"/>
                  </a:lnTo>
                  <a:lnTo>
                    <a:pt x="171326" y="1350912"/>
                  </a:lnTo>
                  <a:lnTo>
                    <a:pt x="167231" y="1344449"/>
                  </a:lnTo>
                  <a:lnTo>
                    <a:pt x="169254" y="1339514"/>
                  </a:lnTo>
                  <a:lnTo>
                    <a:pt x="167231" y="1334580"/>
                  </a:lnTo>
                  <a:lnTo>
                    <a:pt x="165159" y="1336159"/>
                  </a:lnTo>
                  <a:lnTo>
                    <a:pt x="158745" y="1336159"/>
                  </a:lnTo>
                  <a:lnTo>
                    <a:pt x="160768" y="1334580"/>
                  </a:lnTo>
                  <a:lnTo>
                    <a:pt x="164912" y="1331324"/>
                  </a:lnTo>
                  <a:lnTo>
                    <a:pt x="164912" y="1328117"/>
                  </a:lnTo>
                  <a:lnTo>
                    <a:pt x="169008" y="1326489"/>
                  </a:lnTo>
                  <a:lnTo>
                    <a:pt x="177297" y="1328117"/>
                  </a:lnTo>
                  <a:lnTo>
                    <a:pt x="179369" y="1326489"/>
                  </a:lnTo>
                  <a:lnTo>
                    <a:pt x="181441" y="1329696"/>
                  </a:lnTo>
                  <a:lnTo>
                    <a:pt x="185586" y="1331324"/>
                  </a:lnTo>
                  <a:lnTo>
                    <a:pt x="185586" y="1328117"/>
                  </a:lnTo>
                  <a:lnTo>
                    <a:pt x="193826" y="1326489"/>
                  </a:lnTo>
                  <a:lnTo>
                    <a:pt x="199993" y="1328117"/>
                  </a:lnTo>
                  <a:lnTo>
                    <a:pt x="212378" y="1328117"/>
                  </a:lnTo>
                  <a:lnTo>
                    <a:pt x="212378" y="1331324"/>
                  </a:lnTo>
                  <a:lnTo>
                    <a:pt x="210355" y="1332952"/>
                  </a:lnTo>
                  <a:lnTo>
                    <a:pt x="206210" y="1336159"/>
                  </a:lnTo>
                  <a:lnTo>
                    <a:pt x="202066" y="1336159"/>
                  </a:lnTo>
                  <a:lnTo>
                    <a:pt x="197970" y="1332952"/>
                  </a:lnTo>
                  <a:lnTo>
                    <a:pt x="193826" y="1332952"/>
                  </a:lnTo>
                  <a:lnTo>
                    <a:pt x="181441" y="1342820"/>
                  </a:lnTo>
                  <a:lnTo>
                    <a:pt x="175225" y="1342820"/>
                  </a:lnTo>
                  <a:lnTo>
                    <a:pt x="171080" y="1346027"/>
                  </a:lnTo>
                  <a:lnTo>
                    <a:pt x="173152" y="1349234"/>
                  </a:lnTo>
                  <a:lnTo>
                    <a:pt x="171080" y="1354168"/>
                  </a:lnTo>
                  <a:lnTo>
                    <a:pt x="169008" y="1355796"/>
                  </a:lnTo>
                  <a:lnTo>
                    <a:pt x="169008" y="1359053"/>
                  </a:lnTo>
                  <a:lnTo>
                    <a:pt x="171080" y="1360632"/>
                  </a:lnTo>
                  <a:lnTo>
                    <a:pt x="169008" y="1362260"/>
                  </a:lnTo>
                  <a:lnTo>
                    <a:pt x="169008" y="1365468"/>
                  </a:lnTo>
                  <a:lnTo>
                    <a:pt x="179369" y="1368724"/>
                  </a:lnTo>
                  <a:lnTo>
                    <a:pt x="187609" y="1373658"/>
                  </a:lnTo>
                  <a:lnTo>
                    <a:pt x="189681" y="1373658"/>
                  </a:lnTo>
                  <a:lnTo>
                    <a:pt x="191753" y="1372079"/>
                  </a:lnTo>
                  <a:lnTo>
                    <a:pt x="189681" y="1367145"/>
                  </a:lnTo>
                  <a:lnTo>
                    <a:pt x="193826" y="1362211"/>
                  </a:lnTo>
                  <a:lnTo>
                    <a:pt x="197970" y="1360582"/>
                  </a:lnTo>
                  <a:lnTo>
                    <a:pt x="197970" y="1359004"/>
                  </a:lnTo>
                  <a:lnTo>
                    <a:pt x="193826" y="1354070"/>
                  </a:lnTo>
                  <a:lnTo>
                    <a:pt x="202066" y="1352491"/>
                  </a:lnTo>
                  <a:lnTo>
                    <a:pt x="208233" y="1347557"/>
                  </a:lnTo>
                  <a:lnTo>
                    <a:pt x="214450" y="1339514"/>
                  </a:lnTo>
                  <a:lnTo>
                    <a:pt x="218595" y="1337935"/>
                  </a:lnTo>
                  <a:lnTo>
                    <a:pt x="220618" y="1339514"/>
                  </a:lnTo>
                  <a:lnTo>
                    <a:pt x="224762" y="1341143"/>
                  </a:lnTo>
                  <a:lnTo>
                    <a:pt x="228907" y="1341143"/>
                  </a:lnTo>
                  <a:lnTo>
                    <a:pt x="230979" y="1342771"/>
                  </a:lnTo>
                  <a:lnTo>
                    <a:pt x="224762" y="1344350"/>
                  </a:lnTo>
                  <a:lnTo>
                    <a:pt x="220618" y="1349284"/>
                  </a:lnTo>
                  <a:lnTo>
                    <a:pt x="220618" y="1352540"/>
                  </a:lnTo>
                  <a:lnTo>
                    <a:pt x="214450" y="1359004"/>
                  </a:lnTo>
                  <a:lnTo>
                    <a:pt x="214450" y="1365418"/>
                  </a:lnTo>
                  <a:lnTo>
                    <a:pt x="216522" y="1368674"/>
                  </a:lnTo>
                  <a:lnTo>
                    <a:pt x="212378" y="1371881"/>
                  </a:lnTo>
                  <a:lnTo>
                    <a:pt x="206210" y="1375089"/>
                  </a:lnTo>
                  <a:lnTo>
                    <a:pt x="208233" y="1371881"/>
                  </a:lnTo>
                  <a:lnTo>
                    <a:pt x="210355" y="1370253"/>
                  </a:lnTo>
                  <a:lnTo>
                    <a:pt x="210355" y="1362211"/>
                  </a:lnTo>
                  <a:lnTo>
                    <a:pt x="208233" y="1360582"/>
                  </a:lnTo>
                  <a:lnTo>
                    <a:pt x="204138" y="1363790"/>
                  </a:lnTo>
                  <a:lnTo>
                    <a:pt x="204138" y="1366997"/>
                  </a:lnTo>
                  <a:lnTo>
                    <a:pt x="197970" y="1366997"/>
                  </a:lnTo>
                  <a:lnTo>
                    <a:pt x="193826" y="1370253"/>
                  </a:lnTo>
                  <a:lnTo>
                    <a:pt x="197970" y="1375187"/>
                  </a:lnTo>
                  <a:lnTo>
                    <a:pt x="210355" y="1385056"/>
                  </a:lnTo>
                  <a:lnTo>
                    <a:pt x="220618" y="1386684"/>
                  </a:lnTo>
                  <a:lnTo>
                    <a:pt x="226834" y="1389891"/>
                  </a:lnTo>
                  <a:lnTo>
                    <a:pt x="230979" y="1389891"/>
                  </a:lnTo>
                  <a:lnTo>
                    <a:pt x="235074" y="1391469"/>
                  </a:lnTo>
                  <a:lnTo>
                    <a:pt x="239219" y="1388263"/>
                  </a:lnTo>
                  <a:lnTo>
                    <a:pt x="243364" y="1381848"/>
                  </a:lnTo>
                  <a:lnTo>
                    <a:pt x="239219" y="1371980"/>
                  </a:lnTo>
                  <a:lnTo>
                    <a:pt x="241291" y="1367046"/>
                  </a:lnTo>
                  <a:lnTo>
                    <a:pt x="239219" y="1363839"/>
                  </a:lnTo>
                  <a:lnTo>
                    <a:pt x="241291" y="1355796"/>
                  </a:lnTo>
                  <a:lnTo>
                    <a:pt x="241291" y="1345928"/>
                  </a:lnTo>
                  <a:lnTo>
                    <a:pt x="239219" y="1339465"/>
                  </a:lnTo>
                  <a:lnTo>
                    <a:pt x="241291" y="1336258"/>
                  </a:lnTo>
                  <a:lnTo>
                    <a:pt x="249580" y="1331324"/>
                  </a:lnTo>
                  <a:lnTo>
                    <a:pt x="257820" y="1323232"/>
                  </a:lnTo>
                  <a:lnTo>
                    <a:pt x="261965" y="1320025"/>
                  </a:lnTo>
                  <a:lnTo>
                    <a:pt x="270205" y="1320025"/>
                  </a:lnTo>
                  <a:lnTo>
                    <a:pt x="272277" y="1318446"/>
                  </a:lnTo>
                  <a:lnTo>
                    <a:pt x="272277" y="1310354"/>
                  </a:lnTo>
                  <a:lnTo>
                    <a:pt x="276422" y="1307147"/>
                  </a:lnTo>
                  <a:lnTo>
                    <a:pt x="284661" y="1305519"/>
                  </a:lnTo>
                  <a:lnTo>
                    <a:pt x="292901" y="1310453"/>
                  </a:lnTo>
                  <a:lnTo>
                    <a:pt x="297046" y="1307246"/>
                  </a:lnTo>
                  <a:close/>
                  <a:moveTo>
                    <a:pt x="371352" y="1465234"/>
                  </a:moveTo>
                  <a:lnTo>
                    <a:pt x="373425" y="1466812"/>
                  </a:lnTo>
                  <a:lnTo>
                    <a:pt x="377520" y="1461878"/>
                  </a:lnTo>
                  <a:lnTo>
                    <a:pt x="375497" y="1461878"/>
                  </a:lnTo>
                  <a:close/>
                  <a:moveTo>
                    <a:pt x="47236" y="904480"/>
                  </a:moveTo>
                  <a:lnTo>
                    <a:pt x="41019" y="901224"/>
                  </a:lnTo>
                  <a:lnTo>
                    <a:pt x="36923" y="901224"/>
                  </a:lnTo>
                  <a:lnTo>
                    <a:pt x="36923" y="904480"/>
                  </a:lnTo>
                  <a:lnTo>
                    <a:pt x="45163" y="910944"/>
                  </a:lnTo>
                  <a:lnTo>
                    <a:pt x="41019" y="914151"/>
                  </a:lnTo>
                  <a:lnTo>
                    <a:pt x="49308" y="920615"/>
                  </a:lnTo>
                  <a:lnTo>
                    <a:pt x="47236" y="922243"/>
                  </a:lnTo>
                  <a:lnTo>
                    <a:pt x="41019" y="918986"/>
                  </a:lnTo>
                  <a:lnTo>
                    <a:pt x="36923" y="923920"/>
                  </a:lnTo>
                  <a:lnTo>
                    <a:pt x="38947" y="930384"/>
                  </a:lnTo>
                  <a:lnTo>
                    <a:pt x="38947" y="933591"/>
                  </a:lnTo>
                  <a:lnTo>
                    <a:pt x="26562" y="933591"/>
                  </a:lnTo>
                  <a:lnTo>
                    <a:pt x="18322" y="930384"/>
                  </a:lnTo>
                  <a:lnTo>
                    <a:pt x="22417" y="923920"/>
                  </a:lnTo>
                  <a:lnTo>
                    <a:pt x="20395" y="904579"/>
                  </a:lnTo>
                  <a:lnTo>
                    <a:pt x="16299" y="898115"/>
                  </a:lnTo>
                  <a:lnTo>
                    <a:pt x="14178" y="896537"/>
                  </a:lnTo>
                  <a:lnTo>
                    <a:pt x="14178" y="886669"/>
                  </a:lnTo>
                  <a:lnTo>
                    <a:pt x="18322" y="885041"/>
                  </a:lnTo>
                  <a:lnTo>
                    <a:pt x="20395" y="880107"/>
                  </a:lnTo>
                  <a:lnTo>
                    <a:pt x="16299" y="876899"/>
                  </a:lnTo>
                  <a:lnTo>
                    <a:pt x="16299" y="873643"/>
                  </a:lnTo>
                  <a:lnTo>
                    <a:pt x="22417" y="868709"/>
                  </a:lnTo>
                  <a:lnTo>
                    <a:pt x="30706" y="868709"/>
                  </a:lnTo>
                  <a:lnTo>
                    <a:pt x="36923" y="871916"/>
                  </a:lnTo>
                  <a:lnTo>
                    <a:pt x="43091" y="879958"/>
                  </a:lnTo>
                  <a:lnTo>
                    <a:pt x="43091" y="896093"/>
                  </a:lnTo>
                  <a:lnTo>
                    <a:pt x="36923" y="894464"/>
                  </a:lnTo>
                  <a:lnTo>
                    <a:pt x="45163" y="899398"/>
                  </a:lnTo>
                  <a:lnTo>
                    <a:pt x="47236" y="902655"/>
                  </a:lnTo>
                  <a:close/>
                  <a:moveTo>
                    <a:pt x="51380" y="888346"/>
                  </a:moveTo>
                  <a:lnTo>
                    <a:pt x="57548" y="886767"/>
                  </a:lnTo>
                  <a:lnTo>
                    <a:pt x="59620" y="889975"/>
                  </a:lnTo>
                  <a:lnTo>
                    <a:pt x="57548" y="893181"/>
                  </a:lnTo>
                  <a:close/>
                  <a:moveTo>
                    <a:pt x="10082" y="946420"/>
                  </a:moveTo>
                  <a:lnTo>
                    <a:pt x="12155" y="944742"/>
                  </a:lnTo>
                  <a:lnTo>
                    <a:pt x="18322" y="944742"/>
                  </a:lnTo>
                  <a:lnTo>
                    <a:pt x="22417" y="946420"/>
                  </a:lnTo>
                  <a:lnTo>
                    <a:pt x="14178" y="949627"/>
                  </a:lnTo>
                  <a:close/>
                  <a:moveTo>
                    <a:pt x="59423" y="952834"/>
                  </a:moveTo>
                  <a:lnTo>
                    <a:pt x="65590" y="949627"/>
                  </a:lnTo>
                  <a:lnTo>
                    <a:pt x="65590" y="954561"/>
                  </a:lnTo>
                  <a:lnTo>
                    <a:pt x="61495" y="957768"/>
                  </a:lnTo>
                  <a:close/>
                  <a:moveTo>
                    <a:pt x="49111" y="952834"/>
                  </a:moveTo>
                  <a:lnTo>
                    <a:pt x="53206" y="954462"/>
                  </a:lnTo>
                  <a:lnTo>
                    <a:pt x="55328" y="960877"/>
                  </a:lnTo>
                  <a:lnTo>
                    <a:pt x="49111" y="962505"/>
                  </a:lnTo>
                  <a:lnTo>
                    <a:pt x="49111" y="959297"/>
                  </a:lnTo>
                  <a:lnTo>
                    <a:pt x="44966" y="956090"/>
                  </a:lnTo>
                  <a:close/>
                  <a:moveTo>
                    <a:pt x="32581" y="951206"/>
                  </a:moveTo>
                  <a:lnTo>
                    <a:pt x="32581" y="949627"/>
                  </a:lnTo>
                  <a:lnTo>
                    <a:pt x="42894" y="951206"/>
                  </a:lnTo>
                  <a:lnTo>
                    <a:pt x="36726" y="954462"/>
                  </a:lnTo>
                  <a:close/>
                  <a:moveTo>
                    <a:pt x="34654" y="962505"/>
                  </a:moveTo>
                  <a:lnTo>
                    <a:pt x="36726" y="960877"/>
                  </a:lnTo>
                  <a:lnTo>
                    <a:pt x="38749" y="962505"/>
                  </a:lnTo>
                  <a:lnTo>
                    <a:pt x="38749" y="965712"/>
                  </a:lnTo>
                  <a:close/>
                  <a:moveTo>
                    <a:pt x="26365" y="970547"/>
                  </a:moveTo>
                  <a:lnTo>
                    <a:pt x="28437" y="965613"/>
                  </a:lnTo>
                  <a:lnTo>
                    <a:pt x="32581" y="965613"/>
                  </a:lnTo>
                  <a:lnTo>
                    <a:pt x="36726" y="968820"/>
                  </a:lnTo>
                  <a:lnTo>
                    <a:pt x="36726" y="972076"/>
                  </a:lnTo>
                  <a:lnTo>
                    <a:pt x="30509" y="973705"/>
                  </a:lnTo>
                  <a:lnTo>
                    <a:pt x="26365" y="973705"/>
                  </a:lnTo>
                  <a:close/>
                  <a:moveTo>
                    <a:pt x="20197" y="980415"/>
                  </a:moveTo>
                  <a:lnTo>
                    <a:pt x="24342" y="983623"/>
                  </a:lnTo>
                  <a:lnTo>
                    <a:pt x="18125" y="986829"/>
                  </a:lnTo>
                  <a:lnTo>
                    <a:pt x="16102" y="985201"/>
                  </a:lnTo>
                  <a:close/>
                  <a:moveTo>
                    <a:pt x="53650" y="978491"/>
                  </a:moveTo>
                  <a:lnTo>
                    <a:pt x="55771" y="984955"/>
                  </a:lnTo>
                  <a:lnTo>
                    <a:pt x="51627" y="984955"/>
                  </a:lnTo>
                  <a:close/>
                  <a:moveTo>
                    <a:pt x="41265" y="976912"/>
                  </a:moveTo>
                  <a:lnTo>
                    <a:pt x="49555" y="973705"/>
                  </a:lnTo>
                  <a:lnTo>
                    <a:pt x="49555" y="981748"/>
                  </a:lnTo>
                  <a:close/>
                  <a:moveTo>
                    <a:pt x="26809" y="1025265"/>
                  </a:moveTo>
                  <a:lnTo>
                    <a:pt x="28881" y="1023687"/>
                  </a:lnTo>
                  <a:lnTo>
                    <a:pt x="30953" y="1030101"/>
                  </a:lnTo>
                  <a:lnTo>
                    <a:pt x="26809" y="1030101"/>
                  </a:lnTo>
                  <a:close/>
                  <a:moveTo>
                    <a:pt x="26809" y="984955"/>
                  </a:moveTo>
                  <a:lnTo>
                    <a:pt x="28881" y="980021"/>
                  </a:lnTo>
                  <a:lnTo>
                    <a:pt x="26809" y="975087"/>
                  </a:lnTo>
                  <a:lnTo>
                    <a:pt x="33026" y="975087"/>
                  </a:lnTo>
                  <a:lnTo>
                    <a:pt x="37170" y="981550"/>
                  </a:lnTo>
                  <a:lnTo>
                    <a:pt x="30953" y="983178"/>
                  </a:lnTo>
                  <a:close/>
                  <a:moveTo>
                    <a:pt x="12401" y="994823"/>
                  </a:moveTo>
                  <a:lnTo>
                    <a:pt x="4161" y="991616"/>
                  </a:lnTo>
                  <a:lnTo>
                    <a:pt x="4161" y="986682"/>
                  </a:lnTo>
                  <a:lnTo>
                    <a:pt x="10329" y="986682"/>
                  </a:lnTo>
                  <a:lnTo>
                    <a:pt x="14424" y="991616"/>
                  </a:lnTo>
                  <a:close/>
                  <a:moveTo>
                    <a:pt x="37072" y="1015793"/>
                  </a:moveTo>
                  <a:lnTo>
                    <a:pt x="43239" y="1014213"/>
                  </a:lnTo>
                  <a:lnTo>
                    <a:pt x="43239" y="1020628"/>
                  </a:lnTo>
                  <a:close/>
                  <a:moveTo>
                    <a:pt x="47384" y="1022206"/>
                  </a:moveTo>
                  <a:lnTo>
                    <a:pt x="53650" y="1022206"/>
                  </a:lnTo>
                  <a:lnTo>
                    <a:pt x="51627" y="1027140"/>
                  </a:lnTo>
                  <a:close/>
                  <a:moveTo>
                    <a:pt x="59768" y="969017"/>
                  </a:moveTo>
                  <a:lnTo>
                    <a:pt x="63913" y="967439"/>
                  </a:lnTo>
                  <a:lnTo>
                    <a:pt x="70080" y="970646"/>
                  </a:lnTo>
                  <a:lnTo>
                    <a:pt x="61840" y="972274"/>
                  </a:lnTo>
                  <a:close/>
                  <a:moveTo>
                    <a:pt x="72152" y="973951"/>
                  </a:moveTo>
                  <a:lnTo>
                    <a:pt x="78320" y="973951"/>
                  </a:lnTo>
                  <a:lnTo>
                    <a:pt x="80392" y="978885"/>
                  </a:lnTo>
                  <a:lnTo>
                    <a:pt x="86609" y="985349"/>
                  </a:lnTo>
                  <a:lnTo>
                    <a:pt x="82465" y="990283"/>
                  </a:lnTo>
                  <a:lnTo>
                    <a:pt x="80392" y="993491"/>
                  </a:lnTo>
                  <a:lnTo>
                    <a:pt x="74175" y="995069"/>
                  </a:lnTo>
                  <a:lnTo>
                    <a:pt x="72152" y="993491"/>
                  </a:lnTo>
                  <a:lnTo>
                    <a:pt x="68057" y="991862"/>
                  </a:lnTo>
                  <a:lnTo>
                    <a:pt x="63913" y="996796"/>
                  </a:lnTo>
                  <a:lnTo>
                    <a:pt x="61840" y="990382"/>
                  </a:lnTo>
                  <a:lnTo>
                    <a:pt x="61840" y="985448"/>
                  </a:lnTo>
                  <a:lnTo>
                    <a:pt x="63913" y="975580"/>
                  </a:lnTo>
                  <a:close/>
                  <a:moveTo>
                    <a:pt x="30855" y="991665"/>
                  </a:moveTo>
                  <a:lnTo>
                    <a:pt x="32927" y="986731"/>
                  </a:lnTo>
                  <a:lnTo>
                    <a:pt x="49456" y="986731"/>
                  </a:lnTo>
                  <a:lnTo>
                    <a:pt x="45311" y="989987"/>
                  </a:lnTo>
                  <a:lnTo>
                    <a:pt x="37072" y="991566"/>
                  </a:lnTo>
                  <a:lnTo>
                    <a:pt x="34999" y="994773"/>
                  </a:lnTo>
                  <a:close/>
                  <a:moveTo>
                    <a:pt x="39094" y="1004543"/>
                  </a:moveTo>
                  <a:lnTo>
                    <a:pt x="37072" y="1001336"/>
                  </a:lnTo>
                  <a:lnTo>
                    <a:pt x="45311" y="999708"/>
                  </a:lnTo>
                  <a:lnTo>
                    <a:pt x="49456" y="998128"/>
                  </a:lnTo>
                  <a:lnTo>
                    <a:pt x="49456" y="1003062"/>
                  </a:lnTo>
                  <a:close/>
                  <a:moveTo>
                    <a:pt x="43239" y="1007799"/>
                  </a:moveTo>
                  <a:lnTo>
                    <a:pt x="49456" y="1004543"/>
                  </a:lnTo>
                  <a:lnTo>
                    <a:pt x="57696" y="1004543"/>
                  </a:lnTo>
                  <a:lnTo>
                    <a:pt x="57696" y="1014411"/>
                  </a:lnTo>
                  <a:lnTo>
                    <a:pt x="53551" y="1019345"/>
                  </a:lnTo>
                  <a:lnTo>
                    <a:pt x="49456" y="1017766"/>
                  </a:lnTo>
                  <a:lnTo>
                    <a:pt x="47384" y="1011302"/>
                  </a:lnTo>
                  <a:close/>
                  <a:moveTo>
                    <a:pt x="32927" y="1023933"/>
                  </a:moveTo>
                  <a:lnTo>
                    <a:pt x="34999" y="1020677"/>
                  </a:lnTo>
                  <a:lnTo>
                    <a:pt x="37072" y="1023933"/>
                  </a:lnTo>
                  <a:lnTo>
                    <a:pt x="43239" y="1025512"/>
                  </a:lnTo>
                  <a:lnTo>
                    <a:pt x="47384" y="1030446"/>
                  </a:lnTo>
                  <a:lnTo>
                    <a:pt x="38848" y="1030446"/>
                  </a:lnTo>
                  <a:close/>
                  <a:moveTo>
                    <a:pt x="51528" y="1144768"/>
                  </a:moveTo>
                  <a:lnTo>
                    <a:pt x="55673" y="1141561"/>
                  </a:lnTo>
                  <a:lnTo>
                    <a:pt x="53551" y="1138354"/>
                  </a:lnTo>
                  <a:lnTo>
                    <a:pt x="51528" y="1141561"/>
                  </a:lnTo>
                  <a:lnTo>
                    <a:pt x="43239" y="1130262"/>
                  </a:lnTo>
                  <a:lnTo>
                    <a:pt x="34999" y="1125328"/>
                  </a:lnTo>
                  <a:lnTo>
                    <a:pt x="39094" y="1120394"/>
                  </a:lnTo>
                  <a:lnTo>
                    <a:pt x="45311" y="1120394"/>
                  </a:lnTo>
                  <a:lnTo>
                    <a:pt x="51528" y="1117187"/>
                  </a:lnTo>
                  <a:lnTo>
                    <a:pt x="51528" y="1127055"/>
                  </a:lnTo>
                  <a:lnTo>
                    <a:pt x="57696" y="1130262"/>
                  </a:lnTo>
                  <a:lnTo>
                    <a:pt x="57696" y="1136380"/>
                  </a:lnTo>
                  <a:lnTo>
                    <a:pt x="63913" y="1141314"/>
                  </a:lnTo>
                  <a:lnTo>
                    <a:pt x="68057" y="1151182"/>
                  </a:lnTo>
                  <a:lnTo>
                    <a:pt x="53650" y="1151182"/>
                  </a:lnTo>
                  <a:close/>
                  <a:moveTo>
                    <a:pt x="24539" y="1131446"/>
                  </a:moveTo>
                  <a:lnTo>
                    <a:pt x="24539" y="1128239"/>
                  </a:lnTo>
                  <a:lnTo>
                    <a:pt x="28634" y="1126611"/>
                  </a:lnTo>
                  <a:lnTo>
                    <a:pt x="32779" y="1128239"/>
                  </a:lnTo>
                  <a:lnTo>
                    <a:pt x="43091" y="1139489"/>
                  </a:lnTo>
                  <a:lnTo>
                    <a:pt x="49308" y="1147580"/>
                  </a:lnTo>
                  <a:lnTo>
                    <a:pt x="49308" y="1155623"/>
                  </a:lnTo>
                  <a:lnTo>
                    <a:pt x="47236" y="1158830"/>
                  </a:lnTo>
                  <a:lnTo>
                    <a:pt x="41019" y="1155623"/>
                  </a:lnTo>
                  <a:lnTo>
                    <a:pt x="36923" y="1145755"/>
                  </a:lnTo>
                  <a:lnTo>
                    <a:pt x="38947" y="1144126"/>
                  </a:lnTo>
                  <a:lnTo>
                    <a:pt x="34851" y="1140920"/>
                  </a:lnTo>
                  <a:lnTo>
                    <a:pt x="26562" y="1139291"/>
                  </a:lnTo>
                  <a:close/>
                  <a:moveTo>
                    <a:pt x="26562" y="1142696"/>
                  </a:moveTo>
                  <a:lnTo>
                    <a:pt x="28634" y="1142696"/>
                  </a:lnTo>
                  <a:lnTo>
                    <a:pt x="34851" y="1144324"/>
                  </a:lnTo>
                  <a:lnTo>
                    <a:pt x="36923" y="1150788"/>
                  </a:lnTo>
                  <a:lnTo>
                    <a:pt x="34851" y="1155722"/>
                  </a:lnTo>
                  <a:lnTo>
                    <a:pt x="30706" y="1155722"/>
                  </a:lnTo>
                  <a:lnTo>
                    <a:pt x="30706" y="1154093"/>
                  </a:lnTo>
                  <a:lnTo>
                    <a:pt x="26562" y="1150886"/>
                  </a:lnTo>
                  <a:close/>
                  <a:moveTo>
                    <a:pt x="38947" y="1179800"/>
                  </a:moveTo>
                  <a:lnTo>
                    <a:pt x="36923" y="1178171"/>
                  </a:lnTo>
                  <a:lnTo>
                    <a:pt x="36923" y="1173237"/>
                  </a:lnTo>
                  <a:lnTo>
                    <a:pt x="32779" y="1161987"/>
                  </a:lnTo>
                  <a:lnTo>
                    <a:pt x="36923" y="1158731"/>
                  </a:lnTo>
                  <a:lnTo>
                    <a:pt x="38947" y="1160359"/>
                  </a:lnTo>
                  <a:lnTo>
                    <a:pt x="47236" y="1163567"/>
                  </a:lnTo>
                  <a:lnTo>
                    <a:pt x="49308" y="1170030"/>
                  </a:lnTo>
                  <a:lnTo>
                    <a:pt x="45163" y="1170030"/>
                  </a:lnTo>
                  <a:close/>
                  <a:moveTo>
                    <a:pt x="49308" y="1202348"/>
                  </a:moveTo>
                  <a:lnTo>
                    <a:pt x="45163" y="1205605"/>
                  </a:lnTo>
                  <a:lnTo>
                    <a:pt x="41019" y="1202348"/>
                  </a:lnTo>
                  <a:lnTo>
                    <a:pt x="43091" y="1199141"/>
                  </a:lnTo>
                  <a:lnTo>
                    <a:pt x="38947" y="1194207"/>
                  </a:lnTo>
                  <a:lnTo>
                    <a:pt x="47236" y="1191000"/>
                  </a:lnTo>
                  <a:lnTo>
                    <a:pt x="51380" y="1197463"/>
                  </a:lnTo>
                  <a:close/>
                  <a:moveTo>
                    <a:pt x="67909" y="1199141"/>
                  </a:moveTo>
                  <a:lnTo>
                    <a:pt x="65788" y="1205605"/>
                  </a:lnTo>
                  <a:lnTo>
                    <a:pt x="61692" y="1207183"/>
                  </a:lnTo>
                  <a:lnTo>
                    <a:pt x="55525" y="1202249"/>
                  </a:lnTo>
                  <a:lnTo>
                    <a:pt x="53403" y="1195835"/>
                  </a:lnTo>
                  <a:lnTo>
                    <a:pt x="47236" y="1182908"/>
                  </a:lnTo>
                  <a:lnTo>
                    <a:pt x="53403" y="1181329"/>
                  </a:lnTo>
                  <a:lnTo>
                    <a:pt x="59620" y="1178072"/>
                  </a:lnTo>
                  <a:lnTo>
                    <a:pt x="59620" y="1173138"/>
                  </a:lnTo>
                  <a:lnTo>
                    <a:pt x="55525" y="1178072"/>
                  </a:lnTo>
                  <a:lnTo>
                    <a:pt x="53650" y="1178072"/>
                  </a:lnTo>
                  <a:lnTo>
                    <a:pt x="51627" y="1174866"/>
                  </a:lnTo>
                  <a:lnTo>
                    <a:pt x="53650" y="1168402"/>
                  </a:lnTo>
                  <a:lnTo>
                    <a:pt x="49555" y="1165195"/>
                  </a:lnTo>
                  <a:lnTo>
                    <a:pt x="49555" y="1158731"/>
                  </a:lnTo>
                  <a:lnTo>
                    <a:pt x="53650" y="1155524"/>
                  </a:lnTo>
                  <a:lnTo>
                    <a:pt x="64011" y="1155524"/>
                  </a:lnTo>
                  <a:lnTo>
                    <a:pt x="68156" y="1158731"/>
                  </a:lnTo>
                  <a:lnTo>
                    <a:pt x="72251" y="1171659"/>
                  </a:lnTo>
                  <a:lnTo>
                    <a:pt x="76396" y="1178072"/>
                  </a:lnTo>
                  <a:lnTo>
                    <a:pt x="78419" y="1189372"/>
                  </a:lnTo>
                  <a:lnTo>
                    <a:pt x="76396" y="1192579"/>
                  </a:lnTo>
                  <a:lnTo>
                    <a:pt x="80491" y="1200621"/>
                  </a:lnTo>
                  <a:lnTo>
                    <a:pt x="80491" y="1210489"/>
                  </a:lnTo>
                  <a:lnTo>
                    <a:pt x="74274" y="1213746"/>
                  </a:lnTo>
                  <a:lnTo>
                    <a:pt x="70179" y="1212117"/>
                  </a:lnTo>
                  <a:lnTo>
                    <a:pt x="70179" y="1205703"/>
                  </a:lnTo>
                  <a:close/>
                  <a:moveTo>
                    <a:pt x="61692" y="1231360"/>
                  </a:moveTo>
                  <a:lnTo>
                    <a:pt x="59620" y="1226426"/>
                  </a:lnTo>
                  <a:lnTo>
                    <a:pt x="55525" y="1223219"/>
                  </a:lnTo>
                  <a:lnTo>
                    <a:pt x="57548" y="1219962"/>
                  </a:lnTo>
                  <a:lnTo>
                    <a:pt x="57548" y="1216756"/>
                  </a:lnTo>
                  <a:lnTo>
                    <a:pt x="59620" y="1215176"/>
                  </a:lnTo>
                  <a:lnTo>
                    <a:pt x="63765" y="1216756"/>
                  </a:lnTo>
                  <a:lnTo>
                    <a:pt x="72004" y="1218384"/>
                  </a:lnTo>
                  <a:lnTo>
                    <a:pt x="67909" y="1223318"/>
                  </a:lnTo>
                  <a:lnTo>
                    <a:pt x="67909" y="1228252"/>
                  </a:lnTo>
                  <a:lnTo>
                    <a:pt x="65788" y="1231459"/>
                  </a:lnTo>
                  <a:close/>
                  <a:moveTo>
                    <a:pt x="57548" y="1239452"/>
                  </a:moveTo>
                  <a:lnTo>
                    <a:pt x="57548" y="1234518"/>
                  </a:lnTo>
                  <a:lnTo>
                    <a:pt x="65788" y="1234518"/>
                  </a:lnTo>
                  <a:lnTo>
                    <a:pt x="61692" y="1237725"/>
                  </a:lnTo>
                  <a:close/>
                  <a:moveTo>
                    <a:pt x="72004" y="1236195"/>
                  </a:moveTo>
                  <a:lnTo>
                    <a:pt x="74027" y="1239452"/>
                  </a:lnTo>
                  <a:lnTo>
                    <a:pt x="74027" y="1245866"/>
                  </a:lnTo>
                  <a:lnTo>
                    <a:pt x="72004" y="1247495"/>
                  </a:lnTo>
                  <a:lnTo>
                    <a:pt x="69932" y="1241031"/>
                  </a:lnTo>
                  <a:close/>
                  <a:moveTo>
                    <a:pt x="76149" y="1232988"/>
                  </a:moveTo>
                  <a:lnTo>
                    <a:pt x="76149" y="1231360"/>
                  </a:lnTo>
                  <a:lnTo>
                    <a:pt x="80244" y="1231360"/>
                  </a:lnTo>
                  <a:lnTo>
                    <a:pt x="84389" y="1234567"/>
                  </a:lnTo>
                  <a:lnTo>
                    <a:pt x="88534" y="1234567"/>
                  </a:lnTo>
                  <a:lnTo>
                    <a:pt x="94750" y="1242659"/>
                  </a:lnTo>
                  <a:lnTo>
                    <a:pt x="98845" y="1250702"/>
                  </a:lnTo>
                  <a:lnTo>
                    <a:pt x="88534" y="1242659"/>
                  </a:lnTo>
                  <a:lnTo>
                    <a:pt x="82317" y="1241031"/>
                  </a:lnTo>
                  <a:close/>
                  <a:moveTo>
                    <a:pt x="76149" y="1244238"/>
                  </a:moveTo>
                  <a:lnTo>
                    <a:pt x="80244" y="1242659"/>
                  </a:lnTo>
                  <a:lnTo>
                    <a:pt x="88534" y="1247593"/>
                  </a:lnTo>
                  <a:lnTo>
                    <a:pt x="94750" y="1255636"/>
                  </a:lnTo>
                  <a:lnTo>
                    <a:pt x="92629" y="1260570"/>
                  </a:lnTo>
                  <a:lnTo>
                    <a:pt x="86461" y="1260570"/>
                  </a:lnTo>
                  <a:lnTo>
                    <a:pt x="78172" y="1252527"/>
                  </a:lnTo>
                  <a:close/>
                  <a:moveTo>
                    <a:pt x="84389" y="1274878"/>
                  </a:moveTo>
                  <a:lnTo>
                    <a:pt x="74027" y="1276507"/>
                  </a:lnTo>
                  <a:lnTo>
                    <a:pt x="69932" y="1274878"/>
                  </a:lnTo>
                  <a:lnTo>
                    <a:pt x="74027" y="1271622"/>
                  </a:lnTo>
                  <a:lnTo>
                    <a:pt x="76149" y="1265208"/>
                  </a:lnTo>
                  <a:lnTo>
                    <a:pt x="74027" y="1260274"/>
                  </a:lnTo>
                  <a:lnTo>
                    <a:pt x="78172" y="1258646"/>
                  </a:lnTo>
                  <a:lnTo>
                    <a:pt x="82317" y="1263580"/>
                  </a:lnTo>
                  <a:lnTo>
                    <a:pt x="86461" y="1262000"/>
                  </a:lnTo>
                  <a:lnTo>
                    <a:pt x="96773" y="1268415"/>
                  </a:lnTo>
                  <a:lnTo>
                    <a:pt x="96773" y="1271622"/>
                  </a:lnTo>
                  <a:lnTo>
                    <a:pt x="90606" y="1271622"/>
                  </a:lnTo>
                  <a:lnTo>
                    <a:pt x="90606" y="1273300"/>
                  </a:lnTo>
                  <a:close/>
                  <a:moveTo>
                    <a:pt x="92629" y="1300684"/>
                  </a:moveTo>
                  <a:lnTo>
                    <a:pt x="88534" y="1299055"/>
                  </a:lnTo>
                  <a:lnTo>
                    <a:pt x="84389" y="1297427"/>
                  </a:lnTo>
                  <a:lnTo>
                    <a:pt x="82317" y="1292493"/>
                  </a:lnTo>
                  <a:lnTo>
                    <a:pt x="84389" y="1289236"/>
                  </a:lnTo>
                  <a:lnTo>
                    <a:pt x="86461" y="1287608"/>
                  </a:lnTo>
                  <a:lnTo>
                    <a:pt x="86461" y="1286029"/>
                  </a:lnTo>
                  <a:lnTo>
                    <a:pt x="84389" y="1284401"/>
                  </a:lnTo>
                  <a:lnTo>
                    <a:pt x="90606" y="1282822"/>
                  </a:lnTo>
                  <a:lnTo>
                    <a:pt x="92629" y="1287757"/>
                  </a:lnTo>
                  <a:lnTo>
                    <a:pt x="92629" y="1292691"/>
                  </a:lnTo>
                  <a:lnTo>
                    <a:pt x="88534" y="1295897"/>
                  </a:lnTo>
                  <a:close/>
                  <a:moveTo>
                    <a:pt x="92629" y="1290816"/>
                  </a:moveTo>
                  <a:lnTo>
                    <a:pt x="94750" y="1287559"/>
                  </a:lnTo>
                  <a:lnTo>
                    <a:pt x="96773" y="1285980"/>
                  </a:lnTo>
                  <a:lnTo>
                    <a:pt x="100918" y="1289187"/>
                  </a:lnTo>
                  <a:lnTo>
                    <a:pt x="102990" y="1290816"/>
                  </a:lnTo>
                  <a:lnTo>
                    <a:pt x="102990" y="1297229"/>
                  </a:lnTo>
                  <a:lnTo>
                    <a:pt x="98845" y="1298858"/>
                  </a:lnTo>
                  <a:lnTo>
                    <a:pt x="96773" y="1298858"/>
                  </a:lnTo>
                  <a:lnTo>
                    <a:pt x="96773" y="1295651"/>
                  </a:lnTo>
                  <a:lnTo>
                    <a:pt x="94750" y="1294022"/>
                  </a:lnTo>
                  <a:close/>
                  <a:moveTo>
                    <a:pt x="105013" y="1292444"/>
                  </a:moveTo>
                  <a:lnTo>
                    <a:pt x="113302" y="1295651"/>
                  </a:lnTo>
                  <a:lnTo>
                    <a:pt x="113302" y="1300585"/>
                  </a:lnTo>
                  <a:lnTo>
                    <a:pt x="107135" y="1297328"/>
                  </a:lnTo>
                  <a:close/>
                  <a:moveTo>
                    <a:pt x="102990" y="1313364"/>
                  </a:moveTo>
                  <a:lnTo>
                    <a:pt x="98845" y="1314942"/>
                  </a:lnTo>
                  <a:lnTo>
                    <a:pt x="98845" y="1313364"/>
                  </a:lnTo>
                  <a:lnTo>
                    <a:pt x="100918" y="1310157"/>
                  </a:lnTo>
                  <a:lnTo>
                    <a:pt x="100918" y="1305223"/>
                  </a:lnTo>
                  <a:lnTo>
                    <a:pt x="105013" y="1303644"/>
                  </a:lnTo>
                  <a:lnTo>
                    <a:pt x="105013" y="1306851"/>
                  </a:lnTo>
                  <a:close/>
                  <a:moveTo>
                    <a:pt x="123614" y="1297229"/>
                  </a:moveTo>
                  <a:lnTo>
                    <a:pt x="115375" y="1294022"/>
                  </a:lnTo>
                  <a:lnTo>
                    <a:pt x="111230" y="1290816"/>
                  </a:lnTo>
                  <a:lnTo>
                    <a:pt x="111230" y="1280948"/>
                  </a:lnTo>
                  <a:lnTo>
                    <a:pt x="113302" y="1280948"/>
                  </a:lnTo>
                  <a:lnTo>
                    <a:pt x="117398" y="1287411"/>
                  </a:lnTo>
                  <a:lnTo>
                    <a:pt x="123614" y="1293875"/>
                  </a:lnTo>
                  <a:lnTo>
                    <a:pt x="125687" y="1297081"/>
                  </a:lnTo>
                  <a:close/>
                  <a:moveTo>
                    <a:pt x="121542" y="1307098"/>
                  </a:moveTo>
                  <a:lnTo>
                    <a:pt x="117398" y="1302164"/>
                  </a:lnTo>
                  <a:lnTo>
                    <a:pt x="119519" y="1300585"/>
                  </a:lnTo>
                  <a:lnTo>
                    <a:pt x="123614" y="1302164"/>
                  </a:lnTo>
                  <a:lnTo>
                    <a:pt x="125687" y="1307098"/>
                  </a:lnTo>
                  <a:close/>
                  <a:moveTo>
                    <a:pt x="125687" y="1318397"/>
                  </a:moveTo>
                  <a:lnTo>
                    <a:pt x="117398" y="1311933"/>
                  </a:lnTo>
                  <a:lnTo>
                    <a:pt x="115375" y="1306999"/>
                  </a:lnTo>
                  <a:lnTo>
                    <a:pt x="117398" y="1305371"/>
                  </a:lnTo>
                  <a:lnTo>
                    <a:pt x="127759" y="1313463"/>
                  </a:lnTo>
                  <a:lnTo>
                    <a:pt x="127759" y="1318397"/>
                  </a:lnTo>
                  <a:close/>
                  <a:moveTo>
                    <a:pt x="133927" y="1332902"/>
                  </a:moveTo>
                  <a:lnTo>
                    <a:pt x="129782" y="1331274"/>
                  </a:lnTo>
                  <a:lnTo>
                    <a:pt x="125687" y="1329696"/>
                  </a:lnTo>
                  <a:lnTo>
                    <a:pt x="125687" y="1326489"/>
                  </a:lnTo>
                  <a:lnTo>
                    <a:pt x="119519" y="1326489"/>
                  </a:lnTo>
                  <a:lnTo>
                    <a:pt x="115375" y="1324860"/>
                  </a:lnTo>
                  <a:lnTo>
                    <a:pt x="121542" y="1321604"/>
                  </a:lnTo>
                  <a:lnTo>
                    <a:pt x="125687" y="1323232"/>
                  </a:lnTo>
                  <a:lnTo>
                    <a:pt x="133927" y="1321604"/>
                  </a:lnTo>
                  <a:lnTo>
                    <a:pt x="135999" y="1328067"/>
                  </a:lnTo>
                  <a:close/>
                  <a:moveTo>
                    <a:pt x="154600" y="1363543"/>
                  </a:moveTo>
                  <a:lnTo>
                    <a:pt x="144239" y="1360336"/>
                  </a:lnTo>
                  <a:lnTo>
                    <a:pt x="142216" y="1361915"/>
                  </a:lnTo>
                  <a:lnTo>
                    <a:pt x="135999" y="1361915"/>
                  </a:lnTo>
                  <a:lnTo>
                    <a:pt x="133927" y="1358659"/>
                  </a:lnTo>
                  <a:lnTo>
                    <a:pt x="123614" y="1353725"/>
                  </a:lnTo>
                  <a:lnTo>
                    <a:pt x="115375" y="1353725"/>
                  </a:lnTo>
                  <a:lnTo>
                    <a:pt x="111230" y="1345633"/>
                  </a:lnTo>
                  <a:lnTo>
                    <a:pt x="109158" y="1339169"/>
                  </a:lnTo>
                  <a:lnTo>
                    <a:pt x="111230" y="1337590"/>
                  </a:lnTo>
                  <a:lnTo>
                    <a:pt x="115375" y="1339169"/>
                  </a:lnTo>
                  <a:lnTo>
                    <a:pt x="123614" y="1347261"/>
                  </a:lnTo>
                  <a:lnTo>
                    <a:pt x="127759" y="1348840"/>
                  </a:lnTo>
                  <a:lnTo>
                    <a:pt x="133927" y="1350517"/>
                  </a:lnTo>
                  <a:lnTo>
                    <a:pt x="140144" y="1352096"/>
                  </a:lnTo>
                  <a:lnTo>
                    <a:pt x="146360" y="1353725"/>
                  </a:lnTo>
                  <a:lnTo>
                    <a:pt x="154600" y="1353725"/>
                  </a:lnTo>
                  <a:lnTo>
                    <a:pt x="156623" y="1356931"/>
                  </a:lnTo>
                  <a:lnTo>
                    <a:pt x="164912" y="1361865"/>
                  </a:lnTo>
                  <a:lnTo>
                    <a:pt x="167133" y="1361865"/>
                  </a:lnTo>
                  <a:lnTo>
                    <a:pt x="169155" y="1365072"/>
                  </a:lnTo>
                  <a:lnTo>
                    <a:pt x="169155" y="1366701"/>
                  </a:lnTo>
                  <a:lnTo>
                    <a:pt x="160916" y="1366701"/>
                  </a:lnTo>
                  <a:close/>
                  <a:moveTo>
                    <a:pt x="131854" y="1366750"/>
                  </a:moveTo>
                  <a:lnTo>
                    <a:pt x="135999" y="1369957"/>
                  </a:lnTo>
                  <a:lnTo>
                    <a:pt x="127759" y="1368378"/>
                  </a:lnTo>
                  <a:close/>
                  <a:moveTo>
                    <a:pt x="181195" y="1394183"/>
                  </a:moveTo>
                  <a:lnTo>
                    <a:pt x="183218" y="1397391"/>
                  </a:lnTo>
                  <a:lnTo>
                    <a:pt x="185339" y="1394183"/>
                  </a:lnTo>
                  <a:lnTo>
                    <a:pt x="183218" y="1390927"/>
                  </a:lnTo>
                  <a:lnTo>
                    <a:pt x="179122" y="1394183"/>
                  </a:lnTo>
                  <a:close/>
                  <a:moveTo>
                    <a:pt x="199747" y="1397391"/>
                  </a:moveTo>
                  <a:lnTo>
                    <a:pt x="193579" y="1398969"/>
                  </a:lnTo>
                  <a:lnTo>
                    <a:pt x="189435" y="1395762"/>
                  </a:lnTo>
                  <a:lnTo>
                    <a:pt x="189435" y="1390828"/>
                  </a:lnTo>
                  <a:lnTo>
                    <a:pt x="185339" y="1389200"/>
                  </a:lnTo>
                  <a:lnTo>
                    <a:pt x="177050" y="1390828"/>
                  </a:lnTo>
                  <a:lnTo>
                    <a:pt x="170833" y="1389200"/>
                  </a:lnTo>
                  <a:lnTo>
                    <a:pt x="164666" y="1382737"/>
                  </a:lnTo>
                  <a:lnTo>
                    <a:pt x="158498" y="1381157"/>
                  </a:lnTo>
                  <a:lnTo>
                    <a:pt x="156377" y="1376223"/>
                  </a:lnTo>
                  <a:lnTo>
                    <a:pt x="148137" y="1373016"/>
                  </a:lnTo>
                  <a:lnTo>
                    <a:pt x="148137" y="1369760"/>
                  </a:lnTo>
                  <a:lnTo>
                    <a:pt x="150209" y="1366553"/>
                  </a:lnTo>
                  <a:lnTo>
                    <a:pt x="156377" y="1366553"/>
                  </a:lnTo>
                  <a:lnTo>
                    <a:pt x="160521" y="1369760"/>
                  </a:lnTo>
                  <a:lnTo>
                    <a:pt x="162593" y="1371388"/>
                  </a:lnTo>
                  <a:lnTo>
                    <a:pt x="168761" y="1368181"/>
                  </a:lnTo>
                  <a:lnTo>
                    <a:pt x="177050" y="1368181"/>
                  </a:lnTo>
                  <a:lnTo>
                    <a:pt x="187362" y="1374595"/>
                  </a:lnTo>
                  <a:lnTo>
                    <a:pt x="191507" y="1376223"/>
                  </a:lnTo>
                  <a:lnTo>
                    <a:pt x="193579" y="1379431"/>
                  </a:lnTo>
                  <a:lnTo>
                    <a:pt x="199747" y="1377851"/>
                  </a:lnTo>
                  <a:lnTo>
                    <a:pt x="205963" y="1379431"/>
                  </a:lnTo>
                  <a:lnTo>
                    <a:pt x="207987" y="1384365"/>
                  </a:lnTo>
                  <a:lnTo>
                    <a:pt x="201819" y="1382737"/>
                  </a:lnTo>
                  <a:lnTo>
                    <a:pt x="199747" y="1384365"/>
                  </a:lnTo>
                  <a:lnTo>
                    <a:pt x="201819" y="1385993"/>
                  </a:lnTo>
                  <a:lnTo>
                    <a:pt x="201819" y="1389200"/>
                  </a:lnTo>
                  <a:lnTo>
                    <a:pt x="197724" y="1394134"/>
                  </a:lnTo>
                  <a:close/>
                  <a:moveTo>
                    <a:pt x="207987" y="1395762"/>
                  </a:moveTo>
                  <a:lnTo>
                    <a:pt x="203891" y="1398969"/>
                  </a:lnTo>
                  <a:lnTo>
                    <a:pt x="203891" y="1403903"/>
                  </a:lnTo>
                  <a:lnTo>
                    <a:pt x="207987" y="1402325"/>
                  </a:lnTo>
                  <a:lnTo>
                    <a:pt x="212131" y="1397391"/>
                  </a:lnTo>
                  <a:lnTo>
                    <a:pt x="212131" y="1395762"/>
                  </a:lnTo>
                  <a:lnTo>
                    <a:pt x="210108" y="1394183"/>
                  </a:lnTo>
                  <a:close/>
                  <a:moveTo>
                    <a:pt x="247212" y="1390828"/>
                  </a:moveTo>
                  <a:lnTo>
                    <a:pt x="245189" y="1395762"/>
                  </a:lnTo>
                  <a:lnTo>
                    <a:pt x="247212" y="1398969"/>
                  </a:lnTo>
                  <a:lnTo>
                    <a:pt x="243117" y="1400598"/>
                  </a:lnTo>
                  <a:lnTo>
                    <a:pt x="237196" y="1400598"/>
                  </a:lnTo>
                  <a:lnTo>
                    <a:pt x="235074" y="1397391"/>
                  </a:lnTo>
                  <a:lnTo>
                    <a:pt x="230979" y="1398969"/>
                  </a:lnTo>
                  <a:lnTo>
                    <a:pt x="226834" y="1395762"/>
                  </a:lnTo>
                  <a:lnTo>
                    <a:pt x="220618" y="1395762"/>
                  </a:lnTo>
                  <a:lnTo>
                    <a:pt x="218595" y="1397391"/>
                  </a:lnTo>
                  <a:lnTo>
                    <a:pt x="214450" y="1392457"/>
                  </a:lnTo>
                  <a:lnTo>
                    <a:pt x="210355" y="1390877"/>
                  </a:lnTo>
                  <a:lnTo>
                    <a:pt x="210355" y="1388016"/>
                  </a:lnTo>
                  <a:lnTo>
                    <a:pt x="220618" y="1388016"/>
                  </a:lnTo>
                  <a:lnTo>
                    <a:pt x="222690" y="1384759"/>
                  </a:lnTo>
                  <a:lnTo>
                    <a:pt x="235074" y="1388016"/>
                  </a:lnTo>
                  <a:lnTo>
                    <a:pt x="237196" y="1392950"/>
                  </a:lnTo>
                  <a:lnTo>
                    <a:pt x="241291" y="1389743"/>
                  </a:lnTo>
                  <a:lnTo>
                    <a:pt x="245436" y="1389743"/>
                  </a:lnTo>
                  <a:close/>
                  <a:moveTo>
                    <a:pt x="267886" y="1387621"/>
                  </a:moveTo>
                  <a:lnTo>
                    <a:pt x="259596" y="1382687"/>
                  </a:lnTo>
                  <a:lnTo>
                    <a:pt x="263741" y="1379480"/>
                  </a:lnTo>
                  <a:lnTo>
                    <a:pt x="261718" y="1376273"/>
                  </a:lnTo>
                  <a:lnTo>
                    <a:pt x="261718" y="1373214"/>
                  </a:lnTo>
                  <a:lnTo>
                    <a:pt x="257574" y="1368280"/>
                  </a:lnTo>
                  <a:lnTo>
                    <a:pt x="255501" y="1361816"/>
                  </a:lnTo>
                  <a:lnTo>
                    <a:pt x="251357" y="1358560"/>
                  </a:lnTo>
                  <a:lnTo>
                    <a:pt x="251357" y="1365023"/>
                  </a:lnTo>
                  <a:lnTo>
                    <a:pt x="249334" y="1371487"/>
                  </a:lnTo>
                  <a:lnTo>
                    <a:pt x="251357" y="1376421"/>
                  </a:lnTo>
                  <a:lnTo>
                    <a:pt x="249334" y="1379628"/>
                  </a:lnTo>
                  <a:lnTo>
                    <a:pt x="249334" y="1384562"/>
                  </a:lnTo>
                  <a:lnTo>
                    <a:pt x="255501" y="1387818"/>
                  </a:lnTo>
                  <a:lnTo>
                    <a:pt x="261718" y="1389398"/>
                  </a:lnTo>
                  <a:lnTo>
                    <a:pt x="263741" y="1391026"/>
                  </a:lnTo>
                  <a:close/>
                  <a:moveTo>
                    <a:pt x="241044" y="1434346"/>
                  </a:moveTo>
                  <a:lnTo>
                    <a:pt x="247212" y="1431139"/>
                  </a:lnTo>
                  <a:lnTo>
                    <a:pt x="249334" y="1434346"/>
                  </a:lnTo>
                  <a:lnTo>
                    <a:pt x="245189" y="1437603"/>
                  </a:lnTo>
                  <a:close/>
                  <a:moveTo>
                    <a:pt x="243117" y="1427932"/>
                  </a:moveTo>
                  <a:lnTo>
                    <a:pt x="241044" y="1426255"/>
                  </a:lnTo>
                  <a:lnTo>
                    <a:pt x="243117" y="1423047"/>
                  </a:lnTo>
                  <a:lnTo>
                    <a:pt x="247212" y="1424676"/>
                  </a:lnTo>
                  <a:lnTo>
                    <a:pt x="247212" y="1427932"/>
                  </a:lnTo>
                  <a:close/>
                  <a:moveTo>
                    <a:pt x="383737" y="1462026"/>
                  </a:moveTo>
                  <a:lnTo>
                    <a:pt x="379642" y="1457092"/>
                  </a:lnTo>
                  <a:lnTo>
                    <a:pt x="383737" y="1453885"/>
                  </a:lnTo>
                  <a:lnTo>
                    <a:pt x="381664" y="1450628"/>
                  </a:lnTo>
                  <a:lnTo>
                    <a:pt x="385809" y="1452257"/>
                  </a:lnTo>
                  <a:lnTo>
                    <a:pt x="387881" y="1455514"/>
                  </a:lnTo>
                  <a:lnTo>
                    <a:pt x="387881" y="1461928"/>
                  </a:lnTo>
                  <a:close/>
                  <a:moveTo>
                    <a:pt x="294924" y="1429807"/>
                  </a:moveTo>
                  <a:lnTo>
                    <a:pt x="299019" y="1428228"/>
                  </a:lnTo>
                  <a:lnTo>
                    <a:pt x="317621" y="1428228"/>
                  </a:lnTo>
                  <a:lnTo>
                    <a:pt x="334150" y="1424972"/>
                  </a:lnTo>
                  <a:lnTo>
                    <a:pt x="344462" y="1421764"/>
                  </a:lnTo>
                  <a:lnTo>
                    <a:pt x="354774" y="1423344"/>
                  </a:lnTo>
                  <a:lnTo>
                    <a:pt x="363063" y="1421764"/>
                  </a:lnTo>
                  <a:lnTo>
                    <a:pt x="373375" y="1421764"/>
                  </a:lnTo>
                  <a:lnTo>
                    <a:pt x="379592" y="1423344"/>
                  </a:lnTo>
                  <a:lnTo>
                    <a:pt x="381615" y="1428278"/>
                  </a:lnTo>
                  <a:lnTo>
                    <a:pt x="385760" y="1431485"/>
                  </a:lnTo>
                  <a:lnTo>
                    <a:pt x="381615" y="1434692"/>
                  </a:lnTo>
                  <a:lnTo>
                    <a:pt x="375447" y="1437948"/>
                  </a:lnTo>
                  <a:lnTo>
                    <a:pt x="373375" y="1434692"/>
                  </a:lnTo>
                  <a:lnTo>
                    <a:pt x="369231" y="1433064"/>
                  </a:lnTo>
                  <a:lnTo>
                    <a:pt x="363063" y="1436271"/>
                  </a:lnTo>
                  <a:lnTo>
                    <a:pt x="354626" y="1436271"/>
                  </a:lnTo>
                  <a:lnTo>
                    <a:pt x="350481" y="1433064"/>
                  </a:lnTo>
                  <a:lnTo>
                    <a:pt x="348458" y="1428130"/>
                  </a:lnTo>
                  <a:lnTo>
                    <a:pt x="342242" y="1426452"/>
                  </a:lnTo>
                  <a:lnTo>
                    <a:pt x="336074" y="1431386"/>
                  </a:lnTo>
                  <a:lnTo>
                    <a:pt x="331930" y="1431386"/>
                  </a:lnTo>
                  <a:lnTo>
                    <a:pt x="323690" y="1432965"/>
                  </a:lnTo>
                  <a:lnTo>
                    <a:pt x="331930" y="1437899"/>
                  </a:lnTo>
                  <a:lnTo>
                    <a:pt x="331930" y="1436221"/>
                  </a:lnTo>
                  <a:lnTo>
                    <a:pt x="342242" y="1437899"/>
                  </a:lnTo>
                  <a:lnTo>
                    <a:pt x="344314" y="1441106"/>
                  </a:lnTo>
                  <a:lnTo>
                    <a:pt x="342242" y="1442685"/>
                  </a:lnTo>
                  <a:lnTo>
                    <a:pt x="348458" y="1444313"/>
                  </a:lnTo>
                  <a:lnTo>
                    <a:pt x="354626" y="1450727"/>
                  </a:lnTo>
                  <a:lnTo>
                    <a:pt x="354626" y="1455661"/>
                  </a:lnTo>
                  <a:lnTo>
                    <a:pt x="352603" y="1455661"/>
                  </a:lnTo>
                  <a:lnTo>
                    <a:pt x="344314" y="1449198"/>
                  </a:lnTo>
                  <a:lnTo>
                    <a:pt x="340219" y="1449198"/>
                  </a:lnTo>
                  <a:lnTo>
                    <a:pt x="334002" y="1450777"/>
                  </a:lnTo>
                  <a:lnTo>
                    <a:pt x="329857" y="1447569"/>
                  </a:lnTo>
                  <a:lnTo>
                    <a:pt x="325713" y="1442635"/>
                  </a:lnTo>
                  <a:lnTo>
                    <a:pt x="319545" y="1442635"/>
                  </a:lnTo>
                  <a:lnTo>
                    <a:pt x="317473" y="1445892"/>
                  </a:lnTo>
                  <a:lnTo>
                    <a:pt x="323690" y="1449099"/>
                  </a:lnTo>
                  <a:lnTo>
                    <a:pt x="323690" y="1452306"/>
                  </a:lnTo>
                  <a:lnTo>
                    <a:pt x="319545" y="1453934"/>
                  </a:lnTo>
                  <a:lnTo>
                    <a:pt x="311256" y="1450678"/>
                  </a:lnTo>
                  <a:lnTo>
                    <a:pt x="307161" y="1452306"/>
                  </a:lnTo>
                  <a:lnTo>
                    <a:pt x="305088" y="1449099"/>
                  </a:lnTo>
                  <a:lnTo>
                    <a:pt x="300993" y="1447471"/>
                  </a:lnTo>
                  <a:lnTo>
                    <a:pt x="303016" y="1442537"/>
                  </a:lnTo>
                  <a:lnTo>
                    <a:pt x="296848" y="1445793"/>
                  </a:lnTo>
                  <a:lnTo>
                    <a:pt x="292704" y="1442537"/>
                  </a:lnTo>
                  <a:lnTo>
                    <a:pt x="292704" y="1439330"/>
                  </a:lnTo>
                  <a:lnTo>
                    <a:pt x="298871" y="1437751"/>
                  </a:lnTo>
                  <a:lnTo>
                    <a:pt x="309233" y="1434495"/>
                  </a:lnTo>
                  <a:lnTo>
                    <a:pt x="303016" y="1431287"/>
                  </a:lnTo>
                  <a:lnTo>
                    <a:pt x="298871" y="143286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Graphic 2">
              <a:extLst>
                <a:ext uri="{FF2B5EF4-FFF2-40B4-BE49-F238E27FC236}">
                  <a16:creationId xmlns:a16="http://schemas.microsoft.com/office/drawing/2014/main" id="{A297087C-593B-4858-B330-476F2D90675F}"/>
                </a:ext>
              </a:extLst>
            </p:cNvPr>
            <p:cNvSpPr/>
            <p:nvPr/>
          </p:nvSpPr>
          <p:spPr>
            <a:xfrm>
              <a:off x="3403983" y="4149888"/>
              <a:ext cx="3361" cy="6768"/>
            </a:xfrm>
            <a:custGeom>
              <a:avLst/>
              <a:gdLst>
                <a:gd name="connsiteX0" fmla="*/ 1152 w 3700"/>
                <a:gd name="connsiteY0" fmla="*/ -27 h 7450"/>
                <a:gd name="connsiteX1" fmla="*/ -82 w 3700"/>
                <a:gd name="connsiteY1" fmla="*/ 7424 h 7450"/>
                <a:gd name="connsiteX2" fmla="*/ 3619 w 3700"/>
                <a:gd name="connsiteY2" fmla="*/ 7424 h 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00" h="7450">
                  <a:moveTo>
                    <a:pt x="1152" y="-27"/>
                  </a:moveTo>
                  <a:lnTo>
                    <a:pt x="-82" y="7424"/>
                  </a:lnTo>
                  <a:lnTo>
                    <a:pt x="3619" y="7424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Graphic 2">
              <a:extLst>
                <a:ext uri="{FF2B5EF4-FFF2-40B4-BE49-F238E27FC236}">
                  <a16:creationId xmlns:a16="http://schemas.microsoft.com/office/drawing/2014/main" id="{4F8F0DBF-27E7-46FF-B5C8-42A0B92676A5}"/>
                </a:ext>
              </a:extLst>
            </p:cNvPr>
            <p:cNvSpPr/>
            <p:nvPr/>
          </p:nvSpPr>
          <p:spPr>
            <a:xfrm>
              <a:off x="3417608" y="4156479"/>
              <a:ext cx="23669" cy="24025"/>
            </a:xfrm>
            <a:custGeom>
              <a:avLst/>
              <a:gdLst>
                <a:gd name="connsiteX0" fmla="*/ 23947 w 26051"/>
                <a:gd name="connsiteY0" fmla="*/ 20597 h 26446"/>
                <a:gd name="connsiteX1" fmla="*/ 17927 w 26051"/>
                <a:gd name="connsiteY1" fmla="*/ 23509 h 26446"/>
                <a:gd name="connsiteX2" fmla="*/ 23947 w 26051"/>
                <a:gd name="connsiteY2" fmla="*/ 26419 h 26446"/>
                <a:gd name="connsiteX3" fmla="*/ 23947 w 26051"/>
                <a:gd name="connsiteY3" fmla="*/ 20597 h 26446"/>
                <a:gd name="connsiteX4" fmla="*/ 21924 w 26051"/>
                <a:gd name="connsiteY4" fmla="*/ 269 h 26446"/>
                <a:gd name="connsiteX5" fmla="*/ 13882 w 26051"/>
                <a:gd name="connsiteY5" fmla="*/ 5795 h 26446"/>
                <a:gd name="connsiteX6" fmla="*/ 17927 w 26051"/>
                <a:gd name="connsiteY6" fmla="*/ 13048 h 26446"/>
                <a:gd name="connsiteX7" fmla="*/ 25970 w 26051"/>
                <a:gd name="connsiteY7" fmla="*/ 14479 h 26446"/>
                <a:gd name="connsiteX8" fmla="*/ 21924 w 26051"/>
                <a:gd name="connsiteY8" fmla="*/ -27 h 26446"/>
                <a:gd name="connsiteX9" fmla="*/ 7763 w 26051"/>
                <a:gd name="connsiteY9" fmla="*/ 5795 h 26446"/>
                <a:gd name="connsiteX10" fmla="*/ 13783 w 26051"/>
                <a:gd name="connsiteY10" fmla="*/ 14479 h 26446"/>
                <a:gd name="connsiteX11" fmla="*/ 9786 w 26051"/>
                <a:gd name="connsiteY11" fmla="*/ 24643 h 26446"/>
                <a:gd name="connsiteX12" fmla="*/ -82 w 26051"/>
                <a:gd name="connsiteY12" fmla="*/ 13048 h 26446"/>
                <a:gd name="connsiteX13" fmla="*/ 1941 w 26051"/>
                <a:gd name="connsiteY13" fmla="*/ 7226 h 2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51" h="26446">
                  <a:moveTo>
                    <a:pt x="23947" y="20597"/>
                  </a:moveTo>
                  <a:lnTo>
                    <a:pt x="17927" y="23509"/>
                  </a:lnTo>
                  <a:lnTo>
                    <a:pt x="23947" y="26419"/>
                  </a:lnTo>
                  <a:lnTo>
                    <a:pt x="23947" y="20597"/>
                  </a:lnTo>
                  <a:close/>
                  <a:moveTo>
                    <a:pt x="21924" y="269"/>
                  </a:moveTo>
                  <a:lnTo>
                    <a:pt x="13882" y="5795"/>
                  </a:lnTo>
                  <a:lnTo>
                    <a:pt x="17927" y="13048"/>
                  </a:lnTo>
                  <a:lnTo>
                    <a:pt x="25970" y="14479"/>
                  </a:lnTo>
                  <a:lnTo>
                    <a:pt x="21924" y="-27"/>
                  </a:lnTo>
                  <a:close/>
                  <a:moveTo>
                    <a:pt x="7763" y="5795"/>
                  </a:moveTo>
                  <a:lnTo>
                    <a:pt x="13783" y="14479"/>
                  </a:lnTo>
                  <a:lnTo>
                    <a:pt x="9786" y="24643"/>
                  </a:lnTo>
                  <a:lnTo>
                    <a:pt x="-82" y="13048"/>
                  </a:lnTo>
                  <a:lnTo>
                    <a:pt x="1941" y="7226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Graphic 2">
              <a:extLst>
                <a:ext uri="{FF2B5EF4-FFF2-40B4-BE49-F238E27FC236}">
                  <a16:creationId xmlns:a16="http://schemas.microsoft.com/office/drawing/2014/main" id="{A64CAA5F-EAB0-4BEE-A3C2-DF97E589D8E8}"/>
                </a:ext>
              </a:extLst>
            </p:cNvPr>
            <p:cNvSpPr/>
            <p:nvPr/>
          </p:nvSpPr>
          <p:spPr>
            <a:xfrm>
              <a:off x="2488629" y="4221069"/>
              <a:ext cx="81225" cy="40701"/>
            </a:xfrm>
            <a:custGeom>
              <a:avLst/>
              <a:gdLst>
                <a:gd name="connsiteX0" fmla="*/ 33618 w 89404"/>
                <a:gd name="connsiteY0" fmla="*/ -27 h 44801"/>
                <a:gd name="connsiteX1" fmla="*/ 39588 w 89404"/>
                <a:gd name="connsiteY1" fmla="*/ 1503 h 44801"/>
                <a:gd name="connsiteX2" fmla="*/ 41561 w 89404"/>
                <a:gd name="connsiteY2" fmla="*/ 3082 h 44801"/>
                <a:gd name="connsiteX3" fmla="*/ 45558 w 89404"/>
                <a:gd name="connsiteY3" fmla="*/ 3082 h 44801"/>
                <a:gd name="connsiteX4" fmla="*/ 47532 w 89404"/>
                <a:gd name="connsiteY4" fmla="*/ 6190 h 44801"/>
                <a:gd name="connsiteX5" fmla="*/ 55475 w 89404"/>
                <a:gd name="connsiteY5" fmla="*/ 6190 h 44801"/>
                <a:gd name="connsiteX6" fmla="*/ 61446 w 89404"/>
                <a:gd name="connsiteY6" fmla="*/ 7720 h 44801"/>
                <a:gd name="connsiteX7" fmla="*/ 65442 w 89404"/>
                <a:gd name="connsiteY7" fmla="*/ 12358 h 44801"/>
                <a:gd name="connsiteX8" fmla="*/ 69439 w 89404"/>
                <a:gd name="connsiteY8" fmla="*/ 15417 h 44801"/>
                <a:gd name="connsiteX9" fmla="*/ 73386 w 89404"/>
                <a:gd name="connsiteY9" fmla="*/ 20055 h 44801"/>
                <a:gd name="connsiteX10" fmla="*/ 75409 w 89404"/>
                <a:gd name="connsiteY10" fmla="*/ 15417 h 44801"/>
                <a:gd name="connsiteX11" fmla="*/ 75409 w 89404"/>
                <a:gd name="connsiteY11" fmla="*/ 12358 h 44801"/>
                <a:gd name="connsiteX12" fmla="*/ 81379 w 89404"/>
                <a:gd name="connsiteY12" fmla="*/ 10779 h 44801"/>
                <a:gd name="connsiteX13" fmla="*/ 85326 w 89404"/>
                <a:gd name="connsiteY13" fmla="*/ 12358 h 44801"/>
                <a:gd name="connsiteX14" fmla="*/ 89323 w 89404"/>
                <a:gd name="connsiteY14" fmla="*/ 13887 h 44801"/>
                <a:gd name="connsiteX15" fmla="*/ 89323 w 89404"/>
                <a:gd name="connsiteY15" fmla="*/ 20055 h 44801"/>
                <a:gd name="connsiteX16" fmla="*/ 87349 w 89404"/>
                <a:gd name="connsiteY16" fmla="*/ 26222 h 44801"/>
                <a:gd name="connsiteX17" fmla="*/ 89323 w 89404"/>
                <a:gd name="connsiteY17" fmla="*/ 27801 h 44801"/>
                <a:gd name="connsiteX18" fmla="*/ 87349 w 89404"/>
                <a:gd name="connsiteY18" fmla="*/ 32390 h 44801"/>
                <a:gd name="connsiteX19" fmla="*/ 87349 w 89404"/>
                <a:gd name="connsiteY19" fmla="*/ 35498 h 44801"/>
                <a:gd name="connsiteX20" fmla="*/ 85326 w 89404"/>
                <a:gd name="connsiteY20" fmla="*/ 37028 h 44801"/>
                <a:gd name="connsiteX21" fmla="*/ 87349 w 89404"/>
                <a:gd name="connsiteY21" fmla="*/ 40136 h 44801"/>
                <a:gd name="connsiteX22" fmla="*/ 83353 w 89404"/>
                <a:gd name="connsiteY22" fmla="*/ 44774 h 44801"/>
                <a:gd name="connsiteX23" fmla="*/ 65442 w 89404"/>
                <a:gd name="connsiteY23" fmla="*/ 44774 h 44801"/>
                <a:gd name="connsiteX24" fmla="*/ 61446 w 89404"/>
                <a:gd name="connsiteY24" fmla="*/ 41666 h 44801"/>
                <a:gd name="connsiteX25" fmla="*/ 57499 w 89404"/>
                <a:gd name="connsiteY25" fmla="*/ 35498 h 44801"/>
                <a:gd name="connsiteX26" fmla="*/ 51528 w 89404"/>
                <a:gd name="connsiteY26" fmla="*/ 35498 h 44801"/>
                <a:gd name="connsiteX27" fmla="*/ 47532 w 89404"/>
                <a:gd name="connsiteY27" fmla="*/ 37028 h 44801"/>
                <a:gd name="connsiteX28" fmla="*/ 53502 w 89404"/>
                <a:gd name="connsiteY28" fmla="*/ 38557 h 44801"/>
                <a:gd name="connsiteX29" fmla="*/ 51528 w 89404"/>
                <a:gd name="connsiteY29" fmla="*/ 41666 h 44801"/>
                <a:gd name="connsiteX30" fmla="*/ 41660 w 89404"/>
                <a:gd name="connsiteY30" fmla="*/ 37028 h 44801"/>
                <a:gd name="connsiteX31" fmla="*/ 27746 w 89404"/>
                <a:gd name="connsiteY31" fmla="*/ 32390 h 44801"/>
                <a:gd name="connsiteX32" fmla="*/ 23750 w 89404"/>
                <a:gd name="connsiteY32" fmla="*/ 32390 h 44801"/>
                <a:gd name="connsiteX33" fmla="*/ 15806 w 89404"/>
                <a:gd name="connsiteY33" fmla="*/ 30860 h 44801"/>
                <a:gd name="connsiteX34" fmla="*/ 9786 w 89404"/>
                <a:gd name="connsiteY34" fmla="*/ 26222 h 44801"/>
                <a:gd name="connsiteX35" fmla="*/ -82 w 89404"/>
                <a:gd name="connsiteY35" fmla="*/ 26222 h 44801"/>
                <a:gd name="connsiteX36" fmla="*/ 1892 w 89404"/>
                <a:gd name="connsiteY36" fmla="*/ 21584 h 44801"/>
                <a:gd name="connsiteX37" fmla="*/ 1892 w 89404"/>
                <a:gd name="connsiteY37" fmla="*/ 16946 h 44801"/>
                <a:gd name="connsiteX38" fmla="*/ 9836 w 89404"/>
                <a:gd name="connsiteY38" fmla="*/ 12358 h 44801"/>
                <a:gd name="connsiteX39" fmla="*/ 17829 w 89404"/>
                <a:gd name="connsiteY39" fmla="*/ 9249 h 44801"/>
                <a:gd name="connsiteX40" fmla="*/ 23799 w 89404"/>
                <a:gd name="connsiteY40" fmla="*/ 7720 h 44801"/>
                <a:gd name="connsiteX41" fmla="*/ 23799 w 89404"/>
                <a:gd name="connsiteY41" fmla="*/ 4611 h 4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9404" h="44801">
                  <a:moveTo>
                    <a:pt x="33618" y="-27"/>
                  </a:moveTo>
                  <a:lnTo>
                    <a:pt x="39588" y="1503"/>
                  </a:lnTo>
                  <a:lnTo>
                    <a:pt x="41561" y="3082"/>
                  </a:lnTo>
                  <a:lnTo>
                    <a:pt x="45558" y="3082"/>
                  </a:lnTo>
                  <a:lnTo>
                    <a:pt x="47532" y="6190"/>
                  </a:lnTo>
                  <a:lnTo>
                    <a:pt x="55475" y="6190"/>
                  </a:lnTo>
                  <a:lnTo>
                    <a:pt x="61446" y="7720"/>
                  </a:lnTo>
                  <a:lnTo>
                    <a:pt x="65442" y="12358"/>
                  </a:lnTo>
                  <a:lnTo>
                    <a:pt x="69439" y="15417"/>
                  </a:lnTo>
                  <a:lnTo>
                    <a:pt x="73386" y="20055"/>
                  </a:lnTo>
                  <a:lnTo>
                    <a:pt x="75409" y="15417"/>
                  </a:lnTo>
                  <a:lnTo>
                    <a:pt x="75409" y="12358"/>
                  </a:lnTo>
                  <a:lnTo>
                    <a:pt x="81379" y="10779"/>
                  </a:lnTo>
                  <a:lnTo>
                    <a:pt x="85326" y="12358"/>
                  </a:lnTo>
                  <a:lnTo>
                    <a:pt x="89323" y="13887"/>
                  </a:lnTo>
                  <a:lnTo>
                    <a:pt x="89323" y="20055"/>
                  </a:lnTo>
                  <a:lnTo>
                    <a:pt x="87349" y="26222"/>
                  </a:lnTo>
                  <a:lnTo>
                    <a:pt x="89323" y="27801"/>
                  </a:lnTo>
                  <a:lnTo>
                    <a:pt x="87349" y="32390"/>
                  </a:lnTo>
                  <a:lnTo>
                    <a:pt x="87349" y="35498"/>
                  </a:lnTo>
                  <a:lnTo>
                    <a:pt x="85326" y="37028"/>
                  </a:lnTo>
                  <a:lnTo>
                    <a:pt x="87349" y="40136"/>
                  </a:lnTo>
                  <a:lnTo>
                    <a:pt x="83353" y="44774"/>
                  </a:lnTo>
                  <a:lnTo>
                    <a:pt x="65442" y="44774"/>
                  </a:lnTo>
                  <a:lnTo>
                    <a:pt x="61446" y="41666"/>
                  </a:lnTo>
                  <a:lnTo>
                    <a:pt x="57499" y="35498"/>
                  </a:lnTo>
                  <a:lnTo>
                    <a:pt x="51528" y="35498"/>
                  </a:lnTo>
                  <a:lnTo>
                    <a:pt x="47532" y="37028"/>
                  </a:lnTo>
                  <a:lnTo>
                    <a:pt x="53502" y="38557"/>
                  </a:lnTo>
                  <a:lnTo>
                    <a:pt x="51528" y="41666"/>
                  </a:lnTo>
                  <a:lnTo>
                    <a:pt x="41660" y="37028"/>
                  </a:lnTo>
                  <a:lnTo>
                    <a:pt x="27746" y="32390"/>
                  </a:lnTo>
                  <a:lnTo>
                    <a:pt x="23750" y="32390"/>
                  </a:lnTo>
                  <a:lnTo>
                    <a:pt x="15806" y="30860"/>
                  </a:lnTo>
                  <a:lnTo>
                    <a:pt x="9786" y="26222"/>
                  </a:lnTo>
                  <a:lnTo>
                    <a:pt x="-82" y="26222"/>
                  </a:lnTo>
                  <a:lnTo>
                    <a:pt x="1892" y="21584"/>
                  </a:lnTo>
                  <a:lnTo>
                    <a:pt x="1892" y="16946"/>
                  </a:lnTo>
                  <a:lnTo>
                    <a:pt x="9836" y="12358"/>
                  </a:lnTo>
                  <a:lnTo>
                    <a:pt x="17829" y="9249"/>
                  </a:lnTo>
                  <a:lnTo>
                    <a:pt x="23799" y="7720"/>
                  </a:lnTo>
                  <a:lnTo>
                    <a:pt x="23799" y="4611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Graphic 2">
              <a:extLst>
                <a:ext uri="{FF2B5EF4-FFF2-40B4-BE49-F238E27FC236}">
                  <a16:creationId xmlns:a16="http://schemas.microsoft.com/office/drawing/2014/main" id="{A28E0BAE-74D1-4970-9507-A7E7D1712C4D}"/>
                </a:ext>
              </a:extLst>
            </p:cNvPr>
            <p:cNvSpPr/>
            <p:nvPr/>
          </p:nvSpPr>
          <p:spPr>
            <a:xfrm>
              <a:off x="3427696" y="4185202"/>
              <a:ext cx="10176" cy="15515"/>
            </a:xfrm>
            <a:custGeom>
              <a:avLst/>
              <a:gdLst>
                <a:gd name="connsiteX0" fmla="*/ 4408 w 11200"/>
                <a:gd name="connsiteY0" fmla="*/ 276 h 17078"/>
                <a:gd name="connsiteX1" fmla="*/ 11119 w 11200"/>
                <a:gd name="connsiteY1" fmla="*/ 5851 h 17078"/>
                <a:gd name="connsiteX2" fmla="*/ 11119 w 11200"/>
                <a:gd name="connsiteY2" fmla="*/ 15226 h 17078"/>
                <a:gd name="connsiteX3" fmla="*/ 4408 w 11200"/>
                <a:gd name="connsiteY3" fmla="*/ 17052 h 17078"/>
                <a:gd name="connsiteX4" fmla="*/ -82 w 11200"/>
                <a:gd name="connsiteY4" fmla="*/ 5851 h 17078"/>
                <a:gd name="connsiteX5" fmla="*/ 4408 w 11200"/>
                <a:gd name="connsiteY5" fmla="*/ 276 h 17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00" h="17078">
                  <a:moveTo>
                    <a:pt x="4408" y="276"/>
                  </a:moveTo>
                  <a:lnTo>
                    <a:pt x="11119" y="5851"/>
                  </a:lnTo>
                  <a:lnTo>
                    <a:pt x="11119" y="15226"/>
                  </a:lnTo>
                  <a:lnTo>
                    <a:pt x="4408" y="17052"/>
                  </a:lnTo>
                  <a:lnTo>
                    <a:pt x="-82" y="5851"/>
                  </a:lnTo>
                  <a:cubicBezTo>
                    <a:pt x="-82" y="5851"/>
                    <a:pt x="4408" y="-1599"/>
                    <a:pt x="4408" y="276"/>
                  </a:cubicBez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Graphic 2">
              <a:extLst>
                <a:ext uri="{FF2B5EF4-FFF2-40B4-BE49-F238E27FC236}">
                  <a16:creationId xmlns:a16="http://schemas.microsoft.com/office/drawing/2014/main" id="{EE3CFD78-09A4-4188-AFED-38A46E98C4E3}"/>
                </a:ext>
              </a:extLst>
            </p:cNvPr>
            <p:cNvSpPr/>
            <p:nvPr/>
          </p:nvSpPr>
          <p:spPr>
            <a:xfrm>
              <a:off x="5856079" y="3592943"/>
              <a:ext cx="37336" cy="21964"/>
            </a:xfrm>
            <a:custGeom>
              <a:avLst/>
              <a:gdLst>
                <a:gd name="connsiteX0" fmla="*/ 34204 w 41095"/>
                <a:gd name="connsiteY0" fmla="*/ 14874 h 24176"/>
                <a:gd name="connsiteX1" fmla="*/ 34204 w 41095"/>
                <a:gd name="connsiteY1" fmla="*/ 14874 h 24176"/>
                <a:gd name="connsiteX2" fmla="*/ 34204 w 41095"/>
                <a:gd name="connsiteY2" fmla="*/ 14874 h 24176"/>
                <a:gd name="connsiteX3" fmla="*/ 34204 w 41095"/>
                <a:gd name="connsiteY3" fmla="*/ 15121 h 24176"/>
                <a:gd name="connsiteX4" fmla="*/ 34204 w 41095"/>
                <a:gd name="connsiteY4" fmla="*/ 15121 h 24176"/>
                <a:gd name="connsiteX5" fmla="*/ 34204 w 41095"/>
                <a:gd name="connsiteY5" fmla="*/ 14825 h 24176"/>
                <a:gd name="connsiteX6" fmla="*/ 34204 w 41095"/>
                <a:gd name="connsiteY6" fmla="*/ 14825 h 24176"/>
                <a:gd name="connsiteX7" fmla="*/ 34550 w 41095"/>
                <a:gd name="connsiteY7" fmla="*/ 14825 h 24176"/>
                <a:gd name="connsiteX8" fmla="*/ 34550 w 41095"/>
                <a:gd name="connsiteY8" fmla="*/ 14825 h 24176"/>
                <a:gd name="connsiteX9" fmla="*/ 34550 w 41095"/>
                <a:gd name="connsiteY9" fmla="*/ 14825 h 24176"/>
                <a:gd name="connsiteX10" fmla="*/ 34550 w 41095"/>
                <a:gd name="connsiteY10" fmla="*/ 14825 h 24176"/>
                <a:gd name="connsiteX11" fmla="*/ 34550 w 41095"/>
                <a:gd name="connsiteY11" fmla="*/ 14825 h 24176"/>
                <a:gd name="connsiteX12" fmla="*/ 34550 w 41095"/>
                <a:gd name="connsiteY12" fmla="*/ 14825 h 24176"/>
                <a:gd name="connsiteX13" fmla="*/ 34550 w 41095"/>
                <a:gd name="connsiteY13" fmla="*/ 14825 h 24176"/>
                <a:gd name="connsiteX14" fmla="*/ 34550 w 41095"/>
                <a:gd name="connsiteY14" fmla="*/ 14825 h 24176"/>
                <a:gd name="connsiteX15" fmla="*/ 34796 w 41095"/>
                <a:gd name="connsiteY15" fmla="*/ 14825 h 24176"/>
                <a:gd name="connsiteX16" fmla="*/ 34155 w 41095"/>
                <a:gd name="connsiteY16" fmla="*/ 14529 h 24176"/>
                <a:gd name="connsiteX17" fmla="*/ 33563 w 41095"/>
                <a:gd name="connsiteY17" fmla="*/ 14134 h 24176"/>
                <a:gd name="connsiteX18" fmla="*/ 32428 w 41095"/>
                <a:gd name="connsiteY18" fmla="*/ 14134 h 24176"/>
                <a:gd name="connsiteX19" fmla="*/ 32428 w 41095"/>
                <a:gd name="connsiteY19" fmla="*/ 14134 h 24176"/>
                <a:gd name="connsiteX20" fmla="*/ 31935 w 41095"/>
                <a:gd name="connsiteY20" fmla="*/ 14134 h 24176"/>
                <a:gd name="connsiteX21" fmla="*/ 31195 w 41095"/>
                <a:gd name="connsiteY21" fmla="*/ 13789 h 24176"/>
                <a:gd name="connsiteX22" fmla="*/ 31195 w 41095"/>
                <a:gd name="connsiteY22" fmla="*/ 13789 h 24176"/>
                <a:gd name="connsiteX23" fmla="*/ 31195 w 41095"/>
                <a:gd name="connsiteY23" fmla="*/ 13542 h 24176"/>
                <a:gd name="connsiteX24" fmla="*/ 31195 w 41095"/>
                <a:gd name="connsiteY24" fmla="*/ 13098 h 24176"/>
                <a:gd name="connsiteX25" fmla="*/ 31195 w 41095"/>
                <a:gd name="connsiteY25" fmla="*/ 13098 h 24176"/>
                <a:gd name="connsiteX26" fmla="*/ 30899 w 41095"/>
                <a:gd name="connsiteY26" fmla="*/ 13098 h 24176"/>
                <a:gd name="connsiteX27" fmla="*/ 30899 w 41095"/>
                <a:gd name="connsiteY27" fmla="*/ 12802 h 24176"/>
                <a:gd name="connsiteX28" fmla="*/ 30899 w 41095"/>
                <a:gd name="connsiteY28" fmla="*/ 12802 h 24176"/>
                <a:gd name="connsiteX29" fmla="*/ 30504 w 41095"/>
                <a:gd name="connsiteY29" fmla="*/ 12407 h 24176"/>
                <a:gd name="connsiteX30" fmla="*/ 30208 w 41095"/>
                <a:gd name="connsiteY30" fmla="*/ 12407 h 24176"/>
                <a:gd name="connsiteX31" fmla="*/ 29764 w 41095"/>
                <a:gd name="connsiteY31" fmla="*/ 12407 h 24176"/>
                <a:gd name="connsiteX32" fmla="*/ 29418 w 41095"/>
                <a:gd name="connsiteY32" fmla="*/ 12407 h 24176"/>
                <a:gd name="connsiteX33" fmla="*/ 28579 w 41095"/>
                <a:gd name="connsiteY33" fmla="*/ 12999 h 24176"/>
                <a:gd name="connsiteX34" fmla="*/ 28579 w 41095"/>
                <a:gd name="connsiteY34" fmla="*/ 12999 h 24176"/>
                <a:gd name="connsiteX35" fmla="*/ 28579 w 41095"/>
                <a:gd name="connsiteY35" fmla="*/ 12604 h 24176"/>
                <a:gd name="connsiteX36" fmla="*/ 28579 w 41095"/>
                <a:gd name="connsiteY36" fmla="*/ 12259 h 24176"/>
                <a:gd name="connsiteX37" fmla="*/ 28579 w 41095"/>
                <a:gd name="connsiteY37" fmla="*/ 11766 h 24176"/>
                <a:gd name="connsiteX38" fmla="*/ 27543 w 41095"/>
                <a:gd name="connsiteY38" fmla="*/ 12407 h 24176"/>
                <a:gd name="connsiteX39" fmla="*/ 27050 w 41095"/>
                <a:gd name="connsiteY39" fmla="*/ 12654 h 24176"/>
                <a:gd name="connsiteX40" fmla="*/ 26656 w 41095"/>
                <a:gd name="connsiteY40" fmla="*/ 12654 h 24176"/>
                <a:gd name="connsiteX41" fmla="*/ 26162 w 41095"/>
                <a:gd name="connsiteY41" fmla="*/ 12654 h 24176"/>
                <a:gd name="connsiteX42" fmla="*/ 24583 w 41095"/>
                <a:gd name="connsiteY42" fmla="*/ 12950 h 24176"/>
                <a:gd name="connsiteX43" fmla="*/ 23843 w 41095"/>
                <a:gd name="connsiteY43" fmla="*/ 12950 h 24176"/>
                <a:gd name="connsiteX44" fmla="*/ 23843 w 41095"/>
                <a:gd name="connsiteY44" fmla="*/ 12555 h 24176"/>
                <a:gd name="connsiteX45" fmla="*/ 24336 w 41095"/>
                <a:gd name="connsiteY45" fmla="*/ 11618 h 24176"/>
                <a:gd name="connsiteX46" fmla="*/ 24583 w 41095"/>
                <a:gd name="connsiteY46" fmla="*/ 11618 h 24176"/>
                <a:gd name="connsiteX47" fmla="*/ 25076 w 41095"/>
                <a:gd name="connsiteY47" fmla="*/ 11618 h 24176"/>
                <a:gd name="connsiteX48" fmla="*/ 25076 w 41095"/>
                <a:gd name="connsiteY48" fmla="*/ 11618 h 24176"/>
                <a:gd name="connsiteX49" fmla="*/ 25076 w 41095"/>
                <a:gd name="connsiteY49" fmla="*/ 11618 h 24176"/>
                <a:gd name="connsiteX50" fmla="*/ 25076 w 41095"/>
                <a:gd name="connsiteY50" fmla="*/ 11322 h 24176"/>
                <a:gd name="connsiteX51" fmla="*/ 25076 w 41095"/>
                <a:gd name="connsiteY51" fmla="*/ 11322 h 24176"/>
                <a:gd name="connsiteX52" fmla="*/ 25076 w 41095"/>
                <a:gd name="connsiteY52" fmla="*/ 11322 h 24176"/>
                <a:gd name="connsiteX53" fmla="*/ 24484 w 41095"/>
                <a:gd name="connsiteY53" fmla="*/ 11322 h 24176"/>
                <a:gd name="connsiteX54" fmla="*/ 24189 w 41095"/>
                <a:gd name="connsiteY54" fmla="*/ 11322 h 24176"/>
                <a:gd name="connsiteX55" fmla="*/ 24189 w 41095"/>
                <a:gd name="connsiteY55" fmla="*/ 11322 h 24176"/>
                <a:gd name="connsiteX56" fmla="*/ 23695 w 41095"/>
                <a:gd name="connsiteY56" fmla="*/ 11322 h 24176"/>
                <a:gd name="connsiteX57" fmla="*/ 23300 w 41095"/>
                <a:gd name="connsiteY57" fmla="*/ 11322 h 24176"/>
                <a:gd name="connsiteX58" fmla="*/ 21327 w 41095"/>
                <a:gd name="connsiteY58" fmla="*/ 11766 h 24176"/>
                <a:gd name="connsiteX59" fmla="*/ 17725 w 41095"/>
                <a:gd name="connsiteY59" fmla="*/ 11766 h 24176"/>
                <a:gd name="connsiteX60" fmla="*/ 17725 w 41095"/>
                <a:gd name="connsiteY60" fmla="*/ 11469 h 24176"/>
                <a:gd name="connsiteX61" fmla="*/ 17725 w 41095"/>
                <a:gd name="connsiteY61" fmla="*/ 11075 h 24176"/>
                <a:gd name="connsiteX62" fmla="*/ 18267 w 41095"/>
                <a:gd name="connsiteY62" fmla="*/ 10680 h 24176"/>
                <a:gd name="connsiteX63" fmla="*/ 19452 w 41095"/>
                <a:gd name="connsiteY63" fmla="*/ 9841 h 24176"/>
                <a:gd name="connsiteX64" fmla="*/ 20044 w 41095"/>
                <a:gd name="connsiteY64" fmla="*/ 9595 h 24176"/>
                <a:gd name="connsiteX65" fmla="*/ 20734 w 41095"/>
                <a:gd name="connsiteY65" fmla="*/ 9249 h 24176"/>
                <a:gd name="connsiteX66" fmla="*/ 20734 w 41095"/>
                <a:gd name="connsiteY66" fmla="*/ 9002 h 24176"/>
                <a:gd name="connsiteX67" fmla="*/ 20389 w 41095"/>
                <a:gd name="connsiteY67" fmla="*/ 8608 h 24176"/>
                <a:gd name="connsiteX68" fmla="*/ 19847 w 41095"/>
                <a:gd name="connsiteY68" fmla="*/ 8213 h 24176"/>
                <a:gd name="connsiteX69" fmla="*/ 19847 w 41095"/>
                <a:gd name="connsiteY69" fmla="*/ 8213 h 24176"/>
                <a:gd name="connsiteX70" fmla="*/ 19550 w 41095"/>
                <a:gd name="connsiteY70" fmla="*/ 8213 h 24176"/>
                <a:gd name="connsiteX71" fmla="*/ 19550 w 41095"/>
                <a:gd name="connsiteY71" fmla="*/ 8509 h 24176"/>
                <a:gd name="connsiteX72" fmla="*/ 19550 w 41095"/>
                <a:gd name="connsiteY72" fmla="*/ 8509 h 24176"/>
                <a:gd name="connsiteX73" fmla="*/ 19550 w 41095"/>
                <a:gd name="connsiteY73" fmla="*/ 8509 h 24176"/>
                <a:gd name="connsiteX74" fmla="*/ 19156 w 41095"/>
                <a:gd name="connsiteY74" fmla="*/ 8509 h 24176"/>
                <a:gd name="connsiteX75" fmla="*/ 18662 w 41095"/>
                <a:gd name="connsiteY75" fmla="*/ 8509 h 24176"/>
                <a:gd name="connsiteX76" fmla="*/ 18662 w 41095"/>
                <a:gd name="connsiteY76" fmla="*/ 8509 h 24176"/>
                <a:gd name="connsiteX77" fmla="*/ 18662 w 41095"/>
                <a:gd name="connsiteY77" fmla="*/ 8509 h 24176"/>
                <a:gd name="connsiteX78" fmla="*/ 18662 w 41095"/>
                <a:gd name="connsiteY78" fmla="*/ 8855 h 24176"/>
                <a:gd name="connsiteX79" fmla="*/ 18662 w 41095"/>
                <a:gd name="connsiteY79" fmla="*/ 8855 h 24176"/>
                <a:gd name="connsiteX80" fmla="*/ 18218 w 41095"/>
                <a:gd name="connsiteY80" fmla="*/ 8855 h 24176"/>
                <a:gd name="connsiteX81" fmla="*/ 18218 w 41095"/>
                <a:gd name="connsiteY81" fmla="*/ 8855 h 24176"/>
                <a:gd name="connsiteX82" fmla="*/ 17725 w 41095"/>
                <a:gd name="connsiteY82" fmla="*/ 8855 h 24176"/>
                <a:gd name="connsiteX83" fmla="*/ 17380 w 41095"/>
                <a:gd name="connsiteY83" fmla="*/ 8855 h 24176"/>
                <a:gd name="connsiteX84" fmla="*/ 16886 w 41095"/>
                <a:gd name="connsiteY84" fmla="*/ 8855 h 24176"/>
                <a:gd name="connsiteX85" fmla="*/ 16541 w 41095"/>
                <a:gd name="connsiteY85" fmla="*/ 8855 h 24176"/>
                <a:gd name="connsiteX86" fmla="*/ 16541 w 41095"/>
                <a:gd name="connsiteY86" fmla="*/ 8855 h 24176"/>
                <a:gd name="connsiteX87" fmla="*/ 16541 w 41095"/>
                <a:gd name="connsiteY87" fmla="*/ 8855 h 24176"/>
                <a:gd name="connsiteX88" fmla="*/ 16935 w 41095"/>
                <a:gd name="connsiteY88" fmla="*/ 8855 h 24176"/>
                <a:gd name="connsiteX89" fmla="*/ 16935 w 41095"/>
                <a:gd name="connsiteY89" fmla="*/ 9151 h 24176"/>
                <a:gd name="connsiteX90" fmla="*/ 16639 w 41095"/>
                <a:gd name="connsiteY90" fmla="*/ 9151 h 24176"/>
                <a:gd name="connsiteX91" fmla="*/ 16294 w 41095"/>
                <a:gd name="connsiteY91" fmla="*/ 9151 h 24176"/>
                <a:gd name="connsiteX92" fmla="*/ 15998 w 41095"/>
                <a:gd name="connsiteY92" fmla="*/ 9151 h 24176"/>
                <a:gd name="connsiteX93" fmla="*/ 15505 w 41095"/>
                <a:gd name="connsiteY93" fmla="*/ 9743 h 24176"/>
                <a:gd name="connsiteX94" fmla="*/ 16393 w 41095"/>
                <a:gd name="connsiteY94" fmla="*/ 10236 h 24176"/>
                <a:gd name="connsiteX95" fmla="*/ 17281 w 41095"/>
                <a:gd name="connsiteY95" fmla="*/ 10236 h 24176"/>
                <a:gd name="connsiteX96" fmla="*/ 17281 w 41095"/>
                <a:gd name="connsiteY96" fmla="*/ 10532 h 24176"/>
                <a:gd name="connsiteX97" fmla="*/ 17281 w 41095"/>
                <a:gd name="connsiteY97" fmla="*/ 10779 h 24176"/>
                <a:gd name="connsiteX98" fmla="*/ 17281 w 41095"/>
                <a:gd name="connsiteY98" fmla="*/ 10779 h 24176"/>
                <a:gd name="connsiteX99" fmla="*/ 17675 w 41095"/>
                <a:gd name="connsiteY99" fmla="*/ 10779 h 24176"/>
                <a:gd name="connsiteX100" fmla="*/ 17675 w 41095"/>
                <a:gd name="connsiteY100" fmla="*/ 10779 h 24176"/>
                <a:gd name="connsiteX101" fmla="*/ 17675 w 41095"/>
                <a:gd name="connsiteY101" fmla="*/ 11322 h 24176"/>
                <a:gd name="connsiteX102" fmla="*/ 17675 w 41095"/>
                <a:gd name="connsiteY102" fmla="*/ 11667 h 24176"/>
                <a:gd name="connsiteX103" fmla="*/ 17281 w 41095"/>
                <a:gd name="connsiteY103" fmla="*/ 12407 h 24176"/>
                <a:gd name="connsiteX104" fmla="*/ 17281 w 41095"/>
                <a:gd name="connsiteY104" fmla="*/ 12407 h 24176"/>
                <a:gd name="connsiteX105" fmla="*/ 16738 w 41095"/>
                <a:gd name="connsiteY105" fmla="*/ 12703 h 24176"/>
                <a:gd name="connsiteX106" fmla="*/ 17182 w 41095"/>
                <a:gd name="connsiteY106" fmla="*/ 13098 h 24176"/>
                <a:gd name="connsiteX107" fmla="*/ 17725 w 41095"/>
                <a:gd name="connsiteY107" fmla="*/ 13344 h 24176"/>
                <a:gd name="connsiteX108" fmla="*/ 18169 w 41095"/>
                <a:gd name="connsiteY108" fmla="*/ 13344 h 24176"/>
                <a:gd name="connsiteX109" fmla="*/ 18169 w 41095"/>
                <a:gd name="connsiteY109" fmla="*/ 13344 h 24176"/>
                <a:gd name="connsiteX110" fmla="*/ 18169 w 41095"/>
                <a:gd name="connsiteY110" fmla="*/ 13591 h 24176"/>
                <a:gd name="connsiteX111" fmla="*/ 18169 w 41095"/>
                <a:gd name="connsiteY111" fmla="*/ 13591 h 24176"/>
                <a:gd name="connsiteX112" fmla="*/ 18169 w 41095"/>
                <a:gd name="connsiteY112" fmla="*/ 13591 h 24176"/>
                <a:gd name="connsiteX113" fmla="*/ 17725 w 41095"/>
                <a:gd name="connsiteY113" fmla="*/ 13591 h 24176"/>
                <a:gd name="connsiteX114" fmla="*/ 18021 w 41095"/>
                <a:gd name="connsiteY114" fmla="*/ 13591 h 24176"/>
                <a:gd name="connsiteX115" fmla="*/ 18021 w 41095"/>
                <a:gd name="connsiteY115" fmla="*/ 13937 h 24176"/>
                <a:gd name="connsiteX116" fmla="*/ 17626 w 41095"/>
                <a:gd name="connsiteY116" fmla="*/ 13937 h 24176"/>
                <a:gd name="connsiteX117" fmla="*/ 17232 w 41095"/>
                <a:gd name="connsiteY117" fmla="*/ 13937 h 24176"/>
                <a:gd name="connsiteX118" fmla="*/ 16935 w 41095"/>
                <a:gd name="connsiteY118" fmla="*/ 13937 h 24176"/>
                <a:gd name="connsiteX119" fmla="*/ 16935 w 41095"/>
                <a:gd name="connsiteY119" fmla="*/ 13937 h 24176"/>
                <a:gd name="connsiteX120" fmla="*/ 16935 w 41095"/>
                <a:gd name="connsiteY120" fmla="*/ 14775 h 24176"/>
                <a:gd name="connsiteX121" fmla="*/ 17380 w 41095"/>
                <a:gd name="connsiteY121" fmla="*/ 15664 h 24176"/>
                <a:gd name="connsiteX122" fmla="*/ 16836 w 41095"/>
                <a:gd name="connsiteY122" fmla="*/ 15664 h 24176"/>
                <a:gd name="connsiteX123" fmla="*/ 16146 w 41095"/>
                <a:gd name="connsiteY123" fmla="*/ 15664 h 24176"/>
                <a:gd name="connsiteX124" fmla="*/ 16146 w 41095"/>
                <a:gd name="connsiteY124" fmla="*/ 15664 h 24176"/>
                <a:gd name="connsiteX125" fmla="*/ 16146 w 41095"/>
                <a:gd name="connsiteY125" fmla="*/ 16206 h 24176"/>
                <a:gd name="connsiteX126" fmla="*/ 16146 w 41095"/>
                <a:gd name="connsiteY126" fmla="*/ 16848 h 24176"/>
                <a:gd name="connsiteX127" fmla="*/ 16442 w 41095"/>
                <a:gd name="connsiteY127" fmla="*/ 17193 h 24176"/>
                <a:gd name="connsiteX128" fmla="*/ 16442 w 41095"/>
                <a:gd name="connsiteY128" fmla="*/ 17637 h 24176"/>
                <a:gd name="connsiteX129" fmla="*/ 16442 w 41095"/>
                <a:gd name="connsiteY129" fmla="*/ 18131 h 24176"/>
                <a:gd name="connsiteX130" fmla="*/ 16689 w 41095"/>
                <a:gd name="connsiteY130" fmla="*/ 18772 h 24176"/>
                <a:gd name="connsiteX131" fmla="*/ 17133 w 41095"/>
                <a:gd name="connsiteY131" fmla="*/ 19167 h 24176"/>
                <a:gd name="connsiteX132" fmla="*/ 17428 w 41095"/>
                <a:gd name="connsiteY132" fmla="*/ 19167 h 24176"/>
                <a:gd name="connsiteX133" fmla="*/ 18070 w 41095"/>
                <a:gd name="connsiteY133" fmla="*/ 19167 h 24176"/>
                <a:gd name="connsiteX134" fmla="*/ 18416 w 41095"/>
                <a:gd name="connsiteY134" fmla="*/ 19167 h 24176"/>
                <a:gd name="connsiteX135" fmla="*/ 18416 w 41095"/>
                <a:gd name="connsiteY135" fmla="*/ 19463 h 24176"/>
                <a:gd name="connsiteX136" fmla="*/ 18416 w 41095"/>
                <a:gd name="connsiteY136" fmla="*/ 19463 h 24176"/>
                <a:gd name="connsiteX137" fmla="*/ 18416 w 41095"/>
                <a:gd name="connsiteY137" fmla="*/ 19463 h 24176"/>
                <a:gd name="connsiteX138" fmla="*/ 18711 w 41095"/>
                <a:gd name="connsiteY138" fmla="*/ 19463 h 24176"/>
                <a:gd name="connsiteX139" fmla="*/ 19106 w 41095"/>
                <a:gd name="connsiteY139" fmla="*/ 19808 h 24176"/>
                <a:gd name="connsiteX140" fmla="*/ 19699 w 41095"/>
                <a:gd name="connsiteY140" fmla="*/ 20301 h 24176"/>
                <a:gd name="connsiteX141" fmla="*/ 20142 w 41095"/>
                <a:gd name="connsiteY141" fmla="*/ 20301 h 24176"/>
                <a:gd name="connsiteX142" fmla="*/ 20586 w 41095"/>
                <a:gd name="connsiteY142" fmla="*/ 20598 h 24176"/>
                <a:gd name="connsiteX143" fmla="*/ 21178 w 41095"/>
                <a:gd name="connsiteY143" fmla="*/ 20894 h 24176"/>
                <a:gd name="connsiteX144" fmla="*/ 21475 w 41095"/>
                <a:gd name="connsiteY144" fmla="*/ 20894 h 24176"/>
                <a:gd name="connsiteX145" fmla="*/ 21770 w 41095"/>
                <a:gd name="connsiteY145" fmla="*/ 20894 h 24176"/>
                <a:gd name="connsiteX146" fmla="*/ 22412 w 41095"/>
                <a:gd name="connsiteY146" fmla="*/ 21190 h 24176"/>
                <a:gd name="connsiteX147" fmla="*/ 22807 w 41095"/>
                <a:gd name="connsiteY147" fmla="*/ 21634 h 24176"/>
                <a:gd name="connsiteX148" fmla="*/ 22807 w 41095"/>
                <a:gd name="connsiteY148" fmla="*/ 21634 h 24176"/>
                <a:gd name="connsiteX149" fmla="*/ 22807 w 41095"/>
                <a:gd name="connsiteY149" fmla="*/ 21634 h 24176"/>
                <a:gd name="connsiteX150" fmla="*/ 23152 w 41095"/>
                <a:gd name="connsiteY150" fmla="*/ 21634 h 24176"/>
                <a:gd name="connsiteX151" fmla="*/ 23695 w 41095"/>
                <a:gd name="connsiteY151" fmla="*/ 21634 h 24176"/>
                <a:gd name="connsiteX152" fmla="*/ 24189 w 41095"/>
                <a:gd name="connsiteY152" fmla="*/ 21634 h 24176"/>
                <a:gd name="connsiteX153" fmla="*/ 24484 w 41095"/>
                <a:gd name="connsiteY153" fmla="*/ 21930 h 24176"/>
                <a:gd name="connsiteX154" fmla="*/ 25373 w 41095"/>
                <a:gd name="connsiteY154" fmla="*/ 22472 h 24176"/>
                <a:gd name="connsiteX155" fmla="*/ 25866 w 41095"/>
                <a:gd name="connsiteY155" fmla="*/ 22472 h 24176"/>
                <a:gd name="connsiteX156" fmla="*/ 26211 w 41095"/>
                <a:gd name="connsiteY156" fmla="*/ 22472 h 24176"/>
                <a:gd name="connsiteX157" fmla="*/ 26704 w 41095"/>
                <a:gd name="connsiteY157" fmla="*/ 22472 h 24176"/>
                <a:gd name="connsiteX158" fmla="*/ 27050 w 41095"/>
                <a:gd name="connsiteY158" fmla="*/ 22472 h 24176"/>
                <a:gd name="connsiteX159" fmla="*/ 27445 w 41095"/>
                <a:gd name="connsiteY159" fmla="*/ 22472 h 24176"/>
                <a:gd name="connsiteX160" fmla="*/ 27445 w 41095"/>
                <a:gd name="connsiteY160" fmla="*/ 22472 h 24176"/>
                <a:gd name="connsiteX161" fmla="*/ 27445 w 41095"/>
                <a:gd name="connsiteY161" fmla="*/ 22472 h 24176"/>
                <a:gd name="connsiteX162" fmla="*/ 28432 w 41095"/>
                <a:gd name="connsiteY162" fmla="*/ 22472 h 24176"/>
                <a:gd name="connsiteX163" fmla="*/ 28432 w 41095"/>
                <a:gd name="connsiteY163" fmla="*/ 22472 h 24176"/>
                <a:gd name="connsiteX164" fmla="*/ 28432 w 41095"/>
                <a:gd name="connsiteY164" fmla="*/ 22472 h 24176"/>
                <a:gd name="connsiteX165" fmla="*/ 28432 w 41095"/>
                <a:gd name="connsiteY165" fmla="*/ 22472 h 24176"/>
                <a:gd name="connsiteX166" fmla="*/ 28826 w 41095"/>
                <a:gd name="connsiteY166" fmla="*/ 22472 h 24176"/>
                <a:gd name="connsiteX167" fmla="*/ 28826 w 41095"/>
                <a:gd name="connsiteY167" fmla="*/ 22472 h 24176"/>
                <a:gd name="connsiteX168" fmla="*/ 28826 w 41095"/>
                <a:gd name="connsiteY168" fmla="*/ 22472 h 24176"/>
                <a:gd name="connsiteX169" fmla="*/ 29171 w 41095"/>
                <a:gd name="connsiteY169" fmla="*/ 22472 h 24176"/>
                <a:gd name="connsiteX170" fmla="*/ 30010 w 41095"/>
                <a:gd name="connsiteY170" fmla="*/ 22472 h 24176"/>
                <a:gd name="connsiteX171" fmla="*/ 30405 w 41095"/>
                <a:gd name="connsiteY171" fmla="*/ 22472 h 24176"/>
                <a:gd name="connsiteX172" fmla="*/ 31046 w 41095"/>
                <a:gd name="connsiteY172" fmla="*/ 22472 h 24176"/>
                <a:gd name="connsiteX173" fmla="*/ 31935 w 41095"/>
                <a:gd name="connsiteY173" fmla="*/ 22472 h 24176"/>
                <a:gd name="connsiteX174" fmla="*/ 32428 w 41095"/>
                <a:gd name="connsiteY174" fmla="*/ 22472 h 24176"/>
                <a:gd name="connsiteX175" fmla="*/ 32823 w 41095"/>
                <a:gd name="connsiteY175" fmla="*/ 22472 h 24176"/>
                <a:gd name="connsiteX176" fmla="*/ 33366 w 41095"/>
                <a:gd name="connsiteY176" fmla="*/ 22472 h 24176"/>
                <a:gd name="connsiteX177" fmla="*/ 33366 w 41095"/>
                <a:gd name="connsiteY177" fmla="*/ 22472 h 24176"/>
                <a:gd name="connsiteX178" fmla="*/ 35931 w 41095"/>
                <a:gd name="connsiteY178" fmla="*/ 22472 h 24176"/>
                <a:gd name="connsiteX179" fmla="*/ 36425 w 41095"/>
                <a:gd name="connsiteY179" fmla="*/ 22472 h 24176"/>
                <a:gd name="connsiteX180" fmla="*/ 36425 w 41095"/>
                <a:gd name="connsiteY180" fmla="*/ 22472 h 24176"/>
                <a:gd name="connsiteX181" fmla="*/ 36770 w 41095"/>
                <a:gd name="connsiteY181" fmla="*/ 22472 h 24176"/>
                <a:gd name="connsiteX182" fmla="*/ 36770 w 41095"/>
                <a:gd name="connsiteY182" fmla="*/ 22472 h 24176"/>
                <a:gd name="connsiteX183" fmla="*/ 36770 w 41095"/>
                <a:gd name="connsiteY183" fmla="*/ 22226 h 24176"/>
                <a:gd name="connsiteX184" fmla="*/ 37017 w 41095"/>
                <a:gd name="connsiteY184" fmla="*/ 22226 h 24176"/>
                <a:gd name="connsiteX185" fmla="*/ 37017 w 41095"/>
                <a:gd name="connsiteY185" fmla="*/ 22226 h 24176"/>
                <a:gd name="connsiteX186" fmla="*/ 36326 w 41095"/>
                <a:gd name="connsiteY186" fmla="*/ 22226 h 24176"/>
                <a:gd name="connsiteX187" fmla="*/ 36326 w 41095"/>
                <a:gd name="connsiteY187" fmla="*/ 22522 h 24176"/>
                <a:gd name="connsiteX188" fmla="*/ 35931 w 41095"/>
                <a:gd name="connsiteY188" fmla="*/ 22522 h 24176"/>
                <a:gd name="connsiteX189" fmla="*/ 35388 w 41095"/>
                <a:gd name="connsiteY189" fmla="*/ 22522 h 24176"/>
                <a:gd name="connsiteX190" fmla="*/ 35093 w 41095"/>
                <a:gd name="connsiteY190" fmla="*/ 22522 h 24176"/>
                <a:gd name="connsiteX191" fmla="*/ 35093 w 41095"/>
                <a:gd name="connsiteY191" fmla="*/ 21979 h 24176"/>
                <a:gd name="connsiteX192" fmla="*/ 35093 w 41095"/>
                <a:gd name="connsiteY192" fmla="*/ 21979 h 24176"/>
                <a:gd name="connsiteX193" fmla="*/ 35093 w 41095"/>
                <a:gd name="connsiteY193" fmla="*/ 21979 h 24176"/>
                <a:gd name="connsiteX194" fmla="*/ 36030 w 41095"/>
                <a:gd name="connsiteY194" fmla="*/ 21979 h 24176"/>
                <a:gd name="connsiteX195" fmla="*/ 36030 w 41095"/>
                <a:gd name="connsiteY195" fmla="*/ 21979 h 24176"/>
                <a:gd name="connsiteX196" fmla="*/ 36425 w 41095"/>
                <a:gd name="connsiteY196" fmla="*/ 21979 h 24176"/>
                <a:gd name="connsiteX197" fmla="*/ 36425 w 41095"/>
                <a:gd name="connsiteY197" fmla="*/ 21683 h 24176"/>
                <a:gd name="connsiteX198" fmla="*/ 36425 w 41095"/>
                <a:gd name="connsiteY198" fmla="*/ 21683 h 24176"/>
                <a:gd name="connsiteX199" fmla="*/ 36425 w 41095"/>
                <a:gd name="connsiteY199" fmla="*/ 21683 h 24176"/>
                <a:gd name="connsiteX200" fmla="*/ 36425 w 41095"/>
                <a:gd name="connsiteY200" fmla="*/ 21140 h 24176"/>
                <a:gd name="connsiteX201" fmla="*/ 37165 w 41095"/>
                <a:gd name="connsiteY201" fmla="*/ 21683 h 24176"/>
                <a:gd name="connsiteX202" fmla="*/ 37165 w 41095"/>
                <a:gd name="connsiteY202" fmla="*/ 21979 h 24176"/>
                <a:gd name="connsiteX203" fmla="*/ 37165 w 41095"/>
                <a:gd name="connsiteY203" fmla="*/ 22324 h 24176"/>
                <a:gd name="connsiteX204" fmla="*/ 37165 w 41095"/>
                <a:gd name="connsiteY204" fmla="*/ 22324 h 24176"/>
                <a:gd name="connsiteX205" fmla="*/ 37165 w 41095"/>
                <a:gd name="connsiteY205" fmla="*/ 22324 h 24176"/>
                <a:gd name="connsiteX206" fmla="*/ 37165 w 41095"/>
                <a:gd name="connsiteY206" fmla="*/ 22719 h 24176"/>
                <a:gd name="connsiteX207" fmla="*/ 37165 w 41095"/>
                <a:gd name="connsiteY207" fmla="*/ 23015 h 24176"/>
                <a:gd name="connsiteX208" fmla="*/ 37510 w 41095"/>
                <a:gd name="connsiteY208" fmla="*/ 23015 h 24176"/>
                <a:gd name="connsiteX209" fmla="*/ 37510 w 41095"/>
                <a:gd name="connsiteY209" fmla="*/ 23015 h 24176"/>
                <a:gd name="connsiteX210" fmla="*/ 37510 w 41095"/>
                <a:gd name="connsiteY210" fmla="*/ 23015 h 24176"/>
                <a:gd name="connsiteX211" fmla="*/ 37510 w 41095"/>
                <a:gd name="connsiteY211" fmla="*/ 23015 h 24176"/>
                <a:gd name="connsiteX212" fmla="*/ 37806 w 41095"/>
                <a:gd name="connsiteY212" fmla="*/ 23015 h 24176"/>
                <a:gd name="connsiteX213" fmla="*/ 37806 w 41095"/>
                <a:gd name="connsiteY213" fmla="*/ 22670 h 24176"/>
                <a:gd name="connsiteX214" fmla="*/ 37806 w 41095"/>
                <a:gd name="connsiteY214" fmla="*/ 22275 h 24176"/>
                <a:gd name="connsiteX215" fmla="*/ 37806 w 41095"/>
                <a:gd name="connsiteY215" fmla="*/ 22275 h 24176"/>
                <a:gd name="connsiteX216" fmla="*/ 37806 w 41095"/>
                <a:gd name="connsiteY216" fmla="*/ 22275 h 24176"/>
                <a:gd name="connsiteX217" fmla="*/ 37806 w 41095"/>
                <a:gd name="connsiteY217" fmla="*/ 22275 h 24176"/>
                <a:gd name="connsiteX218" fmla="*/ 37806 w 41095"/>
                <a:gd name="connsiteY218" fmla="*/ 22275 h 24176"/>
                <a:gd name="connsiteX219" fmla="*/ 37806 w 41095"/>
                <a:gd name="connsiteY219" fmla="*/ 22028 h 24176"/>
                <a:gd name="connsiteX220" fmla="*/ 38398 w 41095"/>
                <a:gd name="connsiteY220" fmla="*/ 22028 h 24176"/>
                <a:gd name="connsiteX221" fmla="*/ 38793 w 41095"/>
                <a:gd name="connsiteY221" fmla="*/ 22028 h 24176"/>
                <a:gd name="connsiteX222" fmla="*/ 38793 w 41095"/>
                <a:gd name="connsiteY222" fmla="*/ 21732 h 24176"/>
                <a:gd name="connsiteX223" fmla="*/ 38546 w 41095"/>
                <a:gd name="connsiteY223" fmla="*/ 21732 h 24176"/>
                <a:gd name="connsiteX224" fmla="*/ 38546 w 41095"/>
                <a:gd name="connsiteY224" fmla="*/ 21140 h 24176"/>
                <a:gd name="connsiteX225" fmla="*/ 38053 w 41095"/>
                <a:gd name="connsiteY225" fmla="*/ 21140 h 24176"/>
                <a:gd name="connsiteX226" fmla="*/ 38053 w 41095"/>
                <a:gd name="connsiteY226" fmla="*/ 20696 h 24176"/>
                <a:gd name="connsiteX227" fmla="*/ 38053 w 41095"/>
                <a:gd name="connsiteY227" fmla="*/ 20696 h 24176"/>
                <a:gd name="connsiteX228" fmla="*/ 38300 w 41095"/>
                <a:gd name="connsiteY228" fmla="*/ 20696 h 24176"/>
                <a:gd name="connsiteX229" fmla="*/ 38300 w 41095"/>
                <a:gd name="connsiteY229" fmla="*/ 20696 h 24176"/>
                <a:gd name="connsiteX230" fmla="*/ 38645 w 41095"/>
                <a:gd name="connsiteY230" fmla="*/ 20696 h 24176"/>
                <a:gd name="connsiteX231" fmla="*/ 38645 w 41095"/>
                <a:gd name="connsiteY231" fmla="*/ 20696 h 24176"/>
                <a:gd name="connsiteX232" fmla="*/ 38251 w 41095"/>
                <a:gd name="connsiteY232" fmla="*/ 20696 h 24176"/>
                <a:gd name="connsiteX233" fmla="*/ 37855 w 41095"/>
                <a:gd name="connsiteY233" fmla="*/ 20696 h 24176"/>
                <a:gd name="connsiteX234" fmla="*/ 37214 w 41095"/>
                <a:gd name="connsiteY234" fmla="*/ 20696 h 24176"/>
                <a:gd name="connsiteX235" fmla="*/ 37214 w 41095"/>
                <a:gd name="connsiteY235" fmla="*/ 20696 h 24176"/>
                <a:gd name="connsiteX236" fmla="*/ 37214 w 41095"/>
                <a:gd name="connsiteY236" fmla="*/ 20696 h 24176"/>
                <a:gd name="connsiteX237" fmla="*/ 37708 w 41095"/>
                <a:gd name="connsiteY237" fmla="*/ 20696 h 24176"/>
                <a:gd name="connsiteX238" fmla="*/ 37708 w 41095"/>
                <a:gd name="connsiteY238" fmla="*/ 20696 h 24176"/>
                <a:gd name="connsiteX239" fmla="*/ 37708 w 41095"/>
                <a:gd name="connsiteY239" fmla="*/ 20696 h 24176"/>
                <a:gd name="connsiteX240" fmla="*/ 36524 w 41095"/>
                <a:gd name="connsiteY240" fmla="*/ 19611 h 24176"/>
                <a:gd name="connsiteX241" fmla="*/ 35685 w 41095"/>
                <a:gd name="connsiteY241" fmla="*/ 19019 h 24176"/>
                <a:gd name="connsiteX242" fmla="*/ 35043 w 41095"/>
                <a:gd name="connsiteY242" fmla="*/ 18575 h 24176"/>
                <a:gd name="connsiteX243" fmla="*/ 34649 w 41095"/>
                <a:gd name="connsiteY243" fmla="*/ 18278 h 24176"/>
                <a:gd name="connsiteX244" fmla="*/ 33760 w 41095"/>
                <a:gd name="connsiteY244" fmla="*/ 17933 h 24176"/>
                <a:gd name="connsiteX245" fmla="*/ 33760 w 41095"/>
                <a:gd name="connsiteY245" fmla="*/ 17933 h 24176"/>
                <a:gd name="connsiteX246" fmla="*/ 33513 w 41095"/>
                <a:gd name="connsiteY246" fmla="*/ 17933 h 24176"/>
                <a:gd name="connsiteX247" fmla="*/ 33168 w 41095"/>
                <a:gd name="connsiteY247" fmla="*/ 17933 h 24176"/>
                <a:gd name="connsiteX248" fmla="*/ 33168 w 41095"/>
                <a:gd name="connsiteY248" fmla="*/ 17933 h 24176"/>
                <a:gd name="connsiteX249" fmla="*/ 32872 w 41095"/>
                <a:gd name="connsiteY249" fmla="*/ 17933 h 24176"/>
                <a:gd name="connsiteX250" fmla="*/ 32872 w 41095"/>
                <a:gd name="connsiteY250" fmla="*/ 17933 h 24176"/>
                <a:gd name="connsiteX251" fmla="*/ 32872 w 41095"/>
                <a:gd name="connsiteY251" fmla="*/ 18278 h 24176"/>
                <a:gd name="connsiteX252" fmla="*/ 32626 w 41095"/>
                <a:gd name="connsiteY252" fmla="*/ 18278 h 24176"/>
                <a:gd name="connsiteX253" fmla="*/ 32626 w 41095"/>
                <a:gd name="connsiteY253" fmla="*/ 18723 h 24176"/>
                <a:gd name="connsiteX254" fmla="*/ 32626 w 41095"/>
                <a:gd name="connsiteY254" fmla="*/ 18723 h 24176"/>
                <a:gd name="connsiteX255" fmla="*/ 32329 w 41095"/>
                <a:gd name="connsiteY255" fmla="*/ 18723 h 24176"/>
                <a:gd name="connsiteX256" fmla="*/ 31935 w 41095"/>
                <a:gd name="connsiteY256" fmla="*/ 18476 h 24176"/>
                <a:gd name="connsiteX257" fmla="*/ 31639 w 41095"/>
                <a:gd name="connsiteY257" fmla="*/ 18476 h 24176"/>
                <a:gd name="connsiteX258" fmla="*/ 31639 w 41095"/>
                <a:gd name="connsiteY258" fmla="*/ 18476 h 24176"/>
                <a:gd name="connsiteX259" fmla="*/ 31639 w 41095"/>
                <a:gd name="connsiteY259" fmla="*/ 18476 h 24176"/>
                <a:gd name="connsiteX260" fmla="*/ 31639 w 41095"/>
                <a:gd name="connsiteY260" fmla="*/ 18723 h 24176"/>
                <a:gd name="connsiteX261" fmla="*/ 31639 w 41095"/>
                <a:gd name="connsiteY261" fmla="*/ 18723 h 24176"/>
                <a:gd name="connsiteX262" fmla="*/ 31096 w 41095"/>
                <a:gd name="connsiteY262" fmla="*/ 18278 h 24176"/>
                <a:gd name="connsiteX263" fmla="*/ 31096 w 41095"/>
                <a:gd name="connsiteY263" fmla="*/ 18723 h 24176"/>
                <a:gd name="connsiteX264" fmla="*/ 31096 w 41095"/>
                <a:gd name="connsiteY264" fmla="*/ 19413 h 24176"/>
                <a:gd name="connsiteX265" fmla="*/ 31096 w 41095"/>
                <a:gd name="connsiteY265" fmla="*/ 19709 h 24176"/>
                <a:gd name="connsiteX266" fmla="*/ 31096 w 41095"/>
                <a:gd name="connsiteY266" fmla="*/ 19709 h 24176"/>
                <a:gd name="connsiteX267" fmla="*/ 30701 w 41095"/>
                <a:gd name="connsiteY267" fmla="*/ 19068 h 24176"/>
                <a:gd name="connsiteX268" fmla="*/ 29862 w 41095"/>
                <a:gd name="connsiteY268" fmla="*/ 19413 h 24176"/>
                <a:gd name="connsiteX269" fmla="*/ 29862 w 41095"/>
                <a:gd name="connsiteY269" fmla="*/ 19759 h 24176"/>
                <a:gd name="connsiteX270" fmla="*/ 29862 w 41095"/>
                <a:gd name="connsiteY270" fmla="*/ 19759 h 24176"/>
                <a:gd name="connsiteX271" fmla="*/ 29862 w 41095"/>
                <a:gd name="connsiteY271" fmla="*/ 19413 h 24176"/>
                <a:gd name="connsiteX272" fmla="*/ 29862 w 41095"/>
                <a:gd name="connsiteY272" fmla="*/ 19068 h 24176"/>
                <a:gd name="connsiteX273" fmla="*/ 30800 w 41095"/>
                <a:gd name="connsiteY273" fmla="*/ 18328 h 24176"/>
                <a:gd name="connsiteX274" fmla="*/ 31639 w 41095"/>
                <a:gd name="connsiteY274" fmla="*/ 17736 h 24176"/>
                <a:gd name="connsiteX275" fmla="*/ 31639 w 41095"/>
                <a:gd name="connsiteY275" fmla="*/ 17440 h 24176"/>
                <a:gd name="connsiteX276" fmla="*/ 31639 w 41095"/>
                <a:gd name="connsiteY276" fmla="*/ 17094 h 24176"/>
                <a:gd name="connsiteX277" fmla="*/ 31639 w 41095"/>
                <a:gd name="connsiteY277" fmla="*/ 17094 h 24176"/>
                <a:gd name="connsiteX278" fmla="*/ 31343 w 41095"/>
                <a:gd name="connsiteY278" fmla="*/ 17094 h 24176"/>
                <a:gd name="connsiteX279" fmla="*/ 31343 w 41095"/>
                <a:gd name="connsiteY279" fmla="*/ 17094 h 24176"/>
                <a:gd name="connsiteX280" fmla="*/ 31096 w 41095"/>
                <a:gd name="connsiteY280" fmla="*/ 17094 h 24176"/>
                <a:gd name="connsiteX281" fmla="*/ 31096 w 41095"/>
                <a:gd name="connsiteY281" fmla="*/ 17094 h 24176"/>
                <a:gd name="connsiteX282" fmla="*/ 31096 w 41095"/>
                <a:gd name="connsiteY282" fmla="*/ 17094 h 24176"/>
                <a:gd name="connsiteX283" fmla="*/ 30553 w 41095"/>
                <a:gd name="connsiteY283" fmla="*/ 17390 h 24176"/>
                <a:gd name="connsiteX284" fmla="*/ 30159 w 41095"/>
                <a:gd name="connsiteY284" fmla="*/ 17736 h 24176"/>
                <a:gd name="connsiteX285" fmla="*/ 30159 w 41095"/>
                <a:gd name="connsiteY285" fmla="*/ 17242 h 24176"/>
                <a:gd name="connsiteX286" fmla="*/ 30405 w 41095"/>
                <a:gd name="connsiteY286" fmla="*/ 16897 h 24176"/>
                <a:gd name="connsiteX287" fmla="*/ 30800 w 41095"/>
                <a:gd name="connsiteY287" fmla="*/ 16897 h 24176"/>
                <a:gd name="connsiteX288" fmla="*/ 30454 w 41095"/>
                <a:gd name="connsiteY288" fmla="*/ 16502 h 24176"/>
                <a:gd name="connsiteX289" fmla="*/ 30159 w 41095"/>
                <a:gd name="connsiteY289" fmla="*/ 16502 h 24176"/>
                <a:gd name="connsiteX290" fmla="*/ 30405 w 41095"/>
                <a:gd name="connsiteY290" fmla="*/ 16502 h 24176"/>
                <a:gd name="connsiteX291" fmla="*/ 31145 w 41095"/>
                <a:gd name="connsiteY291" fmla="*/ 16502 h 24176"/>
                <a:gd name="connsiteX292" fmla="*/ 31737 w 41095"/>
                <a:gd name="connsiteY292" fmla="*/ 16502 h 24176"/>
                <a:gd name="connsiteX293" fmla="*/ 31046 w 41095"/>
                <a:gd name="connsiteY293" fmla="*/ 15861 h 24176"/>
                <a:gd name="connsiteX294" fmla="*/ 31046 w 41095"/>
                <a:gd name="connsiteY294" fmla="*/ 15861 h 24176"/>
                <a:gd name="connsiteX295" fmla="*/ 30307 w 41095"/>
                <a:gd name="connsiteY295" fmla="*/ 15170 h 24176"/>
                <a:gd name="connsiteX296" fmla="*/ 26063 w 41095"/>
                <a:gd name="connsiteY296" fmla="*/ 9940 h 24176"/>
                <a:gd name="connsiteX297" fmla="*/ 26063 w 41095"/>
                <a:gd name="connsiteY297" fmla="*/ 9940 h 24176"/>
                <a:gd name="connsiteX298" fmla="*/ 26063 w 41095"/>
                <a:gd name="connsiteY298" fmla="*/ 9940 h 24176"/>
                <a:gd name="connsiteX299" fmla="*/ 26063 w 41095"/>
                <a:gd name="connsiteY299" fmla="*/ 9940 h 24176"/>
                <a:gd name="connsiteX300" fmla="*/ 22659 w 41095"/>
                <a:gd name="connsiteY300" fmla="*/ 9348 h 24176"/>
                <a:gd name="connsiteX301" fmla="*/ 23300 w 41095"/>
                <a:gd name="connsiteY301" fmla="*/ 9052 h 24176"/>
                <a:gd name="connsiteX302" fmla="*/ 23596 w 41095"/>
                <a:gd name="connsiteY302" fmla="*/ 9052 h 24176"/>
                <a:gd name="connsiteX303" fmla="*/ 23596 w 41095"/>
                <a:gd name="connsiteY303" fmla="*/ 9052 h 24176"/>
                <a:gd name="connsiteX304" fmla="*/ 23251 w 41095"/>
                <a:gd name="connsiteY304" fmla="*/ 9052 h 24176"/>
                <a:gd name="connsiteX305" fmla="*/ 22906 w 41095"/>
                <a:gd name="connsiteY305" fmla="*/ 9052 h 24176"/>
                <a:gd name="connsiteX306" fmla="*/ 41013 w 41095"/>
                <a:gd name="connsiteY306" fmla="*/ 24150 h 24176"/>
                <a:gd name="connsiteX307" fmla="*/ 41013 w 41095"/>
                <a:gd name="connsiteY307" fmla="*/ 24150 h 24176"/>
                <a:gd name="connsiteX308" fmla="*/ 41013 w 41095"/>
                <a:gd name="connsiteY308" fmla="*/ 24150 h 24176"/>
                <a:gd name="connsiteX309" fmla="*/ 41013 w 41095"/>
                <a:gd name="connsiteY309" fmla="*/ 24150 h 24176"/>
                <a:gd name="connsiteX310" fmla="*/ 33909 w 41095"/>
                <a:gd name="connsiteY310" fmla="*/ 19216 h 24176"/>
                <a:gd name="connsiteX311" fmla="*/ 33563 w 41095"/>
                <a:gd name="connsiteY311" fmla="*/ 19216 h 24176"/>
                <a:gd name="connsiteX312" fmla="*/ 33563 w 41095"/>
                <a:gd name="connsiteY312" fmla="*/ 19216 h 24176"/>
                <a:gd name="connsiteX313" fmla="*/ 33909 w 41095"/>
                <a:gd name="connsiteY313" fmla="*/ 18772 h 24176"/>
                <a:gd name="connsiteX314" fmla="*/ 33909 w 41095"/>
                <a:gd name="connsiteY314" fmla="*/ 18772 h 24176"/>
                <a:gd name="connsiteX315" fmla="*/ 33909 w 41095"/>
                <a:gd name="connsiteY315" fmla="*/ 18772 h 24176"/>
                <a:gd name="connsiteX316" fmla="*/ 33909 w 41095"/>
                <a:gd name="connsiteY316" fmla="*/ 18772 h 24176"/>
                <a:gd name="connsiteX317" fmla="*/ 34057 w 41095"/>
                <a:gd name="connsiteY317" fmla="*/ 18871 h 24176"/>
                <a:gd name="connsiteX318" fmla="*/ 33909 w 41095"/>
                <a:gd name="connsiteY318" fmla="*/ 17390 h 24176"/>
                <a:gd name="connsiteX319" fmla="*/ 33909 w 41095"/>
                <a:gd name="connsiteY319" fmla="*/ 17390 h 24176"/>
                <a:gd name="connsiteX320" fmla="*/ 33513 w 41095"/>
                <a:gd name="connsiteY320" fmla="*/ 17390 h 24176"/>
                <a:gd name="connsiteX321" fmla="*/ 33513 w 41095"/>
                <a:gd name="connsiteY321" fmla="*/ 17390 h 24176"/>
                <a:gd name="connsiteX322" fmla="*/ 33513 w 41095"/>
                <a:gd name="connsiteY322" fmla="*/ 17390 h 24176"/>
                <a:gd name="connsiteX323" fmla="*/ 33513 w 41095"/>
                <a:gd name="connsiteY323" fmla="*/ 17390 h 24176"/>
                <a:gd name="connsiteX324" fmla="*/ 34057 w 41095"/>
                <a:gd name="connsiteY324" fmla="*/ 17489 h 24176"/>
                <a:gd name="connsiteX325" fmla="*/ 33119 w 41095"/>
                <a:gd name="connsiteY325" fmla="*/ 17390 h 24176"/>
                <a:gd name="connsiteX326" fmla="*/ 33119 w 41095"/>
                <a:gd name="connsiteY326" fmla="*/ 17390 h 24176"/>
                <a:gd name="connsiteX327" fmla="*/ 33119 w 41095"/>
                <a:gd name="connsiteY327" fmla="*/ 17390 h 24176"/>
                <a:gd name="connsiteX328" fmla="*/ 33119 w 41095"/>
                <a:gd name="connsiteY328" fmla="*/ 17390 h 24176"/>
                <a:gd name="connsiteX329" fmla="*/ 33909 w 41095"/>
                <a:gd name="connsiteY329" fmla="*/ 16700 h 24176"/>
                <a:gd name="connsiteX330" fmla="*/ 33909 w 41095"/>
                <a:gd name="connsiteY330" fmla="*/ 16700 h 24176"/>
                <a:gd name="connsiteX331" fmla="*/ 33909 w 41095"/>
                <a:gd name="connsiteY331" fmla="*/ 16700 h 24176"/>
                <a:gd name="connsiteX332" fmla="*/ 34057 w 41095"/>
                <a:gd name="connsiteY332" fmla="*/ 16848 h 24176"/>
                <a:gd name="connsiteX333" fmla="*/ 33909 w 41095"/>
                <a:gd name="connsiteY333" fmla="*/ 16157 h 24176"/>
                <a:gd name="connsiteX334" fmla="*/ 33909 w 41095"/>
                <a:gd name="connsiteY334" fmla="*/ 16157 h 24176"/>
                <a:gd name="connsiteX335" fmla="*/ 33909 w 41095"/>
                <a:gd name="connsiteY335" fmla="*/ 16404 h 24176"/>
                <a:gd name="connsiteX336" fmla="*/ 14666 w 41095"/>
                <a:gd name="connsiteY336" fmla="*/ 4611 h 24176"/>
                <a:gd name="connsiteX337" fmla="*/ 14666 w 41095"/>
                <a:gd name="connsiteY337" fmla="*/ 4068 h 24176"/>
                <a:gd name="connsiteX338" fmla="*/ 14666 w 41095"/>
                <a:gd name="connsiteY338" fmla="*/ 4068 h 24176"/>
                <a:gd name="connsiteX339" fmla="*/ 14369 w 41095"/>
                <a:gd name="connsiteY339" fmla="*/ 4068 h 24176"/>
                <a:gd name="connsiteX340" fmla="*/ 14369 w 41095"/>
                <a:gd name="connsiteY340" fmla="*/ 3723 h 24176"/>
                <a:gd name="connsiteX341" fmla="*/ 14369 w 41095"/>
                <a:gd name="connsiteY341" fmla="*/ 3723 h 24176"/>
                <a:gd name="connsiteX342" fmla="*/ 14369 w 41095"/>
                <a:gd name="connsiteY342" fmla="*/ 3476 h 24176"/>
                <a:gd name="connsiteX343" fmla="*/ 14666 w 41095"/>
                <a:gd name="connsiteY343" fmla="*/ 3476 h 24176"/>
                <a:gd name="connsiteX344" fmla="*/ 14666 w 41095"/>
                <a:gd name="connsiteY344" fmla="*/ 3476 h 24176"/>
                <a:gd name="connsiteX345" fmla="*/ 14666 w 41095"/>
                <a:gd name="connsiteY345" fmla="*/ 3476 h 24176"/>
                <a:gd name="connsiteX346" fmla="*/ 14666 w 41095"/>
                <a:gd name="connsiteY346" fmla="*/ 3476 h 24176"/>
                <a:gd name="connsiteX347" fmla="*/ 15110 w 41095"/>
                <a:gd name="connsiteY347" fmla="*/ 3476 h 24176"/>
                <a:gd name="connsiteX348" fmla="*/ 15110 w 41095"/>
                <a:gd name="connsiteY348" fmla="*/ 3476 h 24176"/>
                <a:gd name="connsiteX349" fmla="*/ 15110 w 41095"/>
                <a:gd name="connsiteY349" fmla="*/ 3476 h 24176"/>
                <a:gd name="connsiteX350" fmla="*/ 15110 w 41095"/>
                <a:gd name="connsiteY350" fmla="*/ 3476 h 24176"/>
                <a:gd name="connsiteX351" fmla="*/ 15110 w 41095"/>
                <a:gd name="connsiteY351" fmla="*/ 3476 h 24176"/>
                <a:gd name="connsiteX352" fmla="*/ 15505 w 41095"/>
                <a:gd name="connsiteY352" fmla="*/ 3723 h 24176"/>
                <a:gd name="connsiteX353" fmla="*/ 16047 w 41095"/>
                <a:gd name="connsiteY353" fmla="*/ 4118 h 24176"/>
                <a:gd name="connsiteX354" fmla="*/ 16047 w 41095"/>
                <a:gd name="connsiteY354" fmla="*/ 4611 h 24176"/>
                <a:gd name="connsiteX355" fmla="*/ 15505 w 41095"/>
                <a:gd name="connsiteY355" fmla="*/ 4611 h 24176"/>
                <a:gd name="connsiteX356" fmla="*/ 13827 w 41095"/>
                <a:gd name="connsiteY356" fmla="*/ 4611 h 24176"/>
                <a:gd name="connsiteX357" fmla="*/ 13827 w 41095"/>
                <a:gd name="connsiteY357" fmla="*/ 4611 h 24176"/>
                <a:gd name="connsiteX358" fmla="*/ 7166 w 41095"/>
                <a:gd name="connsiteY358" fmla="*/ 3723 h 24176"/>
                <a:gd name="connsiteX359" fmla="*/ 7166 w 41095"/>
                <a:gd name="connsiteY359" fmla="*/ 3723 h 24176"/>
                <a:gd name="connsiteX360" fmla="*/ 6722 w 41095"/>
                <a:gd name="connsiteY360" fmla="*/ 3723 h 24176"/>
                <a:gd name="connsiteX361" fmla="*/ 6722 w 41095"/>
                <a:gd name="connsiteY361" fmla="*/ 3723 h 24176"/>
                <a:gd name="connsiteX362" fmla="*/ 6722 w 41095"/>
                <a:gd name="connsiteY362" fmla="*/ 3723 h 24176"/>
                <a:gd name="connsiteX363" fmla="*/ 5143 w 41095"/>
                <a:gd name="connsiteY363" fmla="*/ 3427 h 24176"/>
                <a:gd name="connsiteX364" fmla="*/ 4551 w 41095"/>
                <a:gd name="connsiteY364" fmla="*/ 3427 h 24176"/>
                <a:gd name="connsiteX365" fmla="*/ 3170 w 41095"/>
                <a:gd name="connsiteY365" fmla="*/ 3427 h 24176"/>
                <a:gd name="connsiteX366" fmla="*/ 2873 w 41095"/>
                <a:gd name="connsiteY366" fmla="*/ 3427 h 24176"/>
                <a:gd name="connsiteX367" fmla="*/ 2873 w 41095"/>
                <a:gd name="connsiteY367" fmla="*/ 3427 h 24176"/>
                <a:gd name="connsiteX368" fmla="*/ 2873 w 41095"/>
                <a:gd name="connsiteY368" fmla="*/ 3427 h 24176"/>
                <a:gd name="connsiteX369" fmla="*/ 2578 w 41095"/>
                <a:gd name="connsiteY369" fmla="*/ 3427 h 24176"/>
                <a:gd name="connsiteX370" fmla="*/ 2578 w 41095"/>
                <a:gd name="connsiteY370" fmla="*/ 3427 h 24176"/>
                <a:gd name="connsiteX371" fmla="*/ 2578 w 41095"/>
                <a:gd name="connsiteY371" fmla="*/ 3427 h 24176"/>
                <a:gd name="connsiteX372" fmla="*/ 2578 w 41095"/>
                <a:gd name="connsiteY372" fmla="*/ 3427 h 24176"/>
                <a:gd name="connsiteX373" fmla="*/ 2578 w 41095"/>
                <a:gd name="connsiteY373" fmla="*/ 3427 h 24176"/>
                <a:gd name="connsiteX374" fmla="*/ 2578 w 41095"/>
                <a:gd name="connsiteY374" fmla="*/ 3427 h 24176"/>
                <a:gd name="connsiteX375" fmla="*/ 2578 w 41095"/>
                <a:gd name="connsiteY375" fmla="*/ 3427 h 24176"/>
                <a:gd name="connsiteX376" fmla="*/ 2232 w 41095"/>
                <a:gd name="connsiteY376" fmla="*/ 3427 h 24176"/>
                <a:gd name="connsiteX377" fmla="*/ 1887 w 41095"/>
                <a:gd name="connsiteY377" fmla="*/ 3427 h 24176"/>
                <a:gd name="connsiteX378" fmla="*/ 1590 w 41095"/>
                <a:gd name="connsiteY378" fmla="*/ 3427 h 24176"/>
                <a:gd name="connsiteX379" fmla="*/ 406 w 41095"/>
                <a:gd name="connsiteY379" fmla="*/ 3427 h 24176"/>
                <a:gd name="connsiteX380" fmla="*/ 406 w 41095"/>
                <a:gd name="connsiteY380" fmla="*/ 3032 h 24176"/>
                <a:gd name="connsiteX381" fmla="*/ 406 w 41095"/>
                <a:gd name="connsiteY381" fmla="*/ 2539 h 24176"/>
                <a:gd name="connsiteX382" fmla="*/ 406 w 41095"/>
                <a:gd name="connsiteY382" fmla="*/ 2193 h 24176"/>
                <a:gd name="connsiteX383" fmla="*/ 406 w 41095"/>
                <a:gd name="connsiteY383" fmla="*/ 1897 h 24176"/>
                <a:gd name="connsiteX384" fmla="*/ 406 w 41095"/>
                <a:gd name="connsiteY384" fmla="*/ 1897 h 24176"/>
                <a:gd name="connsiteX385" fmla="*/ 406 w 41095"/>
                <a:gd name="connsiteY385" fmla="*/ 1897 h 24176"/>
                <a:gd name="connsiteX386" fmla="*/ 703 w 41095"/>
                <a:gd name="connsiteY386" fmla="*/ 1503 h 24176"/>
                <a:gd name="connsiteX387" fmla="*/ 703 w 41095"/>
                <a:gd name="connsiteY387" fmla="*/ 1503 h 24176"/>
                <a:gd name="connsiteX388" fmla="*/ 703 w 41095"/>
                <a:gd name="connsiteY388" fmla="*/ 1108 h 24176"/>
                <a:gd name="connsiteX389" fmla="*/ 159 w 41095"/>
                <a:gd name="connsiteY389" fmla="*/ 565 h 24176"/>
                <a:gd name="connsiteX390" fmla="*/ 159 w 41095"/>
                <a:gd name="connsiteY390" fmla="*/ 269 h 24176"/>
                <a:gd name="connsiteX391" fmla="*/ 159 w 41095"/>
                <a:gd name="connsiteY391" fmla="*/ 269 h 24176"/>
                <a:gd name="connsiteX392" fmla="*/ 159 w 41095"/>
                <a:gd name="connsiteY392" fmla="*/ 269 h 24176"/>
                <a:gd name="connsiteX393" fmla="*/ 159 w 41095"/>
                <a:gd name="connsiteY393" fmla="*/ 269 h 24176"/>
                <a:gd name="connsiteX394" fmla="*/ 456 w 41095"/>
                <a:gd name="connsiteY394" fmla="*/ 269 h 24176"/>
                <a:gd name="connsiteX395" fmla="*/ 752 w 41095"/>
                <a:gd name="connsiteY395" fmla="*/ 269 h 24176"/>
                <a:gd name="connsiteX396" fmla="*/ 1295 w 41095"/>
                <a:gd name="connsiteY396" fmla="*/ 269 h 24176"/>
                <a:gd name="connsiteX397" fmla="*/ 1739 w 41095"/>
                <a:gd name="connsiteY397" fmla="*/ 269 h 24176"/>
                <a:gd name="connsiteX398" fmla="*/ 1739 w 41095"/>
                <a:gd name="connsiteY398" fmla="*/ 269 h 24176"/>
                <a:gd name="connsiteX399" fmla="*/ 2479 w 41095"/>
                <a:gd name="connsiteY399" fmla="*/ -27 h 24176"/>
                <a:gd name="connsiteX400" fmla="*/ 3614 w 41095"/>
                <a:gd name="connsiteY400" fmla="*/ -27 h 24176"/>
                <a:gd name="connsiteX401" fmla="*/ 4057 w 41095"/>
                <a:gd name="connsiteY401" fmla="*/ -27 h 24176"/>
                <a:gd name="connsiteX402" fmla="*/ 4057 w 41095"/>
                <a:gd name="connsiteY402" fmla="*/ -27 h 24176"/>
                <a:gd name="connsiteX403" fmla="*/ 4551 w 41095"/>
                <a:gd name="connsiteY403" fmla="*/ -27 h 24176"/>
                <a:gd name="connsiteX404" fmla="*/ 4995 w 41095"/>
                <a:gd name="connsiteY404" fmla="*/ -27 h 24176"/>
                <a:gd name="connsiteX405" fmla="*/ 4995 w 41095"/>
                <a:gd name="connsiteY405" fmla="*/ -27 h 24176"/>
                <a:gd name="connsiteX406" fmla="*/ 5340 w 41095"/>
                <a:gd name="connsiteY406" fmla="*/ -27 h 24176"/>
                <a:gd name="connsiteX407" fmla="*/ 5735 w 41095"/>
                <a:gd name="connsiteY407" fmla="*/ -27 h 24176"/>
                <a:gd name="connsiteX408" fmla="*/ 6130 w 41095"/>
                <a:gd name="connsiteY408" fmla="*/ -27 h 24176"/>
                <a:gd name="connsiteX409" fmla="*/ 6426 w 41095"/>
                <a:gd name="connsiteY409" fmla="*/ -27 h 24176"/>
                <a:gd name="connsiteX410" fmla="*/ 6426 w 41095"/>
                <a:gd name="connsiteY410" fmla="*/ -27 h 24176"/>
                <a:gd name="connsiteX411" fmla="*/ 6426 w 41095"/>
                <a:gd name="connsiteY411" fmla="*/ -27 h 24176"/>
                <a:gd name="connsiteX412" fmla="*/ 6771 w 41095"/>
                <a:gd name="connsiteY412" fmla="*/ 319 h 24176"/>
                <a:gd name="connsiteX413" fmla="*/ 7166 w 41095"/>
                <a:gd name="connsiteY413" fmla="*/ 565 h 24176"/>
                <a:gd name="connsiteX414" fmla="*/ 7462 w 41095"/>
                <a:gd name="connsiteY414" fmla="*/ 565 h 24176"/>
                <a:gd name="connsiteX415" fmla="*/ 8646 w 41095"/>
                <a:gd name="connsiteY415" fmla="*/ 1059 h 24176"/>
                <a:gd name="connsiteX416" fmla="*/ 9140 w 41095"/>
                <a:gd name="connsiteY416" fmla="*/ 1404 h 24176"/>
                <a:gd name="connsiteX417" fmla="*/ 9584 w 41095"/>
                <a:gd name="connsiteY417" fmla="*/ 1700 h 24176"/>
                <a:gd name="connsiteX418" fmla="*/ 9929 w 41095"/>
                <a:gd name="connsiteY418" fmla="*/ 1700 h 24176"/>
                <a:gd name="connsiteX419" fmla="*/ 10225 w 41095"/>
                <a:gd name="connsiteY419" fmla="*/ 1700 h 24176"/>
                <a:gd name="connsiteX420" fmla="*/ 10225 w 41095"/>
                <a:gd name="connsiteY420" fmla="*/ 1700 h 24176"/>
                <a:gd name="connsiteX421" fmla="*/ 10768 w 41095"/>
                <a:gd name="connsiteY421" fmla="*/ 1700 h 24176"/>
                <a:gd name="connsiteX422" fmla="*/ 11113 w 41095"/>
                <a:gd name="connsiteY422" fmla="*/ 1996 h 24176"/>
                <a:gd name="connsiteX423" fmla="*/ 11508 w 41095"/>
                <a:gd name="connsiteY423" fmla="*/ 2292 h 24176"/>
                <a:gd name="connsiteX424" fmla="*/ 12051 w 41095"/>
                <a:gd name="connsiteY424" fmla="*/ 2292 h 24176"/>
                <a:gd name="connsiteX425" fmla="*/ 12051 w 41095"/>
                <a:gd name="connsiteY425" fmla="*/ 2292 h 24176"/>
                <a:gd name="connsiteX426" fmla="*/ 12051 w 41095"/>
                <a:gd name="connsiteY426" fmla="*/ 2292 h 24176"/>
                <a:gd name="connsiteX427" fmla="*/ 12494 w 41095"/>
                <a:gd name="connsiteY427" fmla="*/ 2835 h 24176"/>
                <a:gd name="connsiteX428" fmla="*/ 13185 w 41095"/>
                <a:gd name="connsiteY428" fmla="*/ 3427 h 24176"/>
                <a:gd name="connsiteX429" fmla="*/ 13185 w 41095"/>
                <a:gd name="connsiteY429" fmla="*/ 3427 h 24176"/>
                <a:gd name="connsiteX430" fmla="*/ 13630 w 41095"/>
                <a:gd name="connsiteY430" fmla="*/ 3427 h 24176"/>
                <a:gd name="connsiteX431" fmla="*/ 14419 w 41095"/>
                <a:gd name="connsiteY431" fmla="*/ 4167 h 24176"/>
                <a:gd name="connsiteX432" fmla="*/ 15208 w 41095"/>
                <a:gd name="connsiteY432" fmla="*/ 5203 h 24176"/>
                <a:gd name="connsiteX433" fmla="*/ 14666 w 41095"/>
                <a:gd name="connsiteY433" fmla="*/ 5499 h 24176"/>
                <a:gd name="connsiteX434" fmla="*/ 13777 w 41095"/>
                <a:gd name="connsiteY434" fmla="*/ 5499 h 24176"/>
                <a:gd name="connsiteX435" fmla="*/ 13482 w 41095"/>
                <a:gd name="connsiteY435" fmla="*/ 5499 h 24176"/>
                <a:gd name="connsiteX436" fmla="*/ 13087 w 41095"/>
                <a:gd name="connsiteY436" fmla="*/ 5499 h 24176"/>
                <a:gd name="connsiteX437" fmla="*/ 10965 w 41095"/>
                <a:gd name="connsiteY437" fmla="*/ 5499 h 24176"/>
                <a:gd name="connsiteX438" fmla="*/ 10965 w 41095"/>
                <a:gd name="connsiteY438" fmla="*/ 5796 h 24176"/>
                <a:gd name="connsiteX439" fmla="*/ 10077 w 41095"/>
                <a:gd name="connsiteY439" fmla="*/ 6338 h 24176"/>
                <a:gd name="connsiteX440" fmla="*/ 9732 w 41095"/>
                <a:gd name="connsiteY440" fmla="*/ 6338 h 24176"/>
                <a:gd name="connsiteX441" fmla="*/ 9238 w 41095"/>
                <a:gd name="connsiteY441" fmla="*/ 6338 h 24176"/>
                <a:gd name="connsiteX442" fmla="*/ 8893 w 41095"/>
                <a:gd name="connsiteY442" fmla="*/ 6338 h 24176"/>
                <a:gd name="connsiteX443" fmla="*/ 8202 w 41095"/>
                <a:gd name="connsiteY443" fmla="*/ 6338 h 24176"/>
                <a:gd name="connsiteX444" fmla="*/ 8202 w 41095"/>
                <a:gd name="connsiteY444" fmla="*/ 6338 h 24176"/>
                <a:gd name="connsiteX445" fmla="*/ 7758 w 41095"/>
                <a:gd name="connsiteY445" fmla="*/ 6634 h 24176"/>
                <a:gd name="connsiteX446" fmla="*/ 7215 w 41095"/>
                <a:gd name="connsiteY446" fmla="*/ 6634 h 24176"/>
                <a:gd name="connsiteX447" fmla="*/ 7215 w 41095"/>
                <a:gd name="connsiteY447" fmla="*/ 6634 h 24176"/>
                <a:gd name="connsiteX448" fmla="*/ 7215 w 41095"/>
                <a:gd name="connsiteY448" fmla="*/ 6634 h 24176"/>
                <a:gd name="connsiteX449" fmla="*/ 13580 w 41095"/>
                <a:gd name="connsiteY449" fmla="*/ 3723 h 24176"/>
                <a:gd name="connsiteX450" fmla="*/ 13580 w 41095"/>
                <a:gd name="connsiteY450" fmla="*/ 3723 h 24176"/>
                <a:gd name="connsiteX451" fmla="*/ 13876 w 41095"/>
                <a:gd name="connsiteY451" fmla="*/ 3723 h 24176"/>
                <a:gd name="connsiteX452" fmla="*/ 13876 w 41095"/>
                <a:gd name="connsiteY452" fmla="*/ 3723 h 24176"/>
                <a:gd name="connsiteX453" fmla="*/ 13728 w 41095"/>
                <a:gd name="connsiteY453" fmla="*/ 3871 h 2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41095" h="24176">
                  <a:moveTo>
                    <a:pt x="34204" y="14874"/>
                  </a:moveTo>
                  <a:cubicBezTo>
                    <a:pt x="33859" y="14874"/>
                    <a:pt x="34204" y="14874"/>
                    <a:pt x="34204" y="14874"/>
                  </a:cubicBezTo>
                  <a:cubicBezTo>
                    <a:pt x="34204" y="14874"/>
                    <a:pt x="34204" y="14874"/>
                    <a:pt x="34204" y="14874"/>
                  </a:cubicBezTo>
                  <a:cubicBezTo>
                    <a:pt x="34204" y="14874"/>
                    <a:pt x="34204" y="14874"/>
                    <a:pt x="34204" y="15121"/>
                  </a:cubicBezTo>
                  <a:cubicBezTo>
                    <a:pt x="34204" y="15367"/>
                    <a:pt x="34204" y="15121"/>
                    <a:pt x="34204" y="15121"/>
                  </a:cubicBezTo>
                  <a:cubicBezTo>
                    <a:pt x="34204" y="15121"/>
                    <a:pt x="34204" y="15121"/>
                    <a:pt x="34204" y="14825"/>
                  </a:cubicBezTo>
                  <a:cubicBezTo>
                    <a:pt x="34204" y="14529"/>
                    <a:pt x="34204" y="14825"/>
                    <a:pt x="34204" y="14825"/>
                  </a:cubicBezTo>
                  <a:cubicBezTo>
                    <a:pt x="34204" y="14825"/>
                    <a:pt x="34550" y="14825"/>
                    <a:pt x="34550" y="14825"/>
                  </a:cubicBezTo>
                  <a:cubicBezTo>
                    <a:pt x="34550" y="14825"/>
                    <a:pt x="34550" y="14825"/>
                    <a:pt x="34550" y="14825"/>
                  </a:cubicBezTo>
                  <a:cubicBezTo>
                    <a:pt x="34550" y="14825"/>
                    <a:pt x="34550" y="14825"/>
                    <a:pt x="34550" y="14825"/>
                  </a:cubicBezTo>
                  <a:lnTo>
                    <a:pt x="34550" y="14825"/>
                  </a:lnTo>
                  <a:lnTo>
                    <a:pt x="34550" y="14825"/>
                  </a:lnTo>
                  <a:cubicBezTo>
                    <a:pt x="34550" y="14825"/>
                    <a:pt x="34550" y="14825"/>
                    <a:pt x="34550" y="14825"/>
                  </a:cubicBezTo>
                  <a:cubicBezTo>
                    <a:pt x="34550" y="14825"/>
                    <a:pt x="34550" y="14578"/>
                    <a:pt x="34550" y="14825"/>
                  </a:cubicBezTo>
                  <a:cubicBezTo>
                    <a:pt x="34550" y="15071"/>
                    <a:pt x="34057" y="14825"/>
                    <a:pt x="34550" y="14825"/>
                  </a:cubicBezTo>
                  <a:lnTo>
                    <a:pt x="34796" y="14825"/>
                  </a:lnTo>
                  <a:lnTo>
                    <a:pt x="34155" y="14529"/>
                  </a:lnTo>
                  <a:cubicBezTo>
                    <a:pt x="33760" y="14529"/>
                    <a:pt x="33563" y="14183"/>
                    <a:pt x="33563" y="14134"/>
                  </a:cubicBezTo>
                  <a:cubicBezTo>
                    <a:pt x="33563" y="14085"/>
                    <a:pt x="32576" y="13690"/>
                    <a:pt x="32428" y="14134"/>
                  </a:cubicBezTo>
                  <a:cubicBezTo>
                    <a:pt x="32280" y="14578"/>
                    <a:pt x="32428" y="14134"/>
                    <a:pt x="32428" y="14134"/>
                  </a:cubicBezTo>
                  <a:lnTo>
                    <a:pt x="31935" y="14134"/>
                  </a:lnTo>
                  <a:cubicBezTo>
                    <a:pt x="31442" y="14134"/>
                    <a:pt x="31244" y="14134"/>
                    <a:pt x="31195" y="13789"/>
                  </a:cubicBezTo>
                  <a:cubicBezTo>
                    <a:pt x="31145" y="13443"/>
                    <a:pt x="31195" y="13789"/>
                    <a:pt x="31195" y="13789"/>
                  </a:cubicBezTo>
                  <a:cubicBezTo>
                    <a:pt x="31195" y="13789"/>
                    <a:pt x="31195" y="13789"/>
                    <a:pt x="31195" y="13542"/>
                  </a:cubicBezTo>
                  <a:cubicBezTo>
                    <a:pt x="31195" y="13295"/>
                    <a:pt x="31195" y="13147"/>
                    <a:pt x="31195" y="13098"/>
                  </a:cubicBezTo>
                  <a:cubicBezTo>
                    <a:pt x="31195" y="13048"/>
                    <a:pt x="31195" y="13098"/>
                    <a:pt x="31195" y="13098"/>
                  </a:cubicBezTo>
                  <a:cubicBezTo>
                    <a:pt x="31195" y="13098"/>
                    <a:pt x="31195" y="13443"/>
                    <a:pt x="30899" y="13098"/>
                  </a:cubicBezTo>
                  <a:cubicBezTo>
                    <a:pt x="30948" y="12999"/>
                    <a:pt x="30948" y="12900"/>
                    <a:pt x="30899" y="12802"/>
                  </a:cubicBezTo>
                  <a:cubicBezTo>
                    <a:pt x="30899" y="12802"/>
                    <a:pt x="30899" y="12802"/>
                    <a:pt x="30899" y="12802"/>
                  </a:cubicBezTo>
                  <a:cubicBezTo>
                    <a:pt x="30899" y="12802"/>
                    <a:pt x="30899" y="12407"/>
                    <a:pt x="30504" y="12407"/>
                  </a:cubicBezTo>
                  <a:lnTo>
                    <a:pt x="30208" y="12407"/>
                  </a:lnTo>
                  <a:lnTo>
                    <a:pt x="29764" y="12407"/>
                  </a:lnTo>
                  <a:cubicBezTo>
                    <a:pt x="29764" y="12407"/>
                    <a:pt x="29468" y="12407"/>
                    <a:pt x="29418" y="12407"/>
                  </a:cubicBezTo>
                  <a:cubicBezTo>
                    <a:pt x="29221" y="12708"/>
                    <a:pt x="28925" y="12920"/>
                    <a:pt x="28579" y="12999"/>
                  </a:cubicBezTo>
                  <a:cubicBezTo>
                    <a:pt x="28333" y="12999"/>
                    <a:pt x="28284" y="12999"/>
                    <a:pt x="28579" y="12999"/>
                  </a:cubicBezTo>
                  <a:cubicBezTo>
                    <a:pt x="28579" y="12871"/>
                    <a:pt x="28579" y="12733"/>
                    <a:pt x="28579" y="12604"/>
                  </a:cubicBezTo>
                  <a:cubicBezTo>
                    <a:pt x="28530" y="12496"/>
                    <a:pt x="28530" y="12368"/>
                    <a:pt x="28579" y="12259"/>
                  </a:cubicBezTo>
                  <a:cubicBezTo>
                    <a:pt x="28579" y="12259"/>
                    <a:pt x="28826" y="11716"/>
                    <a:pt x="28579" y="11766"/>
                  </a:cubicBezTo>
                  <a:cubicBezTo>
                    <a:pt x="28185" y="11904"/>
                    <a:pt x="27840" y="12121"/>
                    <a:pt x="27543" y="12407"/>
                  </a:cubicBezTo>
                  <a:cubicBezTo>
                    <a:pt x="27543" y="12407"/>
                    <a:pt x="27543" y="12654"/>
                    <a:pt x="27050" y="12654"/>
                  </a:cubicBezTo>
                  <a:cubicBezTo>
                    <a:pt x="26557" y="12654"/>
                    <a:pt x="26704" y="12654"/>
                    <a:pt x="26656" y="12654"/>
                  </a:cubicBezTo>
                  <a:cubicBezTo>
                    <a:pt x="26606" y="12654"/>
                    <a:pt x="26359" y="12950"/>
                    <a:pt x="26162" y="12654"/>
                  </a:cubicBezTo>
                  <a:cubicBezTo>
                    <a:pt x="25965" y="12358"/>
                    <a:pt x="25373" y="12654"/>
                    <a:pt x="24583" y="12950"/>
                  </a:cubicBezTo>
                  <a:cubicBezTo>
                    <a:pt x="23794" y="13246"/>
                    <a:pt x="23991" y="12950"/>
                    <a:pt x="23843" y="12950"/>
                  </a:cubicBezTo>
                  <a:cubicBezTo>
                    <a:pt x="23695" y="12950"/>
                    <a:pt x="23843" y="12950"/>
                    <a:pt x="23843" y="12555"/>
                  </a:cubicBezTo>
                  <a:cubicBezTo>
                    <a:pt x="23843" y="12160"/>
                    <a:pt x="24534" y="11815"/>
                    <a:pt x="24336" y="11618"/>
                  </a:cubicBezTo>
                  <a:cubicBezTo>
                    <a:pt x="24139" y="11420"/>
                    <a:pt x="24336" y="11322"/>
                    <a:pt x="24583" y="11618"/>
                  </a:cubicBezTo>
                  <a:cubicBezTo>
                    <a:pt x="24731" y="11716"/>
                    <a:pt x="24928" y="11716"/>
                    <a:pt x="25076" y="11618"/>
                  </a:cubicBezTo>
                  <a:cubicBezTo>
                    <a:pt x="25076" y="11618"/>
                    <a:pt x="25076" y="11618"/>
                    <a:pt x="25076" y="11618"/>
                  </a:cubicBezTo>
                  <a:cubicBezTo>
                    <a:pt x="25076" y="11618"/>
                    <a:pt x="25076" y="11618"/>
                    <a:pt x="25076" y="11618"/>
                  </a:cubicBezTo>
                  <a:cubicBezTo>
                    <a:pt x="25076" y="11618"/>
                    <a:pt x="25076" y="11618"/>
                    <a:pt x="25076" y="11322"/>
                  </a:cubicBezTo>
                  <a:cubicBezTo>
                    <a:pt x="25076" y="11026"/>
                    <a:pt x="25076" y="11322"/>
                    <a:pt x="25076" y="11322"/>
                  </a:cubicBezTo>
                  <a:cubicBezTo>
                    <a:pt x="25076" y="11322"/>
                    <a:pt x="25076" y="11322"/>
                    <a:pt x="25076" y="11322"/>
                  </a:cubicBezTo>
                  <a:lnTo>
                    <a:pt x="24484" y="11322"/>
                  </a:lnTo>
                  <a:lnTo>
                    <a:pt x="24189" y="11322"/>
                  </a:lnTo>
                  <a:cubicBezTo>
                    <a:pt x="24189" y="11322"/>
                    <a:pt x="24189" y="11322"/>
                    <a:pt x="24189" y="11322"/>
                  </a:cubicBezTo>
                  <a:cubicBezTo>
                    <a:pt x="24189" y="11322"/>
                    <a:pt x="23892" y="11322"/>
                    <a:pt x="23695" y="11322"/>
                  </a:cubicBezTo>
                  <a:cubicBezTo>
                    <a:pt x="23498" y="11322"/>
                    <a:pt x="23695" y="11322"/>
                    <a:pt x="23300" y="11322"/>
                  </a:cubicBezTo>
                  <a:cubicBezTo>
                    <a:pt x="22659" y="11583"/>
                    <a:pt x="22017" y="11736"/>
                    <a:pt x="21327" y="11766"/>
                  </a:cubicBezTo>
                  <a:lnTo>
                    <a:pt x="17725" y="11766"/>
                  </a:lnTo>
                  <a:lnTo>
                    <a:pt x="17725" y="11469"/>
                  </a:lnTo>
                  <a:lnTo>
                    <a:pt x="17725" y="11075"/>
                  </a:lnTo>
                  <a:cubicBezTo>
                    <a:pt x="17725" y="11075"/>
                    <a:pt x="18119" y="10680"/>
                    <a:pt x="18267" y="10680"/>
                  </a:cubicBezTo>
                  <a:cubicBezTo>
                    <a:pt x="18711" y="10502"/>
                    <a:pt x="19156" y="10211"/>
                    <a:pt x="19452" y="9841"/>
                  </a:cubicBezTo>
                  <a:cubicBezTo>
                    <a:pt x="19452" y="9841"/>
                    <a:pt x="19748" y="9545"/>
                    <a:pt x="20044" y="9595"/>
                  </a:cubicBezTo>
                  <a:cubicBezTo>
                    <a:pt x="20340" y="9644"/>
                    <a:pt x="20734" y="9595"/>
                    <a:pt x="20734" y="9249"/>
                  </a:cubicBezTo>
                  <a:cubicBezTo>
                    <a:pt x="20784" y="9170"/>
                    <a:pt x="20784" y="9081"/>
                    <a:pt x="20734" y="9002"/>
                  </a:cubicBezTo>
                  <a:cubicBezTo>
                    <a:pt x="20586" y="8894"/>
                    <a:pt x="20488" y="8761"/>
                    <a:pt x="20389" y="8608"/>
                  </a:cubicBezTo>
                  <a:cubicBezTo>
                    <a:pt x="20389" y="8164"/>
                    <a:pt x="19847" y="7917"/>
                    <a:pt x="19847" y="8213"/>
                  </a:cubicBezTo>
                  <a:cubicBezTo>
                    <a:pt x="19847" y="8509"/>
                    <a:pt x="19847" y="8213"/>
                    <a:pt x="19847" y="8213"/>
                  </a:cubicBezTo>
                  <a:lnTo>
                    <a:pt x="19550" y="8213"/>
                  </a:lnTo>
                  <a:cubicBezTo>
                    <a:pt x="19550" y="8213"/>
                    <a:pt x="19550" y="8460"/>
                    <a:pt x="19550" y="8509"/>
                  </a:cubicBezTo>
                  <a:cubicBezTo>
                    <a:pt x="19550" y="8559"/>
                    <a:pt x="19550" y="8509"/>
                    <a:pt x="19550" y="8509"/>
                  </a:cubicBezTo>
                  <a:cubicBezTo>
                    <a:pt x="19550" y="8509"/>
                    <a:pt x="19550" y="8509"/>
                    <a:pt x="19550" y="8509"/>
                  </a:cubicBezTo>
                  <a:cubicBezTo>
                    <a:pt x="19550" y="8509"/>
                    <a:pt x="19255" y="8509"/>
                    <a:pt x="19156" y="8509"/>
                  </a:cubicBezTo>
                  <a:cubicBezTo>
                    <a:pt x="19057" y="8509"/>
                    <a:pt x="18860" y="8509"/>
                    <a:pt x="18662" y="8509"/>
                  </a:cubicBezTo>
                  <a:lnTo>
                    <a:pt x="18662" y="8509"/>
                  </a:lnTo>
                  <a:lnTo>
                    <a:pt x="18662" y="8509"/>
                  </a:lnTo>
                  <a:lnTo>
                    <a:pt x="18662" y="8855"/>
                  </a:lnTo>
                  <a:lnTo>
                    <a:pt x="18662" y="8855"/>
                  </a:lnTo>
                  <a:cubicBezTo>
                    <a:pt x="18662" y="8855"/>
                    <a:pt x="18169" y="8855"/>
                    <a:pt x="18218" y="8855"/>
                  </a:cubicBezTo>
                  <a:cubicBezTo>
                    <a:pt x="18267" y="8855"/>
                    <a:pt x="18218" y="8855"/>
                    <a:pt x="18218" y="8855"/>
                  </a:cubicBezTo>
                  <a:lnTo>
                    <a:pt x="17725" y="8855"/>
                  </a:lnTo>
                  <a:cubicBezTo>
                    <a:pt x="17626" y="8928"/>
                    <a:pt x="17478" y="8928"/>
                    <a:pt x="17380" y="8855"/>
                  </a:cubicBezTo>
                  <a:lnTo>
                    <a:pt x="16886" y="8855"/>
                  </a:lnTo>
                  <a:cubicBezTo>
                    <a:pt x="16590" y="8855"/>
                    <a:pt x="16541" y="8855"/>
                    <a:pt x="16541" y="8855"/>
                  </a:cubicBezTo>
                  <a:cubicBezTo>
                    <a:pt x="16541" y="8855"/>
                    <a:pt x="16541" y="8855"/>
                    <a:pt x="16541" y="8855"/>
                  </a:cubicBezTo>
                  <a:cubicBezTo>
                    <a:pt x="16541" y="8855"/>
                    <a:pt x="16541" y="8855"/>
                    <a:pt x="16541" y="8855"/>
                  </a:cubicBezTo>
                  <a:lnTo>
                    <a:pt x="16935" y="8855"/>
                  </a:lnTo>
                  <a:cubicBezTo>
                    <a:pt x="16935" y="8855"/>
                    <a:pt x="16935" y="8855"/>
                    <a:pt x="16935" y="9151"/>
                  </a:cubicBezTo>
                  <a:cubicBezTo>
                    <a:pt x="16836" y="9195"/>
                    <a:pt x="16738" y="9195"/>
                    <a:pt x="16639" y="9151"/>
                  </a:cubicBezTo>
                  <a:cubicBezTo>
                    <a:pt x="16639" y="9151"/>
                    <a:pt x="16639" y="9151"/>
                    <a:pt x="16294" y="9151"/>
                  </a:cubicBezTo>
                  <a:cubicBezTo>
                    <a:pt x="15949" y="9151"/>
                    <a:pt x="16294" y="9151"/>
                    <a:pt x="15998" y="9151"/>
                  </a:cubicBezTo>
                  <a:cubicBezTo>
                    <a:pt x="15702" y="9151"/>
                    <a:pt x="15603" y="9151"/>
                    <a:pt x="15505" y="9743"/>
                  </a:cubicBezTo>
                  <a:cubicBezTo>
                    <a:pt x="15406" y="10335"/>
                    <a:pt x="15505" y="10236"/>
                    <a:pt x="16393" y="10236"/>
                  </a:cubicBezTo>
                  <a:cubicBezTo>
                    <a:pt x="17281" y="10236"/>
                    <a:pt x="17232" y="10236"/>
                    <a:pt x="17281" y="10236"/>
                  </a:cubicBezTo>
                  <a:cubicBezTo>
                    <a:pt x="17232" y="10335"/>
                    <a:pt x="17232" y="10433"/>
                    <a:pt x="17281" y="10532"/>
                  </a:cubicBezTo>
                  <a:cubicBezTo>
                    <a:pt x="17281" y="10532"/>
                    <a:pt x="17281" y="10532"/>
                    <a:pt x="17281" y="10779"/>
                  </a:cubicBezTo>
                  <a:cubicBezTo>
                    <a:pt x="17281" y="11026"/>
                    <a:pt x="17281" y="10779"/>
                    <a:pt x="17281" y="10779"/>
                  </a:cubicBezTo>
                  <a:lnTo>
                    <a:pt x="17675" y="10779"/>
                  </a:lnTo>
                  <a:cubicBezTo>
                    <a:pt x="17675" y="10779"/>
                    <a:pt x="17675" y="10779"/>
                    <a:pt x="17675" y="10779"/>
                  </a:cubicBezTo>
                  <a:cubicBezTo>
                    <a:pt x="17675" y="10779"/>
                    <a:pt x="17675" y="11272"/>
                    <a:pt x="17675" y="11322"/>
                  </a:cubicBezTo>
                  <a:lnTo>
                    <a:pt x="17675" y="11667"/>
                  </a:lnTo>
                  <a:cubicBezTo>
                    <a:pt x="17675" y="11667"/>
                    <a:pt x="17281" y="12160"/>
                    <a:pt x="17281" y="12407"/>
                  </a:cubicBezTo>
                  <a:cubicBezTo>
                    <a:pt x="17281" y="12654"/>
                    <a:pt x="17281" y="12407"/>
                    <a:pt x="17281" y="12407"/>
                  </a:cubicBezTo>
                  <a:cubicBezTo>
                    <a:pt x="17281" y="12407"/>
                    <a:pt x="16788" y="12407"/>
                    <a:pt x="16738" y="12703"/>
                  </a:cubicBezTo>
                  <a:cubicBezTo>
                    <a:pt x="16689" y="12999"/>
                    <a:pt x="16738" y="13147"/>
                    <a:pt x="17182" y="13098"/>
                  </a:cubicBezTo>
                  <a:cubicBezTo>
                    <a:pt x="17380" y="13093"/>
                    <a:pt x="17577" y="13187"/>
                    <a:pt x="17725" y="13344"/>
                  </a:cubicBezTo>
                  <a:cubicBezTo>
                    <a:pt x="17873" y="13369"/>
                    <a:pt x="18021" y="13369"/>
                    <a:pt x="18169" y="13344"/>
                  </a:cubicBezTo>
                  <a:cubicBezTo>
                    <a:pt x="18169" y="13344"/>
                    <a:pt x="18169" y="13344"/>
                    <a:pt x="18169" y="13344"/>
                  </a:cubicBezTo>
                  <a:cubicBezTo>
                    <a:pt x="18119" y="13423"/>
                    <a:pt x="18119" y="13512"/>
                    <a:pt x="18169" y="13591"/>
                  </a:cubicBezTo>
                  <a:lnTo>
                    <a:pt x="18169" y="13591"/>
                  </a:lnTo>
                  <a:cubicBezTo>
                    <a:pt x="18169" y="13591"/>
                    <a:pt x="18169" y="13591"/>
                    <a:pt x="18169" y="13591"/>
                  </a:cubicBezTo>
                  <a:cubicBezTo>
                    <a:pt x="18169" y="13591"/>
                    <a:pt x="17675" y="13591"/>
                    <a:pt x="17725" y="13591"/>
                  </a:cubicBezTo>
                  <a:lnTo>
                    <a:pt x="18021" y="13591"/>
                  </a:lnTo>
                  <a:cubicBezTo>
                    <a:pt x="18021" y="13591"/>
                    <a:pt x="18021" y="13591"/>
                    <a:pt x="18021" y="13937"/>
                  </a:cubicBezTo>
                  <a:cubicBezTo>
                    <a:pt x="18021" y="14282"/>
                    <a:pt x="18021" y="14430"/>
                    <a:pt x="17626" y="13937"/>
                  </a:cubicBezTo>
                  <a:cubicBezTo>
                    <a:pt x="17232" y="13443"/>
                    <a:pt x="17626" y="13937"/>
                    <a:pt x="17232" y="13937"/>
                  </a:cubicBezTo>
                  <a:lnTo>
                    <a:pt x="16935" y="13937"/>
                  </a:lnTo>
                  <a:lnTo>
                    <a:pt x="16935" y="13937"/>
                  </a:lnTo>
                  <a:cubicBezTo>
                    <a:pt x="16935" y="14430"/>
                    <a:pt x="16935" y="14479"/>
                    <a:pt x="16935" y="14775"/>
                  </a:cubicBezTo>
                  <a:cubicBezTo>
                    <a:pt x="16935" y="15071"/>
                    <a:pt x="17626" y="15614"/>
                    <a:pt x="17380" y="15664"/>
                  </a:cubicBezTo>
                  <a:lnTo>
                    <a:pt x="16836" y="15664"/>
                  </a:lnTo>
                  <a:cubicBezTo>
                    <a:pt x="16541" y="15664"/>
                    <a:pt x="16146" y="15664"/>
                    <a:pt x="16146" y="15664"/>
                  </a:cubicBezTo>
                  <a:lnTo>
                    <a:pt x="16146" y="15664"/>
                  </a:lnTo>
                  <a:cubicBezTo>
                    <a:pt x="16146" y="15664"/>
                    <a:pt x="16146" y="16206"/>
                    <a:pt x="16146" y="16206"/>
                  </a:cubicBezTo>
                  <a:cubicBezTo>
                    <a:pt x="16146" y="16206"/>
                    <a:pt x="16146" y="16601"/>
                    <a:pt x="16146" y="16848"/>
                  </a:cubicBezTo>
                  <a:lnTo>
                    <a:pt x="16442" y="17193"/>
                  </a:lnTo>
                  <a:cubicBezTo>
                    <a:pt x="16442" y="17341"/>
                    <a:pt x="16442" y="17489"/>
                    <a:pt x="16442" y="17637"/>
                  </a:cubicBezTo>
                  <a:cubicBezTo>
                    <a:pt x="16541" y="17785"/>
                    <a:pt x="16541" y="17982"/>
                    <a:pt x="16442" y="18131"/>
                  </a:cubicBezTo>
                  <a:cubicBezTo>
                    <a:pt x="16442" y="18131"/>
                    <a:pt x="16442" y="18427"/>
                    <a:pt x="16689" y="18772"/>
                  </a:cubicBezTo>
                  <a:lnTo>
                    <a:pt x="17133" y="19167"/>
                  </a:lnTo>
                  <a:lnTo>
                    <a:pt x="17428" y="19167"/>
                  </a:lnTo>
                  <a:cubicBezTo>
                    <a:pt x="17626" y="19231"/>
                    <a:pt x="17873" y="19231"/>
                    <a:pt x="18070" y="19167"/>
                  </a:cubicBezTo>
                  <a:cubicBezTo>
                    <a:pt x="18465" y="19167"/>
                    <a:pt x="18514" y="19167"/>
                    <a:pt x="18416" y="19167"/>
                  </a:cubicBezTo>
                  <a:cubicBezTo>
                    <a:pt x="18317" y="19167"/>
                    <a:pt x="18416" y="19512"/>
                    <a:pt x="18416" y="19463"/>
                  </a:cubicBezTo>
                  <a:cubicBezTo>
                    <a:pt x="18416" y="19413"/>
                    <a:pt x="18416" y="19463"/>
                    <a:pt x="18416" y="19463"/>
                  </a:cubicBezTo>
                  <a:lnTo>
                    <a:pt x="18416" y="19463"/>
                  </a:lnTo>
                  <a:cubicBezTo>
                    <a:pt x="18514" y="19418"/>
                    <a:pt x="18613" y="19418"/>
                    <a:pt x="18711" y="19463"/>
                  </a:cubicBezTo>
                  <a:lnTo>
                    <a:pt x="19106" y="19808"/>
                  </a:lnTo>
                  <a:lnTo>
                    <a:pt x="19699" y="20301"/>
                  </a:lnTo>
                  <a:lnTo>
                    <a:pt x="20142" y="20301"/>
                  </a:lnTo>
                  <a:lnTo>
                    <a:pt x="20586" y="20598"/>
                  </a:lnTo>
                  <a:cubicBezTo>
                    <a:pt x="20734" y="20745"/>
                    <a:pt x="20981" y="20844"/>
                    <a:pt x="21178" y="20894"/>
                  </a:cubicBezTo>
                  <a:lnTo>
                    <a:pt x="21475" y="20894"/>
                  </a:lnTo>
                  <a:lnTo>
                    <a:pt x="21770" y="20894"/>
                  </a:lnTo>
                  <a:lnTo>
                    <a:pt x="22412" y="21190"/>
                  </a:lnTo>
                  <a:cubicBezTo>
                    <a:pt x="22708" y="21190"/>
                    <a:pt x="22807" y="21486"/>
                    <a:pt x="22807" y="21634"/>
                  </a:cubicBezTo>
                  <a:cubicBezTo>
                    <a:pt x="22807" y="21782"/>
                    <a:pt x="22807" y="21634"/>
                    <a:pt x="22807" y="21634"/>
                  </a:cubicBezTo>
                  <a:lnTo>
                    <a:pt x="22807" y="21634"/>
                  </a:lnTo>
                  <a:cubicBezTo>
                    <a:pt x="22906" y="21698"/>
                    <a:pt x="23053" y="21698"/>
                    <a:pt x="23152" y="21634"/>
                  </a:cubicBezTo>
                  <a:lnTo>
                    <a:pt x="23695" y="21634"/>
                  </a:lnTo>
                  <a:lnTo>
                    <a:pt x="24189" y="21634"/>
                  </a:lnTo>
                  <a:cubicBezTo>
                    <a:pt x="24484" y="21634"/>
                    <a:pt x="24534" y="21634"/>
                    <a:pt x="24484" y="21930"/>
                  </a:cubicBezTo>
                  <a:cubicBezTo>
                    <a:pt x="24435" y="22226"/>
                    <a:pt x="24484" y="22472"/>
                    <a:pt x="25373" y="22472"/>
                  </a:cubicBezTo>
                  <a:lnTo>
                    <a:pt x="25866" y="22472"/>
                  </a:lnTo>
                  <a:lnTo>
                    <a:pt x="26211" y="22472"/>
                  </a:lnTo>
                  <a:cubicBezTo>
                    <a:pt x="26508" y="22472"/>
                    <a:pt x="26606" y="22472"/>
                    <a:pt x="26704" y="22472"/>
                  </a:cubicBezTo>
                  <a:cubicBezTo>
                    <a:pt x="26803" y="22517"/>
                    <a:pt x="26951" y="22517"/>
                    <a:pt x="27050" y="22472"/>
                  </a:cubicBezTo>
                  <a:cubicBezTo>
                    <a:pt x="27149" y="22403"/>
                    <a:pt x="27346" y="22403"/>
                    <a:pt x="27445" y="22472"/>
                  </a:cubicBezTo>
                  <a:lnTo>
                    <a:pt x="27445" y="22472"/>
                  </a:lnTo>
                  <a:cubicBezTo>
                    <a:pt x="27445" y="22472"/>
                    <a:pt x="27445" y="22472"/>
                    <a:pt x="27445" y="22472"/>
                  </a:cubicBezTo>
                  <a:cubicBezTo>
                    <a:pt x="27445" y="22472"/>
                    <a:pt x="28284" y="22768"/>
                    <a:pt x="28432" y="22472"/>
                  </a:cubicBezTo>
                  <a:cubicBezTo>
                    <a:pt x="28432" y="22472"/>
                    <a:pt x="28432" y="22472"/>
                    <a:pt x="28432" y="22472"/>
                  </a:cubicBezTo>
                  <a:cubicBezTo>
                    <a:pt x="28432" y="22472"/>
                    <a:pt x="28432" y="22472"/>
                    <a:pt x="28432" y="22472"/>
                  </a:cubicBezTo>
                  <a:cubicBezTo>
                    <a:pt x="28432" y="22472"/>
                    <a:pt x="28432" y="22472"/>
                    <a:pt x="28432" y="22472"/>
                  </a:cubicBezTo>
                  <a:cubicBezTo>
                    <a:pt x="28579" y="22433"/>
                    <a:pt x="28678" y="22433"/>
                    <a:pt x="28826" y="22472"/>
                  </a:cubicBezTo>
                  <a:lnTo>
                    <a:pt x="28826" y="22472"/>
                  </a:lnTo>
                  <a:lnTo>
                    <a:pt x="28826" y="22472"/>
                  </a:lnTo>
                  <a:cubicBezTo>
                    <a:pt x="28925" y="22502"/>
                    <a:pt x="29073" y="22502"/>
                    <a:pt x="29171" y="22472"/>
                  </a:cubicBezTo>
                  <a:lnTo>
                    <a:pt x="30010" y="22472"/>
                  </a:lnTo>
                  <a:cubicBezTo>
                    <a:pt x="30010" y="22472"/>
                    <a:pt x="30356" y="22472"/>
                    <a:pt x="30405" y="22472"/>
                  </a:cubicBezTo>
                  <a:cubicBezTo>
                    <a:pt x="30454" y="22472"/>
                    <a:pt x="30405" y="22472"/>
                    <a:pt x="31046" y="22472"/>
                  </a:cubicBezTo>
                  <a:lnTo>
                    <a:pt x="31935" y="22472"/>
                  </a:lnTo>
                  <a:lnTo>
                    <a:pt x="32428" y="22472"/>
                  </a:lnTo>
                  <a:lnTo>
                    <a:pt x="32823" y="22472"/>
                  </a:lnTo>
                  <a:cubicBezTo>
                    <a:pt x="33020" y="22522"/>
                    <a:pt x="33168" y="22522"/>
                    <a:pt x="33366" y="22472"/>
                  </a:cubicBezTo>
                  <a:lnTo>
                    <a:pt x="33366" y="22472"/>
                  </a:lnTo>
                  <a:cubicBezTo>
                    <a:pt x="34204" y="22596"/>
                    <a:pt x="35093" y="22596"/>
                    <a:pt x="35931" y="22472"/>
                  </a:cubicBezTo>
                  <a:lnTo>
                    <a:pt x="36425" y="22472"/>
                  </a:lnTo>
                  <a:lnTo>
                    <a:pt x="36425" y="22472"/>
                  </a:lnTo>
                  <a:cubicBezTo>
                    <a:pt x="36425" y="22472"/>
                    <a:pt x="36425" y="22472"/>
                    <a:pt x="36770" y="22472"/>
                  </a:cubicBezTo>
                  <a:cubicBezTo>
                    <a:pt x="37116" y="22472"/>
                    <a:pt x="36770" y="22472"/>
                    <a:pt x="36770" y="22472"/>
                  </a:cubicBezTo>
                  <a:cubicBezTo>
                    <a:pt x="36770" y="22472"/>
                    <a:pt x="36770" y="22472"/>
                    <a:pt x="36770" y="22226"/>
                  </a:cubicBezTo>
                  <a:lnTo>
                    <a:pt x="37017" y="22226"/>
                  </a:lnTo>
                  <a:lnTo>
                    <a:pt x="37017" y="22226"/>
                  </a:lnTo>
                  <a:cubicBezTo>
                    <a:pt x="37017" y="22226"/>
                    <a:pt x="36326" y="21930"/>
                    <a:pt x="36326" y="22226"/>
                  </a:cubicBezTo>
                  <a:lnTo>
                    <a:pt x="36326" y="22522"/>
                  </a:lnTo>
                  <a:cubicBezTo>
                    <a:pt x="36721" y="22867"/>
                    <a:pt x="36326" y="22818"/>
                    <a:pt x="35931" y="22522"/>
                  </a:cubicBezTo>
                  <a:cubicBezTo>
                    <a:pt x="35537" y="22226"/>
                    <a:pt x="35290" y="22127"/>
                    <a:pt x="35388" y="22522"/>
                  </a:cubicBezTo>
                  <a:cubicBezTo>
                    <a:pt x="35487" y="22916"/>
                    <a:pt x="35388" y="22522"/>
                    <a:pt x="35093" y="22522"/>
                  </a:cubicBezTo>
                  <a:cubicBezTo>
                    <a:pt x="34796" y="22522"/>
                    <a:pt x="35093" y="22127"/>
                    <a:pt x="35093" y="21979"/>
                  </a:cubicBezTo>
                  <a:cubicBezTo>
                    <a:pt x="35093" y="21831"/>
                    <a:pt x="35093" y="21979"/>
                    <a:pt x="35093" y="21979"/>
                  </a:cubicBezTo>
                  <a:cubicBezTo>
                    <a:pt x="35093" y="21979"/>
                    <a:pt x="35093" y="21979"/>
                    <a:pt x="35093" y="21979"/>
                  </a:cubicBezTo>
                  <a:cubicBezTo>
                    <a:pt x="35093" y="21979"/>
                    <a:pt x="36030" y="21979"/>
                    <a:pt x="36030" y="21979"/>
                  </a:cubicBezTo>
                  <a:cubicBezTo>
                    <a:pt x="36030" y="21979"/>
                    <a:pt x="36030" y="21979"/>
                    <a:pt x="36030" y="21979"/>
                  </a:cubicBezTo>
                  <a:cubicBezTo>
                    <a:pt x="36030" y="21979"/>
                    <a:pt x="36030" y="21979"/>
                    <a:pt x="36425" y="21979"/>
                  </a:cubicBezTo>
                  <a:cubicBezTo>
                    <a:pt x="36819" y="21979"/>
                    <a:pt x="36721" y="21683"/>
                    <a:pt x="36425" y="21683"/>
                  </a:cubicBezTo>
                  <a:cubicBezTo>
                    <a:pt x="36129" y="21683"/>
                    <a:pt x="36425" y="21683"/>
                    <a:pt x="36425" y="21683"/>
                  </a:cubicBezTo>
                  <a:lnTo>
                    <a:pt x="36425" y="21683"/>
                  </a:lnTo>
                  <a:cubicBezTo>
                    <a:pt x="36425" y="21683"/>
                    <a:pt x="36425" y="21190"/>
                    <a:pt x="36425" y="21140"/>
                  </a:cubicBezTo>
                  <a:cubicBezTo>
                    <a:pt x="36425" y="21091"/>
                    <a:pt x="37165" y="21535"/>
                    <a:pt x="37165" y="21683"/>
                  </a:cubicBezTo>
                  <a:cubicBezTo>
                    <a:pt x="37116" y="21777"/>
                    <a:pt x="37116" y="21885"/>
                    <a:pt x="37165" y="21979"/>
                  </a:cubicBezTo>
                  <a:cubicBezTo>
                    <a:pt x="37214" y="22087"/>
                    <a:pt x="37214" y="22216"/>
                    <a:pt x="37165" y="22324"/>
                  </a:cubicBezTo>
                  <a:cubicBezTo>
                    <a:pt x="37165" y="22324"/>
                    <a:pt x="37165" y="22324"/>
                    <a:pt x="37165" y="22324"/>
                  </a:cubicBezTo>
                  <a:cubicBezTo>
                    <a:pt x="37165" y="22324"/>
                    <a:pt x="37165" y="22324"/>
                    <a:pt x="37165" y="22324"/>
                  </a:cubicBezTo>
                  <a:cubicBezTo>
                    <a:pt x="37116" y="22453"/>
                    <a:pt x="37116" y="22591"/>
                    <a:pt x="37165" y="22719"/>
                  </a:cubicBezTo>
                  <a:cubicBezTo>
                    <a:pt x="37165" y="22818"/>
                    <a:pt x="37165" y="22916"/>
                    <a:pt x="37165" y="23015"/>
                  </a:cubicBezTo>
                  <a:cubicBezTo>
                    <a:pt x="37165" y="23015"/>
                    <a:pt x="37165" y="23015"/>
                    <a:pt x="37510" y="23015"/>
                  </a:cubicBezTo>
                  <a:cubicBezTo>
                    <a:pt x="37855" y="23015"/>
                    <a:pt x="37510" y="23015"/>
                    <a:pt x="37510" y="23015"/>
                  </a:cubicBezTo>
                  <a:lnTo>
                    <a:pt x="37510" y="23015"/>
                  </a:lnTo>
                  <a:lnTo>
                    <a:pt x="37510" y="23015"/>
                  </a:lnTo>
                  <a:cubicBezTo>
                    <a:pt x="37510" y="23015"/>
                    <a:pt x="37510" y="23015"/>
                    <a:pt x="37806" y="23015"/>
                  </a:cubicBezTo>
                  <a:cubicBezTo>
                    <a:pt x="38102" y="23015"/>
                    <a:pt x="37806" y="23015"/>
                    <a:pt x="37806" y="22670"/>
                  </a:cubicBezTo>
                  <a:cubicBezTo>
                    <a:pt x="37806" y="22324"/>
                    <a:pt x="37806" y="22670"/>
                    <a:pt x="37806" y="22275"/>
                  </a:cubicBezTo>
                  <a:cubicBezTo>
                    <a:pt x="37806" y="21880"/>
                    <a:pt x="37806" y="22275"/>
                    <a:pt x="37806" y="22275"/>
                  </a:cubicBezTo>
                  <a:cubicBezTo>
                    <a:pt x="37806" y="22275"/>
                    <a:pt x="37806" y="22275"/>
                    <a:pt x="37806" y="22275"/>
                  </a:cubicBezTo>
                  <a:cubicBezTo>
                    <a:pt x="37806" y="22275"/>
                    <a:pt x="37806" y="22275"/>
                    <a:pt x="37806" y="22275"/>
                  </a:cubicBezTo>
                  <a:cubicBezTo>
                    <a:pt x="37806" y="22275"/>
                    <a:pt x="37806" y="22275"/>
                    <a:pt x="37806" y="22275"/>
                  </a:cubicBezTo>
                  <a:cubicBezTo>
                    <a:pt x="37806" y="22275"/>
                    <a:pt x="37806" y="22275"/>
                    <a:pt x="37806" y="22028"/>
                  </a:cubicBezTo>
                  <a:cubicBezTo>
                    <a:pt x="37806" y="21782"/>
                    <a:pt x="38102" y="22028"/>
                    <a:pt x="38398" y="22028"/>
                  </a:cubicBezTo>
                  <a:cubicBezTo>
                    <a:pt x="38694" y="22028"/>
                    <a:pt x="38744" y="22028"/>
                    <a:pt x="38793" y="22028"/>
                  </a:cubicBezTo>
                  <a:lnTo>
                    <a:pt x="38793" y="21732"/>
                  </a:lnTo>
                  <a:lnTo>
                    <a:pt x="38546" y="21732"/>
                  </a:lnTo>
                  <a:cubicBezTo>
                    <a:pt x="38398" y="21555"/>
                    <a:pt x="38398" y="21318"/>
                    <a:pt x="38546" y="21140"/>
                  </a:cubicBezTo>
                  <a:cubicBezTo>
                    <a:pt x="38546" y="21140"/>
                    <a:pt x="38201" y="21140"/>
                    <a:pt x="38053" y="21140"/>
                  </a:cubicBezTo>
                  <a:cubicBezTo>
                    <a:pt x="37905" y="21140"/>
                    <a:pt x="37757" y="20844"/>
                    <a:pt x="38053" y="20696"/>
                  </a:cubicBezTo>
                  <a:lnTo>
                    <a:pt x="38053" y="20696"/>
                  </a:lnTo>
                  <a:cubicBezTo>
                    <a:pt x="38053" y="20696"/>
                    <a:pt x="38053" y="20696"/>
                    <a:pt x="38300" y="20696"/>
                  </a:cubicBezTo>
                  <a:lnTo>
                    <a:pt x="38300" y="20696"/>
                  </a:lnTo>
                  <a:cubicBezTo>
                    <a:pt x="38398" y="20657"/>
                    <a:pt x="38546" y="20657"/>
                    <a:pt x="38645" y="20696"/>
                  </a:cubicBezTo>
                  <a:lnTo>
                    <a:pt x="38645" y="20696"/>
                  </a:lnTo>
                  <a:lnTo>
                    <a:pt x="38251" y="20696"/>
                  </a:lnTo>
                  <a:cubicBezTo>
                    <a:pt x="38102" y="20642"/>
                    <a:pt x="38004" y="20642"/>
                    <a:pt x="37855" y="20696"/>
                  </a:cubicBezTo>
                  <a:cubicBezTo>
                    <a:pt x="37412" y="20696"/>
                    <a:pt x="37165" y="20696"/>
                    <a:pt x="37214" y="20696"/>
                  </a:cubicBezTo>
                  <a:lnTo>
                    <a:pt x="37214" y="20696"/>
                  </a:lnTo>
                  <a:lnTo>
                    <a:pt x="37214" y="20696"/>
                  </a:lnTo>
                  <a:lnTo>
                    <a:pt x="37708" y="20696"/>
                  </a:lnTo>
                  <a:cubicBezTo>
                    <a:pt x="38102" y="20696"/>
                    <a:pt x="38251" y="20696"/>
                    <a:pt x="37708" y="20696"/>
                  </a:cubicBezTo>
                  <a:lnTo>
                    <a:pt x="37708" y="20696"/>
                  </a:lnTo>
                  <a:cubicBezTo>
                    <a:pt x="37362" y="20262"/>
                    <a:pt x="36968" y="19897"/>
                    <a:pt x="36524" y="19611"/>
                  </a:cubicBezTo>
                  <a:cubicBezTo>
                    <a:pt x="36227" y="19448"/>
                    <a:pt x="35931" y="19245"/>
                    <a:pt x="35685" y="19019"/>
                  </a:cubicBezTo>
                  <a:lnTo>
                    <a:pt x="35043" y="18575"/>
                  </a:lnTo>
                  <a:lnTo>
                    <a:pt x="34649" y="18278"/>
                  </a:lnTo>
                  <a:cubicBezTo>
                    <a:pt x="34254" y="17933"/>
                    <a:pt x="33958" y="17834"/>
                    <a:pt x="33760" y="17933"/>
                  </a:cubicBezTo>
                  <a:lnTo>
                    <a:pt x="33760" y="17933"/>
                  </a:lnTo>
                  <a:cubicBezTo>
                    <a:pt x="33760" y="17933"/>
                    <a:pt x="33760" y="17933"/>
                    <a:pt x="33513" y="17933"/>
                  </a:cubicBezTo>
                  <a:lnTo>
                    <a:pt x="33168" y="17933"/>
                  </a:lnTo>
                  <a:lnTo>
                    <a:pt x="33168" y="17933"/>
                  </a:lnTo>
                  <a:lnTo>
                    <a:pt x="32872" y="17933"/>
                  </a:lnTo>
                  <a:cubicBezTo>
                    <a:pt x="32626" y="17933"/>
                    <a:pt x="32626" y="17933"/>
                    <a:pt x="32872" y="17933"/>
                  </a:cubicBezTo>
                  <a:cubicBezTo>
                    <a:pt x="33119" y="17933"/>
                    <a:pt x="33218" y="18377"/>
                    <a:pt x="32872" y="18278"/>
                  </a:cubicBezTo>
                  <a:lnTo>
                    <a:pt x="32626" y="18278"/>
                  </a:lnTo>
                  <a:cubicBezTo>
                    <a:pt x="32626" y="18278"/>
                    <a:pt x="32626" y="18723"/>
                    <a:pt x="32626" y="18723"/>
                  </a:cubicBezTo>
                  <a:lnTo>
                    <a:pt x="32626" y="18723"/>
                  </a:lnTo>
                  <a:cubicBezTo>
                    <a:pt x="32626" y="18723"/>
                    <a:pt x="32626" y="18723"/>
                    <a:pt x="32329" y="18723"/>
                  </a:cubicBezTo>
                  <a:cubicBezTo>
                    <a:pt x="32182" y="18683"/>
                    <a:pt x="32034" y="18594"/>
                    <a:pt x="31935" y="18476"/>
                  </a:cubicBezTo>
                  <a:lnTo>
                    <a:pt x="31639" y="18476"/>
                  </a:lnTo>
                  <a:cubicBezTo>
                    <a:pt x="31639" y="18476"/>
                    <a:pt x="31639" y="18476"/>
                    <a:pt x="31639" y="18476"/>
                  </a:cubicBezTo>
                  <a:lnTo>
                    <a:pt x="31639" y="18476"/>
                  </a:lnTo>
                  <a:lnTo>
                    <a:pt x="31639" y="18723"/>
                  </a:lnTo>
                  <a:cubicBezTo>
                    <a:pt x="31639" y="18723"/>
                    <a:pt x="31639" y="19019"/>
                    <a:pt x="31639" y="18723"/>
                  </a:cubicBezTo>
                  <a:cubicBezTo>
                    <a:pt x="31639" y="18427"/>
                    <a:pt x="31145" y="18229"/>
                    <a:pt x="31096" y="18278"/>
                  </a:cubicBezTo>
                  <a:cubicBezTo>
                    <a:pt x="31046" y="18328"/>
                    <a:pt x="31096" y="18525"/>
                    <a:pt x="31096" y="18723"/>
                  </a:cubicBezTo>
                  <a:cubicBezTo>
                    <a:pt x="31096" y="18920"/>
                    <a:pt x="31096" y="19167"/>
                    <a:pt x="31096" y="19413"/>
                  </a:cubicBezTo>
                  <a:lnTo>
                    <a:pt x="31096" y="19709"/>
                  </a:lnTo>
                  <a:lnTo>
                    <a:pt x="31096" y="19709"/>
                  </a:lnTo>
                  <a:cubicBezTo>
                    <a:pt x="30997" y="19473"/>
                    <a:pt x="30899" y="19251"/>
                    <a:pt x="30701" y="19068"/>
                  </a:cubicBezTo>
                  <a:cubicBezTo>
                    <a:pt x="30405" y="19122"/>
                    <a:pt x="30109" y="19241"/>
                    <a:pt x="29862" y="19413"/>
                  </a:cubicBezTo>
                  <a:cubicBezTo>
                    <a:pt x="29862" y="19413"/>
                    <a:pt x="29862" y="19413"/>
                    <a:pt x="29862" y="19759"/>
                  </a:cubicBezTo>
                  <a:cubicBezTo>
                    <a:pt x="29862" y="20104"/>
                    <a:pt x="29862" y="19759"/>
                    <a:pt x="29862" y="19759"/>
                  </a:cubicBezTo>
                  <a:cubicBezTo>
                    <a:pt x="29862" y="19759"/>
                    <a:pt x="29862" y="19759"/>
                    <a:pt x="29862" y="19413"/>
                  </a:cubicBezTo>
                  <a:cubicBezTo>
                    <a:pt x="29862" y="19068"/>
                    <a:pt x="29862" y="19068"/>
                    <a:pt x="29862" y="19068"/>
                  </a:cubicBezTo>
                  <a:cubicBezTo>
                    <a:pt x="29862" y="19068"/>
                    <a:pt x="30800" y="18476"/>
                    <a:pt x="30800" y="18328"/>
                  </a:cubicBezTo>
                  <a:cubicBezTo>
                    <a:pt x="30997" y="18057"/>
                    <a:pt x="31293" y="17854"/>
                    <a:pt x="31639" y="17736"/>
                  </a:cubicBezTo>
                  <a:cubicBezTo>
                    <a:pt x="31688" y="17642"/>
                    <a:pt x="31688" y="17533"/>
                    <a:pt x="31639" y="17440"/>
                  </a:cubicBezTo>
                  <a:lnTo>
                    <a:pt x="31639" y="17094"/>
                  </a:lnTo>
                  <a:cubicBezTo>
                    <a:pt x="31639" y="17094"/>
                    <a:pt x="31639" y="17094"/>
                    <a:pt x="31639" y="17094"/>
                  </a:cubicBezTo>
                  <a:cubicBezTo>
                    <a:pt x="31540" y="17050"/>
                    <a:pt x="31442" y="17050"/>
                    <a:pt x="31343" y="17094"/>
                  </a:cubicBezTo>
                  <a:cubicBezTo>
                    <a:pt x="31343" y="17094"/>
                    <a:pt x="31343" y="17094"/>
                    <a:pt x="31343" y="17094"/>
                  </a:cubicBezTo>
                  <a:cubicBezTo>
                    <a:pt x="31343" y="17094"/>
                    <a:pt x="31343" y="17094"/>
                    <a:pt x="31096" y="17094"/>
                  </a:cubicBezTo>
                  <a:cubicBezTo>
                    <a:pt x="30849" y="17094"/>
                    <a:pt x="31096" y="17094"/>
                    <a:pt x="31096" y="17094"/>
                  </a:cubicBezTo>
                  <a:lnTo>
                    <a:pt x="31096" y="17094"/>
                  </a:lnTo>
                  <a:cubicBezTo>
                    <a:pt x="30899" y="17153"/>
                    <a:pt x="30701" y="17252"/>
                    <a:pt x="30553" y="17390"/>
                  </a:cubicBezTo>
                  <a:lnTo>
                    <a:pt x="30159" y="17736"/>
                  </a:lnTo>
                  <a:lnTo>
                    <a:pt x="30159" y="17242"/>
                  </a:lnTo>
                  <a:cubicBezTo>
                    <a:pt x="30159" y="16798"/>
                    <a:pt x="30159" y="16798"/>
                    <a:pt x="30405" y="16897"/>
                  </a:cubicBezTo>
                  <a:cubicBezTo>
                    <a:pt x="30504" y="16966"/>
                    <a:pt x="30701" y="16966"/>
                    <a:pt x="30800" y="16897"/>
                  </a:cubicBezTo>
                  <a:cubicBezTo>
                    <a:pt x="30800" y="16897"/>
                    <a:pt x="30800" y="16502"/>
                    <a:pt x="30454" y="16502"/>
                  </a:cubicBezTo>
                  <a:cubicBezTo>
                    <a:pt x="30109" y="16502"/>
                    <a:pt x="30159" y="16502"/>
                    <a:pt x="30159" y="16502"/>
                  </a:cubicBezTo>
                  <a:cubicBezTo>
                    <a:pt x="30159" y="16502"/>
                    <a:pt x="30159" y="16502"/>
                    <a:pt x="30405" y="16502"/>
                  </a:cubicBezTo>
                  <a:cubicBezTo>
                    <a:pt x="30652" y="16502"/>
                    <a:pt x="30701" y="16502"/>
                    <a:pt x="31145" y="16502"/>
                  </a:cubicBezTo>
                  <a:cubicBezTo>
                    <a:pt x="31590" y="16502"/>
                    <a:pt x="31737" y="16502"/>
                    <a:pt x="31737" y="16502"/>
                  </a:cubicBezTo>
                  <a:cubicBezTo>
                    <a:pt x="31737" y="16502"/>
                    <a:pt x="31145" y="15861"/>
                    <a:pt x="31046" y="15861"/>
                  </a:cubicBezTo>
                  <a:cubicBezTo>
                    <a:pt x="30948" y="15861"/>
                    <a:pt x="31046" y="15861"/>
                    <a:pt x="31046" y="15861"/>
                  </a:cubicBezTo>
                  <a:cubicBezTo>
                    <a:pt x="31046" y="15861"/>
                    <a:pt x="30701" y="15269"/>
                    <a:pt x="30307" y="15170"/>
                  </a:cubicBezTo>
                  <a:close/>
                  <a:moveTo>
                    <a:pt x="26063" y="9940"/>
                  </a:moveTo>
                  <a:lnTo>
                    <a:pt x="26063" y="9940"/>
                  </a:lnTo>
                  <a:cubicBezTo>
                    <a:pt x="26063" y="9940"/>
                    <a:pt x="26063" y="9940"/>
                    <a:pt x="26063" y="9940"/>
                  </a:cubicBezTo>
                  <a:lnTo>
                    <a:pt x="26063" y="9940"/>
                  </a:lnTo>
                  <a:close/>
                  <a:moveTo>
                    <a:pt x="22659" y="9348"/>
                  </a:moveTo>
                  <a:cubicBezTo>
                    <a:pt x="22659" y="9348"/>
                    <a:pt x="22955" y="9348"/>
                    <a:pt x="23300" y="9052"/>
                  </a:cubicBezTo>
                  <a:lnTo>
                    <a:pt x="23596" y="9052"/>
                  </a:lnTo>
                  <a:cubicBezTo>
                    <a:pt x="23596" y="9052"/>
                    <a:pt x="23596" y="9052"/>
                    <a:pt x="23596" y="9052"/>
                  </a:cubicBezTo>
                  <a:lnTo>
                    <a:pt x="23251" y="9052"/>
                  </a:lnTo>
                  <a:cubicBezTo>
                    <a:pt x="23251" y="9052"/>
                    <a:pt x="22906" y="9052"/>
                    <a:pt x="22906" y="9052"/>
                  </a:cubicBezTo>
                  <a:close/>
                  <a:moveTo>
                    <a:pt x="41013" y="24150"/>
                  </a:moveTo>
                  <a:lnTo>
                    <a:pt x="41013" y="24150"/>
                  </a:lnTo>
                  <a:lnTo>
                    <a:pt x="41013" y="24150"/>
                  </a:lnTo>
                  <a:lnTo>
                    <a:pt x="41013" y="24150"/>
                  </a:lnTo>
                  <a:close/>
                  <a:moveTo>
                    <a:pt x="33909" y="19216"/>
                  </a:moveTo>
                  <a:cubicBezTo>
                    <a:pt x="33909" y="19216"/>
                    <a:pt x="33612" y="19216"/>
                    <a:pt x="33563" y="19216"/>
                  </a:cubicBezTo>
                  <a:cubicBezTo>
                    <a:pt x="33513" y="19216"/>
                    <a:pt x="33563" y="19216"/>
                    <a:pt x="33563" y="19216"/>
                  </a:cubicBezTo>
                  <a:close/>
                  <a:moveTo>
                    <a:pt x="33909" y="18772"/>
                  </a:moveTo>
                  <a:lnTo>
                    <a:pt x="33909" y="18772"/>
                  </a:lnTo>
                  <a:lnTo>
                    <a:pt x="33909" y="18772"/>
                  </a:lnTo>
                  <a:cubicBezTo>
                    <a:pt x="33909" y="18772"/>
                    <a:pt x="33909" y="18772"/>
                    <a:pt x="33909" y="18772"/>
                  </a:cubicBezTo>
                  <a:cubicBezTo>
                    <a:pt x="33909" y="18772"/>
                    <a:pt x="34057" y="18920"/>
                    <a:pt x="34057" y="18871"/>
                  </a:cubicBezTo>
                  <a:close/>
                  <a:moveTo>
                    <a:pt x="33909" y="17390"/>
                  </a:moveTo>
                  <a:cubicBezTo>
                    <a:pt x="33909" y="17390"/>
                    <a:pt x="33909" y="17390"/>
                    <a:pt x="33909" y="17390"/>
                  </a:cubicBezTo>
                  <a:lnTo>
                    <a:pt x="33513" y="17390"/>
                  </a:lnTo>
                  <a:cubicBezTo>
                    <a:pt x="33513" y="17390"/>
                    <a:pt x="33513" y="17390"/>
                    <a:pt x="33513" y="17390"/>
                  </a:cubicBezTo>
                  <a:cubicBezTo>
                    <a:pt x="33513" y="17390"/>
                    <a:pt x="33513" y="17390"/>
                    <a:pt x="33513" y="17390"/>
                  </a:cubicBezTo>
                  <a:cubicBezTo>
                    <a:pt x="33513" y="17390"/>
                    <a:pt x="33513" y="17390"/>
                    <a:pt x="33513" y="17390"/>
                  </a:cubicBezTo>
                  <a:cubicBezTo>
                    <a:pt x="33513" y="17390"/>
                    <a:pt x="34057" y="17588"/>
                    <a:pt x="34057" y="17489"/>
                  </a:cubicBezTo>
                  <a:close/>
                  <a:moveTo>
                    <a:pt x="33119" y="17390"/>
                  </a:moveTo>
                  <a:cubicBezTo>
                    <a:pt x="33119" y="17390"/>
                    <a:pt x="33119" y="17390"/>
                    <a:pt x="33119" y="17390"/>
                  </a:cubicBezTo>
                  <a:lnTo>
                    <a:pt x="33119" y="17390"/>
                  </a:lnTo>
                  <a:lnTo>
                    <a:pt x="33119" y="17390"/>
                  </a:lnTo>
                  <a:close/>
                  <a:moveTo>
                    <a:pt x="33909" y="16700"/>
                  </a:moveTo>
                  <a:lnTo>
                    <a:pt x="33909" y="16700"/>
                  </a:lnTo>
                  <a:cubicBezTo>
                    <a:pt x="33909" y="16700"/>
                    <a:pt x="33909" y="16700"/>
                    <a:pt x="33909" y="16700"/>
                  </a:cubicBezTo>
                  <a:cubicBezTo>
                    <a:pt x="33909" y="16700"/>
                    <a:pt x="34057" y="16996"/>
                    <a:pt x="34057" y="16848"/>
                  </a:cubicBezTo>
                  <a:close/>
                  <a:moveTo>
                    <a:pt x="33909" y="16157"/>
                  </a:moveTo>
                  <a:cubicBezTo>
                    <a:pt x="33909" y="16157"/>
                    <a:pt x="33909" y="16157"/>
                    <a:pt x="33909" y="16157"/>
                  </a:cubicBezTo>
                  <a:cubicBezTo>
                    <a:pt x="33909" y="16157"/>
                    <a:pt x="33909" y="16453"/>
                    <a:pt x="33909" y="16404"/>
                  </a:cubicBezTo>
                  <a:close/>
                  <a:moveTo>
                    <a:pt x="14666" y="4611"/>
                  </a:moveTo>
                  <a:cubicBezTo>
                    <a:pt x="14764" y="4443"/>
                    <a:pt x="14764" y="4236"/>
                    <a:pt x="14666" y="4068"/>
                  </a:cubicBezTo>
                  <a:cubicBezTo>
                    <a:pt x="14666" y="4068"/>
                    <a:pt x="14666" y="4068"/>
                    <a:pt x="14666" y="4068"/>
                  </a:cubicBezTo>
                  <a:cubicBezTo>
                    <a:pt x="14666" y="4068"/>
                    <a:pt x="14666" y="4068"/>
                    <a:pt x="14369" y="4068"/>
                  </a:cubicBezTo>
                  <a:lnTo>
                    <a:pt x="14369" y="3723"/>
                  </a:lnTo>
                  <a:cubicBezTo>
                    <a:pt x="14369" y="3723"/>
                    <a:pt x="14369" y="3723"/>
                    <a:pt x="14369" y="3723"/>
                  </a:cubicBezTo>
                  <a:cubicBezTo>
                    <a:pt x="14369" y="3723"/>
                    <a:pt x="14369" y="3476"/>
                    <a:pt x="14369" y="3476"/>
                  </a:cubicBezTo>
                  <a:lnTo>
                    <a:pt x="14666" y="3476"/>
                  </a:lnTo>
                  <a:cubicBezTo>
                    <a:pt x="14666" y="3476"/>
                    <a:pt x="14666" y="3476"/>
                    <a:pt x="14666" y="3476"/>
                  </a:cubicBezTo>
                  <a:lnTo>
                    <a:pt x="14666" y="3476"/>
                  </a:lnTo>
                  <a:lnTo>
                    <a:pt x="14666" y="3476"/>
                  </a:lnTo>
                  <a:cubicBezTo>
                    <a:pt x="14814" y="3388"/>
                    <a:pt x="14961" y="3388"/>
                    <a:pt x="15110" y="3476"/>
                  </a:cubicBezTo>
                  <a:cubicBezTo>
                    <a:pt x="15110" y="3476"/>
                    <a:pt x="15110" y="3476"/>
                    <a:pt x="15110" y="3476"/>
                  </a:cubicBezTo>
                  <a:cubicBezTo>
                    <a:pt x="15110" y="3476"/>
                    <a:pt x="15110" y="3476"/>
                    <a:pt x="15110" y="3476"/>
                  </a:cubicBezTo>
                  <a:lnTo>
                    <a:pt x="15110" y="3476"/>
                  </a:lnTo>
                  <a:lnTo>
                    <a:pt x="15110" y="3476"/>
                  </a:lnTo>
                  <a:cubicBezTo>
                    <a:pt x="15208" y="3615"/>
                    <a:pt x="15357" y="3703"/>
                    <a:pt x="15505" y="3723"/>
                  </a:cubicBezTo>
                  <a:cubicBezTo>
                    <a:pt x="15702" y="3792"/>
                    <a:pt x="15899" y="3930"/>
                    <a:pt x="16047" y="4118"/>
                  </a:cubicBezTo>
                  <a:cubicBezTo>
                    <a:pt x="16047" y="4364"/>
                    <a:pt x="16047" y="4414"/>
                    <a:pt x="16047" y="4611"/>
                  </a:cubicBezTo>
                  <a:cubicBezTo>
                    <a:pt x="16047" y="4809"/>
                    <a:pt x="16047" y="4611"/>
                    <a:pt x="15505" y="4611"/>
                  </a:cubicBezTo>
                  <a:cubicBezTo>
                    <a:pt x="14961" y="4660"/>
                    <a:pt x="14369" y="4660"/>
                    <a:pt x="13827" y="4611"/>
                  </a:cubicBezTo>
                  <a:cubicBezTo>
                    <a:pt x="13432" y="4611"/>
                    <a:pt x="13383" y="4611"/>
                    <a:pt x="13827" y="4611"/>
                  </a:cubicBezTo>
                  <a:close/>
                  <a:moveTo>
                    <a:pt x="7166" y="3723"/>
                  </a:moveTo>
                  <a:lnTo>
                    <a:pt x="7166" y="3723"/>
                  </a:lnTo>
                  <a:cubicBezTo>
                    <a:pt x="7166" y="3723"/>
                    <a:pt x="7166" y="3723"/>
                    <a:pt x="6722" y="3723"/>
                  </a:cubicBezTo>
                  <a:cubicBezTo>
                    <a:pt x="6722" y="3723"/>
                    <a:pt x="6722" y="3723"/>
                    <a:pt x="6722" y="3723"/>
                  </a:cubicBezTo>
                  <a:lnTo>
                    <a:pt x="6722" y="3723"/>
                  </a:lnTo>
                  <a:cubicBezTo>
                    <a:pt x="6229" y="3516"/>
                    <a:pt x="5686" y="3412"/>
                    <a:pt x="5143" y="3427"/>
                  </a:cubicBezTo>
                  <a:cubicBezTo>
                    <a:pt x="4946" y="3472"/>
                    <a:pt x="4748" y="3472"/>
                    <a:pt x="4551" y="3427"/>
                  </a:cubicBezTo>
                  <a:cubicBezTo>
                    <a:pt x="4107" y="3319"/>
                    <a:pt x="3614" y="3319"/>
                    <a:pt x="3170" y="3427"/>
                  </a:cubicBezTo>
                  <a:cubicBezTo>
                    <a:pt x="2824" y="3427"/>
                    <a:pt x="2775" y="3427"/>
                    <a:pt x="2873" y="3427"/>
                  </a:cubicBezTo>
                  <a:cubicBezTo>
                    <a:pt x="2972" y="3427"/>
                    <a:pt x="2873" y="3427"/>
                    <a:pt x="2873" y="3427"/>
                  </a:cubicBezTo>
                  <a:lnTo>
                    <a:pt x="2873" y="3427"/>
                  </a:lnTo>
                  <a:lnTo>
                    <a:pt x="2578" y="3427"/>
                  </a:lnTo>
                  <a:cubicBezTo>
                    <a:pt x="2578" y="3427"/>
                    <a:pt x="2578" y="3427"/>
                    <a:pt x="2578" y="3427"/>
                  </a:cubicBezTo>
                  <a:cubicBezTo>
                    <a:pt x="2578" y="3427"/>
                    <a:pt x="2578" y="3427"/>
                    <a:pt x="2578" y="3427"/>
                  </a:cubicBezTo>
                  <a:cubicBezTo>
                    <a:pt x="2578" y="3427"/>
                    <a:pt x="2578" y="3427"/>
                    <a:pt x="2578" y="3427"/>
                  </a:cubicBezTo>
                  <a:lnTo>
                    <a:pt x="2578" y="3427"/>
                  </a:lnTo>
                  <a:lnTo>
                    <a:pt x="2578" y="3427"/>
                  </a:lnTo>
                  <a:cubicBezTo>
                    <a:pt x="2578" y="3427"/>
                    <a:pt x="2578" y="3427"/>
                    <a:pt x="2578" y="3427"/>
                  </a:cubicBezTo>
                  <a:lnTo>
                    <a:pt x="2232" y="3427"/>
                  </a:lnTo>
                  <a:lnTo>
                    <a:pt x="1887" y="3427"/>
                  </a:lnTo>
                  <a:lnTo>
                    <a:pt x="1590" y="3427"/>
                  </a:lnTo>
                  <a:cubicBezTo>
                    <a:pt x="1196" y="3550"/>
                    <a:pt x="801" y="3550"/>
                    <a:pt x="406" y="3427"/>
                  </a:cubicBezTo>
                  <a:cubicBezTo>
                    <a:pt x="12" y="3427"/>
                    <a:pt x="61" y="3427"/>
                    <a:pt x="406" y="3032"/>
                  </a:cubicBezTo>
                  <a:cubicBezTo>
                    <a:pt x="456" y="2870"/>
                    <a:pt x="456" y="2702"/>
                    <a:pt x="406" y="2539"/>
                  </a:cubicBezTo>
                  <a:cubicBezTo>
                    <a:pt x="357" y="2430"/>
                    <a:pt x="357" y="2302"/>
                    <a:pt x="406" y="2193"/>
                  </a:cubicBezTo>
                  <a:cubicBezTo>
                    <a:pt x="406" y="2193"/>
                    <a:pt x="406" y="1897"/>
                    <a:pt x="406" y="1897"/>
                  </a:cubicBezTo>
                  <a:cubicBezTo>
                    <a:pt x="406" y="1897"/>
                    <a:pt x="406" y="1897"/>
                    <a:pt x="406" y="1897"/>
                  </a:cubicBezTo>
                  <a:cubicBezTo>
                    <a:pt x="406" y="1897"/>
                    <a:pt x="406" y="1897"/>
                    <a:pt x="406" y="1897"/>
                  </a:cubicBezTo>
                  <a:cubicBezTo>
                    <a:pt x="406" y="1897"/>
                    <a:pt x="406" y="1552"/>
                    <a:pt x="703" y="1503"/>
                  </a:cubicBezTo>
                  <a:cubicBezTo>
                    <a:pt x="998" y="1454"/>
                    <a:pt x="703" y="1503"/>
                    <a:pt x="703" y="1503"/>
                  </a:cubicBezTo>
                  <a:cubicBezTo>
                    <a:pt x="653" y="1374"/>
                    <a:pt x="653" y="1236"/>
                    <a:pt x="703" y="1108"/>
                  </a:cubicBezTo>
                  <a:cubicBezTo>
                    <a:pt x="703" y="812"/>
                    <a:pt x="703" y="664"/>
                    <a:pt x="159" y="565"/>
                  </a:cubicBezTo>
                  <a:cubicBezTo>
                    <a:pt x="-383" y="467"/>
                    <a:pt x="159" y="565"/>
                    <a:pt x="159" y="269"/>
                  </a:cubicBezTo>
                  <a:cubicBezTo>
                    <a:pt x="159" y="-27"/>
                    <a:pt x="159" y="269"/>
                    <a:pt x="159" y="269"/>
                  </a:cubicBezTo>
                  <a:cubicBezTo>
                    <a:pt x="159" y="269"/>
                    <a:pt x="159" y="269"/>
                    <a:pt x="159" y="269"/>
                  </a:cubicBezTo>
                  <a:cubicBezTo>
                    <a:pt x="159" y="269"/>
                    <a:pt x="159" y="269"/>
                    <a:pt x="159" y="269"/>
                  </a:cubicBezTo>
                  <a:cubicBezTo>
                    <a:pt x="159" y="269"/>
                    <a:pt x="159" y="-125"/>
                    <a:pt x="456" y="269"/>
                  </a:cubicBezTo>
                  <a:cubicBezTo>
                    <a:pt x="554" y="314"/>
                    <a:pt x="653" y="314"/>
                    <a:pt x="752" y="269"/>
                  </a:cubicBezTo>
                  <a:lnTo>
                    <a:pt x="1295" y="269"/>
                  </a:lnTo>
                  <a:cubicBezTo>
                    <a:pt x="1295" y="269"/>
                    <a:pt x="1739" y="269"/>
                    <a:pt x="1739" y="269"/>
                  </a:cubicBezTo>
                  <a:lnTo>
                    <a:pt x="1739" y="269"/>
                  </a:lnTo>
                  <a:cubicBezTo>
                    <a:pt x="1739" y="269"/>
                    <a:pt x="1739" y="269"/>
                    <a:pt x="2479" y="-27"/>
                  </a:cubicBezTo>
                  <a:lnTo>
                    <a:pt x="3614" y="-27"/>
                  </a:lnTo>
                  <a:cubicBezTo>
                    <a:pt x="4008" y="-27"/>
                    <a:pt x="4057" y="-27"/>
                    <a:pt x="4057" y="-27"/>
                  </a:cubicBezTo>
                  <a:cubicBezTo>
                    <a:pt x="4057" y="-27"/>
                    <a:pt x="4057" y="-27"/>
                    <a:pt x="4057" y="-27"/>
                  </a:cubicBezTo>
                  <a:cubicBezTo>
                    <a:pt x="4057" y="-27"/>
                    <a:pt x="4551" y="-27"/>
                    <a:pt x="4551" y="-27"/>
                  </a:cubicBezTo>
                  <a:cubicBezTo>
                    <a:pt x="4551" y="-27"/>
                    <a:pt x="4896" y="-27"/>
                    <a:pt x="4995" y="-27"/>
                  </a:cubicBezTo>
                  <a:lnTo>
                    <a:pt x="4995" y="-27"/>
                  </a:lnTo>
                  <a:cubicBezTo>
                    <a:pt x="4995" y="-27"/>
                    <a:pt x="4995" y="-27"/>
                    <a:pt x="5340" y="-27"/>
                  </a:cubicBezTo>
                  <a:cubicBezTo>
                    <a:pt x="5488" y="8"/>
                    <a:pt x="5587" y="8"/>
                    <a:pt x="5735" y="-27"/>
                  </a:cubicBezTo>
                  <a:cubicBezTo>
                    <a:pt x="5735" y="-27"/>
                    <a:pt x="5735" y="-27"/>
                    <a:pt x="6130" y="-27"/>
                  </a:cubicBezTo>
                  <a:lnTo>
                    <a:pt x="6426" y="-27"/>
                  </a:lnTo>
                  <a:lnTo>
                    <a:pt x="6426" y="-27"/>
                  </a:lnTo>
                  <a:lnTo>
                    <a:pt x="6426" y="-27"/>
                  </a:lnTo>
                  <a:cubicBezTo>
                    <a:pt x="6426" y="269"/>
                    <a:pt x="6426" y="319"/>
                    <a:pt x="6771" y="319"/>
                  </a:cubicBezTo>
                  <a:cubicBezTo>
                    <a:pt x="7116" y="319"/>
                    <a:pt x="7116" y="319"/>
                    <a:pt x="7166" y="565"/>
                  </a:cubicBezTo>
                  <a:cubicBezTo>
                    <a:pt x="7215" y="812"/>
                    <a:pt x="7166" y="960"/>
                    <a:pt x="7462" y="565"/>
                  </a:cubicBezTo>
                  <a:cubicBezTo>
                    <a:pt x="7758" y="171"/>
                    <a:pt x="8646" y="565"/>
                    <a:pt x="8646" y="1059"/>
                  </a:cubicBezTo>
                  <a:cubicBezTo>
                    <a:pt x="8646" y="1552"/>
                    <a:pt x="8646" y="1355"/>
                    <a:pt x="9140" y="1404"/>
                  </a:cubicBezTo>
                  <a:lnTo>
                    <a:pt x="9584" y="1700"/>
                  </a:lnTo>
                  <a:lnTo>
                    <a:pt x="9929" y="1700"/>
                  </a:lnTo>
                  <a:lnTo>
                    <a:pt x="10225" y="1700"/>
                  </a:lnTo>
                  <a:lnTo>
                    <a:pt x="10225" y="1700"/>
                  </a:lnTo>
                  <a:cubicBezTo>
                    <a:pt x="10225" y="1454"/>
                    <a:pt x="10571" y="1454"/>
                    <a:pt x="10768" y="1700"/>
                  </a:cubicBezTo>
                  <a:lnTo>
                    <a:pt x="11113" y="1996"/>
                  </a:lnTo>
                  <a:lnTo>
                    <a:pt x="11508" y="2292"/>
                  </a:lnTo>
                  <a:cubicBezTo>
                    <a:pt x="11508" y="2292"/>
                    <a:pt x="11508" y="2292"/>
                    <a:pt x="12051" y="2292"/>
                  </a:cubicBezTo>
                  <a:cubicBezTo>
                    <a:pt x="12593" y="2292"/>
                    <a:pt x="12051" y="2292"/>
                    <a:pt x="12051" y="2292"/>
                  </a:cubicBezTo>
                  <a:lnTo>
                    <a:pt x="12051" y="2292"/>
                  </a:lnTo>
                  <a:cubicBezTo>
                    <a:pt x="12347" y="2292"/>
                    <a:pt x="12494" y="2292"/>
                    <a:pt x="12494" y="2835"/>
                  </a:cubicBezTo>
                  <a:cubicBezTo>
                    <a:pt x="12544" y="3190"/>
                    <a:pt x="12840" y="3452"/>
                    <a:pt x="13185" y="3427"/>
                  </a:cubicBezTo>
                  <a:cubicBezTo>
                    <a:pt x="13185" y="3427"/>
                    <a:pt x="13185" y="3427"/>
                    <a:pt x="13185" y="3427"/>
                  </a:cubicBezTo>
                  <a:cubicBezTo>
                    <a:pt x="13185" y="3427"/>
                    <a:pt x="13185" y="3427"/>
                    <a:pt x="13630" y="3427"/>
                  </a:cubicBezTo>
                  <a:lnTo>
                    <a:pt x="14419" y="4167"/>
                  </a:lnTo>
                  <a:cubicBezTo>
                    <a:pt x="14764" y="4429"/>
                    <a:pt x="15060" y="4789"/>
                    <a:pt x="15208" y="5203"/>
                  </a:cubicBezTo>
                  <a:cubicBezTo>
                    <a:pt x="15060" y="5347"/>
                    <a:pt x="14863" y="5450"/>
                    <a:pt x="14666" y="5499"/>
                  </a:cubicBezTo>
                  <a:cubicBezTo>
                    <a:pt x="14369" y="5583"/>
                    <a:pt x="14074" y="5583"/>
                    <a:pt x="13777" y="5499"/>
                  </a:cubicBezTo>
                  <a:lnTo>
                    <a:pt x="13482" y="5499"/>
                  </a:lnTo>
                  <a:cubicBezTo>
                    <a:pt x="13383" y="5568"/>
                    <a:pt x="13185" y="5568"/>
                    <a:pt x="13087" y="5499"/>
                  </a:cubicBezTo>
                  <a:cubicBezTo>
                    <a:pt x="12396" y="5450"/>
                    <a:pt x="11656" y="5450"/>
                    <a:pt x="10965" y="5499"/>
                  </a:cubicBezTo>
                  <a:cubicBezTo>
                    <a:pt x="10965" y="5499"/>
                    <a:pt x="10965" y="5499"/>
                    <a:pt x="10965" y="5796"/>
                  </a:cubicBezTo>
                  <a:cubicBezTo>
                    <a:pt x="10965" y="6092"/>
                    <a:pt x="10472" y="6338"/>
                    <a:pt x="10077" y="6338"/>
                  </a:cubicBezTo>
                  <a:lnTo>
                    <a:pt x="9732" y="6338"/>
                  </a:lnTo>
                  <a:cubicBezTo>
                    <a:pt x="9584" y="6412"/>
                    <a:pt x="9387" y="6412"/>
                    <a:pt x="9238" y="6338"/>
                  </a:cubicBezTo>
                  <a:cubicBezTo>
                    <a:pt x="9140" y="6284"/>
                    <a:pt x="8991" y="6284"/>
                    <a:pt x="8893" y="6338"/>
                  </a:cubicBezTo>
                  <a:cubicBezTo>
                    <a:pt x="8893" y="6338"/>
                    <a:pt x="8449" y="6338"/>
                    <a:pt x="8202" y="6338"/>
                  </a:cubicBezTo>
                  <a:cubicBezTo>
                    <a:pt x="7955" y="6338"/>
                    <a:pt x="8202" y="6338"/>
                    <a:pt x="8202" y="6338"/>
                  </a:cubicBezTo>
                  <a:cubicBezTo>
                    <a:pt x="8202" y="6338"/>
                    <a:pt x="8202" y="6338"/>
                    <a:pt x="7758" y="6634"/>
                  </a:cubicBezTo>
                  <a:lnTo>
                    <a:pt x="7215" y="6634"/>
                  </a:lnTo>
                  <a:lnTo>
                    <a:pt x="7215" y="6634"/>
                  </a:lnTo>
                  <a:lnTo>
                    <a:pt x="7215" y="6634"/>
                  </a:lnTo>
                  <a:close/>
                  <a:moveTo>
                    <a:pt x="13580" y="3723"/>
                  </a:moveTo>
                  <a:cubicBezTo>
                    <a:pt x="13580" y="3723"/>
                    <a:pt x="13580" y="3723"/>
                    <a:pt x="13580" y="3723"/>
                  </a:cubicBezTo>
                  <a:cubicBezTo>
                    <a:pt x="13580" y="3723"/>
                    <a:pt x="13580" y="3723"/>
                    <a:pt x="13876" y="3723"/>
                  </a:cubicBezTo>
                  <a:cubicBezTo>
                    <a:pt x="14172" y="3723"/>
                    <a:pt x="13876" y="3723"/>
                    <a:pt x="13876" y="3723"/>
                  </a:cubicBezTo>
                  <a:cubicBezTo>
                    <a:pt x="13876" y="3723"/>
                    <a:pt x="13777" y="3921"/>
                    <a:pt x="13728" y="3871"/>
                  </a:cubicBez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Graphic 2">
              <a:extLst>
                <a:ext uri="{FF2B5EF4-FFF2-40B4-BE49-F238E27FC236}">
                  <a16:creationId xmlns:a16="http://schemas.microsoft.com/office/drawing/2014/main" id="{3227A70A-F683-4BD7-AC58-EC3F60E24EC5}"/>
                </a:ext>
              </a:extLst>
            </p:cNvPr>
            <p:cNvSpPr/>
            <p:nvPr/>
          </p:nvSpPr>
          <p:spPr>
            <a:xfrm>
              <a:off x="7763257" y="3585820"/>
              <a:ext cx="7350" cy="2146"/>
            </a:xfrm>
            <a:custGeom>
              <a:avLst/>
              <a:gdLst>
                <a:gd name="connsiteX0" fmla="*/ -82 w 8091"/>
                <a:gd name="connsiteY0" fmla="*/ 263 h 2362"/>
                <a:gd name="connsiteX1" fmla="*/ -82 w 8091"/>
                <a:gd name="connsiteY1" fmla="*/ 263 h 2362"/>
                <a:gd name="connsiteX2" fmla="*/ 8010 w 8091"/>
                <a:gd name="connsiteY2" fmla="*/ 2335 h 2362"/>
                <a:gd name="connsiteX3" fmla="*/ -82 w 8091"/>
                <a:gd name="connsiteY3" fmla="*/ 263 h 2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1" h="2362">
                  <a:moveTo>
                    <a:pt x="-82" y="263"/>
                  </a:moveTo>
                  <a:lnTo>
                    <a:pt x="-82" y="263"/>
                  </a:lnTo>
                  <a:cubicBezTo>
                    <a:pt x="1596" y="658"/>
                    <a:pt x="3964" y="1447"/>
                    <a:pt x="8010" y="2335"/>
                  </a:cubicBezTo>
                  <a:cubicBezTo>
                    <a:pt x="165" y="658"/>
                    <a:pt x="3569" y="-625"/>
                    <a:pt x="-82" y="263"/>
                  </a:cubicBez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Graphic 2">
              <a:extLst>
                <a:ext uri="{FF2B5EF4-FFF2-40B4-BE49-F238E27FC236}">
                  <a16:creationId xmlns:a16="http://schemas.microsoft.com/office/drawing/2014/main" id="{62754785-92D4-490C-846B-05AAD11E6D25}"/>
                </a:ext>
              </a:extLst>
            </p:cNvPr>
            <p:cNvSpPr/>
            <p:nvPr/>
          </p:nvSpPr>
          <p:spPr>
            <a:xfrm>
              <a:off x="7763257" y="3585820"/>
              <a:ext cx="7350" cy="2146"/>
            </a:xfrm>
            <a:custGeom>
              <a:avLst/>
              <a:gdLst>
                <a:gd name="connsiteX0" fmla="*/ -82 w 8091"/>
                <a:gd name="connsiteY0" fmla="*/ 263 h 2362"/>
                <a:gd name="connsiteX1" fmla="*/ -82 w 8091"/>
                <a:gd name="connsiteY1" fmla="*/ 263 h 2362"/>
                <a:gd name="connsiteX2" fmla="*/ 8010 w 8091"/>
                <a:gd name="connsiteY2" fmla="*/ 2335 h 2362"/>
                <a:gd name="connsiteX3" fmla="*/ -82 w 8091"/>
                <a:gd name="connsiteY3" fmla="*/ 263 h 2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1" h="2362">
                  <a:moveTo>
                    <a:pt x="-82" y="263"/>
                  </a:moveTo>
                  <a:lnTo>
                    <a:pt x="-82" y="263"/>
                  </a:lnTo>
                  <a:cubicBezTo>
                    <a:pt x="1596" y="658"/>
                    <a:pt x="3964" y="1447"/>
                    <a:pt x="8010" y="2335"/>
                  </a:cubicBezTo>
                  <a:cubicBezTo>
                    <a:pt x="165" y="658"/>
                    <a:pt x="3569" y="-625"/>
                    <a:pt x="-82" y="263"/>
                  </a:cubicBez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Graphic 2">
              <a:extLst>
                <a:ext uri="{FF2B5EF4-FFF2-40B4-BE49-F238E27FC236}">
                  <a16:creationId xmlns:a16="http://schemas.microsoft.com/office/drawing/2014/main" id="{BC5B9836-0F37-4230-94BE-CFC13A0DD57D}"/>
                </a:ext>
              </a:extLst>
            </p:cNvPr>
            <p:cNvSpPr/>
            <p:nvPr/>
          </p:nvSpPr>
          <p:spPr>
            <a:xfrm>
              <a:off x="8278804" y="4013892"/>
              <a:ext cx="5333" cy="9727"/>
            </a:xfrm>
            <a:custGeom>
              <a:avLst/>
              <a:gdLst>
                <a:gd name="connsiteX0" fmla="*/ 0 w 5871"/>
                <a:gd name="connsiteY0" fmla="*/ 0 h 10707"/>
                <a:gd name="connsiteX1" fmla="*/ 1924 w 5871"/>
                <a:gd name="connsiteY1" fmla="*/ 7697 h 10707"/>
                <a:gd name="connsiteX2" fmla="*/ 5871 w 5871"/>
                <a:gd name="connsiteY2" fmla="*/ 10707 h 10707"/>
                <a:gd name="connsiteX3" fmla="*/ 3898 w 5871"/>
                <a:gd name="connsiteY3" fmla="*/ 4589 h 10707"/>
                <a:gd name="connsiteX4" fmla="*/ 0 w 5871"/>
                <a:gd name="connsiteY4" fmla="*/ 0 h 10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71" h="10707">
                  <a:moveTo>
                    <a:pt x="0" y="0"/>
                  </a:moveTo>
                  <a:lnTo>
                    <a:pt x="1924" y="7697"/>
                  </a:lnTo>
                  <a:lnTo>
                    <a:pt x="5871" y="10707"/>
                  </a:lnTo>
                  <a:lnTo>
                    <a:pt x="3898" y="45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Graphic 2">
              <a:extLst>
                <a:ext uri="{FF2B5EF4-FFF2-40B4-BE49-F238E27FC236}">
                  <a16:creationId xmlns:a16="http://schemas.microsoft.com/office/drawing/2014/main" id="{E582CDA3-AD3C-4359-B647-14CCCF9CF56B}"/>
                </a:ext>
              </a:extLst>
            </p:cNvPr>
            <p:cNvSpPr/>
            <p:nvPr/>
          </p:nvSpPr>
          <p:spPr>
            <a:xfrm>
              <a:off x="8268045" y="4008331"/>
              <a:ext cx="5381" cy="12550"/>
            </a:xfrm>
            <a:custGeom>
              <a:avLst/>
              <a:gdLst>
                <a:gd name="connsiteX0" fmla="*/ 0 w 5921"/>
                <a:gd name="connsiteY0" fmla="*/ 10707 h 13815"/>
                <a:gd name="connsiteX1" fmla="*/ 1974 w 5921"/>
                <a:gd name="connsiteY1" fmla="*/ 13815 h 13815"/>
                <a:gd name="connsiteX2" fmla="*/ 3947 w 5921"/>
                <a:gd name="connsiteY2" fmla="*/ 12286 h 13815"/>
                <a:gd name="connsiteX3" fmla="*/ 5921 w 5921"/>
                <a:gd name="connsiteY3" fmla="*/ 3108 h 13815"/>
                <a:gd name="connsiteX4" fmla="*/ 3947 w 5921"/>
                <a:gd name="connsiteY4" fmla="*/ 0 h 13815"/>
                <a:gd name="connsiteX5" fmla="*/ 0 w 5921"/>
                <a:gd name="connsiteY5" fmla="*/ 10707 h 1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21" h="13815">
                  <a:moveTo>
                    <a:pt x="0" y="10707"/>
                  </a:moveTo>
                  <a:lnTo>
                    <a:pt x="1974" y="13815"/>
                  </a:lnTo>
                  <a:lnTo>
                    <a:pt x="3947" y="12286"/>
                  </a:lnTo>
                  <a:lnTo>
                    <a:pt x="5921" y="3108"/>
                  </a:lnTo>
                  <a:lnTo>
                    <a:pt x="3947" y="0"/>
                  </a:lnTo>
                  <a:lnTo>
                    <a:pt x="0" y="10707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Graphic 2">
              <a:extLst>
                <a:ext uri="{FF2B5EF4-FFF2-40B4-BE49-F238E27FC236}">
                  <a16:creationId xmlns:a16="http://schemas.microsoft.com/office/drawing/2014/main" id="{D6F042A5-7885-4C2E-B752-A9D041E7A15A}"/>
                </a:ext>
              </a:extLst>
            </p:cNvPr>
            <p:cNvSpPr/>
            <p:nvPr/>
          </p:nvSpPr>
          <p:spPr>
            <a:xfrm>
              <a:off x="8284137" y="4013892"/>
              <a:ext cx="3585" cy="6993"/>
            </a:xfrm>
            <a:custGeom>
              <a:avLst/>
              <a:gdLst>
                <a:gd name="connsiteX0" fmla="*/ 2023 w 3947"/>
                <a:gd name="connsiteY0" fmla="*/ 6168 h 7697"/>
                <a:gd name="connsiteX1" fmla="*/ 3947 w 3947"/>
                <a:gd name="connsiteY1" fmla="*/ 7697 h 7697"/>
                <a:gd name="connsiteX2" fmla="*/ 3947 w 3947"/>
                <a:gd name="connsiteY2" fmla="*/ 4589 h 7697"/>
                <a:gd name="connsiteX3" fmla="*/ 3947 w 3947"/>
                <a:gd name="connsiteY3" fmla="*/ 0 h 7697"/>
                <a:gd name="connsiteX4" fmla="*/ 0 w 3947"/>
                <a:gd name="connsiteY4" fmla="*/ 3059 h 7697"/>
                <a:gd name="connsiteX5" fmla="*/ 2023 w 3947"/>
                <a:gd name="connsiteY5" fmla="*/ 6168 h 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7" h="7697">
                  <a:moveTo>
                    <a:pt x="2023" y="6168"/>
                  </a:moveTo>
                  <a:lnTo>
                    <a:pt x="3947" y="7697"/>
                  </a:lnTo>
                  <a:lnTo>
                    <a:pt x="3947" y="4589"/>
                  </a:lnTo>
                  <a:lnTo>
                    <a:pt x="3947" y="0"/>
                  </a:lnTo>
                  <a:lnTo>
                    <a:pt x="0" y="3059"/>
                  </a:lnTo>
                  <a:lnTo>
                    <a:pt x="2023" y="616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Graphic 2">
              <a:extLst>
                <a:ext uri="{FF2B5EF4-FFF2-40B4-BE49-F238E27FC236}">
                  <a16:creationId xmlns:a16="http://schemas.microsoft.com/office/drawing/2014/main" id="{0C728D6A-4523-4D02-8752-F483A56C8527}"/>
                </a:ext>
              </a:extLst>
            </p:cNvPr>
            <p:cNvSpPr/>
            <p:nvPr/>
          </p:nvSpPr>
          <p:spPr>
            <a:xfrm>
              <a:off x="8291310" y="4016670"/>
              <a:ext cx="1748" cy="4214"/>
            </a:xfrm>
            <a:custGeom>
              <a:avLst/>
              <a:gdLst>
                <a:gd name="connsiteX0" fmla="*/ 0 w 1923"/>
                <a:gd name="connsiteY0" fmla="*/ 4638 h 4638"/>
                <a:gd name="connsiteX1" fmla="*/ 1924 w 1923"/>
                <a:gd name="connsiteY1" fmla="*/ 3108 h 4638"/>
                <a:gd name="connsiteX2" fmla="*/ 0 w 1923"/>
                <a:gd name="connsiteY2" fmla="*/ 0 h 4638"/>
                <a:gd name="connsiteX3" fmla="*/ 0 w 1923"/>
                <a:gd name="connsiteY3" fmla="*/ 4638 h 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3" h="4638">
                  <a:moveTo>
                    <a:pt x="0" y="4638"/>
                  </a:moveTo>
                  <a:lnTo>
                    <a:pt x="1924" y="3108"/>
                  </a:lnTo>
                  <a:lnTo>
                    <a:pt x="0" y="0"/>
                  </a:lnTo>
                  <a:lnTo>
                    <a:pt x="0" y="4638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Graphic 2">
              <a:extLst>
                <a:ext uri="{FF2B5EF4-FFF2-40B4-BE49-F238E27FC236}">
                  <a16:creationId xmlns:a16="http://schemas.microsoft.com/office/drawing/2014/main" id="{51D30FF8-3CA0-4725-A324-07CB275F2A98}"/>
                </a:ext>
              </a:extLst>
            </p:cNvPr>
            <p:cNvSpPr/>
            <p:nvPr/>
          </p:nvSpPr>
          <p:spPr>
            <a:xfrm>
              <a:off x="8014284" y="4391491"/>
              <a:ext cx="1792" cy="2779"/>
            </a:xfrm>
            <a:custGeom>
              <a:avLst/>
              <a:gdLst>
                <a:gd name="connsiteX0" fmla="*/ 1974 w 1973"/>
                <a:gd name="connsiteY0" fmla="*/ 1530 h 3059"/>
                <a:gd name="connsiteX1" fmla="*/ 0 w 1973"/>
                <a:gd name="connsiteY1" fmla="*/ 0 h 3059"/>
                <a:gd name="connsiteX2" fmla="*/ 1974 w 1973"/>
                <a:gd name="connsiteY2" fmla="*/ 3059 h 3059"/>
                <a:gd name="connsiteX3" fmla="*/ 1974 w 1973"/>
                <a:gd name="connsiteY3" fmla="*/ 1530 h 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3" h="3059">
                  <a:moveTo>
                    <a:pt x="1974" y="1530"/>
                  </a:moveTo>
                  <a:lnTo>
                    <a:pt x="0" y="0"/>
                  </a:lnTo>
                  <a:lnTo>
                    <a:pt x="1974" y="3059"/>
                  </a:lnTo>
                  <a:lnTo>
                    <a:pt x="1974" y="153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Graphic 2">
              <a:extLst>
                <a:ext uri="{FF2B5EF4-FFF2-40B4-BE49-F238E27FC236}">
                  <a16:creationId xmlns:a16="http://schemas.microsoft.com/office/drawing/2014/main" id="{DB0C8510-C104-4775-8990-84B104C7566E}"/>
                </a:ext>
              </a:extLst>
            </p:cNvPr>
            <p:cNvSpPr/>
            <p:nvPr/>
          </p:nvSpPr>
          <p:spPr>
            <a:xfrm>
              <a:off x="7695746" y="3539154"/>
              <a:ext cx="15061" cy="8380"/>
            </a:xfrm>
            <a:custGeom>
              <a:avLst/>
              <a:gdLst>
                <a:gd name="connsiteX0" fmla="*/ 16134 w 16578"/>
                <a:gd name="connsiteY0" fmla="*/ 0 h 9226"/>
                <a:gd name="connsiteX1" fmla="*/ 0 w 16578"/>
                <a:gd name="connsiteY1" fmla="*/ 7500 h 9226"/>
                <a:gd name="connsiteX2" fmla="*/ 247 w 16578"/>
                <a:gd name="connsiteY2" fmla="*/ 9227 h 9226"/>
                <a:gd name="connsiteX3" fmla="*/ 16579 w 16578"/>
                <a:gd name="connsiteY3" fmla="*/ 1085 h 9226"/>
                <a:gd name="connsiteX4" fmla="*/ 16134 w 16578"/>
                <a:gd name="connsiteY4" fmla="*/ 0 h 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8" h="9226">
                  <a:moveTo>
                    <a:pt x="16134" y="0"/>
                  </a:moveTo>
                  <a:lnTo>
                    <a:pt x="0" y="7500"/>
                  </a:lnTo>
                  <a:lnTo>
                    <a:pt x="247" y="9227"/>
                  </a:lnTo>
                  <a:lnTo>
                    <a:pt x="16579" y="1085"/>
                  </a:lnTo>
                  <a:lnTo>
                    <a:pt x="16134" y="0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Graphic 2">
              <a:extLst>
                <a:ext uri="{FF2B5EF4-FFF2-40B4-BE49-F238E27FC236}">
                  <a16:creationId xmlns:a16="http://schemas.microsoft.com/office/drawing/2014/main" id="{A18A1B70-7ACE-460C-A517-719BF231058B}"/>
                </a:ext>
              </a:extLst>
            </p:cNvPr>
            <p:cNvSpPr/>
            <p:nvPr/>
          </p:nvSpPr>
          <p:spPr>
            <a:xfrm>
              <a:off x="7357039" y="3529111"/>
              <a:ext cx="456648" cy="430942"/>
            </a:xfrm>
            <a:custGeom>
              <a:avLst/>
              <a:gdLst>
                <a:gd name="connsiteX0" fmla="*/ 502055 w 502630"/>
                <a:gd name="connsiteY0" fmla="*/ 156826 h 474358"/>
                <a:gd name="connsiteX1" fmla="*/ 494259 w 502630"/>
                <a:gd name="connsiteY1" fmla="*/ 153767 h 474358"/>
                <a:gd name="connsiteX2" fmla="*/ 482467 w 502630"/>
                <a:gd name="connsiteY2" fmla="*/ 156826 h 474358"/>
                <a:gd name="connsiteX3" fmla="*/ 472599 w 502630"/>
                <a:gd name="connsiteY3" fmla="*/ 155297 h 474358"/>
                <a:gd name="connsiteX4" fmla="*/ 468701 w 502630"/>
                <a:gd name="connsiteY4" fmla="*/ 147649 h 474358"/>
                <a:gd name="connsiteX5" fmla="*/ 454984 w 502630"/>
                <a:gd name="connsiteY5" fmla="*/ 143110 h 474358"/>
                <a:gd name="connsiteX6" fmla="*/ 453899 w 502630"/>
                <a:gd name="connsiteY6" fmla="*/ 143110 h 474358"/>
                <a:gd name="connsiteX7" fmla="*/ 453899 w 502630"/>
                <a:gd name="connsiteY7" fmla="*/ 143110 h 474358"/>
                <a:gd name="connsiteX8" fmla="*/ 444031 w 502630"/>
                <a:gd name="connsiteY8" fmla="*/ 151004 h 474358"/>
                <a:gd name="connsiteX9" fmla="*/ 436383 w 502630"/>
                <a:gd name="connsiteY9" fmla="*/ 151596 h 474358"/>
                <a:gd name="connsiteX10" fmla="*/ 426515 w 502630"/>
                <a:gd name="connsiteY10" fmla="*/ 140840 h 474358"/>
                <a:gd name="connsiteX11" fmla="*/ 424541 w 502630"/>
                <a:gd name="connsiteY11" fmla="*/ 132699 h 474358"/>
                <a:gd name="connsiteX12" fmla="*/ 418670 w 502630"/>
                <a:gd name="connsiteY12" fmla="*/ 109904 h 474358"/>
                <a:gd name="connsiteX13" fmla="*/ 410775 w 502630"/>
                <a:gd name="connsiteY13" fmla="*/ 100035 h 474358"/>
                <a:gd name="connsiteX14" fmla="*/ 410775 w 502630"/>
                <a:gd name="connsiteY14" fmla="*/ 90167 h 474358"/>
                <a:gd name="connsiteX15" fmla="*/ 416696 w 502630"/>
                <a:gd name="connsiteY15" fmla="*/ 86911 h 474358"/>
                <a:gd name="connsiteX16" fmla="*/ 418670 w 502630"/>
                <a:gd name="connsiteY16" fmla="*/ 80398 h 474358"/>
                <a:gd name="connsiteX17" fmla="*/ 428785 w 502630"/>
                <a:gd name="connsiteY17" fmla="*/ 68507 h 474358"/>
                <a:gd name="connsiteX18" fmla="*/ 428488 w 502630"/>
                <a:gd name="connsiteY18" fmla="*/ 67372 h 474358"/>
                <a:gd name="connsiteX19" fmla="*/ 416696 w 502630"/>
                <a:gd name="connsiteY19" fmla="*/ 64116 h 474358"/>
                <a:gd name="connsiteX20" fmla="*/ 414723 w 502630"/>
                <a:gd name="connsiteY20" fmla="*/ 55975 h 474358"/>
                <a:gd name="connsiteX21" fmla="*/ 406877 w 502630"/>
                <a:gd name="connsiteY21" fmla="*/ 51041 h 474358"/>
                <a:gd name="connsiteX22" fmla="*/ 397009 w 502630"/>
                <a:gd name="connsiteY22" fmla="*/ 44577 h 474358"/>
                <a:gd name="connsiteX23" fmla="*/ 391138 w 502630"/>
                <a:gd name="connsiteY23" fmla="*/ 36386 h 474358"/>
                <a:gd name="connsiteX24" fmla="*/ 381270 w 502630"/>
                <a:gd name="connsiteY24" fmla="*/ 38015 h 474358"/>
                <a:gd name="connsiteX25" fmla="*/ 377322 w 502630"/>
                <a:gd name="connsiteY25" fmla="*/ 39643 h 474358"/>
                <a:gd name="connsiteX26" fmla="*/ 371451 w 502630"/>
                <a:gd name="connsiteY26" fmla="*/ 36386 h 474358"/>
                <a:gd name="connsiteX27" fmla="*/ 369477 w 502630"/>
                <a:gd name="connsiteY27" fmla="*/ 21584 h 474358"/>
                <a:gd name="connsiteX28" fmla="*/ 372784 w 502630"/>
                <a:gd name="connsiteY28" fmla="*/ 19907 h 474358"/>
                <a:gd name="connsiteX29" fmla="*/ 372784 w 502630"/>
                <a:gd name="connsiteY29" fmla="*/ 18180 h 474358"/>
                <a:gd name="connsiteX30" fmla="*/ 388917 w 502630"/>
                <a:gd name="connsiteY30" fmla="*/ 10729 h 474358"/>
                <a:gd name="connsiteX31" fmla="*/ 387388 w 502630"/>
                <a:gd name="connsiteY31" fmla="*/ 6930 h 474358"/>
                <a:gd name="connsiteX32" fmla="*/ 391039 w 502630"/>
                <a:gd name="connsiteY32" fmla="*/ 5894 h 474358"/>
                <a:gd name="connsiteX33" fmla="*/ 390447 w 502630"/>
                <a:gd name="connsiteY33" fmla="*/ 4562 h 474358"/>
                <a:gd name="connsiteX34" fmla="*/ 378655 w 502630"/>
                <a:gd name="connsiteY34" fmla="*/ 6091 h 474358"/>
                <a:gd name="connsiteX35" fmla="*/ 370859 w 502630"/>
                <a:gd name="connsiteY35" fmla="*/ -27 h 474358"/>
                <a:gd name="connsiteX36" fmla="*/ 359067 w 502630"/>
                <a:gd name="connsiteY36" fmla="*/ 7621 h 474358"/>
                <a:gd name="connsiteX37" fmla="*/ 349199 w 502630"/>
                <a:gd name="connsiteY37" fmla="*/ 13640 h 474358"/>
                <a:gd name="connsiteX38" fmla="*/ 339331 w 502630"/>
                <a:gd name="connsiteY38" fmla="*/ 13640 h 474358"/>
                <a:gd name="connsiteX39" fmla="*/ 333409 w 502630"/>
                <a:gd name="connsiteY39" fmla="*/ 19709 h 474358"/>
                <a:gd name="connsiteX40" fmla="*/ 327538 w 502630"/>
                <a:gd name="connsiteY40" fmla="*/ 25827 h 474358"/>
                <a:gd name="connsiteX41" fmla="*/ 341304 w 502630"/>
                <a:gd name="connsiteY41" fmla="*/ 45564 h 474358"/>
                <a:gd name="connsiteX42" fmla="*/ 343229 w 502630"/>
                <a:gd name="connsiteY42" fmla="*/ 59231 h 474358"/>
                <a:gd name="connsiteX43" fmla="*/ 327538 w 502630"/>
                <a:gd name="connsiteY43" fmla="*/ 77438 h 474358"/>
                <a:gd name="connsiteX44" fmla="*/ 335433 w 502630"/>
                <a:gd name="connsiteY44" fmla="*/ 86565 h 474358"/>
                <a:gd name="connsiteX45" fmla="*/ 335433 w 502630"/>
                <a:gd name="connsiteY45" fmla="*/ 94411 h 474358"/>
                <a:gd name="connsiteX46" fmla="*/ 325564 w 502630"/>
                <a:gd name="connsiteY46" fmla="*/ 106548 h 474358"/>
                <a:gd name="connsiteX47" fmla="*/ 311848 w 502630"/>
                <a:gd name="connsiteY47" fmla="*/ 106548 h 474358"/>
                <a:gd name="connsiteX48" fmla="*/ 300056 w 502630"/>
                <a:gd name="connsiteY48" fmla="*/ 102009 h 474358"/>
                <a:gd name="connsiteX49" fmla="*/ 290188 w 502630"/>
                <a:gd name="connsiteY49" fmla="*/ 106548 h 474358"/>
                <a:gd name="connsiteX50" fmla="*/ 294085 w 502630"/>
                <a:gd name="connsiteY50" fmla="*/ 115676 h 474358"/>
                <a:gd name="connsiteX51" fmla="*/ 301930 w 502630"/>
                <a:gd name="connsiteY51" fmla="*/ 118735 h 474358"/>
                <a:gd name="connsiteX52" fmla="*/ 305878 w 502630"/>
                <a:gd name="connsiteY52" fmla="*/ 126334 h 474358"/>
                <a:gd name="connsiteX53" fmla="*/ 303855 w 502630"/>
                <a:gd name="connsiteY53" fmla="*/ 132403 h 474358"/>
                <a:gd name="connsiteX54" fmla="*/ 296059 w 502630"/>
                <a:gd name="connsiteY54" fmla="*/ 136942 h 474358"/>
                <a:gd name="connsiteX55" fmla="*/ 288214 w 502630"/>
                <a:gd name="connsiteY55" fmla="*/ 136942 h 474358"/>
                <a:gd name="connsiteX56" fmla="*/ 284267 w 502630"/>
                <a:gd name="connsiteY56" fmla="*/ 141531 h 474358"/>
                <a:gd name="connsiteX57" fmla="*/ 282342 w 502630"/>
                <a:gd name="connsiteY57" fmla="*/ 152139 h 474358"/>
                <a:gd name="connsiteX58" fmla="*/ 280369 w 502630"/>
                <a:gd name="connsiteY58" fmla="*/ 158208 h 474358"/>
                <a:gd name="connsiteX59" fmla="*/ 280369 w 502630"/>
                <a:gd name="connsiteY59" fmla="*/ 164276 h 474358"/>
                <a:gd name="connsiteX60" fmla="*/ 278395 w 502630"/>
                <a:gd name="connsiteY60" fmla="*/ 167336 h 474358"/>
                <a:gd name="connsiteX61" fmla="*/ 280369 w 502630"/>
                <a:gd name="connsiteY61" fmla="*/ 179473 h 474358"/>
                <a:gd name="connsiteX62" fmla="*/ 272524 w 502630"/>
                <a:gd name="connsiteY62" fmla="*/ 190131 h 474358"/>
                <a:gd name="connsiteX63" fmla="*/ 266652 w 502630"/>
                <a:gd name="connsiteY63" fmla="*/ 182532 h 474358"/>
                <a:gd name="connsiteX64" fmla="*/ 262705 w 502630"/>
                <a:gd name="connsiteY64" fmla="*/ 182532 h 474358"/>
                <a:gd name="connsiteX65" fmla="*/ 262705 w 502630"/>
                <a:gd name="connsiteY65" fmla="*/ 185542 h 474358"/>
                <a:gd name="connsiteX66" fmla="*/ 255353 w 502630"/>
                <a:gd name="connsiteY66" fmla="*/ 185542 h 474358"/>
                <a:gd name="connsiteX67" fmla="*/ 249482 w 502630"/>
                <a:gd name="connsiteY67" fmla="*/ 182532 h 474358"/>
                <a:gd name="connsiteX68" fmla="*/ 239614 w 502630"/>
                <a:gd name="connsiteY68" fmla="*/ 184013 h 474358"/>
                <a:gd name="connsiteX69" fmla="*/ 237690 w 502630"/>
                <a:gd name="connsiteY69" fmla="*/ 188601 h 474358"/>
                <a:gd name="connsiteX70" fmla="*/ 225749 w 502630"/>
                <a:gd name="connsiteY70" fmla="*/ 198025 h 474358"/>
                <a:gd name="connsiteX71" fmla="*/ 231670 w 502630"/>
                <a:gd name="connsiteY71" fmla="*/ 199505 h 474358"/>
                <a:gd name="connsiteX72" fmla="*/ 227723 w 502630"/>
                <a:gd name="connsiteY72" fmla="*/ 204045 h 474358"/>
                <a:gd name="connsiteX73" fmla="*/ 212032 w 502630"/>
                <a:gd name="connsiteY73" fmla="*/ 208683 h 474358"/>
                <a:gd name="connsiteX74" fmla="*/ 208085 w 502630"/>
                <a:gd name="connsiteY74" fmla="*/ 205575 h 474358"/>
                <a:gd name="connsiteX75" fmla="*/ 200240 w 502630"/>
                <a:gd name="connsiteY75" fmla="*/ 207104 h 474358"/>
                <a:gd name="connsiteX76" fmla="*/ 198316 w 502630"/>
                <a:gd name="connsiteY76" fmla="*/ 211693 h 474358"/>
                <a:gd name="connsiteX77" fmla="*/ 196145 w 502630"/>
                <a:gd name="connsiteY77" fmla="*/ 217761 h 474358"/>
                <a:gd name="connsiteX78" fmla="*/ 190274 w 502630"/>
                <a:gd name="connsiteY78" fmla="*/ 219291 h 474358"/>
                <a:gd name="connsiteX79" fmla="*/ 186376 w 502630"/>
                <a:gd name="connsiteY79" fmla="*/ 225360 h 474358"/>
                <a:gd name="connsiteX80" fmla="*/ 186376 w 502630"/>
                <a:gd name="connsiteY80" fmla="*/ 232564 h 474358"/>
                <a:gd name="connsiteX81" fmla="*/ 188300 w 502630"/>
                <a:gd name="connsiteY81" fmla="*/ 243172 h 474358"/>
                <a:gd name="connsiteX82" fmla="*/ 188300 w 502630"/>
                <a:gd name="connsiteY82" fmla="*/ 249290 h 474358"/>
                <a:gd name="connsiteX83" fmla="*/ 190274 w 502630"/>
                <a:gd name="connsiteY83" fmla="*/ 255309 h 474358"/>
                <a:gd name="connsiteX84" fmla="*/ 188300 w 502630"/>
                <a:gd name="connsiteY84" fmla="*/ 259898 h 474358"/>
                <a:gd name="connsiteX85" fmla="*/ 174583 w 502630"/>
                <a:gd name="connsiteY85" fmla="*/ 267497 h 474358"/>
                <a:gd name="connsiteX86" fmla="*/ 162840 w 502630"/>
                <a:gd name="connsiteY86" fmla="*/ 264487 h 474358"/>
                <a:gd name="connsiteX87" fmla="*/ 151048 w 502630"/>
                <a:gd name="connsiteY87" fmla="*/ 267497 h 474358"/>
                <a:gd name="connsiteX88" fmla="*/ 131312 w 502630"/>
                <a:gd name="connsiteY88" fmla="*/ 269026 h 474358"/>
                <a:gd name="connsiteX89" fmla="*/ 119519 w 502630"/>
                <a:gd name="connsiteY89" fmla="*/ 272036 h 474358"/>
                <a:gd name="connsiteX90" fmla="*/ 113648 w 502630"/>
                <a:gd name="connsiteY90" fmla="*/ 275095 h 474358"/>
                <a:gd name="connsiteX91" fmla="*/ 101905 w 502630"/>
                <a:gd name="connsiteY91" fmla="*/ 273565 h 474358"/>
                <a:gd name="connsiteX92" fmla="*/ 90112 w 502630"/>
                <a:gd name="connsiteY92" fmla="*/ 276575 h 474358"/>
                <a:gd name="connsiteX93" fmla="*/ 48963 w 502630"/>
                <a:gd name="connsiteY93" fmla="*/ 276575 h 474358"/>
                <a:gd name="connsiteX94" fmla="*/ -82 w 502630"/>
                <a:gd name="connsiteY94" fmla="*/ 264487 h 474358"/>
                <a:gd name="connsiteX95" fmla="*/ 19654 w 502630"/>
                <a:gd name="connsiteY95" fmla="*/ 285753 h 474358"/>
                <a:gd name="connsiteX96" fmla="*/ 23602 w 502630"/>
                <a:gd name="connsiteY96" fmla="*/ 294831 h 474358"/>
                <a:gd name="connsiteX97" fmla="*/ 31447 w 502630"/>
                <a:gd name="connsiteY97" fmla="*/ 302429 h 474358"/>
                <a:gd name="connsiteX98" fmla="*/ 39292 w 502630"/>
                <a:gd name="connsiteY98" fmla="*/ 306969 h 474358"/>
                <a:gd name="connsiteX99" fmla="*/ 43239 w 502630"/>
                <a:gd name="connsiteY99" fmla="*/ 310028 h 474358"/>
                <a:gd name="connsiteX100" fmla="*/ 56956 w 502630"/>
                <a:gd name="connsiteY100" fmla="*/ 310028 h 474358"/>
                <a:gd name="connsiteX101" fmla="*/ 62827 w 502630"/>
                <a:gd name="connsiteY101" fmla="*/ 313038 h 474358"/>
                <a:gd name="connsiteX102" fmla="*/ 62827 w 502630"/>
                <a:gd name="connsiteY102" fmla="*/ 316442 h 474358"/>
                <a:gd name="connsiteX103" fmla="*/ 72695 w 502630"/>
                <a:gd name="connsiteY103" fmla="*/ 316442 h 474358"/>
                <a:gd name="connsiteX104" fmla="*/ 72695 w 502630"/>
                <a:gd name="connsiteY104" fmla="*/ 328580 h 474358"/>
                <a:gd name="connsiteX105" fmla="*/ 76593 w 502630"/>
                <a:gd name="connsiteY105" fmla="*/ 334698 h 474358"/>
                <a:gd name="connsiteX106" fmla="*/ 76593 w 502630"/>
                <a:gd name="connsiteY106" fmla="*/ 342296 h 474358"/>
                <a:gd name="connsiteX107" fmla="*/ 78567 w 502630"/>
                <a:gd name="connsiteY107" fmla="*/ 349846 h 474358"/>
                <a:gd name="connsiteX108" fmla="*/ 88435 w 502630"/>
                <a:gd name="connsiteY108" fmla="*/ 348316 h 474358"/>
                <a:gd name="connsiteX109" fmla="*/ 96280 w 502630"/>
                <a:gd name="connsiteY109" fmla="*/ 354434 h 474358"/>
                <a:gd name="connsiteX110" fmla="*/ 98254 w 502630"/>
                <a:gd name="connsiteY110" fmla="*/ 365042 h 474358"/>
                <a:gd name="connsiteX111" fmla="*/ 92382 w 502630"/>
                <a:gd name="connsiteY111" fmla="*/ 369582 h 474358"/>
                <a:gd name="connsiteX112" fmla="*/ 84537 w 502630"/>
                <a:gd name="connsiteY112" fmla="*/ 366572 h 474358"/>
                <a:gd name="connsiteX113" fmla="*/ 66873 w 502630"/>
                <a:gd name="connsiteY113" fmla="*/ 371111 h 474358"/>
                <a:gd name="connsiteX114" fmla="*/ 62975 w 502630"/>
                <a:gd name="connsiteY114" fmla="*/ 375700 h 474358"/>
                <a:gd name="connsiteX115" fmla="*/ 53107 w 502630"/>
                <a:gd name="connsiteY115" fmla="*/ 378759 h 474358"/>
                <a:gd name="connsiteX116" fmla="*/ 49209 w 502630"/>
                <a:gd name="connsiteY116" fmla="*/ 384778 h 474358"/>
                <a:gd name="connsiteX117" fmla="*/ 51133 w 502630"/>
                <a:gd name="connsiteY117" fmla="*/ 389367 h 474358"/>
                <a:gd name="connsiteX118" fmla="*/ 43190 w 502630"/>
                <a:gd name="connsiteY118" fmla="*/ 395387 h 474358"/>
                <a:gd name="connsiteX119" fmla="*/ 49061 w 502630"/>
                <a:gd name="connsiteY119" fmla="*/ 404515 h 474358"/>
                <a:gd name="connsiteX120" fmla="*/ 45114 w 502630"/>
                <a:gd name="connsiteY120" fmla="*/ 415172 h 474358"/>
                <a:gd name="connsiteX121" fmla="*/ 45114 w 502630"/>
                <a:gd name="connsiteY121" fmla="*/ 419711 h 474358"/>
                <a:gd name="connsiteX122" fmla="*/ 50985 w 502630"/>
                <a:gd name="connsiteY122" fmla="*/ 419711 h 474358"/>
                <a:gd name="connsiteX123" fmla="*/ 50985 w 502630"/>
                <a:gd name="connsiteY123" fmla="*/ 425780 h 474358"/>
                <a:gd name="connsiteX124" fmla="*/ 52959 w 502630"/>
                <a:gd name="connsiteY124" fmla="*/ 425780 h 474358"/>
                <a:gd name="connsiteX125" fmla="*/ 62827 w 502630"/>
                <a:gd name="connsiteY125" fmla="*/ 419711 h 474358"/>
                <a:gd name="connsiteX126" fmla="*/ 70623 w 502630"/>
                <a:gd name="connsiteY126" fmla="*/ 419711 h 474358"/>
                <a:gd name="connsiteX127" fmla="*/ 72646 w 502630"/>
                <a:gd name="connsiteY127" fmla="*/ 421192 h 474358"/>
                <a:gd name="connsiteX128" fmla="*/ 74570 w 502630"/>
                <a:gd name="connsiteY128" fmla="*/ 421192 h 474358"/>
                <a:gd name="connsiteX129" fmla="*/ 82415 w 502630"/>
                <a:gd name="connsiteY129" fmla="*/ 416652 h 474358"/>
                <a:gd name="connsiteX130" fmla="*/ 88287 w 502630"/>
                <a:gd name="connsiteY130" fmla="*/ 418182 h 474358"/>
                <a:gd name="connsiteX131" fmla="*/ 92234 w 502630"/>
                <a:gd name="connsiteY131" fmla="*/ 418182 h 474358"/>
                <a:gd name="connsiteX132" fmla="*/ 98106 w 502630"/>
                <a:gd name="connsiteY132" fmla="*/ 416652 h 474358"/>
                <a:gd name="connsiteX133" fmla="*/ 102053 w 502630"/>
                <a:gd name="connsiteY133" fmla="*/ 418182 h 474358"/>
                <a:gd name="connsiteX134" fmla="*/ 105951 w 502630"/>
                <a:gd name="connsiteY134" fmla="*/ 418182 h 474358"/>
                <a:gd name="connsiteX135" fmla="*/ 105951 w 502630"/>
                <a:gd name="connsiteY135" fmla="*/ 415123 h 474358"/>
                <a:gd name="connsiteX136" fmla="*/ 109849 w 502630"/>
                <a:gd name="connsiteY136" fmla="*/ 412064 h 474358"/>
                <a:gd name="connsiteX137" fmla="*/ 117743 w 502630"/>
                <a:gd name="connsiteY137" fmla="*/ 415123 h 474358"/>
                <a:gd name="connsiteX138" fmla="*/ 123615 w 502630"/>
                <a:gd name="connsiteY138" fmla="*/ 415123 h 474358"/>
                <a:gd name="connsiteX139" fmla="*/ 123615 w 502630"/>
                <a:gd name="connsiteY139" fmla="*/ 413593 h 474358"/>
                <a:gd name="connsiteX140" fmla="*/ 127512 w 502630"/>
                <a:gd name="connsiteY140" fmla="*/ 413593 h 474358"/>
                <a:gd name="connsiteX141" fmla="*/ 129486 w 502630"/>
                <a:gd name="connsiteY141" fmla="*/ 416603 h 474358"/>
                <a:gd name="connsiteX142" fmla="*/ 135358 w 502630"/>
                <a:gd name="connsiteY142" fmla="*/ 416603 h 474358"/>
                <a:gd name="connsiteX143" fmla="*/ 139255 w 502630"/>
                <a:gd name="connsiteY143" fmla="*/ 419662 h 474358"/>
                <a:gd name="connsiteX144" fmla="*/ 145127 w 502630"/>
                <a:gd name="connsiteY144" fmla="*/ 419662 h 474358"/>
                <a:gd name="connsiteX145" fmla="*/ 154995 w 502630"/>
                <a:gd name="connsiteY145" fmla="*/ 413593 h 474358"/>
                <a:gd name="connsiteX146" fmla="*/ 162889 w 502630"/>
                <a:gd name="connsiteY146" fmla="*/ 413593 h 474358"/>
                <a:gd name="connsiteX147" fmla="*/ 168761 w 502630"/>
                <a:gd name="connsiteY147" fmla="*/ 415123 h 474358"/>
                <a:gd name="connsiteX148" fmla="*/ 174632 w 502630"/>
                <a:gd name="connsiteY148" fmla="*/ 412064 h 474358"/>
                <a:gd name="connsiteX149" fmla="*/ 178531 w 502630"/>
                <a:gd name="connsiteY149" fmla="*/ 412064 h 474358"/>
                <a:gd name="connsiteX150" fmla="*/ 180504 w 502630"/>
                <a:gd name="connsiteY150" fmla="*/ 409005 h 474358"/>
                <a:gd name="connsiteX151" fmla="*/ 182477 w 502630"/>
                <a:gd name="connsiteY151" fmla="*/ 412064 h 474358"/>
                <a:gd name="connsiteX152" fmla="*/ 194220 w 502630"/>
                <a:gd name="connsiteY152" fmla="*/ 412064 h 474358"/>
                <a:gd name="connsiteX153" fmla="*/ 202065 w 502630"/>
                <a:gd name="connsiteY153" fmla="*/ 410534 h 474358"/>
                <a:gd name="connsiteX154" fmla="*/ 213808 w 502630"/>
                <a:gd name="connsiteY154" fmla="*/ 409005 h 474358"/>
                <a:gd name="connsiteX155" fmla="*/ 221703 w 502630"/>
                <a:gd name="connsiteY155" fmla="*/ 415123 h 474358"/>
                <a:gd name="connsiteX156" fmla="*/ 225601 w 502630"/>
                <a:gd name="connsiteY156" fmla="*/ 421142 h 474358"/>
                <a:gd name="connsiteX157" fmla="*/ 223627 w 502630"/>
                <a:gd name="connsiteY157" fmla="*/ 427261 h 474358"/>
                <a:gd name="connsiteX158" fmla="*/ 225601 w 502630"/>
                <a:gd name="connsiteY158" fmla="*/ 428790 h 474358"/>
                <a:gd name="connsiteX159" fmla="*/ 223627 w 502630"/>
                <a:gd name="connsiteY159" fmla="*/ 428790 h 474358"/>
                <a:gd name="connsiteX160" fmla="*/ 223627 w 502630"/>
                <a:gd name="connsiteY160" fmla="*/ 430320 h 474358"/>
                <a:gd name="connsiteX161" fmla="*/ 229499 w 502630"/>
                <a:gd name="connsiteY161" fmla="*/ 430320 h 474358"/>
                <a:gd name="connsiteX162" fmla="*/ 239367 w 502630"/>
                <a:gd name="connsiteY162" fmla="*/ 427261 h 474358"/>
                <a:gd name="connsiteX163" fmla="*/ 239367 w 502630"/>
                <a:gd name="connsiteY163" fmla="*/ 433329 h 474358"/>
                <a:gd name="connsiteX164" fmla="*/ 247212 w 502630"/>
                <a:gd name="connsiteY164" fmla="*/ 440878 h 474358"/>
                <a:gd name="connsiteX165" fmla="*/ 249186 w 502630"/>
                <a:gd name="connsiteY165" fmla="*/ 450056 h 474358"/>
                <a:gd name="connsiteX166" fmla="*/ 249186 w 502630"/>
                <a:gd name="connsiteY166" fmla="*/ 457605 h 474358"/>
                <a:gd name="connsiteX167" fmla="*/ 247212 w 502630"/>
                <a:gd name="connsiteY167" fmla="*/ 459134 h 474358"/>
                <a:gd name="connsiteX168" fmla="*/ 251159 w 502630"/>
                <a:gd name="connsiteY168" fmla="*/ 459134 h 474358"/>
                <a:gd name="connsiteX169" fmla="*/ 255057 w 502630"/>
                <a:gd name="connsiteY169" fmla="*/ 465253 h 474358"/>
                <a:gd name="connsiteX170" fmla="*/ 272721 w 502630"/>
                <a:gd name="connsiteY170" fmla="*/ 465253 h 474358"/>
                <a:gd name="connsiteX171" fmla="*/ 284464 w 502630"/>
                <a:gd name="connsiteY171" fmla="*/ 469792 h 474358"/>
                <a:gd name="connsiteX172" fmla="*/ 282540 w 502630"/>
                <a:gd name="connsiteY172" fmla="*/ 474331 h 474358"/>
                <a:gd name="connsiteX173" fmla="*/ 290385 w 502630"/>
                <a:gd name="connsiteY173" fmla="*/ 471322 h 474358"/>
                <a:gd name="connsiteX174" fmla="*/ 290385 w 502630"/>
                <a:gd name="connsiteY174" fmla="*/ 463723 h 474358"/>
                <a:gd name="connsiteX175" fmla="*/ 298181 w 502630"/>
                <a:gd name="connsiteY175" fmla="*/ 459134 h 474358"/>
                <a:gd name="connsiteX176" fmla="*/ 302128 w 502630"/>
                <a:gd name="connsiteY176" fmla="*/ 457605 h 474358"/>
                <a:gd name="connsiteX177" fmla="*/ 306075 w 502630"/>
                <a:gd name="connsiteY177" fmla="*/ 448526 h 474358"/>
                <a:gd name="connsiteX178" fmla="*/ 309973 w 502630"/>
                <a:gd name="connsiteY178" fmla="*/ 450056 h 474358"/>
                <a:gd name="connsiteX179" fmla="*/ 315845 w 502630"/>
                <a:gd name="connsiteY179" fmla="*/ 448526 h 474358"/>
                <a:gd name="connsiteX180" fmla="*/ 341354 w 502630"/>
                <a:gd name="connsiteY180" fmla="*/ 448526 h 474358"/>
                <a:gd name="connsiteX181" fmla="*/ 357044 w 502630"/>
                <a:gd name="connsiteY181" fmla="*/ 443938 h 474358"/>
                <a:gd name="connsiteX182" fmla="*/ 358968 w 502630"/>
                <a:gd name="connsiteY182" fmla="*/ 442408 h 474358"/>
                <a:gd name="connsiteX183" fmla="*/ 366813 w 502630"/>
                <a:gd name="connsiteY183" fmla="*/ 439398 h 474358"/>
                <a:gd name="connsiteX184" fmla="*/ 364889 w 502630"/>
                <a:gd name="connsiteY184" fmla="*/ 443938 h 474358"/>
                <a:gd name="connsiteX185" fmla="*/ 368787 w 502630"/>
                <a:gd name="connsiteY185" fmla="*/ 446997 h 474358"/>
                <a:gd name="connsiteX186" fmla="*/ 374658 w 502630"/>
                <a:gd name="connsiteY186" fmla="*/ 443938 h 474358"/>
                <a:gd name="connsiteX187" fmla="*/ 382503 w 502630"/>
                <a:gd name="connsiteY187" fmla="*/ 442408 h 474358"/>
                <a:gd name="connsiteX188" fmla="*/ 378556 w 502630"/>
                <a:gd name="connsiteY188" fmla="*/ 439398 h 474358"/>
                <a:gd name="connsiteX189" fmla="*/ 380579 w 502630"/>
                <a:gd name="connsiteY189" fmla="*/ 434859 h 474358"/>
                <a:gd name="connsiteX190" fmla="*/ 372685 w 502630"/>
                <a:gd name="connsiteY190" fmla="*/ 415123 h 474358"/>
                <a:gd name="connsiteX191" fmla="*/ 366813 w 502630"/>
                <a:gd name="connsiteY191" fmla="*/ 407475 h 474358"/>
                <a:gd name="connsiteX192" fmla="*/ 366813 w 502630"/>
                <a:gd name="connsiteY192" fmla="*/ 402936 h 474358"/>
                <a:gd name="connsiteX193" fmla="*/ 362915 w 502630"/>
                <a:gd name="connsiteY193" fmla="*/ 399877 h 474358"/>
                <a:gd name="connsiteX194" fmla="*/ 357044 w 502630"/>
                <a:gd name="connsiteY194" fmla="*/ 399877 h 474358"/>
                <a:gd name="connsiteX195" fmla="*/ 343277 w 502630"/>
                <a:gd name="connsiteY195" fmla="*/ 392328 h 474358"/>
                <a:gd name="connsiteX196" fmla="*/ 341354 w 502630"/>
                <a:gd name="connsiteY196" fmla="*/ 381670 h 474358"/>
                <a:gd name="connsiteX197" fmla="*/ 343277 w 502630"/>
                <a:gd name="connsiteY197" fmla="*/ 375601 h 474358"/>
                <a:gd name="connsiteX198" fmla="*/ 337406 w 502630"/>
                <a:gd name="connsiteY198" fmla="*/ 364944 h 474358"/>
                <a:gd name="connsiteX199" fmla="*/ 331534 w 502630"/>
                <a:gd name="connsiteY199" fmla="*/ 363464 h 474358"/>
                <a:gd name="connsiteX200" fmla="*/ 327588 w 502630"/>
                <a:gd name="connsiteY200" fmla="*/ 366473 h 474358"/>
                <a:gd name="connsiteX201" fmla="*/ 317720 w 502630"/>
                <a:gd name="connsiteY201" fmla="*/ 363464 h 474358"/>
                <a:gd name="connsiteX202" fmla="*/ 311848 w 502630"/>
                <a:gd name="connsiteY202" fmla="*/ 363464 h 474358"/>
                <a:gd name="connsiteX203" fmla="*/ 311848 w 502630"/>
                <a:gd name="connsiteY203" fmla="*/ 355914 h 474358"/>
                <a:gd name="connsiteX204" fmla="*/ 317720 w 502630"/>
                <a:gd name="connsiteY204" fmla="*/ 343728 h 474358"/>
                <a:gd name="connsiteX205" fmla="*/ 323591 w 502630"/>
                <a:gd name="connsiteY205" fmla="*/ 342247 h 474358"/>
                <a:gd name="connsiteX206" fmla="*/ 333459 w 502630"/>
                <a:gd name="connsiteY206" fmla="*/ 330060 h 474358"/>
                <a:gd name="connsiteX207" fmla="*/ 335482 w 502630"/>
                <a:gd name="connsiteY207" fmla="*/ 325521 h 474358"/>
                <a:gd name="connsiteX208" fmla="*/ 341354 w 502630"/>
                <a:gd name="connsiteY208" fmla="*/ 322462 h 474358"/>
                <a:gd name="connsiteX209" fmla="*/ 345301 w 502630"/>
                <a:gd name="connsiteY209" fmla="*/ 317922 h 474358"/>
                <a:gd name="connsiteX210" fmla="*/ 353097 w 502630"/>
                <a:gd name="connsiteY210" fmla="*/ 322462 h 474358"/>
                <a:gd name="connsiteX211" fmla="*/ 357044 w 502630"/>
                <a:gd name="connsiteY211" fmla="*/ 328531 h 474358"/>
                <a:gd name="connsiteX212" fmla="*/ 360942 w 502630"/>
                <a:gd name="connsiteY212" fmla="*/ 330060 h 474358"/>
                <a:gd name="connsiteX213" fmla="*/ 374658 w 502630"/>
                <a:gd name="connsiteY213" fmla="*/ 323991 h 474358"/>
                <a:gd name="connsiteX214" fmla="*/ 394395 w 502630"/>
                <a:gd name="connsiteY214" fmla="*/ 322462 h 474358"/>
                <a:gd name="connsiteX215" fmla="*/ 404263 w 502630"/>
                <a:gd name="connsiteY215" fmla="*/ 310324 h 474358"/>
                <a:gd name="connsiteX216" fmla="*/ 412108 w 502630"/>
                <a:gd name="connsiteY216" fmla="*/ 293598 h 474358"/>
                <a:gd name="connsiteX217" fmla="*/ 429771 w 502630"/>
                <a:gd name="connsiteY217" fmla="*/ 282989 h 474358"/>
                <a:gd name="connsiteX218" fmla="*/ 433669 w 502630"/>
                <a:gd name="connsiteY218" fmla="*/ 276871 h 474358"/>
                <a:gd name="connsiteX219" fmla="*/ 433669 w 502630"/>
                <a:gd name="connsiteY219" fmla="*/ 267793 h 474358"/>
                <a:gd name="connsiteX220" fmla="*/ 441514 w 502630"/>
                <a:gd name="connsiteY220" fmla="*/ 255605 h 474358"/>
                <a:gd name="connsiteX221" fmla="*/ 453257 w 502630"/>
                <a:gd name="connsiteY221" fmla="*/ 251066 h 474358"/>
                <a:gd name="connsiteX222" fmla="*/ 459179 w 502630"/>
                <a:gd name="connsiteY222" fmla="*/ 244997 h 474358"/>
                <a:gd name="connsiteX223" fmla="*/ 459179 w 502630"/>
                <a:gd name="connsiteY223" fmla="*/ 237498 h 474358"/>
                <a:gd name="connsiteX224" fmla="*/ 451333 w 502630"/>
                <a:gd name="connsiteY224" fmla="*/ 234488 h 474358"/>
                <a:gd name="connsiteX225" fmla="*/ 463076 w 502630"/>
                <a:gd name="connsiteY225" fmla="*/ 225360 h 474358"/>
                <a:gd name="connsiteX226" fmla="*/ 468997 w 502630"/>
                <a:gd name="connsiteY226" fmla="*/ 222301 h 474358"/>
                <a:gd name="connsiteX227" fmla="*/ 470970 w 502630"/>
                <a:gd name="connsiteY227" fmla="*/ 214702 h 474358"/>
                <a:gd name="connsiteX228" fmla="*/ 472895 w 502630"/>
                <a:gd name="connsiteY228" fmla="*/ 199505 h 474358"/>
                <a:gd name="connsiteX229" fmla="*/ 468997 w 502630"/>
                <a:gd name="connsiteY229" fmla="*/ 188897 h 474358"/>
                <a:gd name="connsiteX230" fmla="*/ 467023 w 502630"/>
                <a:gd name="connsiteY230" fmla="*/ 184309 h 474358"/>
                <a:gd name="connsiteX231" fmla="*/ 476892 w 502630"/>
                <a:gd name="connsiteY231" fmla="*/ 175230 h 474358"/>
                <a:gd name="connsiteX232" fmla="*/ 484736 w 502630"/>
                <a:gd name="connsiteY232" fmla="*/ 173701 h 474358"/>
                <a:gd name="connsiteX233" fmla="*/ 490608 w 502630"/>
                <a:gd name="connsiteY233" fmla="*/ 170691 h 474358"/>
                <a:gd name="connsiteX234" fmla="*/ 496480 w 502630"/>
                <a:gd name="connsiteY234" fmla="*/ 170691 h 474358"/>
                <a:gd name="connsiteX235" fmla="*/ 497614 w 502630"/>
                <a:gd name="connsiteY235" fmla="*/ 169506 h 474358"/>
                <a:gd name="connsiteX236" fmla="*/ 502548 w 502630"/>
                <a:gd name="connsiteY236" fmla="*/ 164572 h 47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502630" h="474358">
                  <a:moveTo>
                    <a:pt x="502055" y="156826"/>
                  </a:moveTo>
                  <a:lnTo>
                    <a:pt x="494259" y="153767"/>
                  </a:lnTo>
                  <a:lnTo>
                    <a:pt x="482467" y="156826"/>
                  </a:lnTo>
                  <a:lnTo>
                    <a:pt x="472599" y="155297"/>
                  </a:lnTo>
                  <a:lnTo>
                    <a:pt x="468701" y="147649"/>
                  </a:lnTo>
                  <a:lnTo>
                    <a:pt x="454984" y="143110"/>
                  </a:lnTo>
                  <a:lnTo>
                    <a:pt x="453899" y="143110"/>
                  </a:lnTo>
                  <a:lnTo>
                    <a:pt x="453899" y="143110"/>
                  </a:lnTo>
                  <a:cubicBezTo>
                    <a:pt x="452370" y="148537"/>
                    <a:pt x="445017" y="150659"/>
                    <a:pt x="444031" y="151004"/>
                  </a:cubicBezTo>
                  <a:cubicBezTo>
                    <a:pt x="441564" y="151690"/>
                    <a:pt x="438948" y="151887"/>
                    <a:pt x="436383" y="151596"/>
                  </a:cubicBezTo>
                  <a:lnTo>
                    <a:pt x="426515" y="140840"/>
                  </a:lnTo>
                  <a:lnTo>
                    <a:pt x="424541" y="132699"/>
                  </a:lnTo>
                  <a:lnTo>
                    <a:pt x="418670" y="109904"/>
                  </a:lnTo>
                  <a:lnTo>
                    <a:pt x="410775" y="100035"/>
                  </a:lnTo>
                  <a:lnTo>
                    <a:pt x="410775" y="90167"/>
                  </a:lnTo>
                  <a:lnTo>
                    <a:pt x="416696" y="86911"/>
                  </a:lnTo>
                  <a:lnTo>
                    <a:pt x="418670" y="80398"/>
                  </a:lnTo>
                  <a:lnTo>
                    <a:pt x="428785" y="68507"/>
                  </a:lnTo>
                  <a:lnTo>
                    <a:pt x="428488" y="67372"/>
                  </a:lnTo>
                  <a:lnTo>
                    <a:pt x="416696" y="64116"/>
                  </a:lnTo>
                  <a:lnTo>
                    <a:pt x="414723" y="55975"/>
                  </a:lnTo>
                  <a:lnTo>
                    <a:pt x="406877" y="51041"/>
                  </a:lnTo>
                  <a:lnTo>
                    <a:pt x="397009" y="44577"/>
                  </a:lnTo>
                  <a:lnTo>
                    <a:pt x="391138" y="36386"/>
                  </a:lnTo>
                  <a:lnTo>
                    <a:pt x="381270" y="38015"/>
                  </a:lnTo>
                  <a:lnTo>
                    <a:pt x="377322" y="39643"/>
                  </a:lnTo>
                  <a:lnTo>
                    <a:pt x="371451" y="36386"/>
                  </a:lnTo>
                  <a:lnTo>
                    <a:pt x="369477" y="21584"/>
                  </a:lnTo>
                  <a:lnTo>
                    <a:pt x="372784" y="19907"/>
                  </a:lnTo>
                  <a:lnTo>
                    <a:pt x="372784" y="18180"/>
                  </a:lnTo>
                  <a:lnTo>
                    <a:pt x="388917" y="10729"/>
                  </a:lnTo>
                  <a:lnTo>
                    <a:pt x="387388" y="6930"/>
                  </a:lnTo>
                  <a:lnTo>
                    <a:pt x="391039" y="5894"/>
                  </a:lnTo>
                  <a:lnTo>
                    <a:pt x="390447" y="4562"/>
                  </a:lnTo>
                  <a:lnTo>
                    <a:pt x="378655" y="6091"/>
                  </a:lnTo>
                  <a:lnTo>
                    <a:pt x="370859" y="-27"/>
                  </a:lnTo>
                  <a:lnTo>
                    <a:pt x="359067" y="7621"/>
                  </a:lnTo>
                  <a:lnTo>
                    <a:pt x="349199" y="13640"/>
                  </a:lnTo>
                  <a:lnTo>
                    <a:pt x="339331" y="13640"/>
                  </a:lnTo>
                  <a:lnTo>
                    <a:pt x="333409" y="19709"/>
                  </a:lnTo>
                  <a:lnTo>
                    <a:pt x="327538" y="25827"/>
                  </a:lnTo>
                  <a:lnTo>
                    <a:pt x="341304" y="45564"/>
                  </a:lnTo>
                  <a:lnTo>
                    <a:pt x="343229" y="59231"/>
                  </a:lnTo>
                  <a:lnTo>
                    <a:pt x="327538" y="77438"/>
                  </a:lnTo>
                  <a:lnTo>
                    <a:pt x="335433" y="86565"/>
                  </a:lnTo>
                  <a:lnTo>
                    <a:pt x="335433" y="94411"/>
                  </a:lnTo>
                  <a:lnTo>
                    <a:pt x="325564" y="106548"/>
                  </a:lnTo>
                  <a:lnTo>
                    <a:pt x="311848" y="106548"/>
                  </a:lnTo>
                  <a:lnTo>
                    <a:pt x="300056" y="102009"/>
                  </a:lnTo>
                  <a:lnTo>
                    <a:pt x="290188" y="106548"/>
                  </a:lnTo>
                  <a:lnTo>
                    <a:pt x="294085" y="115676"/>
                  </a:lnTo>
                  <a:lnTo>
                    <a:pt x="301930" y="118735"/>
                  </a:lnTo>
                  <a:lnTo>
                    <a:pt x="305878" y="126334"/>
                  </a:lnTo>
                  <a:lnTo>
                    <a:pt x="303855" y="132403"/>
                  </a:lnTo>
                  <a:lnTo>
                    <a:pt x="296059" y="136942"/>
                  </a:lnTo>
                  <a:lnTo>
                    <a:pt x="288214" y="136942"/>
                  </a:lnTo>
                  <a:lnTo>
                    <a:pt x="284267" y="141531"/>
                  </a:lnTo>
                  <a:lnTo>
                    <a:pt x="282342" y="152139"/>
                  </a:lnTo>
                  <a:lnTo>
                    <a:pt x="280369" y="158208"/>
                  </a:lnTo>
                  <a:lnTo>
                    <a:pt x="280369" y="164276"/>
                  </a:lnTo>
                  <a:lnTo>
                    <a:pt x="278395" y="167336"/>
                  </a:lnTo>
                  <a:lnTo>
                    <a:pt x="280369" y="179473"/>
                  </a:lnTo>
                  <a:lnTo>
                    <a:pt x="272524" y="190131"/>
                  </a:lnTo>
                  <a:lnTo>
                    <a:pt x="266652" y="182532"/>
                  </a:lnTo>
                  <a:lnTo>
                    <a:pt x="262705" y="182532"/>
                  </a:lnTo>
                  <a:lnTo>
                    <a:pt x="262705" y="185542"/>
                  </a:lnTo>
                  <a:lnTo>
                    <a:pt x="255353" y="185542"/>
                  </a:lnTo>
                  <a:lnTo>
                    <a:pt x="249482" y="182532"/>
                  </a:lnTo>
                  <a:lnTo>
                    <a:pt x="239614" y="184013"/>
                  </a:lnTo>
                  <a:lnTo>
                    <a:pt x="237690" y="188601"/>
                  </a:lnTo>
                  <a:lnTo>
                    <a:pt x="225749" y="198025"/>
                  </a:lnTo>
                  <a:lnTo>
                    <a:pt x="231670" y="199505"/>
                  </a:lnTo>
                  <a:lnTo>
                    <a:pt x="227723" y="204045"/>
                  </a:lnTo>
                  <a:lnTo>
                    <a:pt x="212032" y="208683"/>
                  </a:lnTo>
                  <a:lnTo>
                    <a:pt x="208085" y="205575"/>
                  </a:lnTo>
                  <a:lnTo>
                    <a:pt x="200240" y="207104"/>
                  </a:lnTo>
                  <a:lnTo>
                    <a:pt x="198316" y="211693"/>
                  </a:lnTo>
                  <a:lnTo>
                    <a:pt x="196145" y="217761"/>
                  </a:lnTo>
                  <a:lnTo>
                    <a:pt x="190274" y="219291"/>
                  </a:lnTo>
                  <a:lnTo>
                    <a:pt x="186376" y="225360"/>
                  </a:lnTo>
                  <a:lnTo>
                    <a:pt x="186376" y="232564"/>
                  </a:lnTo>
                  <a:lnTo>
                    <a:pt x="188300" y="243172"/>
                  </a:lnTo>
                  <a:lnTo>
                    <a:pt x="188300" y="249290"/>
                  </a:lnTo>
                  <a:lnTo>
                    <a:pt x="190274" y="255309"/>
                  </a:lnTo>
                  <a:lnTo>
                    <a:pt x="188300" y="259898"/>
                  </a:lnTo>
                  <a:lnTo>
                    <a:pt x="174583" y="267497"/>
                  </a:lnTo>
                  <a:lnTo>
                    <a:pt x="162840" y="264487"/>
                  </a:lnTo>
                  <a:lnTo>
                    <a:pt x="151048" y="267497"/>
                  </a:lnTo>
                  <a:lnTo>
                    <a:pt x="131312" y="269026"/>
                  </a:lnTo>
                  <a:lnTo>
                    <a:pt x="119519" y="272036"/>
                  </a:lnTo>
                  <a:lnTo>
                    <a:pt x="113648" y="275095"/>
                  </a:lnTo>
                  <a:lnTo>
                    <a:pt x="101905" y="273565"/>
                  </a:lnTo>
                  <a:lnTo>
                    <a:pt x="90112" y="276575"/>
                  </a:lnTo>
                  <a:lnTo>
                    <a:pt x="48963" y="276575"/>
                  </a:lnTo>
                  <a:lnTo>
                    <a:pt x="-82" y="264487"/>
                  </a:lnTo>
                  <a:lnTo>
                    <a:pt x="19654" y="285753"/>
                  </a:lnTo>
                  <a:lnTo>
                    <a:pt x="23602" y="294831"/>
                  </a:lnTo>
                  <a:lnTo>
                    <a:pt x="31447" y="302429"/>
                  </a:lnTo>
                  <a:lnTo>
                    <a:pt x="39292" y="306969"/>
                  </a:lnTo>
                  <a:lnTo>
                    <a:pt x="43239" y="310028"/>
                  </a:lnTo>
                  <a:lnTo>
                    <a:pt x="56956" y="310028"/>
                  </a:lnTo>
                  <a:lnTo>
                    <a:pt x="62827" y="313038"/>
                  </a:lnTo>
                  <a:lnTo>
                    <a:pt x="62827" y="316442"/>
                  </a:lnTo>
                  <a:lnTo>
                    <a:pt x="72695" y="316442"/>
                  </a:lnTo>
                  <a:lnTo>
                    <a:pt x="72695" y="328580"/>
                  </a:lnTo>
                  <a:lnTo>
                    <a:pt x="76593" y="334698"/>
                  </a:lnTo>
                  <a:lnTo>
                    <a:pt x="76593" y="342296"/>
                  </a:lnTo>
                  <a:lnTo>
                    <a:pt x="78567" y="349846"/>
                  </a:lnTo>
                  <a:lnTo>
                    <a:pt x="88435" y="348316"/>
                  </a:lnTo>
                  <a:lnTo>
                    <a:pt x="96280" y="354434"/>
                  </a:lnTo>
                  <a:lnTo>
                    <a:pt x="98254" y="365042"/>
                  </a:lnTo>
                  <a:lnTo>
                    <a:pt x="92382" y="369582"/>
                  </a:lnTo>
                  <a:lnTo>
                    <a:pt x="84537" y="366572"/>
                  </a:lnTo>
                  <a:lnTo>
                    <a:pt x="66873" y="371111"/>
                  </a:lnTo>
                  <a:lnTo>
                    <a:pt x="62975" y="375700"/>
                  </a:lnTo>
                  <a:lnTo>
                    <a:pt x="53107" y="378759"/>
                  </a:lnTo>
                  <a:lnTo>
                    <a:pt x="49209" y="384778"/>
                  </a:lnTo>
                  <a:lnTo>
                    <a:pt x="51133" y="389367"/>
                  </a:lnTo>
                  <a:lnTo>
                    <a:pt x="43190" y="395387"/>
                  </a:lnTo>
                  <a:lnTo>
                    <a:pt x="49061" y="404515"/>
                  </a:lnTo>
                  <a:lnTo>
                    <a:pt x="45114" y="415172"/>
                  </a:lnTo>
                  <a:lnTo>
                    <a:pt x="45114" y="419711"/>
                  </a:lnTo>
                  <a:lnTo>
                    <a:pt x="50985" y="419711"/>
                  </a:lnTo>
                  <a:lnTo>
                    <a:pt x="50985" y="425780"/>
                  </a:lnTo>
                  <a:lnTo>
                    <a:pt x="52959" y="425780"/>
                  </a:lnTo>
                  <a:lnTo>
                    <a:pt x="62827" y="419711"/>
                  </a:lnTo>
                  <a:lnTo>
                    <a:pt x="70623" y="419711"/>
                  </a:lnTo>
                  <a:lnTo>
                    <a:pt x="72646" y="421192"/>
                  </a:lnTo>
                  <a:lnTo>
                    <a:pt x="74570" y="421192"/>
                  </a:lnTo>
                  <a:lnTo>
                    <a:pt x="82415" y="416652"/>
                  </a:lnTo>
                  <a:lnTo>
                    <a:pt x="88287" y="418182"/>
                  </a:lnTo>
                  <a:lnTo>
                    <a:pt x="92234" y="418182"/>
                  </a:lnTo>
                  <a:lnTo>
                    <a:pt x="98106" y="416652"/>
                  </a:lnTo>
                  <a:lnTo>
                    <a:pt x="102053" y="418182"/>
                  </a:lnTo>
                  <a:lnTo>
                    <a:pt x="105951" y="418182"/>
                  </a:lnTo>
                  <a:lnTo>
                    <a:pt x="105951" y="415123"/>
                  </a:lnTo>
                  <a:lnTo>
                    <a:pt x="109849" y="412064"/>
                  </a:lnTo>
                  <a:lnTo>
                    <a:pt x="117743" y="415123"/>
                  </a:lnTo>
                  <a:lnTo>
                    <a:pt x="123615" y="415123"/>
                  </a:lnTo>
                  <a:lnTo>
                    <a:pt x="123615" y="413593"/>
                  </a:lnTo>
                  <a:lnTo>
                    <a:pt x="127512" y="413593"/>
                  </a:lnTo>
                  <a:lnTo>
                    <a:pt x="129486" y="416603"/>
                  </a:lnTo>
                  <a:lnTo>
                    <a:pt x="135358" y="416603"/>
                  </a:lnTo>
                  <a:lnTo>
                    <a:pt x="139255" y="419662"/>
                  </a:lnTo>
                  <a:lnTo>
                    <a:pt x="145127" y="419662"/>
                  </a:lnTo>
                  <a:lnTo>
                    <a:pt x="154995" y="413593"/>
                  </a:lnTo>
                  <a:lnTo>
                    <a:pt x="162889" y="413593"/>
                  </a:lnTo>
                  <a:lnTo>
                    <a:pt x="168761" y="415123"/>
                  </a:lnTo>
                  <a:lnTo>
                    <a:pt x="174632" y="412064"/>
                  </a:lnTo>
                  <a:lnTo>
                    <a:pt x="178531" y="412064"/>
                  </a:lnTo>
                  <a:lnTo>
                    <a:pt x="180504" y="409005"/>
                  </a:lnTo>
                  <a:lnTo>
                    <a:pt x="182477" y="412064"/>
                  </a:lnTo>
                  <a:lnTo>
                    <a:pt x="194220" y="412064"/>
                  </a:lnTo>
                  <a:lnTo>
                    <a:pt x="202065" y="410534"/>
                  </a:lnTo>
                  <a:lnTo>
                    <a:pt x="213808" y="409005"/>
                  </a:lnTo>
                  <a:lnTo>
                    <a:pt x="221703" y="415123"/>
                  </a:lnTo>
                  <a:lnTo>
                    <a:pt x="225601" y="421142"/>
                  </a:lnTo>
                  <a:lnTo>
                    <a:pt x="223627" y="427261"/>
                  </a:lnTo>
                  <a:lnTo>
                    <a:pt x="225601" y="428790"/>
                  </a:lnTo>
                  <a:lnTo>
                    <a:pt x="223627" y="428790"/>
                  </a:lnTo>
                  <a:lnTo>
                    <a:pt x="223627" y="430320"/>
                  </a:lnTo>
                  <a:lnTo>
                    <a:pt x="229499" y="430320"/>
                  </a:lnTo>
                  <a:lnTo>
                    <a:pt x="239367" y="427261"/>
                  </a:lnTo>
                  <a:lnTo>
                    <a:pt x="239367" y="433329"/>
                  </a:lnTo>
                  <a:lnTo>
                    <a:pt x="247212" y="440878"/>
                  </a:lnTo>
                  <a:lnTo>
                    <a:pt x="249186" y="450056"/>
                  </a:lnTo>
                  <a:lnTo>
                    <a:pt x="249186" y="457605"/>
                  </a:lnTo>
                  <a:lnTo>
                    <a:pt x="247212" y="459134"/>
                  </a:lnTo>
                  <a:lnTo>
                    <a:pt x="251159" y="459134"/>
                  </a:lnTo>
                  <a:lnTo>
                    <a:pt x="255057" y="465253"/>
                  </a:lnTo>
                  <a:lnTo>
                    <a:pt x="272721" y="465253"/>
                  </a:lnTo>
                  <a:lnTo>
                    <a:pt x="284464" y="469792"/>
                  </a:lnTo>
                  <a:lnTo>
                    <a:pt x="282540" y="474331"/>
                  </a:lnTo>
                  <a:lnTo>
                    <a:pt x="290385" y="471322"/>
                  </a:lnTo>
                  <a:lnTo>
                    <a:pt x="290385" y="463723"/>
                  </a:lnTo>
                  <a:lnTo>
                    <a:pt x="298181" y="459134"/>
                  </a:lnTo>
                  <a:lnTo>
                    <a:pt x="302128" y="457605"/>
                  </a:lnTo>
                  <a:lnTo>
                    <a:pt x="306075" y="448526"/>
                  </a:lnTo>
                  <a:lnTo>
                    <a:pt x="309973" y="450056"/>
                  </a:lnTo>
                  <a:lnTo>
                    <a:pt x="315845" y="448526"/>
                  </a:lnTo>
                  <a:lnTo>
                    <a:pt x="341354" y="448526"/>
                  </a:lnTo>
                  <a:lnTo>
                    <a:pt x="357044" y="443938"/>
                  </a:lnTo>
                  <a:lnTo>
                    <a:pt x="358968" y="442408"/>
                  </a:lnTo>
                  <a:lnTo>
                    <a:pt x="366813" y="439398"/>
                  </a:lnTo>
                  <a:lnTo>
                    <a:pt x="364889" y="443938"/>
                  </a:lnTo>
                  <a:lnTo>
                    <a:pt x="368787" y="446997"/>
                  </a:lnTo>
                  <a:lnTo>
                    <a:pt x="374658" y="443938"/>
                  </a:lnTo>
                  <a:lnTo>
                    <a:pt x="382503" y="442408"/>
                  </a:lnTo>
                  <a:lnTo>
                    <a:pt x="378556" y="439398"/>
                  </a:lnTo>
                  <a:lnTo>
                    <a:pt x="380579" y="434859"/>
                  </a:lnTo>
                  <a:lnTo>
                    <a:pt x="372685" y="415123"/>
                  </a:lnTo>
                  <a:lnTo>
                    <a:pt x="366813" y="407475"/>
                  </a:lnTo>
                  <a:lnTo>
                    <a:pt x="366813" y="402936"/>
                  </a:lnTo>
                  <a:lnTo>
                    <a:pt x="362915" y="399877"/>
                  </a:lnTo>
                  <a:lnTo>
                    <a:pt x="357044" y="399877"/>
                  </a:lnTo>
                  <a:lnTo>
                    <a:pt x="343277" y="392328"/>
                  </a:lnTo>
                  <a:lnTo>
                    <a:pt x="341354" y="381670"/>
                  </a:lnTo>
                  <a:lnTo>
                    <a:pt x="343277" y="375601"/>
                  </a:lnTo>
                  <a:lnTo>
                    <a:pt x="337406" y="364944"/>
                  </a:lnTo>
                  <a:lnTo>
                    <a:pt x="331534" y="363464"/>
                  </a:lnTo>
                  <a:lnTo>
                    <a:pt x="327588" y="366473"/>
                  </a:lnTo>
                  <a:lnTo>
                    <a:pt x="317720" y="363464"/>
                  </a:lnTo>
                  <a:lnTo>
                    <a:pt x="311848" y="363464"/>
                  </a:lnTo>
                  <a:lnTo>
                    <a:pt x="311848" y="355914"/>
                  </a:lnTo>
                  <a:lnTo>
                    <a:pt x="317720" y="343728"/>
                  </a:lnTo>
                  <a:lnTo>
                    <a:pt x="323591" y="342247"/>
                  </a:lnTo>
                  <a:lnTo>
                    <a:pt x="333459" y="330060"/>
                  </a:lnTo>
                  <a:lnTo>
                    <a:pt x="335482" y="325521"/>
                  </a:lnTo>
                  <a:lnTo>
                    <a:pt x="341354" y="322462"/>
                  </a:lnTo>
                  <a:lnTo>
                    <a:pt x="345301" y="317922"/>
                  </a:lnTo>
                  <a:lnTo>
                    <a:pt x="353097" y="322462"/>
                  </a:lnTo>
                  <a:lnTo>
                    <a:pt x="357044" y="328531"/>
                  </a:lnTo>
                  <a:lnTo>
                    <a:pt x="360942" y="330060"/>
                  </a:lnTo>
                  <a:lnTo>
                    <a:pt x="374658" y="323991"/>
                  </a:lnTo>
                  <a:lnTo>
                    <a:pt x="394395" y="322462"/>
                  </a:lnTo>
                  <a:lnTo>
                    <a:pt x="404263" y="310324"/>
                  </a:lnTo>
                  <a:lnTo>
                    <a:pt x="412108" y="293598"/>
                  </a:lnTo>
                  <a:lnTo>
                    <a:pt x="429771" y="282989"/>
                  </a:lnTo>
                  <a:lnTo>
                    <a:pt x="433669" y="276871"/>
                  </a:lnTo>
                  <a:lnTo>
                    <a:pt x="433669" y="267793"/>
                  </a:lnTo>
                  <a:lnTo>
                    <a:pt x="441514" y="255605"/>
                  </a:lnTo>
                  <a:lnTo>
                    <a:pt x="453257" y="251066"/>
                  </a:lnTo>
                  <a:lnTo>
                    <a:pt x="459179" y="244997"/>
                  </a:lnTo>
                  <a:lnTo>
                    <a:pt x="459179" y="237498"/>
                  </a:lnTo>
                  <a:lnTo>
                    <a:pt x="451333" y="234488"/>
                  </a:lnTo>
                  <a:lnTo>
                    <a:pt x="463076" y="225360"/>
                  </a:lnTo>
                  <a:lnTo>
                    <a:pt x="468997" y="222301"/>
                  </a:lnTo>
                  <a:lnTo>
                    <a:pt x="470970" y="214702"/>
                  </a:lnTo>
                  <a:lnTo>
                    <a:pt x="472895" y="199505"/>
                  </a:lnTo>
                  <a:lnTo>
                    <a:pt x="468997" y="188897"/>
                  </a:lnTo>
                  <a:lnTo>
                    <a:pt x="467023" y="184309"/>
                  </a:lnTo>
                  <a:lnTo>
                    <a:pt x="476892" y="175230"/>
                  </a:lnTo>
                  <a:lnTo>
                    <a:pt x="484736" y="173701"/>
                  </a:lnTo>
                  <a:lnTo>
                    <a:pt x="490608" y="170691"/>
                  </a:lnTo>
                  <a:lnTo>
                    <a:pt x="496480" y="170691"/>
                  </a:lnTo>
                  <a:lnTo>
                    <a:pt x="497614" y="169506"/>
                  </a:lnTo>
                  <a:lnTo>
                    <a:pt x="502548" y="164572"/>
                  </a:lnTo>
                  <a:close/>
                </a:path>
              </a:pathLst>
            </a:custGeom>
            <a:solidFill>
              <a:srgbClr val="D9D9D9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Graphic 2">
              <a:extLst>
                <a:ext uri="{FF2B5EF4-FFF2-40B4-BE49-F238E27FC236}">
                  <a16:creationId xmlns:a16="http://schemas.microsoft.com/office/drawing/2014/main" id="{C9774920-276F-410D-9BB1-CD82DE155263}"/>
                </a:ext>
              </a:extLst>
            </p:cNvPr>
            <p:cNvSpPr/>
            <p:nvPr/>
          </p:nvSpPr>
          <p:spPr>
            <a:xfrm>
              <a:off x="7622188" y="3565329"/>
              <a:ext cx="922884" cy="858121"/>
            </a:xfrm>
            <a:custGeom>
              <a:avLst/>
              <a:gdLst>
                <a:gd name="connsiteX0" fmla="*/ 1015737 w 1015819"/>
                <a:gd name="connsiteY0" fmla="*/ 272184 h 944571"/>
                <a:gd name="connsiteX1" fmla="*/ 1015737 w 1015819"/>
                <a:gd name="connsiteY1" fmla="*/ 267595 h 944571"/>
                <a:gd name="connsiteX2" fmla="*/ 1007892 w 1015819"/>
                <a:gd name="connsiteY2" fmla="*/ 261526 h 944571"/>
                <a:gd name="connsiteX3" fmla="*/ 1001971 w 1015819"/>
                <a:gd name="connsiteY3" fmla="*/ 259997 h 944571"/>
                <a:gd name="connsiteX4" fmla="*/ 998074 w 1015819"/>
                <a:gd name="connsiteY4" fmla="*/ 261526 h 944571"/>
                <a:gd name="connsiteX5" fmla="*/ 988206 w 1015819"/>
                <a:gd name="connsiteY5" fmla="*/ 259997 h 944571"/>
                <a:gd name="connsiteX6" fmla="*/ 986232 w 1015819"/>
                <a:gd name="connsiteY6" fmla="*/ 253829 h 944571"/>
                <a:gd name="connsiteX7" fmla="*/ 994126 w 1015819"/>
                <a:gd name="connsiteY7" fmla="*/ 247711 h 944571"/>
                <a:gd name="connsiteX8" fmla="*/ 994126 w 1015819"/>
                <a:gd name="connsiteY8" fmla="*/ 244701 h 944571"/>
                <a:gd name="connsiteX9" fmla="*/ 986232 w 1015819"/>
                <a:gd name="connsiteY9" fmla="*/ 238583 h 944571"/>
                <a:gd name="connsiteX10" fmla="*/ 986232 w 1015819"/>
                <a:gd name="connsiteY10" fmla="*/ 233994 h 944571"/>
                <a:gd name="connsiteX11" fmla="*/ 980360 w 1015819"/>
                <a:gd name="connsiteY11" fmla="*/ 235524 h 944571"/>
                <a:gd name="connsiteX12" fmla="*/ 976413 w 1015819"/>
                <a:gd name="connsiteY12" fmla="*/ 235524 h 944571"/>
                <a:gd name="connsiteX13" fmla="*/ 974439 w 1015819"/>
                <a:gd name="connsiteY13" fmla="*/ 230935 h 944571"/>
                <a:gd name="connsiteX14" fmla="*/ 978338 w 1015819"/>
                <a:gd name="connsiteY14" fmla="*/ 221758 h 944571"/>
                <a:gd name="connsiteX15" fmla="*/ 978338 w 1015819"/>
                <a:gd name="connsiteY15" fmla="*/ 218748 h 944571"/>
                <a:gd name="connsiteX16" fmla="*/ 972466 w 1015819"/>
                <a:gd name="connsiteY16" fmla="*/ 220228 h 944571"/>
                <a:gd name="connsiteX17" fmla="*/ 968568 w 1015819"/>
                <a:gd name="connsiteY17" fmla="*/ 215640 h 944571"/>
                <a:gd name="connsiteX18" fmla="*/ 964571 w 1015819"/>
                <a:gd name="connsiteY18" fmla="*/ 214110 h 944571"/>
                <a:gd name="connsiteX19" fmla="*/ 946908 w 1015819"/>
                <a:gd name="connsiteY19" fmla="*/ 221758 h 944571"/>
                <a:gd name="connsiteX20" fmla="*/ 948881 w 1015819"/>
                <a:gd name="connsiteY20" fmla="*/ 227876 h 944571"/>
                <a:gd name="connsiteX21" fmla="*/ 944934 w 1015819"/>
                <a:gd name="connsiteY21" fmla="*/ 232465 h 944571"/>
                <a:gd name="connsiteX22" fmla="*/ 931168 w 1015819"/>
                <a:gd name="connsiteY22" fmla="*/ 226347 h 944571"/>
                <a:gd name="connsiteX23" fmla="*/ 921300 w 1015819"/>
                <a:gd name="connsiteY23" fmla="*/ 230935 h 944571"/>
                <a:gd name="connsiteX24" fmla="*/ 915379 w 1015819"/>
                <a:gd name="connsiteY24" fmla="*/ 221758 h 944571"/>
                <a:gd name="connsiteX25" fmla="*/ 907534 w 1015819"/>
                <a:gd name="connsiteY25" fmla="*/ 226347 h 944571"/>
                <a:gd name="connsiteX26" fmla="*/ 901613 w 1015819"/>
                <a:gd name="connsiteY26" fmla="*/ 226347 h 944571"/>
                <a:gd name="connsiteX27" fmla="*/ 901613 w 1015819"/>
                <a:gd name="connsiteY27" fmla="*/ 233994 h 944571"/>
                <a:gd name="connsiteX28" fmla="*/ 895741 w 1015819"/>
                <a:gd name="connsiteY28" fmla="*/ 243172 h 944571"/>
                <a:gd name="connsiteX29" fmla="*/ 879953 w 1015819"/>
                <a:gd name="connsiteY29" fmla="*/ 244701 h 944571"/>
                <a:gd name="connsiteX30" fmla="*/ 872108 w 1015819"/>
                <a:gd name="connsiteY30" fmla="*/ 246231 h 944571"/>
                <a:gd name="connsiteX31" fmla="*/ 868160 w 1015819"/>
                <a:gd name="connsiteY31" fmla="*/ 252349 h 944571"/>
                <a:gd name="connsiteX32" fmla="*/ 864213 w 1015819"/>
                <a:gd name="connsiteY32" fmla="*/ 259997 h 944571"/>
                <a:gd name="connsiteX33" fmla="*/ 858341 w 1015819"/>
                <a:gd name="connsiteY33" fmla="*/ 261526 h 944571"/>
                <a:gd name="connsiteX34" fmla="*/ 858341 w 1015819"/>
                <a:gd name="connsiteY34" fmla="*/ 266115 h 944571"/>
                <a:gd name="connsiteX35" fmla="*/ 850447 w 1015819"/>
                <a:gd name="connsiteY35" fmla="*/ 264536 h 944571"/>
                <a:gd name="connsiteX36" fmla="*/ 844575 w 1015819"/>
                <a:gd name="connsiteY36" fmla="*/ 267595 h 944571"/>
                <a:gd name="connsiteX37" fmla="*/ 842602 w 1015819"/>
                <a:gd name="connsiteY37" fmla="*/ 273713 h 944571"/>
                <a:gd name="connsiteX38" fmla="*/ 836681 w 1015819"/>
                <a:gd name="connsiteY38" fmla="*/ 275243 h 944571"/>
                <a:gd name="connsiteX39" fmla="*/ 824889 w 1015819"/>
                <a:gd name="connsiteY39" fmla="*/ 276772 h 944571"/>
                <a:gd name="connsiteX40" fmla="*/ 817093 w 1015819"/>
                <a:gd name="connsiteY40" fmla="*/ 276772 h 944571"/>
                <a:gd name="connsiteX41" fmla="*/ 815119 w 1015819"/>
                <a:gd name="connsiteY41" fmla="*/ 285950 h 944571"/>
                <a:gd name="connsiteX42" fmla="*/ 817093 w 1015819"/>
                <a:gd name="connsiteY42" fmla="*/ 292068 h 944571"/>
                <a:gd name="connsiteX43" fmla="*/ 828885 w 1015819"/>
                <a:gd name="connsiteY43" fmla="*/ 296657 h 944571"/>
                <a:gd name="connsiteX44" fmla="*/ 828885 w 1015819"/>
                <a:gd name="connsiteY44" fmla="*/ 310373 h 944571"/>
                <a:gd name="connsiteX45" fmla="*/ 813195 w 1015819"/>
                <a:gd name="connsiteY45" fmla="*/ 314962 h 944571"/>
                <a:gd name="connsiteX46" fmla="*/ 803327 w 1015819"/>
                <a:gd name="connsiteY46" fmla="*/ 313482 h 944571"/>
                <a:gd name="connsiteX47" fmla="*/ 791534 w 1015819"/>
                <a:gd name="connsiteY47" fmla="*/ 316492 h 944571"/>
                <a:gd name="connsiteX48" fmla="*/ 781666 w 1015819"/>
                <a:gd name="connsiteY48" fmla="*/ 313482 h 944571"/>
                <a:gd name="connsiteX49" fmla="*/ 775746 w 1015819"/>
                <a:gd name="connsiteY49" fmla="*/ 314962 h 944571"/>
                <a:gd name="connsiteX50" fmla="*/ 767901 w 1015819"/>
                <a:gd name="connsiteY50" fmla="*/ 322610 h 944571"/>
                <a:gd name="connsiteX51" fmla="*/ 758033 w 1015819"/>
                <a:gd name="connsiteY51" fmla="*/ 322610 h 944571"/>
                <a:gd name="connsiteX52" fmla="*/ 740270 w 1015819"/>
                <a:gd name="connsiteY52" fmla="*/ 313482 h 944571"/>
                <a:gd name="connsiteX53" fmla="*/ 736372 w 1015819"/>
                <a:gd name="connsiteY53" fmla="*/ 316492 h 944571"/>
                <a:gd name="connsiteX54" fmla="*/ 724530 w 1015819"/>
                <a:gd name="connsiteY54" fmla="*/ 314962 h 944571"/>
                <a:gd name="connsiteX55" fmla="*/ 714662 w 1015819"/>
                <a:gd name="connsiteY55" fmla="*/ 304304 h 944571"/>
                <a:gd name="connsiteX56" fmla="*/ 720583 w 1015819"/>
                <a:gd name="connsiteY56" fmla="*/ 298186 h 944571"/>
                <a:gd name="connsiteX57" fmla="*/ 720583 w 1015819"/>
                <a:gd name="connsiteY57" fmla="*/ 292068 h 944571"/>
                <a:gd name="connsiteX58" fmla="*/ 710715 w 1015819"/>
                <a:gd name="connsiteY58" fmla="*/ 287479 h 944571"/>
                <a:gd name="connsiteX59" fmla="*/ 710715 w 1015819"/>
                <a:gd name="connsiteY59" fmla="*/ 279831 h 944571"/>
                <a:gd name="connsiteX60" fmla="*/ 706817 w 1015819"/>
                <a:gd name="connsiteY60" fmla="*/ 273713 h 944571"/>
                <a:gd name="connsiteX61" fmla="*/ 698923 w 1015819"/>
                <a:gd name="connsiteY61" fmla="*/ 273713 h 944571"/>
                <a:gd name="connsiteX62" fmla="*/ 693051 w 1015819"/>
                <a:gd name="connsiteY62" fmla="*/ 278302 h 944571"/>
                <a:gd name="connsiteX63" fmla="*/ 695025 w 1015819"/>
                <a:gd name="connsiteY63" fmla="*/ 285950 h 944571"/>
                <a:gd name="connsiteX64" fmla="*/ 691028 w 1015819"/>
                <a:gd name="connsiteY64" fmla="*/ 299716 h 944571"/>
                <a:gd name="connsiteX65" fmla="*/ 698923 w 1015819"/>
                <a:gd name="connsiteY65" fmla="*/ 313482 h 944571"/>
                <a:gd name="connsiteX66" fmla="*/ 695025 w 1015819"/>
                <a:gd name="connsiteY66" fmla="*/ 327198 h 944571"/>
                <a:gd name="connsiteX67" fmla="*/ 673365 w 1015819"/>
                <a:gd name="connsiteY67" fmla="*/ 330257 h 944571"/>
                <a:gd name="connsiteX68" fmla="*/ 659598 w 1015819"/>
                <a:gd name="connsiteY68" fmla="*/ 324189 h 944571"/>
                <a:gd name="connsiteX69" fmla="*/ 651704 w 1015819"/>
                <a:gd name="connsiteY69" fmla="*/ 327198 h 944571"/>
                <a:gd name="connsiteX70" fmla="*/ 620274 w 1015819"/>
                <a:gd name="connsiteY70" fmla="*/ 318070 h 944571"/>
                <a:gd name="connsiteX71" fmla="*/ 606508 w 1015819"/>
                <a:gd name="connsiteY71" fmla="*/ 319551 h 944571"/>
                <a:gd name="connsiteX72" fmla="*/ 600588 w 1015819"/>
                <a:gd name="connsiteY72" fmla="*/ 322610 h 944571"/>
                <a:gd name="connsiteX73" fmla="*/ 582875 w 1015819"/>
                <a:gd name="connsiteY73" fmla="*/ 318070 h 944571"/>
                <a:gd name="connsiteX74" fmla="*/ 571082 w 1015819"/>
                <a:gd name="connsiteY74" fmla="*/ 310373 h 944571"/>
                <a:gd name="connsiteX75" fmla="*/ 569108 w 1015819"/>
                <a:gd name="connsiteY75" fmla="*/ 301196 h 944571"/>
                <a:gd name="connsiteX76" fmla="*/ 553320 w 1015819"/>
                <a:gd name="connsiteY76" fmla="*/ 298186 h 944571"/>
                <a:gd name="connsiteX77" fmla="*/ 533584 w 1015819"/>
                <a:gd name="connsiteY77" fmla="*/ 302775 h 944571"/>
                <a:gd name="connsiteX78" fmla="*/ 527662 w 1015819"/>
                <a:gd name="connsiteY78" fmla="*/ 298186 h 944571"/>
                <a:gd name="connsiteX79" fmla="*/ 507926 w 1015819"/>
                <a:gd name="connsiteY79" fmla="*/ 299716 h 944571"/>
                <a:gd name="connsiteX80" fmla="*/ 498058 w 1015819"/>
                <a:gd name="connsiteY80" fmla="*/ 293598 h 944571"/>
                <a:gd name="connsiteX81" fmla="*/ 488190 w 1015819"/>
                <a:gd name="connsiteY81" fmla="*/ 293598 h 944571"/>
                <a:gd name="connsiteX82" fmla="*/ 482319 w 1015819"/>
                <a:gd name="connsiteY82" fmla="*/ 289009 h 944571"/>
                <a:gd name="connsiteX83" fmla="*/ 466530 w 1015819"/>
                <a:gd name="connsiteY83" fmla="*/ 285950 h 944571"/>
                <a:gd name="connsiteX84" fmla="*/ 456662 w 1015819"/>
                <a:gd name="connsiteY84" fmla="*/ 273713 h 944571"/>
                <a:gd name="connsiteX85" fmla="*/ 438948 w 1015819"/>
                <a:gd name="connsiteY85" fmla="*/ 264536 h 944571"/>
                <a:gd name="connsiteX86" fmla="*/ 425182 w 1015819"/>
                <a:gd name="connsiteY86" fmla="*/ 261526 h 944571"/>
                <a:gd name="connsiteX87" fmla="*/ 419311 w 1015819"/>
                <a:gd name="connsiteY87" fmla="*/ 258418 h 944571"/>
                <a:gd name="connsiteX88" fmla="*/ 413391 w 1015819"/>
                <a:gd name="connsiteY88" fmla="*/ 258418 h 944571"/>
                <a:gd name="connsiteX89" fmla="*/ 405545 w 1015819"/>
                <a:gd name="connsiteY89" fmla="*/ 252349 h 944571"/>
                <a:gd name="connsiteX90" fmla="*/ 399624 w 1015819"/>
                <a:gd name="connsiteY90" fmla="*/ 252349 h 944571"/>
                <a:gd name="connsiteX91" fmla="*/ 397651 w 1015819"/>
                <a:gd name="connsiteY91" fmla="*/ 244701 h 944571"/>
                <a:gd name="connsiteX92" fmla="*/ 405545 w 1015819"/>
                <a:gd name="connsiteY92" fmla="*/ 233994 h 944571"/>
                <a:gd name="connsiteX93" fmla="*/ 405545 w 1015819"/>
                <a:gd name="connsiteY93" fmla="*/ 223337 h 944571"/>
                <a:gd name="connsiteX94" fmla="*/ 411417 w 1015819"/>
                <a:gd name="connsiteY94" fmla="*/ 208041 h 944571"/>
                <a:gd name="connsiteX95" fmla="*/ 411417 w 1015819"/>
                <a:gd name="connsiteY95" fmla="*/ 197334 h 944571"/>
                <a:gd name="connsiteX96" fmla="*/ 405545 w 1015819"/>
                <a:gd name="connsiteY96" fmla="*/ 191216 h 944571"/>
                <a:gd name="connsiteX97" fmla="*/ 399624 w 1015819"/>
                <a:gd name="connsiteY97" fmla="*/ 191216 h 944571"/>
                <a:gd name="connsiteX98" fmla="*/ 395677 w 1015819"/>
                <a:gd name="connsiteY98" fmla="*/ 183569 h 944571"/>
                <a:gd name="connsiteX99" fmla="*/ 391730 w 1015819"/>
                <a:gd name="connsiteY99" fmla="*/ 182039 h 944571"/>
                <a:gd name="connsiteX100" fmla="*/ 383884 w 1015819"/>
                <a:gd name="connsiteY100" fmla="*/ 174391 h 944571"/>
                <a:gd name="connsiteX101" fmla="*/ 375990 w 1015819"/>
                <a:gd name="connsiteY101" fmla="*/ 174391 h 944571"/>
                <a:gd name="connsiteX102" fmla="*/ 372093 w 1015819"/>
                <a:gd name="connsiteY102" fmla="*/ 171332 h 944571"/>
                <a:gd name="connsiteX103" fmla="*/ 364198 w 1015819"/>
                <a:gd name="connsiteY103" fmla="*/ 169852 h 944571"/>
                <a:gd name="connsiteX104" fmla="*/ 360300 w 1015819"/>
                <a:gd name="connsiteY104" fmla="*/ 177450 h 944571"/>
                <a:gd name="connsiteX105" fmla="*/ 352405 w 1015819"/>
                <a:gd name="connsiteY105" fmla="*/ 172862 h 944571"/>
                <a:gd name="connsiteX106" fmla="*/ 350432 w 1015819"/>
                <a:gd name="connsiteY106" fmla="*/ 166743 h 944571"/>
                <a:gd name="connsiteX107" fmla="*/ 346534 w 1015819"/>
                <a:gd name="connsiteY107" fmla="*/ 165263 h 944571"/>
                <a:gd name="connsiteX108" fmla="*/ 346534 w 1015819"/>
                <a:gd name="connsiteY108" fmla="*/ 160675 h 944571"/>
                <a:gd name="connsiteX109" fmla="*/ 342587 w 1015819"/>
                <a:gd name="connsiteY109" fmla="*/ 156086 h 944571"/>
                <a:gd name="connsiteX110" fmla="*/ 336666 w 1015819"/>
                <a:gd name="connsiteY110" fmla="*/ 154556 h 944571"/>
                <a:gd name="connsiteX111" fmla="*/ 338640 w 1015819"/>
                <a:gd name="connsiteY111" fmla="*/ 148438 h 944571"/>
                <a:gd name="connsiteX112" fmla="*/ 336666 w 1015819"/>
                <a:gd name="connsiteY112" fmla="*/ 143849 h 944571"/>
                <a:gd name="connsiteX113" fmla="*/ 340515 w 1015819"/>
                <a:gd name="connsiteY113" fmla="*/ 122929 h 944571"/>
                <a:gd name="connsiteX114" fmla="*/ 342390 w 1015819"/>
                <a:gd name="connsiteY114" fmla="*/ 119771 h 944571"/>
                <a:gd name="connsiteX115" fmla="*/ 341798 w 1015819"/>
                <a:gd name="connsiteY115" fmla="*/ 116120 h 944571"/>
                <a:gd name="connsiteX116" fmla="*/ 342390 w 1015819"/>
                <a:gd name="connsiteY116" fmla="*/ 112667 h 944571"/>
                <a:gd name="connsiteX117" fmla="*/ 341206 w 1015819"/>
                <a:gd name="connsiteY117" fmla="*/ 112667 h 944571"/>
                <a:gd name="connsiteX118" fmla="*/ 340416 w 1015819"/>
                <a:gd name="connsiteY118" fmla="*/ 108325 h 944571"/>
                <a:gd name="connsiteX119" fmla="*/ 336518 w 1015819"/>
                <a:gd name="connsiteY119" fmla="*/ 93523 h 944571"/>
                <a:gd name="connsiteX120" fmla="*/ 324775 w 1015819"/>
                <a:gd name="connsiteY120" fmla="*/ 90216 h 944571"/>
                <a:gd name="connsiteX121" fmla="*/ 318854 w 1015819"/>
                <a:gd name="connsiteY121" fmla="*/ 75414 h 944571"/>
                <a:gd name="connsiteX122" fmla="*/ 318854 w 1015819"/>
                <a:gd name="connsiteY122" fmla="*/ 60612 h 944571"/>
                <a:gd name="connsiteX123" fmla="*/ 314956 w 1015819"/>
                <a:gd name="connsiteY123" fmla="*/ 52422 h 944571"/>
                <a:gd name="connsiteX124" fmla="*/ 303164 w 1015819"/>
                <a:gd name="connsiteY124" fmla="*/ 45860 h 944571"/>
                <a:gd name="connsiteX125" fmla="*/ 293296 w 1015819"/>
                <a:gd name="connsiteY125" fmla="*/ 35991 h 944571"/>
                <a:gd name="connsiteX126" fmla="*/ 287375 w 1015819"/>
                <a:gd name="connsiteY126" fmla="*/ 17982 h 944571"/>
                <a:gd name="connsiteX127" fmla="*/ 275632 w 1015819"/>
                <a:gd name="connsiteY127" fmla="*/ 13048 h 944571"/>
                <a:gd name="connsiteX128" fmla="*/ 259942 w 1015819"/>
                <a:gd name="connsiteY128" fmla="*/ 9792 h 944571"/>
                <a:gd name="connsiteX129" fmla="*/ 257968 w 1015819"/>
                <a:gd name="connsiteY129" fmla="*/ 1601 h 944571"/>
                <a:gd name="connsiteX130" fmla="*/ 252097 w 1015819"/>
                <a:gd name="connsiteY130" fmla="*/ -27 h 944571"/>
                <a:gd name="connsiteX131" fmla="*/ 246422 w 1015819"/>
                <a:gd name="connsiteY131" fmla="*/ -27 h 944571"/>
                <a:gd name="connsiteX132" fmla="*/ 245584 w 1015819"/>
                <a:gd name="connsiteY132" fmla="*/ 3970 h 944571"/>
                <a:gd name="connsiteX133" fmla="*/ 243018 w 1015819"/>
                <a:gd name="connsiteY133" fmla="*/ 21091 h 944571"/>
                <a:gd name="connsiteX134" fmla="*/ 226686 w 1015819"/>
                <a:gd name="connsiteY134" fmla="*/ 20449 h 944571"/>
                <a:gd name="connsiteX135" fmla="*/ 220371 w 1015819"/>
                <a:gd name="connsiteY135" fmla="*/ 24890 h 944571"/>
                <a:gd name="connsiteX136" fmla="*/ 209664 w 1015819"/>
                <a:gd name="connsiteY136" fmla="*/ 26814 h 944571"/>
                <a:gd name="connsiteX137" fmla="*/ 195799 w 1015819"/>
                <a:gd name="connsiteY137" fmla="*/ 30614 h 944571"/>
                <a:gd name="connsiteX138" fmla="*/ 186376 w 1015819"/>
                <a:gd name="connsiteY138" fmla="*/ 28689 h 944571"/>
                <a:gd name="connsiteX139" fmla="*/ 164320 w 1015819"/>
                <a:gd name="connsiteY139" fmla="*/ 25531 h 944571"/>
                <a:gd name="connsiteX140" fmla="*/ 162593 w 1015819"/>
                <a:gd name="connsiteY140" fmla="*/ 25137 h 944571"/>
                <a:gd name="connsiteX141" fmla="*/ 154501 w 1015819"/>
                <a:gd name="connsiteY141" fmla="*/ 23064 h 944571"/>
                <a:gd name="connsiteX142" fmla="*/ 146163 w 1015819"/>
                <a:gd name="connsiteY142" fmla="*/ 27505 h 944571"/>
                <a:gd name="connsiteX143" fmla="*/ 145423 w 1015819"/>
                <a:gd name="connsiteY143" fmla="*/ 39495 h 944571"/>
                <a:gd name="connsiteX144" fmla="*/ 148581 w 1015819"/>
                <a:gd name="connsiteY144" fmla="*/ 46452 h 944571"/>
                <a:gd name="connsiteX145" fmla="*/ 153515 w 1015819"/>
                <a:gd name="connsiteY145" fmla="*/ 55333 h 944571"/>
                <a:gd name="connsiteX146" fmla="*/ 147199 w 1015819"/>
                <a:gd name="connsiteY146" fmla="*/ 60267 h 944571"/>
                <a:gd name="connsiteX147" fmla="*/ 150357 w 1015819"/>
                <a:gd name="connsiteY147" fmla="*/ 66583 h 944571"/>
                <a:gd name="connsiteX148" fmla="*/ 152232 w 1015819"/>
                <a:gd name="connsiteY148" fmla="*/ 74230 h 944571"/>
                <a:gd name="connsiteX149" fmla="*/ 149074 w 1015819"/>
                <a:gd name="connsiteY149" fmla="*/ 83062 h 944571"/>
                <a:gd name="connsiteX150" fmla="*/ 157265 w 1015819"/>
                <a:gd name="connsiteY150" fmla="*/ 87996 h 944571"/>
                <a:gd name="connsiteX151" fmla="*/ 161064 w 1015819"/>
                <a:gd name="connsiteY151" fmla="*/ 96236 h 944571"/>
                <a:gd name="connsiteX152" fmla="*/ 161656 w 1015819"/>
                <a:gd name="connsiteY152" fmla="*/ 103538 h 944571"/>
                <a:gd name="connsiteX153" fmla="*/ 161656 w 1015819"/>
                <a:gd name="connsiteY153" fmla="*/ 103538 h 944571"/>
                <a:gd name="connsiteX154" fmla="*/ 162741 w 1015819"/>
                <a:gd name="connsiteY154" fmla="*/ 103538 h 944571"/>
                <a:gd name="connsiteX155" fmla="*/ 176458 w 1015819"/>
                <a:gd name="connsiteY155" fmla="*/ 108127 h 944571"/>
                <a:gd name="connsiteX156" fmla="*/ 180356 w 1015819"/>
                <a:gd name="connsiteY156" fmla="*/ 115775 h 944571"/>
                <a:gd name="connsiteX157" fmla="*/ 190224 w 1015819"/>
                <a:gd name="connsiteY157" fmla="*/ 117304 h 944571"/>
                <a:gd name="connsiteX158" fmla="*/ 202016 w 1015819"/>
                <a:gd name="connsiteY158" fmla="*/ 114245 h 944571"/>
                <a:gd name="connsiteX159" fmla="*/ 209812 w 1015819"/>
                <a:gd name="connsiteY159" fmla="*/ 117304 h 944571"/>
                <a:gd name="connsiteX160" fmla="*/ 209812 w 1015819"/>
                <a:gd name="connsiteY160" fmla="*/ 124952 h 944571"/>
                <a:gd name="connsiteX161" fmla="*/ 204878 w 1015819"/>
                <a:gd name="connsiteY161" fmla="*/ 129886 h 944571"/>
                <a:gd name="connsiteX162" fmla="*/ 206654 w 1015819"/>
                <a:gd name="connsiteY162" fmla="*/ 130676 h 944571"/>
                <a:gd name="connsiteX163" fmla="*/ 206654 w 1015819"/>
                <a:gd name="connsiteY163" fmla="*/ 132353 h 944571"/>
                <a:gd name="connsiteX164" fmla="*/ 206654 w 1015819"/>
                <a:gd name="connsiteY164" fmla="*/ 132353 h 944571"/>
                <a:gd name="connsiteX165" fmla="*/ 200733 w 1015819"/>
                <a:gd name="connsiteY165" fmla="*/ 132353 h 944571"/>
                <a:gd name="connsiteX166" fmla="*/ 194862 w 1015819"/>
                <a:gd name="connsiteY166" fmla="*/ 135412 h 944571"/>
                <a:gd name="connsiteX167" fmla="*/ 186968 w 1015819"/>
                <a:gd name="connsiteY167" fmla="*/ 136942 h 944571"/>
                <a:gd name="connsiteX168" fmla="*/ 177100 w 1015819"/>
                <a:gd name="connsiteY168" fmla="*/ 146119 h 944571"/>
                <a:gd name="connsiteX169" fmla="*/ 179073 w 1015819"/>
                <a:gd name="connsiteY169" fmla="*/ 150708 h 944571"/>
                <a:gd name="connsiteX170" fmla="*/ 183020 w 1015819"/>
                <a:gd name="connsiteY170" fmla="*/ 161365 h 944571"/>
                <a:gd name="connsiteX171" fmla="*/ 181096 w 1015819"/>
                <a:gd name="connsiteY171" fmla="*/ 176661 h 944571"/>
                <a:gd name="connsiteX172" fmla="*/ 179073 w 1015819"/>
                <a:gd name="connsiteY172" fmla="*/ 184309 h 944571"/>
                <a:gd name="connsiteX173" fmla="*/ 173201 w 1015819"/>
                <a:gd name="connsiteY173" fmla="*/ 187368 h 944571"/>
                <a:gd name="connsiteX174" fmla="*/ 161409 w 1015819"/>
                <a:gd name="connsiteY174" fmla="*/ 196545 h 944571"/>
                <a:gd name="connsiteX175" fmla="*/ 169254 w 1015819"/>
                <a:gd name="connsiteY175" fmla="*/ 199555 h 944571"/>
                <a:gd name="connsiteX176" fmla="*/ 169254 w 1015819"/>
                <a:gd name="connsiteY176" fmla="*/ 207252 h 944571"/>
                <a:gd name="connsiteX177" fmla="*/ 163333 w 1015819"/>
                <a:gd name="connsiteY177" fmla="*/ 213321 h 944571"/>
                <a:gd name="connsiteX178" fmla="*/ 151541 w 1015819"/>
                <a:gd name="connsiteY178" fmla="*/ 217959 h 944571"/>
                <a:gd name="connsiteX179" fmla="*/ 143696 w 1015819"/>
                <a:gd name="connsiteY179" fmla="*/ 230146 h 944571"/>
                <a:gd name="connsiteX180" fmla="*/ 143696 w 1015819"/>
                <a:gd name="connsiteY180" fmla="*/ 239323 h 944571"/>
                <a:gd name="connsiteX181" fmla="*/ 139749 w 1015819"/>
                <a:gd name="connsiteY181" fmla="*/ 245441 h 944571"/>
                <a:gd name="connsiteX182" fmla="*/ 122036 w 1015819"/>
                <a:gd name="connsiteY182" fmla="*/ 256148 h 944571"/>
                <a:gd name="connsiteX183" fmla="*/ 114141 w 1015819"/>
                <a:gd name="connsiteY183" fmla="*/ 272924 h 944571"/>
                <a:gd name="connsiteX184" fmla="*/ 104273 w 1015819"/>
                <a:gd name="connsiteY184" fmla="*/ 285160 h 944571"/>
                <a:gd name="connsiteX185" fmla="*/ 84537 w 1015819"/>
                <a:gd name="connsiteY185" fmla="*/ 286690 h 944571"/>
                <a:gd name="connsiteX186" fmla="*/ 70771 w 1015819"/>
                <a:gd name="connsiteY186" fmla="*/ 292808 h 944571"/>
                <a:gd name="connsiteX187" fmla="*/ 66823 w 1015819"/>
                <a:gd name="connsiteY187" fmla="*/ 291278 h 944571"/>
                <a:gd name="connsiteX188" fmla="*/ 62876 w 1015819"/>
                <a:gd name="connsiteY188" fmla="*/ 285160 h 944571"/>
                <a:gd name="connsiteX189" fmla="*/ 55032 w 1015819"/>
                <a:gd name="connsiteY189" fmla="*/ 280572 h 944571"/>
                <a:gd name="connsiteX190" fmla="*/ 51084 w 1015819"/>
                <a:gd name="connsiteY190" fmla="*/ 285160 h 944571"/>
                <a:gd name="connsiteX191" fmla="*/ 45163 w 1015819"/>
                <a:gd name="connsiteY191" fmla="*/ 288219 h 944571"/>
                <a:gd name="connsiteX192" fmla="*/ 43239 w 1015819"/>
                <a:gd name="connsiteY192" fmla="*/ 292808 h 944571"/>
                <a:gd name="connsiteX193" fmla="*/ 33371 w 1015819"/>
                <a:gd name="connsiteY193" fmla="*/ 304995 h 944571"/>
                <a:gd name="connsiteX194" fmla="*/ 27450 w 1015819"/>
                <a:gd name="connsiteY194" fmla="*/ 306574 h 944571"/>
                <a:gd name="connsiteX195" fmla="*/ 21579 w 1015819"/>
                <a:gd name="connsiteY195" fmla="*/ 318761 h 944571"/>
                <a:gd name="connsiteX196" fmla="*/ 21579 w 1015819"/>
                <a:gd name="connsiteY196" fmla="*/ 326409 h 944571"/>
                <a:gd name="connsiteX197" fmla="*/ 27450 w 1015819"/>
                <a:gd name="connsiteY197" fmla="*/ 326409 h 944571"/>
                <a:gd name="connsiteX198" fmla="*/ 37318 w 1015819"/>
                <a:gd name="connsiteY198" fmla="*/ 329468 h 944571"/>
                <a:gd name="connsiteX199" fmla="*/ 41216 w 1015819"/>
                <a:gd name="connsiteY199" fmla="*/ 326409 h 944571"/>
                <a:gd name="connsiteX200" fmla="*/ 47137 w 1015819"/>
                <a:gd name="connsiteY200" fmla="*/ 327938 h 944571"/>
                <a:gd name="connsiteX201" fmla="*/ 53008 w 1015819"/>
                <a:gd name="connsiteY201" fmla="*/ 338645 h 944571"/>
                <a:gd name="connsiteX202" fmla="*/ 51084 w 1015819"/>
                <a:gd name="connsiteY202" fmla="*/ 344763 h 944571"/>
                <a:gd name="connsiteX203" fmla="*/ 53008 w 1015819"/>
                <a:gd name="connsiteY203" fmla="*/ 355470 h 944571"/>
                <a:gd name="connsiteX204" fmla="*/ 66823 w 1015819"/>
                <a:gd name="connsiteY204" fmla="*/ 363069 h 944571"/>
                <a:gd name="connsiteX205" fmla="*/ 72695 w 1015819"/>
                <a:gd name="connsiteY205" fmla="*/ 363069 h 944571"/>
                <a:gd name="connsiteX206" fmla="*/ 76643 w 1015819"/>
                <a:gd name="connsiteY206" fmla="*/ 366177 h 944571"/>
                <a:gd name="connsiteX207" fmla="*/ 76643 w 1015819"/>
                <a:gd name="connsiteY207" fmla="*/ 370766 h 944571"/>
                <a:gd name="connsiteX208" fmla="*/ 82563 w 1015819"/>
                <a:gd name="connsiteY208" fmla="*/ 378364 h 944571"/>
                <a:gd name="connsiteX209" fmla="*/ 90408 w 1015819"/>
                <a:gd name="connsiteY209" fmla="*/ 398100 h 944571"/>
                <a:gd name="connsiteX210" fmla="*/ 88434 w 1015819"/>
                <a:gd name="connsiteY210" fmla="*/ 402689 h 944571"/>
                <a:gd name="connsiteX211" fmla="*/ 92382 w 1015819"/>
                <a:gd name="connsiteY211" fmla="*/ 405699 h 944571"/>
                <a:gd name="connsiteX212" fmla="*/ 84537 w 1015819"/>
                <a:gd name="connsiteY212" fmla="*/ 407278 h 944571"/>
                <a:gd name="connsiteX213" fmla="*/ 78616 w 1015819"/>
                <a:gd name="connsiteY213" fmla="*/ 410287 h 944571"/>
                <a:gd name="connsiteX214" fmla="*/ 74669 w 1015819"/>
                <a:gd name="connsiteY214" fmla="*/ 407278 h 944571"/>
                <a:gd name="connsiteX215" fmla="*/ 76643 w 1015819"/>
                <a:gd name="connsiteY215" fmla="*/ 402689 h 944571"/>
                <a:gd name="connsiteX216" fmla="*/ 68797 w 1015819"/>
                <a:gd name="connsiteY216" fmla="*/ 405699 h 944571"/>
                <a:gd name="connsiteX217" fmla="*/ 66823 w 1015819"/>
                <a:gd name="connsiteY217" fmla="*/ 407278 h 944571"/>
                <a:gd name="connsiteX218" fmla="*/ 51084 w 1015819"/>
                <a:gd name="connsiteY218" fmla="*/ 411817 h 944571"/>
                <a:gd name="connsiteX219" fmla="*/ 25477 w 1015819"/>
                <a:gd name="connsiteY219" fmla="*/ 411817 h 944571"/>
                <a:gd name="connsiteX220" fmla="*/ 19605 w 1015819"/>
                <a:gd name="connsiteY220" fmla="*/ 413396 h 944571"/>
                <a:gd name="connsiteX221" fmla="*/ 15657 w 1015819"/>
                <a:gd name="connsiteY221" fmla="*/ 411817 h 944571"/>
                <a:gd name="connsiteX222" fmla="*/ 11711 w 1015819"/>
                <a:gd name="connsiteY222" fmla="*/ 420994 h 944571"/>
                <a:gd name="connsiteX223" fmla="*/ 7812 w 1015819"/>
                <a:gd name="connsiteY223" fmla="*/ 422524 h 944571"/>
                <a:gd name="connsiteX224" fmla="*/ -82 w 1015819"/>
                <a:gd name="connsiteY224" fmla="*/ 427113 h 944571"/>
                <a:gd name="connsiteX225" fmla="*/ -82 w 1015819"/>
                <a:gd name="connsiteY225" fmla="*/ 434760 h 944571"/>
                <a:gd name="connsiteX226" fmla="*/ 9786 w 1015819"/>
                <a:gd name="connsiteY226" fmla="*/ 428642 h 944571"/>
                <a:gd name="connsiteX227" fmla="*/ 19654 w 1015819"/>
                <a:gd name="connsiteY227" fmla="*/ 427113 h 944571"/>
                <a:gd name="connsiteX228" fmla="*/ 11760 w 1015819"/>
                <a:gd name="connsiteY228" fmla="*/ 431701 h 944571"/>
                <a:gd name="connsiteX229" fmla="*/ 5888 w 1015819"/>
                <a:gd name="connsiteY229" fmla="*/ 439349 h 944571"/>
                <a:gd name="connsiteX230" fmla="*/ 3914 w 1015819"/>
                <a:gd name="connsiteY230" fmla="*/ 445467 h 944571"/>
                <a:gd name="connsiteX231" fmla="*/ 9836 w 1015819"/>
                <a:gd name="connsiteY231" fmla="*/ 448477 h 944571"/>
                <a:gd name="connsiteX232" fmla="*/ 19704 w 1015819"/>
                <a:gd name="connsiteY232" fmla="*/ 457654 h 944571"/>
                <a:gd name="connsiteX233" fmla="*/ 43338 w 1015819"/>
                <a:gd name="connsiteY233" fmla="*/ 463772 h 944571"/>
                <a:gd name="connsiteX234" fmla="*/ 49209 w 1015819"/>
                <a:gd name="connsiteY234" fmla="*/ 462243 h 944571"/>
                <a:gd name="connsiteX235" fmla="*/ 59077 w 1015819"/>
                <a:gd name="connsiteY235" fmla="*/ 462243 h 944571"/>
                <a:gd name="connsiteX236" fmla="*/ 74817 w 1015819"/>
                <a:gd name="connsiteY236" fmla="*/ 457654 h 944571"/>
                <a:gd name="connsiteX237" fmla="*/ 74817 w 1015819"/>
                <a:gd name="connsiteY237" fmla="*/ 454200 h 944571"/>
                <a:gd name="connsiteX238" fmla="*/ 76790 w 1015819"/>
                <a:gd name="connsiteY238" fmla="*/ 454200 h 944571"/>
                <a:gd name="connsiteX239" fmla="*/ 82711 w 1015819"/>
                <a:gd name="connsiteY239" fmla="*/ 455779 h 944571"/>
                <a:gd name="connsiteX240" fmla="*/ 80738 w 1015819"/>
                <a:gd name="connsiteY240" fmla="*/ 460318 h 944571"/>
                <a:gd name="connsiteX241" fmla="*/ 78764 w 1015819"/>
                <a:gd name="connsiteY241" fmla="*/ 460318 h 944571"/>
                <a:gd name="connsiteX242" fmla="*/ 70919 w 1015819"/>
                <a:gd name="connsiteY242" fmla="*/ 471025 h 944571"/>
                <a:gd name="connsiteX243" fmla="*/ 66972 w 1015819"/>
                <a:gd name="connsiteY243" fmla="*/ 471025 h 944571"/>
                <a:gd name="connsiteX244" fmla="*/ 51232 w 1015819"/>
                <a:gd name="connsiteY244" fmla="*/ 480203 h 944571"/>
                <a:gd name="connsiteX245" fmla="*/ 51232 w 1015819"/>
                <a:gd name="connsiteY245" fmla="*/ 481732 h 944571"/>
                <a:gd name="connsiteX246" fmla="*/ 47285 w 1015819"/>
                <a:gd name="connsiteY246" fmla="*/ 480203 h 944571"/>
                <a:gd name="connsiteX247" fmla="*/ 45311 w 1015819"/>
                <a:gd name="connsiteY247" fmla="*/ 480203 h 944571"/>
                <a:gd name="connsiteX248" fmla="*/ 41364 w 1015819"/>
                <a:gd name="connsiteY248" fmla="*/ 483262 h 944571"/>
                <a:gd name="connsiteX249" fmla="*/ 35492 w 1015819"/>
                <a:gd name="connsiteY249" fmla="*/ 483262 h 944571"/>
                <a:gd name="connsiteX250" fmla="*/ 35492 w 1015819"/>
                <a:gd name="connsiteY250" fmla="*/ 477144 h 944571"/>
                <a:gd name="connsiteX251" fmla="*/ 29572 w 1015819"/>
                <a:gd name="connsiteY251" fmla="*/ 477144 h 944571"/>
                <a:gd name="connsiteX252" fmla="*/ 27598 w 1015819"/>
                <a:gd name="connsiteY252" fmla="*/ 475614 h 944571"/>
                <a:gd name="connsiteX253" fmla="*/ 23700 w 1015819"/>
                <a:gd name="connsiteY253" fmla="*/ 475614 h 944571"/>
                <a:gd name="connsiteX254" fmla="*/ 23700 w 1015819"/>
                <a:gd name="connsiteY254" fmla="*/ 483262 h 944571"/>
                <a:gd name="connsiteX255" fmla="*/ 41364 w 1015819"/>
                <a:gd name="connsiteY255" fmla="*/ 496978 h 944571"/>
                <a:gd name="connsiteX256" fmla="*/ 45311 w 1015819"/>
                <a:gd name="connsiteY256" fmla="*/ 500087 h 944571"/>
                <a:gd name="connsiteX257" fmla="*/ 49258 w 1015819"/>
                <a:gd name="connsiteY257" fmla="*/ 500087 h 944571"/>
                <a:gd name="connsiteX258" fmla="*/ 49258 w 1015819"/>
                <a:gd name="connsiteY258" fmla="*/ 501616 h 944571"/>
                <a:gd name="connsiteX259" fmla="*/ 59127 w 1015819"/>
                <a:gd name="connsiteY259" fmla="*/ 513804 h 944571"/>
                <a:gd name="connsiteX260" fmla="*/ 88731 w 1015819"/>
                <a:gd name="connsiteY260" fmla="*/ 533540 h 944571"/>
                <a:gd name="connsiteX261" fmla="*/ 102497 w 1015819"/>
                <a:gd name="connsiteY261" fmla="*/ 535069 h 944571"/>
                <a:gd name="connsiteX262" fmla="*/ 110391 w 1015819"/>
                <a:gd name="connsiteY262" fmla="*/ 533540 h 944571"/>
                <a:gd name="connsiteX263" fmla="*/ 128055 w 1015819"/>
                <a:gd name="connsiteY263" fmla="*/ 524362 h 944571"/>
                <a:gd name="connsiteX264" fmla="*/ 141870 w 1015819"/>
                <a:gd name="connsiteY264" fmla="*/ 516714 h 944571"/>
                <a:gd name="connsiteX265" fmla="*/ 141870 w 1015819"/>
                <a:gd name="connsiteY265" fmla="*/ 513409 h 944571"/>
                <a:gd name="connsiteX266" fmla="*/ 147791 w 1015819"/>
                <a:gd name="connsiteY266" fmla="*/ 508870 h 944571"/>
                <a:gd name="connsiteX267" fmla="*/ 147791 w 1015819"/>
                <a:gd name="connsiteY267" fmla="*/ 498607 h 944571"/>
                <a:gd name="connsiteX268" fmla="*/ 143844 w 1015819"/>
                <a:gd name="connsiteY268" fmla="*/ 492488 h 944571"/>
                <a:gd name="connsiteX269" fmla="*/ 147791 w 1015819"/>
                <a:gd name="connsiteY269" fmla="*/ 480252 h 944571"/>
                <a:gd name="connsiteX270" fmla="*/ 147791 w 1015819"/>
                <a:gd name="connsiteY270" fmla="*/ 475663 h 944571"/>
                <a:gd name="connsiteX271" fmla="*/ 149715 w 1015819"/>
                <a:gd name="connsiteY271" fmla="*/ 471075 h 944571"/>
                <a:gd name="connsiteX272" fmla="*/ 151689 w 1015819"/>
                <a:gd name="connsiteY272" fmla="*/ 475663 h 944571"/>
                <a:gd name="connsiteX273" fmla="*/ 159583 w 1015819"/>
                <a:gd name="connsiteY273" fmla="*/ 475663 h 944571"/>
                <a:gd name="connsiteX274" fmla="*/ 163482 w 1015819"/>
                <a:gd name="connsiteY274" fmla="*/ 477193 h 944571"/>
                <a:gd name="connsiteX275" fmla="*/ 173350 w 1015819"/>
                <a:gd name="connsiteY275" fmla="*/ 474134 h 944571"/>
                <a:gd name="connsiteX276" fmla="*/ 169402 w 1015819"/>
                <a:gd name="connsiteY276" fmla="*/ 477193 h 944571"/>
                <a:gd name="connsiteX277" fmla="*/ 161557 w 1015819"/>
                <a:gd name="connsiteY277" fmla="*/ 481782 h 944571"/>
                <a:gd name="connsiteX278" fmla="*/ 157610 w 1015819"/>
                <a:gd name="connsiteY278" fmla="*/ 481782 h 944571"/>
                <a:gd name="connsiteX279" fmla="*/ 155636 w 1015819"/>
                <a:gd name="connsiteY279" fmla="*/ 483311 h 944571"/>
                <a:gd name="connsiteX280" fmla="*/ 155636 w 1015819"/>
                <a:gd name="connsiteY280" fmla="*/ 487900 h 944571"/>
                <a:gd name="connsiteX281" fmla="*/ 157610 w 1015819"/>
                <a:gd name="connsiteY281" fmla="*/ 494018 h 944571"/>
                <a:gd name="connsiteX282" fmla="*/ 157610 w 1015819"/>
                <a:gd name="connsiteY282" fmla="*/ 500136 h 944571"/>
                <a:gd name="connsiteX283" fmla="*/ 171376 w 1015819"/>
                <a:gd name="connsiteY283" fmla="*/ 500136 h 944571"/>
                <a:gd name="connsiteX284" fmla="*/ 169402 w 1015819"/>
                <a:gd name="connsiteY284" fmla="*/ 504725 h 944571"/>
                <a:gd name="connsiteX285" fmla="*/ 159534 w 1015819"/>
                <a:gd name="connsiteY285" fmla="*/ 507734 h 944571"/>
                <a:gd name="connsiteX286" fmla="*/ 163432 w 1015819"/>
                <a:gd name="connsiteY286" fmla="*/ 523030 h 944571"/>
                <a:gd name="connsiteX287" fmla="*/ 169353 w 1015819"/>
                <a:gd name="connsiteY287" fmla="*/ 526089 h 944571"/>
                <a:gd name="connsiteX288" fmla="*/ 171326 w 1015819"/>
                <a:gd name="connsiteY288" fmla="*/ 533737 h 944571"/>
                <a:gd name="connsiteX289" fmla="*/ 173300 w 1015819"/>
                <a:gd name="connsiteY289" fmla="*/ 542914 h 944571"/>
                <a:gd name="connsiteX290" fmla="*/ 169353 w 1015819"/>
                <a:gd name="connsiteY290" fmla="*/ 550513 h 944571"/>
                <a:gd name="connsiteX291" fmla="*/ 169353 w 1015819"/>
                <a:gd name="connsiteY291" fmla="*/ 555101 h 944571"/>
                <a:gd name="connsiteX292" fmla="*/ 175274 w 1015819"/>
                <a:gd name="connsiteY292" fmla="*/ 558210 h 944571"/>
                <a:gd name="connsiteX293" fmla="*/ 165406 w 1015819"/>
                <a:gd name="connsiteY293" fmla="*/ 561220 h 944571"/>
                <a:gd name="connsiteX294" fmla="*/ 169353 w 1015819"/>
                <a:gd name="connsiteY294" fmla="*/ 570397 h 944571"/>
                <a:gd name="connsiteX295" fmla="*/ 181195 w 1015819"/>
                <a:gd name="connsiteY295" fmla="*/ 588752 h 944571"/>
                <a:gd name="connsiteX296" fmla="*/ 181195 w 1015819"/>
                <a:gd name="connsiteY296" fmla="*/ 593340 h 944571"/>
                <a:gd name="connsiteX297" fmla="*/ 185093 w 1015819"/>
                <a:gd name="connsiteY297" fmla="*/ 597879 h 944571"/>
                <a:gd name="connsiteX298" fmla="*/ 179171 w 1015819"/>
                <a:gd name="connsiteY298" fmla="*/ 599458 h 944571"/>
                <a:gd name="connsiteX299" fmla="*/ 179171 w 1015819"/>
                <a:gd name="connsiteY299" fmla="*/ 607057 h 944571"/>
                <a:gd name="connsiteX300" fmla="*/ 189039 w 1015819"/>
                <a:gd name="connsiteY300" fmla="*/ 617764 h 944571"/>
                <a:gd name="connsiteX301" fmla="*/ 181244 w 1015819"/>
                <a:gd name="connsiteY301" fmla="*/ 617764 h 944571"/>
                <a:gd name="connsiteX302" fmla="*/ 189039 w 1015819"/>
                <a:gd name="connsiteY302" fmla="*/ 626941 h 944571"/>
                <a:gd name="connsiteX303" fmla="*/ 189039 w 1015819"/>
                <a:gd name="connsiteY303" fmla="*/ 636118 h 944571"/>
                <a:gd name="connsiteX304" fmla="*/ 204829 w 1015819"/>
                <a:gd name="connsiteY304" fmla="*/ 662071 h 944571"/>
                <a:gd name="connsiteX305" fmla="*/ 204829 w 1015819"/>
                <a:gd name="connsiteY305" fmla="*/ 677367 h 944571"/>
                <a:gd name="connsiteX306" fmla="*/ 210700 w 1015819"/>
                <a:gd name="connsiteY306" fmla="*/ 692662 h 944571"/>
                <a:gd name="connsiteX307" fmla="*/ 216621 w 1015819"/>
                <a:gd name="connsiteY307" fmla="*/ 695721 h 944571"/>
                <a:gd name="connsiteX308" fmla="*/ 218594 w 1015819"/>
                <a:gd name="connsiteY308" fmla="*/ 703320 h 944571"/>
                <a:gd name="connsiteX309" fmla="*/ 222542 w 1015819"/>
                <a:gd name="connsiteY309" fmla="*/ 706428 h 944571"/>
                <a:gd name="connsiteX310" fmla="*/ 222542 w 1015819"/>
                <a:gd name="connsiteY310" fmla="*/ 710770 h 944571"/>
                <a:gd name="connsiteX311" fmla="*/ 232410 w 1015819"/>
                <a:gd name="connsiteY311" fmla="*/ 722957 h 944571"/>
                <a:gd name="connsiteX312" fmla="*/ 234384 w 1015819"/>
                <a:gd name="connsiteY312" fmla="*/ 724487 h 944571"/>
                <a:gd name="connsiteX313" fmla="*/ 234384 w 1015819"/>
                <a:gd name="connsiteY313" fmla="*/ 727546 h 944571"/>
                <a:gd name="connsiteX314" fmla="*/ 244252 w 1015819"/>
                <a:gd name="connsiteY314" fmla="*/ 738253 h 944571"/>
                <a:gd name="connsiteX315" fmla="*/ 246225 w 1015819"/>
                <a:gd name="connsiteY315" fmla="*/ 738253 h 944571"/>
                <a:gd name="connsiteX316" fmla="*/ 248199 w 1015819"/>
                <a:gd name="connsiteY316" fmla="*/ 748960 h 944571"/>
                <a:gd name="connsiteX317" fmla="*/ 250172 w 1015819"/>
                <a:gd name="connsiteY317" fmla="*/ 753548 h 944571"/>
                <a:gd name="connsiteX318" fmla="*/ 254070 w 1015819"/>
                <a:gd name="connsiteY318" fmla="*/ 761147 h 944571"/>
                <a:gd name="connsiteX319" fmla="*/ 256093 w 1015819"/>
                <a:gd name="connsiteY319" fmla="*/ 770324 h 944571"/>
                <a:gd name="connsiteX320" fmla="*/ 261965 w 1015819"/>
                <a:gd name="connsiteY320" fmla="*/ 784090 h 944571"/>
                <a:gd name="connsiteX321" fmla="*/ 265863 w 1015819"/>
                <a:gd name="connsiteY321" fmla="*/ 790208 h 944571"/>
                <a:gd name="connsiteX322" fmla="*/ 267885 w 1015819"/>
                <a:gd name="connsiteY322" fmla="*/ 802445 h 944571"/>
                <a:gd name="connsiteX323" fmla="*/ 269859 w 1015819"/>
                <a:gd name="connsiteY323" fmla="*/ 805504 h 944571"/>
                <a:gd name="connsiteX324" fmla="*/ 275731 w 1015819"/>
                <a:gd name="connsiteY324" fmla="*/ 814632 h 944571"/>
                <a:gd name="connsiteX325" fmla="*/ 285599 w 1015819"/>
                <a:gd name="connsiteY325" fmla="*/ 822329 h 944571"/>
                <a:gd name="connsiteX326" fmla="*/ 287573 w 1015819"/>
                <a:gd name="connsiteY326" fmla="*/ 822329 h 944571"/>
                <a:gd name="connsiteX327" fmla="*/ 293493 w 1015819"/>
                <a:gd name="connsiteY327" fmla="*/ 831457 h 944571"/>
                <a:gd name="connsiteX328" fmla="*/ 307259 w 1015819"/>
                <a:gd name="connsiteY328" fmla="*/ 842164 h 944571"/>
                <a:gd name="connsiteX329" fmla="*/ 309233 w 1015819"/>
                <a:gd name="connsiteY329" fmla="*/ 852821 h 944571"/>
                <a:gd name="connsiteX330" fmla="*/ 313131 w 1015819"/>
                <a:gd name="connsiteY330" fmla="*/ 860518 h 944571"/>
                <a:gd name="connsiteX331" fmla="*/ 315104 w 1015819"/>
                <a:gd name="connsiteY331" fmla="*/ 860518 h 944571"/>
                <a:gd name="connsiteX332" fmla="*/ 315104 w 1015819"/>
                <a:gd name="connsiteY332" fmla="*/ 868117 h 944571"/>
                <a:gd name="connsiteX333" fmla="*/ 322999 w 1015819"/>
                <a:gd name="connsiteY333" fmla="*/ 880353 h 944571"/>
                <a:gd name="connsiteX334" fmla="*/ 326897 w 1015819"/>
                <a:gd name="connsiteY334" fmla="*/ 891060 h 944571"/>
                <a:gd name="connsiteX335" fmla="*/ 326897 w 1015819"/>
                <a:gd name="connsiteY335" fmla="*/ 904776 h 944571"/>
                <a:gd name="connsiteX336" fmla="*/ 342685 w 1015819"/>
                <a:gd name="connsiteY336" fmla="*/ 927720 h 944571"/>
                <a:gd name="connsiteX337" fmla="*/ 352553 w 1015819"/>
                <a:gd name="connsiteY337" fmla="*/ 938427 h 944571"/>
                <a:gd name="connsiteX338" fmla="*/ 362422 w 1015819"/>
                <a:gd name="connsiteY338" fmla="*/ 944545 h 944571"/>
                <a:gd name="connsiteX339" fmla="*/ 376188 w 1015819"/>
                <a:gd name="connsiteY339" fmla="*/ 944545 h 944571"/>
                <a:gd name="connsiteX340" fmla="*/ 388030 w 1015819"/>
                <a:gd name="connsiteY340" fmla="*/ 938427 h 944571"/>
                <a:gd name="connsiteX341" fmla="*/ 391927 w 1015819"/>
                <a:gd name="connsiteY341" fmla="*/ 930779 h 944571"/>
                <a:gd name="connsiteX342" fmla="*/ 389954 w 1015819"/>
                <a:gd name="connsiteY342" fmla="*/ 927720 h 944571"/>
                <a:gd name="connsiteX343" fmla="*/ 391927 w 1015819"/>
                <a:gd name="connsiteY343" fmla="*/ 926190 h 944571"/>
                <a:gd name="connsiteX344" fmla="*/ 391927 w 1015819"/>
                <a:gd name="connsiteY344" fmla="*/ 922934 h 944571"/>
                <a:gd name="connsiteX345" fmla="*/ 395874 w 1015819"/>
                <a:gd name="connsiteY345" fmla="*/ 916815 h 944571"/>
                <a:gd name="connsiteX346" fmla="*/ 407716 w 1015819"/>
                <a:gd name="connsiteY346" fmla="*/ 912276 h 944571"/>
                <a:gd name="connsiteX347" fmla="*/ 411614 w 1015819"/>
                <a:gd name="connsiteY347" fmla="*/ 912276 h 944571"/>
                <a:gd name="connsiteX348" fmla="*/ 427354 w 1015819"/>
                <a:gd name="connsiteY348" fmla="*/ 907687 h 944571"/>
                <a:gd name="connsiteX349" fmla="*/ 431301 w 1015819"/>
                <a:gd name="connsiteY349" fmla="*/ 909168 h 944571"/>
                <a:gd name="connsiteX350" fmla="*/ 421433 w 1015819"/>
                <a:gd name="connsiteY350" fmla="*/ 903099 h 944571"/>
                <a:gd name="connsiteX351" fmla="*/ 419459 w 1015819"/>
                <a:gd name="connsiteY351" fmla="*/ 899990 h 944571"/>
                <a:gd name="connsiteX352" fmla="*/ 423357 w 1015819"/>
                <a:gd name="connsiteY352" fmla="*/ 896981 h 944571"/>
                <a:gd name="connsiteX353" fmla="*/ 431252 w 1015819"/>
                <a:gd name="connsiteY353" fmla="*/ 884744 h 944571"/>
                <a:gd name="connsiteX354" fmla="*/ 429278 w 1015819"/>
                <a:gd name="connsiteY354" fmla="*/ 883215 h 944571"/>
                <a:gd name="connsiteX355" fmla="*/ 433225 w 1015819"/>
                <a:gd name="connsiteY355" fmla="*/ 877097 h 944571"/>
                <a:gd name="connsiteX356" fmla="*/ 445017 w 1015819"/>
                <a:gd name="connsiteY356" fmla="*/ 875567 h 944571"/>
                <a:gd name="connsiteX357" fmla="*/ 448965 w 1015819"/>
                <a:gd name="connsiteY357" fmla="*/ 877097 h 944571"/>
                <a:gd name="connsiteX358" fmla="*/ 454836 w 1015819"/>
                <a:gd name="connsiteY358" fmla="*/ 875567 h 944571"/>
                <a:gd name="connsiteX359" fmla="*/ 454836 w 1015819"/>
                <a:gd name="connsiteY359" fmla="*/ 867919 h 944571"/>
                <a:gd name="connsiteX360" fmla="*/ 452863 w 1015819"/>
                <a:gd name="connsiteY360" fmla="*/ 841966 h 944571"/>
                <a:gd name="connsiteX361" fmla="*/ 448965 w 1015819"/>
                <a:gd name="connsiteY361" fmla="*/ 835848 h 944571"/>
                <a:gd name="connsiteX362" fmla="*/ 448965 w 1015819"/>
                <a:gd name="connsiteY362" fmla="*/ 825141 h 944571"/>
                <a:gd name="connsiteX363" fmla="*/ 456810 w 1015819"/>
                <a:gd name="connsiteY363" fmla="*/ 809846 h 944571"/>
                <a:gd name="connsiteX364" fmla="*/ 464655 w 1015819"/>
                <a:gd name="connsiteY364" fmla="*/ 791540 h 944571"/>
                <a:gd name="connsiteX365" fmla="*/ 464655 w 1015819"/>
                <a:gd name="connsiteY365" fmla="*/ 774913 h 944571"/>
                <a:gd name="connsiteX366" fmla="*/ 454787 w 1015819"/>
                <a:gd name="connsiteY366" fmla="*/ 773383 h 944571"/>
                <a:gd name="connsiteX367" fmla="*/ 454787 w 1015819"/>
                <a:gd name="connsiteY367" fmla="*/ 741312 h 944571"/>
                <a:gd name="connsiteX368" fmla="*/ 460708 w 1015819"/>
                <a:gd name="connsiteY368" fmla="*/ 735194 h 944571"/>
                <a:gd name="connsiteX369" fmla="*/ 454787 w 1015819"/>
                <a:gd name="connsiteY369" fmla="*/ 719898 h 944571"/>
                <a:gd name="connsiteX370" fmla="*/ 454787 w 1015819"/>
                <a:gd name="connsiteY370" fmla="*/ 709191 h 944571"/>
                <a:gd name="connsiteX371" fmla="*/ 456760 w 1015819"/>
                <a:gd name="connsiteY371" fmla="*/ 701593 h 944571"/>
                <a:gd name="connsiteX372" fmla="*/ 468602 w 1015819"/>
                <a:gd name="connsiteY372" fmla="*/ 692416 h 944571"/>
                <a:gd name="connsiteX373" fmla="*/ 472500 w 1015819"/>
                <a:gd name="connsiteY373" fmla="*/ 692416 h 944571"/>
                <a:gd name="connsiteX374" fmla="*/ 474474 w 1015819"/>
                <a:gd name="connsiteY374" fmla="*/ 697004 h 944571"/>
                <a:gd name="connsiteX375" fmla="*/ 482368 w 1015819"/>
                <a:gd name="connsiteY375" fmla="*/ 697004 h 944571"/>
                <a:gd name="connsiteX376" fmla="*/ 492236 w 1015819"/>
                <a:gd name="connsiteY376" fmla="*/ 687827 h 944571"/>
                <a:gd name="connsiteX377" fmla="*/ 492236 w 1015819"/>
                <a:gd name="connsiteY377" fmla="*/ 678650 h 944571"/>
                <a:gd name="connsiteX378" fmla="*/ 498108 w 1015819"/>
                <a:gd name="connsiteY378" fmla="*/ 674061 h 944571"/>
                <a:gd name="connsiteX379" fmla="*/ 515821 w 1015819"/>
                <a:gd name="connsiteY379" fmla="*/ 677120 h 944571"/>
                <a:gd name="connsiteX380" fmla="*/ 523715 w 1015819"/>
                <a:gd name="connsiteY380" fmla="*/ 672531 h 944571"/>
                <a:gd name="connsiteX381" fmla="*/ 529587 w 1015819"/>
                <a:gd name="connsiteY381" fmla="*/ 664884 h 944571"/>
                <a:gd name="connsiteX382" fmla="*/ 527613 w 1015819"/>
                <a:gd name="connsiteY382" fmla="*/ 658815 h 944571"/>
                <a:gd name="connsiteX383" fmla="*/ 529587 w 1015819"/>
                <a:gd name="connsiteY383" fmla="*/ 651118 h 944571"/>
                <a:gd name="connsiteX384" fmla="*/ 539455 w 1015819"/>
                <a:gd name="connsiteY384" fmla="*/ 643519 h 944571"/>
                <a:gd name="connsiteX385" fmla="*/ 553221 w 1015819"/>
                <a:gd name="connsiteY385" fmla="*/ 640411 h 944571"/>
                <a:gd name="connsiteX386" fmla="*/ 561115 w 1015819"/>
                <a:gd name="connsiteY386" fmla="*/ 634342 h 944571"/>
                <a:gd name="connsiteX387" fmla="*/ 565063 w 1015819"/>
                <a:gd name="connsiteY387" fmla="*/ 625165 h 944571"/>
                <a:gd name="connsiteX388" fmla="*/ 596542 w 1015819"/>
                <a:gd name="connsiteY388" fmla="*/ 603751 h 944571"/>
                <a:gd name="connsiteX389" fmla="*/ 602413 w 1015819"/>
                <a:gd name="connsiteY389" fmla="*/ 588505 h 944571"/>
                <a:gd name="connsiteX390" fmla="*/ 628021 w 1015819"/>
                <a:gd name="connsiteY390" fmla="*/ 568768 h 944571"/>
                <a:gd name="connsiteX391" fmla="*/ 626047 w 1015819"/>
                <a:gd name="connsiteY391" fmla="*/ 567239 h 944571"/>
                <a:gd name="connsiteX392" fmla="*/ 624074 w 1015819"/>
                <a:gd name="connsiteY392" fmla="*/ 570298 h 944571"/>
                <a:gd name="connsiteX393" fmla="*/ 618202 w 1015819"/>
                <a:gd name="connsiteY393" fmla="*/ 571828 h 944571"/>
                <a:gd name="connsiteX394" fmla="*/ 620176 w 1015819"/>
                <a:gd name="connsiteY394" fmla="*/ 564180 h 944571"/>
                <a:gd name="connsiteX395" fmla="*/ 624074 w 1015819"/>
                <a:gd name="connsiteY395" fmla="*/ 564180 h 944571"/>
                <a:gd name="connsiteX396" fmla="*/ 628021 w 1015819"/>
                <a:gd name="connsiteY396" fmla="*/ 559591 h 944571"/>
                <a:gd name="connsiteX397" fmla="*/ 631968 w 1015819"/>
                <a:gd name="connsiteY397" fmla="*/ 559591 h 944571"/>
                <a:gd name="connsiteX398" fmla="*/ 633942 w 1015819"/>
                <a:gd name="connsiteY398" fmla="*/ 561121 h 944571"/>
                <a:gd name="connsiteX399" fmla="*/ 633942 w 1015819"/>
                <a:gd name="connsiteY399" fmla="*/ 564180 h 944571"/>
                <a:gd name="connsiteX400" fmla="*/ 635866 w 1015819"/>
                <a:gd name="connsiteY400" fmla="*/ 565709 h 944571"/>
                <a:gd name="connsiteX401" fmla="*/ 655602 w 1015819"/>
                <a:gd name="connsiteY401" fmla="*/ 558111 h 944571"/>
                <a:gd name="connsiteX402" fmla="*/ 655602 w 1015819"/>
                <a:gd name="connsiteY402" fmla="*/ 553522 h 944571"/>
                <a:gd name="connsiteX403" fmla="*/ 669417 w 1015819"/>
                <a:gd name="connsiteY403" fmla="*/ 544345 h 944571"/>
                <a:gd name="connsiteX404" fmla="*/ 667395 w 1015819"/>
                <a:gd name="connsiteY404" fmla="*/ 541286 h 944571"/>
                <a:gd name="connsiteX405" fmla="*/ 671341 w 1015819"/>
                <a:gd name="connsiteY405" fmla="*/ 541286 h 944571"/>
                <a:gd name="connsiteX406" fmla="*/ 673315 w 1015819"/>
                <a:gd name="connsiteY406" fmla="*/ 535168 h 944571"/>
                <a:gd name="connsiteX407" fmla="*/ 681209 w 1015819"/>
                <a:gd name="connsiteY407" fmla="*/ 530579 h 944571"/>
                <a:gd name="connsiteX408" fmla="*/ 679187 w 1015819"/>
                <a:gd name="connsiteY408" fmla="*/ 529050 h 944571"/>
                <a:gd name="connsiteX409" fmla="*/ 679187 w 1015819"/>
                <a:gd name="connsiteY409" fmla="*/ 527520 h 944571"/>
                <a:gd name="connsiteX410" fmla="*/ 675289 w 1015819"/>
                <a:gd name="connsiteY410" fmla="*/ 519922 h 944571"/>
                <a:gd name="connsiteX411" fmla="*/ 673315 w 1015819"/>
                <a:gd name="connsiteY411" fmla="*/ 515333 h 944571"/>
                <a:gd name="connsiteX412" fmla="*/ 677213 w 1015819"/>
                <a:gd name="connsiteY412" fmla="*/ 510744 h 944571"/>
                <a:gd name="connsiteX413" fmla="*/ 679187 w 1015819"/>
                <a:gd name="connsiteY413" fmla="*/ 506156 h 944571"/>
                <a:gd name="connsiteX414" fmla="*/ 685108 w 1015819"/>
                <a:gd name="connsiteY414" fmla="*/ 503047 h 944571"/>
                <a:gd name="connsiteX415" fmla="*/ 704844 w 1015819"/>
                <a:gd name="connsiteY415" fmla="*/ 496929 h 944571"/>
                <a:gd name="connsiteX416" fmla="*/ 710715 w 1015819"/>
                <a:gd name="connsiteY416" fmla="*/ 490860 h 944571"/>
                <a:gd name="connsiteX417" fmla="*/ 710715 w 1015819"/>
                <a:gd name="connsiteY417" fmla="*/ 486272 h 944571"/>
                <a:gd name="connsiteX418" fmla="*/ 712689 w 1015819"/>
                <a:gd name="connsiteY418" fmla="*/ 481683 h 944571"/>
                <a:gd name="connsiteX419" fmla="*/ 714662 w 1015819"/>
                <a:gd name="connsiteY419" fmla="*/ 480153 h 944571"/>
                <a:gd name="connsiteX420" fmla="*/ 712689 w 1015819"/>
                <a:gd name="connsiteY420" fmla="*/ 477094 h 944571"/>
                <a:gd name="connsiteX421" fmla="*/ 708791 w 1015819"/>
                <a:gd name="connsiteY421" fmla="*/ 477094 h 944571"/>
                <a:gd name="connsiteX422" fmla="*/ 708791 w 1015819"/>
                <a:gd name="connsiteY422" fmla="*/ 475565 h 944571"/>
                <a:gd name="connsiteX423" fmla="*/ 714662 w 1015819"/>
                <a:gd name="connsiteY423" fmla="*/ 475565 h 944571"/>
                <a:gd name="connsiteX424" fmla="*/ 720583 w 1015819"/>
                <a:gd name="connsiteY424" fmla="*/ 478624 h 944571"/>
                <a:gd name="connsiteX425" fmla="*/ 716636 w 1015819"/>
                <a:gd name="connsiteY425" fmla="*/ 483212 h 944571"/>
                <a:gd name="connsiteX426" fmla="*/ 720583 w 1015819"/>
                <a:gd name="connsiteY426" fmla="*/ 490860 h 944571"/>
                <a:gd name="connsiteX427" fmla="*/ 726455 w 1015819"/>
                <a:gd name="connsiteY427" fmla="*/ 492390 h 944571"/>
                <a:gd name="connsiteX428" fmla="*/ 728429 w 1015819"/>
                <a:gd name="connsiteY428" fmla="*/ 490860 h 944571"/>
                <a:gd name="connsiteX429" fmla="*/ 732375 w 1015819"/>
                <a:gd name="connsiteY429" fmla="*/ 490860 h 944571"/>
                <a:gd name="connsiteX430" fmla="*/ 734349 w 1015819"/>
                <a:gd name="connsiteY430" fmla="*/ 489331 h 944571"/>
                <a:gd name="connsiteX431" fmla="*/ 734349 w 1015819"/>
                <a:gd name="connsiteY431" fmla="*/ 490860 h 944571"/>
                <a:gd name="connsiteX432" fmla="*/ 736323 w 1015819"/>
                <a:gd name="connsiteY432" fmla="*/ 487801 h 944571"/>
                <a:gd name="connsiteX433" fmla="*/ 736323 w 1015819"/>
                <a:gd name="connsiteY433" fmla="*/ 484742 h 944571"/>
                <a:gd name="connsiteX434" fmla="*/ 738247 w 1015819"/>
                <a:gd name="connsiteY434" fmla="*/ 487801 h 944571"/>
                <a:gd name="connsiteX435" fmla="*/ 740221 w 1015819"/>
                <a:gd name="connsiteY435" fmla="*/ 496929 h 944571"/>
                <a:gd name="connsiteX436" fmla="*/ 744217 w 1015819"/>
                <a:gd name="connsiteY436" fmla="*/ 498508 h 944571"/>
                <a:gd name="connsiteX437" fmla="*/ 744217 w 1015819"/>
                <a:gd name="connsiteY437" fmla="*/ 493673 h 944571"/>
                <a:gd name="connsiteX438" fmla="*/ 750089 w 1015819"/>
                <a:gd name="connsiteY438" fmla="*/ 499791 h 944571"/>
                <a:gd name="connsiteX439" fmla="*/ 756010 w 1015819"/>
                <a:gd name="connsiteY439" fmla="*/ 492143 h 944571"/>
                <a:gd name="connsiteX440" fmla="*/ 750089 w 1015819"/>
                <a:gd name="connsiteY440" fmla="*/ 486025 h 944571"/>
                <a:gd name="connsiteX441" fmla="*/ 750089 w 1015819"/>
                <a:gd name="connsiteY441" fmla="*/ 476848 h 944571"/>
                <a:gd name="connsiteX442" fmla="*/ 748115 w 1015819"/>
                <a:gd name="connsiteY442" fmla="*/ 472308 h 944571"/>
                <a:gd name="connsiteX443" fmla="*/ 748115 w 1015819"/>
                <a:gd name="connsiteY443" fmla="*/ 461601 h 944571"/>
                <a:gd name="connsiteX444" fmla="*/ 738247 w 1015819"/>
                <a:gd name="connsiteY444" fmla="*/ 450895 h 944571"/>
                <a:gd name="connsiteX445" fmla="*/ 736323 w 1015819"/>
                <a:gd name="connsiteY445" fmla="*/ 440188 h 944571"/>
                <a:gd name="connsiteX446" fmla="*/ 736323 w 1015819"/>
                <a:gd name="connsiteY446" fmla="*/ 434069 h 944571"/>
                <a:gd name="connsiteX447" fmla="*/ 734349 w 1015819"/>
                <a:gd name="connsiteY447" fmla="*/ 426422 h 944571"/>
                <a:gd name="connsiteX448" fmla="*/ 734349 w 1015819"/>
                <a:gd name="connsiteY448" fmla="*/ 417244 h 944571"/>
                <a:gd name="connsiteX449" fmla="*/ 726455 w 1015819"/>
                <a:gd name="connsiteY449" fmla="*/ 406538 h 944571"/>
                <a:gd name="connsiteX450" fmla="*/ 714662 w 1015819"/>
                <a:gd name="connsiteY450" fmla="*/ 403528 h 944571"/>
                <a:gd name="connsiteX451" fmla="*/ 706817 w 1015819"/>
                <a:gd name="connsiteY451" fmla="*/ 395880 h 944571"/>
                <a:gd name="connsiteX452" fmla="*/ 706817 w 1015819"/>
                <a:gd name="connsiteY452" fmla="*/ 382114 h 944571"/>
                <a:gd name="connsiteX453" fmla="*/ 714662 w 1015819"/>
                <a:gd name="connsiteY453" fmla="*/ 382114 h 944571"/>
                <a:gd name="connsiteX454" fmla="*/ 716636 w 1015819"/>
                <a:gd name="connsiteY454" fmla="*/ 374466 h 944571"/>
                <a:gd name="connsiteX455" fmla="*/ 724481 w 1015819"/>
                <a:gd name="connsiteY455" fmla="*/ 371456 h 944571"/>
                <a:gd name="connsiteX456" fmla="*/ 728429 w 1015819"/>
                <a:gd name="connsiteY456" fmla="*/ 372937 h 944571"/>
                <a:gd name="connsiteX457" fmla="*/ 732375 w 1015819"/>
                <a:gd name="connsiteY457" fmla="*/ 369878 h 944571"/>
                <a:gd name="connsiteX458" fmla="*/ 730402 w 1015819"/>
                <a:gd name="connsiteY458" fmla="*/ 360750 h 944571"/>
                <a:gd name="connsiteX459" fmla="*/ 732375 w 1015819"/>
                <a:gd name="connsiteY459" fmla="*/ 356161 h 944571"/>
                <a:gd name="connsiteX460" fmla="*/ 722507 w 1015819"/>
                <a:gd name="connsiteY460" fmla="*/ 356161 h 944571"/>
                <a:gd name="connsiteX461" fmla="*/ 714613 w 1015819"/>
                <a:gd name="connsiteY461" fmla="*/ 357641 h 944571"/>
                <a:gd name="connsiteX462" fmla="*/ 698874 w 1015819"/>
                <a:gd name="connsiteY462" fmla="*/ 353053 h 944571"/>
                <a:gd name="connsiteX463" fmla="*/ 698874 w 1015819"/>
                <a:gd name="connsiteY463" fmla="*/ 346984 h 944571"/>
                <a:gd name="connsiteX464" fmla="*/ 706768 w 1015819"/>
                <a:gd name="connsiteY464" fmla="*/ 339336 h 944571"/>
                <a:gd name="connsiteX465" fmla="*/ 708742 w 1015819"/>
                <a:gd name="connsiteY465" fmla="*/ 330159 h 944571"/>
                <a:gd name="connsiteX466" fmla="*/ 706768 w 1015819"/>
                <a:gd name="connsiteY466" fmla="*/ 328629 h 944571"/>
                <a:gd name="connsiteX467" fmla="*/ 706768 w 1015819"/>
                <a:gd name="connsiteY467" fmla="*/ 324090 h 944571"/>
                <a:gd name="connsiteX468" fmla="*/ 708742 w 1015819"/>
                <a:gd name="connsiteY468" fmla="*/ 324090 h 944571"/>
                <a:gd name="connsiteX469" fmla="*/ 710666 w 1015819"/>
                <a:gd name="connsiteY469" fmla="*/ 319452 h 944571"/>
                <a:gd name="connsiteX470" fmla="*/ 712639 w 1015819"/>
                <a:gd name="connsiteY470" fmla="*/ 322511 h 944571"/>
                <a:gd name="connsiteX471" fmla="*/ 720534 w 1015819"/>
                <a:gd name="connsiteY471" fmla="*/ 327100 h 944571"/>
                <a:gd name="connsiteX472" fmla="*/ 720534 w 1015819"/>
                <a:gd name="connsiteY472" fmla="*/ 331688 h 944571"/>
                <a:gd name="connsiteX473" fmla="*/ 724432 w 1015819"/>
                <a:gd name="connsiteY473" fmla="*/ 337806 h 944571"/>
                <a:gd name="connsiteX474" fmla="*/ 732326 w 1015819"/>
                <a:gd name="connsiteY474" fmla="*/ 339336 h 944571"/>
                <a:gd name="connsiteX475" fmla="*/ 736273 w 1015819"/>
                <a:gd name="connsiteY475" fmla="*/ 337806 h 944571"/>
                <a:gd name="connsiteX476" fmla="*/ 730353 w 1015819"/>
                <a:gd name="connsiteY476" fmla="*/ 333218 h 944571"/>
                <a:gd name="connsiteX477" fmla="*/ 732326 w 1015819"/>
                <a:gd name="connsiteY477" fmla="*/ 330159 h 944571"/>
                <a:gd name="connsiteX478" fmla="*/ 734300 w 1015819"/>
                <a:gd name="connsiteY478" fmla="*/ 330159 h 944571"/>
                <a:gd name="connsiteX479" fmla="*/ 740172 w 1015819"/>
                <a:gd name="connsiteY479" fmla="*/ 333218 h 944571"/>
                <a:gd name="connsiteX480" fmla="*/ 744168 w 1015819"/>
                <a:gd name="connsiteY480" fmla="*/ 337806 h 944571"/>
                <a:gd name="connsiteX481" fmla="*/ 750040 w 1015819"/>
                <a:gd name="connsiteY481" fmla="*/ 339336 h 944571"/>
                <a:gd name="connsiteX482" fmla="*/ 750040 w 1015819"/>
                <a:gd name="connsiteY482" fmla="*/ 337806 h 944571"/>
                <a:gd name="connsiteX483" fmla="*/ 755960 w 1015819"/>
                <a:gd name="connsiteY483" fmla="*/ 337806 h 944571"/>
                <a:gd name="connsiteX484" fmla="*/ 759858 w 1015819"/>
                <a:gd name="connsiteY484" fmla="*/ 343925 h 944571"/>
                <a:gd name="connsiteX485" fmla="*/ 761832 w 1015819"/>
                <a:gd name="connsiteY485" fmla="*/ 351572 h 944571"/>
                <a:gd name="connsiteX486" fmla="*/ 763805 w 1015819"/>
                <a:gd name="connsiteY486" fmla="*/ 354632 h 944571"/>
                <a:gd name="connsiteX487" fmla="*/ 765730 w 1015819"/>
                <a:gd name="connsiteY487" fmla="*/ 360750 h 944571"/>
                <a:gd name="connsiteX488" fmla="*/ 765730 w 1015819"/>
                <a:gd name="connsiteY488" fmla="*/ 366868 h 944571"/>
                <a:gd name="connsiteX489" fmla="*/ 771700 w 1015819"/>
                <a:gd name="connsiteY489" fmla="*/ 369878 h 944571"/>
                <a:gd name="connsiteX490" fmla="*/ 777571 w 1015819"/>
                <a:gd name="connsiteY490" fmla="*/ 368348 h 944571"/>
                <a:gd name="connsiteX491" fmla="*/ 785466 w 1015819"/>
                <a:gd name="connsiteY491" fmla="*/ 371456 h 944571"/>
                <a:gd name="connsiteX492" fmla="*/ 795334 w 1015819"/>
                <a:gd name="connsiteY492" fmla="*/ 371456 h 944571"/>
                <a:gd name="connsiteX493" fmla="*/ 809100 w 1015819"/>
                <a:gd name="connsiteY493" fmla="*/ 369878 h 944571"/>
                <a:gd name="connsiteX494" fmla="*/ 822866 w 1015819"/>
                <a:gd name="connsiteY494" fmla="*/ 371456 h 944571"/>
                <a:gd name="connsiteX495" fmla="*/ 838605 w 1015819"/>
                <a:gd name="connsiteY495" fmla="*/ 371456 h 944571"/>
                <a:gd name="connsiteX496" fmla="*/ 842553 w 1015819"/>
                <a:gd name="connsiteY496" fmla="*/ 372937 h 944571"/>
                <a:gd name="connsiteX497" fmla="*/ 846500 w 1015819"/>
                <a:gd name="connsiteY497" fmla="*/ 371456 h 944571"/>
                <a:gd name="connsiteX498" fmla="*/ 852371 w 1015819"/>
                <a:gd name="connsiteY498" fmla="*/ 375996 h 944571"/>
                <a:gd name="connsiteX499" fmla="*/ 854345 w 1015819"/>
                <a:gd name="connsiteY499" fmla="*/ 377526 h 944571"/>
                <a:gd name="connsiteX500" fmla="*/ 852371 w 1015819"/>
                <a:gd name="connsiteY500" fmla="*/ 383644 h 944571"/>
                <a:gd name="connsiteX501" fmla="*/ 850398 w 1015819"/>
                <a:gd name="connsiteY501" fmla="*/ 392821 h 944571"/>
                <a:gd name="connsiteX502" fmla="*/ 846500 w 1015819"/>
                <a:gd name="connsiteY502" fmla="*/ 401949 h 944571"/>
                <a:gd name="connsiteX503" fmla="*/ 842553 w 1015819"/>
                <a:gd name="connsiteY503" fmla="*/ 405057 h 944571"/>
                <a:gd name="connsiteX504" fmla="*/ 842553 w 1015819"/>
                <a:gd name="connsiteY504" fmla="*/ 408116 h 944571"/>
                <a:gd name="connsiteX505" fmla="*/ 838605 w 1015819"/>
                <a:gd name="connsiteY505" fmla="*/ 411126 h 944571"/>
                <a:gd name="connsiteX506" fmla="*/ 834658 w 1015819"/>
                <a:gd name="connsiteY506" fmla="*/ 411126 h 944571"/>
                <a:gd name="connsiteX507" fmla="*/ 832734 w 1015819"/>
                <a:gd name="connsiteY507" fmla="*/ 408116 h 944571"/>
                <a:gd name="connsiteX508" fmla="*/ 826813 w 1015819"/>
                <a:gd name="connsiteY508" fmla="*/ 412656 h 944571"/>
                <a:gd name="connsiteX509" fmla="*/ 824839 w 1015819"/>
                <a:gd name="connsiteY509" fmla="*/ 417244 h 944571"/>
                <a:gd name="connsiteX510" fmla="*/ 822866 w 1015819"/>
                <a:gd name="connsiteY510" fmla="*/ 420304 h 944571"/>
                <a:gd name="connsiteX511" fmla="*/ 822866 w 1015819"/>
                <a:gd name="connsiteY511" fmla="*/ 423363 h 944571"/>
                <a:gd name="connsiteX512" fmla="*/ 824839 w 1015819"/>
                <a:gd name="connsiteY512" fmla="*/ 431010 h 944571"/>
                <a:gd name="connsiteX513" fmla="*/ 828737 w 1015819"/>
                <a:gd name="connsiteY513" fmla="*/ 434069 h 944571"/>
                <a:gd name="connsiteX514" fmla="*/ 830760 w 1015819"/>
                <a:gd name="connsiteY514" fmla="*/ 437128 h 944571"/>
                <a:gd name="connsiteX515" fmla="*/ 836632 w 1015819"/>
                <a:gd name="connsiteY515" fmla="*/ 443247 h 944571"/>
                <a:gd name="connsiteX516" fmla="*/ 840579 w 1015819"/>
                <a:gd name="connsiteY516" fmla="*/ 449316 h 944571"/>
                <a:gd name="connsiteX517" fmla="*/ 844527 w 1015819"/>
                <a:gd name="connsiteY517" fmla="*/ 449316 h 944571"/>
                <a:gd name="connsiteX518" fmla="*/ 844527 w 1015819"/>
                <a:gd name="connsiteY518" fmla="*/ 444776 h 944571"/>
                <a:gd name="connsiteX519" fmla="*/ 842553 w 1015819"/>
                <a:gd name="connsiteY519" fmla="*/ 443247 h 944571"/>
                <a:gd name="connsiteX520" fmla="*/ 846500 w 1015819"/>
                <a:gd name="connsiteY520" fmla="*/ 437128 h 944571"/>
                <a:gd name="connsiteX521" fmla="*/ 846500 w 1015819"/>
                <a:gd name="connsiteY521" fmla="*/ 434069 h 944571"/>
                <a:gd name="connsiteX522" fmla="*/ 848424 w 1015819"/>
                <a:gd name="connsiteY522" fmla="*/ 431010 h 944571"/>
                <a:gd name="connsiteX523" fmla="*/ 846500 w 1015819"/>
                <a:gd name="connsiteY523" fmla="*/ 427951 h 944571"/>
                <a:gd name="connsiteX524" fmla="*/ 850398 w 1015819"/>
                <a:gd name="connsiteY524" fmla="*/ 426422 h 944571"/>
                <a:gd name="connsiteX525" fmla="*/ 854345 w 1015819"/>
                <a:gd name="connsiteY525" fmla="*/ 427951 h 944571"/>
                <a:gd name="connsiteX526" fmla="*/ 862190 w 1015819"/>
                <a:gd name="connsiteY526" fmla="*/ 427951 h 944571"/>
                <a:gd name="connsiteX527" fmla="*/ 864164 w 1015819"/>
                <a:gd name="connsiteY527" fmla="*/ 431010 h 944571"/>
                <a:gd name="connsiteX528" fmla="*/ 866137 w 1015819"/>
                <a:gd name="connsiteY528" fmla="*/ 435599 h 944571"/>
                <a:gd name="connsiteX529" fmla="*/ 868111 w 1015819"/>
                <a:gd name="connsiteY529" fmla="*/ 444776 h 944571"/>
                <a:gd name="connsiteX530" fmla="*/ 868111 w 1015819"/>
                <a:gd name="connsiteY530" fmla="*/ 450895 h 944571"/>
                <a:gd name="connsiteX531" fmla="*/ 872058 w 1015819"/>
                <a:gd name="connsiteY531" fmla="*/ 455483 h 944571"/>
                <a:gd name="connsiteX532" fmla="*/ 874032 w 1015819"/>
                <a:gd name="connsiteY532" fmla="*/ 469200 h 944571"/>
                <a:gd name="connsiteX533" fmla="*/ 875956 w 1015819"/>
                <a:gd name="connsiteY533" fmla="*/ 476848 h 944571"/>
                <a:gd name="connsiteX534" fmla="*/ 877929 w 1015819"/>
                <a:gd name="connsiteY534" fmla="*/ 481436 h 944571"/>
                <a:gd name="connsiteX535" fmla="*/ 879903 w 1015819"/>
                <a:gd name="connsiteY535" fmla="*/ 482966 h 944571"/>
                <a:gd name="connsiteX536" fmla="*/ 879903 w 1015819"/>
                <a:gd name="connsiteY536" fmla="*/ 486025 h 944571"/>
                <a:gd name="connsiteX537" fmla="*/ 881926 w 1015819"/>
                <a:gd name="connsiteY537" fmla="*/ 489084 h 944571"/>
                <a:gd name="connsiteX538" fmla="*/ 883851 w 1015819"/>
                <a:gd name="connsiteY538" fmla="*/ 489084 h 944571"/>
                <a:gd name="connsiteX539" fmla="*/ 883851 w 1015819"/>
                <a:gd name="connsiteY539" fmla="*/ 481436 h 944571"/>
                <a:gd name="connsiteX540" fmla="*/ 887798 w 1015819"/>
                <a:gd name="connsiteY540" fmla="*/ 481436 h 944571"/>
                <a:gd name="connsiteX541" fmla="*/ 893719 w 1015819"/>
                <a:gd name="connsiteY541" fmla="*/ 479907 h 944571"/>
                <a:gd name="connsiteX542" fmla="*/ 897616 w 1015819"/>
                <a:gd name="connsiteY542" fmla="*/ 470729 h 944571"/>
                <a:gd name="connsiteX543" fmla="*/ 895692 w 1015819"/>
                <a:gd name="connsiteY543" fmla="*/ 463082 h 944571"/>
                <a:gd name="connsiteX544" fmla="*/ 897616 w 1015819"/>
                <a:gd name="connsiteY544" fmla="*/ 455483 h 944571"/>
                <a:gd name="connsiteX545" fmla="*/ 895692 w 1015819"/>
                <a:gd name="connsiteY545" fmla="*/ 447836 h 944571"/>
                <a:gd name="connsiteX546" fmla="*/ 903488 w 1015819"/>
                <a:gd name="connsiteY546" fmla="*/ 449316 h 944571"/>
                <a:gd name="connsiteX547" fmla="*/ 903488 w 1015819"/>
                <a:gd name="connsiteY547" fmla="*/ 429580 h 944571"/>
                <a:gd name="connsiteX548" fmla="*/ 899590 w 1015819"/>
                <a:gd name="connsiteY548" fmla="*/ 414333 h 944571"/>
                <a:gd name="connsiteX549" fmla="*/ 907484 w 1015819"/>
                <a:gd name="connsiteY549" fmla="*/ 414333 h 944571"/>
                <a:gd name="connsiteX550" fmla="*/ 913356 w 1015819"/>
                <a:gd name="connsiteY550" fmla="*/ 417343 h 944571"/>
                <a:gd name="connsiteX551" fmla="*/ 921250 w 1015819"/>
                <a:gd name="connsiteY551" fmla="*/ 417343 h 944571"/>
                <a:gd name="connsiteX552" fmla="*/ 929095 w 1015819"/>
                <a:gd name="connsiteY552" fmla="*/ 405156 h 944571"/>
                <a:gd name="connsiteX553" fmla="*/ 933043 w 1015819"/>
                <a:gd name="connsiteY553" fmla="*/ 391390 h 944571"/>
                <a:gd name="connsiteX554" fmla="*/ 938914 w 1015819"/>
                <a:gd name="connsiteY554" fmla="*/ 374565 h 944571"/>
                <a:gd name="connsiteX555" fmla="*/ 931069 w 1015819"/>
                <a:gd name="connsiteY555" fmla="*/ 371555 h 944571"/>
                <a:gd name="connsiteX556" fmla="*/ 931069 w 1015819"/>
                <a:gd name="connsiteY556" fmla="*/ 366967 h 944571"/>
                <a:gd name="connsiteX557" fmla="*/ 940937 w 1015819"/>
                <a:gd name="connsiteY557" fmla="*/ 353151 h 944571"/>
                <a:gd name="connsiteX558" fmla="*/ 944885 w 1015819"/>
                <a:gd name="connsiteY558" fmla="*/ 340964 h 944571"/>
                <a:gd name="connsiteX559" fmla="*/ 940937 w 1015819"/>
                <a:gd name="connsiteY559" fmla="*/ 334846 h 944571"/>
                <a:gd name="connsiteX560" fmla="*/ 942911 w 1015819"/>
                <a:gd name="connsiteY560" fmla="*/ 328728 h 944571"/>
                <a:gd name="connsiteX561" fmla="*/ 954703 w 1015819"/>
                <a:gd name="connsiteY561" fmla="*/ 313482 h 944571"/>
                <a:gd name="connsiteX562" fmla="*/ 964571 w 1015819"/>
                <a:gd name="connsiteY562" fmla="*/ 310373 h 944571"/>
                <a:gd name="connsiteX563" fmla="*/ 972466 w 1015819"/>
                <a:gd name="connsiteY563" fmla="*/ 301196 h 944571"/>
                <a:gd name="connsiteX564" fmla="*/ 976413 w 1015819"/>
                <a:gd name="connsiteY564" fmla="*/ 293598 h 944571"/>
                <a:gd name="connsiteX565" fmla="*/ 986281 w 1015819"/>
                <a:gd name="connsiteY565" fmla="*/ 290538 h 944571"/>
                <a:gd name="connsiteX566" fmla="*/ 998122 w 1015819"/>
                <a:gd name="connsiteY566" fmla="*/ 284420 h 944571"/>
                <a:gd name="connsiteX567" fmla="*/ 1003994 w 1015819"/>
                <a:gd name="connsiteY567" fmla="*/ 289009 h 944571"/>
                <a:gd name="connsiteX568" fmla="*/ 1011889 w 1015819"/>
                <a:gd name="connsiteY568" fmla="*/ 292068 h 944571"/>
                <a:gd name="connsiteX569" fmla="*/ 1009915 w 1015819"/>
                <a:gd name="connsiteY569" fmla="*/ 287479 h 944571"/>
                <a:gd name="connsiteX570" fmla="*/ 1009915 w 1015819"/>
                <a:gd name="connsiteY570" fmla="*/ 276575 h 94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</a:cxnLst>
              <a:rect l="l" t="t" r="r" b="b"/>
              <a:pathLst>
                <a:path w="1015819" h="944571">
                  <a:moveTo>
                    <a:pt x="1015737" y="272184"/>
                  </a:moveTo>
                  <a:lnTo>
                    <a:pt x="1015737" y="267595"/>
                  </a:lnTo>
                  <a:lnTo>
                    <a:pt x="1007892" y="261526"/>
                  </a:lnTo>
                  <a:lnTo>
                    <a:pt x="1001971" y="259997"/>
                  </a:lnTo>
                  <a:lnTo>
                    <a:pt x="998074" y="261526"/>
                  </a:lnTo>
                  <a:lnTo>
                    <a:pt x="988206" y="259997"/>
                  </a:lnTo>
                  <a:lnTo>
                    <a:pt x="986232" y="253829"/>
                  </a:lnTo>
                  <a:lnTo>
                    <a:pt x="994126" y="247711"/>
                  </a:lnTo>
                  <a:lnTo>
                    <a:pt x="994126" y="244701"/>
                  </a:lnTo>
                  <a:lnTo>
                    <a:pt x="986232" y="238583"/>
                  </a:lnTo>
                  <a:lnTo>
                    <a:pt x="986232" y="233994"/>
                  </a:lnTo>
                  <a:lnTo>
                    <a:pt x="980360" y="235524"/>
                  </a:lnTo>
                  <a:lnTo>
                    <a:pt x="976413" y="235524"/>
                  </a:lnTo>
                  <a:lnTo>
                    <a:pt x="974439" y="230935"/>
                  </a:lnTo>
                  <a:lnTo>
                    <a:pt x="978338" y="221758"/>
                  </a:lnTo>
                  <a:lnTo>
                    <a:pt x="978338" y="218748"/>
                  </a:lnTo>
                  <a:lnTo>
                    <a:pt x="972466" y="220228"/>
                  </a:lnTo>
                  <a:lnTo>
                    <a:pt x="968568" y="215640"/>
                  </a:lnTo>
                  <a:lnTo>
                    <a:pt x="964571" y="214110"/>
                  </a:lnTo>
                  <a:lnTo>
                    <a:pt x="946908" y="221758"/>
                  </a:lnTo>
                  <a:lnTo>
                    <a:pt x="948881" y="227876"/>
                  </a:lnTo>
                  <a:lnTo>
                    <a:pt x="944934" y="232465"/>
                  </a:lnTo>
                  <a:lnTo>
                    <a:pt x="931168" y="226347"/>
                  </a:lnTo>
                  <a:lnTo>
                    <a:pt x="921300" y="230935"/>
                  </a:lnTo>
                  <a:lnTo>
                    <a:pt x="915379" y="221758"/>
                  </a:lnTo>
                  <a:lnTo>
                    <a:pt x="907534" y="226347"/>
                  </a:lnTo>
                  <a:lnTo>
                    <a:pt x="901613" y="226347"/>
                  </a:lnTo>
                  <a:lnTo>
                    <a:pt x="901613" y="233994"/>
                  </a:lnTo>
                  <a:lnTo>
                    <a:pt x="895741" y="243172"/>
                  </a:lnTo>
                  <a:lnTo>
                    <a:pt x="879953" y="244701"/>
                  </a:lnTo>
                  <a:lnTo>
                    <a:pt x="872108" y="246231"/>
                  </a:lnTo>
                  <a:lnTo>
                    <a:pt x="868160" y="252349"/>
                  </a:lnTo>
                  <a:lnTo>
                    <a:pt x="864213" y="259997"/>
                  </a:lnTo>
                  <a:lnTo>
                    <a:pt x="858341" y="261526"/>
                  </a:lnTo>
                  <a:lnTo>
                    <a:pt x="858341" y="266115"/>
                  </a:lnTo>
                  <a:lnTo>
                    <a:pt x="850447" y="264536"/>
                  </a:lnTo>
                  <a:lnTo>
                    <a:pt x="844575" y="267595"/>
                  </a:lnTo>
                  <a:lnTo>
                    <a:pt x="842602" y="273713"/>
                  </a:lnTo>
                  <a:lnTo>
                    <a:pt x="836681" y="275243"/>
                  </a:lnTo>
                  <a:lnTo>
                    <a:pt x="824889" y="276772"/>
                  </a:lnTo>
                  <a:lnTo>
                    <a:pt x="817093" y="276772"/>
                  </a:lnTo>
                  <a:lnTo>
                    <a:pt x="815119" y="285950"/>
                  </a:lnTo>
                  <a:lnTo>
                    <a:pt x="817093" y="292068"/>
                  </a:lnTo>
                  <a:lnTo>
                    <a:pt x="828885" y="296657"/>
                  </a:lnTo>
                  <a:lnTo>
                    <a:pt x="828885" y="310373"/>
                  </a:lnTo>
                  <a:lnTo>
                    <a:pt x="813195" y="314962"/>
                  </a:lnTo>
                  <a:lnTo>
                    <a:pt x="803327" y="313482"/>
                  </a:lnTo>
                  <a:lnTo>
                    <a:pt x="791534" y="316492"/>
                  </a:lnTo>
                  <a:lnTo>
                    <a:pt x="781666" y="313482"/>
                  </a:lnTo>
                  <a:lnTo>
                    <a:pt x="775746" y="314962"/>
                  </a:lnTo>
                  <a:lnTo>
                    <a:pt x="767901" y="322610"/>
                  </a:lnTo>
                  <a:lnTo>
                    <a:pt x="758033" y="322610"/>
                  </a:lnTo>
                  <a:lnTo>
                    <a:pt x="740270" y="313482"/>
                  </a:lnTo>
                  <a:lnTo>
                    <a:pt x="736372" y="316492"/>
                  </a:lnTo>
                  <a:lnTo>
                    <a:pt x="724530" y="314962"/>
                  </a:lnTo>
                  <a:lnTo>
                    <a:pt x="714662" y="304304"/>
                  </a:lnTo>
                  <a:lnTo>
                    <a:pt x="720583" y="298186"/>
                  </a:lnTo>
                  <a:lnTo>
                    <a:pt x="720583" y="292068"/>
                  </a:lnTo>
                  <a:lnTo>
                    <a:pt x="710715" y="287479"/>
                  </a:lnTo>
                  <a:lnTo>
                    <a:pt x="710715" y="279831"/>
                  </a:lnTo>
                  <a:lnTo>
                    <a:pt x="706817" y="273713"/>
                  </a:lnTo>
                  <a:lnTo>
                    <a:pt x="698923" y="273713"/>
                  </a:lnTo>
                  <a:lnTo>
                    <a:pt x="693051" y="278302"/>
                  </a:lnTo>
                  <a:lnTo>
                    <a:pt x="695025" y="285950"/>
                  </a:lnTo>
                  <a:lnTo>
                    <a:pt x="691028" y="299716"/>
                  </a:lnTo>
                  <a:lnTo>
                    <a:pt x="698923" y="313482"/>
                  </a:lnTo>
                  <a:lnTo>
                    <a:pt x="695025" y="327198"/>
                  </a:lnTo>
                  <a:lnTo>
                    <a:pt x="673365" y="330257"/>
                  </a:lnTo>
                  <a:lnTo>
                    <a:pt x="659598" y="324189"/>
                  </a:lnTo>
                  <a:lnTo>
                    <a:pt x="651704" y="327198"/>
                  </a:lnTo>
                  <a:lnTo>
                    <a:pt x="620274" y="318070"/>
                  </a:lnTo>
                  <a:lnTo>
                    <a:pt x="606508" y="319551"/>
                  </a:lnTo>
                  <a:lnTo>
                    <a:pt x="600588" y="322610"/>
                  </a:lnTo>
                  <a:lnTo>
                    <a:pt x="582875" y="318070"/>
                  </a:lnTo>
                  <a:lnTo>
                    <a:pt x="571082" y="310373"/>
                  </a:lnTo>
                  <a:lnTo>
                    <a:pt x="569108" y="301196"/>
                  </a:lnTo>
                  <a:lnTo>
                    <a:pt x="553320" y="298186"/>
                  </a:lnTo>
                  <a:lnTo>
                    <a:pt x="533584" y="302775"/>
                  </a:lnTo>
                  <a:lnTo>
                    <a:pt x="527662" y="298186"/>
                  </a:lnTo>
                  <a:lnTo>
                    <a:pt x="507926" y="299716"/>
                  </a:lnTo>
                  <a:lnTo>
                    <a:pt x="498058" y="293598"/>
                  </a:lnTo>
                  <a:lnTo>
                    <a:pt x="488190" y="293598"/>
                  </a:lnTo>
                  <a:lnTo>
                    <a:pt x="482319" y="289009"/>
                  </a:lnTo>
                  <a:lnTo>
                    <a:pt x="466530" y="285950"/>
                  </a:lnTo>
                  <a:lnTo>
                    <a:pt x="456662" y="273713"/>
                  </a:lnTo>
                  <a:lnTo>
                    <a:pt x="438948" y="264536"/>
                  </a:lnTo>
                  <a:lnTo>
                    <a:pt x="425182" y="261526"/>
                  </a:lnTo>
                  <a:lnTo>
                    <a:pt x="419311" y="258418"/>
                  </a:lnTo>
                  <a:lnTo>
                    <a:pt x="413391" y="258418"/>
                  </a:lnTo>
                  <a:lnTo>
                    <a:pt x="405545" y="252349"/>
                  </a:lnTo>
                  <a:lnTo>
                    <a:pt x="399624" y="252349"/>
                  </a:lnTo>
                  <a:lnTo>
                    <a:pt x="397651" y="244701"/>
                  </a:lnTo>
                  <a:lnTo>
                    <a:pt x="405545" y="233994"/>
                  </a:lnTo>
                  <a:lnTo>
                    <a:pt x="405545" y="223337"/>
                  </a:lnTo>
                  <a:lnTo>
                    <a:pt x="411417" y="208041"/>
                  </a:lnTo>
                  <a:lnTo>
                    <a:pt x="411417" y="197334"/>
                  </a:lnTo>
                  <a:lnTo>
                    <a:pt x="405545" y="191216"/>
                  </a:lnTo>
                  <a:lnTo>
                    <a:pt x="399624" y="191216"/>
                  </a:lnTo>
                  <a:lnTo>
                    <a:pt x="395677" y="183569"/>
                  </a:lnTo>
                  <a:lnTo>
                    <a:pt x="391730" y="182039"/>
                  </a:lnTo>
                  <a:lnTo>
                    <a:pt x="383884" y="174391"/>
                  </a:lnTo>
                  <a:lnTo>
                    <a:pt x="375990" y="174391"/>
                  </a:lnTo>
                  <a:lnTo>
                    <a:pt x="372093" y="171332"/>
                  </a:lnTo>
                  <a:lnTo>
                    <a:pt x="364198" y="169852"/>
                  </a:lnTo>
                  <a:lnTo>
                    <a:pt x="360300" y="177450"/>
                  </a:lnTo>
                  <a:lnTo>
                    <a:pt x="352405" y="172862"/>
                  </a:lnTo>
                  <a:lnTo>
                    <a:pt x="350432" y="166743"/>
                  </a:lnTo>
                  <a:lnTo>
                    <a:pt x="346534" y="165263"/>
                  </a:lnTo>
                  <a:lnTo>
                    <a:pt x="346534" y="160675"/>
                  </a:lnTo>
                  <a:lnTo>
                    <a:pt x="342587" y="156086"/>
                  </a:lnTo>
                  <a:lnTo>
                    <a:pt x="336666" y="154556"/>
                  </a:lnTo>
                  <a:lnTo>
                    <a:pt x="338640" y="148438"/>
                  </a:lnTo>
                  <a:lnTo>
                    <a:pt x="336666" y="143849"/>
                  </a:lnTo>
                  <a:lnTo>
                    <a:pt x="340515" y="122929"/>
                  </a:lnTo>
                  <a:lnTo>
                    <a:pt x="342390" y="119771"/>
                  </a:lnTo>
                  <a:lnTo>
                    <a:pt x="341798" y="116120"/>
                  </a:lnTo>
                  <a:lnTo>
                    <a:pt x="342390" y="112667"/>
                  </a:lnTo>
                  <a:lnTo>
                    <a:pt x="341206" y="112667"/>
                  </a:lnTo>
                  <a:lnTo>
                    <a:pt x="340416" y="108325"/>
                  </a:lnTo>
                  <a:lnTo>
                    <a:pt x="336518" y="93523"/>
                  </a:lnTo>
                  <a:lnTo>
                    <a:pt x="324775" y="90216"/>
                  </a:lnTo>
                  <a:lnTo>
                    <a:pt x="318854" y="75414"/>
                  </a:lnTo>
                  <a:lnTo>
                    <a:pt x="318854" y="60612"/>
                  </a:lnTo>
                  <a:lnTo>
                    <a:pt x="314956" y="52422"/>
                  </a:lnTo>
                  <a:lnTo>
                    <a:pt x="303164" y="45860"/>
                  </a:lnTo>
                  <a:lnTo>
                    <a:pt x="293296" y="35991"/>
                  </a:lnTo>
                  <a:lnTo>
                    <a:pt x="287375" y="17982"/>
                  </a:lnTo>
                  <a:lnTo>
                    <a:pt x="275632" y="13048"/>
                  </a:lnTo>
                  <a:lnTo>
                    <a:pt x="259942" y="9792"/>
                  </a:lnTo>
                  <a:lnTo>
                    <a:pt x="257968" y="1601"/>
                  </a:lnTo>
                  <a:lnTo>
                    <a:pt x="252097" y="-27"/>
                  </a:lnTo>
                  <a:lnTo>
                    <a:pt x="246422" y="-27"/>
                  </a:lnTo>
                  <a:cubicBezTo>
                    <a:pt x="245781" y="2637"/>
                    <a:pt x="245584" y="3970"/>
                    <a:pt x="245584" y="3970"/>
                  </a:cubicBezTo>
                  <a:cubicBezTo>
                    <a:pt x="243857" y="14578"/>
                    <a:pt x="245929" y="19068"/>
                    <a:pt x="243018" y="21091"/>
                  </a:cubicBezTo>
                  <a:cubicBezTo>
                    <a:pt x="239219" y="23854"/>
                    <a:pt x="233594" y="17341"/>
                    <a:pt x="226686" y="20449"/>
                  </a:cubicBezTo>
                  <a:cubicBezTo>
                    <a:pt x="223825" y="21781"/>
                    <a:pt x="224120" y="23163"/>
                    <a:pt x="220371" y="24890"/>
                  </a:cubicBezTo>
                  <a:cubicBezTo>
                    <a:pt x="216621" y="26617"/>
                    <a:pt x="215733" y="25729"/>
                    <a:pt x="209664" y="26814"/>
                  </a:cubicBezTo>
                  <a:cubicBezTo>
                    <a:pt x="204928" y="27678"/>
                    <a:pt x="200289" y="28946"/>
                    <a:pt x="195799" y="30614"/>
                  </a:cubicBezTo>
                  <a:lnTo>
                    <a:pt x="186376" y="28689"/>
                  </a:lnTo>
                  <a:cubicBezTo>
                    <a:pt x="174682" y="26419"/>
                    <a:pt x="173695" y="27456"/>
                    <a:pt x="164320" y="25531"/>
                  </a:cubicBezTo>
                  <a:lnTo>
                    <a:pt x="162593" y="25137"/>
                  </a:lnTo>
                  <a:cubicBezTo>
                    <a:pt x="158547" y="24248"/>
                    <a:pt x="156179" y="23509"/>
                    <a:pt x="154501" y="23064"/>
                  </a:cubicBezTo>
                  <a:cubicBezTo>
                    <a:pt x="151295" y="23592"/>
                    <a:pt x="148383" y="25152"/>
                    <a:pt x="146163" y="27505"/>
                  </a:cubicBezTo>
                  <a:cubicBezTo>
                    <a:pt x="147248" y="31304"/>
                    <a:pt x="144091" y="37719"/>
                    <a:pt x="145423" y="39495"/>
                  </a:cubicBezTo>
                  <a:cubicBezTo>
                    <a:pt x="147742" y="42603"/>
                    <a:pt x="144831" y="43146"/>
                    <a:pt x="148581" y="46452"/>
                  </a:cubicBezTo>
                  <a:cubicBezTo>
                    <a:pt x="150702" y="49111"/>
                    <a:pt x="152380" y="52111"/>
                    <a:pt x="153515" y="55333"/>
                  </a:cubicBezTo>
                  <a:cubicBezTo>
                    <a:pt x="153515" y="55333"/>
                    <a:pt x="147791" y="57405"/>
                    <a:pt x="147199" y="60267"/>
                  </a:cubicBezTo>
                  <a:cubicBezTo>
                    <a:pt x="146854" y="62043"/>
                    <a:pt x="148531" y="62635"/>
                    <a:pt x="150357" y="66583"/>
                  </a:cubicBezTo>
                  <a:cubicBezTo>
                    <a:pt x="151590" y="68936"/>
                    <a:pt x="152232" y="71566"/>
                    <a:pt x="152232" y="74230"/>
                  </a:cubicBezTo>
                  <a:cubicBezTo>
                    <a:pt x="151935" y="79164"/>
                    <a:pt x="148235" y="80546"/>
                    <a:pt x="149074" y="83062"/>
                  </a:cubicBezTo>
                  <a:cubicBezTo>
                    <a:pt x="149913" y="85578"/>
                    <a:pt x="154008" y="84493"/>
                    <a:pt x="157265" y="87996"/>
                  </a:cubicBezTo>
                  <a:cubicBezTo>
                    <a:pt x="159288" y="90335"/>
                    <a:pt x="160570" y="93192"/>
                    <a:pt x="161064" y="96236"/>
                  </a:cubicBezTo>
                  <a:cubicBezTo>
                    <a:pt x="161902" y="98575"/>
                    <a:pt x="162100" y="101096"/>
                    <a:pt x="161656" y="103538"/>
                  </a:cubicBezTo>
                  <a:lnTo>
                    <a:pt x="161656" y="103538"/>
                  </a:lnTo>
                  <a:lnTo>
                    <a:pt x="162741" y="103538"/>
                  </a:lnTo>
                  <a:lnTo>
                    <a:pt x="176458" y="108127"/>
                  </a:lnTo>
                  <a:lnTo>
                    <a:pt x="180356" y="115775"/>
                  </a:lnTo>
                  <a:lnTo>
                    <a:pt x="190224" y="117304"/>
                  </a:lnTo>
                  <a:lnTo>
                    <a:pt x="202016" y="114245"/>
                  </a:lnTo>
                  <a:lnTo>
                    <a:pt x="209812" y="117304"/>
                  </a:lnTo>
                  <a:lnTo>
                    <a:pt x="209812" y="124952"/>
                  </a:lnTo>
                  <a:lnTo>
                    <a:pt x="204878" y="129886"/>
                  </a:lnTo>
                  <a:lnTo>
                    <a:pt x="206654" y="130676"/>
                  </a:lnTo>
                  <a:lnTo>
                    <a:pt x="206654" y="132353"/>
                  </a:lnTo>
                  <a:lnTo>
                    <a:pt x="206654" y="132353"/>
                  </a:lnTo>
                  <a:lnTo>
                    <a:pt x="200733" y="132353"/>
                  </a:lnTo>
                  <a:lnTo>
                    <a:pt x="194862" y="135412"/>
                  </a:lnTo>
                  <a:lnTo>
                    <a:pt x="186968" y="136942"/>
                  </a:lnTo>
                  <a:lnTo>
                    <a:pt x="177100" y="146119"/>
                  </a:lnTo>
                  <a:lnTo>
                    <a:pt x="179073" y="150708"/>
                  </a:lnTo>
                  <a:lnTo>
                    <a:pt x="183020" y="161365"/>
                  </a:lnTo>
                  <a:lnTo>
                    <a:pt x="181096" y="176661"/>
                  </a:lnTo>
                  <a:lnTo>
                    <a:pt x="179073" y="184309"/>
                  </a:lnTo>
                  <a:lnTo>
                    <a:pt x="173201" y="187368"/>
                  </a:lnTo>
                  <a:lnTo>
                    <a:pt x="161409" y="196545"/>
                  </a:lnTo>
                  <a:lnTo>
                    <a:pt x="169254" y="199555"/>
                  </a:lnTo>
                  <a:lnTo>
                    <a:pt x="169254" y="207252"/>
                  </a:lnTo>
                  <a:lnTo>
                    <a:pt x="163333" y="213321"/>
                  </a:lnTo>
                  <a:lnTo>
                    <a:pt x="151541" y="217959"/>
                  </a:lnTo>
                  <a:lnTo>
                    <a:pt x="143696" y="230146"/>
                  </a:lnTo>
                  <a:lnTo>
                    <a:pt x="143696" y="239323"/>
                  </a:lnTo>
                  <a:lnTo>
                    <a:pt x="139749" y="245441"/>
                  </a:lnTo>
                  <a:lnTo>
                    <a:pt x="122036" y="256148"/>
                  </a:lnTo>
                  <a:lnTo>
                    <a:pt x="114141" y="272924"/>
                  </a:lnTo>
                  <a:lnTo>
                    <a:pt x="104273" y="285160"/>
                  </a:lnTo>
                  <a:lnTo>
                    <a:pt x="84537" y="286690"/>
                  </a:lnTo>
                  <a:lnTo>
                    <a:pt x="70771" y="292808"/>
                  </a:lnTo>
                  <a:lnTo>
                    <a:pt x="66823" y="291278"/>
                  </a:lnTo>
                  <a:lnTo>
                    <a:pt x="62876" y="285160"/>
                  </a:lnTo>
                  <a:lnTo>
                    <a:pt x="55032" y="280572"/>
                  </a:lnTo>
                  <a:lnTo>
                    <a:pt x="51084" y="285160"/>
                  </a:lnTo>
                  <a:lnTo>
                    <a:pt x="45163" y="288219"/>
                  </a:lnTo>
                  <a:lnTo>
                    <a:pt x="43239" y="292808"/>
                  </a:lnTo>
                  <a:lnTo>
                    <a:pt x="33371" y="304995"/>
                  </a:lnTo>
                  <a:lnTo>
                    <a:pt x="27450" y="306574"/>
                  </a:lnTo>
                  <a:lnTo>
                    <a:pt x="21579" y="318761"/>
                  </a:lnTo>
                  <a:lnTo>
                    <a:pt x="21579" y="326409"/>
                  </a:lnTo>
                  <a:lnTo>
                    <a:pt x="27450" y="326409"/>
                  </a:lnTo>
                  <a:lnTo>
                    <a:pt x="37318" y="329468"/>
                  </a:lnTo>
                  <a:lnTo>
                    <a:pt x="41216" y="326409"/>
                  </a:lnTo>
                  <a:lnTo>
                    <a:pt x="47137" y="327938"/>
                  </a:lnTo>
                  <a:lnTo>
                    <a:pt x="53008" y="338645"/>
                  </a:lnTo>
                  <a:lnTo>
                    <a:pt x="51084" y="344763"/>
                  </a:lnTo>
                  <a:lnTo>
                    <a:pt x="53008" y="355470"/>
                  </a:lnTo>
                  <a:lnTo>
                    <a:pt x="66823" y="363069"/>
                  </a:lnTo>
                  <a:lnTo>
                    <a:pt x="72695" y="363069"/>
                  </a:lnTo>
                  <a:lnTo>
                    <a:pt x="76643" y="366177"/>
                  </a:lnTo>
                  <a:lnTo>
                    <a:pt x="76643" y="370766"/>
                  </a:lnTo>
                  <a:lnTo>
                    <a:pt x="82563" y="378364"/>
                  </a:lnTo>
                  <a:lnTo>
                    <a:pt x="90408" y="398100"/>
                  </a:lnTo>
                  <a:lnTo>
                    <a:pt x="88434" y="402689"/>
                  </a:lnTo>
                  <a:lnTo>
                    <a:pt x="92382" y="405699"/>
                  </a:lnTo>
                  <a:lnTo>
                    <a:pt x="84537" y="407278"/>
                  </a:lnTo>
                  <a:lnTo>
                    <a:pt x="78616" y="410287"/>
                  </a:lnTo>
                  <a:lnTo>
                    <a:pt x="74669" y="407278"/>
                  </a:lnTo>
                  <a:lnTo>
                    <a:pt x="76643" y="402689"/>
                  </a:lnTo>
                  <a:lnTo>
                    <a:pt x="68797" y="405699"/>
                  </a:lnTo>
                  <a:lnTo>
                    <a:pt x="66823" y="407278"/>
                  </a:lnTo>
                  <a:lnTo>
                    <a:pt x="51084" y="411817"/>
                  </a:lnTo>
                  <a:lnTo>
                    <a:pt x="25477" y="411817"/>
                  </a:lnTo>
                  <a:lnTo>
                    <a:pt x="19605" y="413396"/>
                  </a:lnTo>
                  <a:lnTo>
                    <a:pt x="15657" y="411817"/>
                  </a:lnTo>
                  <a:lnTo>
                    <a:pt x="11711" y="420994"/>
                  </a:lnTo>
                  <a:lnTo>
                    <a:pt x="7812" y="422524"/>
                  </a:lnTo>
                  <a:lnTo>
                    <a:pt x="-82" y="427113"/>
                  </a:lnTo>
                  <a:lnTo>
                    <a:pt x="-82" y="434760"/>
                  </a:lnTo>
                  <a:lnTo>
                    <a:pt x="9786" y="428642"/>
                  </a:lnTo>
                  <a:lnTo>
                    <a:pt x="19654" y="427113"/>
                  </a:lnTo>
                  <a:lnTo>
                    <a:pt x="11760" y="431701"/>
                  </a:lnTo>
                  <a:lnTo>
                    <a:pt x="5888" y="439349"/>
                  </a:lnTo>
                  <a:lnTo>
                    <a:pt x="3914" y="445467"/>
                  </a:lnTo>
                  <a:lnTo>
                    <a:pt x="9836" y="448477"/>
                  </a:lnTo>
                  <a:lnTo>
                    <a:pt x="19704" y="457654"/>
                  </a:lnTo>
                  <a:lnTo>
                    <a:pt x="43338" y="463772"/>
                  </a:lnTo>
                  <a:lnTo>
                    <a:pt x="49209" y="462243"/>
                  </a:lnTo>
                  <a:lnTo>
                    <a:pt x="59077" y="462243"/>
                  </a:lnTo>
                  <a:lnTo>
                    <a:pt x="74817" y="457654"/>
                  </a:lnTo>
                  <a:lnTo>
                    <a:pt x="74817" y="454200"/>
                  </a:lnTo>
                  <a:lnTo>
                    <a:pt x="76790" y="454200"/>
                  </a:lnTo>
                  <a:lnTo>
                    <a:pt x="82711" y="455779"/>
                  </a:lnTo>
                  <a:lnTo>
                    <a:pt x="80738" y="460318"/>
                  </a:lnTo>
                  <a:lnTo>
                    <a:pt x="78764" y="460318"/>
                  </a:lnTo>
                  <a:lnTo>
                    <a:pt x="70919" y="471025"/>
                  </a:lnTo>
                  <a:lnTo>
                    <a:pt x="66972" y="471025"/>
                  </a:lnTo>
                  <a:lnTo>
                    <a:pt x="51232" y="480203"/>
                  </a:lnTo>
                  <a:lnTo>
                    <a:pt x="51232" y="481732"/>
                  </a:lnTo>
                  <a:lnTo>
                    <a:pt x="47285" y="480203"/>
                  </a:lnTo>
                  <a:lnTo>
                    <a:pt x="45311" y="480203"/>
                  </a:lnTo>
                  <a:lnTo>
                    <a:pt x="41364" y="483262"/>
                  </a:lnTo>
                  <a:lnTo>
                    <a:pt x="35492" y="483262"/>
                  </a:lnTo>
                  <a:lnTo>
                    <a:pt x="35492" y="477144"/>
                  </a:lnTo>
                  <a:lnTo>
                    <a:pt x="29572" y="477144"/>
                  </a:lnTo>
                  <a:lnTo>
                    <a:pt x="27598" y="475614"/>
                  </a:lnTo>
                  <a:lnTo>
                    <a:pt x="23700" y="475614"/>
                  </a:lnTo>
                  <a:lnTo>
                    <a:pt x="23700" y="483262"/>
                  </a:lnTo>
                  <a:lnTo>
                    <a:pt x="41364" y="496978"/>
                  </a:lnTo>
                  <a:lnTo>
                    <a:pt x="45311" y="500087"/>
                  </a:lnTo>
                  <a:lnTo>
                    <a:pt x="49258" y="500087"/>
                  </a:lnTo>
                  <a:lnTo>
                    <a:pt x="49258" y="501616"/>
                  </a:lnTo>
                  <a:lnTo>
                    <a:pt x="59127" y="513804"/>
                  </a:lnTo>
                  <a:lnTo>
                    <a:pt x="88731" y="533540"/>
                  </a:lnTo>
                  <a:lnTo>
                    <a:pt x="102497" y="535069"/>
                  </a:lnTo>
                  <a:lnTo>
                    <a:pt x="110391" y="533540"/>
                  </a:lnTo>
                  <a:lnTo>
                    <a:pt x="128055" y="524362"/>
                  </a:lnTo>
                  <a:lnTo>
                    <a:pt x="141870" y="516714"/>
                  </a:lnTo>
                  <a:lnTo>
                    <a:pt x="141870" y="513409"/>
                  </a:lnTo>
                  <a:lnTo>
                    <a:pt x="147791" y="508870"/>
                  </a:lnTo>
                  <a:lnTo>
                    <a:pt x="147791" y="498607"/>
                  </a:lnTo>
                  <a:lnTo>
                    <a:pt x="143844" y="492488"/>
                  </a:lnTo>
                  <a:lnTo>
                    <a:pt x="147791" y="480252"/>
                  </a:lnTo>
                  <a:lnTo>
                    <a:pt x="147791" y="475663"/>
                  </a:lnTo>
                  <a:lnTo>
                    <a:pt x="149715" y="471075"/>
                  </a:lnTo>
                  <a:lnTo>
                    <a:pt x="151689" y="475663"/>
                  </a:lnTo>
                  <a:lnTo>
                    <a:pt x="159583" y="475663"/>
                  </a:lnTo>
                  <a:lnTo>
                    <a:pt x="163482" y="477193"/>
                  </a:lnTo>
                  <a:lnTo>
                    <a:pt x="173350" y="474134"/>
                  </a:lnTo>
                  <a:lnTo>
                    <a:pt x="169402" y="477193"/>
                  </a:lnTo>
                  <a:lnTo>
                    <a:pt x="161557" y="481782"/>
                  </a:lnTo>
                  <a:lnTo>
                    <a:pt x="157610" y="481782"/>
                  </a:lnTo>
                  <a:lnTo>
                    <a:pt x="155636" y="483311"/>
                  </a:lnTo>
                  <a:lnTo>
                    <a:pt x="155636" y="487900"/>
                  </a:lnTo>
                  <a:lnTo>
                    <a:pt x="157610" y="494018"/>
                  </a:lnTo>
                  <a:lnTo>
                    <a:pt x="157610" y="500136"/>
                  </a:lnTo>
                  <a:lnTo>
                    <a:pt x="171376" y="500136"/>
                  </a:lnTo>
                  <a:lnTo>
                    <a:pt x="169402" y="504725"/>
                  </a:lnTo>
                  <a:lnTo>
                    <a:pt x="159534" y="507734"/>
                  </a:lnTo>
                  <a:lnTo>
                    <a:pt x="163432" y="523030"/>
                  </a:lnTo>
                  <a:lnTo>
                    <a:pt x="169353" y="526089"/>
                  </a:lnTo>
                  <a:lnTo>
                    <a:pt x="171326" y="533737"/>
                  </a:lnTo>
                  <a:lnTo>
                    <a:pt x="173300" y="542914"/>
                  </a:lnTo>
                  <a:lnTo>
                    <a:pt x="169353" y="550513"/>
                  </a:lnTo>
                  <a:lnTo>
                    <a:pt x="169353" y="555101"/>
                  </a:lnTo>
                  <a:lnTo>
                    <a:pt x="175274" y="558210"/>
                  </a:lnTo>
                  <a:lnTo>
                    <a:pt x="165406" y="561220"/>
                  </a:lnTo>
                  <a:lnTo>
                    <a:pt x="169353" y="570397"/>
                  </a:lnTo>
                  <a:lnTo>
                    <a:pt x="181195" y="588752"/>
                  </a:lnTo>
                  <a:lnTo>
                    <a:pt x="181195" y="593340"/>
                  </a:lnTo>
                  <a:lnTo>
                    <a:pt x="185093" y="597879"/>
                  </a:lnTo>
                  <a:lnTo>
                    <a:pt x="179171" y="599458"/>
                  </a:lnTo>
                  <a:lnTo>
                    <a:pt x="179171" y="607057"/>
                  </a:lnTo>
                  <a:lnTo>
                    <a:pt x="189039" y="617764"/>
                  </a:lnTo>
                  <a:lnTo>
                    <a:pt x="181244" y="617764"/>
                  </a:lnTo>
                  <a:lnTo>
                    <a:pt x="189039" y="626941"/>
                  </a:lnTo>
                  <a:lnTo>
                    <a:pt x="189039" y="636118"/>
                  </a:lnTo>
                  <a:lnTo>
                    <a:pt x="204829" y="662071"/>
                  </a:lnTo>
                  <a:lnTo>
                    <a:pt x="204829" y="677367"/>
                  </a:lnTo>
                  <a:lnTo>
                    <a:pt x="210700" y="692662"/>
                  </a:lnTo>
                  <a:lnTo>
                    <a:pt x="216621" y="695721"/>
                  </a:lnTo>
                  <a:lnTo>
                    <a:pt x="218594" y="703320"/>
                  </a:lnTo>
                  <a:lnTo>
                    <a:pt x="222542" y="706428"/>
                  </a:lnTo>
                  <a:lnTo>
                    <a:pt x="222542" y="710770"/>
                  </a:lnTo>
                  <a:lnTo>
                    <a:pt x="232410" y="722957"/>
                  </a:lnTo>
                  <a:lnTo>
                    <a:pt x="234384" y="724487"/>
                  </a:lnTo>
                  <a:lnTo>
                    <a:pt x="234384" y="727546"/>
                  </a:lnTo>
                  <a:lnTo>
                    <a:pt x="244252" y="738253"/>
                  </a:lnTo>
                  <a:lnTo>
                    <a:pt x="246225" y="738253"/>
                  </a:lnTo>
                  <a:lnTo>
                    <a:pt x="248199" y="748960"/>
                  </a:lnTo>
                  <a:lnTo>
                    <a:pt x="250172" y="753548"/>
                  </a:lnTo>
                  <a:lnTo>
                    <a:pt x="254070" y="761147"/>
                  </a:lnTo>
                  <a:lnTo>
                    <a:pt x="256093" y="770324"/>
                  </a:lnTo>
                  <a:lnTo>
                    <a:pt x="261965" y="784090"/>
                  </a:lnTo>
                  <a:lnTo>
                    <a:pt x="265863" y="790208"/>
                  </a:lnTo>
                  <a:lnTo>
                    <a:pt x="267885" y="802445"/>
                  </a:lnTo>
                  <a:lnTo>
                    <a:pt x="269859" y="805504"/>
                  </a:lnTo>
                  <a:lnTo>
                    <a:pt x="275731" y="814632"/>
                  </a:lnTo>
                  <a:lnTo>
                    <a:pt x="285599" y="822329"/>
                  </a:lnTo>
                  <a:lnTo>
                    <a:pt x="287573" y="822329"/>
                  </a:lnTo>
                  <a:lnTo>
                    <a:pt x="293493" y="831457"/>
                  </a:lnTo>
                  <a:lnTo>
                    <a:pt x="307259" y="842164"/>
                  </a:lnTo>
                  <a:lnTo>
                    <a:pt x="309233" y="852821"/>
                  </a:lnTo>
                  <a:lnTo>
                    <a:pt x="313131" y="860518"/>
                  </a:lnTo>
                  <a:lnTo>
                    <a:pt x="315104" y="860518"/>
                  </a:lnTo>
                  <a:lnTo>
                    <a:pt x="315104" y="868117"/>
                  </a:lnTo>
                  <a:lnTo>
                    <a:pt x="322999" y="880353"/>
                  </a:lnTo>
                  <a:lnTo>
                    <a:pt x="326897" y="891060"/>
                  </a:lnTo>
                  <a:lnTo>
                    <a:pt x="326897" y="904776"/>
                  </a:lnTo>
                  <a:lnTo>
                    <a:pt x="342685" y="927720"/>
                  </a:lnTo>
                  <a:lnTo>
                    <a:pt x="352553" y="938427"/>
                  </a:lnTo>
                  <a:lnTo>
                    <a:pt x="362422" y="944545"/>
                  </a:lnTo>
                  <a:lnTo>
                    <a:pt x="376188" y="944545"/>
                  </a:lnTo>
                  <a:lnTo>
                    <a:pt x="388030" y="938427"/>
                  </a:lnTo>
                  <a:lnTo>
                    <a:pt x="391927" y="930779"/>
                  </a:lnTo>
                  <a:lnTo>
                    <a:pt x="389954" y="927720"/>
                  </a:lnTo>
                  <a:lnTo>
                    <a:pt x="391927" y="926190"/>
                  </a:lnTo>
                  <a:lnTo>
                    <a:pt x="391927" y="922934"/>
                  </a:lnTo>
                  <a:lnTo>
                    <a:pt x="395874" y="916815"/>
                  </a:lnTo>
                  <a:lnTo>
                    <a:pt x="407716" y="912276"/>
                  </a:lnTo>
                  <a:lnTo>
                    <a:pt x="411614" y="912276"/>
                  </a:lnTo>
                  <a:lnTo>
                    <a:pt x="427354" y="907687"/>
                  </a:lnTo>
                  <a:lnTo>
                    <a:pt x="431301" y="909168"/>
                  </a:lnTo>
                  <a:lnTo>
                    <a:pt x="421433" y="903099"/>
                  </a:lnTo>
                  <a:lnTo>
                    <a:pt x="419459" y="899990"/>
                  </a:lnTo>
                  <a:lnTo>
                    <a:pt x="423357" y="896981"/>
                  </a:lnTo>
                  <a:lnTo>
                    <a:pt x="431252" y="884744"/>
                  </a:lnTo>
                  <a:lnTo>
                    <a:pt x="429278" y="883215"/>
                  </a:lnTo>
                  <a:lnTo>
                    <a:pt x="433225" y="877097"/>
                  </a:lnTo>
                  <a:lnTo>
                    <a:pt x="445017" y="875567"/>
                  </a:lnTo>
                  <a:lnTo>
                    <a:pt x="448965" y="877097"/>
                  </a:lnTo>
                  <a:lnTo>
                    <a:pt x="454836" y="875567"/>
                  </a:lnTo>
                  <a:lnTo>
                    <a:pt x="454836" y="867919"/>
                  </a:lnTo>
                  <a:lnTo>
                    <a:pt x="452863" y="841966"/>
                  </a:lnTo>
                  <a:lnTo>
                    <a:pt x="448965" y="835848"/>
                  </a:lnTo>
                  <a:lnTo>
                    <a:pt x="448965" y="825141"/>
                  </a:lnTo>
                  <a:lnTo>
                    <a:pt x="456810" y="809846"/>
                  </a:lnTo>
                  <a:lnTo>
                    <a:pt x="464655" y="791540"/>
                  </a:lnTo>
                  <a:lnTo>
                    <a:pt x="464655" y="774913"/>
                  </a:lnTo>
                  <a:lnTo>
                    <a:pt x="454787" y="773383"/>
                  </a:lnTo>
                  <a:lnTo>
                    <a:pt x="454787" y="741312"/>
                  </a:lnTo>
                  <a:lnTo>
                    <a:pt x="460708" y="735194"/>
                  </a:lnTo>
                  <a:lnTo>
                    <a:pt x="454787" y="719898"/>
                  </a:lnTo>
                  <a:lnTo>
                    <a:pt x="454787" y="709191"/>
                  </a:lnTo>
                  <a:lnTo>
                    <a:pt x="456760" y="701593"/>
                  </a:lnTo>
                  <a:lnTo>
                    <a:pt x="468602" y="692416"/>
                  </a:lnTo>
                  <a:lnTo>
                    <a:pt x="472500" y="692416"/>
                  </a:lnTo>
                  <a:lnTo>
                    <a:pt x="474474" y="697004"/>
                  </a:lnTo>
                  <a:lnTo>
                    <a:pt x="482368" y="697004"/>
                  </a:lnTo>
                  <a:lnTo>
                    <a:pt x="492236" y="687827"/>
                  </a:lnTo>
                  <a:lnTo>
                    <a:pt x="492236" y="678650"/>
                  </a:lnTo>
                  <a:lnTo>
                    <a:pt x="498108" y="674061"/>
                  </a:lnTo>
                  <a:lnTo>
                    <a:pt x="515821" y="677120"/>
                  </a:lnTo>
                  <a:lnTo>
                    <a:pt x="523715" y="672531"/>
                  </a:lnTo>
                  <a:lnTo>
                    <a:pt x="529587" y="664884"/>
                  </a:lnTo>
                  <a:lnTo>
                    <a:pt x="527613" y="658815"/>
                  </a:lnTo>
                  <a:lnTo>
                    <a:pt x="529587" y="651118"/>
                  </a:lnTo>
                  <a:lnTo>
                    <a:pt x="539455" y="643519"/>
                  </a:lnTo>
                  <a:lnTo>
                    <a:pt x="553221" y="640411"/>
                  </a:lnTo>
                  <a:lnTo>
                    <a:pt x="561115" y="634342"/>
                  </a:lnTo>
                  <a:lnTo>
                    <a:pt x="565063" y="625165"/>
                  </a:lnTo>
                  <a:lnTo>
                    <a:pt x="596542" y="603751"/>
                  </a:lnTo>
                  <a:lnTo>
                    <a:pt x="602413" y="588505"/>
                  </a:lnTo>
                  <a:lnTo>
                    <a:pt x="628021" y="568768"/>
                  </a:lnTo>
                  <a:lnTo>
                    <a:pt x="626047" y="567239"/>
                  </a:lnTo>
                  <a:lnTo>
                    <a:pt x="624074" y="570298"/>
                  </a:lnTo>
                  <a:lnTo>
                    <a:pt x="618202" y="571828"/>
                  </a:lnTo>
                  <a:lnTo>
                    <a:pt x="620176" y="564180"/>
                  </a:lnTo>
                  <a:lnTo>
                    <a:pt x="624074" y="564180"/>
                  </a:lnTo>
                  <a:lnTo>
                    <a:pt x="628021" y="559591"/>
                  </a:lnTo>
                  <a:lnTo>
                    <a:pt x="631968" y="559591"/>
                  </a:lnTo>
                  <a:lnTo>
                    <a:pt x="633942" y="561121"/>
                  </a:lnTo>
                  <a:lnTo>
                    <a:pt x="633942" y="564180"/>
                  </a:lnTo>
                  <a:lnTo>
                    <a:pt x="635866" y="565709"/>
                  </a:lnTo>
                  <a:lnTo>
                    <a:pt x="655602" y="558111"/>
                  </a:lnTo>
                  <a:lnTo>
                    <a:pt x="655602" y="553522"/>
                  </a:lnTo>
                  <a:lnTo>
                    <a:pt x="669417" y="544345"/>
                  </a:lnTo>
                  <a:lnTo>
                    <a:pt x="667395" y="541286"/>
                  </a:lnTo>
                  <a:lnTo>
                    <a:pt x="671341" y="541286"/>
                  </a:lnTo>
                  <a:lnTo>
                    <a:pt x="673315" y="535168"/>
                  </a:lnTo>
                  <a:lnTo>
                    <a:pt x="681209" y="530579"/>
                  </a:lnTo>
                  <a:lnTo>
                    <a:pt x="679187" y="529050"/>
                  </a:lnTo>
                  <a:lnTo>
                    <a:pt x="679187" y="527520"/>
                  </a:lnTo>
                  <a:lnTo>
                    <a:pt x="675289" y="519922"/>
                  </a:lnTo>
                  <a:lnTo>
                    <a:pt x="673315" y="515333"/>
                  </a:lnTo>
                  <a:lnTo>
                    <a:pt x="677213" y="510744"/>
                  </a:lnTo>
                  <a:lnTo>
                    <a:pt x="679187" y="506156"/>
                  </a:lnTo>
                  <a:lnTo>
                    <a:pt x="685108" y="503047"/>
                  </a:lnTo>
                  <a:lnTo>
                    <a:pt x="704844" y="496929"/>
                  </a:lnTo>
                  <a:lnTo>
                    <a:pt x="710715" y="490860"/>
                  </a:lnTo>
                  <a:lnTo>
                    <a:pt x="710715" y="486272"/>
                  </a:lnTo>
                  <a:lnTo>
                    <a:pt x="712689" y="481683"/>
                  </a:lnTo>
                  <a:lnTo>
                    <a:pt x="714662" y="480153"/>
                  </a:lnTo>
                  <a:lnTo>
                    <a:pt x="712689" y="477094"/>
                  </a:lnTo>
                  <a:lnTo>
                    <a:pt x="708791" y="477094"/>
                  </a:lnTo>
                  <a:lnTo>
                    <a:pt x="708791" y="475565"/>
                  </a:lnTo>
                  <a:lnTo>
                    <a:pt x="714662" y="475565"/>
                  </a:lnTo>
                  <a:lnTo>
                    <a:pt x="720583" y="478624"/>
                  </a:lnTo>
                  <a:lnTo>
                    <a:pt x="716636" y="483212"/>
                  </a:lnTo>
                  <a:lnTo>
                    <a:pt x="720583" y="490860"/>
                  </a:lnTo>
                  <a:lnTo>
                    <a:pt x="726455" y="492390"/>
                  </a:lnTo>
                  <a:lnTo>
                    <a:pt x="728429" y="490860"/>
                  </a:lnTo>
                  <a:lnTo>
                    <a:pt x="732375" y="490860"/>
                  </a:lnTo>
                  <a:lnTo>
                    <a:pt x="734349" y="489331"/>
                  </a:lnTo>
                  <a:lnTo>
                    <a:pt x="734349" y="490860"/>
                  </a:lnTo>
                  <a:lnTo>
                    <a:pt x="736323" y="487801"/>
                  </a:lnTo>
                  <a:lnTo>
                    <a:pt x="736323" y="484742"/>
                  </a:lnTo>
                  <a:lnTo>
                    <a:pt x="738247" y="487801"/>
                  </a:lnTo>
                  <a:lnTo>
                    <a:pt x="740221" y="496929"/>
                  </a:lnTo>
                  <a:lnTo>
                    <a:pt x="744217" y="498508"/>
                  </a:lnTo>
                  <a:lnTo>
                    <a:pt x="744217" y="493673"/>
                  </a:lnTo>
                  <a:lnTo>
                    <a:pt x="750089" y="499791"/>
                  </a:lnTo>
                  <a:lnTo>
                    <a:pt x="756010" y="492143"/>
                  </a:lnTo>
                  <a:lnTo>
                    <a:pt x="750089" y="486025"/>
                  </a:lnTo>
                  <a:lnTo>
                    <a:pt x="750089" y="476848"/>
                  </a:lnTo>
                  <a:lnTo>
                    <a:pt x="748115" y="472308"/>
                  </a:lnTo>
                  <a:lnTo>
                    <a:pt x="748115" y="461601"/>
                  </a:lnTo>
                  <a:lnTo>
                    <a:pt x="738247" y="450895"/>
                  </a:lnTo>
                  <a:lnTo>
                    <a:pt x="736323" y="440188"/>
                  </a:lnTo>
                  <a:lnTo>
                    <a:pt x="736323" y="434069"/>
                  </a:lnTo>
                  <a:lnTo>
                    <a:pt x="734349" y="426422"/>
                  </a:lnTo>
                  <a:lnTo>
                    <a:pt x="734349" y="417244"/>
                  </a:lnTo>
                  <a:lnTo>
                    <a:pt x="726455" y="406538"/>
                  </a:lnTo>
                  <a:lnTo>
                    <a:pt x="714662" y="403528"/>
                  </a:lnTo>
                  <a:lnTo>
                    <a:pt x="706817" y="395880"/>
                  </a:lnTo>
                  <a:lnTo>
                    <a:pt x="706817" y="382114"/>
                  </a:lnTo>
                  <a:lnTo>
                    <a:pt x="714662" y="382114"/>
                  </a:lnTo>
                  <a:lnTo>
                    <a:pt x="716636" y="374466"/>
                  </a:lnTo>
                  <a:lnTo>
                    <a:pt x="724481" y="371456"/>
                  </a:lnTo>
                  <a:lnTo>
                    <a:pt x="728429" y="372937"/>
                  </a:lnTo>
                  <a:lnTo>
                    <a:pt x="732375" y="369878"/>
                  </a:lnTo>
                  <a:lnTo>
                    <a:pt x="730402" y="360750"/>
                  </a:lnTo>
                  <a:lnTo>
                    <a:pt x="732375" y="356161"/>
                  </a:lnTo>
                  <a:lnTo>
                    <a:pt x="722507" y="356161"/>
                  </a:lnTo>
                  <a:lnTo>
                    <a:pt x="714613" y="357641"/>
                  </a:lnTo>
                  <a:lnTo>
                    <a:pt x="698874" y="353053"/>
                  </a:lnTo>
                  <a:lnTo>
                    <a:pt x="698874" y="346984"/>
                  </a:lnTo>
                  <a:lnTo>
                    <a:pt x="706768" y="339336"/>
                  </a:lnTo>
                  <a:lnTo>
                    <a:pt x="708742" y="330159"/>
                  </a:lnTo>
                  <a:lnTo>
                    <a:pt x="706768" y="328629"/>
                  </a:lnTo>
                  <a:lnTo>
                    <a:pt x="706768" y="324090"/>
                  </a:lnTo>
                  <a:lnTo>
                    <a:pt x="708742" y="324090"/>
                  </a:lnTo>
                  <a:lnTo>
                    <a:pt x="710666" y="319452"/>
                  </a:lnTo>
                  <a:lnTo>
                    <a:pt x="712639" y="322511"/>
                  </a:lnTo>
                  <a:lnTo>
                    <a:pt x="720534" y="327100"/>
                  </a:lnTo>
                  <a:lnTo>
                    <a:pt x="720534" y="331688"/>
                  </a:lnTo>
                  <a:lnTo>
                    <a:pt x="724432" y="337806"/>
                  </a:lnTo>
                  <a:lnTo>
                    <a:pt x="732326" y="339336"/>
                  </a:lnTo>
                  <a:lnTo>
                    <a:pt x="736273" y="337806"/>
                  </a:lnTo>
                  <a:lnTo>
                    <a:pt x="730353" y="333218"/>
                  </a:lnTo>
                  <a:lnTo>
                    <a:pt x="732326" y="330159"/>
                  </a:lnTo>
                  <a:lnTo>
                    <a:pt x="734300" y="330159"/>
                  </a:lnTo>
                  <a:lnTo>
                    <a:pt x="740172" y="333218"/>
                  </a:lnTo>
                  <a:lnTo>
                    <a:pt x="744168" y="337806"/>
                  </a:lnTo>
                  <a:lnTo>
                    <a:pt x="750040" y="339336"/>
                  </a:lnTo>
                  <a:lnTo>
                    <a:pt x="750040" y="337806"/>
                  </a:lnTo>
                  <a:lnTo>
                    <a:pt x="755960" y="337806"/>
                  </a:lnTo>
                  <a:lnTo>
                    <a:pt x="759858" y="343925"/>
                  </a:lnTo>
                  <a:lnTo>
                    <a:pt x="761832" y="351572"/>
                  </a:lnTo>
                  <a:lnTo>
                    <a:pt x="763805" y="354632"/>
                  </a:lnTo>
                  <a:lnTo>
                    <a:pt x="765730" y="360750"/>
                  </a:lnTo>
                  <a:lnTo>
                    <a:pt x="765730" y="366868"/>
                  </a:lnTo>
                  <a:lnTo>
                    <a:pt x="771700" y="369878"/>
                  </a:lnTo>
                  <a:lnTo>
                    <a:pt x="777571" y="368348"/>
                  </a:lnTo>
                  <a:lnTo>
                    <a:pt x="785466" y="371456"/>
                  </a:lnTo>
                  <a:lnTo>
                    <a:pt x="795334" y="371456"/>
                  </a:lnTo>
                  <a:lnTo>
                    <a:pt x="809100" y="369878"/>
                  </a:lnTo>
                  <a:lnTo>
                    <a:pt x="822866" y="371456"/>
                  </a:lnTo>
                  <a:lnTo>
                    <a:pt x="838605" y="371456"/>
                  </a:lnTo>
                  <a:lnTo>
                    <a:pt x="842553" y="372937"/>
                  </a:lnTo>
                  <a:lnTo>
                    <a:pt x="846500" y="371456"/>
                  </a:lnTo>
                  <a:lnTo>
                    <a:pt x="852371" y="375996"/>
                  </a:lnTo>
                  <a:lnTo>
                    <a:pt x="854345" y="377526"/>
                  </a:lnTo>
                  <a:lnTo>
                    <a:pt x="852371" y="383644"/>
                  </a:lnTo>
                  <a:lnTo>
                    <a:pt x="850398" y="392821"/>
                  </a:lnTo>
                  <a:lnTo>
                    <a:pt x="846500" y="401949"/>
                  </a:lnTo>
                  <a:lnTo>
                    <a:pt x="842553" y="405057"/>
                  </a:lnTo>
                  <a:lnTo>
                    <a:pt x="842553" y="408116"/>
                  </a:lnTo>
                  <a:lnTo>
                    <a:pt x="838605" y="411126"/>
                  </a:lnTo>
                  <a:lnTo>
                    <a:pt x="834658" y="411126"/>
                  </a:lnTo>
                  <a:lnTo>
                    <a:pt x="832734" y="408116"/>
                  </a:lnTo>
                  <a:lnTo>
                    <a:pt x="826813" y="412656"/>
                  </a:lnTo>
                  <a:lnTo>
                    <a:pt x="824839" y="417244"/>
                  </a:lnTo>
                  <a:lnTo>
                    <a:pt x="822866" y="420304"/>
                  </a:lnTo>
                  <a:lnTo>
                    <a:pt x="822866" y="423363"/>
                  </a:lnTo>
                  <a:lnTo>
                    <a:pt x="824839" y="431010"/>
                  </a:lnTo>
                  <a:lnTo>
                    <a:pt x="828737" y="434069"/>
                  </a:lnTo>
                  <a:lnTo>
                    <a:pt x="830760" y="437128"/>
                  </a:lnTo>
                  <a:lnTo>
                    <a:pt x="836632" y="443247"/>
                  </a:lnTo>
                  <a:lnTo>
                    <a:pt x="840579" y="449316"/>
                  </a:lnTo>
                  <a:lnTo>
                    <a:pt x="844527" y="449316"/>
                  </a:lnTo>
                  <a:lnTo>
                    <a:pt x="844527" y="444776"/>
                  </a:lnTo>
                  <a:lnTo>
                    <a:pt x="842553" y="443247"/>
                  </a:lnTo>
                  <a:lnTo>
                    <a:pt x="846500" y="437128"/>
                  </a:lnTo>
                  <a:lnTo>
                    <a:pt x="846500" y="434069"/>
                  </a:lnTo>
                  <a:lnTo>
                    <a:pt x="848424" y="431010"/>
                  </a:lnTo>
                  <a:lnTo>
                    <a:pt x="846500" y="427951"/>
                  </a:lnTo>
                  <a:lnTo>
                    <a:pt x="850398" y="426422"/>
                  </a:lnTo>
                  <a:lnTo>
                    <a:pt x="854345" y="427951"/>
                  </a:lnTo>
                  <a:lnTo>
                    <a:pt x="862190" y="427951"/>
                  </a:lnTo>
                  <a:lnTo>
                    <a:pt x="864164" y="431010"/>
                  </a:lnTo>
                  <a:lnTo>
                    <a:pt x="866137" y="435599"/>
                  </a:lnTo>
                  <a:lnTo>
                    <a:pt x="868111" y="444776"/>
                  </a:lnTo>
                  <a:lnTo>
                    <a:pt x="868111" y="450895"/>
                  </a:lnTo>
                  <a:lnTo>
                    <a:pt x="872058" y="455483"/>
                  </a:lnTo>
                  <a:lnTo>
                    <a:pt x="874032" y="469200"/>
                  </a:lnTo>
                  <a:lnTo>
                    <a:pt x="875956" y="476848"/>
                  </a:lnTo>
                  <a:lnTo>
                    <a:pt x="877929" y="481436"/>
                  </a:lnTo>
                  <a:lnTo>
                    <a:pt x="879903" y="482966"/>
                  </a:lnTo>
                  <a:lnTo>
                    <a:pt x="879903" y="486025"/>
                  </a:lnTo>
                  <a:lnTo>
                    <a:pt x="881926" y="489084"/>
                  </a:lnTo>
                  <a:lnTo>
                    <a:pt x="883851" y="489084"/>
                  </a:lnTo>
                  <a:lnTo>
                    <a:pt x="883851" y="481436"/>
                  </a:lnTo>
                  <a:lnTo>
                    <a:pt x="887798" y="481436"/>
                  </a:lnTo>
                  <a:lnTo>
                    <a:pt x="893719" y="479907"/>
                  </a:lnTo>
                  <a:lnTo>
                    <a:pt x="897616" y="470729"/>
                  </a:lnTo>
                  <a:lnTo>
                    <a:pt x="895692" y="463082"/>
                  </a:lnTo>
                  <a:lnTo>
                    <a:pt x="897616" y="455483"/>
                  </a:lnTo>
                  <a:lnTo>
                    <a:pt x="895692" y="447836"/>
                  </a:lnTo>
                  <a:lnTo>
                    <a:pt x="903488" y="449316"/>
                  </a:lnTo>
                  <a:lnTo>
                    <a:pt x="903488" y="429580"/>
                  </a:lnTo>
                  <a:lnTo>
                    <a:pt x="899590" y="414333"/>
                  </a:lnTo>
                  <a:lnTo>
                    <a:pt x="907484" y="414333"/>
                  </a:lnTo>
                  <a:lnTo>
                    <a:pt x="913356" y="417343"/>
                  </a:lnTo>
                  <a:lnTo>
                    <a:pt x="921250" y="417343"/>
                  </a:lnTo>
                  <a:lnTo>
                    <a:pt x="929095" y="405156"/>
                  </a:lnTo>
                  <a:lnTo>
                    <a:pt x="933043" y="391390"/>
                  </a:lnTo>
                  <a:lnTo>
                    <a:pt x="938914" y="374565"/>
                  </a:lnTo>
                  <a:lnTo>
                    <a:pt x="931069" y="371555"/>
                  </a:lnTo>
                  <a:lnTo>
                    <a:pt x="931069" y="366967"/>
                  </a:lnTo>
                  <a:lnTo>
                    <a:pt x="940937" y="353151"/>
                  </a:lnTo>
                  <a:lnTo>
                    <a:pt x="944885" y="340964"/>
                  </a:lnTo>
                  <a:lnTo>
                    <a:pt x="940937" y="334846"/>
                  </a:lnTo>
                  <a:lnTo>
                    <a:pt x="942911" y="328728"/>
                  </a:lnTo>
                  <a:lnTo>
                    <a:pt x="954703" y="313482"/>
                  </a:lnTo>
                  <a:lnTo>
                    <a:pt x="964571" y="310373"/>
                  </a:lnTo>
                  <a:lnTo>
                    <a:pt x="972466" y="301196"/>
                  </a:lnTo>
                  <a:lnTo>
                    <a:pt x="976413" y="293598"/>
                  </a:lnTo>
                  <a:lnTo>
                    <a:pt x="986281" y="290538"/>
                  </a:lnTo>
                  <a:lnTo>
                    <a:pt x="998122" y="284420"/>
                  </a:lnTo>
                  <a:lnTo>
                    <a:pt x="1003994" y="289009"/>
                  </a:lnTo>
                  <a:lnTo>
                    <a:pt x="1011889" y="292068"/>
                  </a:lnTo>
                  <a:lnTo>
                    <a:pt x="1009915" y="287479"/>
                  </a:lnTo>
                  <a:lnTo>
                    <a:pt x="1009915" y="276575"/>
                  </a:lnTo>
                  <a:close/>
                </a:path>
              </a:pathLst>
            </a:custGeom>
            <a:solidFill>
              <a:srgbClr val="38C2D7"/>
            </a:solid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Graphic 2">
              <a:extLst>
                <a:ext uri="{FF2B5EF4-FFF2-40B4-BE49-F238E27FC236}">
                  <a16:creationId xmlns:a16="http://schemas.microsoft.com/office/drawing/2014/main" id="{D6A9ED5D-8B0E-4020-867A-A0AA0128D600}"/>
                </a:ext>
              </a:extLst>
            </p:cNvPr>
            <p:cNvSpPr/>
            <p:nvPr/>
          </p:nvSpPr>
          <p:spPr>
            <a:xfrm>
              <a:off x="7692746" y="3510261"/>
              <a:ext cx="153484" cy="158169"/>
            </a:xfrm>
            <a:custGeom>
              <a:avLst/>
              <a:gdLst>
                <a:gd name="connsiteX0" fmla="*/ 19112 w 168941"/>
                <a:gd name="connsiteY0" fmla="*/ 33080 h 174104"/>
                <a:gd name="connsiteX1" fmla="*/ 19556 w 168941"/>
                <a:gd name="connsiteY1" fmla="*/ 34166 h 174104"/>
                <a:gd name="connsiteX2" fmla="*/ 3224 w 168941"/>
                <a:gd name="connsiteY2" fmla="*/ 42258 h 174104"/>
                <a:gd name="connsiteX3" fmla="*/ -82 w 168941"/>
                <a:gd name="connsiteY3" fmla="*/ 43935 h 174104"/>
                <a:gd name="connsiteX4" fmla="*/ 1891 w 168941"/>
                <a:gd name="connsiteY4" fmla="*/ 58737 h 174104"/>
                <a:gd name="connsiteX5" fmla="*/ 7763 w 168941"/>
                <a:gd name="connsiteY5" fmla="*/ 61994 h 174104"/>
                <a:gd name="connsiteX6" fmla="*/ 11711 w 168941"/>
                <a:gd name="connsiteY6" fmla="*/ 60366 h 174104"/>
                <a:gd name="connsiteX7" fmla="*/ 21579 w 168941"/>
                <a:gd name="connsiteY7" fmla="*/ 58737 h 174104"/>
                <a:gd name="connsiteX8" fmla="*/ 27450 w 168941"/>
                <a:gd name="connsiteY8" fmla="*/ 66928 h 174104"/>
                <a:gd name="connsiteX9" fmla="*/ 37318 w 168941"/>
                <a:gd name="connsiteY9" fmla="*/ 73392 h 174104"/>
                <a:gd name="connsiteX10" fmla="*/ 45163 w 168941"/>
                <a:gd name="connsiteY10" fmla="*/ 78326 h 174104"/>
                <a:gd name="connsiteX11" fmla="*/ 47137 w 168941"/>
                <a:gd name="connsiteY11" fmla="*/ 86467 h 174104"/>
                <a:gd name="connsiteX12" fmla="*/ 58929 w 168941"/>
                <a:gd name="connsiteY12" fmla="*/ 89723 h 174104"/>
                <a:gd name="connsiteX13" fmla="*/ 59225 w 168941"/>
                <a:gd name="connsiteY13" fmla="*/ 90858 h 174104"/>
                <a:gd name="connsiteX14" fmla="*/ 49110 w 168941"/>
                <a:gd name="connsiteY14" fmla="*/ 102749 h 174104"/>
                <a:gd name="connsiteX15" fmla="*/ 47137 w 168941"/>
                <a:gd name="connsiteY15" fmla="*/ 109262 h 174104"/>
                <a:gd name="connsiteX16" fmla="*/ 41216 w 168941"/>
                <a:gd name="connsiteY16" fmla="*/ 112518 h 174104"/>
                <a:gd name="connsiteX17" fmla="*/ 41216 w 168941"/>
                <a:gd name="connsiteY17" fmla="*/ 122386 h 174104"/>
                <a:gd name="connsiteX18" fmla="*/ 49110 w 168941"/>
                <a:gd name="connsiteY18" fmla="*/ 132255 h 174104"/>
                <a:gd name="connsiteX19" fmla="*/ 54982 w 168941"/>
                <a:gd name="connsiteY19" fmla="*/ 155050 h 174104"/>
                <a:gd name="connsiteX20" fmla="*/ 56955 w 168941"/>
                <a:gd name="connsiteY20" fmla="*/ 163191 h 174104"/>
                <a:gd name="connsiteX21" fmla="*/ 66823 w 168941"/>
                <a:gd name="connsiteY21" fmla="*/ 173947 h 174104"/>
                <a:gd name="connsiteX22" fmla="*/ 74471 w 168941"/>
                <a:gd name="connsiteY22" fmla="*/ 173355 h 174104"/>
                <a:gd name="connsiteX23" fmla="*/ 84339 w 168941"/>
                <a:gd name="connsiteY23" fmla="*/ 165461 h 174104"/>
                <a:gd name="connsiteX24" fmla="*/ 83747 w 168941"/>
                <a:gd name="connsiteY24" fmla="*/ 158207 h 174104"/>
                <a:gd name="connsiteX25" fmla="*/ 79948 w 168941"/>
                <a:gd name="connsiteY25" fmla="*/ 150017 h 174104"/>
                <a:gd name="connsiteX26" fmla="*/ 71757 w 168941"/>
                <a:gd name="connsiteY26" fmla="*/ 145083 h 174104"/>
                <a:gd name="connsiteX27" fmla="*/ 74915 w 168941"/>
                <a:gd name="connsiteY27" fmla="*/ 136251 h 174104"/>
                <a:gd name="connsiteX28" fmla="*/ 73040 w 168941"/>
                <a:gd name="connsiteY28" fmla="*/ 128702 h 174104"/>
                <a:gd name="connsiteX29" fmla="*/ 69882 w 168941"/>
                <a:gd name="connsiteY29" fmla="*/ 122436 h 174104"/>
                <a:gd name="connsiteX30" fmla="*/ 76198 w 168941"/>
                <a:gd name="connsiteY30" fmla="*/ 117502 h 174104"/>
                <a:gd name="connsiteX31" fmla="*/ 71264 w 168941"/>
                <a:gd name="connsiteY31" fmla="*/ 108670 h 174104"/>
                <a:gd name="connsiteX32" fmla="*/ 68106 w 168941"/>
                <a:gd name="connsiteY32" fmla="*/ 101713 h 174104"/>
                <a:gd name="connsiteX33" fmla="*/ 68846 w 168941"/>
                <a:gd name="connsiteY33" fmla="*/ 89822 h 174104"/>
                <a:gd name="connsiteX34" fmla="*/ 77185 w 168941"/>
                <a:gd name="connsiteY34" fmla="*/ 85430 h 174104"/>
                <a:gd name="connsiteX35" fmla="*/ 77185 w 168941"/>
                <a:gd name="connsiteY35" fmla="*/ 85430 h 174104"/>
                <a:gd name="connsiteX36" fmla="*/ 85030 w 168941"/>
                <a:gd name="connsiteY36" fmla="*/ 87601 h 174104"/>
                <a:gd name="connsiteX37" fmla="*/ 86757 w 168941"/>
                <a:gd name="connsiteY37" fmla="*/ 87996 h 174104"/>
                <a:gd name="connsiteX38" fmla="*/ 108812 w 168941"/>
                <a:gd name="connsiteY38" fmla="*/ 91105 h 174104"/>
                <a:gd name="connsiteX39" fmla="*/ 118236 w 168941"/>
                <a:gd name="connsiteY39" fmla="*/ 93029 h 174104"/>
                <a:gd name="connsiteX40" fmla="*/ 132101 w 168941"/>
                <a:gd name="connsiteY40" fmla="*/ 89230 h 174104"/>
                <a:gd name="connsiteX41" fmla="*/ 142808 w 168941"/>
                <a:gd name="connsiteY41" fmla="*/ 87355 h 174104"/>
                <a:gd name="connsiteX42" fmla="*/ 149123 w 168941"/>
                <a:gd name="connsiteY42" fmla="*/ 82914 h 174104"/>
                <a:gd name="connsiteX43" fmla="*/ 165455 w 168941"/>
                <a:gd name="connsiteY43" fmla="*/ 83556 h 174104"/>
                <a:gd name="connsiteX44" fmla="*/ 168020 w 168941"/>
                <a:gd name="connsiteY44" fmla="*/ 66533 h 174104"/>
                <a:gd name="connsiteX45" fmla="*/ 168859 w 168941"/>
                <a:gd name="connsiteY45" fmla="*/ 62537 h 174104"/>
                <a:gd name="connsiteX46" fmla="*/ 160768 w 168941"/>
                <a:gd name="connsiteY46" fmla="*/ 62537 h 174104"/>
                <a:gd name="connsiteX47" fmla="*/ 145077 w 168941"/>
                <a:gd name="connsiteY47" fmla="*/ 60908 h 174104"/>
                <a:gd name="connsiteX48" fmla="*/ 143103 w 168941"/>
                <a:gd name="connsiteY48" fmla="*/ 57652 h 174104"/>
                <a:gd name="connsiteX49" fmla="*/ 137183 w 168941"/>
                <a:gd name="connsiteY49" fmla="*/ 51139 h 174104"/>
                <a:gd name="connsiteX50" fmla="*/ 137183 w 168941"/>
                <a:gd name="connsiteY50" fmla="*/ 42406 h 174104"/>
                <a:gd name="connsiteX51" fmla="*/ 127315 w 168941"/>
                <a:gd name="connsiteY51" fmla="*/ 37472 h 174104"/>
                <a:gd name="connsiteX52" fmla="*/ 109651 w 168941"/>
                <a:gd name="connsiteY52" fmla="*/ 14726 h 174104"/>
                <a:gd name="connsiteX53" fmla="*/ 105704 w 168941"/>
                <a:gd name="connsiteY53" fmla="*/ 4858 h 174104"/>
                <a:gd name="connsiteX54" fmla="*/ 101805 w 168941"/>
                <a:gd name="connsiteY54" fmla="*/ 1651 h 174104"/>
                <a:gd name="connsiteX55" fmla="*/ 95885 w 168941"/>
                <a:gd name="connsiteY55" fmla="*/ -27 h 174104"/>
                <a:gd name="connsiteX56" fmla="*/ 93911 w 168941"/>
                <a:gd name="connsiteY56" fmla="*/ 3229 h 174104"/>
                <a:gd name="connsiteX57" fmla="*/ 90014 w 168941"/>
                <a:gd name="connsiteY57" fmla="*/ 6535 h 174104"/>
                <a:gd name="connsiteX58" fmla="*/ 82168 w 168941"/>
                <a:gd name="connsiteY58" fmla="*/ 6535 h 174104"/>
                <a:gd name="connsiteX59" fmla="*/ 78271 w 168941"/>
                <a:gd name="connsiteY59" fmla="*/ 8114 h 174104"/>
                <a:gd name="connsiteX60" fmla="*/ 72349 w 168941"/>
                <a:gd name="connsiteY60" fmla="*/ 3180 h 174104"/>
                <a:gd name="connsiteX61" fmla="*/ 68452 w 168941"/>
                <a:gd name="connsiteY61" fmla="*/ 3180 h 174104"/>
                <a:gd name="connsiteX62" fmla="*/ 64504 w 168941"/>
                <a:gd name="connsiteY62" fmla="*/ 6486 h 174104"/>
                <a:gd name="connsiteX63" fmla="*/ 58633 w 168941"/>
                <a:gd name="connsiteY63" fmla="*/ 16354 h 174104"/>
                <a:gd name="connsiteX64" fmla="*/ 40920 w 168941"/>
                <a:gd name="connsiteY64" fmla="*/ 22818 h 174104"/>
                <a:gd name="connsiteX65" fmla="*/ 21184 w 168941"/>
                <a:gd name="connsiteY65" fmla="*/ 28344 h 174104"/>
                <a:gd name="connsiteX66" fmla="*/ 17532 w 168941"/>
                <a:gd name="connsiteY66" fmla="*/ 29380 h 174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68941" h="174104">
                  <a:moveTo>
                    <a:pt x="19112" y="33080"/>
                  </a:moveTo>
                  <a:lnTo>
                    <a:pt x="19556" y="34166"/>
                  </a:lnTo>
                  <a:lnTo>
                    <a:pt x="3224" y="42258"/>
                  </a:lnTo>
                  <a:lnTo>
                    <a:pt x="-82" y="43935"/>
                  </a:lnTo>
                  <a:lnTo>
                    <a:pt x="1891" y="58737"/>
                  </a:lnTo>
                  <a:lnTo>
                    <a:pt x="7763" y="61994"/>
                  </a:lnTo>
                  <a:lnTo>
                    <a:pt x="11711" y="60366"/>
                  </a:lnTo>
                  <a:lnTo>
                    <a:pt x="21579" y="58737"/>
                  </a:lnTo>
                  <a:lnTo>
                    <a:pt x="27450" y="66928"/>
                  </a:lnTo>
                  <a:lnTo>
                    <a:pt x="37318" y="73392"/>
                  </a:lnTo>
                  <a:lnTo>
                    <a:pt x="45163" y="78326"/>
                  </a:lnTo>
                  <a:lnTo>
                    <a:pt x="47137" y="86467"/>
                  </a:lnTo>
                  <a:lnTo>
                    <a:pt x="58929" y="89723"/>
                  </a:lnTo>
                  <a:lnTo>
                    <a:pt x="59225" y="90858"/>
                  </a:lnTo>
                  <a:lnTo>
                    <a:pt x="49110" y="102749"/>
                  </a:lnTo>
                  <a:lnTo>
                    <a:pt x="47137" y="109262"/>
                  </a:lnTo>
                  <a:lnTo>
                    <a:pt x="41216" y="112518"/>
                  </a:lnTo>
                  <a:lnTo>
                    <a:pt x="41216" y="122386"/>
                  </a:lnTo>
                  <a:lnTo>
                    <a:pt x="49110" y="132255"/>
                  </a:lnTo>
                  <a:lnTo>
                    <a:pt x="54982" y="155050"/>
                  </a:lnTo>
                  <a:lnTo>
                    <a:pt x="56955" y="163191"/>
                  </a:lnTo>
                  <a:lnTo>
                    <a:pt x="66823" y="173947"/>
                  </a:lnTo>
                  <a:cubicBezTo>
                    <a:pt x="69389" y="174238"/>
                    <a:pt x="72004" y="174041"/>
                    <a:pt x="74471" y="173355"/>
                  </a:cubicBezTo>
                  <a:cubicBezTo>
                    <a:pt x="75655" y="173009"/>
                    <a:pt x="83007" y="170888"/>
                    <a:pt x="84339" y="165461"/>
                  </a:cubicBezTo>
                  <a:cubicBezTo>
                    <a:pt x="84783" y="163033"/>
                    <a:pt x="84586" y="160531"/>
                    <a:pt x="83747" y="158207"/>
                  </a:cubicBezTo>
                  <a:cubicBezTo>
                    <a:pt x="83254" y="155173"/>
                    <a:pt x="81971" y="152336"/>
                    <a:pt x="79948" y="150017"/>
                  </a:cubicBezTo>
                  <a:cubicBezTo>
                    <a:pt x="76445" y="146366"/>
                    <a:pt x="72646" y="147550"/>
                    <a:pt x="71757" y="145083"/>
                  </a:cubicBezTo>
                  <a:cubicBezTo>
                    <a:pt x="70870" y="142616"/>
                    <a:pt x="74620" y="141136"/>
                    <a:pt x="74915" y="136251"/>
                  </a:cubicBezTo>
                  <a:cubicBezTo>
                    <a:pt x="74915" y="133616"/>
                    <a:pt x="74274" y="131021"/>
                    <a:pt x="73040" y="128702"/>
                  </a:cubicBezTo>
                  <a:cubicBezTo>
                    <a:pt x="71215" y="124755"/>
                    <a:pt x="69537" y="124163"/>
                    <a:pt x="69882" y="122436"/>
                  </a:cubicBezTo>
                  <a:cubicBezTo>
                    <a:pt x="70474" y="119426"/>
                    <a:pt x="76198" y="117502"/>
                    <a:pt x="76198" y="117502"/>
                  </a:cubicBezTo>
                  <a:cubicBezTo>
                    <a:pt x="75063" y="114289"/>
                    <a:pt x="73435" y="111300"/>
                    <a:pt x="71264" y="108670"/>
                  </a:cubicBezTo>
                  <a:cubicBezTo>
                    <a:pt x="67514" y="105364"/>
                    <a:pt x="70425" y="104821"/>
                    <a:pt x="68106" y="101713"/>
                  </a:cubicBezTo>
                  <a:cubicBezTo>
                    <a:pt x="66774" y="99986"/>
                    <a:pt x="69932" y="93621"/>
                    <a:pt x="68846" y="89822"/>
                  </a:cubicBezTo>
                  <a:cubicBezTo>
                    <a:pt x="71067" y="87488"/>
                    <a:pt x="73978" y="85949"/>
                    <a:pt x="77185" y="85430"/>
                  </a:cubicBezTo>
                  <a:lnTo>
                    <a:pt x="77185" y="85430"/>
                  </a:lnTo>
                  <a:cubicBezTo>
                    <a:pt x="80836" y="84542"/>
                    <a:pt x="77432" y="85825"/>
                    <a:pt x="85030" y="87601"/>
                  </a:cubicBezTo>
                  <a:lnTo>
                    <a:pt x="86757" y="87996"/>
                  </a:lnTo>
                  <a:cubicBezTo>
                    <a:pt x="96132" y="89871"/>
                    <a:pt x="97118" y="88835"/>
                    <a:pt x="108812" y="91105"/>
                  </a:cubicBezTo>
                  <a:lnTo>
                    <a:pt x="118236" y="93029"/>
                  </a:lnTo>
                  <a:cubicBezTo>
                    <a:pt x="122726" y="91361"/>
                    <a:pt x="127364" y="90093"/>
                    <a:pt x="132101" y="89230"/>
                  </a:cubicBezTo>
                  <a:cubicBezTo>
                    <a:pt x="135752" y="89106"/>
                    <a:pt x="139354" y="88475"/>
                    <a:pt x="142808" y="87355"/>
                  </a:cubicBezTo>
                  <a:cubicBezTo>
                    <a:pt x="146558" y="85628"/>
                    <a:pt x="146261" y="84197"/>
                    <a:pt x="149123" y="82914"/>
                  </a:cubicBezTo>
                  <a:cubicBezTo>
                    <a:pt x="156031" y="79855"/>
                    <a:pt x="161655" y="86269"/>
                    <a:pt x="165455" y="83556"/>
                  </a:cubicBezTo>
                  <a:cubicBezTo>
                    <a:pt x="168366" y="81533"/>
                    <a:pt x="166294" y="77043"/>
                    <a:pt x="168020" y="66533"/>
                  </a:cubicBezTo>
                  <a:cubicBezTo>
                    <a:pt x="168020" y="66533"/>
                    <a:pt x="168020" y="65201"/>
                    <a:pt x="168859" y="62537"/>
                  </a:cubicBezTo>
                  <a:lnTo>
                    <a:pt x="160768" y="62537"/>
                  </a:lnTo>
                  <a:lnTo>
                    <a:pt x="145077" y="60908"/>
                  </a:lnTo>
                  <a:lnTo>
                    <a:pt x="143103" y="57652"/>
                  </a:lnTo>
                  <a:lnTo>
                    <a:pt x="137183" y="51139"/>
                  </a:lnTo>
                  <a:lnTo>
                    <a:pt x="137183" y="42406"/>
                  </a:lnTo>
                  <a:lnTo>
                    <a:pt x="127315" y="37472"/>
                  </a:lnTo>
                  <a:lnTo>
                    <a:pt x="109651" y="14726"/>
                  </a:lnTo>
                  <a:lnTo>
                    <a:pt x="105704" y="4858"/>
                  </a:lnTo>
                  <a:lnTo>
                    <a:pt x="101805" y="1651"/>
                  </a:lnTo>
                  <a:lnTo>
                    <a:pt x="95885" y="-27"/>
                  </a:lnTo>
                  <a:lnTo>
                    <a:pt x="93911" y="3229"/>
                  </a:lnTo>
                  <a:lnTo>
                    <a:pt x="90014" y="6535"/>
                  </a:lnTo>
                  <a:lnTo>
                    <a:pt x="82168" y="6535"/>
                  </a:lnTo>
                  <a:lnTo>
                    <a:pt x="78271" y="8114"/>
                  </a:lnTo>
                  <a:lnTo>
                    <a:pt x="72349" y="3180"/>
                  </a:lnTo>
                  <a:lnTo>
                    <a:pt x="68452" y="3180"/>
                  </a:lnTo>
                  <a:lnTo>
                    <a:pt x="64504" y="6486"/>
                  </a:lnTo>
                  <a:lnTo>
                    <a:pt x="58633" y="16354"/>
                  </a:lnTo>
                  <a:lnTo>
                    <a:pt x="40920" y="22818"/>
                  </a:lnTo>
                  <a:lnTo>
                    <a:pt x="21184" y="28344"/>
                  </a:lnTo>
                  <a:lnTo>
                    <a:pt x="17532" y="29380"/>
                  </a:lnTo>
                  <a:close/>
                </a:path>
              </a:pathLst>
            </a:custGeom>
            <a:pattFill prst="dkUpDiag">
              <a:fgClr>
                <a:srgbClr val="D9D9D9"/>
              </a:fgClr>
              <a:bgClr>
                <a:schemeClr val="bg1"/>
              </a:bgClr>
            </a:pattFill>
            <a:ln w="635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Graphic 2">
              <a:extLst>
                <a:ext uri="{FF2B5EF4-FFF2-40B4-BE49-F238E27FC236}">
                  <a16:creationId xmlns:a16="http://schemas.microsoft.com/office/drawing/2014/main" id="{C000B5B3-653E-4CB1-9590-A778BD2A2AA2}"/>
                </a:ext>
              </a:extLst>
            </p:cNvPr>
            <p:cNvSpPr/>
            <p:nvPr/>
          </p:nvSpPr>
          <p:spPr>
            <a:xfrm>
              <a:off x="8830096" y="4607128"/>
              <a:ext cx="16616" cy="16615"/>
            </a:xfrm>
            <a:custGeom>
              <a:avLst/>
              <a:gdLst>
                <a:gd name="connsiteX0" fmla="*/ 3175 w 13471"/>
                <a:gd name="connsiteY0" fmla="*/ 4463 h 12482"/>
                <a:gd name="connsiteX1" fmla="*/ -82 w 13471"/>
                <a:gd name="connsiteY1" fmla="*/ 6387 h 12482"/>
                <a:gd name="connsiteX2" fmla="*/ 3964 w 13471"/>
                <a:gd name="connsiteY2" fmla="*/ 8459 h 12482"/>
                <a:gd name="connsiteX3" fmla="*/ 6038 w 13471"/>
                <a:gd name="connsiteY3" fmla="*/ 12111 h 12482"/>
                <a:gd name="connsiteX4" fmla="*/ 10972 w 13471"/>
                <a:gd name="connsiteY4" fmla="*/ 12456 h 12482"/>
                <a:gd name="connsiteX5" fmla="*/ 13389 w 13471"/>
                <a:gd name="connsiteY5" fmla="*/ 3920 h 12482"/>
                <a:gd name="connsiteX6" fmla="*/ 11563 w 13471"/>
                <a:gd name="connsiteY6" fmla="*/ 1552 h 12482"/>
                <a:gd name="connsiteX7" fmla="*/ 9491 w 13471"/>
                <a:gd name="connsiteY7" fmla="*/ 516 h 12482"/>
                <a:gd name="connsiteX8" fmla="*/ 6925 w 13471"/>
                <a:gd name="connsiteY8" fmla="*/ -27 h 12482"/>
                <a:gd name="connsiteX9" fmla="*/ 5050 w 13471"/>
                <a:gd name="connsiteY9" fmla="*/ 1942 h 12482"/>
                <a:gd name="connsiteX10" fmla="*/ 4409 w 13471"/>
                <a:gd name="connsiteY10" fmla="*/ 1848 h 12482"/>
                <a:gd name="connsiteX11" fmla="*/ 3175 w 13471"/>
                <a:gd name="connsiteY11" fmla="*/ 4463 h 12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71" h="12482">
                  <a:moveTo>
                    <a:pt x="3175" y="4463"/>
                  </a:moveTo>
                  <a:lnTo>
                    <a:pt x="-82" y="6387"/>
                  </a:lnTo>
                  <a:lnTo>
                    <a:pt x="3964" y="8459"/>
                  </a:lnTo>
                  <a:cubicBezTo>
                    <a:pt x="5692" y="13788"/>
                    <a:pt x="6038" y="12111"/>
                    <a:pt x="6038" y="12111"/>
                  </a:cubicBezTo>
                  <a:cubicBezTo>
                    <a:pt x="10972" y="10779"/>
                    <a:pt x="10972" y="12456"/>
                    <a:pt x="10972" y="12456"/>
                  </a:cubicBezTo>
                  <a:cubicBezTo>
                    <a:pt x="12698" y="5795"/>
                    <a:pt x="13389" y="3920"/>
                    <a:pt x="13389" y="3920"/>
                  </a:cubicBezTo>
                  <a:cubicBezTo>
                    <a:pt x="9984" y="1305"/>
                    <a:pt x="11563" y="1552"/>
                    <a:pt x="11563" y="1552"/>
                  </a:cubicBezTo>
                  <a:cubicBezTo>
                    <a:pt x="12550" y="-866"/>
                    <a:pt x="9491" y="516"/>
                    <a:pt x="9491" y="516"/>
                  </a:cubicBezTo>
                  <a:cubicBezTo>
                    <a:pt x="6086" y="516"/>
                    <a:pt x="6925" y="-27"/>
                    <a:pt x="6925" y="-27"/>
                  </a:cubicBezTo>
                  <a:cubicBezTo>
                    <a:pt x="6925" y="1034"/>
                    <a:pt x="6086" y="1917"/>
                    <a:pt x="5050" y="1942"/>
                  </a:cubicBezTo>
                  <a:cubicBezTo>
                    <a:pt x="4852" y="1947"/>
                    <a:pt x="4606" y="1917"/>
                    <a:pt x="4409" y="1848"/>
                  </a:cubicBezTo>
                  <a:cubicBezTo>
                    <a:pt x="2090" y="2243"/>
                    <a:pt x="3175" y="4463"/>
                    <a:pt x="3175" y="4463"/>
                  </a:cubicBezTo>
                  <a:close/>
                </a:path>
              </a:pathLst>
            </a:custGeom>
            <a:solidFill>
              <a:srgbClr val="D9D9D9"/>
            </a:solidFill>
            <a:ln w="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Graphic 197">
              <a:extLst>
                <a:ext uri="{FF2B5EF4-FFF2-40B4-BE49-F238E27FC236}">
                  <a16:creationId xmlns:a16="http://schemas.microsoft.com/office/drawing/2014/main" id="{B61CA286-7143-4996-A158-AE4F01E72ABF}"/>
                </a:ext>
              </a:extLst>
            </p:cNvPr>
            <p:cNvSpPr/>
            <p:nvPr/>
          </p:nvSpPr>
          <p:spPr>
            <a:xfrm>
              <a:off x="4617370" y="2980354"/>
              <a:ext cx="8653" cy="8652"/>
            </a:xfrm>
            <a:custGeom>
              <a:avLst/>
              <a:gdLst>
                <a:gd name="connsiteX0" fmla="*/ -1380 w 9525"/>
                <a:gd name="connsiteY0" fmla="*/ -427 h 9525"/>
                <a:gd name="connsiteX1" fmla="*/ -1380 w 9525"/>
                <a:gd name="connsiteY1" fmla="*/ -427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-1380" y="-427"/>
                  </a:moveTo>
                  <a:lnTo>
                    <a:pt x="-1380" y="-427"/>
                  </a:lnTo>
                  <a:close/>
                </a:path>
              </a:pathLst>
            </a:custGeom>
            <a:solidFill>
              <a:srgbClr val="D9D9D9"/>
            </a:solidFill>
            <a:ln w="2381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Graphic 197">
              <a:extLst>
                <a:ext uri="{FF2B5EF4-FFF2-40B4-BE49-F238E27FC236}">
                  <a16:creationId xmlns:a16="http://schemas.microsoft.com/office/drawing/2014/main" id="{F0E1F3EF-3691-4305-979D-F0E03FF7636F}"/>
                </a:ext>
              </a:extLst>
            </p:cNvPr>
            <p:cNvSpPr/>
            <p:nvPr/>
          </p:nvSpPr>
          <p:spPr>
            <a:xfrm>
              <a:off x="4812321" y="3024744"/>
              <a:ext cx="2251" cy="259"/>
            </a:xfrm>
            <a:custGeom>
              <a:avLst/>
              <a:gdLst>
                <a:gd name="connsiteX0" fmla="*/ 2476 w 2476"/>
                <a:gd name="connsiteY0" fmla="*/ 286 h 285"/>
                <a:gd name="connsiteX1" fmla="*/ 2381 w 2476"/>
                <a:gd name="connsiteY1" fmla="*/ 0 h 285"/>
                <a:gd name="connsiteX2" fmla="*/ 0 w 2476"/>
                <a:gd name="connsiteY2" fmla="*/ 0 h 285"/>
                <a:gd name="connsiteX3" fmla="*/ 286 w 2476"/>
                <a:gd name="connsiteY3" fmla="*/ 286 h 285"/>
                <a:gd name="connsiteX4" fmla="*/ 2476 w 2476"/>
                <a:gd name="connsiteY4" fmla="*/ 286 h 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" h="285">
                  <a:moveTo>
                    <a:pt x="2476" y="286"/>
                  </a:moveTo>
                  <a:lnTo>
                    <a:pt x="2381" y="0"/>
                  </a:lnTo>
                  <a:lnTo>
                    <a:pt x="0" y="0"/>
                  </a:lnTo>
                  <a:lnTo>
                    <a:pt x="286" y="286"/>
                  </a:lnTo>
                  <a:lnTo>
                    <a:pt x="2476" y="286"/>
                  </a:lnTo>
                  <a:close/>
                </a:path>
              </a:pathLst>
            </a:custGeom>
            <a:solidFill>
              <a:srgbClr val="D9D9D9"/>
            </a:solidFill>
            <a:ln w="2381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Graphic 197">
              <a:extLst>
                <a:ext uri="{FF2B5EF4-FFF2-40B4-BE49-F238E27FC236}">
                  <a16:creationId xmlns:a16="http://schemas.microsoft.com/office/drawing/2014/main" id="{EA00F01A-0F17-42F3-B0F4-59BA381AE572}"/>
                </a:ext>
              </a:extLst>
            </p:cNvPr>
            <p:cNvSpPr/>
            <p:nvPr/>
          </p:nvSpPr>
          <p:spPr>
            <a:xfrm>
              <a:off x="4679124" y="2939163"/>
              <a:ext cx="4154" cy="4843"/>
            </a:xfrm>
            <a:custGeom>
              <a:avLst/>
              <a:gdLst>
                <a:gd name="connsiteX0" fmla="*/ -1380 w 4571"/>
                <a:gd name="connsiteY0" fmla="*/ 4907 h 5333"/>
                <a:gd name="connsiteX1" fmla="*/ 3192 w 4571"/>
                <a:gd name="connsiteY1" fmla="*/ -427 h 5333"/>
                <a:gd name="connsiteX2" fmla="*/ -1380 w 4571"/>
                <a:gd name="connsiteY2" fmla="*/ 4907 h 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71" h="5333">
                  <a:moveTo>
                    <a:pt x="-1380" y="4907"/>
                  </a:moveTo>
                  <a:lnTo>
                    <a:pt x="3192" y="-427"/>
                  </a:lnTo>
                  <a:cubicBezTo>
                    <a:pt x="1477" y="1211"/>
                    <a:pt x="-47" y="3002"/>
                    <a:pt x="-1380" y="4907"/>
                  </a:cubicBezTo>
                  <a:close/>
                </a:path>
              </a:pathLst>
            </a:custGeom>
            <a:solidFill>
              <a:srgbClr val="D9D9D9"/>
            </a:solidFill>
            <a:ln w="2381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97" name="Straight Connector 396"/>
          <p:cNvCxnSpPr>
            <a:cxnSpLocks/>
            <a:endCxn id="267" idx="275"/>
          </p:cNvCxnSpPr>
          <p:nvPr/>
        </p:nvCxnSpPr>
        <p:spPr>
          <a:xfrm>
            <a:off x="10067544" y="3645176"/>
            <a:ext cx="602368" cy="1951215"/>
          </a:xfrm>
          <a:prstGeom prst="line">
            <a:avLst/>
          </a:prstGeom>
          <a:ln w="6350" cmpd="sng">
            <a:solidFill>
              <a:schemeClr val="accent2">
                <a:lumMod val="60000"/>
                <a:lumOff val="40000"/>
              </a:schemeClr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CE0555FD-3693-42C7-AC73-5D22607AA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0" dirty="0"/>
              <a:t>EPAM India</a:t>
            </a:r>
          </a:p>
        </p:txBody>
      </p:sp>
      <p:grpSp>
        <p:nvGrpSpPr>
          <p:cNvPr id="810" name="Group 809">
            <a:extLst>
              <a:ext uri="{FF2B5EF4-FFF2-40B4-BE49-F238E27FC236}">
                <a16:creationId xmlns:a16="http://schemas.microsoft.com/office/drawing/2014/main" id="{586474B6-5492-45C2-8C98-09C281284025}"/>
              </a:ext>
            </a:extLst>
          </p:cNvPr>
          <p:cNvGrpSpPr/>
          <p:nvPr/>
        </p:nvGrpSpPr>
        <p:grpSpPr>
          <a:xfrm>
            <a:off x="378491" y="1552064"/>
            <a:ext cx="1981200" cy="847755"/>
            <a:chOff x="360069" y="1210159"/>
            <a:chExt cx="1485900" cy="635817"/>
          </a:xfrm>
        </p:grpSpPr>
        <p:sp>
          <p:nvSpPr>
            <p:cNvPr id="811" name="TextBox 810">
              <a:extLst>
                <a:ext uri="{FF2B5EF4-FFF2-40B4-BE49-F238E27FC236}">
                  <a16:creationId xmlns:a16="http://schemas.microsoft.com/office/drawing/2014/main" id="{6FA1A979-942B-4290-80DE-470ABA67F614}"/>
                </a:ext>
              </a:extLst>
            </p:cNvPr>
            <p:cNvSpPr txBox="1"/>
            <p:nvPr/>
          </p:nvSpPr>
          <p:spPr>
            <a:xfrm>
              <a:off x="382929" y="1210159"/>
              <a:ext cx="1463040" cy="307825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50" b="1" i="0" u="none" strike="noStrike" kern="800" cap="none" spc="133" normalizeH="0" baseline="0" noProof="0">
                  <a:ln>
                    <a:noFill/>
                  </a:ln>
                  <a:solidFill>
                    <a:srgbClr val="39C2D7"/>
                  </a:solidFill>
                  <a:effectLst/>
                  <a:uLnTx/>
                  <a:uFillTx/>
                  <a:latin typeface="Calibri"/>
                  <a:ea typeface="+mn-ea"/>
                  <a:cs typeface="Calibri Light"/>
                </a:rPr>
                <a:t>6,000+ FTE</a:t>
              </a:r>
            </a:p>
          </p:txBody>
        </p:sp>
        <p:sp>
          <p:nvSpPr>
            <p:cNvPr id="812" name="TextBox 811">
              <a:extLst>
                <a:ext uri="{FF2B5EF4-FFF2-40B4-BE49-F238E27FC236}">
                  <a16:creationId xmlns:a16="http://schemas.microsoft.com/office/drawing/2014/main" id="{4431AA0C-51F4-49E5-BB35-324685E7C427}"/>
                </a:ext>
              </a:extLst>
            </p:cNvPr>
            <p:cNvSpPr txBox="1"/>
            <p:nvPr/>
          </p:nvSpPr>
          <p:spPr>
            <a:xfrm>
              <a:off x="360069" y="1469046"/>
              <a:ext cx="1463040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0%+ growth </a:t>
              </a:r>
              <a:b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 2021</a:t>
              </a:r>
            </a:p>
          </p:txBody>
        </p:sp>
      </p:grpSp>
      <p:grpSp>
        <p:nvGrpSpPr>
          <p:cNvPr id="819" name="Group 818">
            <a:extLst>
              <a:ext uri="{FF2B5EF4-FFF2-40B4-BE49-F238E27FC236}">
                <a16:creationId xmlns:a16="http://schemas.microsoft.com/office/drawing/2014/main" id="{9408B77F-29A1-495D-9DEB-BA8E18A82CB3}"/>
              </a:ext>
            </a:extLst>
          </p:cNvPr>
          <p:cNvGrpSpPr/>
          <p:nvPr/>
        </p:nvGrpSpPr>
        <p:grpSpPr>
          <a:xfrm>
            <a:off x="2118323" y="1552064"/>
            <a:ext cx="1981200" cy="847756"/>
            <a:chOff x="360069" y="1210159"/>
            <a:chExt cx="1485900" cy="635817"/>
          </a:xfrm>
        </p:grpSpPr>
        <p:sp>
          <p:nvSpPr>
            <p:cNvPr id="820" name="TextBox 819">
              <a:extLst>
                <a:ext uri="{FF2B5EF4-FFF2-40B4-BE49-F238E27FC236}">
                  <a16:creationId xmlns:a16="http://schemas.microsoft.com/office/drawing/2014/main" id="{8C4E27B6-98F7-4098-8B4B-87E3D934A0ED}"/>
                </a:ext>
              </a:extLst>
            </p:cNvPr>
            <p:cNvSpPr txBox="1"/>
            <p:nvPr/>
          </p:nvSpPr>
          <p:spPr>
            <a:xfrm>
              <a:off x="382929" y="1210159"/>
              <a:ext cx="1463040" cy="307825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50" b="1" i="0" u="none" strike="noStrike" kern="800" cap="none" spc="133" normalizeH="0" baseline="0" noProof="0">
                  <a:ln>
                    <a:noFill/>
                  </a:ln>
                  <a:solidFill>
                    <a:srgbClr val="39C2D7"/>
                  </a:solidFill>
                  <a:effectLst/>
                  <a:uLnTx/>
                  <a:uFillTx/>
                  <a:latin typeface="Calibri"/>
                  <a:ea typeface="+mn-ea"/>
                  <a:cs typeface="Calibri Light"/>
                </a:rPr>
                <a:t>150+</a:t>
              </a:r>
            </a:p>
          </p:txBody>
        </p:sp>
        <p:sp>
          <p:nvSpPr>
            <p:cNvPr id="821" name="TextBox 820">
              <a:extLst>
                <a:ext uri="{FF2B5EF4-FFF2-40B4-BE49-F238E27FC236}">
                  <a16:creationId xmlns:a16="http://schemas.microsoft.com/office/drawing/2014/main" id="{B6F089B1-FE1B-47FB-B9DD-A18EA79751A9}"/>
                </a:ext>
              </a:extLst>
            </p:cNvPr>
            <p:cNvSpPr txBox="1"/>
            <p:nvPr/>
          </p:nvSpPr>
          <p:spPr>
            <a:xfrm>
              <a:off x="360069" y="1469046"/>
              <a:ext cx="1463040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ctive </a:t>
              </a:r>
              <a:b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</a:b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customers</a:t>
              </a:r>
            </a:p>
          </p:txBody>
        </p:sp>
      </p:grpSp>
      <p:sp>
        <p:nvSpPr>
          <p:cNvPr id="822" name="TextBox 821">
            <a:extLst>
              <a:ext uri="{FF2B5EF4-FFF2-40B4-BE49-F238E27FC236}">
                <a16:creationId xmlns:a16="http://schemas.microsoft.com/office/drawing/2014/main" id="{122DF42D-D2B6-4529-B452-2E2DC29FD8C4}"/>
              </a:ext>
            </a:extLst>
          </p:cNvPr>
          <p:cNvSpPr txBox="1"/>
          <p:nvPr/>
        </p:nvSpPr>
        <p:spPr>
          <a:xfrm>
            <a:off x="480090" y="2697648"/>
            <a:ext cx="6840053" cy="369332"/>
          </a:xfrm>
          <a:prstGeom prst="rect">
            <a:avLst/>
          </a:prstGeom>
          <a:solidFill>
            <a:schemeClr val="bg1"/>
          </a:solidFill>
          <a:effectLst>
            <a:outerShdw dist="12700" dir="16200000" rotWithShape="0">
              <a:schemeClr val="accent2"/>
            </a:outerShdw>
          </a:effectLst>
        </p:spPr>
        <p:txBody>
          <a:bodyPr wrap="square" lIns="0" tIns="121920" rIns="0" bIns="0" rtlCol="0" anchor="t" anchorCtr="0">
            <a:spAutoFit/>
          </a:bodyPr>
          <a:lstStyle>
            <a:defPPr>
              <a:defRPr lang="en-US"/>
            </a:defPPr>
            <a:lvl1pPr>
              <a:defRPr sz="1200" b="1" cap="all" spc="75">
                <a:solidFill>
                  <a:schemeClr val="accent2"/>
                </a:solidFill>
                <a:cs typeface="Trebuchet M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10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</a:rPr>
              <a:t>Location Highlights</a:t>
            </a:r>
          </a:p>
        </p:txBody>
      </p:sp>
      <p:sp>
        <p:nvSpPr>
          <p:cNvPr id="823" name="Content Placeholder 45">
            <a:extLst>
              <a:ext uri="{FF2B5EF4-FFF2-40B4-BE49-F238E27FC236}">
                <a16:creationId xmlns:a16="http://schemas.microsoft.com/office/drawing/2014/main" id="{741D2CDA-E6B1-4C37-B644-BD28A3DAB928}"/>
              </a:ext>
            </a:extLst>
          </p:cNvPr>
          <p:cNvSpPr txBox="1">
            <a:spLocks/>
          </p:cNvSpPr>
          <p:nvPr/>
        </p:nvSpPr>
        <p:spPr>
          <a:xfrm>
            <a:off x="489492" y="3171149"/>
            <a:ext cx="1743983" cy="1313180"/>
          </a:xfrm>
          <a:prstGeom prst="rect">
            <a:avLst/>
          </a:prstGeom>
        </p:spPr>
        <p:txBody>
          <a:bodyPr wrap="square" lIns="0" tIns="45720" rIns="0" bIns="45720" anchor="t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Capabilities: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Digital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Data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Cloud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Quality Engineering</a:t>
            </a:r>
          </a:p>
        </p:txBody>
      </p:sp>
      <p:sp>
        <p:nvSpPr>
          <p:cNvPr id="824" name="Content Placeholder 45">
            <a:extLst>
              <a:ext uri="{FF2B5EF4-FFF2-40B4-BE49-F238E27FC236}">
                <a16:creationId xmlns:a16="http://schemas.microsoft.com/office/drawing/2014/main" id="{03D0DFB8-8B94-4C26-B942-18B738A173B3}"/>
              </a:ext>
            </a:extLst>
          </p:cNvPr>
          <p:cNvSpPr txBox="1">
            <a:spLocks/>
          </p:cNvSpPr>
          <p:nvPr/>
        </p:nvSpPr>
        <p:spPr>
          <a:xfrm>
            <a:off x="2368339" y="3171149"/>
            <a:ext cx="3070339" cy="156453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Services: 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Product Development &amp; Modernization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Cloud Transformation and Migration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Data and Intelligence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Quality Engineering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Technology Transformation</a:t>
            </a:r>
          </a:p>
        </p:txBody>
      </p:sp>
      <p:sp>
        <p:nvSpPr>
          <p:cNvPr id="1626" name="TextBox 1625">
            <a:extLst>
              <a:ext uri="{FF2B5EF4-FFF2-40B4-BE49-F238E27FC236}">
                <a16:creationId xmlns:a16="http://schemas.microsoft.com/office/drawing/2014/main" id="{35BAC50B-FECE-43DB-B457-835E83B171DB}"/>
              </a:ext>
            </a:extLst>
          </p:cNvPr>
          <p:cNvSpPr txBox="1"/>
          <p:nvPr/>
        </p:nvSpPr>
        <p:spPr>
          <a:xfrm>
            <a:off x="8162752" y="1086003"/>
            <a:ext cx="3553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dist="12700" dir="16200000" rotWithShape="0">
              <a:schemeClr val="tx2"/>
            </a:outerShdw>
          </a:effectLst>
        </p:spPr>
        <p:txBody>
          <a:bodyPr wrap="square" lIns="0" tIns="121920" rIns="0" bIns="0" rtlCol="0" anchor="t" anchorCtr="0">
            <a:spAutoFit/>
          </a:bodyPr>
          <a:lstStyle>
            <a:defPPr>
              <a:defRPr lang="en-US"/>
            </a:defPPr>
            <a:lvl1pPr>
              <a:defRPr sz="1200" b="1" cap="all" spc="75">
                <a:solidFill>
                  <a:schemeClr val="tx2"/>
                </a:solidFill>
                <a:cs typeface="Trebuchet M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10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n-ea"/>
              </a:rPr>
              <a:t>Locations</a:t>
            </a:r>
          </a:p>
        </p:txBody>
      </p:sp>
      <p:sp>
        <p:nvSpPr>
          <p:cNvPr id="1627" name="TextBox 1626">
            <a:extLst>
              <a:ext uri="{FF2B5EF4-FFF2-40B4-BE49-F238E27FC236}">
                <a16:creationId xmlns:a16="http://schemas.microsoft.com/office/drawing/2014/main" id="{3315F612-1D11-4A8A-8EC8-603DD9568918}"/>
              </a:ext>
            </a:extLst>
          </p:cNvPr>
          <p:cNvSpPr txBox="1"/>
          <p:nvPr/>
        </p:nvSpPr>
        <p:spPr>
          <a:xfrm>
            <a:off x="478266" y="1089448"/>
            <a:ext cx="6840053" cy="369332"/>
          </a:xfrm>
          <a:prstGeom prst="rect">
            <a:avLst/>
          </a:prstGeom>
          <a:solidFill>
            <a:schemeClr val="bg1"/>
          </a:solidFill>
          <a:effectLst>
            <a:outerShdw dist="12700" dir="16200000" rotWithShape="0">
              <a:schemeClr val="accent2"/>
            </a:outerShdw>
          </a:effectLst>
        </p:spPr>
        <p:txBody>
          <a:bodyPr wrap="square" lIns="0" tIns="121920" rIns="0" bIns="0" rtlCol="0" anchor="t" anchorCtr="0">
            <a:spAutoFit/>
          </a:bodyPr>
          <a:lstStyle>
            <a:defPPr>
              <a:defRPr lang="en-US"/>
            </a:defPPr>
            <a:lvl1pPr>
              <a:defRPr sz="1200" b="1" cap="all" spc="75">
                <a:solidFill>
                  <a:schemeClr val="accent2"/>
                </a:solidFill>
                <a:cs typeface="Trebuchet M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100" normalizeH="0" baseline="0" noProof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</a:rPr>
              <a:t>Key facts</a:t>
            </a:r>
          </a:p>
        </p:txBody>
      </p:sp>
      <p:pic>
        <p:nvPicPr>
          <p:cNvPr id="411" name="Graphic 50">
            <a:extLst>
              <a:ext uri="{FF2B5EF4-FFF2-40B4-BE49-F238E27FC236}">
                <a16:creationId xmlns:a16="http://schemas.microsoft.com/office/drawing/2014/main" id="{8314CA27-854F-4F66-A418-FF1AC5D3C69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98094" y="749148"/>
            <a:ext cx="3831290" cy="425947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437FFB4-EBC4-4C05-BFA2-A59B1C68D0C2}"/>
              </a:ext>
            </a:extLst>
          </p:cNvPr>
          <p:cNvGrpSpPr/>
          <p:nvPr/>
        </p:nvGrpSpPr>
        <p:grpSpPr>
          <a:xfrm>
            <a:off x="9529011" y="2997968"/>
            <a:ext cx="226511" cy="357948"/>
            <a:chOff x="9535958" y="3102115"/>
            <a:chExt cx="226511" cy="357948"/>
          </a:xfrm>
        </p:grpSpPr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EFDB4162-3782-403D-A093-55F83C214EB6}"/>
                </a:ext>
              </a:extLst>
            </p:cNvPr>
            <p:cNvSpPr/>
            <p:nvPr/>
          </p:nvSpPr>
          <p:spPr>
            <a:xfrm>
              <a:off x="9617943" y="3397522"/>
              <a:ext cx="62541" cy="6254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0BFAB5DF-6171-44FB-9E4B-50F306FDF82A}"/>
                </a:ext>
              </a:extLst>
            </p:cNvPr>
            <p:cNvGrpSpPr/>
            <p:nvPr/>
          </p:nvGrpSpPr>
          <p:grpSpPr>
            <a:xfrm>
              <a:off x="9535958" y="3102115"/>
              <a:ext cx="226511" cy="331007"/>
              <a:chOff x="3808702" y="762865"/>
              <a:chExt cx="169883" cy="248255"/>
            </a:xfrm>
          </p:grpSpPr>
          <p:sp>
            <p:nvSpPr>
              <p:cNvPr id="415" name="Freeform 3">
                <a:extLst>
                  <a:ext uri="{FF2B5EF4-FFF2-40B4-BE49-F238E27FC236}">
                    <a16:creationId xmlns:a16="http://schemas.microsoft.com/office/drawing/2014/main" id="{37FF3999-1341-4D0C-941D-20B8F5B156D9}"/>
                  </a:ext>
                </a:extLst>
              </p:cNvPr>
              <p:cNvSpPr/>
              <p:nvPr/>
            </p:nvSpPr>
            <p:spPr>
              <a:xfrm rot="10800000">
                <a:off x="3808702" y="762865"/>
                <a:ext cx="169883" cy="248255"/>
              </a:xfrm>
              <a:custGeom>
                <a:avLst/>
                <a:gdLst>
                  <a:gd name="connsiteX0" fmla="*/ 338306 w 676611"/>
                  <a:gd name="connsiteY0" fmla="*/ 880536 h 880536"/>
                  <a:gd name="connsiteX1" fmla="*/ 37027 w 676611"/>
                  <a:gd name="connsiteY1" fmla="*/ 579257 h 880536"/>
                  <a:gd name="connsiteX2" fmla="*/ 39376 w 676611"/>
                  <a:gd name="connsiteY2" fmla="*/ 555956 h 880536"/>
                  <a:gd name="connsiteX3" fmla="*/ 0 w 676611"/>
                  <a:gd name="connsiteY3" fmla="*/ 555956 h 880536"/>
                  <a:gd name="connsiteX4" fmla="*/ 338306 w 676611"/>
                  <a:gd name="connsiteY4" fmla="*/ 0 h 880536"/>
                  <a:gd name="connsiteX5" fmla="*/ 676611 w 676611"/>
                  <a:gd name="connsiteY5" fmla="*/ 555956 h 880536"/>
                  <a:gd name="connsiteX6" fmla="*/ 637236 w 676611"/>
                  <a:gd name="connsiteY6" fmla="*/ 555956 h 880536"/>
                  <a:gd name="connsiteX7" fmla="*/ 639585 w 676611"/>
                  <a:gd name="connsiteY7" fmla="*/ 579257 h 880536"/>
                  <a:gd name="connsiteX8" fmla="*/ 338306 w 676611"/>
                  <a:gd name="connsiteY8" fmla="*/ 880536 h 880536"/>
                  <a:gd name="connsiteX0" fmla="*/ 338306 w 639585"/>
                  <a:gd name="connsiteY0" fmla="*/ 880536 h 880536"/>
                  <a:gd name="connsiteX1" fmla="*/ 37027 w 639585"/>
                  <a:gd name="connsiteY1" fmla="*/ 579257 h 880536"/>
                  <a:gd name="connsiteX2" fmla="*/ 39376 w 639585"/>
                  <a:gd name="connsiteY2" fmla="*/ 555956 h 880536"/>
                  <a:gd name="connsiteX3" fmla="*/ 0 w 639585"/>
                  <a:gd name="connsiteY3" fmla="*/ 555956 h 880536"/>
                  <a:gd name="connsiteX4" fmla="*/ 338306 w 639585"/>
                  <a:gd name="connsiteY4" fmla="*/ 0 h 880536"/>
                  <a:gd name="connsiteX5" fmla="*/ 637236 w 639585"/>
                  <a:gd name="connsiteY5" fmla="*/ 555956 h 880536"/>
                  <a:gd name="connsiteX6" fmla="*/ 639585 w 639585"/>
                  <a:gd name="connsiteY6" fmla="*/ 579257 h 880536"/>
                  <a:gd name="connsiteX7" fmla="*/ 338306 w 639585"/>
                  <a:gd name="connsiteY7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58" h="880536">
                    <a:moveTo>
                      <a:pt x="301279" y="880536"/>
                    </a:moveTo>
                    <a:cubicBezTo>
                      <a:pt x="134887" y="880536"/>
                      <a:pt x="0" y="745649"/>
                      <a:pt x="0" y="579257"/>
                    </a:cubicBezTo>
                    <a:lnTo>
                      <a:pt x="2349" y="555956"/>
                    </a:lnTo>
                    <a:cubicBezTo>
                      <a:pt x="3887" y="432947"/>
                      <a:pt x="187053" y="169410"/>
                      <a:pt x="301279" y="0"/>
                    </a:cubicBezTo>
                    <a:cubicBezTo>
                      <a:pt x="415505" y="172062"/>
                      <a:pt x="598672" y="436924"/>
                      <a:pt x="600209" y="555956"/>
                    </a:cubicBezTo>
                    <a:lnTo>
                      <a:pt x="602558" y="579257"/>
                    </a:lnTo>
                    <a:cubicBezTo>
                      <a:pt x="602558" y="745649"/>
                      <a:pt x="467671" y="880536"/>
                      <a:pt x="301279" y="880536"/>
                    </a:cubicBezTo>
                    <a:close/>
                  </a:path>
                </a:pathLst>
              </a:custGeom>
              <a:solidFill>
                <a:schemeClr val="bg1">
                  <a:alpha val="72000"/>
                </a:schemeClr>
              </a:solidFill>
              <a:ln w="635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16" name="Group 415">
                <a:extLst>
                  <a:ext uri="{FF2B5EF4-FFF2-40B4-BE49-F238E27FC236}">
                    <a16:creationId xmlns:a16="http://schemas.microsoft.com/office/drawing/2014/main" id="{130EF42F-BB49-4611-BB9A-BF04D0551507}"/>
                  </a:ext>
                </a:extLst>
              </p:cNvPr>
              <p:cNvGrpSpPr/>
              <p:nvPr/>
            </p:nvGrpSpPr>
            <p:grpSpPr>
              <a:xfrm>
                <a:off x="3810066" y="791227"/>
                <a:ext cx="165869" cy="125194"/>
                <a:chOff x="4382690" y="622576"/>
                <a:chExt cx="165869" cy="125194"/>
              </a:xfrm>
            </p:grpSpPr>
            <p:pic>
              <p:nvPicPr>
                <p:cNvPr id="417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0D204B0F-A942-4A4E-8C35-6AFC2E51A7B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66394"/>
                <a:stretch/>
              </p:blipFill>
              <p:spPr bwMode="auto">
                <a:xfrm>
                  <a:off x="4382690" y="622576"/>
                  <a:ext cx="107396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93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275BEC18-C971-4451-A11E-4BBA7DF9DB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0102" r="1419"/>
                <a:stretch/>
              </p:blipFill>
              <p:spPr bwMode="auto">
                <a:xfrm>
                  <a:off x="4489504" y="622576"/>
                  <a:ext cx="59055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26C44A9-A81D-4672-838F-0851D34044E4}"/>
              </a:ext>
            </a:extLst>
          </p:cNvPr>
          <p:cNvGrpSpPr/>
          <p:nvPr/>
        </p:nvGrpSpPr>
        <p:grpSpPr>
          <a:xfrm>
            <a:off x="9923306" y="3149105"/>
            <a:ext cx="226511" cy="363070"/>
            <a:chOff x="9960901" y="3213631"/>
            <a:chExt cx="226511" cy="363070"/>
          </a:xfrm>
        </p:grpSpPr>
        <p:sp>
          <p:nvSpPr>
            <p:cNvPr id="805" name="Oval 804">
              <a:extLst>
                <a:ext uri="{FF2B5EF4-FFF2-40B4-BE49-F238E27FC236}">
                  <a16:creationId xmlns:a16="http://schemas.microsoft.com/office/drawing/2014/main" id="{BC0C3316-DCEC-407D-826E-C9F16089A81A}"/>
                </a:ext>
              </a:extLst>
            </p:cNvPr>
            <p:cNvSpPr/>
            <p:nvPr/>
          </p:nvSpPr>
          <p:spPr>
            <a:xfrm>
              <a:off x="10043617" y="3514160"/>
              <a:ext cx="62541" cy="6254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94" name="Group 793">
              <a:extLst>
                <a:ext uri="{FF2B5EF4-FFF2-40B4-BE49-F238E27FC236}">
                  <a16:creationId xmlns:a16="http://schemas.microsoft.com/office/drawing/2014/main" id="{E7AF53A9-3DAD-4ADB-858B-642D0D2CD50A}"/>
                </a:ext>
              </a:extLst>
            </p:cNvPr>
            <p:cNvGrpSpPr/>
            <p:nvPr/>
          </p:nvGrpSpPr>
          <p:grpSpPr>
            <a:xfrm>
              <a:off x="9960901" y="3213631"/>
              <a:ext cx="226511" cy="331007"/>
              <a:chOff x="3808702" y="762865"/>
              <a:chExt cx="169883" cy="248255"/>
            </a:xfrm>
          </p:grpSpPr>
          <p:sp>
            <p:nvSpPr>
              <p:cNvPr id="795" name="Freeform 3">
                <a:extLst>
                  <a:ext uri="{FF2B5EF4-FFF2-40B4-BE49-F238E27FC236}">
                    <a16:creationId xmlns:a16="http://schemas.microsoft.com/office/drawing/2014/main" id="{FC07E50F-FF0C-42CF-BB25-F14BF97FCFCE}"/>
                  </a:ext>
                </a:extLst>
              </p:cNvPr>
              <p:cNvSpPr/>
              <p:nvPr/>
            </p:nvSpPr>
            <p:spPr>
              <a:xfrm rot="10800000">
                <a:off x="3808702" y="762865"/>
                <a:ext cx="169883" cy="248255"/>
              </a:xfrm>
              <a:custGeom>
                <a:avLst/>
                <a:gdLst>
                  <a:gd name="connsiteX0" fmla="*/ 338306 w 676611"/>
                  <a:gd name="connsiteY0" fmla="*/ 880536 h 880536"/>
                  <a:gd name="connsiteX1" fmla="*/ 37027 w 676611"/>
                  <a:gd name="connsiteY1" fmla="*/ 579257 h 880536"/>
                  <a:gd name="connsiteX2" fmla="*/ 39376 w 676611"/>
                  <a:gd name="connsiteY2" fmla="*/ 555956 h 880536"/>
                  <a:gd name="connsiteX3" fmla="*/ 0 w 676611"/>
                  <a:gd name="connsiteY3" fmla="*/ 555956 h 880536"/>
                  <a:gd name="connsiteX4" fmla="*/ 338306 w 676611"/>
                  <a:gd name="connsiteY4" fmla="*/ 0 h 880536"/>
                  <a:gd name="connsiteX5" fmla="*/ 676611 w 676611"/>
                  <a:gd name="connsiteY5" fmla="*/ 555956 h 880536"/>
                  <a:gd name="connsiteX6" fmla="*/ 637236 w 676611"/>
                  <a:gd name="connsiteY6" fmla="*/ 555956 h 880536"/>
                  <a:gd name="connsiteX7" fmla="*/ 639585 w 676611"/>
                  <a:gd name="connsiteY7" fmla="*/ 579257 h 880536"/>
                  <a:gd name="connsiteX8" fmla="*/ 338306 w 676611"/>
                  <a:gd name="connsiteY8" fmla="*/ 880536 h 880536"/>
                  <a:gd name="connsiteX0" fmla="*/ 338306 w 639585"/>
                  <a:gd name="connsiteY0" fmla="*/ 880536 h 880536"/>
                  <a:gd name="connsiteX1" fmla="*/ 37027 w 639585"/>
                  <a:gd name="connsiteY1" fmla="*/ 579257 h 880536"/>
                  <a:gd name="connsiteX2" fmla="*/ 39376 w 639585"/>
                  <a:gd name="connsiteY2" fmla="*/ 555956 h 880536"/>
                  <a:gd name="connsiteX3" fmla="*/ 0 w 639585"/>
                  <a:gd name="connsiteY3" fmla="*/ 555956 h 880536"/>
                  <a:gd name="connsiteX4" fmla="*/ 338306 w 639585"/>
                  <a:gd name="connsiteY4" fmla="*/ 0 h 880536"/>
                  <a:gd name="connsiteX5" fmla="*/ 637236 w 639585"/>
                  <a:gd name="connsiteY5" fmla="*/ 555956 h 880536"/>
                  <a:gd name="connsiteX6" fmla="*/ 639585 w 639585"/>
                  <a:gd name="connsiteY6" fmla="*/ 579257 h 880536"/>
                  <a:gd name="connsiteX7" fmla="*/ 338306 w 639585"/>
                  <a:gd name="connsiteY7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58" h="880536">
                    <a:moveTo>
                      <a:pt x="301279" y="880536"/>
                    </a:moveTo>
                    <a:cubicBezTo>
                      <a:pt x="134887" y="880536"/>
                      <a:pt x="0" y="745649"/>
                      <a:pt x="0" y="579257"/>
                    </a:cubicBezTo>
                    <a:lnTo>
                      <a:pt x="2349" y="555956"/>
                    </a:lnTo>
                    <a:cubicBezTo>
                      <a:pt x="3887" y="432947"/>
                      <a:pt x="187053" y="169410"/>
                      <a:pt x="301279" y="0"/>
                    </a:cubicBezTo>
                    <a:cubicBezTo>
                      <a:pt x="415505" y="172062"/>
                      <a:pt x="598672" y="436924"/>
                      <a:pt x="600209" y="555956"/>
                    </a:cubicBezTo>
                    <a:lnTo>
                      <a:pt x="602558" y="579257"/>
                    </a:lnTo>
                    <a:cubicBezTo>
                      <a:pt x="602558" y="745649"/>
                      <a:pt x="467671" y="880536"/>
                      <a:pt x="301279" y="880536"/>
                    </a:cubicBezTo>
                    <a:close/>
                  </a:path>
                </a:pathLst>
              </a:custGeom>
              <a:solidFill>
                <a:schemeClr val="bg1">
                  <a:alpha val="72000"/>
                </a:schemeClr>
              </a:solidFill>
              <a:ln w="635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796" name="Group 795">
                <a:extLst>
                  <a:ext uri="{FF2B5EF4-FFF2-40B4-BE49-F238E27FC236}">
                    <a16:creationId xmlns:a16="http://schemas.microsoft.com/office/drawing/2014/main" id="{44F4DDCF-FC7E-4329-855F-0987EC2625E9}"/>
                  </a:ext>
                </a:extLst>
              </p:cNvPr>
              <p:cNvGrpSpPr/>
              <p:nvPr/>
            </p:nvGrpSpPr>
            <p:grpSpPr>
              <a:xfrm>
                <a:off x="3810066" y="791227"/>
                <a:ext cx="165869" cy="125194"/>
                <a:chOff x="4382690" y="622576"/>
                <a:chExt cx="165869" cy="125194"/>
              </a:xfrm>
            </p:grpSpPr>
            <p:pic>
              <p:nvPicPr>
                <p:cNvPr id="797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0295A002-3C59-4744-BFD6-AECA9E4AD61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66394"/>
                <a:stretch/>
              </p:blipFill>
              <p:spPr bwMode="auto">
                <a:xfrm>
                  <a:off x="4382690" y="622576"/>
                  <a:ext cx="107396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98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CB53A776-6D31-44C8-9FB3-1130AD2AB31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0102" r="1419"/>
                <a:stretch/>
              </p:blipFill>
              <p:spPr bwMode="auto">
                <a:xfrm>
                  <a:off x="4489504" y="622576"/>
                  <a:ext cx="59055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067A5E-782A-47FC-BAE6-CCFB61F79FEE}"/>
              </a:ext>
            </a:extLst>
          </p:cNvPr>
          <p:cNvGrpSpPr/>
          <p:nvPr/>
        </p:nvGrpSpPr>
        <p:grpSpPr>
          <a:xfrm>
            <a:off x="9810051" y="3664053"/>
            <a:ext cx="226511" cy="359858"/>
            <a:chOff x="9933396" y="3727992"/>
            <a:chExt cx="226511" cy="359858"/>
          </a:xfrm>
        </p:grpSpPr>
        <p:sp>
          <p:nvSpPr>
            <p:cNvPr id="413" name="Oval 412">
              <a:extLst>
                <a:ext uri="{FF2B5EF4-FFF2-40B4-BE49-F238E27FC236}">
                  <a16:creationId xmlns:a16="http://schemas.microsoft.com/office/drawing/2014/main" id="{BC0C3316-DCEC-407D-826E-C9F16089A81A}"/>
                </a:ext>
              </a:extLst>
            </p:cNvPr>
            <p:cNvSpPr/>
            <p:nvPr/>
          </p:nvSpPr>
          <p:spPr>
            <a:xfrm>
              <a:off x="10019249" y="4025309"/>
              <a:ext cx="62541" cy="6254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BA64783C-1FD3-4C36-B698-9A133B746961}"/>
                </a:ext>
              </a:extLst>
            </p:cNvPr>
            <p:cNvGrpSpPr/>
            <p:nvPr/>
          </p:nvGrpSpPr>
          <p:grpSpPr>
            <a:xfrm>
              <a:off x="9933396" y="3727992"/>
              <a:ext cx="226511" cy="331007"/>
              <a:chOff x="3808702" y="762865"/>
              <a:chExt cx="169883" cy="248255"/>
            </a:xfrm>
          </p:grpSpPr>
          <p:sp>
            <p:nvSpPr>
              <p:cNvPr id="800" name="Freeform 3">
                <a:extLst>
                  <a:ext uri="{FF2B5EF4-FFF2-40B4-BE49-F238E27FC236}">
                    <a16:creationId xmlns:a16="http://schemas.microsoft.com/office/drawing/2014/main" id="{4DE71055-5CD0-4607-AC45-7E5332EF1160}"/>
                  </a:ext>
                </a:extLst>
              </p:cNvPr>
              <p:cNvSpPr/>
              <p:nvPr/>
            </p:nvSpPr>
            <p:spPr>
              <a:xfrm rot="10800000">
                <a:off x="3808702" y="762865"/>
                <a:ext cx="169883" cy="248255"/>
              </a:xfrm>
              <a:custGeom>
                <a:avLst/>
                <a:gdLst>
                  <a:gd name="connsiteX0" fmla="*/ 338306 w 676611"/>
                  <a:gd name="connsiteY0" fmla="*/ 880536 h 880536"/>
                  <a:gd name="connsiteX1" fmla="*/ 37027 w 676611"/>
                  <a:gd name="connsiteY1" fmla="*/ 579257 h 880536"/>
                  <a:gd name="connsiteX2" fmla="*/ 39376 w 676611"/>
                  <a:gd name="connsiteY2" fmla="*/ 555956 h 880536"/>
                  <a:gd name="connsiteX3" fmla="*/ 0 w 676611"/>
                  <a:gd name="connsiteY3" fmla="*/ 555956 h 880536"/>
                  <a:gd name="connsiteX4" fmla="*/ 338306 w 676611"/>
                  <a:gd name="connsiteY4" fmla="*/ 0 h 880536"/>
                  <a:gd name="connsiteX5" fmla="*/ 676611 w 676611"/>
                  <a:gd name="connsiteY5" fmla="*/ 555956 h 880536"/>
                  <a:gd name="connsiteX6" fmla="*/ 637236 w 676611"/>
                  <a:gd name="connsiteY6" fmla="*/ 555956 h 880536"/>
                  <a:gd name="connsiteX7" fmla="*/ 639585 w 676611"/>
                  <a:gd name="connsiteY7" fmla="*/ 579257 h 880536"/>
                  <a:gd name="connsiteX8" fmla="*/ 338306 w 676611"/>
                  <a:gd name="connsiteY8" fmla="*/ 880536 h 880536"/>
                  <a:gd name="connsiteX0" fmla="*/ 338306 w 639585"/>
                  <a:gd name="connsiteY0" fmla="*/ 880536 h 880536"/>
                  <a:gd name="connsiteX1" fmla="*/ 37027 w 639585"/>
                  <a:gd name="connsiteY1" fmla="*/ 579257 h 880536"/>
                  <a:gd name="connsiteX2" fmla="*/ 39376 w 639585"/>
                  <a:gd name="connsiteY2" fmla="*/ 555956 h 880536"/>
                  <a:gd name="connsiteX3" fmla="*/ 0 w 639585"/>
                  <a:gd name="connsiteY3" fmla="*/ 555956 h 880536"/>
                  <a:gd name="connsiteX4" fmla="*/ 338306 w 639585"/>
                  <a:gd name="connsiteY4" fmla="*/ 0 h 880536"/>
                  <a:gd name="connsiteX5" fmla="*/ 637236 w 639585"/>
                  <a:gd name="connsiteY5" fmla="*/ 555956 h 880536"/>
                  <a:gd name="connsiteX6" fmla="*/ 639585 w 639585"/>
                  <a:gd name="connsiteY6" fmla="*/ 579257 h 880536"/>
                  <a:gd name="connsiteX7" fmla="*/ 338306 w 639585"/>
                  <a:gd name="connsiteY7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58" h="880536">
                    <a:moveTo>
                      <a:pt x="301279" y="880536"/>
                    </a:moveTo>
                    <a:cubicBezTo>
                      <a:pt x="134887" y="880536"/>
                      <a:pt x="0" y="745649"/>
                      <a:pt x="0" y="579257"/>
                    </a:cubicBezTo>
                    <a:lnTo>
                      <a:pt x="2349" y="555956"/>
                    </a:lnTo>
                    <a:cubicBezTo>
                      <a:pt x="3887" y="432947"/>
                      <a:pt x="187053" y="169410"/>
                      <a:pt x="301279" y="0"/>
                    </a:cubicBezTo>
                    <a:cubicBezTo>
                      <a:pt x="415505" y="172062"/>
                      <a:pt x="598672" y="436924"/>
                      <a:pt x="600209" y="555956"/>
                    </a:cubicBezTo>
                    <a:lnTo>
                      <a:pt x="602558" y="579257"/>
                    </a:lnTo>
                    <a:cubicBezTo>
                      <a:pt x="602558" y="745649"/>
                      <a:pt x="467671" y="880536"/>
                      <a:pt x="301279" y="880536"/>
                    </a:cubicBezTo>
                    <a:close/>
                  </a:path>
                </a:pathLst>
              </a:custGeom>
              <a:solidFill>
                <a:schemeClr val="bg1">
                  <a:alpha val="72000"/>
                </a:schemeClr>
              </a:solidFill>
              <a:ln w="635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01" name="Group 800">
                <a:extLst>
                  <a:ext uri="{FF2B5EF4-FFF2-40B4-BE49-F238E27FC236}">
                    <a16:creationId xmlns:a16="http://schemas.microsoft.com/office/drawing/2014/main" id="{B0B43880-E40E-4AEE-9888-E7CD18F29399}"/>
                  </a:ext>
                </a:extLst>
              </p:cNvPr>
              <p:cNvGrpSpPr/>
              <p:nvPr/>
            </p:nvGrpSpPr>
            <p:grpSpPr>
              <a:xfrm>
                <a:off x="3810066" y="791227"/>
                <a:ext cx="165869" cy="125194"/>
                <a:chOff x="4382690" y="622576"/>
                <a:chExt cx="165869" cy="125194"/>
              </a:xfrm>
            </p:grpSpPr>
            <p:pic>
              <p:nvPicPr>
                <p:cNvPr id="802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FCC0B6A1-6D98-4418-85F1-AD92938CD76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66394"/>
                <a:stretch/>
              </p:blipFill>
              <p:spPr bwMode="auto">
                <a:xfrm>
                  <a:off x="4382690" y="622576"/>
                  <a:ext cx="107396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09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226D497D-ACE2-4F82-B6DB-099CFB7C9D6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0102" r="1419"/>
                <a:stretch/>
              </p:blipFill>
              <p:spPr bwMode="auto">
                <a:xfrm>
                  <a:off x="4489504" y="622576"/>
                  <a:ext cx="59055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788" name="Oval 787">
            <a:extLst>
              <a:ext uri="{FF2B5EF4-FFF2-40B4-BE49-F238E27FC236}">
                <a16:creationId xmlns:a16="http://schemas.microsoft.com/office/drawing/2014/main" id="{5F98DAC8-F731-43D1-A5F8-375E6E46F066}"/>
              </a:ext>
            </a:extLst>
          </p:cNvPr>
          <p:cNvSpPr/>
          <p:nvPr/>
        </p:nvSpPr>
        <p:spPr>
          <a:xfrm>
            <a:off x="9959891" y="2294162"/>
            <a:ext cx="62541" cy="62541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789" name="Group 788">
            <a:extLst>
              <a:ext uri="{FF2B5EF4-FFF2-40B4-BE49-F238E27FC236}">
                <a16:creationId xmlns:a16="http://schemas.microsoft.com/office/drawing/2014/main" id="{D2756501-38A9-412E-80E0-E92819E9369F}"/>
              </a:ext>
            </a:extLst>
          </p:cNvPr>
          <p:cNvGrpSpPr/>
          <p:nvPr/>
        </p:nvGrpSpPr>
        <p:grpSpPr>
          <a:xfrm>
            <a:off x="9877176" y="1993633"/>
            <a:ext cx="226511" cy="331007"/>
            <a:chOff x="3808702" y="762865"/>
            <a:chExt cx="169883" cy="248255"/>
          </a:xfrm>
        </p:grpSpPr>
        <p:sp>
          <p:nvSpPr>
            <p:cNvPr id="790" name="Freeform 3">
              <a:extLst>
                <a:ext uri="{FF2B5EF4-FFF2-40B4-BE49-F238E27FC236}">
                  <a16:creationId xmlns:a16="http://schemas.microsoft.com/office/drawing/2014/main" id="{C92C8C9D-CA9B-437C-8267-32C7CA354F6F}"/>
                </a:ext>
              </a:extLst>
            </p:cNvPr>
            <p:cNvSpPr/>
            <p:nvPr/>
          </p:nvSpPr>
          <p:spPr>
            <a:xfrm rot="10800000">
              <a:off x="3808702" y="762865"/>
              <a:ext cx="169883" cy="248255"/>
            </a:xfrm>
            <a:custGeom>
              <a:avLst/>
              <a:gdLst>
                <a:gd name="connsiteX0" fmla="*/ 338306 w 676611"/>
                <a:gd name="connsiteY0" fmla="*/ 880536 h 880536"/>
                <a:gd name="connsiteX1" fmla="*/ 37027 w 676611"/>
                <a:gd name="connsiteY1" fmla="*/ 579257 h 880536"/>
                <a:gd name="connsiteX2" fmla="*/ 39376 w 676611"/>
                <a:gd name="connsiteY2" fmla="*/ 555956 h 880536"/>
                <a:gd name="connsiteX3" fmla="*/ 0 w 676611"/>
                <a:gd name="connsiteY3" fmla="*/ 555956 h 880536"/>
                <a:gd name="connsiteX4" fmla="*/ 338306 w 676611"/>
                <a:gd name="connsiteY4" fmla="*/ 0 h 880536"/>
                <a:gd name="connsiteX5" fmla="*/ 676611 w 676611"/>
                <a:gd name="connsiteY5" fmla="*/ 555956 h 880536"/>
                <a:gd name="connsiteX6" fmla="*/ 637236 w 676611"/>
                <a:gd name="connsiteY6" fmla="*/ 555956 h 880536"/>
                <a:gd name="connsiteX7" fmla="*/ 639585 w 676611"/>
                <a:gd name="connsiteY7" fmla="*/ 579257 h 880536"/>
                <a:gd name="connsiteX8" fmla="*/ 338306 w 676611"/>
                <a:gd name="connsiteY8" fmla="*/ 880536 h 880536"/>
                <a:gd name="connsiteX0" fmla="*/ 338306 w 639585"/>
                <a:gd name="connsiteY0" fmla="*/ 880536 h 880536"/>
                <a:gd name="connsiteX1" fmla="*/ 37027 w 639585"/>
                <a:gd name="connsiteY1" fmla="*/ 579257 h 880536"/>
                <a:gd name="connsiteX2" fmla="*/ 39376 w 639585"/>
                <a:gd name="connsiteY2" fmla="*/ 555956 h 880536"/>
                <a:gd name="connsiteX3" fmla="*/ 0 w 639585"/>
                <a:gd name="connsiteY3" fmla="*/ 555956 h 880536"/>
                <a:gd name="connsiteX4" fmla="*/ 338306 w 639585"/>
                <a:gd name="connsiteY4" fmla="*/ 0 h 880536"/>
                <a:gd name="connsiteX5" fmla="*/ 637236 w 639585"/>
                <a:gd name="connsiteY5" fmla="*/ 555956 h 880536"/>
                <a:gd name="connsiteX6" fmla="*/ 639585 w 639585"/>
                <a:gd name="connsiteY6" fmla="*/ 579257 h 880536"/>
                <a:gd name="connsiteX7" fmla="*/ 338306 w 639585"/>
                <a:gd name="connsiteY7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  <a:gd name="connsiteX0" fmla="*/ 301279 w 602558"/>
                <a:gd name="connsiteY0" fmla="*/ 880536 h 880536"/>
                <a:gd name="connsiteX1" fmla="*/ 0 w 602558"/>
                <a:gd name="connsiteY1" fmla="*/ 579257 h 880536"/>
                <a:gd name="connsiteX2" fmla="*/ 2349 w 602558"/>
                <a:gd name="connsiteY2" fmla="*/ 555956 h 880536"/>
                <a:gd name="connsiteX3" fmla="*/ 301279 w 602558"/>
                <a:gd name="connsiteY3" fmla="*/ 0 h 880536"/>
                <a:gd name="connsiteX4" fmla="*/ 600209 w 602558"/>
                <a:gd name="connsiteY4" fmla="*/ 555956 h 880536"/>
                <a:gd name="connsiteX5" fmla="*/ 602558 w 602558"/>
                <a:gd name="connsiteY5" fmla="*/ 579257 h 880536"/>
                <a:gd name="connsiteX6" fmla="*/ 301279 w 602558"/>
                <a:gd name="connsiteY6" fmla="*/ 880536 h 880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2558" h="880536">
                  <a:moveTo>
                    <a:pt x="301279" y="880536"/>
                  </a:moveTo>
                  <a:cubicBezTo>
                    <a:pt x="134887" y="880536"/>
                    <a:pt x="0" y="745649"/>
                    <a:pt x="0" y="579257"/>
                  </a:cubicBezTo>
                  <a:lnTo>
                    <a:pt x="2349" y="555956"/>
                  </a:lnTo>
                  <a:cubicBezTo>
                    <a:pt x="3887" y="432947"/>
                    <a:pt x="187053" y="169410"/>
                    <a:pt x="301279" y="0"/>
                  </a:cubicBezTo>
                  <a:cubicBezTo>
                    <a:pt x="415505" y="172062"/>
                    <a:pt x="598672" y="436924"/>
                    <a:pt x="600209" y="555956"/>
                  </a:cubicBezTo>
                  <a:lnTo>
                    <a:pt x="602558" y="579257"/>
                  </a:lnTo>
                  <a:cubicBezTo>
                    <a:pt x="602558" y="745649"/>
                    <a:pt x="467671" y="880536"/>
                    <a:pt x="301279" y="880536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635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91" name="Group 790">
              <a:extLst>
                <a:ext uri="{FF2B5EF4-FFF2-40B4-BE49-F238E27FC236}">
                  <a16:creationId xmlns:a16="http://schemas.microsoft.com/office/drawing/2014/main" id="{1CE7585B-E1ED-4486-BFD6-AAE6AE25EEC3}"/>
                </a:ext>
              </a:extLst>
            </p:cNvPr>
            <p:cNvGrpSpPr/>
            <p:nvPr/>
          </p:nvGrpSpPr>
          <p:grpSpPr>
            <a:xfrm>
              <a:off x="3810066" y="791227"/>
              <a:ext cx="165869" cy="125194"/>
              <a:chOff x="4382690" y="622576"/>
              <a:chExt cx="165869" cy="125194"/>
            </a:xfrm>
          </p:grpSpPr>
          <p:pic>
            <p:nvPicPr>
              <p:cNvPr id="827" name="Picture 2" descr="Image result for download epam logo transparent">
                <a:extLst>
                  <a:ext uri="{FF2B5EF4-FFF2-40B4-BE49-F238E27FC236}">
                    <a16:creationId xmlns:a16="http://schemas.microsoft.com/office/drawing/2014/main" id="{2EBF05B1-46E7-473A-9D27-E478FCAC76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6394"/>
              <a:stretch/>
            </p:blipFill>
            <p:spPr bwMode="auto">
              <a:xfrm>
                <a:off x="4382690" y="622576"/>
                <a:ext cx="107396" cy="1251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29" name="Picture 2" descr="Image result for download epam logo transparent">
                <a:extLst>
                  <a:ext uri="{FF2B5EF4-FFF2-40B4-BE49-F238E27FC236}">
                    <a16:creationId xmlns:a16="http://schemas.microsoft.com/office/drawing/2014/main" id="{403A2701-9242-42AE-BDE9-CECB6A38816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0102" r="1419"/>
              <a:stretch/>
            </p:blipFill>
            <p:spPr bwMode="auto">
              <a:xfrm>
                <a:off x="4489504" y="622576"/>
                <a:ext cx="59055" cy="1251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612F5C-B661-46C3-AE3E-6D38A98FE020}"/>
              </a:ext>
            </a:extLst>
          </p:cNvPr>
          <p:cNvGrpSpPr/>
          <p:nvPr/>
        </p:nvGrpSpPr>
        <p:grpSpPr>
          <a:xfrm>
            <a:off x="10046887" y="3697606"/>
            <a:ext cx="226511" cy="362277"/>
            <a:chOff x="10155558" y="3690134"/>
            <a:chExt cx="226511" cy="362277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B223D76-D6AD-4E1D-A455-4DCC46681022}"/>
                </a:ext>
              </a:extLst>
            </p:cNvPr>
            <p:cNvGrpSpPr/>
            <p:nvPr/>
          </p:nvGrpSpPr>
          <p:grpSpPr>
            <a:xfrm>
              <a:off x="10155558" y="3690134"/>
              <a:ext cx="226511" cy="331007"/>
              <a:chOff x="3808702" y="762865"/>
              <a:chExt cx="169883" cy="248255"/>
            </a:xfrm>
          </p:grpSpPr>
          <p:sp>
            <p:nvSpPr>
              <p:cNvPr id="71" name="Freeform 3">
                <a:extLst>
                  <a:ext uri="{FF2B5EF4-FFF2-40B4-BE49-F238E27FC236}">
                    <a16:creationId xmlns:a16="http://schemas.microsoft.com/office/drawing/2014/main" id="{4E50DA8E-7197-4715-AF6E-30701F0DE64F}"/>
                  </a:ext>
                </a:extLst>
              </p:cNvPr>
              <p:cNvSpPr/>
              <p:nvPr/>
            </p:nvSpPr>
            <p:spPr>
              <a:xfrm rot="10800000">
                <a:off x="3808702" y="762865"/>
                <a:ext cx="169883" cy="248255"/>
              </a:xfrm>
              <a:custGeom>
                <a:avLst/>
                <a:gdLst>
                  <a:gd name="connsiteX0" fmla="*/ 338306 w 676611"/>
                  <a:gd name="connsiteY0" fmla="*/ 880536 h 880536"/>
                  <a:gd name="connsiteX1" fmla="*/ 37027 w 676611"/>
                  <a:gd name="connsiteY1" fmla="*/ 579257 h 880536"/>
                  <a:gd name="connsiteX2" fmla="*/ 39376 w 676611"/>
                  <a:gd name="connsiteY2" fmla="*/ 555956 h 880536"/>
                  <a:gd name="connsiteX3" fmla="*/ 0 w 676611"/>
                  <a:gd name="connsiteY3" fmla="*/ 555956 h 880536"/>
                  <a:gd name="connsiteX4" fmla="*/ 338306 w 676611"/>
                  <a:gd name="connsiteY4" fmla="*/ 0 h 880536"/>
                  <a:gd name="connsiteX5" fmla="*/ 676611 w 676611"/>
                  <a:gd name="connsiteY5" fmla="*/ 555956 h 880536"/>
                  <a:gd name="connsiteX6" fmla="*/ 637236 w 676611"/>
                  <a:gd name="connsiteY6" fmla="*/ 555956 h 880536"/>
                  <a:gd name="connsiteX7" fmla="*/ 639585 w 676611"/>
                  <a:gd name="connsiteY7" fmla="*/ 579257 h 880536"/>
                  <a:gd name="connsiteX8" fmla="*/ 338306 w 676611"/>
                  <a:gd name="connsiteY8" fmla="*/ 880536 h 880536"/>
                  <a:gd name="connsiteX0" fmla="*/ 338306 w 639585"/>
                  <a:gd name="connsiteY0" fmla="*/ 880536 h 880536"/>
                  <a:gd name="connsiteX1" fmla="*/ 37027 w 639585"/>
                  <a:gd name="connsiteY1" fmla="*/ 579257 h 880536"/>
                  <a:gd name="connsiteX2" fmla="*/ 39376 w 639585"/>
                  <a:gd name="connsiteY2" fmla="*/ 555956 h 880536"/>
                  <a:gd name="connsiteX3" fmla="*/ 0 w 639585"/>
                  <a:gd name="connsiteY3" fmla="*/ 555956 h 880536"/>
                  <a:gd name="connsiteX4" fmla="*/ 338306 w 639585"/>
                  <a:gd name="connsiteY4" fmla="*/ 0 h 880536"/>
                  <a:gd name="connsiteX5" fmla="*/ 637236 w 639585"/>
                  <a:gd name="connsiteY5" fmla="*/ 555956 h 880536"/>
                  <a:gd name="connsiteX6" fmla="*/ 639585 w 639585"/>
                  <a:gd name="connsiteY6" fmla="*/ 579257 h 880536"/>
                  <a:gd name="connsiteX7" fmla="*/ 338306 w 639585"/>
                  <a:gd name="connsiteY7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  <a:gd name="connsiteX0" fmla="*/ 301279 w 602558"/>
                  <a:gd name="connsiteY0" fmla="*/ 880536 h 880536"/>
                  <a:gd name="connsiteX1" fmla="*/ 0 w 602558"/>
                  <a:gd name="connsiteY1" fmla="*/ 579257 h 880536"/>
                  <a:gd name="connsiteX2" fmla="*/ 2349 w 602558"/>
                  <a:gd name="connsiteY2" fmla="*/ 555956 h 880536"/>
                  <a:gd name="connsiteX3" fmla="*/ 301279 w 602558"/>
                  <a:gd name="connsiteY3" fmla="*/ 0 h 880536"/>
                  <a:gd name="connsiteX4" fmla="*/ 600209 w 602558"/>
                  <a:gd name="connsiteY4" fmla="*/ 555956 h 880536"/>
                  <a:gd name="connsiteX5" fmla="*/ 602558 w 602558"/>
                  <a:gd name="connsiteY5" fmla="*/ 579257 h 880536"/>
                  <a:gd name="connsiteX6" fmla="*/ 301279 w 602558"/>
                  <a:gd name="connsiteY6" fmla="*/ 880536 h 88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2558" h="880536">
                    <a:moveTo>
                      <a:pt x="301279" y="880536"/>
                    </a:moveTo>
                    <a:cubicBezTo>
                      <a:pt x="134887" y="880536"/>
                      <a:pt x="0" y="745649"/>
                      <a:pt x="0" y="579257"/>
                    </a:cubicBezTo>
                    <a:lnTo>
                      <a:pt x="2349" y="555956"/>
                    </a:lnTo>
                    <a:cubicBezTo>
                      <a:pt x="3887" y="432947"/>
                      <a:pt x="187053" y="169410"/>
                      <a:pt x="301279" y="0"/>
                    </a:cubicBezTo>
                    <a:cubicBezTo>
                      <a:pt x="415505" y="172062"/>
                      <a:pt x="598672" y="436924"/>
                      <a:pt x="600209" y="555956"/>
                    </a:cubicBezTo>
                    <a:lnTo>
                      <a:pt x="602558" y="579257"/>
                    </a:lnTo>
                    <a:cubicBezTo>
                      <a:pt x="602558" y="745649"/>
                      <a:pt x="467671" y="880536"/>
                      <a:pt x="301279" y="880536"/>
                    </a:cubicBezTo>
                    <a:close/>
                  </a:path>
                </a:pathLst>
              </a:custGeom>
              <a:solidFill>
                <a:schemeClr val="bg1">
                  <a:alpha val="72000"/>
                </a:schemeClr>
              </a:solidFill>
              <a:ln w="635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19E66C1C-A4D1-4EE8-A629-8089AFD05230}"/>
                  </a:ext>
                </a:extLst>
              </p:cNvPr>
              <p:cNvGrpSpPr/>
              <p:nvPr/>
            </p:nvGrpSpPr>
            <p:grpSpPr>
              <a:xfrm>
                <a:off x="3810066" y="791227"/>
                <a:ext cx="165869" cy="125194"/>
                <a:chOff x="4382690" y="622576"/>
                <a:chExt cx="165869" cy="125194"/>
              </a:xfrm>
            </p:grpSpPr>
            <p:pic>
              <p:nvPicPr>
                <p:cNvPr id="73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54B3D3DF-473F-4E04-9936-92C72EFE858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66394"/>
                <a:stretch/>
              </p:blipFill>
              <p:spPr bwMode="auto">
                <a:xfrm>
                  <a:off x="4382690" y="622576"/>
                  <a:ext cx="107396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4" name="Picture 2" descr="Image result for download epam logo transparent">
                  <a:extLst>
                    <a:ext uri="{FF2B5EF4-FFF2-40B4-BE49-F238E27FC236}">
                      <a16:creationId xmlns:a16="http://schemas.microsoft.com/office/drawing/2014/main" id="{C8D27981-D53F-44AA-B81D-8E0C67BC92C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0102" r="1419"/>
                <a:stretch/>
              </p:blipFill>
              <p:spPr bwMode="auto">
                <a:xfrm>
                  <a:off x="4489504" y="622576"/>
                  <a:ext cx="59055" cy="12519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B7F83ABE-4E57-489F-9372-2E9ED84E5BFA}"/>
                </a:ext>
              </a:extLst>
            </p:cNvPr>
            <p:cNvSpPr/>
            <p:nvPr/>
          </p:nvSpPr>
          <p:spPr>
            <a:xfrm>
              <a:off x="10235369" y="3989870"/>
              <a:ext cx="62541" cy="6254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73" name="Rectangle 272">
            <a:extLst>
              <a:ext uri="{FF2B5EF4-FFF2-40B4-BE49-F238E27FC236}">
                <a16:creationId xmlns:a16="http://schemas.microsoft.com/office/drawing/2014/main" id="{14819DA7-0517-4CC2-8FC1-90966FA6066A}"/>
              </a:ext>
            </a:extLst>
          </p:cNvPr>
          <p:cNvSpPr/>
          <p:nvPr/>
        </p:nvSpPr>
        <p:spPr>
          <a:xfrm>
            <a:off x="10085628" y="2405065"/>
            <a:ext cx="579076" cy="169277"/>
          </a:xfrm>
          <a:prstGeom prst="rect">
            <a:avLst/>
          </a:prstGeom>
          <a:solidFill>
            <a:srgbClr val="4454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55</a:t>
            </a: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FTE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ED85584C-C69E-4539-8E50-B93173B5C02C}"/>
              </a:ext>
            </a:extLst>
          </p:cNvPr>
          <p:cNvSpPr/>
          <p:nvPr/>
        </p:nvSpPr>
        <p:spPr>
          <a:xfrm>
            <a:off x="10160142" y="3499366"/>
            <a:ext cx="690760" cy="169277"/>
          </a:xfrm>
          <a:prstGeom prst="rect">
            <a:avLst/>
          </a:prstGeom>
          <a:solidFill>
            <a:srgbClr val="4454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,95</a:t>
            </a: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FTE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D7B1690E-47DD-4863-B693-2D6373D5C469}"/>
              </a:ext>
            </a:extLst>
          </p:cNvPr>
          <p:cNvSpPr/>
          <p:nvPr/>
        </p:nvSpPr>
        <p:spPr>
          <a:xfrm>
            <a:off x="8962598" y="3534027"/>
            <a:ext cx="690760" cy="169277"/>
          </a:xfrm>
          <a:prstGeom prst="rect">
            <a:avLst/>
          </a:prstGeom>
          <a:solidFill>
            <a:srgbClr val="4454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,20</a:t>
            </a: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FTE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82B9A811-2F9A-4CC0-A26B-F72C62513184}"/>
              </a:ext>
            </a:extLst>
          </p:cNvPr>
          <p:cNvSpPr/>
          <p:nvPr/>
        </p:nvSpPr>
        <p:spPr>
          <a:xfrm>
            <a:off x="9367282" y="4200211"/>
            <a:ext cx="578181" cy="169277"/>
          </a:xfrm>
          <a:prstGeom prst="rect">
            <a:avLst/>
          </a:prstGeom>
          <a:solidFill>
            <a:srgbClr val="4454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5</a:t>
            </a:r>
            <a:r>
              <a:rPr kumimoji="0" lang="pl-PL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FTE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553A4046-7313-4B7C-9561-3A6A5161E3D0}"/>
              </a:ext>
            </a:extLst>
          </p:cNvPr>
          <p:cNvSpPr/>
          <p:nvPr/>
        </p:nvSpPr>
        <p:spPr>
          <a:xfrm>
            <a:off x="10235419" y="4154473"/>
            <a:ext cx="575970" cy="169277"/>
          </a:xfrm>
          <a:prstGeom prst="rect">
            <a:avLst/>
          </a:prstGeom>
          <a:solidFill>
            <a:srgbClr val="44546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50</a:t>
            </a: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FTE</a:t>
            </a:r>
          </a:p>
        </p:txBody>
      </p:sp>
      <p:pic>
        <p:nvPicPr>
          <p:cNvPr id="278" name="Picture 6">
            <a:extLst>
              <a:ext uri="{FF2B5EF4-FFF2-40B4-BE49-F238E27FC236}">
                <a16:creationId xmlns:a16="http://schemas.microsoft.com/office/drawing/2014/main" id="{BB3129C9-E02F-4B31-95FA-93D8F63E1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8421" y="1498345"/>
            <a:ext cx="555688" cy="930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45">
            <a:extLst>
              <a:ext uri="{FF2B5EF4-FFF2-40B4-BE49-F238E27FC236}">
                <a16:creationId xmlns:a16="http://schemas.microsoft.com/office/drawing/2014/main" id="{D7DFAA20-4058-EA8C-1298-C4DF0FE7D20A}"/>
              </a:ext>
            </a:extLst>
          </p:cNvPr>
          <p:cNvSpPr txBox="1">
            <a:spLocks/>
          </p:cNvSpPr>
          <p:nvPr/>
        </p:nvSpPr>
        <p:spPr>
          <a:xfrm>
            <a:off x="5509798" y="3171149"/>
            <a:ext cx="1921631" cy="1313180"/>
          </a:xfrm>
          <a:prstGeom prst="rect">
            <a:avLst/>
          </a:prstGeom>
        </p:spPr>
        <p:txBody>
          <a:bodyPr wrap="square" lIns="0" tIns="45720" rIns="0" bIns="45720" anchor="t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Trebuchet MS"/>
                <a:ea typeface="+mn-ea"/>
                <a:cs typeface="Trebuchet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Differentiators: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Startup culture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Engineering Excellence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Agile</a:t>
            </a:r>
          </a:p>
          <a:p>
            <a:pPr marL="285750" marR="0" lvl="1" indent="-28575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39C2D7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</a:rPr>
              <a:t>Smart Hirin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F81E5BC-18F7-F82F-488D-C480FD341D87}"/>
              </a:ext>
            </a:extLst>
          </p:cNvPr>
          <p:cNvGrpSpPr/>
          <p:nvPr/>
        </p:nvGrpSpPr>
        <p:grpSpPr>
          <a:xfrm>
            <a:off x="3406036" y="1552064"/>
            <a:ext cx="1981200" cy="847756"/>
            <a:chOff x="360069" y="1210159"/>
            <a:chExt cx="1485900" cy="63581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066222-5DAD-AE81-3150-4918305745AB}"/>
                </a:ext>
              </a:extLst>
            </p:cNvPr>
            <p:cNvSpPr txBox="1"/>
            <p:nvPr/>
          </p:nvSpPr>
          <p:spPr>
            <a:xfrm>
              <a:off x="382929" y="1210159"/>
              <a:ext cx="1463040" cy="307825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50" b="1" i="0" u="none" strike="noStrike" kern="800" cap="none" spc="133" normalizeH="0" baseline="0" noProof="0">
                  <a:ln>
                    <a:noFill/>
                  </a:ln>
                  <a:solidFill>
                    <a:srgbClr val="39C2D7"/>
                  </a:solidFill>
                  <a:effectLst/>
                  <a:uLnTx/>
                  <a:uFillTx/>
                  <a:latin typeface="Calibri"/>
                  <a:ea typeface="+mn-ea"/>
                  <a:cs typeface="Calibri Light"/>
                </a:rPr>
                <a:t>900+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E6D26E5-6555-BA15-CC40-41831791C60D}"/>
                </a:ext>
              </a:extLst>
            </p:cNvPr>
            <p:cNvSpPr txBox="1"/>
            <p:nvPr/>
          </p:nvSpPr>
          <p:spPr>
            <a:xfrm>
              <a:off x="360069" y="1469046"/>
              <a:ext cx="1463040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Active </a:t>
              </a:r>
              <a:b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</a:b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Project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A6DE7AD-AD1D-A7EA-3982-9E54EA2E1570}"/>
              </a:ext>
            </a:extLst>
          </p:cNvPr>
          <p:cNvGrpSpPr/>
          <p:nvPr/>
        </p:nvGrpSpPr>
        <p:grpSpPr>
          <a:xfrm>
            <a:off x="4689392" y="1552064"/>
            <a:ext cx="1950720" cy="847756"/>
            <a:chOff x="360069" y="1210159"/>
            <a:chExt cx="1463040" cy="63581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4E7D94A-08E3-D4E6-5557-EA7EFBBA63DE}"/>
                </a:ext>
              </a:extLst>
            </p:cNvPr>
            <p:cNvSpPr txBox="1"/>
            <p:nvPr/>
          </p:nvSpPr>
          <p:spPr>
            <a:xfrm>
              <a:off x="360069" y="1210159"/>
              <a:ext cx="1463040" cy="307825"/>
            </a:xfrm>
            <a:prstGeom prst="rect">
              <a:avLst/>
            </a:prstGeom>
            <a:noFill/>
          </p:spPr>
          <p:txBody>
            <a:bodyPr wrap="square" lIns="91440" tIns="0" rIns="91440" bIns="0" rtlCol="0" anchor="t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50" b="1" i="0" u="none" strike="noStrike" kern="800" cap="none" spc="133" normalizeH="0" baseline="0" noProof="0">
                  <a:ln>
                    <a:noFill/>
                  </a:ln>
                  <a:solidFill>
                    <a:srgbClr val="39C2D7"/>
                  </a:solidFill>
                  <a:effectLst/>
                  <a:uLnTx/>
                  <a:uFillTx/>
                  <a:latin typeface="Calibri"/>
                  <a:ea typeface="+mn-ea"/>
                  <a:cs typeface="Calibri Light"/>
                </a:rPr>
                <a:t>50+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0F5811-6048-065E-27D6-5D46ED2D14AA}"/>
                </a:ext>
              </a:extLst>
            </p:cNvPr>
            <p:cNvSpPr txBox="1"/>
            <p:nvPr/>
          </p:nvSpPr>
          <p:spPr>
            <a:xfrm>
              <a:off x="360069" y="1469046"/>
              <a:ext cx="1463040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Net Promoter</a:t>
              </a:r>
            </a:p>
            <a:p>
              <a:pPr marL="0" marR="0" lvl="0" indent="0" algn="ctr" defTabSz="457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800" cap="none" spc="133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Arial Black"/>
                </a:rPr>
                <a:t>Scor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6B82D1FB-F0BE-1614-4699-13A8A7EEF3B2}"/>
              </a:ext>
            </a:extLst>
          </p:cNvPr>
          <p:cNvSpPr txBox="1"/>
          <p:nvPr/>
        </p:nvSpPr>
        <p:spPr>
          <a:xfrm>
            <a:off x="483864" y="5242435"/>
            <a:ext cx="6840053" cy="369332"/>
          </a:xfrm>
          <a:prstGeom prst="rect">
            <a:avLst/>
          </a:prstGeom>
          <a:solidFill>
            <a:schemeClr val="bg1"/>
          </a:solidFill>
          <a:effectLst>
            <a:outerShdw dist="12700" dir="16200000" rotWithShape="0">
              <a:schemeClr val="accent2"/>
            </a:outerShdw>
          </a:effectLst>
        </p:spPr>
        <p:txBody>
          <a:bodyPr wrap="square" lIns="0" tIns="121920" rIns="0" bIns="0" rtlCol="0" anchor="t" anchorCtr="0">
            <a:spAutoFit/>
          </a:bodyPr>
          <a:lstStyle>
            <a:defPPr>
              <a:defRPr lang="en-US"/>
            </a:defPPr>
            <a:lvl1pPr>
              <a:defRPr sz="1200" b="1" cap="all" spc="75">
                <a:solidFill>
                  <a:schemeClr val="accent2"/>
                </a:solidFill>
                <a:cs typeface="Trebuchet M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100" normalizeH="0" baseline="0" noProof="0" dirty="0">
                <a:ln>
                  <a:noFill/>
                </a:ln>
                <a:solidFill>
                  <a:srgbClr val="39C2D7"/>
                </a:solidFill>
                <a:effectLst/>
                <a:uLnTx/>
                <a:uFillTx/>
                <a:latin typeface="Calibri"/>
                <a:ea typeface="+mn-ea"/>
              </a:rPr>
              <a:t>INDUSTR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183AA-EF57-4D21-5031-06E880B5E4B7}"/>
              </a:ext>
            </a:extLst>
          </p:cNvPr>
          <p:cNvSpPr txBox="1"/>
          <p:nvPr/>
        </p:nvSpPr>
        <p:spPr>
          <a:xfrm>
            <a:off x="401940" y="5694950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SOFTWARE &amp; HI-TECH</a:t>
            </a:r>
            <a:r>
              <a:rPr lang="en-US" sz="1200" b="0" i="0" u="none" strike="noStrike" dirty="0">
                <a:effectLst/>
                <a:latin typeface="Calibri" panose="020F0502020204030204" pitchFamily="34" charset="0"/>
              </a:rPr>
              <a:t>​</a:t>
            </a:r>
            <a:endParaRPr lang="en-US" sz="1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4EB9DB4-E607-F090-70F4-4A7FB9F3ADEF}"/>
              </a:ext>
            </a:extLst>
          </p:cNvPr>
          <p:cNvSpPr txBox="1"/>
          <p:nvPr/>
        </p:nvSpPr>
        <p:spPr>
          <a:xfrm>
            <a:off x="416147" y="5978364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HEALTHCARE &amp; LIFE SCIENCES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59BE93-204F-83F3-E2F8-0AB19350B61B}"/>
              </a:ext>
            </a:extLst>
          </p:cNvPr>
          <p:cNvSpPr txBox="1"/>
          <p:nvPr/>
        </p:nvSpPr>
        <p:spPr>
          <a:xfrm>
            <a:off x="2606673" y="5696847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FINANCIAL SERVICES &amp; INSURANCE</a:t>
            </a:r>
            <a:r>
              <a:rPr lang="en-US" sz="1200" b="0" i="0" u="none" strike="noStrike" dirty="0">
                <a:effectLst/>
                <a:latin typeface="Calibri" panose="020F0502020204030204" pitchFamily="34" charset="0"/>
              </a:rPr>
              <a:t>​</a:t>
            </a:r>
            <a:endParaRPr lang="en-US" sz="1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7A0DEC2-C41E-9D11-6A36-363DE9D9003F}"/>
              </a:ext>
            </a:extLst>
          </p:cNvPr>
          <p:cNvSpPr txBox="1"/>
          <p:nvPr/>
        </p:nvSpPr>
        <p:spPr>
          <a:xfrm>
            <a:off x="2606673" y="6000874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RETAIL &amp; DISTRIBUTION</a:t>
            </a:r>
            <a:r>
              <a:rPr lang="en-US" sz="1200" b="0" i="0" u="none" strike="noStrike" dirty="0">
                <a:effectLst/>
                <a:latin typeface="Calibri" panose="020F0502020204030204" pitchFamily="34" charset="0"/>
              </a:rPr>
              <a:t>​</a:t>
            </a:r>
            <a:endParaRPr lang="en-US" sz="12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73EFA79-775B-B6E6-8ADB-A7D90EAEEB1B}"/>
              </a:ext>
            </a:extLst>
          </p:cNvPr>
          <p:cNvSpPr txBox="1"/>
          <p:nvPr/>
        </p:nvSpPr>
        <p:spPr>
          <a:xfrm>
            <a:off x="5210539" y="5685556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ENERGY</a:t>
            </a:r>
            <a:r>
              <a:rPr lang="en-US" sz="1200" b="0" i="0" u="none" strike="noStrike" dirty="0">
                <a:effectLst/>
                <a:latin typeface="Calibri" panose="020F0502020204030204" pitchFamily="34" charset="0"/>
              </a:rPr>
              <a:t>​</a:t>
            </a:r>
            <a:endParaRPr lang="en-US" sz="12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41B12E-DD13-135C-F3A9-173E6D00C148}"/>
              </a:ext>
            </a:extLst>
          </p:cNvPr>
          <p:cNvSpPr txBox="1"/>
          <p:nvPr/>
        </p:nvSpPr>
        <p:spPr>
          <a:xfrm>
            <a:off x="5221828" y="5967355"/>
            <a:ext cx="6163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u="none" strike="noStrike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MEDIA &amp; BUSINESS INFO</a:t>
            </a:r>
            <a:r>
              <a:rPr lang="en-US" sz="1200" b="0" i="0" u="none" strike="noStrike" dirty="0">
                <a:effectLst/>
                <a:latin typeface="Calibri" panose="020F0502020204030204" pitchFamily="34" charset="0"/>
              </a:rPr>
              <a:t>​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520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4EECD8-2E38-9C4D-B2AA-981B36DE3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11" y="488130"/>
            <a:ext cx="11274552" cy="457200"/>
          </a:xfrm>
        </p:spPr>
        <p:txBody>
          <a:bodyPr>
            <a:normAutofit/>
          </a:bodyPr>
          <a:lstStyle/>
          <a:p>
            <a:r>
              <a:rPr lang="en-US" sz="2400" b="0" dirty="0"/>
              <a:t>EPAM India Difference  </a:t>
            </a:r>
            <a:endParaRPr lang="en-IN" sz="2400" b="0" dirty="0">
              <a:latin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49EC88-2433-457D-B2D4-17FE7E7B25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Our </a:t>
            </a:r>
            <a:r>
              <a:rPr lang="en-US" i="1">
                <a:ea typeface="Calibri"/>
                <a:cs typeface="Calibri"/>
              </a:rPr>
              <a:t>Start-up</a:t>
            </a:r>
            <a:r>
              <a:rPr lang="en-US">
                <a:ea typeface="Calibri"/>
                <a:cs typeface="Calibri"/>
              </a:rPr>
              <a:t> like culture makes the difference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BC6D388-368C-724A-8109-C64DCF025B92}"/>
              </a:ext>
            </a:extLst>
          </p:cNvPr>
          <p:cNvSpPr/>
          <p:nvPr/>
        </p:nvSpPr>
        <p:spPr>
          <a:xfrm>
            <a:off x="464518" y="1454027"/>
            <a:ext cx="3600000" cy="565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pPr marL="0" marR="0" lvl="0" indent="0" algn="ctr" defTabSz="8296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INEERING EXCELLENCE CULTURE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1D79A69-076D-46D9-AFCC-F9FE09C40959}"/>
              </a:ext>
            </a:extLst>
          </p:cNvPr>
          <p:cNvGrpSpPr/>
          <p:nvPr/>
        </p:nvGrpSpPr>
        <p:grpSpPr>
          <a:xfrm>
            <a:off x="895428" y="5344921"/>
            <a:ext cx="2404911" cy="727584"/>
            <a:chOff x="811747" y="5027486"/>
            <a:chExt cx="2404911" cy="727584"/>
          </a:xfrm>
        </p:grpSpPr>
        <p:pic>
          <p:nvPicPr>
            <p:cNvPr id="18" name="Picture 37">
              <a:extLst>
                <a:ext uri="{FF2B5EF4-FFF2-40B4-BE49-F238E27FC236}">
                  <a16:creationId xmlns:a16="http://schemas.microsoft.com/office/drawing/2014/main" id="{B5C8D9D9-060A-234F-B8BB-998B3337E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47" y="5047310"/>
              <a:ext cx="687936" cy="687936"/>
            </a:xfrm>
            <a:prstGeom prst="rect">
              <a:avLst/>
            </a:prstGeom>
          </p:spPr>
        </p:pic>
        <p:pic>
          <p:nvPicPr>
            <p:cNvPr id="19" name="Picture 40">
              <a:extLst>
                <a:ext uri="{FF2B5EF4-FFF2-40B4-BE49-F238E27FC236}">
                  <a16:creationId xmlns:a16="http://schemas.microsoft.com/office/drawing/2014/main" id="{E91A3525-971B-F646-87E6-6E6BC61F4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36152" y="5027486"/>
              <a:ext cx="727584" cy="727584"/>
            </a:xfrm>
            <a:prstGeom prst="rect">
              <a:avLst/>
            </a:prstGeom>
          </p:spPr>
        </p:pic>
        <p:pic>
          <p:nvPicPr>
            <p:cNvPr id="20" name="Picture 43">
              <a:extLst>
                <a:ext uri="{FF2B5EF4-FFF2-40B4-BE49-F238E27FC236}">
                  <a16:creationId xmlns:a16="http://schemas.microsoft.com/office/drawing/2014/main" id="{CF78C151-CA4B-0544-B7B8-FAD9C14BB7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0205" y="5033052"/>
              <a:ext cx="716453" cy="716453"/>
            </a:xfrm>
            <a:prstGeom prst="rect">
              <a:avLst/>
            </a:prstGeom>
          </p:spPr>
        </p:pic>
      </p:grpSp>
      <p:sp>
        <p:nvSpPr>
          <p:cNvPr id="21" name="Freeform: Shape 44">
            <a:extLst>
              <a:ext uri="{FF2B5EF4-FFF2-40B4-BE49-F238E27FC236}">
                <a16:creationId xmlns:a16="http://schemas.microsoft.com/office/drawing/2014/main" id="{F342DE15-164C-3B42-AF52-022A6A7CCC9A}"/>
              </a:ext>
            </a:extLst>
          </p:cNvPr>
          <p:cNvSpPr/>
          <p:nvPr/>
        </p:nvSpPr>
        <p:spPr>
          <a:xfrm>
            <a:off x="1023110" y="6095134"/>
            <a:ext cx="2149547" cy="447199"/>
          </a:xfrm>
          <a:custGeom>
            <a:avLst/>
            <a:gdLst>
              <a:gd name="connsiteX0" fmla="*/ 0 w 2426843"/>
              <a:gd name="connsiteY0" fmla="*/ 0 h 2854800"/>
              <a:gd name="connsiteX1" fmla="*/ 2426843 w 2426843"/>
              <a:gd name="connsiteY1" fmla="*/ 0 h 2854800"/>
              <a:gd name="connsiteX2" fmla="*/ 2426843 w 2426843"/>
              <a:gd name="connsiteY2" fmla="*/ 2854800 h 2854800"/>
              <a:gd name="connsiteX3" fmla="*/ 0 w 2426843"/>
              <a:gd name="connsiteY3" fmla="*/ 2854800 h 2854800"/>
              <a:gd name="connsiteX4" fmla="*/ 0 w 2426843"/>
              <a:gd name="connsiteY4" fmla="*/ 0 h 285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843" h="2854800">
                <a:moveTo>
                  <a:pt x="0" y="0"/>
                </a:moveTo>
                <a:lnTo>
                  <a:pt x="2426843" y="0"/>
                </a:lnTo>
                <a:lnTo>
                  <a:pt x="2426843" y="2854800"/>
                </a:lnTo>
                <a:lnTo>
                  <a:pt x="0" y="2854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0" marR="0" lvl="1" indent="0" algn="ctr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X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Badges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95FDF62-7647-ED44-85FE-CE1F4FA1B1FB}"/>
              </a:ext>
            </a:extLst>
          </p:cNvPr>
          <p:cNvSpPr/>
          <p:nvPr/>
        </p:nvSpPr>
        <p:spPr>
          <a:xfrm>
            <a:off x="4302453" y="1454027"/>
            <a:ext cx="3600000" cy="565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pPr marL="0" marR="0" lvl="0" indent="0" algn="ctr" defTabSz="8296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AGILE MANAGEMENT CULTURE 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76DD2808-A428-BE4C-AEB9-8335D69824B7}"/>
              </a:ext>
            </a:extLst>
          </p:cNvPr>
          <p:cNvSpPr/>
          <p:nvPr/>
        </p:nvSpPr>
        <p:spPr>
          <a:xfrm>
            <a:off x="8137044" y="1454027"/>
            <a:ext cx="3600000" cy="565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/>
          <a:lstStyle/>
          <a:p>
            <a:pPr marL="0" marR="0" lvl="0" indent="0" algn="ctr" defTabSz="8296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PEOPLE PROCESS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A27F73-729F-4935-97DE-0E3218C2561E}"/>
              </a:ext>
            </a:extLst>
          </p:cNvPr>
          <p:cNvCxnSpPr>
            <a:cxnSpLocks/>
          </p:cNvCxnSpPr>
          <p:nvPr/>
        </p:nvCxnSpPr>
        <p:spPr>
          <a:xfrm>
            <a:off x="4302453" y="1991140"/>
            <a:ext cx="360000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F9A0FE2-9321-4988-9D4A-0A5E942B8640}"/>
              </a:ext>
            </a:extLst>
          </p:cNvPr>
          <p:cNvCxnSpPr>
            <a:cxnSpLocks/>
          </p:cNvCxnSpPr>
          <p:nvPr/>
        </p:nvCxnSpPr>
        <p:spPr>
          <a:xfrm>
            <a:off x="457200" y="1991140"/>
            <a:ext cx="360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892D507-25D8-4B59-A8AF-09634F4C1C46}"/>
              </a:ext>
            </a:extLst>
          </p:cNvPr>
          <p:cNvCxnSpPr>
            <a:cxnSpLocks/>
          </p:cNvCxnSpPr>
          <p:nvPr/>
        </p:nvCxnSpPr>
        <p:spPr>
          <a:xfrm>
            <a:off x="8137044" y="1991140"/>
            <a:ext cx="36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651B2BC-E6D4-4C5B-ADFD-F085C81B67F9}"/>
              </a:ext>
            </a:extLst>
          </p:cNvPr>
          <p:cNvSpPr txBox="1"/>
          <p:nvPr/>
        </p:nvSpPr>
        <p:spPr>
          <a:xfrm>
            <a:off x="464518" y="2076099"/>
            <a:ext cx="3600000" cy="6566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-45720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X360 Continuous Improvement</a:t>
            </a:r>
          </a:p>
          <a:p>
            <a:pPr marL="0" marR="0" lvl="1" indent="-213366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Baseline, assessments, certifications, improvement, recertification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07E719-FE15-4D2D-B46B-F1077493A6B9}"/>
              </a:ext>
            </a:extLst>
          </p:cNvPr>
          <p:cNvSpPr txBox="1"/>
          <p:nvPr/>
        </p:nvSpPr>
        <p:spPr>
          <a:xfrm>
            <a:off x="464518" y="2780069"/>
            <a:ext cx="3600000" cy="6566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-45720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X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Culture</a:t>
            </a:r>
          </a:p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Hackathons, coding and architecture katas, dojos, gamification, I Can Code, quizzes, and mo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60DB28-74DB-48F8-862E-417F1B5AF846}"/>
              </a:ext>
            </a:extLst>
          </p:cNvPr>
          <p:cNvSpPr txBox="1"/>
          <p:nvPr/>
        </p:nvSpPr>
        <p:spPr>
          <a:xfrm>
            <a:off x="464518" y="3484039"/>
            <a:ext cx="3600000" cy="6566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-45720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X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Education</a:t>
            </a:r>
          </a:p>
          <a:p>
            <a:pPr marL="0" marR="0" lvl="1" indent="-213366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Bootcamps, Clean Code, Clean Design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ngOp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Model 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), Design Thinking, and mo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3B2FCF6-36F9-4F5F-847A-3E62F5196A81}"/>
              </a:ext>
            </a:extLst>
          </p:cNvPr>
          <p:cNvSpPr txBox="1"/>
          <p:nvPr/>
        </p:nvSpPr>
        <p:spPr>
          <a:xfrm>
            <a:off x="464518" y="4198334"/>
            <a:ext cx="3600000" cy="4412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-45720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Dedicated Engineering Labs</a:t>
            </a:r>
          </a:p>
          <a:p>
            <a:pPr marL="0" marR="0" lvl="1" indent="-213366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RD/Fresh Graduate &amp; Incubation Lab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A1C15F7-2D93-4A6A-B258-43565524FF86}"/>
              </a:ext>
            </a:extLst>
          </p:cNvPr>
          <p:cNvSpPr txBox="1"/>
          <p:nvPr/>
        </p:nvSpPr>
        <p:spPr>
          <a:xfrm>
            <a:off x="4310431" y="2076099"/>
            <a:ext cx="3600000" cy="26162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8AC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Truly Agile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All functions are managed on Scrum 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Quarterly release planning aligned with yearly KPI’s and executed with aligned 2-week sprints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Agile Thinking workshops</a:t>
            </a:r>
          </a:p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8AC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Global 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Alignment with global Delivery &amp; Practices</a:t>
            </a:r>
          </a:p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8AC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Results Relentlessly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Xtreme and EngX squad involvement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Leveraging best practices for architecture and technolog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3EA142F-B187-46E5-94AB-E7AB44336035}"/>
              </a:ext>
            </a:extLst>
          </p:cNvPr>
          <p:cNvSpPr txBox="1"/>
          <p:nvPr/>
        </p:nvSpPr>
        <p:spPr>
          <a:xfrm>
            <a:off x="8137044" y="2076099"/>
            <a:ext cx="3600000" cy="21544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Hiring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Coding tests and coding challenges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Certified interviewers</a:t>
            </a:r>
          </a:p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High Trust, High Performance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Raise the Bar – Goal Setting, Continuous Feedback and Aspirations Management</a:t>
            </a:r>
          </a:p>
          <a:p>
            <a:pPr marL="0" marR="0" lvl="1" indent="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9C2D7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Learning 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Capability Building Program – SA, DM, Lead Development Programs</a:t>
            </a:r>
          </a:p>
          <a:p>
            <a:pPr marL="529584" marR="0" lvl="2" indent="-285750" algn="l" defTabSz="7111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Promotions through unified assessments</a:t>
            </a:r>
          </a:p>
        </p:txBody>
      </p:sp>
      <p:pic>
        <p:nvPicPr>
          <p:cNvPr id="27" name="Picture 26" descr="Image result for epam telescope">
            <a:hlinkClick r:id="rId5"/>
            <a:extLst>
              <a:ext uri="{FF2B5EF4-FFF2-40B4-BE49-F238E27FC236}">
                <a16:creationId xmlns:a16="http://schemas.microsoft.com/office/drawing/2014/main" id="{5C944DF7-F988-074B-8909-18A2D29E6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281" t="22356" r="21995" b="17235"/>
          <a:stretch/>
        </p:blipFill>
        <p:spPr bwMode="auto">
          <a:xfrm>
            <a:off x="9080616" y="5030397"/>
            <a:ext cx="1712856" cy="1022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7C2D489F-8F4E-B343-BDDF-DD8D2D2C90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966" y="4879706"/>
            <a:ext cx="1237508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5A6D574-BFAD-4879-B691-6747F765C5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7159" y="4879706"/>
            <a:ext cx="2326543" cy="1548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59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C31C71-06D6-486A-B9B8-BC62C3E68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800" b="0" dirty="0"/>
              <a:t>Engineering Incubation La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E41D4D-9011-4661-BC59-ECA613BA2841}"/>
              </a:ext>
            </a:extLst>
          </p:cNvPr>
          <p:cNvSpPr txBox="1"/>
          <p:nvPr/>
        </p:nvSpPr>
        <p:spPr>
          <a:xfrm>
            <a:off x="493188" y="1303961"/>
            <a:ext cx="2560320" cy="369332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</a:defRPr>
            </a:lvl1pPr>
            <a:lvl2pPr marL="0" lvl="1" algn="ctr">
              <a:spcBef>
                <a:spcPts val="225"/>
              </a:spcBef>
              <a:defRPr sz="1013">
                <a:solidFill>
                  <a:schemeClr val="bg1"/>
                </a:solidFill>
                <a:latin typeface="Open Sans"/>
                <a:cs typeface="Arial" pitchFamily="34" charset="0"/>
              </a:defRPr>
            </a:lvl2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LLSTACK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LAB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6137DE-D1F0-43A7-8654-A55F40A78A6F}"/>
              </a:ext>
            </a:extLst>
          </p:cNvPr>
          <p:cNvCxnSpPr>
            <a:cxnSpLocks/>
          </p:cNvCxnSpPr>
          <p:nvPr/>
        </p:nvCxnSpPr>
        <p:spPr>
          <a:xfrm>
            <a:off x="493188" y="1791703"/>
            <a:ext cx="256032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736052B-EC0D-3E01-B189-C1C354DA1D7E}"/>
              </a:ext>
            </a:extLst>
          </p:cNvPr>
          <p:cNvGrpSpPr/>
          <p:nvPr/>
        </p:nvGrpSpPr>
        <p:grpSpPr>
          <a:xfrm>
            <a:off x="3337947" y="1303961"/>
            <a:ext cx="2560320" cy="2189641"/>
            <a:chOff x="3337947" y="1303961"/>
            <a:chExt cx="2560320" cy="218964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05BD8A8-19AA-4E68-B0B4-3894E43B5CB2}"/>
                </a:ext>
              </a:extLst>
            </p:cNvPr>
            <p:cNvSpPr txBox="1"/>
            <p:nvPr/>
          </p:nvSpPr>
          <p:spPr>
            <a:xfrm>
              <a:off x="3337947" y="1303961"/>
              <a:ext cx="2560320" cy="369332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>
                <a:defRPr sz="1200">
                  <a:solidFill>
                    <a:schemeClr val="bg1"/>
                  </a:solidFill>
                </a:defRPr>
              </a:lvl1pPr>
              <a:lvl2pPr marL="0" lvl="1" algn="ctr">
                <a:spcBef>
                  <a:spcPts val="225"/>
                </a:spcBef>
                <a:defRPr sz="1013">
                  <a:solidFill>
                    <a:schemeClr val="bg1"/>
                  </a:solidFill>
                  <a:latin typeface="Open Sans"/>
                  <a:cs typeface="Arial" pitchFamily="34" charset="0"/>
                </a:defRPr>
              </a:lvl2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UD</a:t>
              </a:r>
              <a:b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ING LAB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5025048-180D-42F2-B552-3765A95EAC8E}"/>
                </a:ext>
              </a:extLst>
            </p:cNvPr>
            <p:cNvSpPr txBox="1"/>
            <p:nvPr/>
          </p:nvSpPr>
          <p:spPr>
            <a:xfrm>
              <a:off x="3337947" y="1903423"/>
              <a:ext cx="2499360" cy="1590179"/>
            </a:xfrm>
            <a:prstGeom prst="rect">
              <a:avLst/>
            </a:prstGeom>
            <a:noFill/>
          </p:spPr>
          <p:txBody>
            <a:bodyPr wrap="square" lIns="0" tIns="45720" rIns="0" bIns="45720" rtlCol="0" anchor="t">
              <a:spAutoFit/>
            </a:bodyPr>
            <a:lstStyle/>
            <a:p>
              <a:pPr marL="227965" marR="0" lvl="0" indent="-227965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cus on Cloud native application development using AWS/Azure Platform and Infrastructure service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227965" marR="0" lvl="0" indent="-227965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ssignment based self-paced learn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  <a:p>
              <a:pPr marL="227965" marR="0" lvl="0" indent="-227965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tailed course with experienced associates as trainers and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ntor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0F29848-5B58-4862-B8C5-170BE12EA1B5}"/>
                </a:ext>
              </a:extLst>
            </p:cNvPr>
            <p:cNvCxnSpPr>
              <a:cxnSpLocks/>
            </p:cNvCxnSpPr>
            <p:nvPr/>
          </p:nvCxnSpPr>
          <p:spPr>
            <a:xfrm>
              <a:off x="3337947" y="1791703"/>
              <a:ext cx="2560320" cy="0"/>
            </a:xfrm>
            <a:prstGeom prst="line">
              <a:avLst/>
            </a:prstGeom>
            <a:ln w="254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2FB3423-2DE9-1738-F74C-A82D97C42844}"/>
              </a:ext>
            </a:extLst>
          </p:cNvPr>
          <p:cNvGrpSpPr/>
          <p:nvPr/>
        </p:nvGrpSpPr>
        <p:grpSpPr>
          <a:xfrm>
            <a:off x="6256368" y="1303961"/>
            <a:ext cx="2652432" cy="2969342"/>
            <a:chOff x="6256368" y="1303961"/>
            <a:chExt cx="2652432" cy="2969342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D48D571-6474-45A9-B052-02DD4CD47E7F}"/>
                </a:ext>
              </a:extLst>
            </p:cNvPr>
            <p:cNvSpPr txBox="1"/>
            <p:nvPr/>
          </p:nvSpPr>
          <p:spPr>
            <a:xfrm>
              <a:off x="6256369" y="1303961"/>
              <a:ext cx="2543537" cy="369332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en-US"/>
              </a:defPPr>
              <a:lvl1pPr>
                <a:defRPr sz="1200">
                  <a:solidFill>
                    <a:schemeClr val="bg1"/>
                  </a:solidFill>
                </a:defRPr>
              </a:lvl1pPr>
              <a:lvl2pPr marL="0" lvl="1" algn="ctr">
                <a:spcBef>
                  <a:spcPts val="225"/>
                </a:spcBef>
                <a:defRPr sz="1013">
                  <a:solidFill>
                    <a:schemeClr val="bg1"/>
                  </a:solidFill>
                  <a:latin typeface="Open Sans"/>
                  <a:cs typeface="Arial" pitchFamily="34" charset="0"/>
                </a:defRPr>
              </a:lvl2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-STRUCTURES &amp; </a:t>
              </a:r>
              <a:b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GORITHMS LAB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2020AB-C4E7-407D-9F54-FEBA44D69E99}"/>
                </a:ext>
              </a:extLst>
            </p:cNvPr>
            <p:cNvSpPr txBox="1"/>
            <p:nvPr/>
          </p:nvSpPr>
          <p:spPr>
            <a:xfrm>
              <a:off x="6256368" y="1903423"/>
              <a:ext cx="2652432" cy="236988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asure, Compare, Research &amp; Chose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iner/mentor led classes + Self learning exercises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untime analysis, Big O 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cursion, Arrays, Stack, Queues, List &amp; Heaps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ees, Graphs &amp; Tries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gorithms – KMP, Robin Karp, etc.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ynamic Programming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280EB7F-C9B2-4469-BA5A-3342D8AEE8C2}"/>
                </a:ext>
              </a:extLst>
            </p:cNvPr>
            <p:cNvCxnSpPr>
              <a:cxnSpLocks/>
            </p:cNvCxnSpPr>
            <p:nvPr/>
          </p:nvCxnSpPr>
          <p:spPr>
            <a:xfrm>
              <a:off x="6256368" y="1791703"/>
              <a:ext cx="2560320" cy="0"/>
            </a:xfrm>
            <a:prstGeom prst="line">
              <a:avLst/>
            </a:prstGeom>
            <a:ln w="254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783017F-DB37-5F74-1E7C-9B62A0D62433}"/>
              </a:ext>
            </a:extLst>
          </p:cNvPr>
          <p:cNvGrpSpPr/>
          <p:nvPr/>
        </p:nvGrpSpPr>
        <p:grpSpPr>
          <a:xfrm>
            <a:off x="9174789" y="1303961"/>
            <a:ext cx="2560320" cy="2866749"/>
            <a:chOff x="9174789" y="1303961"/>
            <a:chExt cx="2560320" cy="286674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A1C9BD6-82BE-453B-93F9-A0182A27DFEA}"/>
                </a:ext>
              </a:extLst>
            </p:cNvPr>
            <p:cNvSpPr txBox="1"/>
            <p:nvPr/>
          </p:nvSpPr>
          <p:spPr>
            <a:xfrm>
              <a:off x="9174789" y="1903423"/>
              <a:ext cx="2499360" cy="226728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nderstanding SLA, SLO and SLI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ing Production Changes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cidents and Postmortems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bservability: Synthetic and End User Monitoring	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bservability: Infra and Application Monitoring</a:t>
              </a:r>
            </a:p>
            <a:p>
              <a:pPr marL="228594" marR="0" lvl="0" indent="-228594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22222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 Essentials and Security Assessment Tool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1A0D593-C352-478D-9ABB-98AFB0A7C039}"/>
                </a:ext>
              </a:extLst>
            </p:cNvPr>
            <p:cNvSpPr txBox="1"/>
            <p:nvPr/>
          </p:nvSpPr>
          <p:spPr>
            <a:xfrm>
              <a:off x="9174789" y="1303961"/>
              <a:ext cx="2560320" cy="369332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>
                <a:defRPr sz="1200">
                  <a:solidFill>
                    <a:schemeClr val="bg1"/>
                  </a:solidFill>
                </a:defRPr>
              </a:lvl1pPr>
              <a:lvl2pPr marL="0" lvl="1" algn="ctr">
                <a:spcBef>
                  <a:spcPts val="225"/>
                </a:spcBef>
                <a:defRPr sz="1013">
                  <a:solidFill>
                    <a:schemeClr val="bg1"/>
                  </a:solidFill>
                  <a:latin typeface="Open Sans"/>
                  <a:cs typeface="Arial" pitchFamily="34" charset="0"/>
                </a:defRPr>
              </a:lvl2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RE LAB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AAAC3AC-6EF0-4E45-8B01-DCC085653EBA}"/>
                </a:ext>
              </a:extLst>
            </p:cNvPr>
            <p:cNvCxnSpPr>
              <a:cxnSpLocks/>
            </p:cNvCxnSpPr>
            <p:nvPr/>
          </p:nvCxnSpPr>
          <p:spPr>
            <a:xfrm>
              <a:off x="9174789" y="1791703"/>
              <a:ext cx="2560320" cy="0"/>
            </a:xfrm>
            <a:prstGeom prst="line">
              <a:avLst/>
            </a:prstGeom>
            <a:ln w="254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1">
            <a:extLst>
              <a:ext uri="{FF2B5EF4-FFF2-40B4-BE49-F238E27FC236}">
                <a16:creationId xmlns:a16="http://schemas.microsoft.com/office/drawing/2014/main" id="{BCFAEBB2-6C51-B14B-225B-8A03BF681108}"/>
              </a:ext>
            </a:extLst>
          </p:cNvPr>
          <p:cNvSpPr txBox="1"/>
          <p:nvPr/>
        </p:nvSpPr>
        <p:spPr>
          <a:xfrm>
            <a:off x="498576" y="1853327"/>
            <a:ext cx="2499360" cy="255454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ntor led learning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f-assessment exercis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cusses on Angular/React/* as fronten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S: .NET MVC/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bAP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+ Azure as backend skillse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va: Spring MVC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ringboo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AW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: MEAN, MERN &amp; MEVN stacks, T- shaped developer skills</a:t>
            </a:r>
          </a:p>
          <a:p>
            <a:pPr marL="227965" marR="0" lvl="0" indent="-22796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2222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lutter and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actNativ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lab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A5D88E4-5C0B-8C05-2D35-4470144C6CE9}"/>
              </a:ext>
            </a:extLst>
          </p:cNvPr>
          <p:cNvGrpSpPr/>
          <p:nvPr/>
        </p:nvGrpSpPr>
        <p:grpSpPr>
          <a:xfrm>
            <a:off x="457936" y="4496421"/>
            <a:ext cx="11277173" cy="1490515"/>
            <a:chOff x="457936" y="4496421"/>
            <a:chExt cx="11277173" cy="1490515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B4D06B6-34AA-4441-B5D0-5D99A4E0DAC3}"/>
                </a:ext>
              </a:extLst>
            </p:cNvPr>
            <p:cNvGrpSpPr/>
            <p:nvPr/>
          </p:nvGrpSpPr>
          <p:grpSpPr>
            <a:xfrm>
              <a:off x="543228" y="4810749"/>
              <a:ext cx="2191667" cy="481922"/>
              <a:chOff x="630545" y="3898533"/>
              <a:chExt cx="1910763" cy="459814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E26FFE4E-B1CF-414F-AF28-AA9944314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0545" y="3898533"/>
                <a:ext cx="459814" cy="45981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E728A7A-5218-45E5-840C-1EC1485E4E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75306" y="3941357"/>
                <a:ext cx="488706" cy="374166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8A7AE0F9-0BE7-4227-A600-1EF59C1954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48960" y="3917721"/>
                <a:ext cx="392348" cy="421438"/>
              </a:xfrm>
              <a:prstGeom prst="rect">
                <a:avLst/>
              </a:prstGeom>
              <a:noFill/>
            </p:spPr>
          </p:pic>
        </p:grp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C3CDF7B-2322-4EFF-85B0-E459DEA949AC}"/>
                </a:ext>
              </a:extLst>
            </p:cNvPr>
            <p:cNvCxnSpPr>
              <a:cxnSpLocks/>
            </p:cNvCxnSpPr>
            <p:nvPr/>
          </p:nvCxnSpPr>
          <p:spPr>
            <a:xfrm>
              <a:off x="6273151" y="4496421"/>
              <a:ext cx="2560320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B32987B-3988-440A-A43B-6B66C3D7ECC4}"/>
                </a:ext>
              </a:extLst>
            </p:cNvPr>
            <p:cNvCxnSpPr>
              <a:cxnSpLocks/>
            </p:cNvCxnSpPr>
            <p:nvPr/>
          </p:nvCxnSpPr>
          <p:spPr>
            <a:xfrm>
              <a:off x="9174789" y="4496421"/>
              <a:ext cx="2560320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365C9EF-635B-4A62-8E02-34DD2D2F31B6}"/>
                </a:ext>
              </a:extLst>
            </p:cNvPr>
            <p:cNvGrpSpPr/>
            <p:nvPr/>
          </p:nvGrpSpPr>
          <p:grpSpPr>
            <a:xfrm>
              <a:off x="6273151" y="4776640"/>
              <a:ext cx="2526754" cy="1120187"/>
              <a:chOff x="229355" y="3757642"/>
              <a:chExt cx="2398483" cy="1063322"/>
            </a:xfrm>
          </p:grpSpPr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6A86F1FD-DD9B-46A8-9A62-F031356A5A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495041" y="4096556"/>
                <a:ext cx="905510" cy="724408"/>
              </a:xfrm>
              <a:prstGeom prst="rect">
                <a:avLst/>
              </a:prstGeom>
            </p:spPr>
          </p:pic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3885A003-DB66-4C85-A854-1BDCBC17C9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29355" y="3878095"/>
                <a:ext cx="941943" cy="795245"/>
              </a:xfrm>
              <a:prstGeom prst="rect">
                <a:avLst/>
              </a:prstGeom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62E93998-0D50-4DDE-87D7-0E4A1D5E46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10518" y="3757642"/>
                <a:ext cx="1417320" cy="423806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3676430-36F5-4315-9E28-12C8FA6F8E9E}"/>
                </a:ext>
              </a:extLst>
            </p:cNvPr>
            <p:cNvGrpSpPr/>
            <p:nvPr/>
          </p:nvGrpSpPr>
          <p:grpSpPr>
            <a:xfrm>
              <a:off x="9174786" y="4976594"/>
              <a:ext cx="2548808" cy="631163"/>
              <a:chOff x="6889725" y="4019148"/>
              <a:chExt cx="1911607" cy="473372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6E8489EE-399E-43CB-9BCB-7C13C2D7FB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889725" y="4033828"/>
                <a:ext cx="444013" cy="444013"/>
              </a:xfrm>
              <a:prstGeom prst="rect">
                <a:avLst/>
              </a:prstGeom>
            </p:spPr>
          </p:pic>
          <p:pic>
            <p:nvPicPr>
              <p:cNvPr id="53" name="Picture 2" descr="press datadog purple logo">
                <a:extLst>
                  <a:ext uri="{FF2B5EF4-FFF2-40B4-BE49-F238E27FC236}">
                    <a16:creationId xmlns:a16="http://schemas.microsoft.com/office/drawing/2014/main" id="{C6793C27-A239-4720-96A1-C61C7D0F653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8327960" y="4019148"/>
                <a:ext cx="473372" cy="473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1306DA76-3147-4D01-9783-3F8EF7D82D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01173" y="4156104"/>
                <a:ext cx="659353" cy="1994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54" name="Straight Connector 41">
              <a:extLst>
                <a:ext uri="{FF2B5EF4-FFF2-40B4-BE49-F238E27FC236}">
                  <a16:creationId xmlns:a16="http://schemas.microsoft.com/office/drawing/2014/main" id="{CFFC7DF2-9175-4C86-8F79-015E0C5563A0}"/>
                </a:ext>
              </a:extLst>
            </p:cNvPr>
            <p:cNvCxnSpPr>
              <a:cxnSpLocks/>
            </p:cNvCxnSpPr>
            <p:nvPr/>
          </p:nvCxnSpPr>
          <p:spPr>
            <a:xfrm>
              <a:off x="457936" y="4496421"/>
              <a:ext cx="2560320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44">
              <a:extLst>
                <a:ext uri="{FF2B5EF4-FFF2-40B4-BE49-F238E27FC236}">
                  <a16:creationId xmlns:a16="http://schemas.microsoft.com/office/drawing/2014/main" id="{E0F9F0D9-A373-4432-9329-7EBE1FE45D9D}"/>
                </a:ext>
              </a:extLst>
            </p:cNvPr>
            <p:cNvCxnSpPr>
              <a:cxnSpLocks/>
            </p:cNvCxnSpPr>
            <p:nvPr/>
          </p:nvCxnSpPr>
          <p:spPr>
            <a:xfrm>
              <a:off x="3386827" y="4496421"/>
              <a:ext cx="2560320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9" name="Picture 2">
              <a:extLst>
                <a:ext uri="{FF2B5EF4-FFF2-40B4-BE49-F238E27FC236}">
                  <a16:creationId xmlns:a16="http://schemas.microsoft.com/office/drawing/2014/main" id="{48D0BA1C-974C-4FFF-A673-5F899740D4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3838" y="4906784"/>
              <a:ext cx="532504" cy="318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886FE44-EBB8-4E4F-BD49-F1FA522F2A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480731" y="4809749"/>
              <a:ext cx="1348855" cy="446471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75276FC4-39CC-4F1C-B6BC-3AFA80923A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994466" y="5328662"/>
              <a:ext cx="1314348" cy="511420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60BC9CC-88CE-D65A-D539-970F65C72DF0}"/>
                </a:ext>
              </a:extLst>
            </p:cNvPr>
            <p:cNvGrpSpPr/>
            <p:nvPr/>
          </p:nvGrpSpPr>
          <p:grpSpPr>
            <a:xfrm>
              <a:off x="689548" y="5513185"/>
              <a:ext cx="1996797" cy="473751"/>
              <a:chOff x="689548" y="5596796"/>
              <a:chExt cx="2121715" cy="523719"/>
            </a:xfrm>
          </p:grpSpPr>
          <p:pic>
            <p:nvPicPr>
              <p:cNvPr id="10" name="Picture 10" descr="Logo&#10;&#10;Description automatically generated">
                <a:extLst>
                  <a:ext uri="{FF2B5EF4-FFF2-40B4-BE49-F238E27FC236}">
                    <a16:creationId xmlns:a16="http://schemas.microsoft.com/office/drawing/2014/main" id="{71A9851B-61DB-00C2-7F7D-530BCE661C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89548" y="5661285"/>
                <a:ext cx="369759" cy="369759"/>
              </a:xfrm>
              <a:prstGeom prst="rect">
                <a:avLst/>
              </a:prstGeom>
            </p:spPr>
          </p:pic>
          <p:pic>
            <p:nvPicPr>
              <p:cNvPr id="11" name="Picture 17" descr="Icon&#10;&#10;Description automatically generated">
                <a:extLst>
                  <a:ext uri="{FF2B5EF4-FFF2-40B4-BE49-F238E27FC236}">
                    <a16:creationId xmlns:a16="http://schemas.microsoft.com/office/drawing/2014/main" id="{B1EEADD9-F89C-6ABF-1FCB-2DB21E0847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421021" y="5596796"/>
                <a:ext cx="699385" cy="523719"/>
              </a:xfrm>
              <a:prstGeom prst="rect">
                <a:avLst/>
              </a:prstGeom>
            </p:spPr>
          </p:pic>
          <p:pic>
            <p:nvPicPr>
              <p:cNvPr id="18" name="Picture 19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726AE7BF-DDB4-2BFE-AA1C-2490EEDA35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531863" y="5675313"/>
                <a:ext cx="279400" cy="40957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3858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A1D7A-2757-0D67-F740-BD221725C8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468411-0568-4E01-E225-D27006C05F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924C18-6880-1319-9B5D-1B610A1FA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365" y="122829"/>
            <a:ext cx="11532357" cy="648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8216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9C0CF-176E-40DC-9A25-A8E7F3F9E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st Valuable Profession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788011-FC12-44FB-BA3C-197B82D74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Recognition for contributing with their knowledge to the Microsoft communities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29FA52-1141-4D11-9AA1-EE005CB83E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332873" y="0"/>
            <a:ext cx="4877724" cy="6858000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E05C485-EF3B-4422-8533-6A6F8CE32661}"/>
              </a:ext>
            </a:extLst>
          </p:cNvPr>
          <p:cNvSpPr/>
          <p:nvPr/>
        </p:nvSpPr>
        <p:spPr bwMode="auto">
          <a:xfrm flipH="1">
            <a:off x="8186614" y="0"/>
            <a:ext cx="1179080" cy="6858000"/>
          </a:xfrm>
          <a:custGeom>
            <a:avLst/>
            <a:gdLst>
              <a:gd name="connsiteX0" fmla="*/ 626286 w 1179080"/>
              <a:gd name="connsiteY0" fmla="*/ 3739253 h 6858000"/>
              <a:gd name="connsiteX1" fmla="*/ 123509 w 1179080"/>
              <a:gd name="connsiteY1" fmla="*/ 6858000 h 6858000"/>
              <a:gd name="connsiteX2" fmla="*/ 626286 w 1179080"/>
              <a:gd name="connsiteY2" fmla="*/ 6858000 h 6858000"/>
              <a:gd name="connsiteX3" fmla="*/ 123509 w 1179080"/>
              <a:gd name="connsiteY3" fmla="*/ 0 h 6858000"/>
              <a:gd name="connsiteX4" fmla="*/ 0 w 1179080"/>
              <a:gd name="connsiteY4" fmla="*/ 0 h 6858000"/>
              <a:gd name="connsiteX5" fmla="*/ 0 w 1179080"/>
              <a:gd name="connsiteY5" fmla="*/ 2 h 6858000"/>
              <a:gd name="connsiteX6" fmla="*/ 123508 w 1179080"/>
              <a:gd name="connsiteY6" fmla="*/ 2 h 6858000"/>
              <a:gd name="connsiteX7" fmla="*/ 123508 w 1179080"/>
              <a:gd name="connsiteY7" fmla="*/ 6858000 h 6858000"/>
              <a:gd name="connsiteX8" fmla="*/ 123509 w 1179080"/>
              <a:gd name="connsiteY8" fmla="*/ 6858000 h 6858000"/>
              <a:gd name="connsiteX9" fmla="*/ 502778 w 1179080"/>
              <a:gd name="connsiteY9" fmla="*/ 0 h 6858000"/>
              <a:gd name="connsiteX10" fmla="*/ 123509 w 1179080"/>
              <a:gd name="connsiteY10" fmla="*/ 0 h 6858000"/>
              <a:gd name="connsiteX11" fmla="*/ 626286 w 1179080"/>
              <a:gd name="connsiteY11" fmla="*/ 3118750 h 6858000"/>
              <a:gd name="connsiteX12" fmla="*/ 626286 w 1179080"/>
              <a:gd name="connsiteY12" fmla="*/ 2 h 6858000"/>
              <a:gd name="connsiteX13" fmla="*/ 502778 w 1179080"/>
              <a:gd name="connsiteY13" fmla="*/ 2 h 6858000"/>
              <a:gd name="connsiteX14" fmla="*/ 626287 w 1179080"/>
              <a:gd name="connsiteY14" fmla="*/ 0 h 6858000"/>
              <a:gd name="connsiteX15" fmla="*/ 626287 w 1179080"/>
              <a:gd name="connsiteY15" fmla="*/ 3118756 h 6858000"/>
              <a:gd name="connsiteX16" fmla="*/ 676302 w 1179080"/>
              <a:gd name="connsiteY16" fmla="*/ 3429001 h 6858000"/>
              <a:gd name="connsiteX17" fmla="*/ 626287 w 1179080"/>
              <a:gd name="connsiteY17" fmla="*/ 3739246 h 6858000"/>
              <a:gd name="connsiteX18" fmla="*/ 626287 w 1179080"/>
              <a:gd name="connsiteY18" fmla="*/ 6858000 h 6858000"/>
              <a:gd name="connsiteX19" fmla="*/ 1179080 w 1179080"/>
              <a:gd name="connsiteY19" fmla="*/ 34290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79080" h="6858000">
                <a:moveTo>
                  <a:pt x="626286" y="3739253"/>
                </a:moveTo>
                <a:lnTo>
                  <a:pt x="123509" y="6858000"/>
                </a:lnTo>
                <a:lnTo>
                  <a:pt x="626286" y="6858000"/>
                </a:lnTo>
                <a:close/>
                <a:moveTo>
                  <a:pt x="123509" y="0"/>
                </a:moveTo>
                <a:lnTo>
                  <a:pt x="0" y="0"/>
                </a:lnTo>
                <a:lnTo>
                  <a:pt x="0" y="2"/>
                </a:lnTo>
                <a:lnTo>
                  <a:pt x="123508" y="2"/>
                </a:lnTo>
                <a:lnTo>
                  <a:pt x="123508" y="6858000"/>
                </a:lnTo>
                <a:lnTo>
                  <a:pt x="123509" y="6858000"/>
                </a:lnTo>
                <a:close/>
                <a:moveTo>
                  <a:pt x="502778" y="0"/>
                </a:moveTo>
                <a:lnTo>
                  <a:pt x="123509" y="0"/>
                </a:lnTo>
                <a:lnTo>
                  <a:pt x="626286" y="3118750"/>
                </a:lnTo>
                <a:lnTo>
                  <a:pt x="626286" y="2"/>
                </a:lnTo>
                <a:lnTo>
                  <a:pt x="502778" y="2"/>
                </a:lnTo>
                <a:close/>
                <a:moveTo>
                  <a:pt x="626287" y="0"/>
                </a:moveTo>
                <a:lnTo>
                  <a:pt x="626287" y="3118756"/>
                </a:lnTo>
                <a:lnTo>
                  <a:pt x="676302" y="3429001"/>
                </a:lnTo>
                <a:lnTo>
                  <a:pt x="626287" y="3739246"/>
                </a:lnTo>
                <a:lnTo>
                  <a:pt x="626287" y="6858000"/>
                </a:lnTo>
                <a:lnTo>
                  <a:pt x="1179080" y="3429001"/>
                </a:lnTo>
                <a:close/>
              </a:path>
            </a:pathLst>
          </a:custGeom>
          <a:solidFill>
            <a:srgbClr val="76CDD8">
              <a:alpha val="50000"/>
            </a:srgbClr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067920F-8BD2-4AA2-90CA-61AF710FA064}"/>
              </a:ext>
            </a:extLst>
          </p:cNvPr>
          <p:cNvSpPr/>
          <p:nvPr/>
        </p:nvSpPr>
        <p:spPr bwMode="auto">
          <a:xfrm flipH="1">
            <a:off x="6648294" y="-1"/>
            <a:ext cx="2216727" cy="6858000"/>
          </a:xfrm>
          <a:custGeom>
            <a:avLst/>
            <a:gdLst>
              <a:gd name="connsiteX0" fmla="*/ 123509 w 2216727"/>
              <a:gd name="connsiteY0" fmla="*/ 0 h 6858000"/>
              <a:gd name="connsiteX1" fmla="*/ 2216727 w 2216727"/>
              <a:gd name="connsiteY1" fmla="*/ 0 h 6858000"/>
              <a:gd name="connsiteX2" fmla="*/ 2216727 w 2216727"/>
              <a:gd name="connsiteY2" fmla="*/ 6858000 h 6858000"/>
              <a:gd name="connsiteX3" fmla="*/ 123509 w 2216727"/>
              <a:gd name="connsiteY3" fmla="*/ 6858000 h 6858000"/>
              <a:gd name="connsiteX4" fmla="*/ 676302 w 2216727"/>
              <a:gd name="connsiteY4" fmla="*/ 3429001 h 6858000"/>
              <a:gd name="connsiteX5" fmla="*/ 0 w 2216727"/>
              <a:gd name="connsiteY5" fmla="*/ 0 h 6858000"/>
              <a:gd name="connsiteX6" fmla="*/ 123509 w 2216727"/>
              <a:gd name="connsiteY6" fmla="*/ 0 h 6858000"/>
              <a:gd name="connsiteX7" fmla="*/ 123509 w 2216727"/>
              <a:gd name="connsiteY7" fmla="*/ 6858000 h 6858000"/>
              <a:gd name="connsiteX8" fmla="*/ 123508 w 2216727"/>
              <a:gd name="connsiteY8" fmla="*/ 6858000 h 6858000"/>
              <a:gd name="connsiteX9" fmla="*/ 123508 w 2216727"/>
              <a:gd name="connsiteY9" fmla="*/ 2 h 6858000"/>
              <a:gd name="connsiteX10" fmla="*/ 0 w 2216727"/>
              <a:gd name="connsiteY10" fmla="*/ 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16727" h="6858000">
                <a:moveTo>
                  <a:pt x="123509" y="0"/>
                </a:moveTo>
                <a:lnTo>
                  <a:pt x="2216727" y="0"/>
                </a:lnTo>
                <a:lnTo>
                  <a:pt x="2216727" y="6858000"/>
                </a:lnTo>
                <a:lnTo>
                  <a:pt x="123509" y="6858000"/>
                </a:lnTo>
                <a:lnTo>
                  <a:pt x="676302" y="3429001"/>
                </a:lnTo>
                <a:close/>
                <a:moveTo>
                  <a:pt x="0" y="0"/>
                </a:moveTo>
                <a:lnTo>
                  <a:pt x="123509" y="0"/>
                </a:lnTo>
                <a:lnTo>
                  <a:pt x="123509" y="6858000"/>
                </a:lnTo>
                <a:lnTo>
                  <a:pt x="123508" y="6858000"/>
                </a:lnTo>
                <a:lnTo>
                  <a:pt x="123508" y="2"/>
                </a:lnTo>
                <a:lnTo>
                  <a:pt x="0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FC53DA-B20B-4817-BECA-FF56B18408C9}"/>
              </a:ext>
            </a:extLst>
          </p:cNvPr>
          <p:cNvSpPr txBox="1"/>
          <p:nvPr/>
        </p:nvSpPr>
        <p:spPr>
          <a:xfrm>
            <a:off x="3218584" y="5083066"/>
            <a:ext cx="851114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Sergey Tihon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evelopment Technologies,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.NE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B7DFA7-D805-4C1D-BBFF-85D801127C6F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3155129" y="3999484"/>
            <a:ext cx="978024" cy="978022"/>
          </a:xfrm>
          <a:prstGeom prst="ellipse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5C7471F-0AAC-49CA-BF32-18B229F59275}"/>
              </a:ext>
            </a:extLst>
          </p:cNvPr>
          <p:cNvSpPr txBox="1"/>
          <p:nvPr/>
        </p:nvSpPr>
        <p:spPr>
          <a:xfrm>
            <a:off x="457200" y="5083066"/>
            <a:ext cx="1202676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Mihai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Mateev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crosoft Regional Director, Azure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a Platfor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F94AD81-9F34-441C-9DAF-2BC3FEEDA6B2}"/>
              </a:ext>
            </a:extLst>
          </p:cNvPr>
          <p:cNvPicPr preferRelativeResize="0">
            <a:picLocks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569527" y="3999484"/>
            <a:ext cx="978024" cy="978022"/>
          </a:xfrm>
          <a:prstGeom prst="ellipse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5B0E2C3-BD7B-4CDF-8A5A-33D588B6359A}"/>
              </a:ext>
            </a:extLst>
          </p:cNvPr>
          <p:cNvSpPr txBox="1"/>
          <p:nvPr/>
        </p:nvSpPr>
        <p:spPr>
          <a:xfrm>
            <a:off x="4410765" y="5083066"/>
            <a:ext cx="1035228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Thiago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Custodi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, Azure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unction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5C21AB-7139-43E5-9B9D-BAF166C27ED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447930" y="3999484"/>
            <a:ext cx="978024" cy="978022"/>
          </a:xfrm>
          <a:prstGeom prst="ellipse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7DFD505-D323-46C4-98CB-EA24D97B0C5F}"/>
              </a:ext>
            </a:extLst>
          </p:cNvPr>
          <p:cNvSpPr txBox="1"/>
          <p:nvPr/>
        </p:nvSpPr>
        <p:spPr>
          <a:xfrm>
            <a:off x="2554043" y="2790289"/>
            <a:ext cx="851114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Igor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Sychev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, Azure Policy &amp; Governan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E7DC2C-B07B-4A25-9808-8AE8E7A5A441}"/>
              </a:ext>
            </a:extLst>
          </p:cNvPr>
          <p:cNvPicPr preferRelativeResize="0">
            <a:picLocks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2490589" y="1712767"/>
            <a:ext cx="978024" cy="978022"/>
          </a:xfrm>
          <a:prstGeom prst="ellipse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D41BD15-E64F-4826-AE3C-00098B125F08}"/>
              </a:ext>
            </a:extLst>
          </p:cNvPr>
          <p:cNvSpPr txBox="1"/>
          <p:nvPr/>
        </p:nvSpPr>
        <p:spPr>
          <a:xfrm>
            <a:off x="1721851" y="5083066"/>
            <a:ext cx="1241851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Mikhail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Khviadcheni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 Arc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67BC1A-4AD1-487A-AF23-59ECAD9D9069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1862328" y="3999484"/>
            <a:ext cx="978024" cy="978022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16A1A76-D56B-4637-A1AE-384E342B4A3F}"/>
              </a:ext>
            </a:extLst>
          </p:cNvPr>
          <p:cNvSpPr txBox="1"/>
          <p:nvPr/>
        </p:nvSpPr>
        <p:spPr>
          <a:xfrm>
            <a:off x="3848767" y="2790289"/>
            <a:ext cx="851114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Jared Rhodes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 IoT, Xamari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22882C5-7128-4F7F-87EE-173207863245}"/>
              </a:ext>
            </a:extLst>
          </p:cNvPr>
          <p:cNvPicPr preferRelativeResize="0">
            <a:picLocks/>
          </p:cNvPicPr>
          <p:nvPr/>
        </p:nvPicPr>
        <p:blipFill>
          <a:blip r:embed="rId14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3783391" y="1706707"/>
            <a:ext cx="978024" cy="978022"/>
          </a:xfrm>
          <a:prstGeom prst="ellipse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DDC8C0-53E9-47C6-B65F-49C27C6941FC}"/>
              </a:ext>
            </a:extLst>
          </p:cNvPr>
          <p:cNvSpPr txBox="1"/>
          <p:nvPr/>
        </p:nvSpPr>
        <p:spPr>
          <a:xfrm>
            <a:off x="6961630" y="5079484"/>
            <a:ext cx="1121827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Wesley Camargo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evelopment Technologies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 DevOp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4476777-ABFD-47F5-9CFD-BC6A05815B26}"/>
              </a:ext>
            </a:extLst>
          </p:cNvPr>
          <p:cNvPicPr preferRelativeResize="0">
            <a:picLocks/>
          </p:cNvPicPr>
          <p:nvPr/>
        </p:nvPicPr>
        <p:blipFill>
          <a:blip r:embed="rId1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033532" y="3999484"/>
            <a:ext cx="978024" cy="978022"/>
          </a:xfrm>
          <a:prstGeom prst="ellipse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C6AFEE5-4034-4A0F-B5CA-91E5397F452A}"/>
              </a:ext>
            </a:extLst>
          </p:cNvPr>
          <p:cNvSpPr txBox="1"/>
          <p:nvPr/>
        </p:nvSpPr>
        <p:spPr>
          <a:xfrm>
            <a:off x="6225188" y="2796349"/>
            <a:ext cx="1246580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Michel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Gutzai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a Platform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 Synapse Analytic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97DF8CF-048A-4EF6-9AE0-3D4092538AB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8991" y="1712767"/>
            <a:ext cx="978024" cy="978022"/>
          </a:xfrm>
          <a:prstGeom prst="ellipse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7A4E87C-FF58-42D2-AC9F-1F93FD6962BA}"/>
              </a:ext>
            </a:extLst>
          </p:cNvPr>
          <p:cNvSpPr txBox="1"/>
          <p:nvPr/>
        </p:nvSpPr>
        <p:spPr>
          <a:xfrm>
            <a:off x="1103010" y="2790289"/>
            <a:ext cx="1167578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Catali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Gheorghiu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zure, Azure IoT, Windows Developme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CBCA1F7-CBD7-4FCC-AD7B-5EDEDE2A872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7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7787" y="1706707"/>
            <a:ext cx="978024" cy="978022"/>
          </a:xfrm>
          <a:prstGeom prst="ellipse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66BA36-000C-47F5-81D5-34DAC2E44814}"/>
              </a:ext>
            </a:extLst>
          </p:cNvPr>
          <p:cNvSpPr txBox="1"/>
          <p:nvPr/>
        </p:nvSpPr>
        <p:spPr>
          <a:xfrm>
            <a:off x="5020907" y="2820823"/>
            <a:ext cx="1090514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Karl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O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crosoft Regional Director, Azure, Cloud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nfrastructure Protec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A5C06AB-4AFC-44B3-BA48-B86E85B4B707}"/>
              </a:ext>
            </a:extLst>
          </p:cNvPr>
          <p:cNvPicPr preferRelativeResize="0">
            <a:picLocks/>
          </p:cNvPicPr>
          <p:nvPr/>
        </p:nvPicPr>
        <p:blipFill>
          <a:blip r:embed="rId18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6193" y="1706707"/>
            <a:ext cx="978022" cy="978022"/>
          </a:xfrm>
          <a:prstGeom prst="ellipse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9C3F4C4-3976-41EC-BDC9-3F3736BB92B4}"/>
              </a:ext>
            </a:extLst>
          </p:cNvPr>
          <p:cNvSpPr txBox="1"/>
          <p:nvPr/>
        </p:nvSpPr>
        <p:spPr>
          <a:xfrm>
            <a:off x="5606627" y="5083066"/>
            <a:ext cx="1241851" cy="4482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Venkata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76CDD8"/>
                </a:solidFill>
                <a:effectLst/>
                <a:uLnTx/>
                <a:uFillTx/>
                <a:latin typeface="Calibri Bold"/>
                <a:ea typeface="+mn-ea"/>
                <a:cs typeface="+mn-cs"/>
              </a:rPr>
              <a:t>Polisett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6CDD8"/>
              </a:solidFill>
              <a:effectLst/>
              <a:uLnTx/>
              <a:uFillTx/>
              <a:latin typeface="Calibri Bo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siness Apps, Dynamics 365,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ower Platform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57578A2-CEA2-4148-BF55-02627E93A3ED}"/>
              </a:ext>
            </a:extLst>
          </p:cNvPr>
          <p:cNvPicPr preferRelativeResize="0">
            <a:picLocks/>
          </p:cNvPicPr>
          <p:nvPr/>
        </p:nvPicPr>
        <p:blipFill>
          <a:blip r:embed="rId19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731" y="4011716"/>
            <a:ext cx="978024" cy="978022"/>
          </a:xfrm>
          <a:prstGeom prst="ellipse">
            <a:avLst/>
          </a:prstGeom>
        </p:spPr>
      </p:pic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827A43B-8CB5-4CA4-8ED1-FDB513DF659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A7470-6506-4B71-AD87-6F7FA0DD0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101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65974-028B-0A33-049E-EC12CE877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2235" cy="457200"/>
          </a:xfrm>
        </p:spPr>
        <p:txBody>
          <a:bodyPr/>
          <a:lstStyle/>
          <a:p>
            <a:r>
              <a:rPr lang="en-US" dirty="0"/>
              <a:t>DORA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25454CE1-21A0-DBDA-F9B4-22392803C3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281043"/>
              </p:ext>
            </p:extLst>
          </p:nvPr>
        </p:nvGraphicFramePr>
        <p:xfrm>
          <a:off x="457200" y="589175"/>
          <a:ext cx="11458280" cy="58681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DE45978-64D8-7847-BDF9-69FCB450C02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93649" y="823181"/>
            <a:ext cx="4555515" cy="60348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CD2B76-D508-97E7-CE28-9DE97CB4CAC1}"/>
              </a:ext>
            </a:extLst>
          </p:cNvPr>
          <p:cNvSpPr txBox="1"/>
          <p:nvPr/>
        </p:nvSpPr>
        <p:spPr>
          <a:xfrm>
            <a:off x="1227842" y="457200"/>
            <a:ext cx="6094428" cy="430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200" b="1" i="0"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(DevOps Research and Assessments) – Key Metrics</a:t>
            </a:r>
          </a:p>
        </p:txBody>
      </p:sp>
    </p:spTree>
    <p:extLst>
      <p:ext uri="{BB962C8B-B14F-4D97-AF65-F5344CB8AC3E}">
        <p14:creationId xmlns:p14="http://schemas.microsoft.com/office/powerpoint/2010/main" val="2867165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D7E02070-49CC-4604-8065-B33B20D372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graphicEl>
                                              <a:dgm id="{D7E02070-49CC-4604-8065-B33B20D372D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D7CE385-14D1-4C5F-8B7A-DEAEA5C399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>
                                            <p:graphicEl>
                                              <a:dgm id="{6D7CE385-14D1-4C5F-8B7A-DEAEA5C399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7D38B44-2F29-4DE5-93DD-20C11B3439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>
                                            <p:graphicEl>
                                              <a:dgm id="{87D38B44-2F29-4DE5-93DD-20C11B3439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57C776D2-8974-47A8-A50B-EA2B8B65A0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>
                                            <p:graphicEl>
                                              <a:dgm id="{57C776D2-8974-47A8-A50B-EA2B8B65A06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Dgm bld="lvlOne"/>
        </p:bldSub>
      </p:bldGraphic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6C76FC-2E45-8950-E624-8A9EA9272481}"/>
              </a:ext>
            </a:extLst>
          </p:cNvPr>
          <p:cNvGrpSpPr/>
          <p:nvPr/>
        </p:nvGrpSpPr>
        <p:grpSpPr>
          <a:xfrm>
            <a:off x="-2720" y="191493"/>
            <a:ext cx="12194720" cy="6482683"/>
            <a:chOff x="0" y="-55507"/>
            <a:chExt cx="12175866" cy="636188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EBA64FF-0AFD-1018-E5CD-0DBE0610C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-55507"/>
              <a:ext cx="12175866" cy="6361889"/>
            </a:xfrm>
            <a:prstGeom prst="rect">
              <a:avLst/>
            </a:prstGeom>
            <a:noFill/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1C6DEEB-2BC0-C3C9-EF80-D46FDFCD015C}"/>
                </a:ext>
              </a:extLst>
            </p:cNvPr>
            <p:cNvSpPr/>
            <p:nvPr/>
          </p:nvSpPr>
          <p:spPr bwMode="auto">
            <a:xfrm>
              <a:off x="9078012" y="2055043"/>
              <a:ext cx="2130458" cy="697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0" tIns="0" rIns="0" bIns="0" rtlCol="0" anchor="ctr"/>
            <a:lstStyle/>
            <a:p>
              <a:pPr algn="ctr"/>
              <a:endParaRPr lang="en-US" sz="2400" dirty="0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64179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9F4D0B8-8FD4-546D-35B5-89E86397FA5E}"/>
              </a:ext>
            </a:extLst>
          </p:cNvPr>
          <p:cNvSpPr txBox="1"/>
          <p:nvPr/>
        </p:nvSpPr>
        <p:spPr>
          <a:xfrm>
            <a:off x="868837" y="4506858"/>
            <a:ext cx="104543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400" dirty="0">
                <a:solidFill>
                  <a:srgbClr val="0070C0"/>
                </a:solidFill>
              </a:rPr>
              <a:t>epam.com/services/engineer/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DFDED6-4E06-2E65-B355-9C686C0CE243}"/>
              </a:ext>
            </a:extLst>
          </p:cNvPr>
          <p:cNvSpPr txBox="1"/>
          <p:nvPr/>
        </p:nvSpPr>
        <p:spPr>
          <a:xfrm>
            <a:off x="868837" y="3583528"/>
            <a:ext cx="104543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400" dirty="0">
                <a:solidFill>
                  <a:srgbClr val="0070C0"/>
                </a:solidFill>
              </a:rPr>
              <a:t>epam.co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41333-9B0A-C27A-C752-7F89C9F36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961" y="0"/>
            <a:ext cx="7343039" cy="4646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9706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26AEB2B-39E6-85A6-1A1A-52263DD0EA57}"/>
              </a:ext>
            </a:extLst>
          </p:cNvPr>
          <p:cNvSpPr txBox="1">
            <a:spLocks/>
          </p:cNvSpPr>
          <p:nvPr/>
        </p:nvSpPr>
        <p:spPr>
          <a:xfrm>
            <a:off x="332848" y="362603"/>
            <a:ext cx="5254440" cy="11966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IN" sz="4400" dirty="0">
                <a:latin typeface="+mn-lt"/>
              </a:rPr>
              <a:t>Big Thank you …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B46E736-AADF-8681-FE74-44F46D7512F4}"/>
              </a:ext>
            </a:extLst>
          </p:cNvPr>
          <p:cNvGrpSpPr/>
          <p:nvPr/>
        </p:nvGrpSpPr>
        <p:grpSpPr>
          <a:xfrm>
            <a:off x="637090" y="2281772"/>
            <a:ext cx="2128864" cy="2598910"/>
            <a:chOff x="1116739" y="2660952"/>
            <a:chExt cx="2128864" cy="259891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3780A43-48B0-1A26-4A2E-5E9427A400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66771" y="2660952"/>
              <a:ext cx="1828800" cy="1680308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EC9A510-9189-4706-5293-33F141AD0431}"/>
                </a:ext>
              </a:extLst>
            </p:cNvPr>
            <p:cNvSpPr txBox="1"/>
            <p:nvPr/>
          </p:nvSpPr>
          <p:spPr>
            <a:xfrm>
              <a:off x="1116739" y="4767419"/>
              <a:ext cx="21288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Participant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0627C7C-25D7-0654-F107-ED8E88A2446E}"/>
              </a:ext>
            </a:extLst>
          </p:cNvPr>
          <p:cNvGrpSpPr/>
          <p:nvPr/>
        </p:nvGrpSpPr>
        <p:grpSpPr>
          <a:xfrm>
            <a:off x="3322368" y="2236746"/>
            <a:ext cx="2128864" cy="2617960"/>
            <a:chOff x="4033157" y="2641902"/>
            <a:chExt cx="2128864" cy="261796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2CE98E7-33E5-C795-7BF3-F00B8BA36C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5708"/>
            <a:stretch/>
          </p:blipFill>
          <p:spPr>
            <a:xfrm>
              <a:off x="4225870" y="2641902"/>
              <a:ext cx="1828801" cy="168464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1FFF614-0171-0ABB-217C-4A5E82EC67EE}"/>
                </a:ext>
              </a:extLst>
            </p:cNvPr>
            <p:cNvSpPr txBox="1"/>
            <p:nvPr/>
          </p:nvSpPr>
          <p:spPr>
            <a:xfrm>
              <a:off x="4033157" y="4767419"/>
              <a:ext cx="21288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peaker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6890DE3-5D60-236E-6C1F-47F623BC97F6}"/>
              </a:ext>
            </a:extLst>
          </p:cNvPr>
          <p:cNvGrpSpPr/>
          <p:nvPr/>
        </p:nvGrpSpPr>
        <p:grpSpPr>
          <a:xfrm>
            <a:off x="6564061" y="2236746"/>
            <a:ext cx="2128864" cy="2643936"/>
            <a:chOff x="7184971" y="2615926"/>
            <a:chExt cx="2128864" cy="264393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10DBE82-C03D-B4B0-239B-138C5E750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35003" y="2615926"/>
              <a:ext cx="1828800" cy="1699358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F4179A1-079E-C3C3-5AD9-AA027290CB2B}"/>
                </a:ext>
              </a:extLst>
            </p:cNvPr>
            <p:cNvSpPr txBox="1"/>
            <p:nvPr/>
          </p:nvSpPr>
          <p:spPr>
            <a:xfrm>
              <a:off x="7184971" y="4767419"/>
              <a:ext cx="21288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Organizer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7D40D5A-C77D-14F7-D7BA-04E792DE66D5}"/>
              </a:ext>
            </a:extLst>
          </p:cNvPr>
          <p:cNvGrpSpPr/>
          <p:nvPr/>
        </p:nvGrpSpPr>
        <p:grpSpPr>
          <a:xfrm>
            <a:off x="10063136" y="2236747"/>
            <a:ext cx="2128864" cy="2643935"/>
            <a:chOff x="10294104" y="2615926"/>
            <a:chExt cx="2128864" cy="2643935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860A524-F525-2227-5FCA-30E8F46B2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444136" y="2615926"/>
              <a:ext cx="1828800" cy="1699358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F9D67AA-F3BA-8772-870F-5DBA78EA4F6D}"/>
                </a:ext>
              </a:extLst>
            </p:cNvPr>
            <p:cNvSpPr txBox="1"/>
            <p:nvPr/>
          </p:nvSpPr>
          <p:spPr>
            <a:xfrm>
              <a:off x="10294104" y="4767418"/>
              <a:ext cx="21288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pons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5520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B1A04-149F-483B-9C36-B2E8E6079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41649911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EAD4514-ED7E-DB2E-5116-B2D37898BD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30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129523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65974-028B-0A33-049E-EC12CE877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RA (DevOps Research and Assessment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F3192A-75AB-871C-85D1-09B52E9445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777"/>
          <a:stretch/>
        </p:blipFill>
        <p:spPr>
          <a:xfrm>
            <a:off x="0" y="1118153"/>
            <a:ext cx="12325141" cy="4959626"/>
          </a:xfrm>
          <a:prstGeom prst="rect">
            <a:avLst/>
          </a:prstGeom>
        </p:spPr>
      </p:pic>
      <p:sp>
        <p:nvSpPr>
          <p:cNvPr id="4" name="Star: 5 Points 3">
            <a:extLst>
              <a:ext uri="{FF2B5EF4-FFF2-40B4-BE49-F238E27FC236}">
                <a16:creationId xmlns:a16="http://schemas.microsoft.com/office/drawing/2014/main" id="{AB34ACB4-BFB1-2C3F-F713-3A278AB0AC30}"/>
              </a:ext>
            </a:extLst>
          </p:cNvPr>
          <p:cNvSpPr/>
          <p:nvPr/>
        </p:nvSpPr>
        <p:spPr bwMode="auto">
          <a:xfrm>
            <a:off x="9513157" y="483662"/>
            <a:ext cx="1282046" cy="1065229"/>
          </a:xfrm>
          <a:prstGeom prst="star5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078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B64EE-1CB0-2A6E-5FFC-99190E338D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268" y="0"/>
            <a:ext cx="5989537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7579C05-4B0C-C7C5-24BC-64411A33C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3209827" cy="457200"/>
          </a:xfrm>
        </p:spPr>
        <p:txBody>
          <a:bodyPr/>
          <a:lstStyle/>
          <a:p>
            <a:r>
              <a:rPr lang="en-US" dirty="0"/>
              <a:t>Deployment Patterns</a:t>
            </a:r>
          </a:p>
        </p:txBody>
      </p:sp>
    </p:spTree>
    <p:extLst>
      <p:ext uri="{BB962C8B-B14F-4D97-AF65-F5344CB8AC3E}">
        <p14:creationId xmlns:p14="http://schemas.microsoft.com/office/powerpoint/2010/main" val="1473490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33C5FB5-B0EE-6745-B14C-5FD3639BA68E}"/>
              </a:ext>
            </a:extLst>
          </p:cNvPr>
          <p:cNvSpPr/>
          <p:nvPr/>
        </p:nvSpPr>
        <p:spPr>
          <a:xfrm>
            <a:off x="1720979" y="755971"/>
            <a:ext cx="3916421" cy="3269044"/>
          </a:xfrm>
          <a:custGeom>
            <a:avLst/>
            <a:gdLst>
              <a:gd name="connsiteX0" fmla="*/ 110226 w 2937316"/>
              <a:gd name="connsiteY0" fmla="*/ 1635853 h 2451783"/>
              <a:gd name="connsiteX1" fmla="*/ 93448 w 2937316"/>
              <a:gd name="connsiteY1" fmla="*/ 1577131 h 2451783"/>
              <a:gd name="connsiteX2" fmla="*/ 85059 w 2937316"/>
              <a:gd name="connsiteY2" fmla="*/ 1518408 h 2451783"/>
              <a:gd name="connsiteX3" fmla="*/ 76671 w 2937316"/>
              <a:gd name="connsiteY3" fmla="*/ 1468074 h 2451783"/>
              <a:gd name="connsiteX4" fmla="*/ 59893 w 2937316"/>
              <a:gd name="connsiteY4" fmla="*/ 1367406 h 2451783"/>
              <a:gd name="connsiteX5" fmla="*/ 43115 w 2937316"/>
              <a:gd name="connsiteY5" fmla="*/ 1216404 h 2451783"/>
              <a:gd name="connsiteX6" fmla="*/ 34726 w 2937316"/>
              <a:gd name="connsiteY6" fmla="*/ 1149292 h 2451783"/>
              <a:gd name="connsiteX7" fmla="*/ 26337 w 2937316"/>
              <a:gd name="connsiteY7" fmla="*/ 1107347 h 2451783"/>
              <a:gd name="connsiteX8" fmla="*/ 17948 w 2937316"/>
              <a:gd name="connsiteY8" fmla="*/ 1006679 h 2451783"/>
              <a:gd name="connsiteX9" fmla="*/ 1170 w 2937316"/>
              <a:gd name="connsiteY9" fmla="*/ 855677 h 2451783"/>
              <a:gd name="connsiteX10" fmla="*/ 17948 w 2937316"/>
              <a:gd name="connsiteY10" fmla="*/ 528507 h 2451783"/>
              <a:gd name="connsiteX11" fmla="*/ 34726 w 2937316"/>
              <a:gd name="connsiteY11" fmla="*/ 478173 h 2451783"/>
              <a:gd name="connsiteX12" fmla="*/ 85059 w 2937316"/>
              <a:gd name="connsiteY12" fmla="*/ 402672 h 2451783"/>
              <a:gd name="connsiteX13" fmla="*/ 101837 w 2937316"/>
              <a:gd name="connsiteY13" fmla="*/ 377505 h 2451783"/>
              <a:gd name="connsiteX14" fmla="*/ 118615 w 2937316"/>
              <a:gd name="connsiteY14" fmla="*/ 352338 h 2451783"/>
              <a:gd name="connsiteX15" fmla="*/ 143782 w 2937316"/>
              <a:gd name="connsiteY15" fmla="*/ 327171 h 2451783"/>
              <a:gd name="connsiteX16" fmla="*/ 177338 w 2937316"/>
              <a:gd name="connsiteY16" fmla="*/ 276837 h 2451783"/>
              <a:gd name="connsiteX17" fmla="*/ 202505 w 2937316"/>
              <a:gd name="connsiteY17" fmla="*/ 251670 h 2451783"/>
              <a:gd name="connsiteX18" fmla="*/ 236061 w 2937316"/>
              <a:gd name="connsiteY18" fmla="*/ 201336 h 2451783"/>
              <a:gd name="connsiteX19" fmla="*/ 311562 w 2937316"/>
              <a:gd name="connsiteY19" fmla="*/ 159391 h 2451783"/>
              <a:gd name="connsiteX20" fmla="*/ 370285 w 2937316"/>
              <a:gd name="connsiteY20" fmla="*/ 134224 h 2451783"/>
              <a:gd name="connsiteX21" fmla="*/ 429008 w 2937316"/>
              <a:gd name="connsiteY21" fmla="*/ 109057 h 2451783"/>
              <a:gd name="connsiteX22" fmla="*/ 454175 w 2937316"/>
              <a:gd name="connsiteY22" fmla="*/ 92279 h 2451783"/>
              <a:gd name="connsiteX23" fmla="*/ 504509 w 2937316"/>
              <a:gd name="connsiteY23" fmla="*/ 75501 h 2451783"/>
              <a:gd name="connsiteX24" fmla="*/ 529676 w 2937316"/>
              <a:gd name="connsiteY24" fmla="*/ 67112 h 2451783"/>
              <a:gd name="connsiteX25" fmla="*/ 554843 w 2937316"/>
              <a:gd name="connsiteY25" fmla="*/ 58723 h 2451783"/>
              <a:gd name="connsiteX26" fmla="*/ 588399 w 2937316"/>
              <a:gd name="connsiteY26" fmla="*/ 50334 h 2451783"/>
              <a:gd name="connsiteX27" fmla="*/ 613566 w 2937316"/>
              <a:gd name="connsiteY27" fmla="*/ 41945 h 2451783"/>
              <a:gd name="connsiteX28" fmla="*/ 647122 w 2937316"/>
              <a:gd name="connsiteY28" fmla="*/ 33556 h 2451783"/>
              <a:gd name="connsiteX29" fmla="*/ 697456 w 2937316"/>
              <a:gd name="connsiteY29" fmla="*/ 16778 h 2451783"/>
              <a:gd name="connsiteX30" fmla="*/ 789735 w 2937316"/>
              <a:gd name="connsiteY30" fmla="*/ 0 h 2451783"/>
              <a:gd name="connsiteX31" fmla="*/ 1234351 w 2937316"/>
              <a:gd name="connsiteY31" fmla="*/ 8389 h 2451783"/>
              <a:gd name="connsiteX32" fmla="*/ 1343408 w 2937316"/>
              <a:gd name="connsiteY32" fmla="*/ 25167 h 2451783"/>
              <a:gd name="connsiteX33" fmla="*/ 1418909 w 2937316"/>
              <a:gd name="connsiteY33" fmla="*/ 33556 h 2451783"/>
              <a:gd name="connsiteX34" fmla="*/ 1544744 w 2937316"/>
              <a:gd name="connsiteY34" fmla="*/ 50334 h 2451783"/>
              <a:gd name="connsiteX35" fmla="*/ 1628634 w 2937316"/>
              <a:gd name="connsiteY35" fmla="*/ 58723 h 2451783"/>
              <a:gd name="connsiteX36" fmla="*/ 1704135 w 2937316"/>
              <a:gd name="connsiteY36" fmla="*/ 83890 h 2451783"/>
              <a:gd name="connsiteX37" fmla="*/ 1729302 w 2937316"/>
              <a:gd name="connsiteY37" fmla="*/ 92279 h 2451783"/>
              <a:gd name="connsiteX38" fmla="*/ 1754469 w 2937316"/>
              <a:gd name="connsiteY38" fmla="*/ 109057 h 2451783"/>
              <a:gd name="connsiteX39" fmla="*/ 1779636 w 2937316"/>
              <a:gd name="connsiteY39" fmla="*/ 117446 h 2451783"/>
              <a:gd name="connsiteX40" fmla="*/ 1829970 w 2937316"/>
              <a:gd name="connsiteY40" fmla="*/ 151002 h 2451783"/>
              <a:gd name="connsiteX41" fmla="*/ 1846748 w 2937316"/>
              <a:gd name="connsiteY41" fmla="*/ 176169 h 2451783"/>
              <a:gd name="connsiteX42" fmla="*/ 1888693 w 2937316"/>
              <a:gd name="connsiteY42" fmla="*/ 218114 h 2451783"/>
              <a:gd name="connsiteX43" fmla="*/ 1905471 w 2937316"/>
              <a:gd name="connsiteY43" fmla="*/ 293615 h 2451783"/>
              <a:gd name="connsiteX44" fmla="*/ 1913859 w 2937316"/>
              <a:gd name="connsiteY44" fmla="*/ 318782 h 2451783"/>
              <a:gd name="connsiteX45" fmla="*/ 1922248 w 2937316"/>
              <a:gd name="connsiteY45" fmla="*/ 360727 h 2451783"/>
              <a:gd name="connsiteX46" fmla="*/ 1939026 w 2937316"/>
              <a:gd name="connsiteY46" fmla="*/ 453006 h 2451783"/>
              <a:gd name="connsiteX47" fmla="*/ 1955804 w 2937316"/>
              <a:gd name="connsiteY47" fmla="*/ 520118 h 2451783"/>
              <a:gd name="connsiteX48" fmla="*/ 1964193 w 2937316"/>
              <a:gd name="connsiteY48" fmla="*/ 553674 h 2451783"/>
              <a:gd name="connsiteX49" fmla="*/ 1972582 w 2937316"/>
              <a:gd name="connsiteY49" fmla="*/ 595619 h 2451783"/>
              <a:gd name="connsiteX50" fmla="*/ 1980971 w 2937316"/>
              <a:gd name="connsiteY50" fmla="*/ 704675 h 2451783"/>
              <a:gd name="connsiteX51" fmla="*/ 1997749 w 2937316"/>
              <a:gd name="connsiteY51" fmla="*/ 796954 h 2451783"/>
              <a:gd name="connsiteX52" fmla="*/ 2014527 w 2937316"/>
              <a:gd name="connsiteY52" fmla="*/ 897622 h 2451783"/>
              <a:gd name="connsiteX53" fmla="*/ 2031305 w 2937316"/>
              <a:gd name="connsiteY53" fmla="*/ 973123 h 2451783"/>
              <a:gd name="connsiteX54" fmla="*/ 2022916 w 2937316"/>
              <a:gd name="connsiteY54" fmla="*/ 1082180 h 2451783"/>
              <a:gd name="connsiteX55" fmla="*/ 2006138 w 2937316"/>
              <a:gd name="connsiteY55" fmla="*/ 1140903 h 2451783"/>
              <a:gd name="connsiteX56" fmla="*/ 1980971 w 2937316"/>
              <a:gd name="connsiteY56" fmla="*/ 1199626 h 2451783"/>
              <a:gd name="connsiteX57" fmla="*/ 1964193 w 2937316"/>
              <a:gd name="connsiteY57" fmla="*/ 1266738 h 2451783"/>
              <a:gd name="connsiteX58" fmla="*/ 1897082 w 2937316"/>
              <a:gd name="connsiteY58" fmla="*/ 1275127 h 2451783"/>
              <a:gd name="connsiteX59" fmla="*/ 1880304 w 2937316"/>
              <a:gd name="connsiteY59" fmla="*/ 1300294 h 2451783"/>
              <a:gd name="connsiteX60" fmla="*/ 1863526 w 2937316"/>
              <a:gd name="connsiteY60" fmla="*/ 1350628 h 2451783"/>
              <a:gd name="connsiteX61" fmla="*/ 1855137 w 2937316"/>
              <a:gd name="connsiteY61" fmla="*/ 1375795 h 2451783"/>
              <a:gd name="connsiteX62" fmla="*/ 1846748 w 2937316"/>
              <a:gd name="connsiteY62" fmla="*/ 1400962 h 2451783"/>
              <a:gd name="connsiteX63" fmla="*/ 1838359 w 2937316"/>
              <a:gd name="connsiteY63" fmla="*/ 1426129 h 2451783"/>
              <a:gd name="connsiteX64" fmla="*/ 1829970 w 2937316"/>
              <a:gd name="connsiteY64" fmla="*/ 1493241 h 2451783"/>
              <a:gd name="connsiteX65" fmla="*/ 1871915 w 2937316"/>
              <a:gd name="connsiteY65" fmla="*/ 1484852 h 2451783"/>
              <a:gd name="connsiteX66" fmla="*/ 1913859 w 2937316"/>
              <a:gd name="connsiteY66" fmla="*/ 1510019 h 2451783"/>
              <a:gd name="connsiteX67" fmla="*/ 2031305 w 2937316"/>
              <a:gd name="connsiteY67" fmla="*/ 1568742 h 2451783"/>
              <a:gd name="connsiteX68" fmla="*/ 2165529 w 2937316"/>
              <a:gd name="connsiteY68" fmla="*/ 1652631 h 2451783"/>
              <a:gd name="connsiteX69" fmla="*/ 2341698 w 2937316"/>
              <a:gd name="connsiteY69" fmla="*/ 1778466 h 2451783"/>
              <a:gd name="connsiteX70" fmla="*/ 2450755 w 2937316"/>
              <a:gd name="connsiteY70" fmla="*/ 1887523 h 2451783"/>
              <a:gd name="connsiteX71" fmla="*/ 2492700 w 2937316"/>
              <a:gd name="connsiteY71" fmla="*/ 1929468 h 2451783"/>
              <a:gd name="connsiteX72" fmla="*/ 2526256 w 2937316"/>
              <a:gd name="connsiteY72" fmla="*/ 1971413 h 2451783"/>
              <a:gd name="connsiteX73" fmla="*/ 2559812 w 2937316"/>
              <a:gd name="connsiteY73" fmla="*/ 2004969 h 2451783"/>
              <a:gd name="connsiteX74" fmla="*/ 2610146 w 2937316"/>
              <a:gd name="connsiteY74" fmla="*/ 2072081 h 2451783"/>
              <a:gd name="connsiteX75" fmla="*/ 2643702 w 2937316"/>
              <a:gd name="connsiteY75" fmla="*/ 2105637 h 2451783"/>
              <a:gd name="connsiteX76" fmla="*/ 2694036 w 2937316"/>
              <a:gd name="connsiteY76" fmla="*/ 2181138 h 2451783"/>
              <a:gd name="connsiteX77" fmla="*/ 2719203 w 2937316"/>
              <a:gd name="connsiteY77" fmla="*/ 2206305 h 2451783"/>
              <a:gd name="connsiteX78" fmla="*/ 2735981 w 2937316"/>
              <a:gd name="connsiteY78" fmla="*/ 2239861 h 2451783"/>
              <a:gd name="connsiteX79" fmla="*/ 2769537 w 2937316"/>
              <a:gd name="connsiteY79" fmla="*/ 2290195 h 2451783"/>
              <a:gd name="connsiteX80" fmla="*/ 2803093 w 2937316"/>
              <a:gd name="connsiteY80" fmla="*/ 2357307 h 2451783"/>
              <a:gd name="connsiteX81" fmla="*/ 2811482 w 2937316"/>
              <a:gd name="connsiteY81" fmla="*/ 2399252 h 2451783"/>
              <a:gd name="connsiteX82" fmla="*/ 2819871 w 2937316"/>
              <a:gd name="connsiteY82" fmla="*/ 2449586 h 2451783"/>
              <a:gd name="connsiteX83" fmla="*/ 2870204 w 2937316"/>
              <a:gd name="connsiteY83" fmla="*/ 2432808 h 2451783"/>
              <a:gd name="connsiteX84" fmla="*/ 2937316 w 2937316"/>
              <a:gd name="connsiteY84" fmla="*/ 2424419 h 245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937316" h="2451783">
                <a:moveTo>
                  <a:pt x="110226" y="1635853"/>
                </a:moveTo>
                <a:cubicBezTo>
                  <a:pt x="104633" y="1616279"/>
                  <a:pt x="97713" y="1597036"/>
                  <a:pt x="93448" y="1577131"/>
                </a:cubicBezTo>
                <a:cubicBezTo>
                  <a:pt x="89305" y="1557797"/>
                  <a:pt x="88065" y="1537951"/>
                  <a:pt x="85059" y="1518408"/>
                </a:cubicBezTo>
                <a:cubicBezTo>
                  <a:pt x="82473" y="1501596"/>
                  <a:pt x="79714" y="1484809"/>
                  <a:pt x="76671" y="1468074"/>
                </a:cubicBezTo>
                <a:cubicBezTo>
                  <a:pt x="65769" y="1408111"/>
                  <a:pt x="68405" y="1438343"/>
                  <a:pt x="59893" y="1367406"/>
                </a:cubicBezTo>
                <a:cubicBezTo>
                  <a:pt x="53859" y="1317123"/>
                  <a:pt x="49397" y="1266657"/>
                  <a:pt x="43115" y="1216404"/>
                </a:cubicBezTo>
                <a:cubicBezTo>
                  <a:pt x="40319" y="1194033"/>
                  <a:pt x="38154" y="1171575"/>
                  <a:pt x="34726" y="1149292"/>
                </a:cubicBezTo>
                <a:cubicBezTo>
                  <a:pt x="32558" y="1135199"/>
                  <a:pt x="29133" y="1121329"/>
                  <a:pt x="26337" y="1107347"/>
                </a:cubicBezTo>
                <a:cubicBezTo>
                  <a:pt x="23541" y="1073791"/>
                  <a:pt x="21299" y="1040184"/>
                  <a:pt x="17948" y="1006679"/>
                </a:cubicBezTo>
                <a:cubicBezTo>
                  <a:pt x="12909" y="956287"/>
                  <a:pt x="1170" y="855677"/>
                  <a:pt x="1170" y="855677"/>
                </a:cubicBezTo>
                <a:cubicBezTo>
                  <a:pt x="2049" y="825805"/>
                  <a:pt x="-7906" y="623305"/>
                  <a:pt x="17948" y="528507"/>
                </a:cubicBezTo>
                <a:cubicBezTo>
                  <a:pt x="22601" y="511445"/>
                  <a:pt x="24916" y="492888"/>
                  <a:pt x="34726" y="478173"/>
                </a:cubicBezTo>
                <a:lnTo>
                  <a:pt x="85059" y="402672"/>
                </a:lnTo>
                <a:lnTo>
                  <a:pt x="101837" y="377505"/>
                </a:lnTo>
                <a:cubicBezTo>
                  <a:pt x="107430" y="369116"/>
                  <a:pt x="111486" y="359467"/>
                  <a:pt x="118615" y="352338"/>
                </a:cubicBezTo>
                <a:cubicBezTo>
                  <a:pt x="127004" y="343949"/>
                  <a:pt x="136498" y="336536"/>
                  <a:pt x="143782" y="327171"/>
                </a:cubicBezTo>
                <a:cubicBezTo>
                  <a:pt x="156162" y="311254"/>
                  <a:pt x="163079" y="291096"/>
                  <a:pt x="177338" y="276837"/>
                </a:cubicBezTo>
                <a:cubicBezTo>
                  <a:pt x="185727" y="268448"/>
                  <a:pt x="195221" y="261035"/>
                  <a:pt x="202505" y="251670"/>
                </a:cubicBezTo>
                <a:cubicBezTo>
                  <a:pt x="214885" y="235753"/>
                  <a:pt x="219283" y="212521"/>
                  <a:pt x="236061" y="201336"/>
                </a:cubicBezTo>
                <a:cubicBezTo>
                  <a:pt x="394765" y="95533"/>
                  <a:pt x="222968" y="203688"/>
                  <a:pt x="311562" y="159391"/>
                </a:cubicBezTo>
                <a:cubicBezTo>
                  <a:pt x="369496" y="130424"/>
                  <a:pt x="300448" y="151683"/>
                  <a:pt x="370285" y="134224"/>
                </a:cubicBezTo>
                <a:cubicBezTo>
                  <a:pt x="433468" y="92102"/>
                  <a:pt x="353168" y="141560"/>
                  <a:pt x="429008" y="109057"/>
                </a:cubicBezTo>
                <a:cubicBezTo>
                  <a:pt x="438275" y="105085"/>
                  <a:pt x="444962" y="96374"/>
                  <a:pt x="454175" y="92279"/>
                </a:cubicBezTo>
                <a:cubicBezTo>
                  <a:pt x="470336" y="85096"/>
                  <a:pt x="487731" y="81094"/>
                  <a:pt x="504509" y="75501"/>
                </a:cubicBezTo>
                <a:lnTo>
                  <a:pt x="529676" y="67112"/>
                </a:lnTo>
                <a:cubicBezTo>
                  <a:pt x="538065" y="64316"/>
                  <a:pt x="546264" y="60868"/>
                  <a:pt x="554843" y="58723"/>
                </a:cubicBezTo>
                <a:cubicBezTo>
                  <a:pt x="566028" y="55927"/>
                  <a:pt x="577313" y="53501"/>
                  <a:pt x="588399" y="50334"/>
                </a:cubicBezTo>
                <a:cubicBezTo>
                  <a:pt x="596902" y="47905"/>
                  <a:pt x="605063" y="44374"/>
                  <a:pt x="613566" y="41945"/>
                </a:cubicBezTo>
                <a:cubicBezTo>
                  <a:pt x="624652" y="38778"/>
                  <a:pt x="636079" y="36869"/>
                  <a:pt x="647122" y="33556"/>
                </a:cubicBezTo>
                <a:cubicBezTo>
                  <a:pt x="664062" y="28474"/>
                  <a:pt x="680114" y="20246"/>
                  <a:pt x="697456" y="16778"/>
                </a:cubicBezTo>
                <a:cubicBezTo>
                  <a:pt x="756080" y="5053"/>
                  <a:pt x="725336" y="10733"/>
                  <a:pt x="789735" y="0"/>
                </a:cubicBezTo>
                <a:lnTo>
                  <a:pt x="1234351" y="8389"/>
                </a:lnTo>
                <a:cubicBezTo>
                  <a:pt x="1300111" y="10545"/>
                  <a:pt x="1289159" y="17417"/>
                  <a:pt x="1343408" y="25167"/>
                </a:cubicBezTo>
                <a:cubicBezTo>
                  <a:pt x="1368475" y="28748"/>
                  <a:pt x="1393783" y="30415"/>
                  <a:pt x="1418909" y="33556"/>
                </a:cubicBezTo>
                <a:cubicBezTo>
                  <a:pt x="1528077" y="47202"/>
                  <a:pt x="1425943" y="37134"/>
                  <a:pt x="1544744" y="50334"/>
                </a:cubicBezTo>
                <a:cubicBezTo>
                  <a:pt x="1572675" y="53437"/>
                  <a:pt x="1600671" y="55927"/>
                  <a:pt x="1628634" y="58723"/>
                </a:cubicBezTo>
                <a:lnTo>
                  <a:pt x="1704135" y="83890"/>
                </a:lnTo>
                <a:cubicBezTo>
                  <a:pt x="1712524" y="86686"/>
                  <a:pt x="1721944" y="87374"/>
                  <a:pt x="1729302" y="92279"/>
                </a:cubicBezTo>
                <a:cubicBezTo>
                  <a:pt x="1737691" y="97872"/>
                  <a:pt x="1745451" y="104548"/>
                  <a:pt x="1754469" y="109057"/>
                </a:cubicBezTo>
                <a:cubicBezTo>
                  <a:pt x="1762378" y="113012"/>
                  <a:pt x="1771906" y="113152"/>
                  <a:pt x="1779636" y="117446"/>
                </a:cubicBezTo>
                <a:cubicBezTo>
                  <a:pt x="1797263" y="127239"/>
                  <a:pt x="1829970" y="151002"/>
                  <a:pt x="1829970" y="151002"/>
                </a:cubicBezTo>
                <a:cubicBezTo>
                  <a:pt x="1835563" y="159391"/>
                  <a:pt x="1839619" y="169040"/>
                  <a:pt x="1846748" y="176169"/>
                </a:cubicBezTo>
                <a:cubicBezTo>
                  <a:pt x="1902675" y="232096"/>
                  <a:pt x="1843952" y="151002"/>
                  <a:pt x="1888693" y="218114"/>
                </a:cubicBezTo>
                <a:cubicBezTo>
                  <a:pt x="1894461" y="246953"/>
                  <a:pt x="1897572" y="265966"/>
                  <a:pt x="1905471" y="293615"/>
                </a:cubicBezTo>
                <a:cubicBezTo>
                  <a:pt x="1907900" y="302117"/>
                  <a:pt x="1911714" y="310203"/>
                  <a:pt x="1913859" y="318782"/>
                </a:cubicBezTo>
                <a:cubicBezTo>
                  <a:pt x="1917317" y="332615"/>
                  <a:pt x="1919697" y="346698"/>
                  <a:pt x="1922248" y="360727"/>
                </a:cubicBezTo>
                <a:cubicBezTo>
                  <a:pt x="1929588" y="401100"/>
                  <a:pt x="1930145" y="414522"/>
                  <a:pt x="1939026" y="453006"/>
                </a:cubicBezTo>
                <a:cubicBezTo>
                  <a:pt x="1944211" y="475475"/>
                  <a:pt x="1950211" y="497747"/>
                  <a:pt x="1955804" y="520118"/>
                </a:cubicBezTo>
                <a:cubicBezTo>
                  <a:pt x="1958600" y="531303"/>
                  <a:pt x="1961932" y="542368"/>
                  <a:pt x="1964193" y="553674"/>
                </a:cubicBezTo>
                <a:lnTo>
                  <a:pt x="1972582" y="595619"/>
                </a:lnTo>
                <a:cubicBezTo>
                  <a:pt x="1975378" y="631971"/>
                  <a:pt x="1977154" y="668416"/>
                  <a:pt x="1980971" y="704675"/>
                </a:cubicBezTo>
                <a:cubicBezTo>
                  <a:pt x="1984337" y="736651"/>
                  <a:pt x="1992200" y="765509"/>
                  <a:pt x="1997749" y="796954"/>
                </a:cubicBezTo>
                <a:cubicBezTo>
                  <a:pt x="2003661" y="830455"/>
                  <a:pt x="2006276" y="864619"/>
                  <a:pt x="2014527" y="897622"/>
                </a:cubicBezTo>
                <a:cubicBezTo>
                  <a:pt x="2026374" y="945011"/>
                  <a:pt x="2020655" y="919872"/>
                  <a:pt x="2031305" y="973123"/>
                </a:cubicBezTo>
                <a:cubicBezTo>
                  <a:pt x="2028509" y="1009475"/>
                  <a:pt x="2027176" y="1045970"/>
                  <a:pt x="2022916" y="1082180"/>
                </a:cubicBezTo>
                <a:cubicBezTo>
                  <a:pt x="2021765" y="1091960"/>
                  <a:pt x="2010976" y="1129613"/>
                  <a:pt x="2006138" y="1140903"/>
                </a:cubicBezTo>
                <a:cubicBezTo>
                  <a:pt x="1988950" y="1181007"/>
                  <a:pt x="1990808" y="1163558"/>
                  <a:pt x="1980971" y="1199626"/>
                </a:cubicBezTo>
                <a:cubicBezTo>
                  <a:pt x="1974904" y="1221873"/>
                  <a:pt x="1987074" y="1263878"/>
                  <a:pt x="1964193" y="1266738"/>
                </a:cubicBezTo>
                <a:lnTo>
                  <a:pt x="1897082" y="1275127"/>
                </a:lnTo>
                <a:cubicBezTo>
                  <a:pt x="1891489" y="1283516"/>
                  <a:pt x="1884399" y="1291081"/>
                  <a:pt x="1880304" y="1300294"/>
                </a:cubicBezTo>
                <a:cubicBezTo>
                  <a:pt x="1873121" y="1316455"/>
                  <a:pt x="1869119" y="1333850"/>
                  <a:pt x="1863526" y="1350628"/>
                </a:cubicBezTo>
                <a:lnTo>
                  <a:pt x="1855137" y="1375795"/>
                </a:lnTo>
                <a:lnTo>
                  <a:pt x="1846748" y="1400962"/>
                </a:lnTo>
                <a:lnTo>
                  <a:pt x="1838359" y="1426129"/>
                </a:lnTo>
                <a:cubicBezTo>
                  <a:pt x="1835563" y="1448500"/>
                  <a:pt x="1818785" y="1473667"/>
                  <a:pt x="1829970" y="1493241"/>
                </a:cubicBezTo>
                <a:cubicBezTo>
                  <a:pt x="1837044" y="1505621"/>
                  <a:pt x="1857933" y="1482056"/>
                  <a:pt x="1871915" y="1484852"/>
                </a:cubicBezTo>
                <a:cubicBezTo>
                  <a:pt x="1887903" y="1488050"/>
                  <a:pt x="1899430" y="1502425"/>
                  <a:pt x="1913859" y="1510019"/>
                </a:cubicBezTo>
                <a:cubicBezTo>
                  <a:pt x="1952591" y="1530405"/>
                  <a:pt x="1995688" y="1543302"/>
                  <a:pt x="2031305" y="1568742"/>
                </a:cubicBezTo>
                <a:cubicBezTo>
                  <a:pt x="2156891" y="1658444"/>
                  <a:pt x="2017015" y="1561872"/>
                  <a:pt x="2165529" y="1652631"/>
                </a:cubicBezTo>
                <a:cubicBezTo>
                  <a:pt x="2202275" y="1675087"/>
                  <a:pt x="2318974" y="1755742"/>
                  <a:pt x="2341698" y="1778466"/>
                </a:cubicBezTo>
                <a:lnTo>
                  <a:pt x="2450755" y="1887523"/>
                </a:lnTo>
                <a:cubicBezTo>
                  <a:pt x="2464737" y="1901505"/>
                  <a:pt x="2480348" y="1914028"/>
                  <a:pt x="2492700" y="1929468"/>
                </a:cubicBezTo>
                <a:cubicBezTo>
                  <a:pt x="2503885" y="1943450"/>
                  <a:pt x="2514360" y="1958030"/>
                  <a:pt x="2526256" y="1971413"/>
                </a:cubicBezTo>
                <a:cubicBezTo>
                  <a:pt x="2536765" y="1983236"/>
                  <a:pt x="2549685" y="1992817"/>
                  <a:pt x="2559812" y="2004969"/>
                </a:cubicBezTo>
                <a:cubicBezTo>
                  <a:pt x="2577714" y="2026451"/>
                  <a:pt x="2590373" y="2052308"/>
                  <a:pt x="2610146" y="2072081"/>
                </a:cubicBezTo>
                <a:cubicBezTo>
                  <a:pt x="2621331" y="2083266"/>
                  <a:pt x="2633990" y="2093151"/>
                  <a:pt x="2643702" y="2105637"/>
                </a:cubicBezTo>
                <a:cubicBezTo>
                  <a:pt x="2722554" y="2207018"/>
                  <a:pt x="2619220" y="2093852"/>
                  <a:pt x="2694036" y="2181138"/>
                </a:cubicBezTo>
                <a:cubicBezTo>
                  <a:pt x="2701757" y="2190146"/>
                  <a:pt x="2712307" y="2196651"/>
                  <a:pt x="2719203" y="2206305"/>
                </a:cubicBezTo>
                <a:cubicBezTo>
                  <a:pt x="2726472" y="2216481"/>
                  <a:pt x="2729547" y="2229138"/>
                  <a:pt x="2735981" y="2239861"/>
                </a:cubicBezTo>
                <a:cubicBezTo>
                  <a:pt x="2746356" y="2257152"/>
                  <a:pt x="2759881" y="2272493"/>
                  <a:pt x="2769537" y="2290195"/>
                </a:cubicBezTo>
                <a:cubicBezTo>
                  <a:pt x="2831104" y="2403069"/>
                  <a:pt x="2750481" y="2278389"/>
                  <a:pt x="2803093" y="2357307"/>
                </a:cubicBezTo>
                <a:cubicBezTo>
                  <a:pt x="2805889" y="2371289"/>
                  <a:pt x="2808931" y="2385223"/>
                  <a:pt x="2811482" y="2399252"/>
                </a:cubicBezTo>
                <a:cubicBezTo>
                  <a:pt x="2814525" y="2415987"/>
                  <a:pt x="2805103" y="2441147"/>
                  <a:pt x="2819871" y="2449586"/>
                </a:cubicBezTo>
                <a:cubicBezTo>
                  <a:pt x="2835226" y="2458360"/>
                  <a:pt x="2853426" y="2438401"/>
                  <a:pt x="2870204" y="2432808"/>
                </a:cubicBezTo>
                <a:cubicBezTo>
                  <a:pt x="2908635" y="2419998"/>
                  <a:pt x="2886529" y="2424419"/>
                  <a:pt x="2937316" y="2424419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674526" y="1696398"/>
            <a:ext cx="4631941" cy="4234712"/>
          </a:xfrm>
          <a:custGeom>
            <a:avLst/>
            <a:gdLst>
              <a:gd name="connsiteX0" fmla="*/ 0 w 2035436"/>
              <a:gd name="connsiteY0" fmla="*/ 1017718 h 2035436"/>
              <a:gd name="connsiteX1" fmla="*/ 1017718 w 2035436"/>
              <a:gd name="connsiteY1" fmla="*/ 0 h 2035436"/>
              <a:gd name="connsiteX2" fmla="*/ 2035436 w 2035436"/>
              <a:gd name="connsiteY2" fmla="*/ 1017718 h 2035436"/>
              <a:gd name="connsiteX3" fmla="*/ 1017718 w 2035436"/>
              <a:gd name="connsiteY3" fmla="*/ 2035436 h 2035436"/>
              <a:gd name="connsiteX4" fmla="*/ 0 w 2035436"/>
              <a:gd name="connsiteY4" fmla="*/ 1017718 h 20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5436" h="2035436">
                <a:moveTo>
                  <a:pt x="0" y="1017718"/>
                </a:moveTo>
                <a:cubicBezTo>
                  <a:pt x="0" y="455648"/>
                  <a:pt x="455648" y="0"/>
                  <a:pt x="1017718" y="0"/>
                </a:cubicBezTo>
                <a:cubicBezTo>
                  <a:pt x="1579788" y="0"/>
                  <a:pt x="2035436" y="455648"/>
                  <a:pt x="2035436" y="1017718"/>
                </a:cubicBezTo>
                <a:cubicBezTo>
                  <a:pt x="2035436" y="1579788"/>
                  <a:pt x="1579788" y="2035436"/>
                  <a:pt x="1017718" y="2035436"/>
                </a:cubicBezTo>
                <a:cubicBezTo>
                  <a:pt x="455648" y="2035436"/>
                  <a:pt x="0" y="1579788"/>
                  <a:pt x="0" y="1017718"/>
                </a:cubicBezTo>
                <a:close/>
              </a:path>
            </a:pathLst>
          </a:custGeom>
          <a:solidFill>
            <a:srgbClr val="80CDD8">
              <a:alpha val="50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438084" tIns="438084" rIns="438084" bIns="438084" numCol="1" spcCol="1270" anchor="ctr" anchorCtr="0">
            <a:noAutofit/>
          </a:bodyPr>
          <a:lstStyle/>
          <a:p>
            <a:pPr marL="0" marR="0" lvl="0" indent="0" algn="ctr" defTabSz="1422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ftware</a:t>
            </a:r>
            <a:b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5D9B4E-5647-C7A1-9BA8-B4968F84084F}"/>
              </a:ext>
            </a:extLst>
          </p:cNvPr>
          <p:cNvGrpSpPr/>
          <p:nvPr/>
        </p:nvGrpSpPr>
        <p:grpSpPr>
          <a:xfrm>
            <a:off x="222737" y="0"/>
            <a:ext cx="7535524" cy="6249971"/>
            <a:chOff x="222737" y="0"/>
            <a:chExt cx="7535524" cy="6249971"/>
          </a:xfrm>
        </p:grpSpPr>
        <p:sp>
          <p:nvSpPr>
            <p:cNvPr id="16" name="Freeform 15"/>
            <p:cNvSpPr/>
            <p:nvPr/>
          </p:nvSpPr>
          <p:spPr>
            <a:xfrm>
              <a:off x="2832512" y="0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FFECB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te Reliability</a:t>
              </a:r>
            </a:p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Engineer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5442290" y="4132615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E3EEA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Ops</a:t>
              </a:r>
              <a:b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222737" y="4132615"/>
              <a:ext cx="2315971" cy="2117356"/>
            </a:xfrm>
            <a:custGeom>
              <a:avLst/>
              <a:gdLst>
                <a:gd name="connsiteX0" fmla="*/ 0 w 1017718"/>
                <a:gd name="connsiteY0" fmla="*/ 508859 h 1017718"/>
                <a:gd name="connsiteX1" fmla="*/ 508859 w 1017718"/>
                <a:gd name="connsiteY1" fmla="*/ 0 h 1017718"/>
                <a:gd name="connsiteX2" fmla="*/ 1017718 w 1017718"/>
                <a:gd name="connsiteY2" fmla="*/ 508859 h 1017718"/>
                <a:gd name="connsiteX3" fmla="*/ 508859 w 1017718"/>
                <a:gd name="connsiteY3" fmla="*/ 1017718 h 1017718"/>
                <a:gd name="connsiteX4" fmla="*/ 0 w 1017718"/>
                <a:gd name="connsiteY4" fmla="*/ 508859 h 101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718" h="1017718">
                  <a:moveTo>
                    <a:pt x="0" y="508859"/>
                  </a:moveTo>
                  <a:cubicBezTo>
                    <a:pt x="0" y="227824"/>
                    <a:pt x="227824" y="0"/>
                    <a:pt x="508859" y="0"/>
                  </a:cubicBezTo>
                  <a:cubicBezTo>
                    <a:pt x="789894" y="0"/>
                    <a:pt x="1017718" y="227824"/>
                    <a:pt x="1017718" y="508859"/>
                  </a:cubicBezTo>
                  <a:cubicBezTo>
                    <a:pt x="1017718" y="789894"/>
                    <a:pt x="789894" y="1017718"/>
                    <a:pt x="508859" y="1017718"/>
                  </a:cubicBezTo>
                  <a:cubicBezTo>
                    <a:pt x="227824" y="1017718"/>
                    <a:pt x="0" y="789894"/>
                    <a:pt x="0" y="508859"/>
                  </a:cubicBezTo>
                  <a:close/>
                </a:path>
              </a:pathLst>
            </a:custGeom>
            <a:solidFill>
              <a:srgbClr val="E3EEA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none" lIns="222428" tIns="222428" rIns="222428" bIns="222428" numCol="1" spcCol="1270" anchor="ctr" anchorCtr="0">
              <a:noAutofit/>
            </a:bodyPr>
            <a:lstStyle/>
            <a:p>
              <a:pPr marL="0" marR="0" lvl="0" indent="0" algn="ctr" defTabSz="82971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  <a:b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8180634" y="969955"/>
            <a:ext cx="367550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oud Native Engine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ines Expertise in a Wide Range of Adjunct Disciplines</a:t>
            </a: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580457D9-6050-B22C-635A-F715C65E2BE9}"/>
              </a:ext>
            </a:extLst>
          </p:cNvPr>
          <p:cNvSpPr/>
          <p:nvPr/>
        </p:nvSpPr>
        <p:spPr bwMode="auto">
          <a:xfrm>
            <a:off x="3349473" y="1377537"/>
            <a:ext cx="1282046" cy="1065229"/>
          </a:xfrm>
          <a:prstGeom prst="star5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98993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D363FB4-D9B0-54DC-BA35-9797754111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94"/>
          <a:stretch/>
        </p:blipFill>
        <p:spPr bwMode="auto">
          <a:xfrm>
            <a:off x="0" y="0"/>
            <a:ext cx="761280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D932205-12B2-D080-8678-A50C325E4BB8}"/>
              </a:ext>
            </a:extLst>
          </p:cNvPr>
          <p:cNvGrpSpPr/>
          <p:nvPr/>
        </p:nvGrpSpPr>
        <p:grpSpPr>
          <a:xfrm>
            <a:off x="5468908" y="3026004"/>
            <a:ext cx="2143897" cy="3761295"/>
            <a:chOff x="7966953" y="774685"/>
            <a:chExt cx="3667328" cy="608331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2FCBCBA-F57D-044E-8F7A-D9A27DE635A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969" t="70150" r="18694"/>
            <a:stretch/>
          </p:blipFill>
          <p:spPr bwMode="auto">
            <a:xfrm>
              <a:off x="7966953" y="3268494"/>
              <a:ext cx="3667328" cy="358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4AB09A4-2D7D-CF42-A65F-AF66987B0F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969" t="44586" r="18694" b="34676"/>
            <a:stretch/>
          </p:blipFill>
          <p:spPr bwMode="auto">
            <a:xfrm>
              <a:off x="7966953" y="774685"/>
              <a:ext cx="3667328" cy="2493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EAA87252-C1CD-9A8A-501E-EE26CFFF6C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4743" y="19948"/>
            <a:ext cx="4021476" cy="88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974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73AC56-D69A-4D5E-BECD-B643064B1D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5" y="1024444"/>
            <a:ext cx="8096250" cy="56292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A57FD90-5D74-3BEA-8773-ACBD4AAD1E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300" y="0"/>
            <a:ext cx="4021476" cy="88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66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A57FD90-5D74-3BEA-8773-ACBD4AAD1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8300" y="0"/>
            <a:ext cx="4021476" cy="884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A6FD7BA-C28F-1E41-74DD-20AF3769AB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5975" y="1182523"/>
            <a:ext cx="8020050" cy="51339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C858937-D59F-A681-B14C-22863D5838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4285" y="1466604"/>
            <a:ext cx="1343025" cy="1228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09B6C7-779B-C552-D5B4-1EB13AB5EC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9522" y="3248613"/>
            <a:ext cx="135255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726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DEB0FD-55FE-4A51-5D5C-04C6D5795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05" y="466928"/>
            <a:ext cx="7503212" cy="565177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4B2F390-A826-2EC7-39A2-84DE0F6F5D90}"/>
              </a:ext>
            </a:extLst>
          </p:cNvPr>
          <p:cNvCxnSpPr/>
          <p:nvPr/>
        </p:nvCxnSpPr>
        <p:spPr>
          <a:xfrm>
            <a:off x="223436" y="4921294"/>
            <a:ext cx="2169268" cy="0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CC4BE60-8B6B-2C12-1B14-A676E50163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2323" y="961534"/>
            <a:ext cx="4316241" cy="5157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8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4b06049-8a51-4abf-b254-229499aa3a5a"/>
  <p:tag name="MIO_EKGUID" val="ddb4aed4-8267-4e0c-906c-5bd45ade6ad0"/>
  <p:tag name="MIO_UPDATE" val="True"/>
  <p:tag name="MIO_VERSION" val="15.10.2018 12:13:34"/>
  <p:tag name="MIO_DBID" val="25C89224-3BD0-4DAE-9699-6AD9CAF4AB96"/>
  <p:tag name="MIO_LASTDOWNLOADED" val="15.10.2018 12:13:34"/>
  <p:tag name="MIO_OBJECTNAME" val="EPAM India"/>
  <p:tag name="MIO_LASTEDITORNAME" val="Peter Rutsch"/>
  <p:tag name="MIO_STRING_IGNORE_CHECKSUM_FOR_NEXT_SAVE" val="False"/>
</p:tagLst>
</file>

<file path=ppt/theme/theme1.xml><?xml version="1.0" encoding="utf-8"?>
<a:theme xmlns:a="http://schemas.openxmlformats.org/drawingml/2006/main" name="EPAM Master 2021.3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2">
    <a:dk1>
      <a:srgbClr val="222222"/>
    </a:dk1>
    <a:lt1>
      <a:sysClr val="window" lastClr="FFFFFF"/>
    </a:lt1>
    <a:dk2>
      <a:srgbClr val="464547"/>
    </a:dk2>
    <a:lt2>
      <a:srgbClr val="CCCCCC"/>
    </a:lt2>
    <a:accent1>
      <a:srgbClr val="222222"/>
    </a:accent1>
    <a:accent2>
      <a:srgbClr val="39C2D7"/>
    </a:accent2>
    <a:accent3>
      <a:srgbClr val="008ACF"/>
    </a:accent3>
    <a:accent4>
      <a:srgbClr val="A3C644"/>
    </a:accent4>
    <a:accent5>
      <a:srgbClr val="CEDB56"/>
    </a:accent5>
    <a:accent6>
      <a:srgbClr val="D35D47"/>
    </a:accent6>
    <a:hlink>
      <a:srgbClr val="76CDD8"/>
    </a:hlink>
    <a:folHlink>
      <a:srgbClr val="FF8500"/>
    </a:folHlink>
  </a:clrScheme>
  <a:fontScheme name="Custom 3">
    <a:majorFont>
      <a:latin typeface="Calibri Light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2">
    <a:dk1>
      <a:srgbClr val="222222"/>
    </a:dk1>
    <a:lt1>
      <a:sysClr val="window" lastClr="FFFFFF"/>
    </a:lt1>
    <a:dk2>
      <a:srgbClr val="464547"/>
    </a:dk2>
    <a:lt2>
      <a:srgbClr val="CCCCCC"/>
    </a:lt2>
    <a:accent1>
      <a:srgbClr val="222222"/>
    </a:accent1>
    <a:accent2>
      <a:srgbClr val="39C2D7"/>
    </a:accent2>
    <a:accent3>
      <a:srgbClr val="008ACF"/>
    </a:accent3>
    <a:accent4>
      <a:srgbClr val="A3C644"/>
    </a:accent4>
    <a:accent5>
      <a:srgbClr val="CEDB56"/>
    </a:accent5>
    <a:accent6>
      <a:srgbClr val="D35D47"/>
    </a:accent6>
    <a:hlink>
      <a:srgbClr val="76CDD8"/>
    </a:hlink>
    <a:folHlink>
      <a:srgbClr val="FF8500"/>
    </a:folHlink>
  </a:clrScheme>
  <a:fontScheme name="Custom 3">
    <a:majorFont>
      <a:latin typeface="Calibri Light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117DE914E1FC49A35D90CD8516D943" ma:contentTypeVersion="12" ma:contentTypeDescription="Create a new document." ma:contentTypeScope="" ma:versionID="e1f7c3316c007ddcbbfc786aee0f30b6">
  <xsd:schema xmlns:xsd="http://www.w3.org/2001/XMLSchema" xmlns:xs="http://www.w3.org/2001/XMLSchema" xmlns:p="http://schemas.microsoft.com/office/2006/metadata/properties" xmlns:ns2="58f349b0-675b-4c01-8ee6-14db8fa12501" xmlns:ns3="df44d29e-ce0d-48fd-88bf-98e6a958fd4b" targetNamespace="http://schemas.microsoft.com/office/2006/metadata/properties" ma:root="true" ma:fieldsID="ebdd3e3611f83f5edb1b485483198b2e" ns2:_="" ns3:_="">
    <xsd:import namespace="58f349b0-675b-4c01-8ee6-14db8fa12501"/>
    <xsd:import namespace="df44d29e-ce0d-48fd-88bf-98e6a958fd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f349b0-675b-4c01-8ee6-14db8fa125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4d29e-ce0d-48fd-88bf-98e6a958fd4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767B39-6EE3-4690-BA42-7F387A6B4130}">
  <ds:schemaRefs>
    <ds:schemaRef ds:uri="58f349b0-675b-4c01-8ee6-14db8fa12501"/>
    <ds:schemaRef ds:uri="df44d29e-ce0d-48fd-88bf-98e6a958fd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88F095-8763-4476-A661-0F620BC6EBF5}">
  <ds:schemaRefs>
    <ds:schemaRef ds:uri="58f349b0-675b-4c01-8ee6-14db8fa12501"/>
    <ds:schemaRef ds:uri="df44d29e-ce0d-48fd-88bf-98e6a958fd4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47DF665-A7BA-439B-A97C-31094BDB4E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52</TotalTime>
  <Words>1134</Words>
  <Application>Microsoft Office PowerPoint</Application>
  <PresentationFormat>Widescreen</PresentationFormat>
  <Paragraphs>316</Paragraphs>
  <Slides>2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Calibri</vt:lpstr>
      <vt:lpstr>Calibri Bold</vt:lpstr>
      <vt:lpstr>Calibri Light</vt:lpstr>
      <vt:lpstr>Trebuchet MS</vt:lpstr>
      <vt:lpstr>EPAM Master 2021.3</vt:lpstr>
      <vt:lpstr>PowerPoint Presentation</vt:lpstr>
      <vt:lpstr>DORA</vt:lpstr>
      <vt:lpstr>DORA (DevOps Research and Assessments)</vt:lpstr>
      <vt:lpstr>Deployment Patter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Message – Ignite 2022</vt:lpstr>
      <vt:lpstr>PowerPoint Presentation</vt:lpstr>
      <vt:lpstr>EPAM Fast Facts – Q2 2022</vt:lpstr>
      <vt:lpstr>Growing, Global Presence in more than 50 Countries &amp; Regions </vt:lpstr>
      <vt:lpstr>EPAM India</vt:lpstr>
      <vt:lpstr>EPAM India Difference  </vt:lpstr>
      <vt:lpstr>Engineering Incubation Labs</vt:lpstr>
      <vt:lpstr>PowerPoint Presentation</vt:lpstr>
      <vt:lpstr>Most Valuable Professionals</vt:lpstr>
      <vt:lpstr>PowerPoint Presentation</vt:lpstr>
      <vt:lpstr>PowerPoint Presentation</vt:lpstr>
      <vt:lpstr>PowerPoint Presentation</vt:lpstr>
      <vt:lpstr>Thank you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lina Vilava</dc:creator>
  <cp:lastModifiedBy>Natarajan Ganapathi</cp:lastModifiedBy>
  <cp:revision>4</cp:revision>
  <dcterms:created xsi:type="dcterms:W3CDTF">2020-10-26T14:33:58Z</dcterms:created>
  <dcterms:modified xsi:type="dcterms:W3CDTF">2022-10-20T03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117DE914E1FC49A35D90CD8516D943</vt:lpwstr>
  </property>
  <property fmtid="{D5CDD505-2E9C-101B-9397-08002B2CF9AE}" pid="3" name="MSIP_Label_2a535040-0af2-483f-adc3-a132c21e3e2b_Enabled">
    <vt:lpwstr>true</vt:lpwstr>
  </property>
  <property fmtid="{D5CDD505-2E9C-101B-9397-08002B2CF9AE}" pid="4" name="MSIP_Label_2a535040-0af2-483f-adc3-a132c21e3e2b_SetDate">
    <vt:lpwstr>2022-10-07T15:47:36Z</vt:lpwstr>
  </property>
  <property fmtid="{D5CDD505-2E9C-101B-9397-08002B2CF9AE}" pid="5" name="MSIP_Label_2a535040-0af2-483f-adc3-a132c21e3e2b_Method">
    <vt:lpwstr>Standard</vt:lpwstr>
  </property>
  <property fmtid="{D5CDD505-2E9C-101B-9397-08002B2CF9AE}" pid="6" name="MSIP_Label_2a535040-0af2-483f-adc3-a132c21e3e2b_Name">
    <vt:lpwstr>EPAM_Confidential</vt:lpwstr>
  </property>
  <property fmtid="{D5CDD505-2E9C-101B-9397-08002B2CF9AE}" pid="7" name="MSIP_Label_2a535040-0af2-483f-adc3-a132c21e3e2b_SiteId">
    <vt:lpwstr>b41b72d0-4e9f-4c26-8a69-f949f367c91d</vt:lpwstr>
  </property>
  <property fmtid="{D5CDD505-2E9C-101B-9397-08002B2CF9AE}" pid="8" name="MSIP_Label_2a535040-0af2-483f-adc3-a132c21e3e2b_ActionId">
    <vt:lpwstr>28f3b41e-d397-4f7f-b121-9f688724bf1a</vt:lpwstr>
  </property>
  <property fmtid="{D5CDD505-2E9C-101B-9397-08002B2CF9AE}" pid="9" name="MSIP_Label_2a535040-0af2-483f-adc3-a132c21e3e2b_ContentBits">
    <vt:lpwstr>0</vt:lpwstr>
  </property>
</Properties>
</file>